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5.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829" r:id="rId5"/>
    <p:sldMasterId id="2147483846" r:id="rId6"/>
    <p:sldMasterId id="2147483878" r:id="rId7"/>
    <p:sldMasterId id="2147483899" r:id="rId8"/>
    <p:sldMasterId id="2147483909" r:id="rId9"/>
  </p:sldMasterIdLst>
  <p:notesMasterIdLst>
    <p:notesMasterId r:id="rId24"/>
  </p:notesMasterIdLst>
  <p:handoutMasterIdLst>
    <p:handoutMasterId r:id="rId25"/>
  </p:handoutMasterIdLst>
  <p:sldIdLst>
    <p:sldId id="861" r:id="rId10"/>
    <p:sldId id="1078" r:id="rId11"/>
    <p:sldId id="1077" r:id="rId12"/>
    <p:sldId id="1044" r:id="rId13"/>
    <p:sldId id="1083" r:id="rId14"/>
    <p:sldId id="1071" r:id="rId15"/>
    <p:sldId id="1090" r:id="rId16"/>
    <p:sldId id="1065" r:id="rId17"/>
    <p:sldId id="1094" r:id="rId18"/>
    <p:sldId id="1092" r:id="rId19"/>
    <p:sldId id="1093" r:id="rId20"/>
    <p:sldId id="1089" r:id="rId21"/>
    <p:sldId id="1095" r:id="rId22"/>
    <p:sldId id="1014" r:id="rId23"/>
  </p:sldIdLst>
  <p:sldSz cx="9144000" cy="5143500" type="screen16x9"/>
  <p:notesSz cx="6858000" cy="9926638"/>
  <p:defaultTex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3128" userDrawn="1">
          <p15:clr>
            <a:srgbClr val="A4A3A4"/>
          </p15:clr>
        </p15:guide>
        <p15:guide id="2" pos="216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urmi Riikka (STM)" initials="NR(" lastIdx="24" clrIdx="0">
    <p:extLst>
      <p:ext uri="{19B8F6BF-5375-455C-9EA6-DF929625EA0E}">
        <p15:presenceInfo xmlns:p15="http://schemas.microsoft.com/office/powerpoint/2012/main" userId="S-1-5-21-3521595049-301303566-333748410-38958" providerId="AD"/>
      </p:ext>
    </p:extLst>
  </p:cmAuthor>
  <p:cmAuthor id="2" name="EXT Valli-Lintu Auli" initials="EVA" lastIdx="5" clrIdx="1">
    <p:extLst>
      <p:ext uri="{19B8F6BF-5375-455C-9EA6-DF929625EA0E}">
        <p15:presenceInfo xmlns:p15="http://schemas.microsoft.com/office/powerpoint/2012/main" userId="S-1-5-21-3521595049-301303566-333748410-85163" providerId="AD"/>
      </p:ext>
    </p:extLst>
  </p:cmAuthor>
  <p:cmAuthor id="4" name="Soikkeli Linda (STM)" initials="SL(" lastIdx="3" clrIdx="2">
    <p:extLst>
      <p:ext uri="{19B8F6BF-5375-455C-9EA6-DF929625EA0E}">
        <p15:presenceInfo xmlns:p15="http://schemas.microsoft.com/office/powerpoint/2012/main" userId="S-1-5-21-3521595049-301303566-333748410-39114" providerId="AD"/>
      </p:ext>
    </p:extLst>
  </p:cmAuthor>
  <p:cmAuthor id="5" name="Kainulainen Pirjo (STM)" initials="KP(" lastIdx="13" clrIdx="3">
    <p:extLst/>
  </p:cmAuthor>
  <p:cmAuthor id="6" name="Velic Suvi (STM)" initials="VS(" lastIdx="13" clrIdx="4">
    <p:extLst>
      <p:ext uri="{19B8F6BF-5375-455C-9EA6-DF929625EA0E}">
        <p15:presenceInfo xmlns:p15="http://schemas.microsoft.com/office/powerpoint/2012/main" userId="S-1-5-21-3521595049-301303566-333748410-79078" providerId="AD"/>
      </p:ext>
    </p:extLst>
  </p:cmAuthor>
  <p:cmAuthor id="7" name="Kuopila Antti" initials="KA" lastIdx="1" clrIdx="5">
    <p:extLst/>
  </p:cmAuthor>
  <p:cmAuthor id="8" name="VALTION\03113262" initials="V" lastIdx="11" clrIdx="6">
    <p:extLst>
      <p:ext uri="{19B8F6BF-5375-455C-9EA6-DF929625EA0E}">
        <p15:presenceInfo xmlns:p15="http://schemas.microsoft.com/office/powerpoint/2012/main" userId="VALTION\03113262" providerId="None"/>
      </p:ext>
    </p:extLst>
  </p:cmAuthor>
  <p:cmAuthor id="9" name="Mäntyranta Taina (STM)" initials="MT(" lastIdx="2" clrIdx="7">
    <p:extLst>
      <p:ext uri="{19B8F6BF-5375-455C-9EA6-DF929625EA0E}">
        <p15:presenceInfo xmlns:p15="http://schemas.microsoft.com/office/powerpoint/2012/main" userId="S-1-5-21-3521595049-301303566-333748410-39003" providerId="AD"/>
      </p:ext>
    </p:extLst>
  </p:cmAuthor>
  <p:cmAuthor id="10" name="@@Br4E7az7TiFLTULmrXQSf9WYYzXN" initials="@" lastIdx="1" clrIdx="8">
    <p:extLst>
      <p:ext uri="{19B8F6BF-5375-455C-9EA6-DF929625EA0E}">
        <p15:presenceInfo xmlns:p15="http://schemas.microsoft.com/office/powerpoint/2012/main" userId="@@Br4E7az7TiFLTULmrXQSf9WYYzXN" providerId="None"/>
      </p:ext>
    </p:extLst>
  </p:cmAuthor>
  <p:cmAuthor id="11" name="Vienamo Vappu (STM)" initials="VV(" lastIdx="6" clrIdx="9">
    <p:extLst>
      <p:ext uri="{19B8F6BF-5375-455C-9EA6-DF929625EA0E}">
        <p15:presenceInfo xmlns:p15="http://schemas.microsoft.com/office/powerpoint/2012/main" userId="S-1-5-21-3521595049-301303566-333748410-108274" providerId="AD"/>
      </p:ext>
    </p:extLst>
  </p:cmAuthor>
  <p:cmAuthor id="12" name="Hakari Kari (STM)" initials="HK(" lastIdx="8" clrIdx="10">
    <p:extLst>
      <p:ext uri="{19B8F6BF-5375-455C-9EA6-DF929625EA0E}">
        <p15:presenceInfo xmlns:p15="http://schemas.microsoft.com/office/powerpoint/2012/main" userId="S-1-5-21-3521595049-301303566-333748410-34046" providerId="AD"/>
      </p:ext>
    </p:extLst>
  </p:cmAuthor>
  <p:cmAuthor id="14" name="Pitkänen Pihla SM" initials="PPS" lastIdx="3" clrIdx="11"/>
  <p:cmAuthor id="15" name="Pitkänen Pihla (SM)" initials="P(" lastIdx="3" clrIdx="12">
    <p:extLst>
      <p:ext uri="{19B8F6BF-5375-455C-9EA6-DF929625EA0E}">
        <p15:presenceInfo xmlns:p15="http://schemas.microsoft.com/office/powerpoint/2012/main" userId="SIHLA.PITKANEN@INTERMIN.FI" providerId="AD"/>
      </p:ext>
    </p:extLst>
  </p:cmAuthor>
  <p:cmAuthor id="16" name="Kuopila Antti (STM)" initials="KA(" lastIdx="5" clrIdx="13">
    <p:extLst>
      <p:ext uri="{19B8F6BF-5375-455C-9EA6-DF929625EA0E}">
        <p15:presenceInfo xmlns:p15="http://schemas.microsoft.com/office/powerpoint/2012/main" userId="S-1-5-21-3521595049-301303566-333748410-46594" providerId="AD"/>
      </p:ext>
    </p:extLst>
  </p:cmAuthor>
  <p:cmAuthor id="17" name="Väisänen Antti" initials="VA" lastIdx="6" clrIdx="14">
    <p:extLst>
      <p:ext uri="{19B8F6BF-5375-455C-9EA6-DF929625EA0E}">
        <p15:presenceInfo xmlns:p15="http://schemas.microsoft.com/office/powerpoint/2012/main" userId="S-1-5-21-3521595049-301303566-333748410-12975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595965"/>
    <a:srgbClr val="EA006F"/>
    <a:srgbClr val="28438E"/>
    <a:srgbClr val="FFDFEE"/>
    <a:srgbClr val="D4F0EF"/>
    <a:srgbClr val="D4EBF7"/>
    <a:srgbClr val="000000"/>
    <a:srgbClr val="2699D6"/>
    <a:srgbClr val="2594C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Normaali tyyli 2 - Korostu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Normaali tyyli 2 - Korostus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Normaali tyyli 2 - Korostus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Normaali tyyli 2 - Korostus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203" autoAdjust="0"/>
    <p:restoredTop sz="86119" autoAdjust="0"/>
  </p:normalViewPr>
  <p:slideViewPr>
    <p:cSldViewPr showGuides="1">
      <p:cViewPr varScale="1">
        <p:scale>
          <a:sx n="63" d="100"/>
          <a:sy n="63" d="100"/>
        </p:scale>
        <p:origin x="933" y="45"/>
      </p:cViewPr>
      <p:guideLst>
        <p:guide orient="horz" pos="1620"/>
        <p:guide pos="2880"/>
      </p:guideLst>
    </p:cSldViewPr>
  </p:slideViewPr>
  <p:outlineViewPr>
    <p:cViewPr>
      <p:scale>
        <a:sx n="33" d="100"/>
        <a:sy n="33" d="100"/>
      </p:scale>
      <p:origin x="0" y="-110108"/>
    </p:cViewPr>
  </p:outlineViewPr>
  <p:notesTextViewPr>
    <p:cViewPr>
      <p:scale>
        <a:sx n="3" d="2"/>
        <a:sy n="3" d="2"/>
      </p:scale>
      <p:origin x="0" y="0"/>
    </p:cViewPr>
  </p:notesTextViewPr>
  <p:sorterViewPr>
    <p:cViewPr>
      <p:scale>
        <a:sx n="150" d="100"/>
        <a:sy n="150" d="100"/>
      </p:scale>
      <p:origin x="0" y="-3792"/>
    </p:cViewPr>
  </p:sorterViewPr>
  <p:notesViewPr>
    <p:cSldViewPr>
      <p:cViewPr varScale="1">
        <p:scale>
          <a:sx n="42" d="100"/>
          <a:sy n="42" d="100"/>
        </p:scale>
        <p:origin x="2342" y="17"/>
      </p:cViewPr>
      <p:guideLst>
        <p:guide orient="horz" pos="3128"/>
        <p:guide pos="216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2.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viewProps" Target="viewProps.xml"/><Relationship Id="rId10" Type="http://schemas.openxmlformats.org/officeDocument/2006/relationships/slide" Target="slides/slide1.xml"/><Relationship Id="rId19" Type="http://schemas.openxmlformats.org/officeDocument/2006/relationships/slide" Target="slides/slide10.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72439" cy="495696"/>
          </a:xfrm>
          <a:prstGeom prst="rect">
            <a:avLst/>
          </a:prstGeom>
        </p:spPr>
        <p:txBody>
          <a:bodyPr vert="horz" lIns="91671" tIns="45835" rIns="91671" bIns="45835" rtlCol="0"/>
          <a:lstStyle>
            <a:lvl1pPr algn="l">
              <a:defRPr sz="1200"/>
            </a:lvl1pPr>
          </a:lstStyle>
          <a:p>
            <a:endParaRPr lang="fi-FI"/>
          </a:p>
        </p:txBody>
      </p:sp>
      <p:sp>
        <p:nvSpPr>
          <p:cNvPr id="3" name="Date Placeholder 2"/>
          <p:cNvSpPr>
            <a:spLocks noGrp="1"/>
          </p:cNvSpPr>
          <p:nvPr>
            <p:ph type="dt" sz="quarter" idx="1"/>
          </p:nvPr>
        </p:nvSpPr>
        <p:spPr>
          <a:xfrm>
            <a:off x="3883967" y="0"/>
            <a:ext cx="2972439" cy="495696"/>
          </a:xfrm>
          <a:prstGeom prst="rect">
            <a:avLst/>
          </a:prstGeom>
        </p:spPr>
        <p:txBody>
          <a:bodyPr vert="horz" lIns="91671" tIns="45835" rIns="91671" bIns="45835" rtlCol="0"/>
          <a:lstStyle>
            <a:lvl1pPr algn="r">
              <a:defRPr sz="1200"/>
            </a:lvl1pPr>
          </a:lstStyle>
          <a:p>
            <a:fld id="{4DF5B08A-83ED-45E1-90DE-AADFEED44B75}" type="datetimeFigureOut">
              <a:rPr lang="fi-FI" smtClean="0"/>
              <a:t>12.11.2021</a:t>
            </a:fld>
            <a:endParaRPr lang="fi-FI"/>
          </a:p>
        </p:txBody>
      </p:sp>
      <p:sp>
        <p:nvSpPr>
          <p:cNvPr id="4" name="Footer Placeholder 3"/>
          <p:cNvSpPr>
            <a:spLocks noGrp="1"/>
          </p:cNvSpPr>
          <p:nvPr>
            <p:ph type="ftr" sz="quarter" idx="2"/>
          </p:nvPr>
        </p:nvSpPr>
        <p:spPr>
          <a:xfrm>
            <a:off x="1" y="9429354"/>
            <a:ext cx="2972439" cy="495696"/>
          </a:xfrm>
          <a:prstGeom prst="rect">
            <a:avLst/>
          </a:prstGeom>
        </p:spPr>
        <p:txBody>
          <a:bodyPr vert="horz" lIns="91671" tIns="45835" rIns="91671" bIns="45835" rtlCol="0" anchor="b"/>
          <a:lstStyle>
            <a:lvl1pPr algn="l">
              <a:defRPr sz="1200"/>
            </a:lvl1pPr>
          </a:lstStyle>
          <a:p>
            <a:endParaRPr lang="fi-FI"/>
          </a:p>
        </p:txBody>
      </p:sp>
      <p:sp>
        <p:nvSpPr>
          <p:cNvPr id="5" name="Slide Number Placeholder 4"/>
          <p:cNvSpPr>
            <a:spLocks noGrp="1"/>
          </p:cNvSpPr>
          <p:nvPr>
            <p:ph type="sldNum" sz="quarter" idx="3"/>
          </p:nvPr>
        </p:nvSpPr>
        <p:spPr>
          <a:xfrm>
            <a:off x="3883967" y="9429354"/>
            <a:ext cx="2972439" cy="495696"/>
          </a:xfrm>
          <a:prstGeom prst="rect">
            <a:avLst/>
          </a:prstGeom>
        </p:spPr>
        <p:txBody>
          <a:bodyPr vert="horz" lIns="91671" tIns="45835" rIns="91671" bIns="45835" rtlCol="0" anchor="b"/>
          <a:lstStyle>
            <a:lvl1pPr algn="r">
              <a:defRPr sz="1200"/>
            </a:lvl1pPr>
          </a:lstStyle>
          <a:p>
            <a:fld id="{72D1ADDD-E79E-4142-B033-52608F2C149A}" type="slidenum">
              <a:rPr lang="fi-FI" smtClean="0"/>
              <a:t>‹#›</a:t>
            </a:fld>
            <a:endParaRPr lang="fi-FI"/>
          </a:p>
        </p:txBody>
      </p:sp>
    </p:spTree>
    <p:extLst>
      <p:ext uri="{BB962C8B-B14F-4D97-AF65-F5344CB8AC3E}">
        <p14:creationId xmlns:p14="http://schemas.microsoft.com/office/powerpoint/2010/main" val="8677058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Ylätunnisteen paikkamerkki 1"/>
          <p:cNvSpPr>
            <a:spLocks noGrp="1"/>
          </p:cNvSpPr>
          <p:nvPr>
            <p:ph type="hdr" sz="quarter"/>
          </p:nvPr>
        </p:nvSpPr>
        <p:spPr>
          <a:xfrm>
            <a:off x="1" y="0"/>
            <a:ext cx="2971800" cy="496332"/>
          </a:xfrm>
          <a:prstGeom prst="rect">
            <a:avLst/>
          </a:prstGeom>
        </p:spPr>
        <p:txBody>
          <a:bodyPr vert="horz" lIns="91671" tIns="45835" rIns="91671" bIns="45835" rtlCol="0"/>
          <a:lstStyle>
            <a:lvl1pPr algn="l">
              <a:defRPr sz="1200"/>
            </a:lvl1pPr>
          </a:lstStyle>
          <a:p>
            <a:endParaRPr lang="fi-FI"/>
          </a:p>
        </p:txBody>
      </p:sp>
      <p:sp>
        <p:nvSpPr>
          <p:cNvPr id="3" name="Päivämäärän paikkamerkki 2"/>
          <p:cNvSpPr>
            <a:spLocks noGrp="1"/>
          </p:cNvSpPr>
          <p:nvPr>
            <p:ph type="dt" idx="1"/>
          </p:nvPr>
        </p:nvSpPr>
        <p:spPr>
          <a:xfrm>
            <a:off x="3884614" y="0"/>
            <a:ext cx="2971800" cy="496332"/>
          </a:xfrm>
          <a:prstGeom prst="rect">
            <a:avLst/>
          </a:prstGeom>
        </p:spPr>
        <p:txBody>
          <a:bodyPr vert="horz" lIns="91671" tIns="45835" rIns="91671" bIns="45835" rtlCol="0"/>
          <a:lstStyle>
            <a:lvl1pPr algn="r">
              <a:defRPr sz="1200"/>
            </a:lvl1pPr>
          </a:lstStyle>
          <a:p>
            <a:fld id="{6A7FAC48-2721-4B96-BA02-5768D8A8C6C8}" type="datetimeFigureOut">
              <a:rPr lang="fi-FI" smtClean="0"/>
              <a:pPr/>
              <a:t>12.11.2021</a:t>
            </a:fld>
            <a:endParaRPr lang="fi-FI"/>
          </a:p>
        </p:txBody>
      </p:sp>
      <p:sp>
        <p:nvSpPr>
          <p:cNvPr id="4" name="Dian kuvan paikkamerkki 3"/>
          <p:cNvSpPr>
            <a:spLocks noGrp="1" noRot="1" noChangeAspect="1"/>
          </p:cNvSpPr>
          <p:nvPr>
            <p:ph type="sldImg" idx="2"/>
          </p:nvPr>
        </p:nvSpPr>
        <p:spPr>
          <a:xfrm>
            <a:off x="120650" y="744538"/>
            <a:ext cx="6616700" cy="3722687"/>
          </a:xfrm>
          <a:prstGeom prst="rect">
            <a:avLst/>
          </a:prstGeom>
          <a:noFill/>
          <a:ln w="12700">
            <a:solidFill>
              <a:prstClr val="black"/>
            </a:solidFill>
          </a:ln>
        </p:spPr>
        <p:txBody>
          <a:bodyPr vert="horz" lIns="91671" tIns="45835" rIns="91671" bIns="45835" rtlCol="0" anchor="ctr"/>
          <a:lstStyle/>
          <a:p>
            <a:endParaRPr lang="fi-FI"/>
          </a:p>
        </p:txBody>
      </p:sp>
      <p:sp>
        <p:nvSpPr>
          <p:cNvPr id="5" name="Huomautusten paikkamerkki 4"/>
          <p:cNvSpPr>
            <a:spLocks noGrp="1"/>
          </p:cNvSpPr>
          <p:nvPr>
            <p:ph type="body" sz="quarter" idx="3"/>
          </p:nvPr>
        </p:nvSpPr>
        <p:spPr>
          <a:xfrm>
            <a:off x="685801" y="4715156"/>
            <a:ext cx="5486400" cy="4466987"/>
          </a:xfrm>
          <a:prstGeom prst="rect">
            <a:avLst/>
          </a:prstGeom>
        </p:spPr>
        <p:txBody>
          <a:bodyPr vert="horz" lIns="91671" tIns="45835" rIns="91671" bIns="45835" rtlCol="0"/>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6" name="Alatunnisteen paikkamerkki 5"/>
          <p:cNvSpPr>
            <a:spLocks noGrp="1"/>
          </p:cNvSpPr>
          <p:nvPr>
            <p:ph type="ftr" sz="quarter" idx="4"/>
          </p:nvPr>
        </p:nvSpPr>
        <p:spPr>
          <a:xfrm>
            <a:off x="1" y="9428585"/>
            <a:ext cx="2971800" cy="496332"/>
          </a:xfrm>
          <a:prstGeom prst="rect">
            <a:avLst/>
          </a:prstGeom>
        </p:spPr>
        <p:txBody>
          <a:bodyPr vert="horz" lIns="91671" tIns="45835" rIns="91671" bIns="45835" rtlCol="0" anchor="b"/>
          <a:lstStyle>
            <a:lvl1pPr algn="l">
              <a:defRPr sz="1200"/>
            </a:lvl1pPr>
          </a:lstStyle>
          <a:p>
            <a:endParaRPr lang="fi-FI"/>
          </a:p>
        </p:txBody>
      </p:sp>
      <p:sp>
        <p:nvSpPr>
          <p:cNvPr id="7" name="Dian numeron paikkamerkki 6"/>
          <p:cNvSpPr>
            <a:spLocks noGrp="1"/>
          </p:cNvSpPr>
          <p:nvPr>
            <p:ph type="sldNum" sz="quarter" idx="5"/>
          </p:nvPr>
        </p:nvSpPr>
        <p:spPr>
          <a:xfrm>
            <a:off x="3884614" y="9428585"/>
            <a:ext cx="2971800" cy="496332"/>
          </a:xfrm>
          <a:prstGeom prst="rect">
            <a:avLst/>
          </a:prstGeom>
        </p:spPr>
        <p:txBody>
          <a:bodyPr vert="horz" lIns="91671" tIns="45835" rIns="91671" bIns="45835" rtlCol="0" anchor="b"/>
          <a:lstStyle>
            <a:lvl1pPr algn="r">
              <a:defRPr sz="1200"/>
            </a:lvl1pPr>
          </a:lstStyle>
          <a:p>
            <a:fld id="{0433CE14-C27A-42FB-A7CF-16D08FB8F53C}" type="slidenum">
              <a:rPr lang="fi-FI" smtClean="0"/>
              <a:pPr/>
              <a:t>‹#›</a:t>
            </a:fld>
            <a:endParaRPr lang="fi-FI"/>
          </a:p>
        </p:txBody>
      </p:sp>
    </p:spTree>
    <p:extLst>
      <p:ext uri="{BB962C8B-B14F-4D97-AF65-F5344CB8AC3E}">
        <p14:creationId xmlns:p14="http://schemas.microsoft.com/office/powerpoint/2010/main" val="14218669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dirty="0"/>
          </a:p>
        </p:txBody>
      </p:sp>
      <p:sp>
        <p:nvSpPr>
          <p:cNvPr id="4" name="Dian numeron paikkamerkki 3"/>
          <p:cNvSpPr>
            <a:spLocks noGrp="1"/>
          </p:cNvSpPr>
          <p:nvPr>
            <p:ph type="sldNum" sz="quarter" idx="10"/>
          </p:nvPr>
        </p:nvSpPr>
        <p:spPr/>
        <p:txBody>
          <a:bodyPr/>
          <a:lstStyle/>
          <a:p>
            <a:fld id="{0433CE14-C27A-42FB-A7CF-16D08FB8F53C}" type="slidenum">
              <a:rPr lang="fi-FI" smtClean="0"/>
              <a:pPr/>
              <a:t>1</a:t>
            </a:fld>
            <a:endParaRPr lang="fi-FI"/>
          </a:p>
        </p:txBody>
      </p:sp>
    </p:spTree>
    <p:extLst>
      <p:ext uri="{BB962C8B-B14F-4D97-AF65-F5344CB8AC3E}">
        <p14:creationId xmlns:p14="http://schemas.microsoft.com/office/powerpoint/2010/main" val="15511775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r>
              <a:rPr lang="fi-FI" sz="1400" b="1" dirty="0"/>
              <a:t>Järjestämisvastuu</a:t>
            </a:r>
            <a:r>
              <a:rPr lang="fi-FI" sz="1400" dirty="0"/>
              <a:t> </a:t>
            </a:r>
            <a:r>
              <a:rPr lang="fi-FI" sz="1400" dirty="0" smtClean="0"/>
              <a:t>siirtyy kunnilta, </a:t>
            </a:r>
            <a:r>
              <a:rPr lang="fi-FI" sz="1400" dirty="0" err="1" smtClean="0"/>
              <a:t>sosiaali</a:t>
            </a:r>
            <a:r>
              <a:rPr lang="fi-FI" sz="1400" dirty="0" smtClean="0"/>
              <a:t>- ja terveydenhuollon kuntayhtymiltä, sairaanhoitopiireiltä hyvinvointialueille 1.1.2023</a:t>
            </a:r>
          </a:p>
          <a:p>
            <a:endParaRPr lang="fi-FI" sz="1400" dirty="0"/>
          </a:p>
          <a:p>
            <a:pPr marL="170970" indent="-170970">
              <a:buFont typeface="Wingdings" panose="05000000000000000000" pitchFamily="2" charset="2"/>
              <a:buChar char="Ø"/>
            </a:pPr>
            <a:r>
              <a:rPr lang="fi-FI" sz="1400" dirty="0"/>
              <a:t>Jokaisen hyvinvointialueen on pystyttävä ottamaan vastaan järjestämisvastuu heti tammikuun 2023 alussa siten, että kaikki ihmisten peruspalvelut toimivat häiriöttömästi.</a:t>
            </a:r>
          </a:p>
          <a:p>
            <a:pPr marL="170970" indent="-170970">
              <a:buFont typeface="Wingdings" panose="05000000000000000000" pitchFamily="2" charset="2"/>
              <a:buChar char="Ø"/>
            </a:pPr>
            <a:r>
              <a:rPr lang="fi-FI" sz="1400" dirty="0"/>
              <a:t>Talous- ja henkilöstöhallinnon ICT-järjestelmien on toimittava katkotta. Hyvinvointialueiden henkilöstön on esimerkiksi saatava palkkansa ajallaan ja ongelmitta. </a:t>
            </a:r>
          </a:p>
          <a:p>
            <a:pPr marL="170970" indent="-170970">
              <a:buFont typeface="Wingdings" panose="05000000000000000000" pitchFamily="2" charset="2"/>
              <a:buChar char="Ø"/>
            </a:pPr>
            <a:r>
              <a:rPr lang="fi-FI" sz="1400" dirty="0"/>
              <a:t>Kehittämistyö hyvinvointialueen toiminnan ja palvelujen parantamiseksi alkaa.</a:t>
            </a:r>
          </a:p>
          <a:p>
            <a:endParaRPr lang="fi-FI" dirty="0"/>
          </a:p>
        </p:txBody>
      </p:sp>
      <p:sp>
        <p:nvSpPr>
          <p:cNvPr id="4" name="Dian numeron paikkamerkki 3"/>
          <p:cNvSpPr>
            <a:spLocks noGrp="1"/>
          </p:cNvSpPr>
          <p:nvPr>
            <p:ph type="sldNum" sz="quarter" idx="10"/>
          </p:nvPr>
        </p:nvSpPr>
        <p:spPr/>
        <p:txBody>
          <a:bodyPr/>
          <a:lstStyle/>
          <a:p>
            <a:fld id="{0433CE14-C27A-42FB-A7CF-16D08FB8F53C}" type="slidenum">
              <a:rPr lang="fi-FI" smtClean="0"/>
              <a:pPr/>
              <a:t>2</a:t>
            </a:fld>
            <a:endParaRPr lang="fi-FI"/>
          </a:p>
        </p:txBody>
      </p:sp>
    </p:spTree>
    <p:extLst>
      <p:ext uri="{BB962C8B-B14F-4D97-AF65-F5344CB8AC3E}">
        <p14:creationId xmlns:p14="http://schemas.microsoft.com/office/powerpoint/2010/main" val="11648081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a:xfrm>
            <a:off x="685800" y="4714411"/>
            <a:ext cx="5486400" cy="4466987"/>
          </a:xfrm>
        </p:spPr>
        <p:txBody>
          <a:bodyPr/>
          <a:lstStyle/>
          <a:p>
            <a:r>
              <a:rPr lang="fi-FI" b="1" dirty="0" smtClean="0"/>
              <a:t>Perustamisvaihe</a:t>
            </a:r>
            <a:r>
              <a:rPr lang="fi-FI" b="1" baseline="0" dirty="0" smtClean="0"/>
              <a:t> </a:t>
            </a:r>
            <a:r>
              <a:rPr lang="fi-FI" baseline="0" dirty="0" smtClean="0"/>
              <a:t>käynnistyi heti lainsäädännön tultua voimaan 1.7.2021.</a:t>
            </a:r>
          </a:p>
          <a:p>
            <a:pPr marL="171450" indent="-171450">
              <a:buFont typeface="Wingdings" panose="05000000000000000000" pitchFamily="2" charset="2"/>
              <a:buChar char="Ø"/>
            </a:pPr>
            <a:r>
              <a:rPr lang="fi-FI" baseline="0" dirty="0" smtClean="0"/>
              <a:t>Lainsäädännön mukaan hyvinvointialueen väliaikaisen valmistelutoimielimen asettamiselle oli aikaa 2 kuukautta. Siten määräaika päättyi 31.8.2021.</a:t>
            </a:r>
          </a:p>
          <a:p>
            <a:pPr marL="171450" indent="-171450">
              <a:buFont typeface="Wingdings" panose="05000000000000000000" pitchFamily="2" charset="2"/>
              <a:buChar char="Ø"/>
            </a:pPr>
            <a:r>
              <a:rPr lang="fi-FI" baseline="0" dirty="0" smtClean="0"/>
              <a:t>Hienoa oli, että kaikki alueet onnistuivat käynnistämistehtävistä määräajassa. </a:t>
            </a:r>
          </a:p>
          <a:p>
            <a:pPr marL="0" indent="0">
              <a:buFont typeface="Wingdings" panose="05000000000000000000" pitchFamily="2" charset="2"/>
              <a:buNone/>
            </a:pPr>
            <a:endParaRPr lang="fi-FI" baseline="0" dirty="0" smtClean="0"/>
          </a:p>
          <a:p>
            <a:pPr marL="0" indent="0">
              <a:buFont typeface="Wingdings" panose="05000000000000000000" pitchFamily="2" charset="2"/>
              <a:buNone/>
            </a:pPr>
            <a:r>
              <a:rPr lang="fi-FI" b="1" dirty="0" err="1" smtClean="0"/>
              <a:t>Väliaikashallintojen</a:t>
            </a:r>
            <a:r>
              <a:rPr lang="fi-FI" b="1" dirty="0" smtClean="0"/>
              <a:t> (VATE) työ  </a:t>
            </a:r>
            <a:r>
              <a:rPr lang="fi-FI" dirty="0" smtClean="0"/>
              <a:t>on alkanut 1.9.2021 alkaen</a:t>
            </a:r>
          </a:p>
          <a:p>
            <a:pPr marL="171450" indent="-171450">
              <a:buFont typeface="Wingdings" panose="05000000000000000000" pitchFamily="2" charset="2"/>
              <a:buChar char="Ø"/>
            </a:pPr>
            <a:r>
              <a:rPr lang="fi-FI" dirty="0" smtClean="0"/>
              <a:t>Väliaikaiset</a:t>
            </a:r>
            <a:r>
              <a:rPr lang="fi-FI" baseline="0" dirty="0" smtClean="0"/>
              <a:t> valmistelutoimielimet ovat käynnistäneet työnsä.</a:t>
            </a:r>
          </a:p>
          <a:p>
            <a:pPr marL="171450" indent="-171450">
              <a:buFont typeface="Wingdings" panose="05000000000000000000" pitchFamily="2" charset="2"/>
              <a:buChar char="Ø"/>
            </a:pPr>
            <a:r>
              <a:rPr lang="fi-FI" baseline="0" dirty="0" smtClean="0"/>
              <a:t>Hyvinvointialueen väliaikainen valmistelutoimielin johtaa hyvinvointialueen toiminnan ja hallinnon käynnistämisen valmistelua ja käyttää sitä koskevaa päätösvaltaa sekä vastaa tehtäviinsä liittyvästä puhevallan käyttämisestä aluevaltuuston toimikauden alkuun asti.</a:t>
            </a:r>
          </a:p>
          <a:p>
            <a:pPr marL="171450" indent="-171450">
              <a:buFont typeface="Wingdings" panose="05000000000000000000" pitchFamily="2" charset="2"/>
              <a:buChar char="Ø"/>
            </a:pPr>
            <a:r>
              <a:rPr lang="fi-FI" baseline="0" dirty="0" smtClean="0"/>
              <a:t>Aluevaalit järjestetään 23.1.2022</a:t>
            </a:r>
          </a:p>
          <a:p>
            <a:pPr marL="0" indent="0">
              <a:buFont typeface="Wingdings" panose="05000000000000000000" pitchFamily="2" charset="2"/>
              <a:buNone/>
            </a:pPr>
            <a:endParaRPr lang="fi-FI" dirty="0" smtClean="0"/>
          </a:p>
          <a:p>
            <a:pPr marL="0" indent="0">
              <a:buFont typeface="Wingdings" panose="05000000000000000000" pitchFamily="2" charset="2"/>
              <a:buNone/>
            </a:pPr>
            <a:r>
              <a:rPr lang="fi-FI" b="1" dirty="0" smtClean="0"/>
              <a:t>Aluevaltuustot</a:t>
            </a:r>
            <a:r>
              <a:rPr lang="fi-FI" b="1" baseline="0" dirty="0" smtClean="0"/>
              <a:t> </a:t>
            </a:r>
            <a:r>
              <a:rPr lang="fi-FI" baseline="0" dirty="0" smtClean="0"/>
              <a:t>aloittavat kautensa maaliskuussa 2022</a:t>
            </a:r>
          </a:p>
          <a:p>
            <a:pPr marL="171450" indent="-171450">
              <a:buFont typeface="Wingdings" panose="05000000000000000000" pitchFamily="2" charset="2"/>
              <a:buChar char="Ø"/>
            </a:pPr>
            <a:r>
              <a:rPr lang="fi-FI" baseline="0" dirty="0" smtClean="0"/>
              <a:t>Aluevaltuustot nimittävät aluehallituksen, joiden työskentelyn alkaessa hyvinvointialueen operatiivisen toiminnan johtovastuu siirtyy väliaikaishallinnolta aluehallitukselle</a:t>
            </a:r>
          </a:p>
          <a:p>
            <a:pPr marL="171450" indent="-171450">
              <a:buFont typeface="Wingdings" panose="05000000000000000000" pitchFamily="2" charset="2"/>
              <a:buChar char="Ø"/>
            </a:pPr>
            <a:r>
              <a:rPr lang="fi-FI" baseline="0" dirty="0" smtClean="0"/>
              <a:t>Aluevaltuuston ensimmäisiin tehtäviin sisältyy talousarvion vahvistaminen, henkilöstön siirtosuunnitelman vahvistaminen ja henkilöstörekrytointien käynnistäminen sekä monien omaisuusjärjestelyjä koskevien sopimusten vahvistaminen. </a:t>
            </a:r>
          </a:p>
          <a:p>
            <a:pPr marL="171450" indent="-171450">
              <a:buFont typeface="Wingdings" panose="05000000000000000000" pitchFamily="2" charset="2"/>
              <a:buChar char="Ø"/>
            </a:pPr>
            <a:r>
              <a:rPr lang="fi-FI" baseline="0" dirty="0" smtClean="0"/>
              <a:t>Työmäärä on suuri, ja siksi tekemistä on priorisoitava. Aluevaltuusto vastaa siitä, että tehdään välttämätön hyvin ja ajallaan.</a:t>
            </a:r>
          </a:p>
          <a:p>
            <a:pPr marL="171450" indent="-171450">
              <a:buFont typeface="Wingdings" panose="05000000000000000000" pitchFamily="2" charset="2"/>
              <a:buChar char="Ø"/>
            </a:pPr>
            <a:r>
              <a:rPr lang="fi-FI" baseline="0" dirty="0" smtClean="0"/>
              <a:t>Aluevaltuusto vastaa hyvinvointialueen toiminnan riskien tunnistamisesta ja hallintasuunnitelman muodostamisesta. </a:t>
            </a:r>
          </a:p>
          <a:p>
            <a:pPr marL="171450" indent="-171450">
              <a:buFont typeface="Wingdings" panose="05000000000000000000" pitchFamily="2" charset="2"/>
              <a:buChar char="Ø"/>
            </a:pPr>
            <a:r>
              <a:rPr lang="fi-FI" baseline="0" dirty="0" smtClean="0"/>
              <a:t>Vuoden 2022 kuluessa hyvinvointialueet valmistautuvat kunnilta siirtyvien </a:t>
            </a:r>
            <a:r>
              <a:rPr lang="fi-FI" baseline="0" dirty="0" err="1" smtClean="0"/>
              <a:t>sosiaali</a:t>
            </a:r>
            <a:r>
              <a:rPr lang="fi-FI" baseline="0" dirty="0" smtClean="0"/>
              <a:t>- ja terveydenhuollon ja pelastustoimen järjestämistehtävien vastaanottoon.</a:t>
            </a:r>
            <a:endParaRPr lang="fi-FI" dirty="0" smtClean="0"/>
          </a:p>
          <a:p>
            <a:pPr marL="0" indent="0">
              <a:buFont typeface="Wingdings" panose="05000000000000000000" pitchFamily="2" charset="2"/>
              <a:buNone/>
            </a:pPr>
            <a:endParaRPr lang="fi-FI" dirty="0" smtClean="0"/>
          </a:p>
          <a:p>
            <a:pPr marL="0" indent="0">
              <a:buFont typeface="Wingdings" panose="05000000000000000000" pitchFamily="2" charset="2"/>
              <a:buNone/>
            </a:pPr>
            <a:endParaRPr lang="fi-FI" dirty="0" smtClean="0"/>
          </a:p>
        </p:txBody>
      </p:sp>
      <p:sp>
        <p:nvSpPr>
          <p:cNvPr id="4" name="Dian numeron paikkamerkki 3"/>
          <p:cNvSpPr>
            <a:spLocks noGrp="1"/>
          </p:cNvSpPr>
          <p:nvPr>
            <p:ph type="sldNum" sz="quarter" idx="10"/>
          </p:nvPr>
        </p:nvSpPr>
        <p:spPr/>
        <p:txBody>
          <a:bodyPr/>
          <a:lstStyle/>
          <a:p>
            <a:fld id="{88286448-0962-443A-A7A6-40140D0BD552}" type="slidenum">
              <a:rPr lang="fi-FI" smtClean="0"/>
              <a:t>3</a:t>
            </a:fld>
            <a:endParaRPr lang="fi-FI"/>
          </a:p>
        </p:txBody>
      </p:sp>
    </p:spTree>
    <p:extLst>
      <p:ext uri="{BB962C8B-B14F-4D97-AF65-F5344CB8AC3E}">
        <p14:creationId xmlns:p14="http://schemas.microsoft.com/office/powerpoint/2010/main" val="29579680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pPr marL="171450" indent="-171450">
              <a:buFont typeface="Arial" panose="020B0604020202020204" pitchFamily="34" charset="0"/>
              <a:buChar char="•"/>
            </a:pPr>
            <a:r>
              <a:rPr lang="fi-FI" sz="1200" dirty="0" smtClean="0"/>
              <a:t>Päävastuu</a:t>
            </a:r>
            <a:r>
              <a:rPr lang="fi-FI" sz="1200" baseline="0" dirty="0" smtClean="0"/>
              <a:t> toimeenpanosta on alueilla, mutta valtioneuvosto tukee työtä. </a:t>
            </a:r>
            <a:r>
              <a:rPr lang="fi-FI" sz="1200" baseline="0" dirty="0" smtClean="0">
                <a:solidFill>
                  <a:srgbClr val="FF0000"/>
                </a:solidFill>
              </a:rPr>
              <a:t>Tuessa keskeistä on valtionavustukset</a:t>
            </a:r>
            <a:r>
              <a:rPr lang="fi-FI" sz="1200" dirty="0" smtClean="0">
                <a:solidFill>
                  <a:srgbClr val="FF0000"/>
                </a:solidFill>
              </a:rPr>
              <a:t> ja vuorovaikutus/verkostot. </a:t>
            </a:r>
          </a:p>
          <a:p>
            <a:pPr marL="285750" indent="-285750">
              <a:buFont typeface="Arial" panose="020B0604020202020204" pitchFamily="34" charset="0"/>
              <a:buChar char="•"/>
            </a:pPr>
            <a:r>
              <a:rPr lang="fi-FI" sz="1200" dirty="0" smtClean="0">
                <a:solidFill>
                  <a:schemeClr val="tx1">
                    <a:lumMod val="65000"/>
                    <a:lumOff val="35000"/>
                  </a:schemeClr>
                </a:solidFill>
              </a:rPr>
              <a:t>Alueellisen toimeenpanon tiekarttaan on </a:t>
            </a:r>
            <a:r>
              <a:rPr lang="fi-FI" sz="1200" dirty="0" smtClean="0">
                <a:solidFill>
                  <a:srgbClr val="FF0000"/>
                </a:solidFill>
              </a:rPr>
              <a:t>laadittu viime keväänä yhteistyössä alueellisten ja valtakunnallisten toimijoiden kanssa.</a:t>
            </a:r>
          </a:p>
          <a:p>
            <a:pPr marL="285750" indent="-285750">
              <a:buFont typeface="Arial" panose="020B0604020202020204" pitchFamily="34" charset="0"/>
              <a:buChar char="•"/>
            </a:pPr>
            <a:r>
              <a:rPr lang="fi-FI" sz="1200" dirty="0" smtClean="0">
                <a:solidFill>
                  <a:srgbClr val="FF0000"/>
                </a:solidFill>
              </a:rPr>
              <a:t>Tiekarttaan on </a:t>
            </a:r>
            <a:r>
              <a:rPr lang="fi-FI" sz="1200" dirty="0" smtClean="0">
                <a:solidFill>
                  <a:schemeClr val="tx1">
                    <a:lumMod val="65000"/>
                    <a:lumOff val="35000"/>
                  </a:schemeClr>
                </a:solidFill>
              </a:rPr>
              <a:t>kirjattu keskeisiä askelmerkkejä/tehtäviä toimeenpanon aikataulussa pitämiseksi.</a:t>
            </a:r>
          </a:p>
          <a:p>
            <a:pPr marL="285750" indent="-285750">
              <a:buFont typeface="Arial" panose="020B0604020202020204" pitchFamily="34" charset="0"/>
              <a:buChar char="•"/>
            </a:pPr>
            <a:r>
              <a:rPr lang="fi-FI" sz="1200" dirty="0" smtClean="0">
                <a:solidFill>
                  <a:srgbClr val="FF0000"/>
                </a:solidFill>
              </a:rPr>
              <a:t>Tiekarttaan on merkitty kriittiset tekijät, jotka on oltava valmiina, kun hyvinvointialue aloittaa toimintansa 2023. </a:t>
            </a:r>
          </a:p>
          <a:p>
            <a:pPr marL="285750" indent="-285750">
              <a:buFont typeface="Arial" panose="020B0604020202020204" pitchFamily="34" charset="0"/>
              <a:buChar char="•"/>
            </a:pPr>
            <a:r>
              <a:rPr lang="fi-FI" sz="1200" dirty="0" smtClean="0">
                <a:solidFill>
                  <a:srgbClr val="FF0000"/>
                </a:solidFill>
              </a:rPr>
              <a:t>Näitä kriittisiä tehtäviä käydään läpi alueiden kanssa käytävissä tilannekuvakeskusteluissa kuukausittain. </a:t>
            </a:r>
          </a:p>
          <a:p>
            <a:pPr marL="285750" indent="-285750">
              <a:buFont typeface="Arial" panose="020B0604020202020204" pitchFamily="34" charset="0"/>
              <a:buChar char="•"/>
            </a:pPr>
            <a:r>
              <a:rPr lang="fi-FI" sz="1200" dirty="0" smtClean="0">
                <a:solidFill>
                  <a:srgbClr val="FF0000"/>
                </a:solidFill>
              </a:rPr>
              <a:t>Tilannekuvakeskusteluissa yritetään löytää alueiden riskit ja tuen tarpeet. </a:t>
            </a:r>
          </a:p>
          <a:p>
            <a:pPr marL="285750" indent="-285750">
              <a:buFont typeface="Arial" panose="020B0604020202020204" pitchFamily="34" charset="0"/>
              <a:buChar char="•"/>
            </a:pPr>
            <a:r>
              <a:rPr lang="fi-FI" sz="1200" dirty="0" smtClean="0">
                <a:solidFill>
                  <a:srgbClr val="FF0000"/>
                </a:solidFill>
              </a:rPr>
              <a:t>Tukea tarjotaan valmisteluverkostoissa, jotka on teemoitettu tiekartan osa-alueiden mukaan (1. hallinto, talous ja tukipalvelut; 2. Johtaminen ja osaaminen; 3. Palvelujen järjestäminen; 4. Yhdyspinnat ja 5. ICT</a:t>
            </a:r>
            <a:endParaRPr lang="fi-FI" sz="1200" dirty="0" smtClean="0">
              <a:solidFill>
                <a:schemeClr val="tx1">
                  <a:lumMod val="65000"/>
                  <a:lumOff val="35000"/>
                </a:schemeClr>
              </a:solidFill>
            </a:endParaRPr>
          </a:p>
          <a:p>
            <a:endParaRPr lang="fi-FI" dirty="0"/>
          </a:p>
        </p:txBody>
      </p:sp>
      <p:sp>
        <p:nvSpPr>
          <p:cNvPr id="4" name="Dian numeron paikkamerkki 3"/>
          <p:cNvSpPr>
            <a:spLocks noGrp="1"/>
          </p:cNvSpPr>
          <p:nvPr>
            <p:ph type="sldNum" sz="quarter" idx="10"/>
          </p:nvPr>
        </p:nvSpPr>
        <p:spPr/>
        <p:txBody>
          <a:bodyPr/>
          <a:lstStyle/>
          <a:p>
            <a:fld id="{0433CE14-C27A-42FB-A7CF-16D08FB8F53C}" type="slidenum">
              <a:rPr lang="fi-FI" smtClean="0"/>
              <a:pPr/>
              <a:t>4</a:t>
            </a:fld>
            <a:endParaRPr lang="fi-FI"/>
          </a:p>
        </p:txBody>
      </p:sp>
    </p:spTree>
    <p:extLst>
      <p:ext uri="{BB962C8B-B14F-4D97-AF65-F5344CB8AC3E}">
        <p14:creationId xmlns:p14="http://schemas.microsoft.com/office/powerpoint/2010/main" val="10024110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r>
              <a:rPr lang="fi-FI" dirty="0" smtClean="0"/>
              <a:t>Tämä tilannekuva kertoo, että lähes kaikilla alueilla valmistelu on käynnistynyt hyvin. </a:t>
            </a:r>
            <a:r>
              <a:rPr lang="fi-FI" dirty="0" smtClean="0"/>
              <a:t>Jonkin verran on keltaista ja huutomerkkejä eli on kohtia, joissa alueet tarvitsevat apua, neuvoja valtioneuvostolta.</a:t>
            </a:r>
            <a:endParaRPr lang="fi-FI" dirty="0"/>
          </a:p>
        </p:txBody>
      </p:sp>
      <p:sp>
        <p:nvSpPr>
          <p:cNvPr id="4" name="Dian numeron paikkamerkki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95E3B2-A3B1-4746-AE91-F5C31A7F6F58}" type="slidenum">
              <a:rPr kumimoji="0" lang="fi-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fi-FI"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23289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4.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Master" Target="../slideMasters/slideMaster4.xml"/><Relationship Id="rId4" Type="http://schemas.openxmlformats.org/officeDocument/2006/relationships/image" Target="../media/image4.emf"/></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jpeg"/><Relationship Id="rId1" Type="http://schemas.openxmlformats.org/officeDocument/2006/relationships/slideMaster" Target="../slideMasters/slideMaster4.xml"/><Relationship Id="rId4" Type="http://schemas.openxmlformats.org/officeDocument/2006/relationships/image" Target="../media/image4.emf"/></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jpeg"/><Relationship Id="rId1" Type="http://schemas.openxmlformats.org/officeDocument/2006/relationships/slideMaster" Target="../slideMasters/slideMaster4.xml"/><Relationship Id="rId4" Type="http://schemas.openxmlformats.org/officeDocument/2006/relationships/image" Target="../media/image4.emf"/></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jpeg"/><Relationship Id="rId1" Type="http://schemas.openxmlformats.org/officeDocument/2006/relationships/slideMaster" Target="../slideMasters/slideMaster4.xml"/><Relationship Id="rId4" Type="http://schemas.openxmlformats.org/officeDocument/2006/relationships/image" Target="../media/image4.emf"/></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jpeg"/><Relationship Id="rId1" Type="http://schemas.openxmlformats.org/officeDocument/2006/relationships/slideMaster" Target="../slideMasters/slideMaster4.xml"/><Relationship Id="rId4" Type="http://schemas.openxmlformats.org/officeDocument/2006/relationships/image" Target="../media/image4.emf"/></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jpeg"/><Relationship Id="rId1" Type="http://schemas.openxmlformats.org/officeDocument/2006/relationships/slideMaster" Target="../slideMasters/slideMaster4.xml"/><Relationship Id="rId4" Type="http://schemas.openxmlformats.org/officeDocument/2006/relationships/image" Target="../media/image4.emf"/></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4.xml"/><Relationship Id="rId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4.emf"/></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4.emf"/></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Master" Target="../slideMasters/slideMaster6.xml"/><Relationship Id="rId4"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jpeg"/><Relationship Id="rId1" Type="http://schemas.openxmlformats.org/officeDocument/2006/relationships/slideMaster" Target="../slideMasters/slideMaster6.xml"/><Relationship Id="rId4" Type="http://schemas.openxmlformats.org/officeDocument/2006/relationships/image" Target="../media/image4.emf"/></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jpeg"/><Relationship Id="rId1" Type="http://schemas.openxmlformats.org/officeDocument/2006/relationships/slideMaster" Target="../slideMasters/slideMaster6.xml"/><Relationship Id="rId4" Type="http://schemas.openxmlformats.org/officeDocument/2006/relationships/image" Target="../media/image4.emf"/></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jpeg"/><Relationship Id="rId1" Type="http://schemas.openxmlformats.org/officeDocument/2006/relationships/slideMaster" Target="../slideMasters/slideMaster6.xml"/><Relationship Id="rId4" Type="http://schemas.openxmlformats.org/officeDocument/2006/relationships/image" Target="../media/image4.emf"/></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jpeg"/><Relationship Id="rId1" Type="http://schemas.openxmlformats.org/officeDocument/2006/relationships/slideMaster" Target="../slideMasters/slideMaster6.xml"/><Relationship Id="rId4" Type="http://schemas.openxmlformats.org/officeDocument/2006/relationships/image" Target="../media/image4.emf"/></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jpeg"/><Relationship Id="rId1" Type="http://schemas.openxmlformats.org/officeDocument/2006/relationships/slideMaster" Target="../slideMasters/slideMaster6.xml"/><Relationship Id="rId4" Type="http://schemas.openxmlformats.org/officeDocument/2006/relationships/image" Target="../media/image4.emf"/></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jpeg"/><Relationship Id="rId1" Type="http://schemas.openxmlformats.org/officeDocument/2006/relationships/slideMaster" Target="../slideMasters/slideMaster6.xml"/><Relationship Id="rId4" Type="http://schemas.openxmlformats.org/officeDocument/2006/relationships/image" Target="../media/image4.emf"/></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8.png"/><Relationship Id="rId1" Type="http://schemas.openxmlformats.org/officeDocument/2006/relationships/slideMaster" Target="../slideMasters/slideMaster6.xml"/><Relationship Id="rId4" Type="http://schemas.openxmlformats.org/officeDocument/2006/relationships/image" Target="../media/image4.emf"/></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6.xml"/><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Pääotsikko Sote">
    <p:spTree>
      <p:nvGrpSpPr>
        <p:cNvPr id="1" name=""/>
        <p:cNvGrpSpPr/>
        <p:nvPr/>
      </p:nvGrpSpPr>
      <p:grpSpPr>
        <a:xfrm>
          <a:off x="0" y="0"/>
          <a:ext cx="0" cy="0"/>
          <a:chOff x="0" y="0"/>
          <a:chExt cx="0" cy="0"/>
        </a:xfrm>
      </p:grpSpPr>
      <p:sp>
        <p:nvSpPr>
          <p:cNvPr id="7" name="Otsikko 1"/>
          <p:cNvSpPr>
            <a:spLocks noGrp="1"/>
          </p:cNvSpPr>
          <p:nvPr>
            <p:ph type="ctrTitle"/>
          </p:nvPr>
        </p:nvSpPr>
        <p:spPr>
          <a:xfrm>
            <a:off x="683568" y="1851670"/>
            <a:ext cx="5832648" cy="2095528"/>
          </a:xfrm>
        </p:spPr>
        <p:txBody>
          <a:bodyPr anchor="b" anchorCtr="0">
            <a:noAutofit/>
          </a:bodyPr>
          <a:lstStyle>
            <a:lvl1pPr algn="l">
              <a:defRPr sz="4000">
                <a:solidFill>
                  <a:srgbClr val="FFFFFF"/>
                </a:solidFill>
              </a:defRPr>
            </a:lvl1pPr>
          </a:lstStyle>
          <a:p>
            <a:r>
              <a:rPr lang="en-US" dirty="0"/>
              <a:t>Click to edit Master title style</a:t>
            </a:r>
            <a:endParaRPr lang="fi-FI" dirty="0"/>
          </a:p>
        </p:txBody>
      </p:sp>
      <p:sp>
        <p:nvSpPr>
          <p:cNvPr id="8" name="Alaotsikko 2"/>
          <p:cNvSpPr>
            <a:spLocks noGrp="1"/>
          </p:cNvSpPr>
          <p:nvPr>
            <p:ph type="subTitle" idx="1"/>
          </p:nvPr>
        </p:nvSpPr>
        <p:spPr>
          <a:xfrm>
            <a:off x="683568" y="4064577"/>
            <a:ext cx="5832648" cy="667413"/>
          </a:xfrm>
        </p:spPr>
        <p:txBody>
          <a:bodyPr>
            <a:normAutofit/>
          </a:bodyPr>
          <a:lstStyle>
            <a:lvl1pPr marL="0" indent="0" algn="l">
              <a:spcBef>
                <a:spcPts val="0"/>
              </a:spcBef>
              <a:buNone/>
              <a:defRPr sz="18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fi-FI" dirty="0"/>
          </a:p>
        </p:txBody>
      </p:sp>
      <p:pic>
        <p:nvPicPr>
          <p:cNvPr id="3" name="Picture 2">
            <a:extLst>
              <a:ext uri="{FF2B5EF4-FFF2-40B4-BE49-F238E27FC236}">
                <a16:creationId xmlns:a16="http://schemas.microsoft.com/office/drawing/2014/main" id="{DE92C5AF-A585-B247-8A1C-ABA6794D7A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512" y="0"/>
            <a:ext cx="9180512" cy="5164038"/>
          </a:xfrm>
          <a:prstGeom prst="rect">
            <a:avLst/>
          </a:prstGeom>
        </p:spPr>
      </p:pic>
      <p:pic>
        <p:nvPicPr>
          <p:cNvPr id="4" name="Picture 3">
            <a:extLst>
              <a:ext uri="{FF2B5EF4-FFF2-40B4-BE49-F238E27FC236}">
                <a16:creationId xmlns:a16="http://schemas.microsoft.com/office/drawing/2014/main" id="{F1689B57-8BAA-BF42-B648-10782572357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804248" y="4443958"/>
            <a:ext cx="2088034" cy="397877"/>
          </a:xfrm>
          <a:prstGeom prst="rect">
            <a:avLst/>
          </a:prstGeom>
        </p:spPr>
      </p:pic>
      <p:sp>
        <p:nvSpPr>
          <p:cNvPr id="53" name="Freeform 29">
            <a:extLst>
              <a:ext uri="{FF2B5EF4-FFF2-40B4-BE49-F238E27FC236}">
                <a16:creationId xmlns:a16="http://schemas.microsoft.com/office/drawing/2014/main" id="{72F12E7F-4413-244A-830A-CC060AC20C68}"/>
              </a:ext>
            </a:extLst>
          </p:cNvPr>
          <p:cNvSpPr>
            <a:spLocks noEditPoints="1"/>
          </p:cNvSpPr>
          <p:nvPr userDrawn="1"/>
        </p:nvSpPr>
        <p:spPr bwMode="auto">
          <a:xfrm>
            <a:off x="703263" y="627063"/>
            <a:ext cx="657225" cy="898525"/>
          </a:xfrm>
          <a:custGeom>
            <a:avLst/>
            <a:gdLst>
              <a:gd name="T0" fmla="*/ 3944 w 4973"/>
              <a:gd name="T1" fmla="*/ 6352 h 6792"/>
              <a:gd name="T2" fmla="*/ 1694 w 4973"/>
              <a:gd name="T3" fmla="*/ 6143 h 6792"/>
              <a:gd name="T4" fmla="*/ 2984 w 4973"/>
              <a:gd name="T5" fmla="*/ 3784 h 6792"/>
              <a:gd name="T6" fmla="*/ 2316 w 4973"/>
              <a:gd name="T7" fmla="*/ 4454 h 6792"/>
              <a:gd name="T8" fmla="*/ 1155 w 4973"/>
              <a:gd name="T9" fmla="*/ 4705 h 6792"/>
              <a:gd name="T10" fmla="*/ 1077 w 4973"/>
              <a:gd name="T11" fmla="*/ 4988 h 6792"/>
              <a:gd name="T12" fmla="*/ 910 w 4973"/>
              <a:gd name="T13" fmla="*/ 5245 h 6792"/>
              <a:gd name="T14" fmla="*/ 961 w 4973"/>
              <a:gd name="T15" fmla="*/ 5618 h 6792"/>
              <a:gd name="T16" fmla="*/ 1600 w 4973"/>
              <a:gd name="T17" fmla="*/ 5369 h 6792"/>
              <a:gd name="T18" fmla="*/ 1886 w 4973"/>
              <a:gd name="T19" fmla="*/ 5421 h 6792"/>
              <a:gd name="T20" fmla="*/ 2617 w 4973"/>
              <a:gd name="T21" fmla="*/ 5123 h 6792"/>
              <a:gd name="T22" fmla="*/ 2857 w 4973"/>
              <a:gd name="T23" fmla="*/ 4678 h 6792"/>
              <a:gd name="T24" fmla="*/ 489 w 4973"/>
              <a:gd name="T25" fmla="*/ 5877 h 6792"/>
              <a:gd name="T26" fmla="*/ 1233 w 4973"/>
              <a:gd name="T27" fmla="*/ 6668 h 6792"/>
              <a:gd name="T28" fmla="*/ 1527 w 4973"/>
              <a:gd name="T29" fmla="*/ 5749 h 6792"/>
              <a:gd name="T30" fmla="*/ 927 w 4973"/>
              <a:gd name="T31" fmla="*/ 5758 h 6792"/>
              <a:gd name="T32" fmla="*/ 429 w 4973"/>
              <a:gd name="T33" fmla="*/ 621 h 6792"/>
              <a:gd name="T34" fmla="*/ 914 w 4973"/>
              <a:gd name="T35" fmla="*/ 547 h 6792"/>
              <a:gd name="T36" fmla="*/ 829 w 4973"/>
              <a:gd name="T37" fmla="*/ 957 h 6792"/>
              <a:gd name="T38" fmla="*/ 1232 w 4973"/>
              <a:gd name="T39" fmla="*/ 762 h 6792"/>
              <a:gd name="T40" fmla="*/ 780 w 4973"/>
              <a:gd name="T41" fmla="*/ 1976 h 6792"/>
              <a:gd name="T42" fmla="*/ 1297 w 4973"/>
              <a:gd name="T43" fmla="*/ 319 h 6792"/>
              <a:gd name="T44" fmla="*/ 1481 w 4973"/>
              <a:gd name="T45" fmla="*/ 731 h 6792"/>
              <a:gd name="T46" fmla="*/ 3458 w 4973"/>
              <a:gd name="T47" fmla="*/ 480 h 6792"/>
              <a:gd name="T48" fmla="*/ 3084 w 4973"/>
              <a:gd name="T49" fmla="*/ 643 h 6792"/>
              <a:gd name="T50" fmla="*/ 2947 w 4973"/>
              <a:gd name="T51" fmla="*/ 214 h 6792"/>
              <a:gd name="T52" fmla="*/ 2541 w 4973"/>
              <a:gd name="T53" fmla="*/ 417 h 6792"/>
              <a:gd name="T54" fmla="*/ 2413 w 4973"/>
              <a:gd name="T55" fmla="*/ 28 h 6792"/>
              <a:gd name="T56" fmla="*/ 3900 w 4973"/>
              <a:gd name="T57" fmla="*/ 1991 h 6792"/>
              <a:gd name="T58" fmla="*/ 4172 w 4973"/>
              <a:gd name="T59" fmla="*/ 1335 h 6792"/>
              <a:gd name="T60" fmla="*/ 3970 w 4973"/>
              <a:gd name="T61" fmla="*/ 3382 h 6792"/>
              <a:gd name="T62" fmla="*/ 4830 w 4973"/>
              <a:gd name="T63" fmla="*/ 2682 h 6792"/>
              <a:gd name="T64" fmla="*/ 4551 w 4973"/>
              <a:gd name="T65" fmla="*/ 1246 h 6792"/>
              <a:gd name="T66" fmla="*/ 3641 w 4973"/>
              <a:gd name="T67" fmla="*/ 1994 h 6792"/>
              <a:gd name="T68" fmla="*/ 3910 w 4973"/>
              <a:gd name="T69" fmla="*/ 2958 h 6792"/>
              <a:gd name="T70" fmla="*/ 4286 w 4973"/>
              <a:gd name="T71" fmla="*/ 2402 h 6792"/>
              <a:gd name="T72" fmla="*/ 3965 w 4973"/>
              <a:gd name="T73" fmla="*/ 3379 h 6792"/>
              <a:gd name="T74" fmla="*/ 3169 w 4973"/>
              <a:gd name="T75" fmla="*/ 2142 h 6792"/>
              <a:gd name="T76" fmla="*/ 3399 w 4973"/>
              <a:gd name="T77" fmla="*/ 1285 h 6792"/>
              <a:gd name="T78" fmla="*/ 2604 w 4973"/>
              <a:gd name="T79" fmla="*/ 769 h 6792"/>
              <a:gd name="T80" fmla="*/ 2052 w 4973"/>
              <a:gd name="T81" fmla="*/ 1359 h 6792"/>
              <a:gd name="T82" fmla="*/ 1664 w 4973"/>
              <a:gd name="T83" fmla="*/ 1597 h 6792"/>
              <a:gd name="T84" fmla="*/ 2105 w 4973"/>
              <a:gd name="T85" fmla="*/ 1550 h 6792"/>
              <a:gd name="T86" fmla="*/ 1945 w 4973"/>
              <a:gd name="T87" fmla="*/ 1849 h 6792"/>
              <a:gd name="T88" fmla="*/ 1151 w 4973"/>
              <a:gd name="T89" fmla="*/ 2851 h 6792"/>
              <a:gd name="T90" fmla="*/ 331 w 4973"/>
              <a:gd name="T91" fmla="*/ 2774 h 6792"/>
              <a:gd name="T92" fmla="*/ 150 w 4973"/>
              <a:gd name="T93" fmla="*/ 2974 h 6792"/>
              <a:gd name="T94" fmla="*/ 554 w 4973"/>
              <a:gd name="T95" fmla="*/ 3191 h 6792"/>
              <a:gd name="T96" fmla="*/ 489 w 4973"/>
              <a:gd name="T97" fmla="*/ 3468 h 6792"/>
              <a:gd name="T98" fmla="*/ 935 w 4973"/>
              <a:gd name="T99" fmla="*/ 3451 h 6792"/>
              <a:gd name="T100" fmla="*/ 1725 w 4973"/>
              <a:gd name="T101" fmla="*/ 2972 h 6792"/>
              <a:gd name="T102" fmla="*/ 3397 w 4973"/>
              <a:gd name="T103" fmla="*/ 3673 h 6792"/>
              <a:gd name="T104" fmla="*/ 3711 w 4973"/>
              <a:gd name="T105" fmla="*/ 4812 h 6792"/>
              <a:gd name="T106" fmla="*/ 4356 w 4973"/>
              <a:gd name="T107" fmla="*/ 5526 h 6792"/>
              <a:gd name="T108" fmla="*/ 3835 w 4973"/>
              <a:gd name="T109" fmla="*/ 5815 h 6792"/>
              <a:gd name="T110" fmla="*/ 3750 w 4973"/>
              <a:gd name="T111" fmla="*/ 6147 h 6792"/>
              <a:gd name="T112" fmla="*/ 4262 w 4973"/>
              <a:gd name="T113" fmla="*/ 6036 h 6792"/>
              <a:gd name="T114" fmla="*/ 4324 w 4973"/>
              <a:gd name="T115" fmla="*/ 6374 h 6792"/>
              <a:gd name="T116" fmla="*/ 4692 w 4973"/>
              <a:gd name="T117" fmla="*/ 6210 h 6792"/>
              <a:gd name="T118" fmla="*/ 4659 w 4973"/>
              <a:gd name="T119" fmla="*/ 5487 h 6792"/>
              <a:gd name="T120" fmla="*/ 4786 w 4973"/>
              <a:gd name="T121" fmla="*/ 4785 h 6792"/>
              <a:gd name="T122" fmla="*/ 4362 w 4973"/>
              <a:gd name="T123" fmla="*/ 4115 h 6792"/>
              <a:gd name="T124" fmla="*/ 4803 w 4973"/>
              <a:gd name="T125" fmla="*/ 3237 h 6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973" h="6792">
                <a:moveTo>
                  <a:pt x="1358" y="6333"/>
                </a:moveTo>
                <a:lnTo>
                  <a:pt x="1358" y="6333"/>
                </a:lnTo>
                <a:lnTo>
                  <a:pt x="1445" y="6392"/>
                </a:lnTo>
                <a:lnTo>
                  <a:pt x="1485" y="6418"/>
                </a:lnTo>
                <a:lnTo>
                  <a:pt x="1524" y="6443"/>
                </a:lnTo>
                <a:lnTo>
                  <a:pt x="1561" y="6466"/>
                </a:lnTo>
                <a:lnTo>
                  <a:pt x="1599" y="6487"/>
                </a:lnTo>
                <a:lnTo>
                  <a:pt x="1638" y="6509"/>
                </a:lnTo>
                <a:lnTo>
                  <a:pt x="1677" y="6528"/>
                </a:lnTo>
                <a:lnTo>
                  <a:pt x="1677" y="6528"/>
                </a:lnTo>
                <a:lnTo>
                  <a:pt x="1730" y="6553"/>
                </a:lnTo>
                <a:lnTo>
                  <a:pt x="1788" y="6578"/>
                </a:lnTo>
                <a:lnTo>
                  <a:pt x="1853" y="6605"/>
                </a:lnTo>
                <a:lnTo>
                  <a:pt x="1923" y="6630"/>
                </a:lnTo>
                <a:lnTo>
                  <a:pt x="1961" y="6644"/>
                </a:lnTo>
                <a:lnTo>
                  <a:pt x="2000" y="6656"/>
                </a:lnTo>
                <a:lnTo>
                  <a:pt x="2040" y="6669"/>
                </a:lnTo>
                <a:lnTo>
                  <a:pt x="2082" y="6682"/>
                </a:lnTo>
                <a:lnTo>
                  <a:pt x="2125" y="6693"/>
                </a:lnTo>
                <a:lnTo>
                  <a:pt x="2169" y="6704"/>
                </a:lnTo>
                <a:lnTo>
                  <a:pt x="2215" y="6715"/>
                </a:lnTo>
                <a:lnTo>
                  <a:pt x="2261" y="6726"/>
                </a:lnTo>
                <a:lnTo>
                  <a:pt x="2310" y="6736"/>
                </a:lnTo>
                <a:lnTo>
                  <a:pt x="2359" y="6745"/>
                </a:lnTo>
                <a:lnTo>
                  <a:pt x="2410" y="6754"/>
                </a:lnTo>
                <a:lnTo>
                  <a:pt x="2462" y="6762"/>
                </a:lnTo>
                <a:lnTo>
                  <a:pt x="2515" y="6768"/>
                </a:lnTo>
                <a:lnTo>
                  <a:pt x="2570" y="6776"/>
                </a:lnTo>
                <a:lnTo>
                  <a:pt x="2625" y="6781"/>
                </a:lnTo>
                <a:lnTo>
                  <a:pt x="2682" y="6785"/>
                </a:lnTo>
                <a:lnTo>
                  <a:pt x="2740" y="6788"/>
                </a:lnTo>
                <a:lnTo>
                  <a:pt x="2800" y="6790"/>
                </a:lnTo>
                <a:lnTo>
                  <a:pt x="2860" y="6792"/>
                </a:lnTo>
                <a:lnTo>
                  <a:pt x="2921" y="6791"/>
                </a:lnTo>
                <a:lnTo>
                  <a:pt x="2984" y="6790"/>
                </a:lnTo>
                <a:lnTo>
                  <a:pt x="3047" y="6787"/>
                </a:lnTo>
                <a:lnTo>
                  <a:pt x="3112" y="6783"/>
                </a:lnTo>
                <a:lnTo>
                  <a:pt x="3177" y="6778"/>
                </a:lnTo>
                <a:lnTo>
                  <a:pt x="3177" y="6778"/>
                </a:lnTo>
                <a:lnTo>
                  <a:pt x="3239" y="6772"/>
                </a:lnTo>
                <a:lnTo>
                  <a:pt x="3299" y="6763"/>
                </a:lnTo>
                <a:lnTo>
                  <a:pt x="3357" y="6755"/>
                </a:lnTo>
                <a:lnTo>
                  <a:pt x="3412" y="6746"/>
                </a:lnTo>
                <a:lnTo>
                  <a:pt x="3466" y="6737"/>
                </a:lnTo>
                <a:lnTo>
                  <a:pt x="3517" y="6727"/>
                </a:lnTo>
                <a:lnTo>
                  <a:pt x="3567" y="6715"/>
                </a:lnTo>
                <a:lnTo>
                  <a:pt x="3615" y="6704"/>
                </a:lnTo>
                <a:lnTo>
                  <a:pt x="3660" y="6692"/>
                </a:lnTo>
                <a:lnTo>
                  <a:pt x="3704" y="6680"/>
                </a:lnTo>
                <a:lnTo>
                  <a:pt x="3745" y="6667"/>
                </a:lnTo>
                <a:lnTo>
                  <a:pt x="3784" y="6654"/>
                </a:lnTo>
                <a:lnTo>
                  <a:pt x="3822" y="6642"/>
                </a:lnTo>
                <a:lnTo>
                  <a:pt x="3858" y="6628"/>
                </a:lnTo>
                <a:lnTo>
                  <a:pt x="3891" y="6615"/>
                </a:lnTo>
                <a:lnTo>
                  <a:pt x="3922" y="6603"/>
                </a:lnTo>
                <a:lnTo>
                  <a:pt x="3980" y="6577"/>
                </a:lnTo>
                <a:lnTo>
                  <a:pt x="4030" y="6554"/>
                </a:lnTo>
                <a:lnTo>
                  <a:pt x="4071" y="6532"/>
                </a:lnTo>
                <a:lnTo>
                  <a:pt x="4105" y="6514"/>
                </a:lnTo>
                <a:lnTo>
                  <a:pt x="4131" y="6498"/>
                </a:lnTo>
                <a:lnTo>
                  <a:pt x="4150" y="6485"/>
                </a:lnTo>
                <a:lnTo>
                  <a:pt x="4165" y="6475"/>
                </a:lnTo>
                <a:lnTo>
                  <a:pt x="4165" y="6475"/>
                </a:lnTo>
                <a:lnTo>
                  <a:pt x="4144" y="6468"/>
                </a:lnTo>
                <a:lnTo>
                  <a:pt x="4124" y="6459"/>
                </a:lnTo>
                <a:lnTo>
                  <a:pt x="4103" y="6451"/>
                </a:lnTo>
                <a:lnTo>
                  <a:pt x="4084" y="6440"/>
                </a:lnTo>
                <a:lnTo>
                  <a:pt x="4064" y="6431"/>
                </a:lnTo>
                <a:lnTo>
                  <a:pt x="4046" y="6421"/>
                </a:lnTo>
                <a:lnTo>
                  <a:pt x="4009" y="6398"/>
                </a:lnTo>
                <a:lnTo>
                  <a:pt x="3976" y="6376"/>
                </a:lnTo>
                <a:lnTo>
                  <a:pt x="3944" y="6352"/>
                </a:lnTo>
                <a:lnTo>
                  <a:pt x="3914" y="6329"/>
                </a:lnTo>
                <a:lnTo>
                  <a:pt x="3887" y="6305"/>
                </a:lnTo>
                <a:lnTo>
                  <a:pt x="3887" y="6305"/>
                </a:lnTo>
                <a:lnTo>
                  <a:pt x="3882" y="6315"/>
                </a:lnTo>
                <a:lnTo>
                  <a:pt x="3879" y="6328"/>
                </a:lnTo>
                <a:lnTo>
                  <a:pt x="3876" y="6343"/>
                </a:lnTo>
                <a:lnTo>
                  <a:pt x="3873" y="6361"/>
                </a:lnTo>
                <a:lnTo>
                  <a:pt x="3873" y="6361"/>
                </a:lnTo>
                <a:lnTo>
                  <a:pt x="3865" y="6430"/>
                </a:lnTo>
                <a:lnTo>
                  <a:pt x="3861" y="6463"/>
                </a:lnTo>
                <a:lnTo>
                  <a:pt x="3861" y="6463"/>
                </a:lnTo>
                <a:lnTo>
                  <a:pt x="3857" y="6462"/>
                </a:lnTo>
                <a:lnTo>
                  <a:pt x="3847" y="6459"/>
                </a:lnTo>
                <a:lnTo>
                  <a:pt x="3828" y="6452"/>
                </a:lnTo>
                <a:lnTo>
                  <a:pt x="3801" y="6440"/>
                </a:lnTo>
                <a:lnTo>
                  <a:pt x="3801" y="6440"/>
                </a:lnTo>
                <a:lnTo>
                  <a:pt x="3791" y="6436"/>
                </a:lnTo>
                <a:lnTo>
                  <a:pt x="3781" y="6430"/>
                </a:lnTo>
                <a:lnTo>
                  <a:pt x="3771" y="6423"/>
                </a:lnTo>
                <a:lnTo>
                  <a:pt x="3761" y="6415"/>
                </a:lnTo>
                <a:lnTo>
                  <a:pt x="3750" y="6406"/>
                </a:lnTo>
                <a:lnTo>
                  <a:pt x="3739" y="6396"/>
                </a:lnTo>
                <a:lnTo>
                  <a:pt x="3729" y="6385"/>
                </a:lnTo>
                <a:lnTo>
                  <a:pt x="3719" y="6373"/>
                </a:lnTo>
                <a:lnTo>
                  <a:pt x="3709" y="6361"/>
                </a:lnTo>
                <a:lnTo>
                  <a:pt x="3700" y="6346"/>
                </a:lnTo>
                <a:lnTo>
                  <a:pt x="3692" y="6332"/>
                </a:lnTo>
                <a:lnTo>
                  <a:pt x="3684" y="6317"/>
                </a:lnTo>
                <a:lnTo>
                  <a:pt x="3678" y="6300"/>
                </a:lnTo>
                <a:lnTo>
                  <a:pt x="3674" y="6284"/>
                </a:lnTo>
                <a:lnTo>
                  <a:pt x="3670" y="6265"/>
                </a:lnTo>
                <a:lnTo>
                  <a:pt x="3668" y="6248"/>
                </a:lnTo>
                <a:lnTo>
                  <a:pt x="3668" y="6248"/>
                </a:lnTo>
                <a:lnTo>
                  <a:pt x="3667" y="6223"/>
                </a:lnTo>
                <a:lnTo>
                  <a:pt x="3667" y="6223"/>
                </a:lnTo>
                <a:lnTo>
                  <a:pt x="3610" y="6244"/>
                </a:lnTo>
                <a:lnTo>
                  <a:pt x="3544" y="6267"/>
                </a:lnTo>
                <a:lnTo>
                  <a:pt x="3507" y="6280"/>
                </a:lnTo>
                <a:lnTo>
                  <a:pt x="3468" y="6292"/>
                </a:lnTo>
                <a:lnTo>
                  <a:pt x="3427" y="6303"/>
                </a:lnTo>
                <a:lnTo>
                  <a:pt x="3386" y="6315"/>
                </a:lnTo>
                <a:lnTo>
                  <a:pt x="3342" y="6326"/>
                </a:lnTo>
                <a:lnTo>
                  <a:pt x="3296" y="6335"/>
                </a:lnTo>
                <a:lnTo>
                  <a:pt x="3250" y="6344"/>
                </a:lnTo>
                <a:lnTo>
                  <a:pt x="3201" y="6352"/>
                </a:lnTo>
                <a:lnTo>
                  <a:pt x="3153" y="6360"/>
                </a:lnTo>
                <a:lnTo>
                  <a:pt x="3104" y="6365"/>
                </a:lnTo>
                <a:lnTo>
                  <a:pt x="3055" y="6368"/>
                </a:lnTo>
                <a:lnTo>
                  <a:pt x="3005" y="6370"/>
                </a:lnTo>
                <a:lnTo>
                  <a:pt x="3005" y="6370"/>
                </a:lnTo>
                <a:lnTo>
                  <a:pt x="2916" y="6371"/>
                </a:lnTo>
                <a:lnTo>
                  <a:pt x="2828" y="6370"/>
                </a:lnTo>
                <a:lnTo>
                  <a:pt x="2740" y="6366"/>
                </a:lnTo>
                <a:lnTo>
                  <a:pt x="2651" y="6361"/>
                </a:lnTo>
                <a:lnTo>
                  <a:pt x="2563" y="6353"/>
                </a:lnTo>
                <a:lnTo>
                  <a:pt x="2476" y="6343"/>
                </a:lnTo>
                <a:lnTo>
                  <a:pt x="2388" y="6331"/>
                </a:lnTo>
                <a:lnTo>
                  <a:pt x="2301" y="6317"/>
                </a:lnTo>
                <a:lnTo>
                  <a:pt x="2257" y="6308"/>
                </a:lnTo>
                <a:lnTo>
                  <a:pt x="2213" y="6300"/>
                </a:lnTo>
                <a:lnTo>
                  <a:pt x="2170" y="6290"/>
                </a:lnTo>
                <a:lnTo>
                  <a:pt x="2126" y="6280"/>
                </a:lnTo>
                <a:lnTo>
                  <a:pt x="2083" y="6270"/>
                </a:lnTo>
                <a:lnTo>
                  <a:pt x="2039" y="6258"/>
                </a:lnTo>
                <a:lnTo>
                  <a:pt x="1996" y="6246"/>
                </a:lnTo>
                <a:lnTo>
                  <a:pt x="1952" y="6234"/>
                </a:lnTo>
                <a:lnTo>
                  <a:pt x="1909" y="6220"/>
                </a:lnTo>
                <a:lnTo>
                  <a:pt x="1866" y="6206"/>
                </a:lnTo>
                <a:lnTo>
                  <a:pt x="1823" y="6192"/>
                </a:lnTo>
                <a:lnTo>
                  <a:pt x="1780" y="6176"/>
                </a:lnTo>
                <a:lnTo>
                  <a:pt x="1737" y="6160"/>
                </a:lnTo>
                <a:lnTo>
                  <a:pt x="1694" y="6143"/>
                </a:lnTo>
                <a:lnTo>
                  <a:pt x="1652" y="6125"/>
                </a:lnTo>
                <a:lnTo>
                  <a:pt x="1609" y="6107"/>
                </a:lnTo>
                <a:lnTo>
                  <a:pt x="1609" y="6107"/>
                </a:lnTo>
                <a:lnTo>
                  <a:pt x="1523" y="6068"/>
                </a:lnTo>
                <a:lnTo>
                  <a:pt x="1480" y="6049"/>
                </a:lnTo>
                <a:lnTo>
                  <a:pt x="1480" y="6049"/>
                </a:lnTo>
                <a:lnTo>
                  <a:pt x="1479" y="6052"/>
                </a:lnTo>
                <a:lnTo>
                  <a:pt x="1477" y="6061"/>
                </a:lnTo>
                <a:lnTo>
                  <a:pt x="1477" y="6068"/>
                </a:lnTo>
                <a:lnTo>
                  <a:pt x="1477" y="6077"/>
                </a:lnTo>
                <a:lnTo>
                  <a:pt x="1477" y="6088"/>
                </a:lnTo>
                <a:lnTo>
                  <a:pt x="1479" y="6100"/>
                </a:lnTo>
                <a:lnTo>
                  <a:pt x="1483" y="6113"/>
                </a:lnTo>
                <a:lnTo>
                  <a:pt x="1487" y="6128"/>
                </a:lnTo>
                <a:lnTo>
                  <a:pt x="1494" y="6145"/>
                </a:lnTo>
                <a:lnTo>
                  <a:pt x="1503" y="6163"/>
                </a:lnTo>
                <a:lnTo>
                  <a:pt x="1514" y="6184"/>
                </a:lnTo>
                <a:lnTo>
                  <a:pt x="1529" y="6205"/>
                </a:lnTo>
                <a:lnTo>
                  <a:pt x="1545" y="6229"/>
                </a:lnTo>
                <a:lnTo>
                  <a:pt x="1565" y="6253"/>
                </a:lnTo>
                <a:lnTo>
                  <a:pt x="1565" y="6253"/>
                </a:lnTo>
                <a:lnTo>
                  <a:pt x="1547" y="6250"/>
                </a:lnTo>
                <a:lnTo>
                  <a:pt x="1528" y="6248"/>
                </a:lnTo>
                <a:lnTo>
                  <a:pt x="1509" y="6248"/>
                </a:lnTo>
                <a:lnTo>
                  <a:pt x="1490" y="6248"/>
                </a:lnTo>
                <a:lnTo>
                  <a:pt x="1472" y="6250"/>
                </a:lnTo>
                <a:lnTo>
                  <a:pt x="1456" y="6253"/>
                </a:lnTo>
                <a:lnTo>
                  <a:pt x="1441" y="6258"/>
                </a:lnTo>
                <a:lnTo>
                  <a:pt x="1427" y="6264"/>
                </a:lnTo>
                <a:lnTo>
                  <a:pt x="1427" y="6264"/>
                </a:lnTo>
                <a:lnTo>
                  <a:pt x="1413" y="6273"/>
                </a:lnTo>
                <a:lnTo>
                  <a:pt x="1400" y="6283"/>
                </a:lnTo>
                <a:lnTo>
                  <a:pt x="1390" y="6293"/>
                </a:lnTo>
                <a:lnTo>
                  <a:pt x="1379" y="6302"/>
                </a:lnTo>
                <a:lnTo>
                  <a:pt x="1371" y="6311"/>
                </a:lnTo>
                <a:lnTo>
                  <a:pt x="1365" y="6321"/>
                </a:lnTo>
                <a:lnTo>
                  <a:pt x="1358" y="6333"/>
                </a:lnTo>
                <a:close/>
                <a:moveTo>
                  <a:pt x="3487" y="3933"/>
                </a:moveTo>
                <a:lnTo>
                  <a:pt x="3487" y="3933"/>
                </a:lnTo>
                <a:lnTo>
                  <a:pt x="3470" y="3920"/>
                </a:lnTo>
                <a:lnTo>
                  <a:pt x="3453" y="3908"/>
                </a:lnTo>
                <a:lnTo>
                  <a:pt x="3436" y="3895"/>
                </a:lnTo>
                <a:lnTo>
                  <a:pt x="3418" y="3884"/>
                </a:lnTo>
                <a:lnTo>
                  <a:pt x="3383" y="3865"/>
                </a:lnTo>
                <a:lnTo>
                  <a:pt x="3349" y="3846"/>
                </a:lnTo>
                <a:lnTo>
                  <a:pt x="3314" y="3829"/>
                </a:lnTo>
                <a:lnTo>
                  <a:pt x="3281" y="3814"/>
                </a:lnTo>
                <a:lnTo>
                  <a:pt x="3250" y="3799"/>
                </a:lnTo>
                <a:lnTo>
                  <a:pt x="3219" y="3784"/>
                </a:lnTo>
                <a:lnTo>
                  <a:pt x="3219" y="3784"/>
                </a:lnTo>
                <a:lnTo>
                  <a:pt x="3235" y="3774"/>
                </a:lnTo>
                <a:lnTo>
                  <a:pt x="3251" y="3763"/>
                </a:lnTo>
                <a:lnTo>
                  <a:pt x="3268" y="3749"/>
                </a:lnTo>
                <a:lnTo>
                  <a:pt x="3284" y="3735"/>
                </a:lnTo>
                <a:lnTo>
                  <a:pt x="3298" y="3722"/>
                </a:lnTo>
                <a:lnTo>
                  <a:pt x="3302" y="3716"/>
                </a:lnTo>
                <a:lnTo>
                  <a:pt x="3305" y="3711"/>
                </a:lnTo>
                <a:lnTo>
                  <a:pt x="3305" y="3707"/>
                </a:lnTo>
                <a:lnTo>
                  <a:pt x="3305" y="3705"/>
                </a:lnTo>
                <a:lnTo>
                  <a:pt x="3303" y="3704"/>
                </a:lnTo>
                <a:lnTo>
                  <a:pt x="3303" y="3704"/>
                </a:lnTo>
                <a:lnTo>
                  <a:pt x="3290" y="3697"/>
                </a:lnTo>
                <a:lnTo>
                  <a:pt x="3278" y="3691"/>
                </a:lnTo>
                <a:lnTo>
                  <a:pt x="3266" y="3687"/>
                </a:lnTo>
                <a:lnTo>
                  <a:pt x="3255" y="3685"/>
                </a:lnTo>
                <a:lnTo>
                  <a:pt x="3236" y="3682"/>
                </a:lnTo>
                <a:lnTo>
                  <a:pt x="3229" y="3681"/>
                </a:lnTo>
                <a:lnTo>
                  <a:pt x="3229" y="3681"/>
                </a:lnTo>
                <a:lnTo>
                  <a:pt x="3168" y="3705"/>
                </a:lnTo>
                <a:lnTo>
                  <a:pt x="3105" y="3731"/>
                </a:lnTo>
                <a:lnTo>
                  <a:pt x="3045" y="3757"/>
                </a:lnTo>
                <a:lnTo>
                  <a:pt x="2984" y="3784"/>
                </a:lnTo>
                <a:lnTo>
                  <a:pt x="2924" y="3813"/>
                </a:lnTo>
                <a:lnTo>
                  <a:pt x="2866" y="3841"/>
                </a:lnTo>
                <a:lnTo>
                  <a:pt x="2809" y="3870"/>
                </a:lnTo>
                <a:lnTo>
                  <a:pt x="2754" y="3900"/>
                </a:lnTo>
                <a:lnTo>
                  <a:pt x="2700" y="3928"/>
                </a:lnTo>
                <a:lnTo>
                  <a:pt x="2649" y="3957"/>
                </a:lnTo>
                <a:lnTo>
                  <a:pt x="2600" y="3984"/>
                </a:lnTo>
                <a:lnTo>
                  <a:pt x="2553" y="4012"/>
                </a:lnTo>
                <a:lnTo>
                  <a:pt x="2510" y="4039"/>
                </a:lnTo>
                <a:lnTo>
                  <a:pt x="2469" y="4064"/>
                </a:lnTo>
                <a:lnTo>
                  <a:pt x="2433" y="4088"/>
                </a:lnTo>
                <a:lnTo>
                  <a:pt x="2399" y="4110"/>
                </a:lnTo>
                <a:lnTo>
                  <a:pt x="2399" y="4110"/>
                </a:lnTo>
                <a:lnTo>
                  <a:pt x="2394" y="4113"/>
                </a:lnTo>
                <a:lnTo>
                  <a:pt x="2394" y="4113"/>
                </a:lnTo>
                <a:lnTo>
                  <a:pt x="2382" y="4120"/>
                </a:lnTo>
                <a:lnTo>
                  <a:pt x="2371" y="4127"/>
                </a:lnTo>
                <a:lnTo>
                  <a:pt x="2360" y="4132"/>
                </a:lnTo>
                <a:lnTo>
                  <a:pt x="2348" y="4136"/>
                </a:lnTo>
                <a:lnTo>
                  <a:pt x="2336" y="4139"/>
                </a:lnTo>
                <a:lnTo>
                  <a:pt x="2325" y="4142"/>
                </a:lnTo>
                <a:lnTo>
                  <a:pt x="2313" y="4143"/>
                </a:lnTo>
                <a:lnTo>
                  <a:pt x="2302" y="4144"/>
                </a:lnTo>
                <a:lnTo>
                  <a:pt x="2278" y="4145"/>
                </a:lnTo>
                <a:lnTo>
                  <a:pt x="2256" y="4143"/>
                </a:lnTo>
                <a:lnTo>
                  <a:pt x="2233" y="4140"/>
                </a:lnTo>
                <a:lnTo>
                  <a:pt x="2213" y="4135"/>
                </a:lnTo>
                <a:lnTo>
                  <a:pt x="2193" y="4130"/>
                </a:lnTo>
                <a:lnTo>
                  <a:pt x="2176" y="4123"/>
                </a:lnTo>
                <a:lnTo>
                  <a:pt x="2161" y="4117"/>
                </a:lnTo>
                <a:lnTo>
                  <a:pt x="2146" y="4111"/>
                </a:lnTo>
                <a:lnTo>
                  <a:pt x="2127" y="4101"/>
                </a:lnTo>
                <a:lnTo>
                  <a:pt x="2121" y="4097"/>
                </a:lnTo>
                <a:lnTo>
                  <a:pt x="2100" y="4225"/>
                </a:lnTo>
                <a:lnTo>
                  <a:pt x="2100" y="4225"/>
                </a:lnTo>
                <a:lnTo>
                  <a:pt x="2123" y="4238"/>
                </a:lnTo>
                <a:lnTo>
                  <a:pt x="2144" y="4249"/>
                </a:lnTo>
                <a:lnTo>
                  <a:pt x="2165" y="4258"/>
                </a:lnTo>
                <a:lnTo>
                  <a:pt x="2182" y="4267"/>
                </a:lnTo>
                <a:lnTo>
                  <a:pt x="2198" y="4273"/>
                </a:lnTo>
                <a:lnTo>
                  <a:pt x="2214" y="4277"/>
                </a:lnTo>
                <a:lnTo>
                  <a:pt x="2227" y="4281"/>
                </a:lnTo>
                <a:lnTo>
                  <a:pt x="2238" y="4283"/>
                </a:lnTo>
                <a:lnTo>
                  <a:pt x="2238" y="4283"/>
                </a:lnTo>
                <a:lnTo>
                  <a:pt x="2219" y="4287"/>
                </a:lnTo>
                <a:lnTo>
                  <a:pt x="2198" y="4292"/>
                </a:lnTo>
                <a:lnTo>
                  <a:pt x="2178" y="4298"/>
                </a:lnTo>
                <a:lnTo>
                  <a:pt x="2156" y="4306"/>
                </a:lnTo>
                <a:lnTo>
                  <a:pt x="2137" y="4315"/>
                </a:lnTo>
                <a:lnTo>
                  <a:pt x="2119" y="4326"/>
                </a:lnTo>
                <a:lnTo>
                  <a:pt x="2109" y="4331"/>
                </a:lnTo>
                <a:lnTo>
                  <a:pt x="2101" y="4337"/>
                </a:lnTo>
                <a:lnTo>
                  <a:pt x="2094" y="4344"/>
                </a:lnTo>
                <a:lnTo>
                  <a:pt x="2088" y="4351"/>
                </a:lnTo>
                <a:lnTo>
                  <a:pt x="2132" y="4469"/>
                </a:lnTo>
                <a:lnTo>
                  <a:pt x="2132" y="4469"/>
                </a:lnTo>
                <a:lnTo>
                  <a:pt x="2144" y="4460"/>
                </a:lnTo>
                <a:lnTo>
                  <a:pt x="2160" y="4451"/>
                </a:lnTo>
                <a:lnTo>
                  <a:pt x="2181" y="4439"/>
                </a:lnTo>
                <a:lnTo>
                  <a:pt x="2193" y="4434"/>
                </a:lnTo>
                <a:lnTo>
                  <a:pt x="2207" y="4429"/>
                </a:lnTo>
                <a:lnTo>
                  <a:pt x="2222" y="4424"/>
                </a:lnTo>
                <a:lnTo>
                  <a:pt x="2237" y="4419"/>
                </a:lnTo>
                <a:lnTo>
                  <a:pt x="2255" y="4415"/>
                </a:lnTo>
                <a:lnTo>
                  <a:pt x="2273" y="4412"/>
                </a:lnTo>
                <a:lnTo>
                  <a:pt x="2292" y="4410"/>
                </a:lnTo>
                <a:lnTo>
                  <a:pt x="2313" y="4409"/>
                </a:lnTo>
                <a:lnTo>
                  <a:pt x="2313" y="4409"/>
                </a:lnTo>
                <a:lnTo>
                  <a:pt x="2316" y="4425"/>
                </a:lnTo>
                <a:lnTo>
                  <a:pt x="2316" y="4425"/>
                </a:lnTo>
                <a:lnTo>
                  <a:pt x="2316" y="4439"/>
                </a:lnTo>
                <a:lnTo>
                  <a:pt x="2316" y="4454"/>
                </a:lnTo>
                <a:lnTo>
                  <a:pt x="2314" y="4468"/>
                </a:lnTo>
                <a:lnTo>
                  <a:pt x="2311" y="4483"/>
                </a:lnTo>
                <a:lnTo>
                  <a:pt x="2306" y="4499"/>
                </a:lnTo>
                <a:lnTo>
                  <a:pt x="2301" y="4514"/>
                </a:lnTo>
                <a:lnTo>
                  <a:pt x="2293" y="4529"/>
                </a:lnTo>
                <a:lnTo>
                  <a:pt x="2285" y="4545"/>
                </a:lnTo>
                <a:lnTo>
                  <a:pt x="2277" y="4561"/>
                </a:lnTo>
                <a:lnTo>
                  <a:pt x="2267" y="4576"/>
                </a:lnTo>
                <a:lnTo>
                  <a:pt x="2256" y="4593"/>
                </a:lnTo>
                <a:lnTo>
                  <a:pt x="2244" y="4608"/>
                </a:lnTo>
                <a:lnTo>
                  <a:pt x="2231" y="4624"/>
                </a:lnTo>
                <a:lnTo>
                  <a:pt x="2218" y="4640"/>
                </a:lnTo>
                <a:lnTo>
                  <a:pt x="2204" y="4655"/>
                </a:lnTo>
                <a:lnTo>
                  <a:pt x="2189" y="4670"/>
                </a:lnTo>
                <a:lnTo>
                  <a:pt x="2157" y="4701"/>
                </a:lnTo>
                <a:lnTo>
                  <a:pt x="2124" y="4730"/>
                </a:lnTo>
                <a:lnTo>
                  <a:pt x="2088" y="4757"/>
                </a:lnTo>
                <a:lnTo>
                  <a:pt x="2051" y="4783"/>
                </a:lnTo>
                <a:lnTo>
                  <a:pt x="2013" y="4807"/>
                </a:lnTo>
                <a:lnTo>
                  <a:pt x="1975" y="4829"/>
                </a:lnTo>
                <a:lnTo>
                  <a:pt x="1937" y="4848"/>
                </a:lnTo>
                <a:lnTo>
                  <a:pt x="1917" y="4858"/>
                </a:lnTo>
                <a:lnTo>
                  <a:pt x="1899" y="4866"/>
                </a:lnTo>
                <a:lnTo>
                  <a:pt x="1899" y="4866"/>
                </a:lnTo>
                <a:lnTo>
                  <a:pt x="1861" y="4880"/>
                </a:lnTo>
                <a:lnTo>
                  <a:pt x="1823" y="4892"/>
                </a:lnTo>
                <a:lnTo>
                  <a:pt x="1788" y="4904"/>
                </a:lnTo>
                <a:lnTo>
                  <a:pt x="1754" y="4913"/>
                </a:lnTo>
                <a:lnTo>
                  <a:pt x="1721" y="4921"/>
                </a:lnTo>
                <a:lnTo>
                  <a:pt x="1690" y="4927"/>
                </a:lnTo>
                <a:lnTo>
                  <a:pt x="1661" y="4931"/>
                </a:lnTo>
                <a:lnTo>
                  <a:pt x="1633" y="4935"/>
                </a:lnTo>
                <a:lnTo>
                  <a:pt x="1607" y="4937"/>
                </a:lnTo>
                <a:lnTo>
                  <a:pt x="1584" y="4938"/>
                </a:lnTo>
                <a:lnTo>
                  <a:pt x="1562" y="4938"/>
                </a:lnTo>
                <a:lnTo>
                  <a:pt x="1543" y="4937"/>
                </a:lnTo>
                <a:lnTo>
                  <a:pt x="1527" y="4935"/>
                </a:lnTo>
                <a:lnTo>
                  <a:pt x="1513" y="4932"/>
                </a:lnTo>
                <a:lnTo>
                  <a:pt x="1502" y="4928"/>
                </a:lnTo>
                <a:lnTo>
                  <a:pt x="1493" y="4924"/>
                </a:lnTo>
                <a:lnTo>
                  <a:pt x="1493" y="4924"/>
                </a:lnTo>
                <a:lnTo>
                  <a:pt x="1469" y="4908"/>
                </a:lnTo>
                <a:lnTo>
                  <a:pt x="1448" y="4890"/>
                </a:lnTo>
                <a:lnTo>
                  <a:pt x="1429" y="4872"/>
                </a:lnTo>
                <a:lnTo>
                  <a:pt x="1413" y="4853"/>
                </a:lnTo>
                <a:lnTo>
                  <a:pt x="1398" y="4836"/>
                </a:lnTo>
                <a:lnTo>
                  <a:pt x="1384" y="4818"/>
                </a:lnTo>
                <a:lnTo>
                  <a:pt x="1373" y="4800"/>
                </a:lnTo>
                <a:lnTo>
                  <a:pt x="1362" y="4783"/>
                </a:lnTo>
                <a:lnTo>
                  <a:pt x="1343" y="4752"/>
                </a:lnTo>
                <a:lnTo>
                  <a:pt x="1333" y="4738"/>
                </a:lnTo>
                <a:lnTo>
                  <a:pt x="1324" y="4726"/>
                </a:lnTo>
                <a:lnTo>
                  <a:pt x="1315" y="4714"/>
                </a:lnTo>
                <a:lnTo>
                  <a:pt x="1305" y="4706"/>
                </a:lnTo>
                <a:lnTo>
                  <a:pt x="1293" y="4699"/>
                </a:lnTo>
                <a:lnTo>
                  <a:pt x="1287" y="4696"/>
                </a:lnTo>
                <a:lnTo>
                  <a:pt x="1281" y="4694"/>
                </a:lnTo>
                <a:lnTo>
                  <a:pt x="1281" y="4694"/>
                </a:lnTo>
                <a:lnTo>
                  <a:pt x="1277" y="4694"/>
                </a:lnTo>
                <a:lnTo>
                  <a:pt x="1274" y="4694"/>
                </a:lnTo>
                <a:lnTo>
                  <a:pt x="1267" y="4696"/>
                </a:lnTo>
                <a:lnTo>
                  <a:pt x="1260" y="4699"/>
                </a:lnTo>
                <a:lnTo>
                  <a:pt x="1252" y="4703"/>
                </a:lnTo>
                <a:lnTo>
                  <a:pt x="1244" y="4707"/>
                </a:lnTo>
                <a:lnTo>
                  <a:pt x="1235" y="4710"/>
                </a:lnTo>
                <a:lnTo>
                  <a:pt x="1227" y="4712"/>
                </a:lnTo>
                <a:lnTo>
                  <a:pt x="1222" y="4712"/>
                </a:lnTo>
                <a:lnTo>
                  <a:pt x="1217" y="4712"/>
                </a:lnTo>
                <a:lnTo>
                  <a:pt x="1217" y="4712"/>
                </a:lnTo>
                <a:lnTo>
                  <a:pt x="1196" y="4709"/>
                </a:lnTo>
                <a:lnTo>
                  <a:pt x="1176" y="4706"/>
                </a:lnTo>
                <a:lnTo>
                  <a:pt x="1155" y="4705"/>
                </a:lnTo>
                <a:lnTo>
                  <a:pt x="1134" y="4704"/>
                </a:lnTo>
                <a:lnTo>
                  <a:pt x="1114" y="4704"/>
                </a:lnTo>
                <a:lnTo>
                  <a:pt x="1094" y="4706"/>
                </a:lnTo>
                <a:lnTo>
                  <a:pt x="1075" y="4708"/>
                </a:lnTo>
                <a:lnTo>
                  <a:pt x="1055" y="4712"/>
                </a:lnTo>
                <a:lnTo>
                  <a:pt x="1037" y="4716"/>
                </a:lnTo>
                <a:lnTo>
                  <a:pt x="1020" y="4724"/>
                </a:lnTo>
                <a:lnTo>
                  <a:pt x="1004" y="4731"/>
                </a:lnTo>
                <a:lnTo>
                  <a:pt x="990" y="4740"/>
                </a:lnTo>
                <a:lnTo>
                  <a:pt x="976" y="4751"/>
                </a:lnTo>
                <a:lnTo>
                  <a:pt x="970" y="4757"/>
                </a:lnTo>
                <a:lnTo>
                  <a:pt x="964" y="4763"/>
                </a:lnTo>
                <a:lnTo>
                  <a:pt x="959" y="4771"/>
                </a:lnTo>
                <a:lnTo>
                  <a:pt x="955" y="4779"/>
                </a:lnTo>
                <a:lnTo>
                  <a:pt x="951" y="4786"/>
                </a:lnTo>
                <a:lnTo>
                  <a:pt x="947" y="4795"/>
                </a:lnTo>
                <a:lnTo>
                  <a:pt x="947" y="4795"/>
                </a:lnTo>
                <a:lnTo>
                  <a:pt x="985" y="4793"/>
                </a:lnTo>
                <a:lnTo>
                  <a:pt x="1020" y="4792"/>
                </a:lnTo>
                <a:lnTo>
                  <a:pt x="1040" y="4792"/>
                </a:lnTo>
                <a:lnTo>
                  <a:pt x="1059" y="4793"/>
                </a:lnTo>
                <a:lnTo>
                  <a:pt x="1077" y="4794"/>
                </a:lnTo>
                <a:lnTo>
                  <a:pt x="1092" y="4797"/>
                </a:lnTo>
                <a:lnTo>
                  <a:pt x="1105" y="4800"/>
                </a:lnTo>
                <a:lnTo>
                  <a:pt x="1110" y="4802"/>
                </a:lnTo>
                <a:lnTo>
                  <a:pt x="1115" y="4804"/>
                </a:lnTo>
                <a:lnTo>
                  <a:pt x="1117" y="4807"/>
                </a:lnTo>
                <a:lnTo>
                  <a:pt x="1119" y="4811"/>
                </a:lnTo>
                <a:lnTo>
                  <a:pt x="1119" y="4814"/>
                </a:lnTo>
                <a:lnTo>
                  <a:pt x="1117" y="4818"/>
                </a:lnTo>
                <a:lnTo>
                  <a:pt x="1114" y="4822"/>
                </a:lnTo>
                <a:lnTo>
                  <a:pt x="1109" y="4827"/>
                </a:lnTo>
                <a:lnTo>
                  <a:pt x="1102" y="4832"/>
                </a:lnTo>
                <a:lnTo>
                  <a:pt x="1094" y="4837"/>
                </a:lnTo>
                <a:lnTo>
                  <a:pt x="1094" y="4837"/>
                </a:lnTo>
                <a:lnTo>
                  <a:pt x="1085" y="4843"/>
                </a:lnTo>
                <a:lnTo>
                  <a:pt x="1079" y="4849"/>
                </a:lnTo>
                <a:lnTo>
                  <a:pt x="1074" y="4856"/>
                </a:lnTo>
                <a:lnTo>
                  <a:pt x="1072" y="4863"/>
                </a:lnTo>
                <a:lnTo>
                  <a:pt x="1071" y="4870"/>
                </a:lnTo>
                <a:lnTo>
                  <a:pt x="1072" y="4876"/>
                </a:lnTo>
                <a:lnTo>
                  <a:pt x="1074" y="4883"/>
                </a:lnTo>
                <a:lnTo>
                  <a:pt x="1077" y="4890"/>
                </a:lnTo>
                <a:lnTo>
                  <a:pt x="1082" y="4898"/>
                </a:lnTo>
                <a:lnTo>
                  <a:pt x="1088" y="4906"/>
                </a:lnTo>
                <a:lnTo>
                  <a:pt x="1096" y="4913"/>
                </a:lnTo>
                <a:lnTo>
                  <a:pt x="1104" y="4920"/>
                </a:lnTo>
                <a:lnTo>
                  <a:pt x="1124" y="4935"/>
                </a:lnTo>
                <a:lnTo>
                  <a:pt x="1146" y="4951"/>
                </a:lnTo>
                <a:lnTo>
                  <a:pt x="1170" y="4966"/>
                </a:lnTo>
                <a:lnTo>
                  <a:pt x="1195" y="4980"/>
                </a:lnTo>
                <a:lnTo>
                  <a:pt x="1247" y="5008"/>
                </a:lnTo>
                <a:lnTo>
                  <a:pt x="1293" y="5031"/>
                </a:lnTo>
                <a:lnTo>
                  <a:pt x="1313" y="5042"/>
                </a:lnTo>
                <a:lnTo>
                  <a:pt x="1329" y="5051"/>
                </a:lnTo>
                <a:lnTo>
                  <a:pt x="1329" y="5051"/>
                </a:lnTo>
                <a:lnTo>
                  <a:pt x="1336" y="5056"/>
                </a:lnTo>
                <a:lnTo>
                  <a:pt x="1339" y="5060"/>
                </a:lnTo>
                <a:lnTo>
                  <a:pt x="1341" y="5063"/>
                </a:lnTo>
                <a:lnTo>
                  <a:pt x="1339" y="5066"/>
                </a:lnTo>
                <a:lnTo>
                  <a:pt x="1336" y="5068"/>
                </a:lnTo>
                <a:lnTo>
                  <a:pt x="1332" y="5070"/>
                </a:lnTo>
                <a:lnTo>
                  <a:pt x="1326" y="5071"/>
                </a:lnTo>
                <a:lnTo>
                  <a:pt x="1326" y="5071"/>
                </a:lnTo>
                <a:lnTo>
                  <a:pt x="1316" y="5071"/>
                </a:lnTo>
                <a:lnTo>
                  <a:pt x="1304" y="5069"/>
                </a:lnTo>
                <a:lnTo>
                  <a:pt x="1289" y="5066"/>
                </a:lnTo>
                <a:lnTo>
                  <a:pt x="1273" y="5061"/>
                </a:lnTo>
                <a:lnTo>
                  <a:pt x="1237" y="5050"/>
                </a:lnTo>
                <a:lnTo>
                  <a:pt x="1197" y="5035"/>
                </a:lnTo>
                <a:lnTo>
                  <a:pt x="1115" y="5004"/>
                </a:lnTo>
                <a:lnTo>
                  <a:pt x="1077" y="4988"/>
                </a:lnTo>
                <a:lnTo>
                  <a:pt x="1042" y="4977"/>
                </a:lnTo>
                <a:lnTo>
                  <a:pt x="1042" y="4977"/>
                </a:lnTo>
                <a:lnTo>
                  <a:pt x="1031" y="4974"/>
                </a:lnTo>
                <a:lnTo>
                  <a:pt x="1020" y="4972"/>
                </a:lnTo>
                <a:lnTo>
                  <a:pt x="1011" y="4972"/>
                </a:lnTo>
                <a:lnTo>
                  <a:pt x="1003" y="4973"/>
                </a:lnTo>
                <a:lnTo>
                  <a:pt x="996" y="4975"/>
                </a:lnTo>
                <a:lnTo>
                  <a:pt x="990" y="4978"/>
                </a:lnTo>
                <a:lnTo>
                  <a:pt x="985" y="4981"/>
                </a:lnTo>
                <a:lnTo>
                  <a:pt x="981" y="4984"/>
                </a:lnTo>
                <a:lnTo>
                  <a:pt x="972" y="4993"/>
                </a:lnTo>
                <a:lnTo>
                  <a:pt x="966" y="5000"/>
                </a:lnTo>
                <a:lnTo>
                  <a:pt x="962" y="5005"/>
                </a:lnTo>
                <a:lnTo>
                  <a:pt x="959" y="5006"/>
                </a:lnTo>
                <a:lnTo>
                  <a:pt x="957" y="5007"/>
                </a:lnTo>
                <a:lnTo>
                  <a:pt x="957" y="5007"/>
                </a:lnTo>
                <a:lnTo>
                  <a:pt x="948" y="5006"/>
                </a:lnTo>
                <a:lnTo>
                  <a:pt x="938" y="5005"/>
                </a:lnTo>
                <a:lnTo>
                  <a:pt x="926" y="5006"/>
                </a:lnTo>
                <a:lnTo>
                  <a:pt x="916" y="5006"/>
                </a:lnTo>
                <a:lnTo>
                  <a:pt x="894" y="5010"/>
                </a:lnTo>
                <a:lnTo>
                  <a:pt x="871" y="5016"/>
                </a:lnTo>
                <a:lnTo>
                  <a:pt x="849" y="5024"/>
                </a:lnTo>
                <a:lnTo>
                  <a:pt x="826" y="5034"/>
                </a:lnTo>
                <a:lnTo>
                  <a:pt x="805" y="5048"/>
                </a:lnTo>
                <a:lnTo>
                  <a:pt x="794" y="5055"/>
                </a:lnTo>
                <a:lnTo>
                  <a:pt x="785" y="5062"/>
                </a:lnTo>
                <a:lnTo>
                  <a:pt x="776" y="5070"/>
                </a:lnTo>
                <a:lnTo>
                  <a:pt x="768" y="5078"/>
                </a:lnTo>
                <a:lnTo>
                  <a:pt x="760" y="5088"/>
                </a:lnTo>
                <a:lnTo>
                  <a:pt x="753" y="5097"/>
                </a:lnTo>
                <a:lnTo>
                  <a:pt x="746" y="5107"/>
                </a:lnTo>
                <a:lnTo>
                  <a:pt x="740" y="5116"/>
                </a:lnTo>
                <a:lnTo>
                  <a:pt x="736" y="5127"/>
                </a:lnTo>
                <a:lnTo>
                  <a:pt x="732" y="5139"/>
                </a:lnTo>
                <a:lnTo>
                  <a:pt x="730" y="5150"/>
                </a:lnTo>
                <a:lnTo>
                  <a:pt x="728" y="5161"/>
                </a:lnTo>
                <a:lnTo>
                  <a:pt x="728" y="5173"/>
                </a:lnTo>
                <a:lnTo>
                  <a:pt x="728" y="5186"/>
                </a:lnTo>
                <a:lnTo>
                  <a:pt x="731" y="5199"/>
                </a:lnTo>
                <a:lnTo>
                  <a:pt x="734" y="5211"/>
                </a:lnTo>
                <a:lnTo>
                  <a:pt x="739" y="5225"/>
                </a:lnTo>
                <a:lnTo>
                  <a:pt x="745" y="5239"/>
                </a:lnTo>
                <a:lnTo>
                  <a:pt x="745" y="5239"/>
                </a:lnTo>
                <a:lnTo>
                  <a:pt x="748" y="5234"/>
                </a:lnTo>
                <a:lnTo>
                  <a:pt x="758" y="5221"/>
                </a:lnTo>
                <a:lnTo>
                  <a:pt x="773" y="5202"/>
                </a:lnTo>
                <a:lnTo>
                  <a:pt x="781" y="5192"/>
                </a:lnTo>
                <a:lnTo>
                  <a:pt x="791" y="5182"/>
                </a:lnTo>
                <a:lnTo>
                  <a:pt x="803" y="5171"/>
                </a:lnTo>
                <a:lnTo>
                  <a:pt x="814" y="5162"/>
                </a:lnTo>
                <a:lnTo>
                  <a:pt x="826" y="5154"/>
                </a:lnTo>
                <a:lnTo>
                  <a:pt x="839" y="5147"/>
                </a:lnTo>
                <a:lnTo>
                  <a:pt x="853" y="5142"/>
                </a:lnTo>
                <a:lnTo>
                  <a:pt x="859" y="5140"/>
                </a:lnTo>
                <a:lnTo>
                  <a:pt x="866" y="5139"/>
                </a:lnTo>
                <a:lnTo>
                  <a:pt x="873" y="5139"/>
                </a:lnTo>
                <a:lnTo>
                  <a:pt x="879" y="5139"/>
                </a:lnTo>
                <a:lnTo>
                  <a:pt x="887" y="5140"/>
                </a:lnTo>
                <a:lnTo>
                  <a:pt x="894" y="5142"/>
                </a:lnTo>
                <a:lnTo>
                  <a:pt x="894" y="5142"/>
                </a:lnTo>
                <a:lnTo>
                  <a:pt x="899" y="5144"/>
                </a:lnTo>
                <a:lnTo>
                  <a:pt x="902" y="5148"/>
                </a:lnTo>
                <a:lnTo>
                  <a:pt x="903" y="5154"/>
                </a:lnTo>
                <a:lnTo>
                  <a:pt x="904" y="5160"/>
                </a:lnTo>
                <a:lnTo>
                  <a:pt x="904" y="5177"/>
                </a:lnTo>
                <a:lnTo>
                  <a:pt x="902" y="5195"/>
                </a:lnTo>
                <a:lnTo>
                  <a:pt x="902" y="5205"/>
                </a:lnTo>
                <a:lnTo>
                  <a:pt x="902" y="5215"/>
                </a:lnTo>
                <a:lnTo>
                  <a:pt x="904" y="5226"/>
                </a:lnTo>
                <a:lnTo>
                  <a:pt x="906" y="5235"/>
                </a:lnTo>
                <a:lnTo>
                  <a:pt x="910" y="5245"/>
                </a:lnTo>
                <a:lnTo>
                  <a:pt x="915" y="5254"/>
                </a:lnTo>
                <a:lnTo>
                  <a:pt x="923" y="5262"/>
                </a:lnTo>
                <a:lnTo>
                  <a:pt x="933" y="5270"/>
                </a:lnTo>
                <a:lnTo>
                  <a:pt x="933" y="5270"/>
                </a:lnTo>
                <a:lnTo>
                  <a:pt x="941" y="5274"/>
                </a:lnTo>
                <a:lnTo>
                  <a:pt x="949" y="5277"/>
                </a:lnTo>
                <a:lnTo>
                  <a:pt x="959" y="5280"/>
                </a:lnTo>
                <a:lnTo>
                  <a:pt x="970" y="5281"/>
                </a:lnTo>
                <a:lnTo>
                  <a:pt x="982" y="5283"/>
                </a:lnTo>
                <a:lnTo>
                  <a:pt x="995" y="5283"/>
                </a:lnTo>
                <a:lnTo>
                  <a:pt x="1021" y="5283"/>
                </a:lnTo>
                <a:lnTo>
                  <a:pt x="1051" y="5281"/>
                </a:lnTo>
                <a:lnTo>
                  <a:pt x="1082" y="5278"/>
                </a:lnTo>
                <a:lnTo>
                  <a:pt x="1146" y="5270"/>
                </a:lnTo>
                <a:lnTo>
                  <a:pt x="1209" y="5261"/>
                </a:lnTo>
                <a:lnTo>
                  <a:pt x="1238" y="5257"/>
                </a:lnTo>
                <a:lnTo>
                  <a:pt x="1266" y="5255"/>
                </a:lnTo>
                <a:lnTo>
                  <a:pt x="1290" y="5254"/>
                </a:lnTo>
                <a:lnTo>
                  <a:pt x="1311" y="5255"/>
                </a:lnTo>
                <a:lnTo>
                  <a:pt x="1320" y="5256"/>
                </a:lnTo>
                <a:lnTo>
                  <a:pt x="1328" y="5258"/>
                </a:lnTo>
                <a:lnTo>
                  <a:pt x="1335" y="5261"/>
                </a:lnTo>
                <a:lnTo>
                  <a:pt x="1341" y="5266"/>
                </a:lnTo>
                <a:lnTo>
                  <a:pt x="1341" y="5266"/>
                </a:lnTo>
                <a:lnTo>
                  <a:pt x="1344" y="5269"/>
                </a:lnTo>
                <a:lnTo>
                  <a:pt x="1345" y="5272"/>
                </a:lnTo>
                <a:lnTo>
                  <a:pt x="1344" y="5274"/>
                </a:lnTo>
                <a:lnTo>
                  <a:pt x="1339" y="5277"/>
                </a:lnTo>
                <a:lnTo>
                  <a:pt x="1335" y="5279"/>
                </a:lnTo>
                <a:lnTo>
                  <a:pt x="1328" y="5282"/>
                </a:lnTo>
                <a:lnTo>
                  <a:pt x="1311" y="5286"/>
                </a:lnTo>
                <a:lnTo>
                  <a:pt x="1288" y="5290"/>
                </a:lnTo>
                <a:lnTo>
                  <a:pt x="1263" y="5293"/>
                </a:lnTo>
                <a:lnTo>
                  <a:pt x="1202" y="5301"/>
                </a:lnTo>
                <a:lnTo>
                  <a:pt x="1171" y="5305"/>
                </a:lnTo>
                <a:lnTo>
                  <a:pt x="1140" y="5310"/>
                </a:lnTo>
                <a:lnTo>
                  <a:pt x="1110" y="5317"/>
                </a:lnTo>
                <a:lnTo>
                  <a:pt x="1084" y="5323"/>
                </a:lnTo>
                <a:lnTo>
                  <a:pt x="1072" y="5327"/>
                </a:lnTo>
                <a:lnTo>
                  <a:pt x="1060" y="5331"/>
                </a:lnTo>
                <a:lnTo>
                  <a:pt x="1050" y="5335"/>
                </a:lnTo>
                <a:lnTo>
                  <a:pt x="1042" y="5340"/>
                </a:lnTo>
                <a:lnTo>
                  <a:pt x="1035" y="5345"/>
                </a:lnTo>
                <a:lnTo>
                  <a:pt x="1030" y="5350"/>
                </a:lnTo>
                <a:lnTo>
                  <a:pt x="1026" y="5357"/>
                </a:lnTo>
                <a:lnTo>
                  <a:pt x="1024" y="5363"/>
                </a:lnTo>
                <a:lnTo>
                  <a:pt x="1024" y="5363"/>
                </a:lnTo>
                <a:lnTo>
                  <a:pt x="1023" y="5368"/>
                </a:lnTo>
                <a:lnTo>
                  <a:pt x="1023" y="5377"/>
                </a:lnTo>
                <a:lnTo>
                  <a:pt x="1024" y="5388"/>
                </a:lnTo>
                <a:lnTo>
                  <a:pt x="1026" y="5394"/>
                </a:lnTo>
                <a:lnTo>
                  <a:pt x="1028" y="5399"/>
                </a:lnTo>
                <a:lnTo>
                  <a:pt x="1028" y="5399"/>
                </a:lnTo>
                <a:lnTo>
                  <a:pt x="1029" y="5406"/>
                </a:lnTo>
                <a:lnTo>
                  <a:pt x="1029" y="5412"/>
                </a:lnTo>
                <a:lnTo>
                  <a:pt x="1026" y="5418"/>
                </a:lnTo>
                <a:lnTo>
                  <a:pt x="1021" y="5424"/>
                </a:lnTo>
                <a:lnTo>
                  <a:pt x="1011" y="5438"/>
                </a:lnTo>
                <a:lnTo>
                  <a:pt x="997" y="5456"/>
                </a:lnTo>
                <a:lnTo>
                  <a:pt x="989" y="5466"/>
                </a:lnTo>
                <a:lnTo>
                  <a:pt x="982" y="5476"/>
                </a:lnTo>
                <a:lnTo>
                  <a:pt x="974" y="5488"/>
                </a:lnTo>
                <a:lnTo>
                  <a:pt x="968" y="5501"/>
                </a:lnTo>
                <a:lnTo>
                  <a:pt x="962" y="5515"/>
                </a:lnTo>
                <a:lnTo>
                  <a:pt x="958" y="5530"/>
                </a:lnTo>
                <a:lnTo>
                  <a:pt x="954" y="5547"/>
                </a:lnTo>
                <a:lnTo>
                  <a:pt x="953" y="5565"/>
                </a:lnTo>
                <a:lnTo>
                  <a:pt x="953" y="5565"/>
                </a:lnTo>
                <a:lnTo>
                  <a:pt x="953" y="5574"/>
                </a:lnTo>
                <a:lnTo>
                  <a:pt x="953" y="5583"/>
                </a:lnTo>
                <a:lnTo>
                  <a:pt x="956" y="5601"/>
                </a:lnTo>
                <a:lnTo>
                  <a:pt x="961" y="5618"/>
                </a:lnTo>
                <a:lnTo>
                  <a:pt x="967" y="5634"/>
                </a:lnTo>
                <a:lnTo>
                  <a:pt x="975" y="5649"/>
                </a:lnTo>
                <a:lnTo>
                  <a:pt x="985" y="5663"/>
                </a:lnTo>
                <a:lnTo>
                  <a:pt x="995" y="5676"/>
                </a:lnTo>
                <a:lnTo>
                  <a:pt x="1005" y="5688"/>
                </a:lnTo>
                <a:lnTo>
                  <a:pt x="1015" y="5698"/>
                </a:lnTo>
                <a:lnTo>
                  <a:pt x="1026" y="5707"/>
                </a:lnTo>
                <a:lnTo>
                  <a:pt x="1043" y="5723"/>
                </a:lnTo>
                <a:lnTo>
                  <a:pt x="1055" y="5731"/>
                </a:lnTo>
                <a:lnTo>
                  <a:pt x="1060" y="5735"/>
                </a:lnTo>
                <a:lnTo>
                  <a:pt x="1060" y="5735"/>
                </a:lnTo>
                <a:lnTo>
                  <a:pt x="1062" y="5731"/>
                </a:lnTo>
                <a:lnTo>
                  <a:pt x="1063" y="5726"/>
                </a:lnTo>
                <a:lnTo>
                  <a:pt x="1063" y="5717"/>
                </a:lnTo>
                <a:lnTo>
                  <a:pt x="1062" y="5708"/>
                </a:lnTo>
                <a:lnTo>
                  <a:pt x="1059" y="5687"/>
                </a:lnTo>
                <a:lnTo>
                  <a:pt x="1056" y="5661"/>
                </a:lnTo>
                <a:lnTo>
                  <a:pt x="1055" y="5649"/>
                </a:lnTo>
                <a:lnTo>
                  <a:pt x="1054" y="5636"/>
                </a:lnTo>
                <a:lnTo>
                  <a:pt x="1054" y="5624"/>
                </a:lnTo>
                <a:lnTo>
                  <a:pt x="1056" y="5613"/>
                </a:lnTo>
                <a:lnTo>
                  <a:pt x="1058" y="5603"/>
                </a:lnTo>
                <a:lnTo>
                  <a:pt x="1062" y="5594"/>
                </a:lnTo>
                <a:lnTo>
                  <a:pt x="1065" y="5591"/>
                </a:lnTo>
                <a:lnTo>
                  <a:pt x="1069" y="5587"/>
                </a:lnTo>
                <a:lnTo>
                  <a:pt x="1072" y="5585"/>
                </a:lnTo>
                <a:lnTo>
                  <a:pt x="1076" y="5582"/>
                </a:lnTo>
                <a:lnTo>
                  <a:pt x="1076" y="5582"/>
                </a:lnTo>
                <a:lnTo>
                  <a:pt x="1081" y="5581"/>
                </a:lnTo>
                <a:lnTo>
                  <a:pt x="1085" y="5581"/>
                </a:lnTo>
                <a:lnTo>
                  <a:pt x="1090" y="5582"/>
                </a:lnTo>
                <a:lnTo>
                  <a:pt x="1094" y="5586"/>
                </a:lnTo>
                <a:lnTo>
                  <a:pt x="1103" y="5593"/>
                </a:lnTo>
                <a:lnTo>
                  <a:pt x="1114" y="5602"/>
                </a:lnTo>
                <a:lnTo>
                  <a:pt x="1125" y="5613"/>
                </a:lnTo>
                <a:lnTo>
                  <a:pt x="1138" y="5622"/>
                </a:lnTo>
                <a:lnTo>
                  <a:pt x="1145" y="5627"/>
                </a:lnTo>
                <a:lnTo>
                  <a:pt x="1152" y="5631"/>
                </a:lnTo>
                <a:lnTo>
                  <a:pt x="1162" y="5634"/>
                </a:lnTo>
                <a:lnTo>
                  <a:pt x="1170" y="5636"/>
                </a:lnTo>
                <a:lnTo>
                  <a:pt x="1170" y="5636"/>
                </a:lnTo>
                <a:lnTo>
                  <a:pt x="1179" y="5636"/>
                </a:lnTo>
                <a:lnTo>
                  <a:pt x="1188" y="5636"/>
                </a:lnTo>
                <a:lnTo>
                  <a:pt x="1196" y="5635"/>
                </a:lnTo>
                <a:lnTo>
                  <a:pt x="1206" y="5633"/>
                </a:lnTo>
                <a:lnTo>
                  <a:pt x="1214" y="5629"/>
                </a:lnTo>
                <a:lnTo>
                  <a:pt x="1222" y="5625"/>
                </a:lnTo>
                <a:lnTo>
                  <a:pt x="1229" y="5621"/>
                </a:lnTo>
                <a:lnTo>
                  <a:pt x="1237" y="5616"/>
                </a:lnTo>
                <a:lnTo>
                  <a:pt x="1253" y="5604"/>
                </a:lnTo>
                <a:lnTo>
                  <a:pt x="1267" y="5590"/>
                </a:lnTo>
                <a:lnTo>
                  <a:pt x="1282" y="5573"/>
                </a:lnTo>
                <a:lnTo>
                  <a:pt x="1299" y="5556"/>
                </a:lnTo>
                <a:lnTo>
                  <a:pt x="1332" y="5517"/>
                </a:lnTo>
                <a:lnTo>
                  <a:pt x="1352" y="5498"/>
                </a:lnTo>
                <a:lnTo>
                  <a:pt x="1372" y="5478"/>
                </a:lnTo>
                <a:lnTo>
                  <a:pt x="1395" y="5458"/>
                </a:lnTo>
                <a:lnTo>
                  <a:pt x="1419" y="5439"/>
                </a:lnTo>
                <a:lnTo>
                  <a:pt x="1433" y="5430"/>
                </a:lnTo>
                <a:lnTo>
                  <a:pt x="1446" y="5422"/>
                </a:lnTo>
                <a:lnTo>
                  <a:pt x="1460" y="5414"/>
                </a:lnTo>
                <a:lnTo>
                  <a:pt x="1475" y="5406"/>
                </a:lnTo>
                <a:lnTo>
                  <a:pt x="1475" y="5406"/>
                </a:lnTo>
                <a:lnTo>
                  <a:pt x="1515" y="5387"/>
                </a:lnTo>
                <a:lnTo>
                  <a:pt x="1547" y="5375"/>
                </a:lnTo>
                <a:lnTo>
                  <a:pt x="1559" y="5370"/>
                </a:lnTo>
                <a:lnTo>
                  <a:pt x="1571" y="5367"/>
                </a:lnTo>
                <a:lnTo>
                  <a:pt x="1580" y="5366"/>
                </a:lnTo>
                <a:lnTo>
                  <a:pt x="1587" y="5365"/>
                </a:lnTo>
                <a:lnTo>
                  <a:pt x="1593" y="5365"/>
                </a:lnTo>
                <a:lnTo>
                  <a:pt x="1597" y="5367"/>
                </a:lnTo>
                <a:lnTo>
                  <a:pt x="1600" y="5369"/>
                </a:lnTo>
                <a:lnTo>
                  <a:pt x="1602" y="5372"/>
                </a:lnTo>
                <a:lnTo>
                  <a:pt x="1604" y="5375"/>
                </a:lnTo>
                <a:lnTo>
                  <a:pt x="1604" y="5379"/>
                </a:lnTo>
                <a:lnTo>
                  <a:pt x="1603" y="5389"/>
                </a:lnTo>
                <a:lnTo>
                  <a:pt x="1600" y="5401"/>
                </a:lnTo>
                <a:lnTo>
                  <a:pt x="1596" y="5415"/>
                </a:lnTo>
                <a:lnTo>
                  <a:pt x="1593" y="5428"/>
                </a:lnTo>
                <a:lnTo>
                  <a:pt x="1591" y="5440"/>
                </a:lnTo>
                <a:lnTo>
                  <a:pt x="1591" y="5446"/>
                </a:lnTo>
                <a:lnTo>
                  <a:pt x="1591" y="5453"/>
                </a:lnTo>
                <a:lnTo>
                  <a:pt x="1593" y="5458"/>
                </a:lnTo>
                <a:lnTo>
                  <a:pt x="1595" y="5463"/>
                </a:lnTo>
                <a:lnTo>
                  <a:pt x="1598" y="5467"/>
                </a:lnTo>
                <a:lnTo>
                  <a:pt x="1603" y="5471"/>
                </a:lnTo>
                <a:lnTo>
                  <a:pt x="1609" y="5474"/>
                </a:lnTo>
                <a:lnTo>
                  <a:pt x="1617" y="5476"/>
                </a:lnTo>
                <a:lnTo>
                  <a:pt x="1617" y="5476"/>
                </a:lnTo>
                <a:lnTo>
                  <a:pt x="1629" y="5480"/>
                </a:lnTo>
                <a:lnTo>
                  <a:pt x="1640" y="5483"/>
                </a:lnTo>
                <a:lnTo>
                  <a:pt x="1649" y="5488"/>
                </a:lnTo>
                <a:lnTo>
                  <a:pt x="1656" y="5492"/>
                </a:lnTo>
                <a:lnTo>
                  <a:pt x="1663" y="5498"/>
                </a:lnTo>
                <a:lnTo>
                  <a:pt x="1668" y="5503"/>
                </a:lnTo>
                <a:lnTo>
                  <a:pt x="1671" y="5509"/>
                </a:lnTo>
                <a:lnTo>
                  <a:pt x="1673" y="5515"/>
                </a:lnTo>
                <a:lnTo>
                  <a:pt x="1675" y="5521"/>
                </a:lnTo>
                <a:lnTo>
                  <a:pt x="1675" y="5527"/>
                </a:lnTo>
                <a:lnTo>
                  <a:pt x="1674" y="5534"/>
                </a:lnTo>
                <a:lnTo>
                  <a:pt x="1673" y="5541"/>
                </a:lnTo>
                <a:lnTo>
                  <a:pt x="1671" y="5548"/>
                </a:lnTo>
                <a:lnTo>
                  <a:pt x="1668" y="5555"/>
                </a:lnTo>
                <a:lnTo>
                  <a:pt x="1660" y="5568"/>
                </a:lnTo>
                <a:lnTo>
                  <a:pt x="1650" y="5581"/>
                </a:lnTo>
                <a:lnTo>
                  <a:pt x="1640" y="5594"/>
                </a:lnTo>
                <a:lnTo>
                  <a:pt x="1630" y="5605"/>
                </a:lnTo>
                <a:lnTo>
                  <a:pt x="1620" y="5615"/>
                </a:lnTo>
                <a:lnTo>
                  <a:pt x="1603" y="5629"/>
                </a:lnTo>
                <a:lnTo>
                  <a:pt x="1597" y="5636"/>
                </a:lnTo>
                <a:lnTo>
                  <a:pt x="1597" y="5636"/>
                </a:lnTo>
                <a:lnTo>
                  <a:pt x="1605" y="5640"/>
                </a:lnTo>
                <a:lnTo>
                  <a:pt x="1616" y="5642"/>
                </a:lnTo>
                <a:lnTo>
                  <a:pt x="1627" y="5643"/>
                </a:lnTo>
                <a:lnTo>
                  <a:pt x="1640" y="5642"/>
                </a:lnTo>
                <a:lnTo>
                  <a:pt x="1654" y="5639"/>
                </a:lnTo>
                <a:lnTo>
                  <a:pt x="1669" y="5635"/>
                </a:lnTo>
                <a:lnTo>
                  <a:pt x="1685" y="5628"/>
                </a:lnTo>
                <a:lnTo>
                  <a:pt x="1700" y="5620"/>
                </a:lnTo>
                <a:lnTo>
                  <a:pt x="1717" y="5611"/>
                </a:lnTo>
                <a:lnTo>
                  <a:pt x="1732" y="5600"/>
                </a:lnTo>
                <a:lnTo>
                  <a:pt x="1747" y="5587"/>
                </a:lnTo>
                <a:lnTo>
                  <a:pt x="1763" y="5572"/>
                </a:lnTo>
                <a:lnTo>
                  <a:pt x="1776" y="5555"/>
                </a:lnTo>
                <a:lnTo>
                  <a:pt x="1789" y="5536"/>
                </a:lnTo>
                <a:lnTo>
                  <a:pt x="1801" y="5516"/>
                </a:lnTo>
                <a:lnTo>
                  <a:pt x="1811" y="5495"/>
                </a:lnTo>
                <a:lnTo>
                  <a:pt x="1811" y="5495"/>
                </a:lnTo>
                <a:lnTo>
                  <a:pt x="1814" y="5486"/>
                </a:lnTo>
                <a:lnTo>
                  <a:pt x="1817" y="5480"/>
                </a:lnTo>
                <a:lnTo>
                  <a:pt x="1820" y="5475"/>
                </a:lnTo>
                <a:lnTo>
                  <a:pt x="1824" y="5471"/>
                </a:lnTo>
                <a:lnTo>
                  <a:pt x="1828" y="5468"/>
                </a:lnTo>
                <a:lnTo>
                  <a:pt x="1831" y="5465"/>
                </a:lnTo>
                <a:lnTo>
                  <a:pt x="1839" y="5462"/>
                </a:lnTo>
                <a:lnTo>
                  <a:pt x="1848" y="5459"/>
                </a:lnTo>
                <a:lnTo>
                  <a:pt x="1857" y="5455"/>
                </a:lnTo>
                <a:lnTo>
                  <a:pt x="1866" y="5449"/>
                </a:lnTo>
                <a:lnTo>
                  <a:pt x="1871" y="5444"/>
                </a:lnTo>
                <a:lnTo>
                  <a:pt x="1876" y="5439"/>
                </a:lnTo>
                <a:lnTo>
                  <a:pt x="1876" y="5439"/>
                </a:lnTo>
                <a:lnTo>
                  <a:pt x="1879" y="5433"/>
                </a:lnTo>
                <a:lnTo>
                  <a:pt x="1882" y="5427"/>
                </a:lnTo>
                <a:lnTo>
                  <a:pt x="1886" y="5421"/>
                </a:lnTo>
                <a:lnTo>
                  <a:pt x="1887" y="5415"/>
                </a:lnTo>
                <a:lnTo>
                  <a:pt x="1888" y="5400"/>
                </a:lnTo>
                <a:lnTo>
                  <a:pt x="1888" y="5386"/>
                </a:lnTo>
                <a:lnTo>
                  <a:pt x="1888" y="5371"/>
                </a:lnTo>
                <a:lnTo>
                  <a:pt x="1888" y="5357"/>
                </a:lnTo>
                <a:lnTo>
                  <a:pt x="1890" y="5342"/>
                </a:lnTo>
                <a:lnTo>
                  <a:pt x="1892" y="5336"/>
                </a:lnTo>
                <a:lnTo>
                  <a:pt x="1894" y="5330"/>
                </a:lnTo>
                <a:lnTo>
                  <a:pt x="1894" y="5330"/>
                </a:lnTo>
                <a:lnTo>
                  <a:pt x="1898" y="5324"/>
                </a:lnTo>
                <a:lnTo>
                  <a:pt x="1902" y="5319"/>
                </a:lnTo>
                <a:lnTo>
                  <a:pt x="1906" y="5314"/>
                </a:lnTo>
                <a:lnTo>
                  <a:pt x="1911" y="5309"/>
                </a:lnTo>
                <a:lnTo>
                  <a:pt x="1923" y="5301"/>
                </a:lnTo>
                <a:lnTo>
                  <a:pt x="1937" y="5295"/>
                </a:lnTo>
                <a:lnTo>
                  <a:pt x="1951" y="5290"/>
                </a:lnTo>
                <a:lnTo>
                  <a:pt x="1965" y="5286"/>
                </a:lnTo>
                <a:lnTo>
                  <a:pt x="1996" y="5278"/>
                </a:lnTo>
                <a:lnTo>
                  <a:pt x="2026" y="5272"/>
                </a:lnTo>
                <a:lnTo>
                  <a:pt x="2038" y="5268"/>
                </a:lnTo>
                <a:lnTo>
                  <a:pt x="2049" y="5262"/>
                </a:lnTo>
                <a:lnTo>
                  <a:pt x="2057" y="5256"/>
                </a:lnTo>
                <a:lnTo>
                  <a:pt x="2061" y="5253"/>
                </a:lnTo>
                <a:lnTo>
                  <a:pt x="2063" y="5249"/>
                </a:lnTo>
                <a:lnTo>
                  <a:pt x="2066" y="5245"/>
                </a:lnTo>
                <a:lnTo>
                  <a:pt x="2068" y="5240"/>
                </a:lnTo>
                <a:lnTo>
                  <a:pt x="2068" y="5235"/>
                </a:lnTo>
                <a:lnTo>
                  <a:pt x="2068" y="5230"/>
                </a:lnTo>
                <a:lnTo>
                  <a:pt x="2068" y="5230"/>
                </a:lnTo>
                <a:lnTo>
                  <a:pt x="2066" y="5215"/>
                </a:lnTo>
                <a:lnTo>
                  <a:pt x="2066" y="5202"/>
                </a:lnTo>
                <a:lnTo>
                  <a:pt x="2069" y="5190"/>
                </a:lnTo>
                <a:lnTo>
                  <a:pt x="2073" y="5180"/>
                </a:lnTo>
                <a:lnTo>
                  <a:pt x="2078" y="5169"/>
                </a:lnTo>
                <a:lnTo>
                  <a:pt x="2083" y="5161"/>
                </a:lnTo>
                <a:lnTo>
                  <a:pt x="2090" y="5153"/>
                </a:lnTo>
                <a:lnTo>
                  <a:pt x="2098" y="5146"/>
                </a:lnTo>
                <a:lnTo>
                  <a:pt x="2106" y="5140"/>
                </a:lnTo>
                <a:lnTo>
                  <a:pt x="2116" y="5134"/>
                </a:lnTo>
                <a:lnTo>
                  <a:pt x="2134" y="5124"/>
                </a:lnTo>
                <a:lnTo>
                  <a:pt x="2152" y="5116"/>
                </a:lnTo>
                <a:lnTo>
                  <a:pt x="2169" y="5109"/>
                </a:lnTo>
                <a:lnTo>
                  <a:pt x="2169" y="5109"/>
                </a:lnTo>
                <a:lnTo>
                  <a:pt x="2171" y="5109"/>
                </a:lnTo>
                <a:lnTo>
                  <a:pt x="2172" y="5110"/>
                </a:lnTo>
                <a:lnTo>
                  <a:pt x="2175" y="5112"/>
                </a:lnTo>
                <a:lnTo>
                  <a:pt x="2177" y="5117"/>
                </a:lnTo>
                <a:lnTo>
                  <a:pt x="2181" y="5124"/>
                </a:lnTo>
                <a:lnTo>
                  <a:pt x="2189" y="5143"/>
                </a:lnTo>
                <a:lnTo>
                  <a:pt x="2195" y="5154"/>
                </a:lnTo>
                <a:lnTo>
                  <a:pt x="2202" y="5166"/>
                </a:lnTo>
                <a:lnTo>
                  <a:pt x="2212" y="5179"/>
                </a:lnTo>
                <a:lnTo>
                  <a:pt x="2222" y="5192"/>
                </a:lnTo>
                <a:lnTo>
                  <a:pt x="2234" y="5206"/>
                </a:lnTo>
                <a:lnTo>
                  <a:pt x="2250" y="5220"/>
                </a:lnTo>
                <a:lnTo>
                  <a:pt x="2267" y="5233"/>
                </a:lnTo>
                <a:lnTo>
                  <a:pt x="2287" y="5245"/>
                </a:lnTo>
                <a:lnTo>
                  <a:pt x="2311" y="5257"/>
                </a:lnTo>
                <a:lnTo>
                  <a:pt x="2337" y="5268"/>
                </a:lnTo>
                <a:lnTo>
                  <a:pt x="2337" y="5268"/>
                </a:lnTo>
                <a:lnTo>
                  <a:pt x="2412" y="5237"/>
                </a:lnTo>
                <a:lnTo>
                  <a:pt x="2458" y="5215"/>
                </a:lnTo>
                <a:lnTo>
                  <a:pt x="2485" y="5202"/>
                </a:lnTo>
                <a:lnTo>
                  <a:pt x="2514" y="5187"/>
                </a:lnTo>
                <a:lnTo>
                  <a:pt x="2514" y="5187"/>
                </a:lnTo>
                <a:lnTo>
                  <a:pt x="2546" y="5170"/>
                </a:lnTo>
                <a:lnTo>
                  <a:pt x="2576" y="5153"/>
                </a:lnTo>
                <a:lnTo>
                  <a:pt x="2588" y="5145"/>
                </a:lnTo>
                <a:lnTo>
                  <a:pt x="2599" y="5138"/>
                </a:lnTo>
                <a:lnTo>
                  <a:pt x="2609" y="5130"/>
                </a:lnTo>
                <a:lnTo>
                  <a:pt x="2617" y="5123"/>
                </a:lnTo>
                <a:lnTo>
                  <a:pt x="2617" y="5123"/>
                </a:lnTo>
                <a:lnTo>
                  <a:pt x="2616" y="5121"/>
                </a:lnTo>
                <a:lnTo>
                  <a:pt x="2615" y="5119"/>
                </a:lnTo>
                <a:lnTo>
                  <a:pt x="2607" y="5112"/>
                </a:lnTo>
                <a:lnTo>
                  <a:pt x="2596" y="5101"/>
                </a:lnTo>
                <a:lnTo>
                  <a:pt x="2583" y="5087"/>
                </a:lnTo>
                <a:lnTo>
                  <a:pt x="2568" y="5069"/>
                </a:lnTo>
                <a:lnTo>
                  <a:pt x="2553" y="5050"/>
                </a:lnTo>
                <a:lnTo>
                  <a:pt x="2546" y="5039"/>
                </a:lnTo>
                <a:lnTo>
                  <a:pt x="2540" y="5026"/>
                </a:lnTo>
                <a:lnTo>
                  <a:pt x="2535" y="5015"/>
                </a:lnTo>
                <a:lnTo>
                  <a:pt x="2530" y="5002"/>
                </a:lnTo>
                <a:lnTo>
                  <a:pt x="2530" y="5002"/>
                </a:lnTo>
                <a:lnTo>
                  <a:pt x="2527" y="4989"/>
                </a:lnTo>
                <a:lnTo>
                  <a:pt x="2524" y="4978"/>
                </a:lnTo>
                <a:lnTo>
                  <a:pt x="2522" y="4969"/>
                </a:lnTo>
                <a:lnTo>
                  <a:pt x="2522" y="4960"/>
                </a:lnTo>
                <a:lnTo>
                  <a:pt x="2522" y="4953"/>
                </a:lnTo>
                <a:lnTo>
                  <a:pt x="2522" y="4948"/>
                </a:lnTo>
                <a:lnTo>
                  <a:pt x="2523" y="4944"/>
                </a:lnTo>
                <a:lnTo>
                  <a:pt x="2524" y="4942"/>
                </a:lnTo>
                <a:lnTo>
                  <a:pt x="2524" y="4942"/>
                </a:lnTo>
                <a:lnTo>
                  <a:pt x="2537" y="4959"/>
                </a:lnTo>
                <a:lnTo>
                  <a:pt x="2552" y="4976"/>
                </a:lnTo>
                <a:lnTo>
                  <a:pt x="2573" y="4997"/>
                </a:lnTo>
                <a:lnTo>
                  <a:pt x="2585" y="5008"/>
                </a:lnTo>
                <a:lnTo>
                  <a:pt x="2597" y="5019"/>
                </a:lnTo>
                <a:lnTo>
                  <a:pt x="2611" y="5030"/>
                </a:lnTo>
                <a:lnTo>
                  <a:pt x="2627" y="5042"/>
                </a:lnTo>
                <a:lnTo>
                  <a:pt x="2643" y="5053"/>
                </a:lnTo>
                <a:lnTo>
                  <a:pt x="2660" y="5062"/>
                </a:lnTo>
                <a:lnTo>
                  <a:pt x="2677" y="5071"/>
                </a:lnTo>
                <a:lnTo>
                  <a:pt x="2695" y="5079"/>
                </a:lnTo>
                <a:lnTo>
                  <a:pt x="2695" y="5079"/>
                </a:lnTo>
                <a:lnTo>
                  <a:pt x="2749" y="5051"/>
                </a:lnTo>
                <a:lnTo>
                  <a:pt x="2803" y="5021"/>
                </a:lnTo>
                <a:lnTo>
                  <a:pt x="2857" y="4988"/>
                </a:lnTo>
                <a:lnTo>
                  <a:pt x="2911" y="4954"/>
                </a:lnTo>
                <a:lnTo>
                  <a:pt x="2911" y="4954"/>
                </a:lnTo>
                <a:lnTo>
                  <a:pt x="2946" y="4930"/>
                </a:lnTo>
                <a:lnTo>
                  <a:pt x="2946" y="4930"/>
                </a:lnTo>
                <a:lnTo>
                  <a:pt x="2947" y="4929"/>
                </a:lnTo>
                <a:lnTo>
                  <a:pt x="2947" y="4929"/>
                </a:lnTo>
                <a:lnTo>
                  <a:pt x="2948" y="4927"/>
                </a:lnTo>
                <a:lnTo>
                  <a:pt x="2947" y="4925"/>
                </a:lnTo>
                <a:lnTo>
                  <a:pt x="2943" y="4918"/>
                </a:lnTo>
                <a:lnTo>
                  <a:pt x="2935" y="4909"/>
                </a:lnTo>
                <a:lnTo>
                  <a:pt x="2924" y="4898"/>
                </a:lnTo>
                <a:lnTo>
                  <a:pt x="2899" y="4874"/>
                </a:lnTo>
                <a:lnTo>
                  <a:pt x="2870" y="4845"/>
                </a:lnTo>
                <a:lnTo>
                  <a:pt x="2857" y="4831"/>
                </a:lnTo>
                <a:lnTo>
                  <a:pt x="2846" y="4817"/>
                </a:lnTo>
                <a:lnTo>
                  <a:pt x="2836" y="4802"/>
                </a:lnTo>
                <a:lnTo>
                  <a:pt x="2832" y="4795"/>
                </a:lnTo>
                <a:lnTo>
                  <a:pt x="2829" y="4789"/>
                </a:lnTo>
                <a:lnTo>
                  <a:pt x="2828" y="4782"/>
                </a:lnTo>
                <a:lnTo>
                  <a:pt x="2827" y="4776"/>
                </a:lnTo>
                <a:lnTo>
                  <a:pt x="2827" y="4770"/>
                </a:lnTo>
                <a:lnTo>
                  <a:pt x="2828" y="4765"/>
                </a:lnTo>
                <a:lnTo>
                  <a:pt x="2830" y="4759"/>
                </a:lnTo>
                <a:lnTo>
                  <a:pt x="2834" y="4754"/>
                </a:lnTo>
                <a:lnTo>
                  <a:pt x="2840" y="4750"/>
                </a:lnTo>
                <a:lnTo>
                  <a:pt x="2847" y="4746"/>
                </a:lnTo>
                <a:lnTo>
                  <a:pt x="2847" y="4746"/>
                </a:lnTo>
                <a:lnTo>
                  <a:pt x="2853" y="4742"/>
                </a:lnTo>
                <a:lnTo>
                  <a:pt x="2858" y="4737"/>
                </a:lnTo>
                <a:lnTo>
                  <a:pt x="2861" y="4732"/>
                </a:lnTo>
                <a:lnTo>
                  <a:pt x="2863" y="4726"/>
                </a:lnTo>
                <a:lnTo>
                  <a:pt x="2864" y="4720"/>
                </a:lnTo>
                <a:lnTo>
                  <a:pt x="2864" y="4711"/>
                </a:lnTo>
                <a:lnTo>
                  <a:pt x="2864" y="4704"/>
                </a:lnTo>
                <a:lnTo>
                  <a:pt x="2862" y="4695"/>
                </a:lnTo>
                <a:lnTo>
                  <a:pt x="2857" y="4678"/>
                </a:lnTo>
                <a:lnTo>
                  <a:pt x="2849" y="4658"/>
                </a:lnTo>
                <a:lnTo>
                  <a:pt x="2830" y="4616"/>
                </a:lnTo>
                <a:lnTo>
                  <a:pt x="2821" y="4595"/>
                </a:lnTo>
                <a:lnTo>
                  <a:pt x="2813" y="4574"/>
                </a:lnTo>
                <a:lnTo>
                  <a:pt x="2806" y="4554"/>
                </a:lnTo>
                <a:lnTo>
                  <a:pt x="2804" y="4544"/>
                </a:lnTo>
                <a:lnTo>
                  <a:pt x="2802" y="4534"/>
                </a:lnTo>
                <a:lnTo>
                  <a:pt x="2802" y="4525"/>
                </a:lnTo>
                <a:lnTo>
                  <a:pt x="2802" y="4517"/>
                </a:lnTo>
                <a:lnTo>
                  <a:pt x="2803" y="4509"/>
                </a:lnTo>
                <a:lnTo>
                  <a:pt x="2805" y="4502"/>
                </a:lnTo>
                <a:lnTo>
                  <a:pt x="2808" y="4495"/>
                </a:lnTo>
                <a:lnTo>
                  <a:pt x="2813" y="4488"/>
                </a:lnTo>
                <a:lnTo>
                  <a:pt x="2819" y="4482"/>
                </a:lnTo>
                <a:lnTo>
                  <a:pt x="2827" y="4478"/>
                </a:lnTo>
                <a:lnTo>
                  <a:pt x="2827" y="4478"/>
                </a:lnTo>
                <a:lnTo>
                  <a:pt x="2928" y="4425"/>
                </a:lnTo>
                <a:lnTo>
                  <a:pt x="3034" y="4374"/>
                </a:lnTo>
                <a:lnTo>
                  <a:pt x="3138" y="4323"/>
                </a:lnTo>
                <a:lnTo>
                  <a:pt x="3241" y="4273"/>
                </a:lnTo>
                <a:lnTo>
                  <a:pt x="3433" y="4182"/>
                </a:lnTo>
                <a:lnTo>
                  <a:pt x="3516" y="4142"/>
                </a:lnTo>
                <a:lnTo>
                  <a:pt x="3591" y="4105"/>
                </a:lnTo>
                <a:lnTo>
                  <a:pt x="3591" y="4105"/>
                </a:lnTo>
                <a:lnTo>
                  <a:pt x="3587" y="4089"/>
                </a:lnTo>
                <a:lnTo>
                  <a:pt x="3581" y="4070"/>
                </a:lnTo>
                <a:lnTo>
                  <a:pt x="3571" y="4047"/>
                </a:lnTo>
                <a:lnTo>
                  <a:pt x="3564" y="4035"/>
                </a:lnTo>
                <a:lnTo>
                  <a:pt x="3557" y="4020"/>
                </a:lnTo>
                <a:lnTo>
                  <a:pt x="3549" y="4006"/>
                </a:lnTo>
                <a:lnTo>
                  <a:pt x="3540" y="3992"/>
                </a:lnTo>
                <a:lnTo>
                  <a:pt x="3529" y="3977"/>
                </a:lnTo>
                <a:lnTo>
                  <a:pt x="3516" y="3962"/>
                </a:lnTo>
                <a:lnTo>
                  <a:pt x="3502" y="3948"/>
                </a:lnTo>
                <a:lnTo>
                  <a:pt x="3487" y="3933"/>
                </a:lnTo>
                <a:close/>
                <a:moveTo>
                  <a:pt x="322" y="5867"/>
                </a:moveTo>
                <a:lnTo>
                  <a:pt x="322" y="5867"/>
                </a:lnTo>
                <a:lnTo>
                  <a:pt x="321" y="5881"/>
                </a:lnTo>
                <a:lnTo>
                  <a:pt x="321" y="5892"/>
                </a:lnTo>
                <a:lnTo>
                  <a:pt x="323" y="5908"/>
                </a:lnTo>
                <a:lnTo>
                  <a:pt x="326" y="5923"/>
                </a:lnTo>
                <a:lnTo>
                  <a:pt x="329" y="5931"/>
                </a:lnTo>
                <a:lnTo>
                  <a:pt x="332" y="5939"/>
                </a:lnTo>
                <a:lnTo>
                  <a:pt x="337" y="5947"/>
                </a:lnTo>
                <a:lnTo>
                  <a:pt x="343" y="5956"/>
                </a:lnTo>
                <a:lnTo>
                  <a:pt x="349" y="5964"/>
                </a:lnTo>
                <a:lnTo>
                  <a:pt x="357" y="5971"/>
                </a:lnTo>
                <a:lnTo>
                  <a:pt x="357" y="5971"/>
                </a:lnTo>
                <a:lnTo>
                  <a:pt x="369" y="5980"/>
                </a:lnTo>
                <a:lnTo>
                  <a:pt x="382" y="5988"/>
                </a:lnTo>
                <a:lnTo>
                  <a:pt x="397" y="5995"/>
                </a:lnTo>
                <a:lnTo>
                  <a:pt x="412" y="6000"/>
                </a:lnTo>
                <a:lnTo>
                  <a:pt x="426" y="6002"/>
                </a:lnTo>
                <a:lnTo>
                  <a:pt x="434" y="6002"/>
                </a:lnTo>
                <a:lnTo>
                  <a:pt x="441" y="6001"/>
                </a:lnTo>
                <a:lnTo>
                  <a:pt x="447" y="6000"/>
                </a:lnTo>
                <a:lnTo>
                  <a:pt x="453" y="5998"/>
                </a:lnTo>
                <a:lnTo>
                  <a:pt x="458" y="5995"/>
                </a:lnTo>
                <a:lnTo>
                  <a:pt x="463" y="5991"/>
                </a:lnTo>
                <a:lnTo>
                  <a:pt x="463" y="5991"/>
                </a:lnTo>
                <a:lnTo>
                  <a:pt x="468" y="5986"/>
                </a:lnTo>
                <a:lnTo>
                  <a:pt x="473" y="5979"/>
                </a:lnTo>
                <a:lnTo>
                  <a:pt x="476" y="5973"/>
                </a:lnTo>
                <a:lnTo>
                  <a:pt x="479" y="5966"/>
                </a:lnTo>
                <a:lnTo>
                  <a:pt x="481" y="5958"/>
                </a:lnTo>
                <a:lnTo>
                  <a:pt x="482" y="5950"/>
                </a:lnTo>
                <a:lnTo>
                  <a:pt x="483" y="5933"/>
                </a:lnTo>
                <a:lnTo>
                  <a:pt x="483" y="5917"/>
                </a:lnTo>
                <a:lnTo>
                  <a:pt x="484" y="5900"/>
                </a:lnTo>
                <a:lnTo>
                  <a:pt x="485" y="5892"/>
                </a:lnTo>
                <a:lnTo>
                  <a:pt x="487" y="5884"/>
                </a:lnTo>
                <a:lnTo>
                  <a:pt x="489" y="5877"/>
                </a:lnTo>
                <a:lnTo>
                  <a:pt x="493" y="5869"/>
                </a:lnTo>
                <a:lnTo>
                  <a:pt x="493" y="5869"/>
                </a:lnTo>
                <a:lnTo>
                  <a:pt x="495" y="5866"/>
                </a:lnTo>
                <a:lnTo>
                  <a:pt x="499" y="5863"/>
                </a:lnTo>
                <a:lnTo>
                  <a:pt x="508" y="5857"/>
                </a:lnTo>
                <a:lnTo>
                  <a:pt x="516" y="5854"/>
                </a:lnTo>
                <a:lnTo>
                  <a:pt x="519" y="5853"/>
                </a:lnTo>
                <a:lnTo>
                  <a:pt x="519" y="5853"/>
                </a:lnTo>
                <a:lnTo>
                  <a:pt x="526" y="5851"/>
                </a:lnTo>
                <a:lnTo>
                  <a:pt x="532" y="5848"/>
                </a:lnTo>
                <a:lnTo>
                  <a:pt x="538" y="5845"/>
                </a:lnTo>
                <a:lnTo>
                  <a:pt x="544" y="5840"/>
                </a:lnTo>
                <a:lnTo>
                  <a:pt x="544" y="5840"/>
                </a:lnTo>
                <a:lnTo>
                  <a:pt x="585" y="5859"/>
                </a:lnTo>
                <a:lnTo>
                  <a:pt x="626" y="5877"/>
                </a:lnTo>
                <a:lnTo>
                  <a:pt x="668" y="5896"/>
                </a:lnTo>
                <a:lnTo>
                  <a:pt x="709" y="5917"/>
                </a:lnTo>
                <a:lnTo>
                  <a:pt x="748" y="5938"/>
                </a:lnTo>
                <a:lnTo>
                  <a:pt x="789" y="5961"/>
                </a:lnTo>
                <a:lnTo>
                  <a:pt x="830" y="5983"/>
                </a:lnTo>
                <a:lnTo>
                  <a:pt x="870" y="6007"/>
                </a:lnTo>
                <a:lnTo>
                  <a:pt x="910" y="6031"/>
                </a:lnTo>
                <a:lnTo>
                  <a:pt x="949" y="6056"/>
                </a:lnTo>
                <a:lnTo>
                  <a:pt x="1027" y="6106"/>
                </a:lnTo>
                <a:lnTo>
                  <a:pt x="1103" y="6158"/>
                </a:lnTo>
                <a:lnTo>
                  <a:pt x="1178" y="6211"/>
                </a:lnTo>
                <a:lnTo>
                  <a:pt x="1178" y="6211"/>
                </a:lnTo>
                <a:lnTo>
                  <a:pt x="1197" y="6225"/>
                </a:lnTo>
                <a:lnTo>
                  <a:pt x="1215" y="6236"/>
                </a:lnTo>
                <a:lnTo>
                  <a:pt x="1215" y="6236"/>
                </a:lnTo>
                <a:lnTo>
                  <a:pt x="1208" y="6258"/>
                </a:lnTo>
                <a:lnTo>
                  <a:pt x="1199" y="6281"/>
                </a:lnTo>
                <a:lnTo>
                  <a:pt x="1189" y="6305"/>
                </a:lnTo>
                <a:lnTo>
                  <a:pt x="1177" y="6331"/>
                </a:lnTo>
                <a:lnTo>
                  <a:pt x="1177" y="6331"/>
                </a:lnTo>
                <a:lnTo>
                  <a:pt x="1137" y="6407"/>
                </a:lnTo>
                <a:lnTo>
                  <a:pt x="1118" y="6443"/>
                </a:lnTo>
                <a:lnTo>
                  <a:pt x="1100" y="6479"/>
                </a:lnTo>
                <a:lnTo>
                  <a:pt x="1093" y="6497"/>
                </a:lnTo>
                <a:lnTo>
                  <a:pt x="1087" y="6514"/>
                </a:lnTo>
                <a:lnTo>
                  <a:pt x="1081" y="6530"/>
                </a:lnTo>
                <a:lnTo>
                  <a:pt x="1077" y="6547"/>
                </a:lnTo>
                <a:lnTo>
                  <a:pt x="1074" y="6562"/>
                </a:lnTo>
                <a:lnTo>
                  <a:pt x="1072" y="6576"/>
                </a:lnTo>
                <a:lnTo>
                  <a:pt x="1072" y="6591"/>
                </a:lnTo>
                <a:lnTo>
                  <a:pt x="1073" y="6603"/>
                </a:lnTo>
                <a:lnTo>
                  <a:pt x="1073" y="6603"/>
                </a:lnTo>
                <a:lnTo>
                  <a:pt x="1075" y="6612"/>
                </a:lnTo>
                <a:lnTo>
                  <a:pt x="1077" y="6621"/>
                </a:lnTo>
                <a:lnTo>
                  <a:pt x="1080" y="6629"/>
                </a:lnTo>
                <a:lnTo>
                  <a:pt x="1083" y="6638"/>
                </a:lnTo>
                <a:lnTo>
                  <a:pt x="1087" y="6645"/>
                </a:lnTo>
                <a:lnTo>
                  <a:pt x="1092" y="6652"/>
                </a:lnTo>
                <a:lnTo>
                  <a:pt x="1097" y="6658"/>
                </a:lnTo>
                <a:lnTo>
                  <a:pt x="1102" y="6664"/>
                </a:lnTo>
                <a:lnTo>
                  <a:pt x="1108" y="6669"/>
                </a:lnTo>
                <a:lnTo>
                  <a:pt x="1115" y="6674"/>
                </a:lnTo>
                <a:lnTo>
                  <a:pt x="1122" y="6679"/>
                </a:lnTo>
                <a:lnTo>
                  <a:pt x="1129" y="6682"/>
                </a:lnTo>
                <a:lnTo>
                  <a:pt x="1137" y="6685"/>
                </a:lnTo>
                <a:lnTo>
                  <a:pt x="1145" y="6687"/>
                </a:lnTo>
                <a:lnTo>
                  <a:pt x="1154" y="6689"/>
                </a:lnTo>
                <a:lnTo>
                  <a:pt x="1163" y="6690"/>
                </a:lnTo>
                <a:lnTo>
                  <a:pt x="1163" y="6690"/>
                </a:lnTo>
                <a:lnTo>
                  <a:pt x="1173" y="6690"/>
                </a:lnTo>
                <a:lnTo>
                  <a:pt x="1183" y="6689"/>
                </a:lnTo>
                <a:lnTo>
                  <a:pt x="1192" y="6687"/>
                </a:lnTo>
                <a:lnTo>
                  <a:pt x="1201" y="6685"/>
                </a:lnTo>
                <a:lnTo>
                  <a:pt x="1210" y="6682"/>
                </a:lnTo>
                <a:lnTo>
                  <a:pt x="1218" y="6677"/>
                </a:lnTo>
                <a:lnTo>
                  <a:pt x="1226" y="6673"/>
                </a:lnTo>
                <a:lnTo>
                  <a:pt x="1233" y="6668"/>
                </a:lnTo>
                <a:lnTo>
                  <a:pt x="1240" y="6662"/>
                </a:lnTo>
                <a:lnTo>
                  <a:pt x="1246" y="6657"/>
                </a:lnTo>
                <a:lnTo>
                  <a:pt x="1252" y="6651"/>
                </a:lnTo>
                <a:lnTo>
                  <a:pt x="1257" y="6644"/>
                </a:lnTo>
                <a:lnTo>
                  <a:pt x="1261" y="6637"/>
                </a:lnTo>
                <a:lnTo>
                  <a:pt x="1265" y="6629"/>
                </a:lnTo>
                <a:lnTo>
                  <a:pt x="1268" y="6622"/>
                </a:lnTo>
                <a:lnTo>
                  <a:pt x="1270" y="6614"/>
                </a:lnTo>
                <a:lnTo>
                  <a:pt x="1270" y="6614"/>
                </a:lnTo>
                <a:lnTo>
                  <a:pt x="1272" y="6598"/>
                </a:lnTo>
                <a:lnTo>
                  <a:pt x="1273" y="6582"/>
                </a:lnTo>
                <a:lnTo>
                  <a:pt x="1271" y="6570"/>
                </a:lnTo>
                <a:lnTo>
                  <a:pt x="1268" y="6558"/>
                </a:lnTo>
                <a:lnTo>
                  <a:pt x="1263" y="6549"/>
                </a:lnTo>
                <a:lnTo>
                  <a:pt x="1258" y="6539"/>
                </a:lnTo>
                <a:lnTo>
                  <a:pt x="1251" y="6532"/>
                </a:lnTo>
                <a:lnTo>
                  <a:pt x="1243" y="6527"/>
                </a:lnTo>
                <a:lnTo>
                  <a:pt x="1236" y="6522"/>
                </a:lnTo>
                <a:lnTo>
                  <a:pt x="1229" y="6518"/>
                </a:lnTo>
                <a:lnTo>
                  <a:pt x="1215" y="6513"/>
                </a:lnTo>
                <a:lnTo>
                  <a:pt x="1206" y="6511"/>
                </a:lnTo>
                <a:lnTo>
                  <a:pt x="1201" y="6511"/>
                </a:lnTo>
                <a:lnTo>
                  <a:pt x="1201" y="6511"/>
                </a:lnTo>
                <a:lnTo>
                  <a:pt x="1217" y="6466"/>
                </a:lnTo>
                <a:lnTo>
                  <a:pt x="1229" y="6430"/>
                </a:lnTo>
                <a:lnTo>
                  <a:pt x="1240" y="6401"/>
                </a:lnTo>
                <a:lnTo>
                  <a:pt x="1240" y="6401"/>
                </a:lnTo>
                <a:lnTo>
                  <a:pt x="1248" y="6381"/>
                </a:lnTo>
                <a:lnTo>
                  <a:pt x="1258" y="6363"/>
                </a:lnTo>
                <a:lnTo>
                  <a:pt x="1266" y="6345"/>
                </a:lnTo>
                <a:lnTo>
                  <a:pt x="1275" y="6329"/>
                </a:lnTo>
                <a:lnTo>
                  <a:pt x="1283" y="6314"/>
                </a:lnTo>
                <a:lnTo>
                  <a:pt x="1292" y="6299"/>
                </a:lnTo>
                <a:lnTo>
                  <a:pt x="1310" y="6275"/>
                </a:lnTo>
                <a:lnTo>
                  <a:pt x="1327" y="6254"/>
                </a:lnTo>
                <a:lnTo>
                  <a:pt x="1345" y="6237"/>
                </a:lnTo>
                <a:lnTo>
                  <a:pt x="1361" y="6224"/>
                </a:lnTo>
                <a:lnTo>
                  <a:pt x="1376" y="6212"/>
                </a:lnTo>
                <a:lnTo>
                  <a:pt x="1391" y="6205"/>
                </a:lnTo>
                <a:lnTo>
                  <a:pt x="1404" y="6199"/>
                </a:lnTo>
                <a:lnTo>
                  <a:pt x="1416" y="6195"/>
                </a:lnTo>
                <a:lnTo>
                  <a:pt x="1426" y="6193"/>
                </a:lnTo>
                <a:lnTo>
                  <a:pt x="1435" y="6192"/>
                </a:lnTo>
                <a:lnTo>
                  <a:pt x="1441" y="6192"/>
                </a:lnTo>
                <a:lnTo>
                  <a:pt x="1446" y="6192"/>
                </a:lnTo>
                <a:lnTo>
                  <a:pt x="1446" y="6192"/>
                </a:lnTo>
                <a:lnTo>
                  <a:pt x="1442" y="6188"/>
                </a:lnTo>
                <a:lnTo>
                  <a:pt x="1437" y="6183"/>
                </a:lnTo>
                <a:lnTo>
                  <a:pt x="1432" y="6175"/>
                </a:lnTo>
                <a:lnTo>
                  <a:pt x="1425" y="6166"/>
                </a:lnTo>
                <a:lnTo>
                  <a:pt x="1420" y="6155"/>
                </a:lnTo>
                <a:lnTo>
                  <a:pt x="1414" y="6142"/>
                </a:lnTo>
                <a:lnTo>
                  <a:pt x="1409" y="6125"/>
                </a:lnTo>
                <a:lnTo>
                  <a:pt x="1406" y="6108"/>
                </a:lnTo>
                <a:lnTo>
                  <a:pt x="1404" y="6088"/>
                </a:lnTo>
                <a:lnTo>
                  <a:pt x="1404" y="6065"/>
                </a:lnTo>
                <a:lnTo>
                  <a:pt x="1405" y="6053"/>
                </a:lnTo>
                <a:lnTo>
                  <a:pt x="1407" y="6041"/>
                </a:lnTo>
                <a:lnTo>
                  <a:pt x="1409" y="6027"/>
                </a:lnTo>
                <a:lnTo>
                  <a:pt x="1413" y="6013"/>
                </a:lnTo>
                <a:lnTo>
                  <a:pt x="1417" y="5999"/>
                </a:lnTo>
                <a:lnTo>
                  <a:pt x="1422" y="5983"/>
                </a:lnTo>
                <a:lnTo>
                  <a:pt x="1428" y="5968"/>
                </a:lnTo>
                <a:lnTo>
                  <a:pt x="1436" y="5952"/>
                </a:lnTo>
                <a:lnTo>
                  <a:pt x="1444" y="5934"/>
                </a:lnTo>
                <a:lnTo>
                  <a:pt x="1453" y="5917"/>
                </a:lnTo>
                <a:lnTo>
                  <a:pt x="1453" y="5917"/>
                </a:lnTo>
                <a:lnTo>
                  <a:pt x="1473" y="5880"/>
                </a:lnTo>
                <a:lnTo>
                  <a:pt x="1490" y="5844"/>
                </a:lnTo>
                <a:lnTo>
                  <a:pt x="1505" y="5811"/>
                </a:lnTo>
                <a:lnTo>
                  <a:pt x="1516" y="5780"/>
                </a:lnTo>
                <a:lnTo>
                  <a:pt x="1527" y="5749"/>
                </a:lnTo>
                <a:lnTo>
                  <a:pt x="1535" y="5719"/>
                </a:lnTo>
                <a:lnTo>
                  <a:pt x="1541" y="5691"/>
                </a:lnTo>
                <a:lnTo>
                  <a:pt x="1546" y="5663"/>
                </a:lnTo>
                <a:lnTo>
                  <a:pt x="1546" y="5663"/>
                </a:lnTo>
                <a:lnTo>
                  <a:pt x="1547" y="5654"/>
                </a:lnTo>
                <a:lnTo>
                  <a:pt x="1546" y="5645"/>
                </a:lnTo>
                <a:lnTo>
                  <a:pt x="1545" y="5636"/>
                </a:lnTo>
                <a:lnTo>
                  <a:pt x="1542" y="5626"/>
                </a:lnTo>
                <a:lnTo>
                  <a:pt x="1538" y="5617"/>
                </a:lnTo>
                <a:lnTo>
                  <a:pt x="1534" y="5609"/>
                </a:lnTo>
                <a:lnTo>
                  <a:pt x="1529" y="5600"/>
                </a:lnTo>
                <a:lnTo>
                  <a:pt x="1523" y="5592"/>
                </a:lnTo>
                <a:lnTo>
                  <a:pt x="1515" y="5585"/>
                </a:lnTo>
                <a:lnTo>
                  <a:pt x="1508" y="5577"/>
                </a:lnTo>
                <a:lnTo>
                  <a:pt x="1500" y="5571"/>
                </a:lnTo>
                <a:lnTo>
                  <a:pt x="1492" y="5566"/>
                </a:lnTo>
                <a:lnTo>
                  <a:pt x="1484" y="5561"/>
                </a:lnTo>
                <a:lnTo>
                  <a:pt x="1474" y="5558"/>
                </a:lnTo>
                <a:lnTo>
                  <a:pt x="1465" y="5556"/>
                </a:lnTo>
                <a:lnTo>
                  <a:pt x="1455" y="5554"/>
                </a:lnTo>
                <a:lnTo>
                  <a:pt x="1455" y="5554"/>
                </a:lnTo>
                <a:lnTo>
                  <a:pt x="1445" y="5554"/>
                </a:lnTo>
                <a:lnTo>
                  <a:pt x="1436" y="5555"/>
                </a:lnTo>
                <a:lnTo>
                  <a:pt x="1425" y="5557"/>
                </a:lnTo>
                <a:lnTo>
                  <a:pt x="1416" y="5560"/>
                </a:lnTo>
                <a:lnTo>
                  <a:pt x="1407" y="5564"/>
                </a:lnTo>
                <a:lnTo>
                  <a:pt x="1399" y="5568"/>
                </a:lnTo>
                <a:lnTo>
                  <a:pt x="1391" y="5574"/>
                </a:lnTo>
                <a:lnTo>
                  <a:pt x="1382" y="5579"/>
                </a:lnTo>
                <a:lnTo>
                  <a:pt x="1375" y="5587"/>
                </a:lnTo>
                <a:lnTo>
                  <a:pt x="1369" y="5593"/>
                </a:lnTo>
                <a:lnTo>
                  <a:pt x="1363" y="5600"/>
                </a:lnTo>
                <a:lnTo>
                  <a:pt x="1358" y="5608"/>
                </a:lnTo>
                <a:lnTo>
                  <a:pt x="1354" y="5616"/>
                </a:lnTo>
                <a:lnTo>
                  <a:pt x="1350" y="5624"/>
                </a:lnTo>
                <a:lnTo>
                  <a:pt x="1348" y="5633"/>
                </a:lnTo>
                <a:lnTo>
                  <a:pt x="1347" y="5641"/>
                </a:lnTo>
                <a:lnTo>
                  <a:pt x="1347" y="5641"/>
                </a:lnTo>
                <a:lnTo>
                  <a:pt x="1346" y="5661"/>
                </a:lnTo>
                <a:lnTo>
                  <a:pt x="1347" y="5680"/>
                </a:lnTo>
                <a:lnTo>
                  <a:pt x="1351" y="5695"/>
                </a:lnTo>
                <a:lnTo>
                  <a:pt x="1356" y="5707"/>
                </a:lnTo>
                <a:lnTo>
                  <a:pt x="1362" y="5717"/>
                </a:lnTo>
                <a:lnTo>
                  <a:pt x="1369" y="5727"/>
                </a:lnTo>
                <a:lnTo>
                  <a:pt x="1377" y="5734"/>
                </a:lnTo>
                <a:lnTo>
                  <a:pt x="1386" y="5739"/>
                </a:lnTo>
                <a:lnTo>
                  <a:pt x="1394" y="5743"/>
                </a:lnTo>
                <a:lnTo>
                  <a:pt x="1402" y="5747"/>
                </a:lnTo>
                <a:lnTo>
                  <a:pt x="1416" y="5752"/>
                </a:lnTo>
                <a:lnTo>
                  <a:pt x="1422" y="5754"/>
                </a:lnTo>
                <a:lnTo>
                  <a:pt x="1425" y="5756"/>
                </a:lnTo>
                <a:lnTo>
                  <a:pt x="1428" y="5759"/>
                </a:lnTo>
                <a:lnTo>
                  <a:pt x="1428" y="5762"/>
                </a:lnTo>
                <a:lnTo>
                  <a:pt x="1428" y="5762"/>
                </a:lnTo>
                <a:lnTo>
                  <a:pt x="1417" y="5798"/>
                </a:lnTo>
                <a:lnTo>
                  <a:pt x="1405" y="5831"/>
                </a:lnTo>
                <a:lnTo>
                  <a:pt x="1392" y="5861"/>
                </a:lnTo>
                <a:lnTo>
                  <a:pt x="1378" y="5887"/>
                </a:lnTo>
                <a:lnTo>
                  <a:pt x="1365" y="5912"/>
                </a:lnTo>
                <a:lnTo>
                  <a:pt x="1352" y="5933"/>
                </a:lnTo>
                <a:lnTo>
                  <a:pt x="1337" y="5953"/>
                </a:lnTo>
                <a:lnTo>
                  <a:pt x="1323" y="5969"/>
                </a:lnTo>
                <a:lnTo>
                  <a:pt x="1323" y="5969"/>
                </a:lnTo>
                <a:lnTo>
                  <a:pt x="1296" y="5953"/>
                </a:lnTo>
                <a:lnTo>
                  <a:pt x="1263" y="5933"/>
                </a:lnTo>
                <a:lnTo>
                  <a:pt x="1263" y="5933"/>
                </a:lnTo>
                <a:lnTo>
                  <a:pt x="1186" y="5891"/>
                </a:lnTo>
                <a:lnTo>
                  <a:pt x="1111" y="5850"/>
                </a:lnTo>
                <a:lnTo>
                  <a:pt x="1038" y="5811"/>
                </a:lnTo>
                <a:lnTo>
                  <a:pt x="1001" y="5793"/>
                </a:lnTo>
                <a:lnTo>
                  <a:pt x="964" y="5776"/>
                </a:lnTo>
                <a:lnTo>
                  <a:pt x="927" y="5758"/>
                </a:lnTo>
                <a:lnTo>
                  <a:pt x="889" y="5743"/>
                </a:lnTo>
                <a:lnTo>
                  <a:pt x="850" y="5727"/>
                </a:lnTo>
                <a:lnTo>
                  <a:pt x="810" y="5712"/>
                </a:lnTo>
                <a:lnTo>
                  <a:pt x="769" y="5698"/>
                </a:lnTo>
                <a:lnTo>
                  <a:pt x="727" y="5686"/>
                </a:lnTo>
                <a:lnTo>
                  <a:pt x="683" y="5673"/>
                </a:lnTo>
                <a:lnTo>
                  <a:pt x="638" y="5662"/>
                </a:lnTo>
                <a:lnTo>
                  <a:pt x="638" y="5662"/>
                </a:lnTo>
                <a:lnTo>
                  <a:pt x="655" y="5629"/>
                </a:lnTo>
                <a:lnTo>
                  <a:pt x="655" y="5629"/>
                </a:lnTo>
                <a:lnTo>
                  <a:pt x="681" y="5585"/>
                </a:lnTo>
                <a:lnTo>
                  <a:pt x="699" y="5553"/>
                </a:lnTo>
                <a:lnTo>
                  <a:pt x="706" y="5542"/>
                </a:lnTo>
                <a:lnTo>
                  <a:pt x="710" y="5532"/>
                </a:lnTo>
                <a:lnTo>
                  <a:pt x="712" y="5526"/>
                </a:lnTo>
                <a:lnTo>
                  <a:pt x="711" y="5524"/>
                </a:lnTo>
                <a:lnTo>
                  <a:pt x="710" y="5522"/>
                </a:lnTo>
                <a:lnTo>
                  <a:pt x="710" y="5522"/>
                </a:lnTo>
                <a:lnTo>
                  <a:pt x="709" y="5522"/>
                </a:lnTo>
                <a:lnTo>
                  <a:pt x="708" y="5522"/>
                </a:lnTo>
                <a:lnTo>
                  <a:pt x="702" y="5523"/>
                </a:lnTo>
                <a:lnTo>
                  <a:pt x="688" y="5532"/>
                </a:lnTo>
                <a:lnTo>
                  <a:pt x="664" y="5548"/>
                </a:lnTo>
                <a:lnTo>
                  <a:pt x="647" y="5557"/>
                </a:lnTo>
                <a:lnTo>
                  <a:pt x="628" y="5568"/>
                </a:lnTo>
                <a:lnTo>
                  <a:pt x="628" y="5568"/>
                </a:lnTo>
                <a:lnTo>
                  <a:pt x="606" y="5579"/>
                </a:lnTo>
                <a:lnTo>
                  <a:pt x="588" y="5589"/>
                </a:lnTo>
                <a:lnTo>
                  <a:pt x="573" y="5595"/>
                </a:lnTo>
                <a:lnTo>
                  <a:pt x="558" y="5600"/>
                </a:lnTo>
                <a:lnTo>
                  <a:pt x="545" y="5604"/>
                </a:lnTo>
                <a:lnTo>
                  <a:pt x="532" y="5607"/>
                </a:lnTo>
                <a:lnTo>
                  <a:pt x="504" y="5611"/>
                </a:lnTo>
                <a:lnTo>
                  <a:pt x="504" y="5611"/>
                </a:lnTo>
                <a:lnTo>
                  <a:pt x="495" y="5611"/>
                </a:lnTo>
                <a:lnTo>
                  <a:pt x="486" y="5610"/>
                </a:lnTo>
                <a:lnTo>
                  <a:pt x="468" y="5607"/>
                </a:lnTo>
                <a:lnTo>
                  <a:pt x="453" y="5603"/>
                </a:lnTo>
                <a:lnTo>
                  <a:pt x="446" y="5603"/>
                </a:lnTo>
                <a:lnTo>
                  <a:pt x="441" y="5604"/>
                </a:lnTo>
                <a:lnTo>
                  <a:pt x="441" y="5604"/>
                </a:lnTo>
                <a:lnTo>
                  <a:pt x="435" y="5607"/>
                </a:lnTo>
                <a:lnTo>
                  <a:pt x="428" y="5613"/>
                </a:lnTo>
                <a:lnTo>
                  <a:pt x="423" y="5620"/>
                </a:lnTo>
                <a:lnTo>
                  <a:pt x="418" y="5629"/>
                </a:lnTo>
                <a:lnTo>
                  <a:pt x="413" y="5642"/>
                </a:lnTo>
                <a:lnTo>
                  <a:pt x="408" y="5656"/>
                </a:lnTo>
                <a:lnTo>
                  <a:pt x="395" y="5693"/>
                </a:lnTo>
                <a:lnTo>
                  <a:pt x="395" y="5693"/>
                </a:lnTo>
                <a:lnTo>
                  <a:pt x="370" y="5764"/>
                </a:lnTo>
                <a:lnTo>
                  <a:pt x="363" y="5783"/>
                </a:lnTo>
                <a:lnTo>
                  <a:pt x="363" y="5783"/>
                </a:lnTo>
                <a:lnTo>
                  <a:pt x="355" y="5801"/>
                </a:lnTo>
                <a:lnTo>
                  <a:pt x="348" y="5815"/>
                </a:lnTo>
                <a:lnTo>
                  <a:pt x="335" y="5834"/>
                </a:lnTo>
                <a:lnTo>
                  <a:pt x="331" y="5842"/>
                </a:lnTo>
                <a:lnTo>
                  <a:pt x="327" y="5849"/>
                </a:lnTo>
                <a:lnTo>
                  <a:pt x="324" y="5857"/>
                </a:lnTo>
                <a:lnTo>
                  <a:pt x="322" y="5867"/>
                </a:lnTo>
                <a:close/>
                <a:moveTo>
                  <a:pt x="390" y="969"/>
                </a:moveTo>
                <a:lnTo>
                  <a:pt x="390" y="969"/>
                </a:lnTo>
                <a:lnTo>
                  <a:pt x="419" y="968"/>
                </a:lnTo>
                <a:lnTo>
                  <a:pt x="451" y="965"/>
                </a:lnTo>
                <a:lnTo>
                  <a:pt x="483" y="962"/>
                </a:lnTo>
                <a:lnTo>
                  <a:pt x="513" y="958"/>
                </a:lnTo>
                <a:lnTo>
                  <a:pt x="563" y="952"/>
                </a:lnTo>
                <a:lnTo>
                  <a:pt x="583" y="948"/>
                </a:lnTo>
                <a:lnTo>
                  <a:pt x="580" y="644"/>
                </a:lnTo>
                <a:lnTo>
                  <a:pt x="580" y="644"/>
                </a:lnTo>
                <a:lnTo>
                  <a:pt x="531" y="637"/>
                </a:lnTo>
                <a:lnTo>
                  <a:pt x="429" y="621"/>
                </a:lnTo>
                <a:lnTo>
                  <a:pt x="429" y="621"/>
                </a:lnTo>
                <a:lnTo>
                  <a:pt x="416" y="620"/>
                </a:lnTo>
                <a:lnTo>
                  <a:pt x="404" y="619"/>
                </a:lnTo>
                <a:lnTo>
                  <a:pt x="392" y="619"/>
                </a:lnTo>
                <a:lnTo>
                  <a:pt x="381" y="620"/>
                </a:lnTo>
                <a:lnTo>
                  <a:pt x="371" y="622"/>
                </a:lnTo>
                <a:lnTo>
                  <a:pt x="362" y="625"/>
                </a:lnTo>
                <a:lnTo>
                  <a:pt x="353" y="628"/>
                </a:lnTo>
                <a:lnTo>
                  <a:pt x="346" y="632"/>
                </a:lnTo>
                <a:lnTo>
                  <a:pt x="338" y="636"/>
                </a:lnTo>
                <a:lnTo>
                  <a:pt x="331" y="641"/>
                </a:lnTo>
                <a:lnTo>
                  <a:pt x="325" y="646"/>
                </a:lnTo>
                <a:lnTo>
                  <a:pt x="320" y="651"/>
                </a:lnTo>
                <a:lnTo>
                  <a:pt x="311" y="664"/>
                </a:lnTo>
                <a:lnTo>
                  <a:pt x="304" y="676"/>
                </a:lnTo>
                <a:lnTo>
                  <a:pt x="298" y="689"/>
                </a:lnTo>
                <a:lnTo>
                  <a:pt x="293" y="702"/>
                </a:lnTo>
                <a:lnTo>
                  <a:pt x="290" y="715"/>
                </a:lnTo>
                <a:lnTo>
                  <a:pt x="288" y="725"/>
                </a:lnTo>
                <a:lnTo>
                  <a:pt x="287" y="742"/>
                </a:lnTo>
                <a:lnTo>
                  <a:pt x="287" y="748"/>
                </a:lnTo>
                <a:lnTo>
                  <a:pt x="291" y="832"/>
                </a:lnTo>
                <a:lnTo>
                  <a:pt x="291" y="832"/>
                </a:lnTo>
                <a:lnTo>
                  <a:pt x="291" y="838"/>
                </a:lnTo>
                <a:lnTo>
                  <a:pt x="293" y="854"/>
                </a:lnTo>
                <a:lnTo>
                  <a:pt x="298" y="875"/>
                </a:lnTo>
                <a:lnTo>
                  <a:pt x="302" y="887"/>
                </a:lnTo>
                <a:lnTo>
                  <a:pt x="306" y="901"/>
                </a:lnTo>
                <a:lnTo>
                  <a:pt x="311" y="913"/>
                </a:lnTo>
                <a:lnTo>
                  <a:pt x="318" y="925"/>
                </a:lnTo>
                <a:lnTo>
                  <a:pt x="326" y="938"/>
                </a:lnTo>
                <a:lnTo>
                  <a:pt x="335" y="948"/>
                </a:lnTo>
                <a:lnTo>
                  <a:pt x="340" y="952"/>
                </a:lnTo>
                <a:lnTo>
                  <a:pt x="347" y="956"/>
                </a:lnTo>
                <a:lnTo>
                  <a:pt x="353" y="960"/>
                </a:lnTo>
                <a:lnTo>
                  <a:pt x="359" y="963"/>
                </a:lnTo>
                <a:lnTo>
                  <a:pt x="366" y="965"/>
                </a:lnTo>
                <a:lnTo>
                  <a:pt x="373" y="967"/>
                </a:lnTo>
                <a:lnTo>
                  <a:pt x="381" y="968"/>
                </a:lnTo>
                <a:lnTo>
                  <a:pt x="390" y="969"/>
                </a:lnTo>
                <a:close/>
                <a:moveTo>
                  <a:pt x="1101" y="856"/>
                </a:moveTo>
                <a:lnTo>
                  <a:pt x="1101" y="856"/>
                </a:lnTo>
                <a:lnTo>
                  <a:pt x="1103" y="835"/>
                </a:lnTo>
                <a:lnTo>
                  <a:pt x="1103" y="813"/>
                </a:lnTo>
                <a:lnTo>
                  <a:pt x="1103" y="770"/>
                </a:lnTo>
                <a:lnTo>
                  <a:pt x="1103" y="770"/>
                </a:lnTo>
                <a:lnTo>
                  <a:pt x="1102" y="609"/>
                </a:lnTo>
                <a:lnTo>
                  <a:pt x="1102" y="609"/>
                </a:lnTo>
                <a:lnTo>
                  <a:pt x="1102" y="599"/>
                </a:lnTo>
                <a:lnTo>
                  <a:pt x="1101" y="589"/>
                </a:lnTo>
                <a:lnTo>
                  <a:pt x="1100" y="578"/>
                </a:lnTo>
                <a:lnTo>
                  <a:pt x="1097" y="565"/>
                </a:lnTo>
                <a:lnTo>
                  <a:pt x="1094" y="555"/>
                </a:lnTo>
                <a:lnTo>
                  <a:pt x="1092" y="551"/>
                </a:lnTo>
                <a:lnTo>
                  <a:pt x="1089" y="548"/>
                </a:lnTo>
                <a:lnTo>
                  <a:pt x="1086" y="546"/>
                </a:lnTo>
                <a:lnTo>
                  <a:pt x="1082" y="545"/>
                </a:lnTo>
                <a:lnTo>
                  <a:pt x="1082" y="545"/>
                </a:lnTo>
                <a:lnTo>
                  <a:pt x="1049" y="545"/>
                </a:lnTo>
                <a:lnTo>
                  <a:pt x="1031" y="546"/>
                </a:lnTo>
                <a:lnTo>
                  <a:pt x="1020" y="547"/>
                </a:lnTo>
                <a:lnTo>
                  <a:pt x="1020" y="547"/>
                </a:lnTo>
                <a:lnTo>
                  <a:pt x="1017" y="552"/>
                </a:lnTo>
                <a:lnTo>
                  <a:pt x="1015" y="559"/>
                </a:lnTo>
                <a:lnTo>
                  <a:pt x="1009" y="578"/>
                </a:lnTo>
                <a:lnTo>
                  <a:pt x="1003" y="597"/>
                </a:lnTo>
                <a:lnTo>
                  <a:pt x="1000" y="604"/>
                </a:lnTo>
                <a:lnTo>
                  <a:pt x="998" y="609"/>
                </a:lnTo>
                <a:lnTo>
                  <a:pt x="978" y="547"/>
                </a:lnTo>
                <a:lnTo>
                  <a:pt x="978" y="547"/>
                </a:lnTo>
                <a:lnTo>
                  <a:pt x="962" y="546"/>
                </a:lnTo>
                <a:lnTo>
                  <a:pt x="939" y="546"/>
                </a:lnTo>
                <a:lnTo>
                  <a:pt x="914" y="547"/>
                </a:lnTo>
                <a:lnTo>
                  <a:pt x="900" y="549"/>
                </a:lnTo>
                <a:lnTo>
                  <a:pt x="900" y="549"/>
                </a:lnTo>
                <a:lnTo>
                  <a:pt x="895" y="561"/>
                </a:lnTo>
                <a:lnTo>
                  <a:pt x="889" y="579"/>
                </a:lnTo>
                <a:lnTo>
                  <a:pt x="882" y="597"/>
                </a:lnTo>
                <a:lnTo>
                  <a:pt x="877" y="609"/>
                </a:lnTo>
                <a:lnTo>
                  <a:pt x="858" y="550"/>
                </a:lnTo>
                <a:lnTo>
                  <a:pt x="858" y="550"/>
                </a:lnTo>
                <a:lnTo>
                  <a:pt x="845" y="549"/>
                </a:lnTo>
                <a:lnTo>
                  <a:pt x="821" y="549"/>
                </a:lnTo>
                <a:lnTo>
                  <a:pt x="797" y="550"/>
                </a:lnTo>
                <a:lnTo>
                  <a:pt x="788" y="551"/>
                </a:lnTo>
                <a:lnTo>
                  <a:pt x="784" y="551"/>
                </a:lnTo>
                <a:lnTo>
                  <a:pt x="784" y="551"/>
                </a:lnTo>
                <a:lnTo>
                  <a:pt x="780" y="556"/>
                </a:lnTo>
                <a:lnTo>
                  <a:pt x="777" y="563"/>
                </a:lnTo>
                <a:lnTo>
                  <a:pt x="770" y="581"/>
                </a:lnTo>
                <a:lnTo>
                  <a:pt x="763" y="598"/>
                </a:lnTo>
                <a:lnTo>
                  <a:pt x="758" y="609"/>
                </a:lnTo>
                <a:lnTo>
                  <a:pt x="739" y="551"/>
                </a:lnTo>
                <a:lnTo>
                  <a:pt x="739" y="551"/>
                </a:lnTo>
                <a:lnTo>
                  <a:pt x="722" y="551"/>
                </a:lnTo>
                <a:lnTo>
                  <a:pt x="691" y="551"/>
                </a:lnTo>
                <a:lnTo>
                  <a:pt x="691" y="551"/>
                </a:lnTo>
                <a:lnTo>
                  <a:pt x="686" y="552"/>
                </a:lnTo>
                <a:lnTo>
                  <a:pt x="682" y="553"/>
                </a:lnTo>
                <a:lnTo>
                  <a:pt x="678" y="555"/>
                </a:lnTo>
                <a:lnTo>
                  <a:pt x="674" y="557"/>
                </a:lnTo>
                <a:lnTo>
                  <a:pt x="668" y="564"/>
                </a:lnTo>
                <a:lnTo>
                  <a:pt x="663" y="573"/>
                </a:lnTo>
                <a:lnTo>
                  <a:pt x="658" y="581"/>
                </a:lnTo>
                <a:lnTo>
                  <a:pt x="655" y="591"/>
                </a:lnTo>
                <a:lnTo>
                  <a:pt x="654" y="600"/>
                </a:lnTo>
                <a:lnTo>
                  <a:pt x="653" y="608"/>
                </a:lnTo>
                <a:lnTo>
                  <a:pt x="653" y="608"/>
                </a:lnTo>
                <a:lnTo>
                  <a:pt x="654" y="686"/>
                </a:lnTo>
                <a:lnTo>
                  <a:pt x="655" y="765"/>
                </a:lnTo>
                <a:lnTo>
                  <a:pt x="655" y="765"/>
                </a:lnTo>
                <a:lnTo>
                  <a:pt x="658" y="869"/>
                </a:lnTo>
                <a:lnTo>
                  <a:pt x="661" y="947"/>
                </a:lnTo>
                <a:lnTo>
                  <a:pt x="661" y="947"/>
                </a:lnTo>
                <a:lnTo>
                  <a:pt x="680" y="946"/>
                </a:lnTo>
                <a:lnTo>
                  <a:pt x="690" y="944"/>
                </a:lnTo>
                <a:lnTo>
                  <a:pt x="698" y="943"/>
                </a:lnTo>
                <a:lnTo>
                  <a:pt x="707" y="941"/>
                </a:lnTo>
                <a:lnTo>
                  <a:pt x="715" y="938"/>
                </a:lnTo>
                <a:lnTo>
                  <a:pt x="721" y="933"/>
                </a:lnTo>
                <a:lnTo>
                  <a:pt x="727" y="929"/>
                </a:lnTo>
                <a:lnTo>
                  <a:pt x="727" y="929"/>
                </a:lnTo>
                <a:lnTo>
                  <a:pt x="732" y="924"/>
                </a:lnTo>
                <a:lnTo>
                  <a:pt x="736" y="919"/>
                </a:lnTo>
                <a:lnTo>
                  <a:pt x="743" y="908"/>
                </a:lnTo>
                <a:lnTo>
                  <a:pt x="748" y="897"/>
                </a:lnTo>
                <a:lnTo>
                  <a:pt x="753" y="886"/>
                </a:lnTo>
                <a:lnTo>
                  <a:pt x="756" y="876"/>
                </a:lnTo>
                <a:lnTo>
                  <a:pt x="757" y="869"/>
                </a:lnTo>
                <a:lnTo>
                  <a:pt x="758" y="862"/>
                </a:lnTo>
                <a:lnTo>
                  <a:pt x="758" y="862"/>
                </a:lnTo>
                <a:lnTo>
                  <a:pt x="758" y="882"/>
                </a:lnTo>
                <a:lnTo>
                  <a:pt x="758" y="912"/>
                </a:lnTo>
                <a:lnTo>
                  <a:pt x="759" y="942"/>
                </a:lnTo>
                <a:lnTo>
                  <a:pt x="761" y="965"/>
                </a:lnTo>
                <a:lnTo>
                  <a:pt x="761" y="965"/>
                </a:lnTo>
                <a:lnTo>
                  <a:pt x="761" y="966"/>
                </a:lnTo>
                <a:lnTo>
                  <a:pt x="763" y="967"/>
                </a:lnTo>
                <a:lnTo>
                  <a:pt x="769" y="969"/>
                </a:lnTo>
                <a:lnTo>
                  <a:pt x="778" y="970"/>
                </a:lnTo>
                <a:lnTo>
                  <a:pt x="789" y="970"/>
                </a:lnTo>
                <a:lnTo>
                  <a:pt x="803" y="968"/>
                </a:lnTo>
                <a:lnTo>
                  <a:pt x="816" y="963"/>
                </a:lnTo>
                <a:lnTo>
                  <a:pt x="822" y="960"/>
                </a:lnTo>
                <a:lnTo>
                  <a:pt x="829" y="957"/>
                </a:lnTo>
                <a:lnTo>
                  <a:pt x="835" y="952"/>
                </a:lnTo>
                <a:lnTo>
                  <a:pt x="842" y="947"/>
                </a:lnTo>
                <a:lnTo>
                  <a:pt x="842" y="947"/>
                </a:lnTo>
                <a:lnTo>
                  <a:pt x="850" y="937"/>
                </a:lnTo>
                <a:lnTo>
                  <a:pt x="857" y="925"/>
                </a:lnTo>
                <a:lnTo>
                  <a:pt x="862" y="913"/>
                </a:lnTo>
                <a:lnTo>
                  <a:pt x="866" y="901"/>
                </a:lnTo>
                <a:lnTo>
                  <a:pt x="873" y="878"/>
                </a:lnTo>
                <a:lnTo>
                  <a:pt x="877" y="862"/>
                </a:lnTo>
                <a:lnTo>
                  <a:pt x="877" y="862"/>
                </a:lnTo>
                <a:lnTo>
                  <a:pt x="877" y="893"/>
                </a:lnTo>
                <a:lnTo>
                  <a:pt x="878" y="926"/>
                </a:lnTo>
                <a:lnTo>
                  <a:pt x="880" y="953"/>
                </a:lnTo>
                <a:lnTo>
                  <a:pt x="881" y="962"/>
                </a:lnTo>
                <a:lnTo>
                  <a:pt x="882" y="964"/>
                </a:lnTo>
                <a:lnTo>
                  <a:pt x="883" y="965"/>
                </a:lnTo>
                <a:lnTo>
                  <a:pt x="883" y="965"/>
                </a:lnTo>
                <a:lnTo>
                  <a:pt x="890" y="966"/>
                </a:lnTo>
                <a:lnTo>
                  <a:pt x="898" y="966"/>
                </a:lnTo>
                <a:lnTo>
                  <a:pt x="908" y="965"/>
                </a:lnTo>
                <a:lnTo>
                  <a:pt x="919" y="963"/>
                </a:lnTo>
                <a:lnTo>
                  <a:pt x="930" y="960"/>
                </a:lnTo>
                <a:lnTo>
                  <a:pt x="942" y="956"/>
                </a:lnTo>
                <a:lnTo>
                  <a:pt x="953" y="950"/>
                </a:lnTo>
                <a:lnTo>
                  <a:pt x="958" y="946"/>
                </a:lnTo>
                <a:lnTo>
                  <a:pt x="962" y="942"/>
                </a:lnTo>
                <a:lnTo>
                  <a:pt x="962" y="942"/>
                </a:lnTo>
                <a:lnTo>
                  <a:pt x="970" y="932"/>
                </a:lnTo>
                <a:lnTo>
                  <a:pt x="978" y="922"/>
                </a:lnTo>
                <a:lnTo>
                  <a:pt x="984" y="912"/>
                </a:lnTo>
                <a:lnTo>
                  <a:pt x="989" y="901"/>
                </a:lnTo>
                <a:lnTo>
                  <a:pt x="992" y="890"/>
                </a:lnTo>
                <a:lnTo>
                  <a:pt x="995" y="879"/>
                </a:lnTo>
                <a:lnTo>
                  <a:pt x="998" y="862"/>
                </a:lnTo>
                <a:lnTo>
                  <a:pt x="998" y="862"/>
                </a:lnTo>
                <a:lnTo>
                  <a:pt x="998" y="891"/>
                </a:lnTo>
                <a:lnTo>
                  <a:pt x="999" y="915"/>
                </a:lnTo>
                <a:lnTo>
                  <a:pt x="1001" y="936"/>
                </a:lnTo>
                <a:lnTo>
                  <a:pt x="1001" y="936"/>
                </a:lnTo>
                <a:lnTo>
                  <a:pt x="1015" y="935"/>
                </a:lnTo>
                <a:lnTo>
                  <a:pt x="1024" y="933"/>
                </a:lnTo>
                <a:lnTo>
                  <a:pt x="1032" y="931"/>
                </a:lnTo>
                <a:lnTo>
                  <a:pt x="1032" y="931"/>
                </a:lnTo>
                <a:lnTo>
                  <a:pt x="1046" y="925"/>
                </a:lnTo>
                <a:lnTo>
                  <a:pt x="1057" y="920"/>
                </a:lnTo>
                <a:lnTo>
                  <a:pt x="1068" y="913"/>
                </a:lnTo>
                <a:lnTo>
                  <a:pt x="1068" y="913"/>
                </a:lnTo>
                <a:lnTo>
                  <a:pt x="1078" y="905"/>
                </a:lnTo>
                <a:lnTo>
                  <a:pt x="1083" y="900"/>
                </a:lnTo>
                <a:lnTo>
                  <a:pt x="1088" y="894"/>
                </a:lnTo>
                <a:lnTo>
                  <a:pt x="1092" y="887"/>
                </a:lnTo>
                <a:lnTo>
                  <a:pt x="1096" y="878"/>
                </a:lnTo>
                <a:lnTo>
                  <a:pt x="1099" y="868"/>
                </a:lnTo>
                <a:lnTo>
                  <a:pt x="1101" y="856"/>
                </a:lnTo>
                <a:close/>
                <a:moveTo>
                  <a:pt x="1266" y="1010"/>
                </a:moveTo>
                <a:lnTo>
                  <a:pt x="1266" y="916"/>
                </a:lnTo>
                <a:lnTo>
                  <a:pt x="1266" y="916"/>
                </a:lnTo>
                <a:lnTo>
                  <a:pt x="1261" y="910"/>
                </a:lnTo>
                <a:lnTo>
                  <a:pt x="1255" y="902"/>
                </a:lnTo>
                <a:lnTo>
                  <a:pt x="1247" y="891"/>
                </a:lnTo>
                <a:lnTo>
                  <a:pt x="1240" y="875"/>
                </a:lnTo>
                <a:lnTo>
                  <a:pt x="1237" y="866"/>
                </a:lnTo>
                <a:lnTo>
                  <a:pt x="1234" y="856"/>
                </a:lnTo>
                <a:lnTo>
                  <a:pt x="1232" y="845"/>
                </a:lnTo>
                <a:lnTo>
                  <a:pt x="1229" y="831"/>
                </a:lnTo>
                <a:lnTo>
                  <a:pt x="1228" y="818"/>
                </a:lnTo>
                <a:lnTo>
                  <a:pt x="1227" y="803"/>
                </a:lnTo>
                <a:lnTo>
                  <a:pt x="1227" y="803"/>
                </a:lnTo>
                <a:lnTo>
                  <a:pt x="1227" y="792"/>
                </a:lnTo>
                <a:lnTo>
                  <a:pt x="1228" y="782"/>
                </a:lnTo>
                <a:lnTo>
                  <a:pt x="1229" y="772"/>
                </a:lnTo>
                <a:lnTo>
                  <a:pt x="1232" y="762"/>
                </a:lnTo>
                <a:lnTo>
                  <a:pt x="1238" y="743"/>
                </a:lnTo>
                <a:lnTo>
                  <a:pt x="1244" y="727"/>
                </a:lnTo>
                <a:lnTo>
                  <a:pt x="1252" y="714"/>
                </a:lnTo>
                <a:lnTo>
                  <a:pt x="1258" y="702"/>
                </a:lnTo>
                <a:lnTo>
                  <a:pt x="1264" y="693"/>
                </a:lnTo>
                <a:lnTo>
                  <a:pt x="1263" y="603"/>
                </a:lnTo>
                <a:lnTo>
                  <a:pt x="1263" y="603"/>
                </a:lnTo>
                <a:lnTo>
                  <a:pt x="1254" y="596"/>
                </a:lnTo>
                <a:lnTo>
                  <a:pt x="1230" y="581"/>
                </a:lnTo>
                <a:lnTo>
                  <a:pt x="1216" y="573"/>
                </a:lnTo>
                <a:lnTo>
                  <a:pt x="1201" y="565"/>
                </a:lnTo>
                <a:lnTo>
                  <a:pt x="1194" y="562"/>
                </a:lnTo>
                <a:lnTo>
                  <a:pt x="1188" y="561"/>
                </a:lnTo>
                <a:lnTo>
                  <a:pt x="1182" y="560"/>
                </a:lnTo>
                <a:lnTo>
                  <a:pt x="1176" y="560"/>
                </a:lnTo>
                <a:lnTo>
                  <a:pt x="1177" y="887"/>
                </a:lnTo>
                <a:lnTo>
                  <a:pt x="1177" y="887"/>
                </a:lnTo>
                <a:lnTo>
                  <a:pt x="1177" y="899"/>
                </a:lnTo>
                <a:lnTo>
                  <a:pt x="1174" y="909"/>
                </a:lnTo>
                <a:lnTo>
                  <a:pt x="1170" y="920"/>
                </a:lnTo>
                <a:lnTo>
                  <a:pt x="1164" y="930"/>
                </a:lnTo>
                <a:lnTo>
                  <a:pt x="1156" y="942"/>
                </a:lnTo>
                <a:lnTo>
                  <a:pt x="1148" y="952"/>
                </a:lnTo>
                <a:lnTo>
                  <a:pt x="1138" y="962"/>
                </a:lnTo>
                <a:lnTo>
                  <a:pt x="1128" y="971"/>
                </a:lnTo>
                <a:lnTo>
                  <a:pt x="1117" y="981"/>
                </a:lnTo>
                <a:lnTo>
                  <a:pt x="1104" y="989"/>
                </a:lnTo>
                <a:lnTo>
                  <a:pt x="1092" y="997"/>
                </a:lnTo>
                <a:lnTo>
                  <a:pt x="1079" y="1003"/>
                </a:lnTo>
                <a:lnTo>
                  <a:pt x="1065" y="1009"/>
                </a:lnTo>
                <a:lnTo>
                  <a:pt x="1052" y="1014"/>
                </a:lnTo>
                <a:lnTo>
                  <a:pt x="1039" y="1018"/>
                </a:lnTo>
                <a:lnTo>
                  <a:pt x="1026" y="1021"/>
                </a:lnTo>
                <a:lnTo>
                  <a:pt x="1026" y="1021"/>
                </a:lnTo>
                <a:lnTo>
                  <a:pt x="996" y="1027"/>
                </a:lnTo>
                <a:lnTo>
                  <a:pt x="967" y="1031"/>
                </a:lnTo>
                <a:lnTo>
                  <a:pt x="939" y="1034"/>
                </a:lnTo>
                <a:lnTo>
                  <a:pt x="911" y="1037"/>
                </a:lnTo>
                <a:lnTo>
                  <a:pt x="858" y="1040"/>
                </a:lnTo>
                <a:lnTo>
                  <a:pt x="810" y="1042"/>
                </a:lnTo>
                <a:lnTo>
                  <a:pt x="770" y="1042"/>
                </a:lnTo>
                <a:lnTo>
                  <a:pt x="739" y="1042"/>
                </a:lnTo>
                <a:lnTo>
                  <a:pt x="712" y="1041"/>
                </a:lnTo>
                <a:lnTo>
                  <a:pt x="712" y="1041"/>
                </a:lnTo>
                <a:lnTo>
                  <a:pt x="713" y="1048"/>
                </a:lnTo>
                <a:lnTo>
                  <a:pt x="716" y="1068"/>
                </a:lnTo>
                <a:lnTo>
                  <a:pt x="722" y="1095"/>
                </a:lnTo>
                <a:lnTo>
                  <a:pt x="725" y="1110"/>
                </a:lnTo>
                <a:lnTo>
                  <a:pt x="730" y="1126"/>
                </a:lnTo>
                <a:lnTo>
                  <a:pt x="730" y="1126"/>
                </a:lnTo>
                <a:lnTo>
                  <a:pt x="735" y="1136"/>
                </a:lnTo>
                <a:lnTo>
                  <a:pt x="741" y="1146"/>
                </a:lnTo>
                <a:lnTo>
                  <a:pt x="748" y="1155"/>
                </a:lnTo>
                <a:lnTo>
                  <a:pt x="756" y="1164"/>
                </a:lnTo>
                <a:lnTo>
                  <a:pt x="769" y="1176"/>
                </a:lnTo>
                <a:lnTo>
                  <a:pt x="774" y="1180"/>
                </a:lnTo>
                <a:lnTo>
                  <a:pt x="1163" y="1180"/>
                </a:lnTo>
                <a:lnTo>
                  <a:pt x="1266" y="1010"/>
                </a:lnTo>
                <a:close/>
                <a:moveTo>
                  <a:pt x="773" y="1398"/>
                </a:moveTo>
                <a:lnTo>
                  <a:pt x="1164" y="1398"/>
                </a:lnTo>
                <a:lnTo>
                  <a:pt x="1164" y="1398"/>
                </a:lnTo>
                <a:lnTo>
                  <a:pt x="1175" y="1365"/>
                </a:lnTo>
                <a:lnTo>
                  <a:pt x="1183" y="1339"/>
                </a:lnTo>
                <a:lnTo>
                  <a:pt x="1186" y="1328"/>
                </a:lnTo>
                <a:lnTo>
                  <a:pt x="1188" y="1319"/>
                </a:lnTo>
                <a:lnTo>
                  <a:pt x="1170" y="1256"/>
                </a:lnTo>
                <a:lnTo>
                  <a:pt x="775" y="1256"/>
                </a:lnTo>
                <a:lnTo>
                  <a:pt x="753" y="1321"/>
                </a:lnTo>
                <a:lnTo>
                  <a:pt x="773" y="1398"/>
                </a:lnTo>
                <a:close/>
                <a:moveTo>
                  <a:pt x="1164" y="1471"/>
                </a:moveTo>
                <a:lnTo>
                  <a:pt x="782" y="1471"/>
                </a:lnTo>
                <a:lnTo>
                  <a:pt x="780" y="1976"/>
                </a:lnTo>
                <a:lnTo>
                  <a:pt x="1111" y="1985"/>
                </a:lnTo>
                <a:lnTo>
                  <a:pt x="1216" y="1902"/>
                </a:lnTo>
                <a:lnTo>
                  <a:pt x="1164" y="1471"/>
                </a:lnTo>
                <a:close/>
                <a:moveTo>
                  <a:pt x="1343" y="2103"/>
                </a:moveTo>
                <a:lnTo>
                  <a:pt x="1343" y="2103"/>
                </a:lnTo>
                <a:lnTo>
                  <a:pt x="1309" y="2079"/>
                </a:lnTo>
                <a:lnTo>
                  <a:pt x="1284" y="2061"/>
                </a:lnTo>
                <a:lnTo>
                  <a:pt x="1276" y="2054"/>
                </a:lnTo>
                <a:lnTo>
                  <a:pt x="1271" y="2049"/>
                </a:lnTo>
                <a:lnTo>
                  <a:pt x="1271" y="2049"/>
                </a:lnTo>
                <a:lnTo>
                  <a:pt x="1269" y="2043"/>
                </a:lnTo>
                <a:lnTo>
                  <a:pt x="1267" y="2033"/>
                </a:lnTo>
                <a:lnTo>
                  <a:pt x="1263" y="2004"/>
                </a:lnTo>
                <a:lnTo>
                  <a:pt x="1260" y="1964"/>
                </a:lnTo>
                <a:lnTo>
                  <a:pt x="1138" y="2062"/>
                </a:lnTo>
                <a:lnTo>
                  <a:pt x="765" y="2061"/>
                </a:lnTo>
                <a:lnTo>
                  <a:pt x="765" y="2061"/>
                </a:lnTo>
                <a:lnTo>
                  <a:pt x="765" y="2062"/>
                </a:lnTo>
                <a:lnTo>
                  <a:pt x="764" y="2064"/>
                </a:lnTo>
                <a:lnTo>
                  <a:pt x="762" y="2072"/>
                </a:lnTo>
                <a:lnTo>
                  <a:pt x="760" y="2103"/>
                </a:lnTo>
                <a:lnTo>
                  <a:pt x="759" y="2147"/>
                </a:lnTo>
                <a:lnTo>
                  <a:pt x="758" y="2197"/>
                </a:lnTo>
                <a:lnTo>
                  <a:pt x="757" y="2291"/>
                </a:lnTo>
                <a:lnTo>
                  <a:pt x="757" y="2333"/>
                </a:lnTo>
                <a:lnTo>
                  <a:pt x="757" y="2333"/>
                </a:lnTo>
                <a:lnTo>
                  <a:pt x="786" y="2359"/>
                </a:lnTo>
                <a:lnTo>
                  <a:pt x="852" y="2412"/>
                </a:lnTo>
                <a:lnTo>
                  <a:pt x="888" y="2441"/>
                </a:lnTo>
                <a:lnTo>
                  <a:pt x="919" y="2465"/>
                </a:lnTo>
                <a:lnTo>
                  <a:pt x="943" y="2481"/>
                </a:lnTo>
                <a:lnTo>
                  <a:pt x="950" y="2486"/>
                </a:lnTo>
                <a:lnTo>
                  <a:pt x="952" y="2487"/>
                </a:lnTo>
                <a:lnTo>
                  <a:pt x="954" y="2487"/>
                </a:lnTo>
                <a:lnTo>
                  <a:pt x="1205" y="2170"/>
                </a:lnTo>
                <a:lnTo>
                  <a:pt x="1343" y="2103"/>
                </a:lnTo>
                <a:close/>
                <a:moveTo>
                  <a:pt x="1259" y="2225"/>
                </a:moveTo>
                <a:lnTo>
                  <a:pt x="1033" y="2515"/>
                </a:lnTo>
                <a:lnTo>
                  <a:pt x="1402" y="2669"/>
                </a:lnTo>
                <a:lnTo>
                  <a:pt x="1402" y="2669"/>
                </a:lnTo>
                <a:lnTo>
                  <a:pt x="1442" y="2647"/>
                </a:lnTo>
                <a:lnTo>
                  <a:pt x="1485" y="2624"/>
                </a:lnTo>
                <a:lnTo>
                  <a:pt x="1528" y="2599"/>
                </a:lnTo>
                <a:lnTo>
                  <a:pt x="1571" y="2573"/>
                </a:lnTo>
                <a:lnTo>
                  <a:pt x="1656" y="2521"/>
                </a:lnTo>
                <a:lnTo>
                  <a:pt x="1736" y="2471"/>
                </a:lnTo>
                <a:lnTo>
                  <a:pt x="1806" y="2426"/>
                </a:lnTo>
                <a:lnTo>
                  <a:pt x="1862" y="2389"/>
                </a:lnTo>
                <a:lnTo>
                  <a:pt x="1912" y="2356"/>
                </a:lnTo>
                <a:lnTo>
                  <a:pt x="1392" y="2160"/>
                </a:lnTo>
                <a:lnTo>
                  <a:pt x="1259" y="2225"/>
                </a:lnTo>
                <a:close/>
                <a:moveTo>
                  <a:pt x="1462" y="703"/>
                </a:moveTo>
                <a:lnTo>
                  <a:pt x="1462" y="703"/>
                </a:lnTo>
                <a:lnTo>
                  <a:pt x="1461" y="553"/>
                </a:lnTo>
                <a:lnTo>
                  <a:pt x="1461" y="448"/>
                </a:lnTo>
                <a:lnTo>
                  <a:pt x="1462" y="411"/>
                </a:lnTo>
                <a:lnTo>
                  <a:pt x="1463" y="399"/>
                </a:lnTo>
                <a:lnTo>
                  <a:pt x="1464" y="394"/>
                </a:lnTo>
                <a:lnTo>
                  <a:pt x="1464" y="394"/>
                </a:lnTo>
                <a:lnTo>
                  <a:pt x="1469" y="386"/>
                </a:lnTo>
                <a:lnTo>
                  <a:pt x="1474" y="379"/>
                </a:lnTo>
                <a:lnTo>
                  <a:pt x="1480" y="368"/>
                </a:lnTo>
                <a:lnTo>
                  <a:pt x="1480" y="368"/>
                </a:lnTo>
                <a:lnTo>
                  <a:pt x="1483" y="360"/>
                </a:lnTo>
                <a:lnTo>
                  <a:pt x="1484" y="351"/>
                </a:lnTo>
                <a:lnTo>
                  <a:pt x="1484" y="343"/>
                </a:lnTo>
                <a:lnTo>
                  <a:pt x="1483" y="333"/>
                </a:lnTo>
                <a:lnTo>
                  <a:pt x="1481" y="320"/>
                </a:lnTo>
                <a:lnTo>
                  <a:pt x="1480" y="315"/>
                </a:lnTo>
                <a:lnTo>
                  <a:pt x="1298" y="315"/>
                </a:lnTo>
                <a:lnTo>
                  <a:pt x="1298" y="315"/>
                </a:lnTo>
                <a:lnTo>
                  <a:pt x="1297" y="319"/>
                </a:lnTo>
                <a:lnTo>
                  <a:pt x="1296" y="323"/>
                </a:lnTo>
                <a:lnTo>
                  <a:pt x="1296" y="335"/>
                </a:lnTo>
                <a:lnTo>
                  <a:pt x="1297" y="348"/>
                </a:lnTo>
                <a:lnTo>
                  <a:pt x="1299" y="358"/>
                </a:lnTo>
                <a:lnTo>
                  <a:pt x="1299" y="358"/>
                </a:lnTo>
                <a:lnTo>
                  <a:pt x="1303" y="369"/>
                </a:lnTo>
                <a:lnTo>
                  <a:pt x="1309" y="380"/>
                </a:lnTo>
                <a:lnTo>
                  <a:pt x="1316" y="391"/>
                </a:lnTo>
                <a:lnTo>
                  <a:pt x="1320" y="395"/>
                </a:lnTo>
                <a:lnTo>
                  <a:pt x="1325" y="398"/>
                </a:lnTo>
                <a:lnTo>
                  <a:pt x="1325" y="703"/>
                </a:lnTo>
                <a:lnTo>
                  <a:pt x="1325" y="703"/>
                </a:lnTo>
                <a:lnTo>
                  <a:pt x="1321" y="710"/>
                </a:lnTo>
                <a:lnTo>
                  <a:pt x="1316" y="717"/>
                </a:lnTo>
                <a:lnTo>
                  <a:pt x="1311" y="727"/>
                </a:lnTo>
                <a:lnTo>
                  <a:pt x="1306" y="741"/>
                </a:lnTo>
                <a:lnTo>
                  <a:pt x="1301" y="758"/>
                </a:lnTo>
                <a:lnTo>
                  <a:pt x="1296" y="778"/>
                </a:lnTo>
                <a:lnTo>
                  <a:pt x="1292" y="802"/>
                </a:lnTo>
                <a:lnTo>
                  <a:pt x="1292" y="802"/>
                </a:lnTo>
                <a:lnTo>
                  <a:pt x="1292" y="813"/>
                </a:lnTo>
                <a:lnTo>
                  <a:pt x="1292" y="823"/>
                </a:lnTo>
                <a:lnTo>
                  <a:pt x="1293" y="833"/>
                </a:lnTo>
                <a:lnTo>
                  <a:pt x="1296" y="844"/>
                </a:lnTo>
                <a:lnTo>
                  <a:pt x="1302" y="861"/>
                </a:lnTo>
                <a:lnTo>
                  <a:pt x="1308" y="877"/>
                </a:lnTo>
                <a:lnTo>
                  <a:pt x="1315" y="891"/>
                </a:lnTo>
                <a:lnTo>
                  <a:pt x="1321" y="900"/>
                </a:lnTo>
                <a:lnTo>
                  <a:pt x="1327" y="909"/>
                </a:lnTo>
                <a:lnTo>
                  <a:pt x="1323" y="1165"/>
                </a:lnTo>
                <a:lnTo>
                  <a:pt x="1323" y="1165"/>
                </a:lnTo>
                <a:lnTo>
                  <a:pt x="1321" y="1167"/>
                </a:lnTo>
                <a:lnTo>
                  <a:pt x="1315" y="1174"/>
                </a:lnTo>
                <a:lnTo>
                  <a:pt x="1312" y="1179"/>
                </a:lnTo>
                <a:lnTo>
                  <a:pt x="1310" y="1186"/>
                </a:lnTo>
                <a:lnTo>
                  <a:pt x="1307" y="1194"/>
                </a:lnTo>
                <a:lnTo>
                  <a:pt x="1306" y="1203"/>
                </a:lnTo>
                <a:lnTo>
                  <a:pt x="1306" y="1203"/>
                </a:lnTo>
                <a:lnTo>
                  <a:pt x="1306" y="1213"/>
                </a:lnTo>
                <a:lnTo>
                  <a:pt x="1306" y="1221"/>
                </a:lnTo>
                <a:lnTo>
                  <a:pt x="1307" y="1234"/>
                </a:lnTo>
                <a:lnTo>
                  <a:pt x="1309" y="1241"/>
                </a:lnTo>
                <a:lnTo>
                  <a:pt x="1310" y="1243"/>
                </a:lnTo>
                <a:lnTo>
                  <a:pt x="1480" y="1243"/>
                </a:lnTo>
                <a:lnTo>
                  <a:pt x="1480" y="1243"/>
                </a:lnTo>
                <a:lnTo>
                  <a:pt x="1482" y="1235"/>
                </a:lnTo>
                <a:lnTo>
                  <a:pt x="1483" y="1221"/>
                </a:lnTo>
                <a:lnTo>
                  <a:pt x="1482" y="1204"/>
                </a:lnTo>
                <a:lnTo>
                  <a:pt x="1482" y="1196"/>
                </a:lnTo>
                <a:lnTo>
                  <a:pt x="1480" y="1188"/>
                </a:lnTo>
                <a:lnTo>
                  <a:pt x="1480" y="1188"/>
                </a:lnTo>
                <a:lnTo>
                  <a:pt x="1477" y="1179"/>
                </a:lnTo>
                <a:lnTo>
                  <a:pt x="1471" y="1172"/>
                </a:lnTo>
                <a:lnTo>
                  <a:pt x="1466" y="1166"/>
                </a:lnTo>
                <a:lnTo>
                  <a:pt x="1461" y="1161"/>
                </a:lnTo>
                <a:lnTo>
                  <a:pt x="1460" y="909"/>
                </a:lnTo>
                <a:lnTo>
                  <a:pt x="1460" y="909"/>
                </a:lnTo>
                <a:lnTo>
                  <a:pt x="1473" y="888"/>
                </a:lnTo>
                <a:lnTo>
                  <a:pt x="1482" y="876"/>
                </a:lnTo>
                <a:lnTo>
                  <a:pt x="1488" y="865"/>
                </a:lnTo>
                <a:lnTo>
                  <a:pt x="1494" y="852"/>
                </a:lnTo>
                <a:lnTo>
                  <a:pt x="1499" y="837"/>
                </a:lnTo>
                <a:lnTo>
                  <a:pt x="1502" y="822"/>
                </a:lnTo>
                <a:lnTo>
                  <a:pt x="1503" y="814"/>
                </a:lnTo>
                <a:lnTo>
                  <a:pt x="1503" y="806"/>
                </a:lnTo>
                <a:lnTo>
                  <a:pt x="1503" y="806"/>
                </a:lnTo>
                <a:lnTo>
                  <a:pt x="1503" y="797"/>
                </a:lnTo>
                <a:lnTo>
                  <a:pt x="1502" y="788"/>
                </a:lnTo>
                <a:lnTo>
                  <a:pt x="1498" y="773"/>
                </a:lnTo>
                <a:lnTo>
                  <a:pt x="1493" y="758"/>
                </a:lnTo>
                <a:lnTo>
                  <a:pt x="1487" y="743"/>
                </a:lnTo>
                <a:lnTo>
                  <a:pt x="1481" y="731"/>
                </a:lnTo>
                <a:lnTo>
                  <a:pt x="1473" y="720"/>
                </a:lnTo>
                <a:lnTo>
                  <a:pt x="1462" y="703"/>
                </a:lnTo>
                <a:close/>
                <a:moveTo>
                  <a:pt x="1843" y="953"/>
                </a:moveTo>
                <a:lnTo>
                  <a:pt x="2130" y="663"/>
                </a:lnTo>
                <a:lnTo>
                  <a:pt x="2130" y="663"/>
                </a:lnTo>
                <a:lnTo>
                  <a:pt x="1946" y="660"/>
                </a:lnTo>
                <a:lnTo>
                  <a:pt x="1837" y="659"/>
                </a:lnTo>
                <a:lnTo>
                  <a:pt x="1715" y="658"/>
                </a:lnTo>
                <a:lnTo>
                  <a:pt x="1715" y="658"/>
                </a:lnTo>
                <a:lnTo>
                  <a:pt x="1708" y="657"/>
                </a:lnTo>
                <a:lnTo>
                  <a:pt x="1698" y="655"/>
                </a:lnTo>
                <a:lnTo>
                  <a:pt x="1687" y="651"/>
                </a:lnTo>
                <a:lnTo>
                  <a:pt x="1676" y="646"/>
                </a:lnTo>
                <a:lnTo>
                  <a:pt x="1650" y="634"/>
                </a:lnTo>
                <a:lnTo>
                  <a:pt x="1623" y="620"/>
                </a:lnTo>
                <a:lnTo>
                  <a:pt x="1597" y="606"/>
                </a:lnTo>
                <a:lnTo>
                  <a:pt x="1576" y="596"/>
                </a:lnTo>
                <a:lnTo>
                  <a:pt x="1566" y="592"/>
                </a:lnTo>
                <a:lnTo>
                  <a:pt x="1558" y="591"/>
                </a:lnTo>
                <a:lnTo>
                  <a:pt x="1553" y="590"/>
                </a:lnTo>
                <a:lnTo>
                  <a:pt x="1551" y="591"/>
                </a:lnTo>
                <a:lnTo>
                  <a:pt x="1550" y="592"/>
                </a:lnTo>
                <a:lnTo>
                  <a:pt x="1550" y="592"/>
                </a:lnTo>
                <a:lnTo>
                  <a:pt x="1535" y="628"/>
                </a:lnTo>
                <a:lnTo>
                  <a:pt x="1514" y="681"/>
                </a:lnTo>
                <a:lnTo>
                  <a:pt x="1514" y="681"/>
                </a:lnTo>
                <a:lnTo>
                  <a:pt x="1523" y="691"/>
                </a:lnTo>
                <a:lnTo>
                  <a:pt x="1532" y="703"/>
                </a:lnTo>
                <a:lnTo>
                  <a:pt x="1542" y="719"/>
                </a:lnTo>
                <a:lnTo>
                  <a:pt x="1551" y="737"/>
                </a:lnTo>
                <a:lnTo>
                  <a:pt x="1556" y="747"/>
                </a:lnTo>
                <a:lnTo>
                  <a:pt x="1560" y="759"/>
                </a:lnTo>
                <a:lnTo>
                  <a:pt x="1563" y="770"/>
                </a:lnTo>
                <a:lnTo>
                  <a:pt x="1565" y="781"/>
                </a:lnTo>
                <a:lnTo>
                  <a:pt x="1568" y="793"/>
                </a:lnTo>
                <a:lnTo>
                  <a:pt x="1568" y="806"/>
                </a:lnTo>
                <a:lnTo>
                  <a:pt x="1568" y="806"/>
                </a:lnTo>
                <a:lnTo>
                  <a:pt x="1566" y="825"/>
                </a:lnTo>
                <a:lnTo>
                  <a:pt x="1564" y="838"/>
                </a:lnTo>
                <a:lnTo>
                  <a:pt x="1561" y="855"/>
                </a:lnTo>
                <a:lnTo>
                  <a:pt x="1558" y="864"/>
                </a:lnTo>
                <a:lnTo>
                  <a:pt x="1555" y="873"/>
                </a:lnTo>
                <a:lnTo>
                  <a:pt x="1551" y="883"/>
                </a:lnTo>
                <a:lnTo>
                  <a:pt x="1545" y="894"/>
                </a:lnTo>
                <a:lnTo>
                  <a:pt x="1539" y="903"/>
                </a:lnTo>
                <a:lnTo>
                  <a:pt x="1532" y="914"/>
                </a:lnTo>
                <a:lnTo>
                  <a:pt x="1524" y="924"/>
                </a:lnTo>
                <a:lnTo>
                  <a:pt x="1513" y="935"/>
                </a:lnTo>
                <a:lnTo>
                  <a:pt x="1513" y="935"/>
                </a:lnTo>
                <a:lnTo>
                  <a:pt x="1536" y="981"/>
                </a:lnTo>
                <a:lnTo>
                  <a:pt x="1553" y="1013"/>
                </a:lnTo>
                <a:lnTo>
                  <a:pt x="1560" y="1025"/>
                </a:lnTo>
                <a:lnTo>
                  <a:pt x="1565" y="1032"/>
                </a:lnTo>
                <a:lnTo>
                  <a:pt x="1565" y="1032"/>
                </a:lnTo>
                <a:lnTo>
                  <a:pt x="1580" y="1023"/>
                </a:lnTo>
                <a:lnTo>
                  <a:pt x="1597" y="1013"/>
                </a:lnTo>
                <a:lnTo>
                  <a:pt x="1618" y="1002"/>
                </a:lnTo>
                <a:lnTo>
                  <a:pt x="1642" y="990"/>
                </a:lnTo>
                <a:lnTo>
                  <a:pt x="1669" y="978"/>
                </a:lnTo>
                <a:lnTo>
                  <a:pt x="1696" y="968"/>
                </a:lnTo>
                <a:lnTo>
                  <a:pt x="1711" y="964"/>
                </a:lnTo>
                <a:lnTo>
                  <a:pt x="1724" y="961"/>
                </a:lnTo>
                <a:lnTo>
                  <a:pt x="1724" y="961"/>
                </a:lnTo>
                <a:lnTo>
                  <a:pt x="1737" y="959"/>
                </a:lnTo>
                <a:lnTo>
                  <a:pt x="1761" y="957"/>
                </a:lnTo>
                <a:lnTo>
                  <a:pt x="1843" y="953"/>
                </a:lnTo>
                <a:close/>
                <a:moveTo>
                  <a:pt x="3120" y="962"/>
                </a:moveTo>
                <a:lnTo>
                  <a:pt x="3486" y="484"/>
                </a:lnTo>
                <a:lnTo>
                  <a:pt x="3486" y="484"/>
                </a:lnTo>
                <a:lnTo>
                  <a:pt x="3479" y="482"/>
                </a:lnTo>
                <a:lnTo>
                  <a:pt x="3469" y="481"/>
                </a:lnTo>
                <a:lnTo>
                  <a:pt x="3458" y="480"/>
                </a:lnTo>
                <a:lnTo>
                  <a:pt x="3445" y="480"/>
                </a:lnTo>
                <a:lnTo>
                  <a:pt x="3428" y="483"/>
                </a:lnTo>
                <a:lnTo>
                  <a:pt x="3420" y="485"/>
                </a:lnTo>
                <a:lnTo>
                  <a:pt x="3412" y="488"/>
                </a:lnTo>
                <a:lnTo>
                  <a:pt x="3403" y="492"/>
                </a:lnTo>
                <a:lnTo>
                  <a:pt x="3394" y="496"/>
                </a:lnTo>
                <a:lnTo>
                  <a:pt x="3394" y="496"/>
                </a:lnTo>
                <a:lnTo>
                  <a:pt x="3385" y="502"/>
                </a:lnTo>
                <a:lnTo>
                  <a:pt x="3376" y="508"/>
                </a:lnTo>
                <a:lnTo>
                  <a:pt x="3369" y="515"/>
                </a:lnTo>
                <a:lnTo>
                  <a:pt x="3363" y="523"/>
                </a:lnTo>
                <a:lnTo>
                  <a:pt x="3358" y="532"/>
                </a:lnTo>
                <a:lnTo>
                  <a:pt x="3353" y="540"/>
                </a:lnTo>
                <a:lnTo>
                  <a:pt x="3349" y="548"/>
                </a:lnTo>
                <a:lnTo>
                  <a:pt x="3346" y="557"/>
                </a:lnTo>
                <a:lnTo>
                  <a:pt x="3341" y="574"/>
                </a:lnTo>
                <a:lnTo>
                  <a:pt x="3337" y="589"/>
                </a:lnTo>
                <a:lnTo>
                  <a:pt x="3336" y="600"/>
                </a:lnTo>
                <a:lnTo>
                  <a:pt x="3337" y="605"/>
                </a:lnTo>
                <a:lnTo>
                  <a:pt x="3338" y="608"/>
                </a:lnTo>
                <a:lnTo>
                  <a:pt x="3338" y="608"/>
                </a:lnTo>
                <a:lnTo>
                  <a:pt x="3334" y="599"/>
                </a:lnTo>
                <a:lnTo>
                  <a:pt x="3330" y="592"/>
                </a:lnTo>
                <a:lnTo>
                  <a:pt x="3325" y="585"/>
                </a:lnTo>
                <a:lnTo>
                  <a:pt x="3320" y="579"/>
                </a:lnTo>
                <a:lnTo>
                  <a:pt x="3315" y="574"/>
                </a:lnTo>
                <a:lnTo>
                  <a:pt x="3310" y="568"/>
                </a:lnTo>
                <a:lnTo>
                  <a:pt x="3304" y="564"/>
                </a:lnTo>
                <a:lnTo>
                  <a:pt x="3299" y="561"/>
                </a:lnTo>
                <a:lnTo>
                  <a:pt x="3286" y="556"/>
                </a:lnTo>
                <a:lnTo>
                  <a:pt x="3273" y="554"/>
                </a:lnTo>
                <a:lnTo>
                  <a:pt x="3261" y="553"/>
                </a:lnTo>
                <a:lnTo>
                  <a:pt x="3249" y="554"/>
                </a:lnTo>
                <a:lnTo>
                  <a:pt x="3236" y="556"/>
                </a:lnTo>
                <a:lnTo>
                  <a:pt x="3225" y="558"/>
                </a:lnTo>
                <a:lnTo>
                  <a:pt x="3214" y="562"/>
                </a:lnTo>
                <a:lnTo>
                  <a:pt x="3206" y="565"/>
                </a:lnTo>
                <a:lnTo>
                  <a:pt x="3192" y="572"/>
                </a:lnTo>
                <a:lnTo>
                  <a:pt x="3187" y="574"/>
                </a:lnTo>
                <a:lnTo>
                  <a:pt x="3187" y="574"/>
                </a:lnTo>
                <a:lnTo>
                  <a:pt x="3199" y="594"/>
                </a:lnTo>
                <a:lnTo>
                  <a:pt x="3209" y="613"/>
                </a:lnTo>
                <a:lnTo>
                  <a:pt x="3215" y="632"/>
                </a:lnTo>
                <a:lnTo>
                  <a:pt x="3219" y="647"/>
                </a:lnTo>
                <a:lnTo>
                  <a:pt x="3220" y="663"/>
                </a:lnTo>
                <a:lnTo>
                  <a:pt x="3220" y="675"/>
                </a:lnTo>
                <a:lnTo>
                  <a:pt x="3218" y="687"/>
                </a:lnTo>
                <a:lnTo>
                  <a:pt x="3214" y="696"/>
                </a:lnTo>
                <a:lnTo>
                  <a:pt x="3209" y="705"/>
                </a:lnTo>
                <a:lnTo>
                  <a:pt x="3203" y="712"/>
                </a:lnTo>
                <a:lnTo>
                  <a:pt x="3194" y="718"/>
                </a:lnTo>
                <a:lnTo>
                  <a:pt x="3186" y="722"/>
                </a:lnTo>
                <a:lnTo>
                  <a:pt x="3178" y="724"/>
                </a:lnTo>
                <a:lnTo>
                  <a:pt x="3169" y="725"/>
                </a:lnTo>
                <a:lnTo>
                  <a:pt x="3160" y="725"/>
                </a:lnTo>
                <a:lnTo>
                  <a:pt x="3150" y="724"/>
                </a:lnTo>
                <a:lnTo>
                  <a:pt x="3150" y="724"/>
                </a:lnTo>
                <a:lnTo>
                  <a:pt x="3138" y="720"/>
                </a:lnTo>
                <a:lnTo>
                  <a:pt x="3129" y="715"/>
                </a:lnTo>
                <a:lnTo>
                  <a:pt x="3121" y="709"/>
                </a:lnTo>
                <a:lnTo>
                  <a:pt x="3114" y="702"/>
                </a:lnTo>
                <a:lnTo>
                  <a:pt x="3108" y="695"/>
                </a:lnTo>
                <a:lnTo>
                  <a:pt x="3104" y="688"/>
                </a:lnTo>
                <a:lnTo>
                  <a:pt x="3100" y="680"/>
                </a:lnTo>
                <a:lnTo>
                  <a:pt x="3098" y="673"/>
                </a:lnTo>
                <a:lnTo>
                  <a:pt x="3095" y="658"/>
                </a:lnTo>
                <a:lnTo>
                  <a:pt x="3095" y="646"/>
                </a:lnTo>
                <a:lnTo>
                  <a:pt x="3095" y="638"/>
                </a:lnTo>
                <a:lnTo>
                  <a:pt x="3095" y="635"/>
                </a:lnTo>
                <a:lnTo>
                  <a:pt x="3095" y="635"/>
                </a:lnTo>
                <a:lnTo>
                  <a:pt x="3092" y="637"/>
                </a:lnTo>
                <a:lnTo>
                  <a:pt x="3084" y="643"/>
                </a:lnTo>
                <a:lnTo>
                  <a:pt x="3072" y="650"/>
                </a:lnTo>
                <a:lnTo>
                  <a:pt x="3064" y="653"/>
                </a:lnTo>
                <a:lnTo>
                  <a:pt x="3056" y="656"/>
                </a:lnTo>
                <a:lnTo>
                  <a:pt x="3047" y="658"/>
                </a:lnTo>
                <a:lnTo>
                  <a:pt x="3038" y="659"/>
                </a:lnTo>
                <a:lnTo>
                  <a:pt x="3028" y="659"/>
                </a:lnTo>
                <a:lnTo>
                  <a:pt x="3018" y="658"/>
                </a:lnTo>
                <a:lnTo>
                  <a:pt x="3008" y="655"/>
                </a:lnTo>
                <a:lnTo>
                  <a:pt x="2999" y="650"/>
                </a:lnTo>
                <a:lnTo>
                  <a:pt x="2989" y="643"/>
                </a:lnTo>
                <a:lnTo>
                  <a:pt x="2980" y="634"/>
                </a:lnTo>
                <a:lnTo>
                  <a:pt x="2980" y="634"/>
                </a:lnTo>
                <a:lnTo>
                  <a:pt x="2973" y="625"/>
                </a:lnTo>
                <a:lnTo>
                  <a:pt x="2969" y="616"/>
                </a:lnTo>
                <a:lnTo>
                  <a:pt x="2967" y="607"/>
                </a:lnTo>
                <a:lnTo>
                  <a:pt x="2968" y="598"/>
                </a:lnTo>
                <a:lnTo>
                  <a:pt x="2969" y="589"/>
                </a:lnTo>
                <a:lnTo>
                  <a:pt x="2973" y="581"/>
                </a:lnTo>
                <a:lnTo>
                  <a:pt x="2980" y="572"/>
                </a:lnTo>
                <a:lnTo>
                  <a:pt x="2987" y="564"/>
                </a:lnTo>
                <a:lnTo>
                  <a:pt x="2996" y="557"/>
                </a:lnTo>
                <a:lnTo>
                  <a:pt x="3006" y="550"/>
                </a:lnTo>
                <a:lnTo>
                  <a:pt x="3019" y="544"/>
                </a:lnTo>
                <a:lnTo>
                  <a:pt x="3033" y="540"/>
                </a:lnTo>
                <a:lnTo>
                  <a:pt x="3048" y="536"/>
                </a:lnTo>
                <a:lnTo>
                  <a:pt x="3065" y="533"/>
                </a:lnTo>
                <a:lnTo>
                  <a:pt x="3083" y="532"/>
                </a:lnTo>
                <a:lnTo>
                  <a:pt x="3102" y="531"/>
                </a:lnTo>
                <a:lnTo>
                  <a:pt x="3102" y="531"/>
                </a:lnTo>
                <a:lnTo>
                  <a:pt x="3103" y="520"/>
                </a:lnTo>
                <a:lnTo>
                  <a:pt x="3102" y="509"/>
                </a:lnTo>
                <a:lnTo>
                  <a:pt x="3099" y="494"/>
                </a:lnTo>
                <a:lnTo>
                  <a:pt x="3096" y="486"/>
                </a:lnTo>
                <a:lnTo>
                  <a:pt x="3093" y="477"/>
                </a:lnTo>
                <a:lnTo>
                  <a:pt x="3089" y="469"/>
                </a:lnTo>
                <a:lnTo>
                  <a:pt x="3084" y="460"/>
                </a:lnTo>
                <a:lnTo>
                  <a:pt x="3078" y="451"/>
                </a:lnTo>
                <a:lnTo>
                  <a:pt x="3071" y="443"/>
                </a:lnTo>
                <a:lnTo>
                  <a:pt x="3061" y="435"/>
                </a:lnTo>
                <a:lnTo>
                  <a:pt x="3051" y="426"/>
                </a:lnTo>
                <a:lnTo>
                  <a:pt x="3051" y="426"/>
                </a:lnTo>
                <a:lnTo>
                  <a:pt x="3043" y="421"/>
                </a:lnTo>
                <a:lnTo>
                  <a:pt x="3034" y="417"/>
                </a:lnTo>
                <a:lnTo>
                  <a:pt x="3024" y="415"/>
                </a:lnTo>
                <a:lnTo>
                  <a:pt x="3014" y="413"/>
                </a:lnTo>
                <a:lnTo>
                  <a:pt x="3004" y="412"/>
                </a:lnTo>
                <a:lnTo>
                  <a:pt x="2995" y="412"/>
                </a:lnTo>
                <a:lnTo>
                  <a:pt x="2977" y="414"/>
                </a:lnTo>
                <a:lnTo>
                  <a:pt x="2960" y="418"/>
                </a:lnTo>
                <a:lnTo>
                  <a:pt x="2947" y="421"/>
                </a:lnTo>
                <a:lnTo>
                  <a:pt x="2936" y="425"/>
                </a:lnTo>
                <a:lnTo>
                  <a:pt x="2936" y="425"/>
                </a:lnTo>
                <a:lnTo>
                  <a:pt x="2943" y="421"/>
                </a:lnTo>
                <a:lnTo>
                  <a:pt x="2951" y="415"/>
                </a:lnTo>
                <a:lnTo>
                  <a:pt x="2960" y="408"/>
                </a:lnTo>
                <a:lnTo>
                  <a:pt x="2970" y="397"/>
                </a:lnTo>
                <a:lnTo>
                  <a:pt x="2980" y="384"/>
                </a:lnTo>
                <a:lnTo>
                  <a:pt x="2984" y="376"/>
                </a:lnTo>
                <a:lnTo>
                  <a:pt x="2988" y="369"/>
                </a:lnTo>
                <a:lnTo>
                  <a:pt x="2991" y="360"/>
                </a:lnTo>
                <a:lnTo>
                  <a:pt x="2993" y="351"/>
                </a:lnTo>
                <a:lnTo>
                  <a:pt x="2993" y="351"/>
                </a:lnTo>
                <a:lnTo>
                  <a:pt x="2995" y="336"/>
                </a:lnTo>
                <a:lnTo>
                  <a:pt x="2994" y="320"/>
                </a:lnTo>
                <a:lnTo>
                  <a:pt x="2992" y="303"/>
                </a:lnTo>
                <a:lnTo>
                  <a:pt x="2988" y="285"/>
                </a:lnTo>
                <a:lnTo>
                  <a:pt x="2981" y="267"/>
                </a:lnTo>
                <a:lnTo>
                  <a:pt x="2972" y="249"/>
                </a:lnTo>
                <a:lnTo>
                  <a:pt x="2961" y="232"/>
                </a:lnTo>
                <a:lnTo>
                  <a:pt x="2955" y="223"/>
                </a:lnTo>
                <a:lnTo>
                  <a:pt x="2948" y="216"/>
                </a:lnTo>
                <a:lnTo>
                  <a:pt x="2947" y="214"/>
                </a:lnTo>
                <a:lnTo>
                  <a:pt x="2944" y="214"/>
                </a:lnTo>
                <a:lnTo>
                  <a:pt x="2944" y="214"/>
                </a:lnTo>
                <a:lnTo>
                  <a:pt x="2934" y="214"/>
                </a:lnTo>
                <a:lnTo>
                  <a:pt x="2923" y="215"/>
                </a:lnTo>
                <a:lnTo>
                  <a:pt x="2903" y="219"/>
                </a:lnTo>
                <a:lnTo>
                  <a:pt x="2885" y="224"/>
                </a:lnTo>
                <a:lnTo>
                  <a:pt x="2866" y="232"/>
                </a:lnTo>
                <a:lnTo>
                  <a:pt x="2851" y="240"/>
                </a:lnTo>
                <a:lnTo>
                  <a:pt x="2836" y="250"/>
                </a:lnTo>
                <a:lnTo>
                  <a:pt x="2824" y="261"/>
                </a:lnTo>
                <a:lnTo>
                  <a:pt x="2814" y="272"/>
                </a:lnTo>
                <a:lnTo>
                  <a:pt x="2814" y="272"/>
                </a:lnTo>
                <a:lnTo>
                  <a:pt x="2809" y="280"/>
                </a:lnTo>
                <a:lnTo>
                  <a:pt x="2805" y="288"/>
                </a:lnTo>
                <a:lnTo>
                  <a:pt x="2802" y="297"/>
                </a:lnTo>
                <a:lnTo>
                  <a:pt x="2799" y="305"/>
                </a:lnTo>
                <a:lnTo>
                  <a:pt x="2796" y="320"/>
                </a:lnTo>
                <a:lnTo>
                  <a:pt x="2795" y="334"/>
                </a:lnTo>
                <a:lnTo>
                  <a:pt x="2795" y="347"/>
                </a:lnTo>
                <a:lnTo>
                  <a:pt x="2796" y="357"/>
                </a:lnTo>
                <a:lnTo>
                  <a:pt x="2798" y="365"/>
                </a:lnTo>
                <a:lnTo>
                  <a:pt x="2798" y="365"/>
                </a:lnTo>
                <a:lnTo>
                  <a:pt x="2792" y="354"/>
                </a:lnTo>
                <a:lnTo>
                  <a:pt x="2787" y="341"/>
                </a:lnTo>
                <a:lnTo>
                  <a:pt x="2778" y="327"/>
                </a:lnTo>
                <a:lnTo>
                  <a:pt x="2767" y="313"/>
                </a:lnTo>
                <a:lnTo>
                  <a:pt x="2761" y="306"/>
                </a:lnTo>
                <a:lnTo>
                  <a:pt x="2754" y="299"/>
                </a:lnTo>
                <a:lnTo>
                  <a:pt x="2746" y="292"/>
                </a:lnTo>
                <a:lnTo>
                  <a:pt x="2737" y="287"/>
                </a:lnTo>
                <a:lnTo>
                  <a:pt x="2729" y="283"/>
                </a:lnTo>
                <a:lnTo>
                  <a:pt x="2719" y="281"/>
                </a:lnTo>
                <a:lnTo>
                  <a:pt x="2719" y="281"/>
                </a:lnTo>
                <a:lnTo>
                  <a:pt x="2707" y="278"/>
                </a:lnTo>
                <a:lnTo>
                  <a:pt x="2694" y="278"/>
                </a:lnTo>
                <a:lnTo>
                  <a:pt x="2683" y="278"/>
                </a:lnTo>
                <a:lnTo>
                  <a:pt x="2672" y="279"/>
                </a:lnTo>
                <a:lnTo>
                  <a:pt x="2663" y="281"/>
                </a:lnTo>
                <a:lnTo>
                  <a:pt x="2653" y="284"/>
                </a:lnTo>
                <a:lnTo>
                  <a:pt x="2644" y="287"/>
                </a:lnTo>
                <a:lnTo>
                  <a:pt x="2637" y="291"/>
                </a:lnTo>
                <a:lnTo>
                  <a:pt x="2624" y="300"/>
                </a:lnTo>
                <a:lnTo>
                  <a:pt x="2615" y="307"/>
                </a:lnTo>
                <a:lnTo>
                  <a:pt x="2607" y="314"/>
                </a:lnTo>
                <a:lnTo>
                  <a:pt x="2607" y="314"/>
                </a:lnTo>
                <a:lnTo>
                  <a:pt x="2621" y="328"/>
                </a:lnTo>
                <a:lnTo>
                  <a:pt x="2632" y="343"/>
                </a:lnTo>
                <a:lnTo>
                  <a:pt x="2641" y="357"/>
                </a:lnTo>
                <a:lnTo>
                  <a:pt x="2648" y="371"/>
                </a:lnTo>
                <a:lnTo>
                  <a:pt x="2654" y="384"/>
                </a:lnTo>
                <a:lnTo>
                  <a:pt x="2659" y="398"/>
                </a:lnTo>
                <a:lnTo>
                  <a:pt x="2661" y="410"/>
                </a:lnTo>
                <a:lnTo>
                  <a:pt x="2662" y="421"/>
                </a:lnTo>
                <a:lnTo>
                  <a:pt x="2661" y="432"/>
                </a:lnTo>
                <a:lnTo>
                  <a:pt x="2659" y="442"/>
                </a:lnTo>
                <a:lnTo>
                  <a:pt x="2654" y="451"/>
                </a:lnTo>
                <a:lnTo>
                  <a:pt x="2649" y="458"/>
                </a:lnTo>
                <a:lnTo>
                  <a:pt x="2642" y="464"/>
                </a:lnTo>
                <a:lnTo>
                  <a:pt x="2635" y="469"/>
                </a:lnTo>
                <a:lnTo>
                  <a:pt x="2626" y="472"/>
                </a:lnTo>
                <a:lnTo>
                  <a:pt x="2616" y="473"/>
                </a:lnTo>
                <a:lnTo>
                  <a:pt x="2616" y="473"/>
                </a:lnTo>
                <a:lnTo>
                  <a:pt x="2601" y="473"/>
                </a:lnTo>
                <a:lnTo>
                  <a:pt x="2590" y="471"/>
                </a:lnTo>
                <a:lnTo>
                  <a:pt x="2580" y="467"/>
                </a:lnTo>
                <a:lnTo>
                  <a:pt x="2571" y="462"/>
                </a:lnTo>
                <a:lnTo>
                  <a:pt x="2562" y="456"/>
                </a:lnTo>
                <a:lnTo>
                  <a:pt x="2556" y="449"/>
                </a:lnTo>
                <a:lnTo>
                  <a:pt x="2551" y="441"/>
                </a:lnTo>
                <a:lnTo>
                  <a:pt x="2547" y="432"/>
                </a:lnTo>
                <a:lnTo>
                  <a:pt x="2543" y="424"/>
                </a:lnTo>
                <a:lnTo>
                  <a:pt x="2541" y="417"/>
                </a:lnTo>
                <a:lnTo>
                  <a:pt x="2538" y="403"/>
                </a:lnTo>
                <a:lnTo>
                  <a:pt x="2536" y="393"/>
                </a:lnTo>
                <a:lnTo>
                  <a:pt x="2536" y="390"/>
                </a:lnTo>
                <a:lnTo>
                  <a:pt x="2536" y="390"/>
                </a:lnTo>
                <a:lnTo>
                  <a:pt x="2534" y="392"/>
                </a:lnTo>
                <a:lnTo>
                  <a:pt x="2528" y="398"/>
                </a:lnTo>
                <a:lnTo>
                  <a:pt x="2518" y="405"/>
                </a:lnTo>
                <a:lnTo>
                  <a:pt x="2506" y="413"/>
                </a:lnTo>
                <a:lnTo>
                  <a:pt x="2499" y="416"/>
                </a:lnTo>
                <a:lnTo>
                  <a:pt x="2491" y="419"/>
                </a:lnTo>
                <a:lnTo>
                  <a:pt x="2483" y="420"/>
                </a:lnTo>
                <a:lnTo>
                  <a:pt x="2473" y="421"/>
                </a:lnTo>
                <a:lnTo>
                  <a:pt x="2464" y="421"/>
                </a:lnTo>
                <a:lnTo>
                  <a:pt x="2454" y="419"/>
                </a:lnTo>
                <a:lnTo>
                  <a:pt x="2444" y="415"/>
                </a:lnTo>
                <a:lnTo>
                  <a:pt x="2434" y="409"/>
                </a:lnTo>
                <a:lnTo>
                  <a:pt x="2434" y="409"/>
                </a:lnTo>
                <a:lnTo>
                  <a:pt x="2426" y="404"/>
                </a:lnTo>
                <a:lnTo>
                  <a:pt x="2419" y="397"/>
                </a:lnTo>
                <a:lnTo>
                  <a:pt x="2414" y="390"/>
                </a:lnTo>
                <a:lnTo>
                  <a:pt x="2410" y="381"/>
                </a:lnTo>
                <a:lnTo>
                  <a:pt x="2408" y="372"/>
                </a:lnTo>
                <a:lnTo>
                  <a:pt x="2407" y="363"/>
                </a:lnTo>
                <a:lnTo>
                  <a:pt x="2407" y="354"/>
                </a:lnTo>
                <a:lnTo>
                  <a:pt x="2410" y="345"/>
                </a:lnTo>
                <a:lnTo>
                  <a:pt x="2415" y="334"/>
                </a:lnTo>
                <a:lnTo>
                  <a:pt x="2421" y="325"/>
                </a:lnTo>
                <a:lnTo>
                  <a:pt x="2432" y="316"/>
                </a:lnTo>
                <a:lnTo>
                  <a:pt x="2443" y="308"/>
                </a:lnTo>
                <a:lnTo>
                  <a:pt x="2457" y="300"/>
                </a:lnTo>
                <a:lnTo>
                  <a:pt x="2474" y="292"/>
                </a:lnTo>
                <a:lnTo>
                  <a:pt x="2495" y="286"/>
                </a:lnTo>
                <a:lnTo>
                  <a:pt x="2518" y="280"/>
                </a:lnTo>
                <a:lnTo>
                  <a:pt x="2518" y="280"/>
                </a:lnTo>
                <a:lnTo>
                  <a:pt x="2517" y="275"/>
                </a:lnTo>
                <a:lnTo>
                  <a:pt x="2512" y="262"/>
                </a:lnTo>
                <a:lnTo>
                  <a:pt x="2509" y="253"/>
                </a:lnTo>
                <a:lnTo>
                  <a:pt x="2504" y="242"/>
                </a:lnTo>
                <a:lnTo>
                  <a:pt x="2499" y="232"/>
                </a:lnTo>
                <a:lnTo>
                  <a:pt x="2492" y="222"/>
                </a:lnTo>
                <a:lnTo>
                  <a:pt x="2484" y="213"/>
                </a:lnTo>
                <a:lnTo>
                  <a:pt x="2474" y="203"/>
                </a:lnTo>
                <a:lnTo>
                  <a:pt x="2464" y="196"/>
                </a:lnTo>
                <a:lnTo>
                  <a:pt x="2452" y="190"/>
                </a:lnTo>
                <a:lnTo>
                  <a:pt x="2446" y="188"/>
                </a:lnTo>
                <a:lnTo>
                  <a:pt x="2440" y="187"/>
                </a:lnTo>
                <a:lnTo>
                  <a:pt x="2433" y="186"/>
                </a:lnTo>
                <a:lnTo>
                  <a:pt x="2424" y="185"/>
                </a:lnTo>
                <a:lnTo>
                  <a:pt x="2417" y="186"/>
                </a:lnTo>
                <a:lnTo>
                  <a:pt x="2408" y="187"/>
                </a:lnTo>
                <a:lnTo>
                  <a:pt x="2400" y="190"/>
                </a:lnTo>
                <a:lnTo>
                  <a:pt x="2391" y="193"/>
                </a:lnTo>
                <a:lnTo>
                  <a:pt x="2391" y="193"/>
                </a:lnTo>
                <a:lnTo>
                  <a:pt x="2394" y="191"/>
                </a:lnTo>
                <a:lnTo>
                  <a:pt x="2398" y="188"/>
                </a:lnTo>
                <a:lnTo>
                  <a:pt x="2406" y="180"/>
                </a:lnTo>
                <a:lnTo>
                  <a:pt x="2415" y="168"/>
                </a:lnTo>
                <a:lnTo>
                  <a:pt x="2423" y="153"/>
                </a:lnTo>
                <a:lnTo>
                  <a:pt x="2427" y="144"/>
                </a:lnTo>
                <a:lnTo>
                  <a:pt x="2432" y="136"/>
                </a:lnTo>
                <a:lnTo>
                  <a:pt x="2435" y="127"/>
                </a:lnTo>
                <a:lnTo>
                  <a:pt x="2437" y="117"/>
                </a:lnTo>
                <a:lnTo>
                  <a:pt x="2438" y="106"/>
                </a:lnTo>
                <a:lnTo>
                  <a:pt x="2439" y="97"/>
                </a:lnTo>
                <a:lnTo>
                  <a:pt x="2438" y="86"/>
                </a:lnTo>
                <a:lnTo>
                  <a:pt x="2436" y="76"/>
                </a:lnTo>
                <a:lnTo>
                  <a:pt x="2436" y="76"/>
                </a:lnTo>
                <a:lnTo>
                  <a:pt x="2434" y="66"/>
                </a:lnTo>
                <a:lnTo>
                  <a:pt x="2429" y="57"/>
                </a:lnTo>
                <a:lnTo>
                  <a:pt x="2426" y="49"/>
                </a:lnTo>
                <a:lnTo>
                  <a:pt x="2422" y="41"/>
                </a:lnTo>
                <a:lnTo>
                  <a:pt x="2413" y="28"/>
                </a:lnTo>
                <a:lnTo>
                  <a:pt x="2404" y="17"/>
                </a:lnTo>
                <a:lnTo>
                  <a:pt x="2396" y="9"/>
                </a:lnTo>
                <a:lnTo>
                  <a:pt x="2389" y="4"/>
                </a:lnTo>
                <a:lnTo>
                  <a:pt x="2382" y="0"/>
                </a:lnTo>
                <a:lnTo>
                  <a:pt x="2279" y="593"/>
                </a:lnTo>
                <a:lnTo>
                  <a:pt x="2548" y="712"/>
                </a:lnTo>
                <a:lnTo>
                  <a:pt x="2548" y="712"/>
                </a:lnTo>
                <a:lnTo>
                  <a:pt x="2572" y="693"/>
                </a:lnTo>
                <a:lnTo>
                  <a:pt x="2594" y="677"/>
                </a:lnTo>
                <a:lnTo>
                  <a:pt x="2615" y="665"/>
                </a:lnTo>
                <a:lnTo>
                  <a:pt x="2633" y="656"/>
                </a:lnTo>
                <a:lnTo>
                  <a:pt x="2633" y="656"/>
                </a:lnTo>
                <a:lnTo>
                  <a:pt x="2646" y="650"/>
                </a:lnTo>
                <a:lnTo>
                  <a:pt x="2661" y="646"/>
                </a:lnTo>
                <a:lnTo>
                  <a:pt x="2675" y="642"/>
                </a:lnTo>
                <a:lnTo>
                  <a:pt x="2688" y="639"/>
                </a:lnTo>
                <a:lnTo>
                  <a:pt x="2702" y="637"/>
                </a:lnTo>
                <a:lnTo>
                  <a:pt x="2716" y="636"/>
                </a:lnTo>
                <a:lnTo>
                  <a:pt x="2729" y="635"/>
                </a:lnTo>
                <a:lnTo>
                  <a:pt x="2743" y="635"/>
                </a:lnTo>
                <a:lnTo>
                  <a:pt x="2757" y="636"/>
                </a:lnTo>
                <a:lnTo>
                  <a:pt x="2770" y="638"/>
                </a:lnTo>
                <a:lnTo>
                  <a:pt x="2783" y="640"/>
                </a:lnTo>
                <a:lnTo>
                  <a:pt x="2796" y="643"/>
                </a:lnTo>
                <a:lnTo>
                  <a:pt x="2821" y="650"/>
                </a:lnTo>
                <a:lnTo>
                  <a:pt x="2845" y="658"/>
                </a:lnTo>
                <a:lnTo>
                  <a:pt x="2845" y="658"/>
                </a:lnTo>
                <a:lnTo>
                  <a:pt x="2861" y="667"/>
                </a:lnTo>
                <a:lnTo>
                  <a:pt x="2875" y="675"/>
                </a:lnTo>
                <a:lnTo>
                  <a:pt x="2889" y="683"/>
                </a:lnTo>
                <a:lnTo>
                  <a:pt x="2900" y="691"/>
                </a:lnTo>
                <a:lnTo>
                  <a:pt x="2910" y="699"/>
                </a:lnTo>
                <a:lnTo>
                  <a:pt x="2918" y="709"/>
                </a:lnTo>
                <a:lnTo>
                  <a:pt x="2925" y="717"/>
                </a:lnTo>
                <a:lnTo>
                  <a:pt x="2932" y="726"/>
                </a:lnTo>
                <a:lnTo>
                  <a:pt x="2937" y="735"/>
                </a:lnTo>
                <a:lnTo>
                  <a:pt x="2941" y="743"/>
                </a:lnTo>
                <a:lnTo>
                  <a:pt x="2944" y="753"/>
                </a:lnTo>
                <a:lnTo>
                  <a:pt x="2947" y="761"/>
                </a:lnTo>
                <a:lnTo>
                  <a:pt x="2950" y="778"/>
                </a:lnTo>
                <a:lnTo>
                  <a:pt x="2952" y="793"/>
                </a:lnTo>
                <a:lnTo>
                  <a:pt x="2952" y="793"/>
                </a:lnTo>
                <a:lnTo>
                  <a:pt x="2951" y="804"/>
                </a:lnTo>
                <a:lnTo>
                  <a:pt x="2949" y="815"/>
                </a:lnTo>
                <a:lnTo>
                  <a:pt x="2946" y="827"/>
                </a:lnTo>
                <a:lnTo>
                  <a:pt x="2942" y="839"/>
                </a:lnTo>
                <a:lnTo>
                  <a:pt x="2933" y="863"/>
                </a:lnTo>
                <a:lnTo>
                  <a:pt x="2925" y="877"/>
                </a:lnTo>
                <a:lnTo>
                  <a:pt x="3120" y="962"/>
                </a:lnTo>
                <a:close/>
                <a:moveTo>
                  <a:pt x="4480" y="887"/>
                </a:moveTo>
                <a:lnTo>
                  <a:pt x="4715" y="773"/>
                </a:lnTo>
                <a:lnTo>
                  <a:pt x="4477" y="674"/>
                </a:lnTo>
                <a:lnTo>
                  <a:pt x="4477" y="674"/>
                </a:lnTo>
                <a:lnTo>
                  <a:pt x="4404" y="675"/>
                </a:lnTo>
                <a:lnTo>
                  <a:pt x="4312" y="676"/>
                </a:lnTo>
                <a:lnTo>
                  <a:pt x="4201" y="675"/>
                </a:lnTo>
                <a:lnTo>
                  <a:pt x="4076" y="673"/>
                </a:lnTo>
                <a:lnTo>
                  <a:pt x="3783" y="667"/>
                </a:lnTo>
                <a:lnTo>
                  <a:pt x="3449" y="660"/>
                </a:lnTo>
                <a:lnTo>
                  <a:pt x="3252" y="916"/>
                </a:lnTo>
                <a:lnTo>
                  <a:pt x="3252" y="916"/>
                </a:lnTo>
                <a:lnTo>
                  <a:pt x="3986" y="900"/>
                </a:lnTo>
                <a:lnTo>
                  <a:pt x="4276" y="894"/>
                </a:lnTo>
                <a:lnTo>
                  <a:pt x="4480" y="887"/>
                </a:lnTo>
                <a:close/>
                <a:moveTo>
                  <a:pt x="4171" y="2139"/>
                </a:moveTo>
                <a:lnTo>
                  <a:pt x="4171" y="2139"/>
                </a:lnTo>
                <a:lnTo>
                  <a:pt x="4105" y="2106"/>
                </a:lnTo>
                <a:lnTo>
                  <a:pt x="4042" y="2073"/>
                </a:lnTo>
                <a:lnTo>
                  <a:pt x="3983" y="2042"/>
                </a:lnTo>
                <a:lnTo>
                  <a:pt x="3954" y="2025"/>
                </a:lnTo>
                <a:lnTo>
                  <a:pt x="3926" y="2008"/>
                </a:lnTo>
                <a:lnTo>
                  <a:pt x="3900" y="1991"/>
                </a:lnTo>
                <a:lnTo>
                  <a:pt x="3875" y="1973"/>
                </a:lnTo>
                <a:lnTo>
                  <a:pt x="3852" y="1954"/>
                </a:lnTo>
                <a:lnTo>
                  <a:pt x="3829" y="1934"/>
                </a:lnTo>
                <a:lnTo>
                  <a:pt x="3809" y="1914"/>
                </a:lnTo>
                <a:lnTo>
                  <a:pt x="3789" y="1893"/>
                </a:lnTo>
                <a:lnTo>
                  <a:pt x="3772" y="1869"/>
                </a:lnTo>
                <a:lnTo>
                  <a:pt x="3756" y="1845"/>
                </a:lnTo>
                <a:lnTo>
                  <a:pt x="3756" y="1845"/>
                </a:lnTo>
                <a:lnTo>
                  <a:pt x="3750" y="1832"/>
                </a:lnTo>
                <a:lnTo>
                  <a:pt x="3743" y="1819"/>
                </a:lnTo>
                <a:lnTo>
                  <a:pt x="3738" y="1805"/>
                </a:lnTo>
                <a:lnTo>
                  <a:pt x="3733" y="1790"/>
                </a:lnTo>
                <a:lnTo>
                  <a:pt x="3729" y="1775"/>
                </a:lnTo>
                <a:lnTo>
                  <a:pt x="3726" y="1760"/>
                </a:lnTo>
                <a:lnTo>
                  <a:pt x="3723" y="1743"/>
                </a:lnTo>
                <a:lnTo>
                  <a:pt x="3721" y="1727"/>
                </a:lnTo>
                <a:lnTo>
                  <a:pt x="3720" y="1711"/>
                </a:lnTo>
                <a:lnTo>
                  <a:pt x="3719" y="1693"/>
                </a:lnTo>
                <a:lnTo>
                  <a:pt x="3719" y="1677"/>
                </a:lnTo>
                <a:lnTo>
                  <a:pt x="3720" y="1659"/>
                </a:lnTo>
                <a:lnTo>
                  <a:pt x="3721" y="1641"/>
                </a:lnTo>
                <a:lnTo>
                  <a:pt x="3724" y="1624"/>
                </a:lnTo>
                <a:lnTo>
                  <a:pt x="3726" y="1606"/>
                </a:lnTo>
                <a:lnTo>
                  <a:pt x="3730" y="1589"/>
                </a:lnTo>
                <a:lnTo>
                  <a:pt x="3734" y="1571"/>
                </a:lnTo>
                <a:lnTo>
                  <a:pt x="3740" y="1554"/>
                </a:lnTo>
                <a:lnTo>
                  <a:pt x="3745" y="1537"/>
                </a:lnTo>
                <a:lnTo>
                  <a:pt x="3753" y="1519"/>
                </a:lnTo>
                <a:lnTo>
                  <a:pt x="3761" y="1503"/>
                </a:lnTo>
                <a:lnTo>
                  <a:pt x="3769" y="1487"/>
                </a:lnTo>
                <a:lnTo>
                  <a:pt x="3778" y="1470"/>
                </a:lnTo>
                <a:lnTo>
                  <a:pt x="3788" y="1454"/>
                </a:lnTo>
                <a:lnTo>
                  <a:pt x="3800" y="1439"/>
                </a:lnTo>
                <a:lnTo>
                  <a:pt x="3812" y="1424"/>
                </a:lnTo>
                <a:lnTo>
                  <a:pt x="3824" y="1410"/>
                </a:lnTo>
                <a:lnTo>
                  <a:pt x="3839" y="1396"/>
                </a:lnTo>
                <a:lnTo>
                  <a:pt x="3853" y="1382"/>
                </a:lnTo>
                <a:lnTo>
                  <a:pt x="3868" y="1370"/>
                </a:lnTo>
                <a:lnTo>
                  <a:pt x="3885" y="1358"/>
                </a:lnTo>
                <a:lnTo>
                  <a:pt x="3902" y="1347"/>
                </a:lnTo>
                <a:lnTo>
                  <a:pt x="3902" y="1347"/>
                </a:lnTo>
                <a:lnTo>
                  <a:pt x="3910" y="1355"/>
                </a:lnTo>
                <a:lnTo>
                  <a:pt x="3917" y="1363"/>
                </a:lnTo>
                <a:lnTo>
                  <a:pt x="3922" y="1370"/>
                </a:lnTo>
                <a:lnTo>
                  <a:pt x="3927" y="1378"/>
                </a:lnTo>
                <a:lnTo>
                  <a:pt x="3936" y="1394"/>
                </a:lnTo>
                <a:lnTo>
                  <a:pt x="3941" y="1408"/>
                </a:lnTo>
                <a:lnTo>
                  <a:pt x="3944" y="1420"/>
                </a:lnTo>
                <a:lnTo>
                  <a:pt x="3946" y="1429"/>
                </a:lnTo>
                <a:lnTo>
                  <a:pt x="3946" y="1438"/>
                </a:lnTo>
                <a:lnTo>
                  <a:pt x="3946" y="1438"/>
                </a:lnTo>
                <a:lnTo>
                  <a:pt x="3966" y="1438"/>
                </a:lnTo>
                <a:lnTo>
                  <a:pt x="3991" y="1438"/>
                </a:lnTo>
                <a:lnTo>
                  <a:pt x="4044" y="1434"/>
                </a:lnTo>
                <a:lnTo>
                  <a:pt x="4098" y="1432"/>
                </a:lnTo>
                <a:lnTo>
                  <a:pt x="4123" y="1431"/>
                </a:lnTo>
                <a:lnTo>
                  <a:pt x="4143" y="1431"/>
                </a:lnTo>
                <a:lnTo>
                  <a:pt x="4143" y="1431"/>
                </a:lnTo>
                <a:lnTo>
                  <a:pt x="4144" y="1417"/>
                </a:lnTo>
                <a:lnTo>
                  <a:pt x="4144" y="1400"/>
                </a:lnTo>
                <a:lnTo>
                  <a:pt x="4143" y="1382"/>
                </a:lnTo>
                <a:lnTo>
                  <a:pt x="4141" y="1364"/>
                </a:lnTo>
                <a:lnTo>
                  <a:pt x="4138" y="1344"/>
                </a:lnTo>
                <a:lnTo>
                  <a:pt x="4133" y="1325"/>
                </a:lnTo>
                <a:lnTo>
                  <a:pt x="4126" y="1307"/>
                </a:lnTo>
                <a:lnTo>
                  <a:pt x="4121" y="1297"/>
                </a:lnTo>
                <a:lnTo>
                  <a:pt x="4116" y="1288"/>
                </a:lnTo>
                <a:lnTo>
                  <a:pt x="4116" y="1288"/>
                </a:lnTo>
                <a:lnTo>
                  <a:pt x="4134" y="1302"/>
                </a:lnTo>
                <a:lnTo>
                  <a:pt x="4150" y="1315"/>
                </a:lnTo>
                <a:lnTo>
                  <a:pt x="4165" y="1328"/>
                </a:lnTo>
                <a:lnTo>
                  <a:pt x="4172" y="1335"/>
                </a:lnTo>
                <a:lnTo>
                  <a:pt x="4178" y="1343"/>
                </a:lnTo>
                <a:lnTo>
                  <a:pt x="4184" y="1352"/>
                </a:lnTo>
                <a:lnTo>
                  <a:pt x="4189" y="1361"/>
                </a:lnTo>
                <a:lnTo>
                  <a:pt x="4194" y="1370"/>
                </a:lnTo>
                <a:lnTo>
                  <a:pt x="4198" y="1380"/>
                </a:lnTo>
                <a:lnTo>
                  <a:pt x="4203" y="1392"/>
                </a:lnTo>
                <a:lnTo>
                  <a:pt x="4206" y="1404"/>
                </a:lnTo>
                <a:lnTo>
                  <a:pt x="4209" y="1417"/>
                </a:lnTo>
                <a:lnTo>
                  <a:pt x="4212" y="1431"/>
                </a:lnTo>
                <a:lnTo>
                  <a:pt x="4212" y="1431"/>
                </a:lnTo>
                <a:lnTo>
                  <a:pt x="4390" y="1438"/>
                </a:lnTo>
                <a:lnTo>
                  <a:pt x="4390" y="1438"/>
                </a:lnTo>
                <a:lnTo>
                  <a:pt x="4390" y="1421"/>
                </a:lnTo>
                <a:lnTo>
                  <a:pt x="4389" y="1406"/>
                </a:lnTo>
                <a:lnTo>
                  <a:pt x="4386" y="1391"/>
                </a:lnTo>
                <a:lnTo>
                  <a:pt x="4381" y="1376"/>
                </a:lnTo>
                <a:lnTo>
                  <a:pt x="4376" y="1363"/>
                </a:lnTo>
                <a:lnTo>
                  <a:pt x="4370" y="1350"/>
                </a:lnTo>
                <a:lnTo>
                  <a:pt x="4362" y="1338"/>
                </a:lnTo>
                <a:lnTo>
                  <a:pt x="4353" y="1326"/>
                </a:lnTo>
                <a:lnTo>
                  <a:pt x="4353" y="1326"/>
                </a:lnTo>
                <a:lnTo>
                  <a:pt x="4370" y="1334"/>
                </a:lnTo>
                <a:lnTo>
                  <a:pt x="4388" y="1342"/>
                </a:lnTo>
                <a:lnTo>
                  <a:pt x="4403" y="1352"/>
                </a:lnTo>
                <a:lnTo>
                  <a:pt x="4418" y="1361"/>
                </a:lnTo>
                <a:lnTo>
                  <a:pt x="4433" y="1371"/>
                </a:lnTo>
                <a:lnTo>
                  <a:pt x="4447" y="1381"/>
                </a:lnTo>
                <a:lnTo>
                  <a:pt x="4459" y="1392"/>
                </a:lnTo>
                <a:lnTo>
                  <a:pt x="4471" y="1403"/>
                </a:lnTo>
                <a:lnTo>
                  <a:pt x="4483" y="1414"/>
                </a:lnTo>
                <a:lnTo>
                  <a:pt x="4494" y="1426"/>
                </a:lnTo>
                <a:lnTo>
                  <a:pt x="4504" y="1439"/>
                </a:lnTo>
                <a:lnTo>
                  <a:pt x="4513" y="1451"/>
                </a:lnTo>
                <a:lnTo>
                  <a:pt x="4522" y="1463"/>
                </a:lnTo>
                <a:lnTo>
                  <a:pt x="4530" y="1475"/>
                </a:lnTo>
                <a:lnTo>
                  <a:pt x="4544" y="1501"/>
                </a:lnTo>
                <a:lnTo>
                  <a:pt x="4556" y="1526"/>
                </a:lnTo>
                <a:lnTo>
                  <a:pt x="4567" y="1551"/>
                </a:lnTo>
                <a:lnTo>
                  <a:pt x="4574" y="1577"/>
                </a:lnTo>
                <a:lnTo>
                  <a:pt x="4580" y="1600"/>
                </a:lnTo>
                <a:lnTo>
                  <a:pt x="4584" y="1624"/>
                </a:lnTo>
                <a:lnTo>
                  <a:pt x="4587" y="1646"/>
                </a:lnTo>
                <a:lnTo>
                  <a:pt x="4588" y="1667"/>
                </a:lnTo>
                <a:lnTo>
                  <a:pt x="4588" y="1685"/>
                </a:lnTo>
                <a:lnTo>
                  <a:pt x="4588" y="1685"/>
                </a:lnTo>
                <a:lnTo>
                  <a:pt x="4588" y="1711"/>
                </a:lnTo>
                <a:lnTo>
                  <a:pt x="4587" y="1737"/>
                </a:lnTo>
                <a:lnTo>
                  <a:pt x="4583" y="1762"/>
                </a:lnTo>
                <a:lnTo>
                  <a:pt x="4578" y="1787"/>
                </a:lnTo>
                <a:lnTo>
                  <a:pt x="4571" y="1811"/>
                </a:lnTo>
                <a:lnTo>
                  <a:pt x="4562" y="1834"/>
                </a:lnTo>
                <a:lnTo>
                  <a:pt x="4553" y="1857"/>
                </a:lnTo>
                <a:lnTo>
                  <a:pt x="4542" y="1878"/>
                </a:lnTo>
                <a:lnTo>
                  <a:pt x="4530" y="1900"/>
                </a:lnTo>
                <a:lnTo>
                  <a:pt x="4515" y="1919"/>
                </a:lnTo>
                <a:lnTo>
                  <a:pt x="4501" y="1939"/>
                </a:lnTo>
                <a:lnTo>
                  <a:pt x="4485" y="1956"/>
                </a:lnTo>
                <a:lnTo>
                  <a:pt x="4468" y="1972"/>
                </a:lnTo>
                <a:lnTo>
                  <a:pt x="4450" y="1988"/>
                </a:lnTo>
                <a:lnTo>
                  <a:pt x="4432" y="2002"/>
                </a:lnTo>
                <a:lnTo>
                  <a:pt x="4412" y="2015"/>
                </a:lnTo>
                <a:lnTo>
                  <a:pt x="4412" y="2015"/>
                </a:lnTo>
                <a:lnTo>
                  <a:pt x="4377" y="2036"/>
                </a:lnTo>
                <a:lnTo>
                  <a:pt x="4345" y="2054"/>
                </a:lnTo>
                <a:lnTo>
                  <a:pt x="4313" y="2071"/>
                </a:lnTo>
                <a:lnTo>
                  <a:pt x="4282" y="2087"/>
                </a:lnTo>
                <a:lnTo>
                  <a:pt x="4225" y="2114"/>
                </a:lnTo>
                <a:lnTo>
                  <a:pt x="4171" y="2139"/>
                </a:lnTo>
                <a:close/>
                <a:moveTo>
                  <a:pt x="3989" y="3389"/>
                </a:moveTo>
                <a:lnTo>
                  <a:pt x="3989" y="3389"/>
                </a:lnTo>
                <a:lnTo>
                  <a:pt x="3970" y="3382"/>
                </a:lnTo>
                <a:lnTo>
                  <a:pt x="3970" y="3382"/>
                </a:lnTo>
                <a:lnTo>
                  <a:pt x="3967" y="3380"/>
                </a:lnTo>
                <a:lnTo>
                  <a:pt x="3967" y="3380"/>
                </a:lnTo>
                <a:lnTo>
                  <a:pt x="3989" y="3389"/>
                </a:lnTo>
                <a:close/>
                <a:moveTo>
                  <a:pt x="2262" y="1056"/>
                </a:moveTo>
                <a:lnTo>
                  <a:pt x="2262" y="1056"/>
                </a:lnTo>
                <a:lnTo>
                  <a:pt x="2262" y="1057"/>
                </a:lnTo>
                <a:lnTo>
                  <a:pt x="2261" y="1059"/>
                </a:lnTo>
                <a:lnTo>
                  <a:pt x="2257" y="1061"/>
                </a:lnTo>
                <a:lnTo>
                  <a:pt x="2251" y="1064"/>
                </a:lnTo>
                <a:lnTo>
                  <a:pt x="2241" y="1066"/>
                </a:lnTo>
                <a:lnTo>
                  <a:pt x="2219" y="1072"/>
                </a:lnTo>
                <a:lnTo>
                  <a:pt x="2191" y="1077"/>
                </a:lnTo>
                <a:lnTo>
                  <a:pt x="2164" y="1081"/>
                </a:lnTo>
                <a:lnTo>
                  <a:pt x="2138" y="1083"/>
                </a:lnTo>
                <a:lnTo>
                  <a:pt x="2120" y="1083"/>
                </a:lnTo>
                <a:lnTo>
                  <a:pt x="2113" y="1082"/>
                </a:lnTo>
                <a:lnTo>
                  <a:pt x="2109" y="1081"/>
                </a:lnTo>
                <a:lnTo>
                  <a:pt x="2109" y="1081"/>
                </a:lnTo>
                <a:lnTo>
                  <a:pt x="2106" y="1079"/>
                </a:lnTo>
                <a:lnTo>
                  <a:pt x="2104" y="1075"/>
                </a:lnTo>
                <a:lnTo>
                  <a:pt x="2101" y="1064"/>
                </a:lnTo>
                <a:lnTo>
                  <a:pt x="2098" y="1052"/>
                </a:lnTo>
                <a:lnTo>
                  <a:pt x="2096" y="1038"/>
                </a:lnTo>
                <a:lnTo>
                  <a:pt x="2096" y="1023"/>
                </a:lnTo>
                <a:lnTo>
                  <a:pt x="2096" y="1010"/>
                </a:lnTo>
                <a:lnTo>
                  <a:pt x="2097" y="1000"/>
                </a:lnTo>
                <a:lnTo>
                  <a:pt x="2098" y="995"/>
                </a:lnTo>
                <a:lnTo>
                  <a:pt x="2100" y="992"/>
                </a:lnTo>
                <a:lnTo>
                  <a:pt x="2100" y="992"/>
                </a:lnTo>
                <a:lnTo>
                  <a:pt x="2101" y="991"/>
                </a:lnTo>
                <a:lnTo>
                  <a:pt x="2103" y="989"/>
                </a:lnTo>
                <a:lnTo>
                  <a:pt x="2109" y="988"/>
                </a:lnTo>
                <a:lnTo>
                  <a:pt x="2118" y="987"/>
                </a:lnTo>
                <a:lnTo>
                  <a:pt x="2128" y="987"/>
                </a:lnTo>
                <a:lnTo>
                  <a:pt x="2139" y="988"/>
                </a:lnTo>
                <a:lnTo>
                  <a:pt x="2151" y="990"/>
                </a:lnTo>
                <a:lnTo>
                  <a:pt x="2165" y="993"/>
                </a:lnTo>
                <a:lnTo>
                  <a:pt x="2179" y="997"/>
                </a:lnTo>
                <a:lnTo>
                  <a:pt x="2192" y="1002"/>
                </a:lnTo>
                <a:lnTo>
                  <a:pt x="2206" y="1007"/>
                </a:lnTo>
                <a:lnTo>
                  <a:pt x="2219" y="1014"/>
                </a:lnTo>
                <a:lnTo>
                  <a:pt x="2231" y="1021"/>
                </a:lnTo>
                <a:lnTo>
                  <a:pt x="2241" y="1029"/>
                </a:lnTo>
                <a:lnTo>
                  <a:pt x="2251" y="1038"/>
                </a:lnTo>
                <a:lnTo>
                  <a:pt x="2258" y="1047"/>
                </a:lnTo>
                <a:lnTo>
                  <a:pt x="2260" y="1051"/>
                </a:lnTo>
                <a:lnTo>
                  <a:pt x="2262" y="1056"/>
                </a:lnTo>
                <a:close/>
                <a:moveTo>
                  <a:pt x="4842" y="2915"/>
                </a:moveTo>
                <a:lnTo>
                  <a:pt x="4842" y="2915"/>
                </a:lnTo>
                <a:lnTo>
                  <a:pt x="4862" y="2919"/>
                </a:lnTo>
                <a:lnTo>
                  <a:pt x="4881" y="2921"/>
                </a:lnTo>
                <a:lnTo>
                  <a:pt x="4900" y="2922"/>
                </a:lnTo>
                <a:lnTo>
                  <a:pt x="4916" y="2921"/>
                </a:lnTo>
                <a:lnTo>
                  <a:pt x="4932" y="2919"/>
                </a:lnTo>
                <a:lnTo>
                  <a:pt x="4946" y="2916"/>
                </a:lnTo>
                <a:lnTo>
                  <a:pt x="4958" y="2911"/>
                </a:lnTo>
                <a:lnTo>
                  <a:pt x="4969" y="2905"/>
                </a:lnTo>
                <a:lnTo>
                  <a:pt x="4969" y="2905"/>
                </a:lnTo>
                <a:lnTo>
                  <a:pt x="4967" y="2879"/>
                </a:lnTo>
                <a:lnTo>
                  <a:pt x="4960" y="2819"/>
                </a:lnTo>
                <a:lnTo>
                  <a:pt x="4951" y="2746"/>
                </a:lnTo>
                <a:lnTo>
                  <a:pt x="4946" y="2714"/>
                </a:lnTo>
                <a:lnTo>
                  <a:pt x="4940" y="2686"/>
                </a:lnTo>
                <a:lnTo>
                  <a:pt x="4940" y="2686"/>
                </a:lnTo>
                <a:lnTo>
                  <a:pt x="4922" y="2689"/>
                </a:lnTo>
                <a:lnTo>
                  <a:pt x="4902" y="2692"/>
                </a:lnTo>
                <a:lnTo>
                  <a:pt x="4891" y="2692"/>
                </a:lnTo>
                <a:lnTo>
                  <a:pt x="4879" y="2692"/>
                </a:lnTo>
                <a:lnTo>
                  <a:pt x="4867" y="2691"/>
                </a:lnTo>
                <a:lnTo>
                  <a:pt x="4855" y="2689"/>
                </a:lnTo>
                <a:lnTo>
                  <a:pt x="4843" y="2686"/>
                </a:lnTo>
                <a:lnTo>
                  <a:pt x="4830" y="2682"/>
                </a:lnTo>
                <a:lnTo>
                  <a:pt x="4818" y="2677"/>
                </a:lnTo>
                <a:lnTo>
                  <a:pt x="4806" y="2670"/>
                </a:lnTo>
                <a:lnTo>
                  <a:pt x="4794" y="2660"/>
                </a:lnTo>
                <a:lnTo>
                  <a:pt x="4782" y="2650"/>
                </a:lnTo>
                <a:lnTo>
                  <a:pt x="4771" y="2638"/>
                </a:lnTo>
                <a:lnTo>
                  <a:pt x="4761" y="2624"/>
                </a:lnTo>
                <a:lnTo>
                  <a:pt x="4761" y="2624"/>
                </a:lnTo>
                <a:lnTo>
                  <a:pt x="4743" y="2595"/>
                </a:lnTo>
                <a:lnTo>
                  <a:pt x="4724" y="2567"/>
                </a:lnTo>
                <a:lnTo>
                  <a:pt x="4724" y="2567"/>
                </a:lnTo>
                <a:lnTo>
                  <a:pt x="4703" y="2539"/>
                </a:lnTo>
                <a:lnTo>
                  <a:pt x="4680" y="2511"/>
                </a:lnTo>
                <a:lnTo>
                  <a:pt x="4658" y="2485"/>
                </a:lnTo>
                <a:lnTo>
                  <a:pt x="4634" y="2459"/>
                </a:lnTo>
                <a:lnTo>
                  <a:pt x="4611" y="2435"/>
                </a:lnTo>
                <a:lnTo>
                  <a:pt x="4586" y="2412"/>
                </a:lnTo>
                <a:lnTo>
                  <a:pt x="4562" y="2389"/>
                </a:lnTo>
                <a:lnTo>
                  <a:pt x="4538" y="2369"/>
                </a:lnTo>
                <a:lnTo>
                  <a:pt x="4513" y="2349"/>
                </a:lnTo>
                <a:lnTo>
                  <a:pt x="4489" y="2329"/>
                </a:lnTo>
                <a:lnTo>
                  <a:pt x="4463" y="2311"/>
                </a:lnTo>
                <a:lnTo>
                  <a:pt x="4439" y="2292"/>
                </a:lnTo>
                <a:lnTo>
                  <a:pt x="4413" y="2276"/>
                </a:lnTo>
                <a:lnTo>
                  <a:pt x="4389" y="2260"/>
                </a:lnTo>
                <a:lnTo>
                  <a:pt x="4337" y="2228"/>
                </a:lnTo>
                <a:lnTo>
                  <a:pt x="4337" y="2228"/>
                </a:lnTo>
                <a:lnTo>
                  <a:pt x="4381" y="2205"/>
                </a:lnTo>
                <a:lnTo>
                  <a:pt x="4422" y="2183"/>
                </a:lnTo>
                <a:lnTo>
                  <a:pt x="4459" y="2160"/>
                </a:lnTo>
                <a:lnTo>
                  <a:pt x="4492" y="2139"/>
                </a:lnTo>
                <a:lnTo>
                  <a:pt x="4523" y="2117"/>
                </a:lnTo>
                <a:lnTo>
                  <a:pt x="4549" y="2096"/>
                </a:lnTo>
                <a:lnTo>
                  <a:pt x="4574" y="2076"/>
                </a:lnTo>
                <a:lnTo>
                  <a:pt x="4595" y="2055"/>
                </a:lnTo>
                <a:lnTo>
                  <a:pt x="4615" y="2036"/>
                </a:lnTo>
                <a:lnTo>
                  <a:pt x="4632" y="2017"/>
                </a:lnTo>
                <a:lnTo>
                  <a:pt x="4647" y="1999"/>
                </a:lnTo>
                <a:lnTo>
                  <a:pt x="4661" y="1981"/>
                </a:lnTo>
                <a:lnTo>
                  <a:pt x="4673" y="1965"/>
                </a:lnTo>
                <a:lnTo>
                  <a:pt x="4683" y="1950"/>
                </a:lnTo>
                <a:lnTo>
                  <a:pt x="4700" y="1922"/>
                </a:lnTo>
                <a:lnTo>
                  <a:pt x="4700" y="1922"/>
                </a:lnTo>
                <a:lnTo>
                  <a:pt x="4708" y="1910"/>
                </a:lnTo>
                <a:lnTo>
                  <a:pt x="4714" y="1896"/>
                </a:lnTo>
                <a:lnTo>
                  <a:pt x="4721" y="1880"/>
                </a:lnTo>
                <a:lnTo>
                  <a:pt x="4727" y="1864"/>
                </a:lnTo>
                <a:lnTo>
                  <a:pt x="4733" y="1845"/>
                </a:lnTo>
                <a:lnTo>
                  <a:pt x="4739" y="1826"/>
                </a:lnTo>
                <a:lnTo>
                  <a:pt x="4743" y="1806"/>
                </a:lnTo>
                <a:lnTo>
                  <a:pt x="4749" y="1785"/>
                </a:lnTo>
                <a:lnTo>
                  <a:pt x="4753" y="1763"/>
                </a:lnTo>
                <a:lnTo>
                  <a:pt x="4756" y="1740"/>
                </a:lnTo>
                <a:lnTo>
                  <a:pt x="4758" y="1716"/>
                </a:lnTo>
                <a:lnTo>
                  <a:pt x="4759" y="1692"/>
                </a:lnTo>
                <a:lnTo>
                  <a:pt x="4760" y="1667"/>
                </a:lnTo>
                <a:lnTo>
                  <a:pt x="4759" y="1642"/>
                </a:lnTo>
                <a:lnTo>
                  <a:pt x="4758" y="1616"/>
                </a:lnTo>
                <a:lnTo>
                  <a:pt x="4755" y="1590"/>
                </a:lnTo>
                <a:lnTo>
                  <a:pt x="4751" y="1564"/>
                </a:lnTo>
                <a:lnTo>
                  <a:pt x="4745" y="1538"/>
                </a:lnTo>
                <a:lnTo>
                  <a:pt x="4738" y="1511"/>
                </a:lnTo>
                <a:lnTo>
                  <a:pt x="4730" y="1486"/>
                </a:lnTo>
                <a:lnTo>
                  <a:pt x="4720" y="1459"/>
                </a:lnTo>
                <a:lnTo>
                  <a:pt x="4709" y="1433"/>
                </a:lnTo>
                <a:lnTo>
                  <a:pt x="4695" y="1408"/>
                </a:lnTo>
                <a:lnTo>
                  <a:pt x="4681" y="1383"/>
                </a:lnTo>
                <a:lnTo>
                  <a:pt x="4665" y="1359"/>
                </a:lnTo>
                <a:lnTo>
                  <a:pt x="4646" y="1334"/>
                </a:lnTo>
                <a:lnTo>
                  <a:pt x="4625" y="1311"/>
                </a:lnTo>
                <a:lnTo>
                  <a:pt x="4602" y="1288"/>
                </a:lnTo>
                <a:lnTo>
                  <a:pt x="4578" y="1267"/>
                </a:lnTo>
                <a:lnTo>
                  <a:pt x="4551" y="1246"/>
                </a:lnTo>
                <a:lnTo>
                  <a:pt x="4522" y="1227"/>
                </a:lnTo>
                <a:lnTo>
                  <a:pt x="4490" y="1207"/>
                </a:lnTo>
                <a:lnTo>
                  <a:pt x="4490" y="1207"/>
                </a:lnTo>
                <a:lnTo>
                  <a:pt x="4466" y="1195"/>
                </a:lnTo>
                <a:lnTo>
                  <a:pt x="4443" y="1184"/>
                </a:lnTo>
                <a:lnTo>
                  <a:pt x="4419" y="1174"/>
                </a:lnTo>
                <a:lnTo>
                  <a:pt x="4396" y="1165"/>
                </a:lnTo>
                <a:lnTo>
                  <a:pt x="4372" y="1156"/>
                </a:lnTo>
                <a:lnTo>
                  <a:pt x="4348" y="1149"/>
                </a:lnTo>
                <a:lnTo>
                  <a:pt x="4325" y="1143"/>
                </a:lnTo>
                <a:lnTo>
                  <a:pt x="4302" y="1138"/>
                </a:lnTo>
                <a:lnTo>
                  <a:pt x="4278" y="1133"/>
                </a:lnTo>
                <a:lnTo>
                  <a:pt x="4256" y="1130"/>
                </a:lnTo>
                <a:lnTo>
                  <a:pt x="4233" y="1127"/>
                </a:lnTo>
                <a:lnTo>
                  <a:pt x="4211" y="1125"/>
                </a:lnTo>
                <a:lnTo>
                  <a:pt x="4188" y="1123"/>
                </a:lnTo>
                <a:lnTo>
                  <a:pt x="4167" y="1123"/>
                </a:lnTo>
                <a:lnTo>
                  <a:pt x="4145" y="1123"/>
                </a:lnTo>
                <a:lnTo>
                  <a:pt x="4124" y="1123"/>
                </a:lnTo>
                <a:lnTo>
                  <a:pt x="4083" y="1126"/>
                </a:lnTo>
                <a:lnTo>
                  <a:pt x="4044" y="1130"/>
                </a:lnTo>
                <a:lnTo>
                  <a:pt x="4007" y="1136"/>
                </a:lnTo>
                <a:lnTo>
                  <a:pt x="3973" y="1144"/>
                </a:lnTo>
                <a:lnTo>
                  <a:pt x="3941" y="1152"/>
                </a:lnTo>
                <a:lnTo>
                  <a:pt x="3912" y="1161"/>
                </a:lnTo>
                <a:lnTo>
                  <a:pt x="3887" y="1172"/>
                </a:lnTo>
                <a:lnTo>
                  <a:pt x="3864" y="1181"/>
                </a:lnTo>
                <a:lnTo>
                  <a:pt x="3864" y="1181"/>
                </a:lnTo>
                <a:lnTo>
                  <a:pt x="3844" y="1191"/>
                </a:lnTo>
                <a:lnTo>
                  <a:pt x="3824" y="1201"/>
                </a:lnTo>
                <a:lnTo>
                  <a:pt x="3806" y="1213"/>
                </a:lnTo>
                <a:lnTo>
                  <a:pt x="3787" y="1224"/>
                </a:lnTo>
                <a:lnTo>
                  <a:pt x="3769" y="1237"/>
                </a:lnTo>
                <a:lnTo>
                  <a:pt x="3752" y="1249"/>
                </a:lnTo>
                <a:lnTo>
                  <a:pt x="3735" y="1264"/>
                </a:lnTo>
                <a:lnTo>
                  <a:pt x="3719" y="1278"/>
                </a:lnTo>
                <a:lnTo>
                  <a:pt x="3703" y="1293"/>
                </a:lnTo>
                <a:lnTo>
                  <a:pt x="3687" y="1309"/>
                </a:lnTo>
                <a:lnTo>
                  <a:pt x="3673" y="1325"/>
                </a:lnTo>
                <a:lnTo>
                  <a:pt x="3659" y="1341"/>
                </a:lnTo>
                <a:lnTo>
                  <a:pt x="3645" y="1359"/>
                </a:lnTo>
                <a:lnTo>
                  <a:pt x="3633" y="1377"/>
                </a:lnTo>
                <a:lnTo>
                  <a:pt x="3621" y="1396"/>
                </a:lnTo>
                <a:lnTo>
                  <a:pt x="3609" y="1415"/>
                </a:lnTo>
                <a:lnTo>
                  <a:pt x="3599" y="1434"/>
                </a:lnTo>
                <a:lnTo>
                  <a:pt x="3589" y="1455"/>
                </a:lnTo>
                <a:lnTo>
                  <a:pt x="3581" y="1475"/>
                </a:lnTo>
                <a:lnTo>
                  <a:pt x="3573" y="1497"/>
                </a:lnTo>
                <a:lnTo>
                  <a:pt x="3565" y="1518"/>
                </a:lnTo>
                <a:lnTo>
                  <a:pt x="3559" y="1541"/>
                </a:lnTo>
                <a:lnTo>
                  <a:pt x="3554" y="1563"/>
                </a:lnTo>
                <a:lnTo>
                  <a:pt x="3550" y="1586"/>
                </a:lnTo>
                <a:lnTo>
                  <a:pt x="3547" y="1609"/>
                </a:lnTo>
                <a:lnTo>
                  <a:pt x="3545" y="1634"/>
                </a:lnTo>
                <a:lnTo>
                  <a:pt x="3544" y="1658"/>
                </a:lnTo>
                <a:lnTo>
                  <a:pt x="3543" y="1683"/>
                </a:lnTo>
                <a:lnTo>
                  <a:pt x="3544" y="1708"/>
                </a:lnTo>
                <a:lnTo>
                  <a:pt x="3546" y="1734"/>
                </a:lnTo>
                <a:lnTo>
                  <a:pt x="3550" y="1760"/>
                </a:lnTo>
                <a:lnTo>
                  <a:pt x="3554" y="1786"/>
                </a:lnTo>
                <a:lnTo>
                  <a:pt x="3554" y="1786"/>
                </a:lnTo>
                <a:lnTo>
                  <a:pt x="3559" y="1810"/>
                </a:lnTo>
                <a:lnTo>
                  <a:pt x="3564" y="1831"/>
                </a:lnTo>
                <a:lnTo>
                  <a:pt x="3571" y="1853"/>
                </a:lnTo>
                <a:lnTo>
                  <a:pt x="3577" y="1873"/>
                </a:lnTo>
                <a:lnTo>
                  <a:pt x="3585" y="1893"/>
                </a:lnTo>
                <a:lnTo>
                  <a:pt x="3592" y="1911"/>
                </a:lnTo>
                <a:lnTo>
                  <a:pt x="3601" y="1929"/>
                </a:lnTo>
                <a:lnTo>
                  <a:pt x="3610" y="1947"/>
                </a:lnTo>
                <a:lnTo>
                  <a:pt x="3620" y="1963"/>
                </a:lnTo>
                <a:lnTo>
                  <a:pt x="3631" y="1978"/>
                </a:lnTo>
                <a:lnTo>
                  <a:pt x="3641" y="1994"/>
                </a:lnTo>
                <a:lnTo>
                  <a:pt x="3652" y="2009"/>
                </a:lnTo>
                <a:lnTo>
                  <a:pt x="3665" y="2023"/>
                </a:lnTo>
                <a:lnTo>
                  <a:pt x="3677" y="2037"/>
                </a:lnTo>
                <a:lnTo>
                  <a:pt x="3690" y="2050"/>
                </a:lnTo>
                <a:lnTo>
                  <a:pt x="3704" y="2062"/>
                </a:lnTo>
                <a:lnTo>
                  <a:pt x="3732" y="2087"/>
                </a:lnTo>
                <a:lnTo>
                  <a:pt x="3763" y="2109"/>
                </a:lnTo>
                <a:lnTo>
                  <a:pt x="3795" y="2131"/>
                </a:lnTo>
                <a:lnTo>
                  <a:pt x="3828" y="2151"/>
                </a:lnTo>
                <a:lnTo>
                  <a:pt x="3863" y="2172"/>
                </a:lnTo>
                <a:lnTo>
                  <a:pt x="3899" y="2191"/>
                </a:lnTo>
                <a:lnTo>
                  <a:pt x="3976" y="2229"/>
                </a:lnTo>
                <a:lnTo>
                  <a:pt x="3976" y="2229"/>
                </a:lnTo>
                <a:lnTo>
                  <a:pt x="3945" y="2246"/>
                </a:lnTo>
                <a:lnTo>
                  <a:pt x="3916" y="2263"/>
                </a:lnTo>
                <a:lnTo>
                  <a:pt x="3890" y="2280"/>
                </a:lnTo>
                <a:lnTo>
                  <a:pt x="3864" y="2298"/>
                </a:lnTo>
                <a:lnTo>
                  <a:pt x="3840" y="2318"/>
                </a:lnTo>
                <a:lnTo>
                  <a:pt x="3817" y="2337"/>
                </a:lnTo>
                <a:lnTo>
                  <a:pt x="3797" y="2358"/>
                </a:lnTo>
                <a:lnTo>
                  <a:pt x="3778" y="2379"/>
                </a:lnTo>
                <a:lnTo>
                  <a:pt x="3761" y="2403"/>
                </a:lnTo>
                <a:lnTo>
                  <a:pt x="3754" y="2415"/>
                </a:lnTo>
                <a:lnTo>
                  <a:pt x="3746" y="2427"/>
                </a:lnTo>
                <a:lnTo>
                  <a:pt x="3739" y="2440"/>
                </a:lnTo>
                <a:lnTo>
                  <a:pt x="3733" y="2453"/>
                </a:lnTo>
                <a:lnTo>
                  <a:pt x="3728" y="2466"/>
                </a:lnTo>
                <a:lnTo>
                  <a:pt x="3723" y="2480"/>
                </a:lnTo>
                <a:lnTo>
                  <a:pt x="3718" y="2495"/>
                </a:lnTo>
                <a:lnTo>
                  <a:pt x="3714" y="2510"/>
                </a:lnTo>
                <a:lnTo>
                  <a:pt x="3711" y="2525"/>
                </a:lnTo>
                <a:lnTo>
                  <a:pt x="3708" y="2541"/>
                </a:lnTo>
                <a:lnTo>
                  <a:pt x="3706" y="2557"/>
                </a:lnTo>
                <a:lnTo>
                  <a:pt x="3705" y="2574"/>
                </a:lnTo>
                <a:lnTo>
                  <a:pt x="3704" y="2592"/>
                </a:lnTo>
                <a:lnTo>
                  <a:pt x="3703" y="2609"/>
                </a:lnTo>
                <a:lnTo>
                  <a:pt x="3703" y="2609"/>
                </a:lnTo>
                <a:lnTo>
                  <a:pt x="3704" y="2632"/>
                </a:lnTo>
                <a:lnTo>
                  <a:pt x="3707" y="2655"/>
                </a:lnTo>
                <a:lnTo>
                  <a:pt x="3711" y="2678"/>
                </a:lnTo>
                <a:lnTo>
                  <a:pt x="3716" y="2701"/>
                </a:lnTo>
                <a:lnTo>
                  <a:pt x="3729" y="2749"/>
                </a:lnTo>
                <a:lnTo>
                  <a:pt x="3736" y="2775"/>
                </a:lnTo>
                <a:lnTo>
                  <a:pt x="3742" y="2801"/>
                </a:lnTo>
                <a:lnTo>
                  <a:pt x="3749" y="2830"/>
                </a:lnTo>
                <a:lnTo>
                  <a:pt x="3753" y="2859"/>
                </a:lnTo>
                <a:lnTo>
                  <a:pt x="3757" y="2889"/>
                </a:lnTo>
                <a:lnTo>
                  <a:pt x="3758" y="2922"/>
                </a:lnTo>
                <a:lnTo>
                  <a:pt x="3758" y="2957"/>
                </a:lnTo>
                <a:lnTo>
                  <a:pt x="3757" y="2975"/>
                </a:lnTo>
                <a:lnTo>
                  <a:pt x="3755" y="2994"/>
                </a:lnTo>
                <a:lnTo>
                  <a:pt x="3753" y="3012"/>
                </a:lnTo>
                <a:lnTo>
                  <a:pt x="3750" y="3033"/>
                </a:lnTo>
                <a:lnTo>
                  <a:pt x="3745" y="3053"/>
                </a:lnTo>
                <a:lnTo>
                  <a:pt x="3741" y="3073"/>
                </a:lnTo>
                <a:lnTo>
                  <a:pt x="3741" y="3073"/>
                </a:lnTo>
                <a:lnTo>
                  <a:pt x="3741" y="3075"/>
                </a:lnTo>
                <a:lnTo>
                  <a:pt x="3741" y="3076"/>
                </a:lnTo>
                <a:lnTo>
                  <a:pt x="3743" y="3076"/>
                </a:lnTo>
                <a:lnTo>
                  <a:pt x="3745" y="3078"/>
                </a:lnTo>
                <a:lnTo>
                  <a:pt x="3753" y="3075"/>
                </a:lnTo>
                <a:lnTo>
                  <a:pt x="3762" y="3073"/>
                </a:lnTo>
                <a:lnTo>
                  <a:pt x="3785" y="3063"/>
                </a:lnTo>
                <a:lnTo>
                  <a:pt x="3814" y="3051"/>
                </a:lnTo>
                <a:lnTo>
                  <a:pt x="3842" y="3036"/>
                </a:lnTo>
                <a:lnTo>
                  <a:pt x="3867" y="3022"/>
                </a:lnTo>
                <a:lnTo>
                  <a:pt x="3886" y="3011"/>
                </a:lnTo>
                <a:lnTo>
                  <a:pt x="3891" y="3007"/>
                </a:lnTo>
                <a:lnTo>
                  <a:pt x="3894" y="3005"/>
                </a:lnTo>
                <a:lnTo>
                  <a:pt x="3894" y="3005"/>
                </a:lnTo>
                <a:lnTo>
                  <a:pt x="3903" y="2981"/>
                </a:lnTo>
                <a:lnTo>
                  <a:pt x="3910" y="2958"/>
                </a:lnTo>
                <a:lnTo>
                  <a:pt x="3916" y="2934"/>
                </a:lnTo>
                <a:lnTo>
                  <a:pt x="3921" y="2910"/>
                </a:lnTo>
                <a:lnTo>
                  <a:pt x="3925" y="2886"/>
                </a:lnTo>
                <a:lnTo>
                  <a:pt x="3928" y="2863"/>
                </a:lnTo>
                <a:lnTo>
                  <a:pt x="3930" y="2840"/>
                </a:lnTo>
                <a:lnTo>
                  <a:pt x="3932" y="2818"/>
                </a:lnTo>
                <a:lnTo>
                  <a:pt x="3932" y="2779"/>
                </a:lnTo>
                <a:lnTo>
                  <a:pt x="3931" y="2748"/>
                </a:lnTo>
                <a:lnTo>
                  <a:pt x="3928" y="2721"/>
                </a:lnTo>
                <a:lnTo>
                  <a:pt x="3928" y="2721"/>
                </a:lnTo>
                <a:lnTo>
                  <a:pt x="3939" y="2730"/>
                </a:lnTo>
                <a:lnTo>
                  <a:pt x="3947" y="2741"/>
                </a:lnTo>
                <a:lnTo>
                  <a:pt x="3954" y="2753"/>
                </a:lnTo>
                <a:lnTo>
                  <a:pt x="3960" y="2767"/>
                </a:lnTo>
                <a:lnTo>
                  <a:pt x="3964" y="2782"/>
                </a:lnTo>
                <a:lnTo>
                  <a:pt x="3968" y="2797"/>
                </a:lnTo>
                <a:lnTo>
                  <a:pt x="3971" y="2814"/>
                </a:lnTo>
                <a:lnTo>
                  <a:pt x="3973" y="2830"/>
                </a:lnTo>
                <a:lnTo>
                  <a:pt x="3975" y="2847"/>
                </a:lnTo>
                <a:lnTo>
                  <a:pt x="3976" y="2865"/>
                </a:lnTo>
                <a:lnTo>
                  <a:pt x="3976" y="2881"/>
                </a:lnTo>
                <a:lnTo>
                  <a:pt x="3975" y="2899"/>
                </a:lnTo>
                <a:lnTo>
                  <a:pt x="3971" y="2930"/>
                </a:lnTo>
                <a:lnTo>
                  <a:pt x="3965" y="2959"/>
                </a:lnTo>
                <a:lnTo>
                  <a:pt x="3965" y="2959"/>
                </a:lnTo>
                <a:lnTo>
                  <a:pt x="3982" y="2950"/>
                </a:lnTo>
                <a:lnTo>
                  <a:pt x="3998" y="2938"/>
                </a:lnTo>
                <a:lnTo>
                  <a:pt x="4016" y="2925"/>
                </a:lnTo>
                <a:lnTo>
                  <a:pt x="4036" y="2911"/>
                </a:lnTo>
                <a:lnTo>
                  <a:pt x="4053" y="2896"/>
                </a:lnTo>
                <a:lnTo>
                  <a:pt x="4061" y="2888"/>
                </a:lnTo>
                <a:lnTo>
                  <a:pt x="4068" y="2881"/>
                </a:lnTo>
                <a:lnTo>
                  <a:pt x="4072" y="2874"/>
                </a:lnTo>
                <a:lnTo>
                  <a:pt x="4075" y="2868"/>
                </a:lnTo>
                <a:lnTo>
                  <a:pt x="4075" y="2868"/>
                </a:lnTo>
                <a:lnTo>
                  <a:pt x="4083" y="2838"/>
                </a:lnTo>
                <a:lnTo>
                  <a:pt x="4090" y="2810"/>
                </a:lnTo>
                <a:lnTo>
                  <a:pt x="4094" y="2783"/>
                </a:lnTo>
                <a:lnTo>
                  <a:pt x="4096" y="2757"/>
                </a:lnTo>
                <a:lnTo>
                  <a:pt x="4096" y="2733"/>
                </a:lnTo>
                <a:lnTo>
                  <a:pt x="4095" y="2709"/>
                </a:lnTo>
                <a:lnTo>
                  <a:pt x="4093" y="2687"/>
                </a:lnTo>
                <a:lnTo>
                  <a:pt x="4090" y="2665"/>
                </a:lnTo>
                <a:lnTo>
                  <a:pt x="4085" y="2645"/>
                </a:lnTo>
                <a:lnTo>
                  <a:pt x="4080" y="2626"/>
                </a:lnTo>
                <a:lnTo>
                  <a:pt x="4075" y="2607"/>
                </a:lnTo>
                <a:lnTo>
                  <a:pt x="4069" y="2590"/>
                </a:lnTo>
                <a:lnTo>
                  <a:pt x="4055" y="2556"/>
                </a:lnTo>
                <a:lnTo>
                  <a:pt x="4043" y="2524"/>
                </a:lnTo>
                <a:lnTo>
                  <a:pt x="4043" y="2524"/>
                </a:lnTo>
                <a:lnTo>
                  <a:pt x="4038" y="2509"/>
                </a:lnTo>
                <a:lnTo>
                  <a:pt x="4035" y="2494"/>
                </a:lnTo>
                <a:lnTo>
                  <a:pt x="4034" y="2479"/>
                </a:lnTo>
                <a:lnTo>
                  <a:pt x="4035" y="2464"/>
                </a:lnTo>
                <a:lnTo>
                  <a:pt x="4037" y="2450"/>
                </a:lnTo>
                <a:lnTo>
                  <a:pt x="4041" y="2435"/>
                </a:lnTo>
                <a:lnTo>
                  <a:pt x="4046" y="2421"/>
                </a:lnTo>
                <a:lnTo>
                  <a:pt x="4053" y="2408"/>
                </a:lnTo>
                <a:lnTo>
                  <a:pt x="4061" y="2395"/>
                </a:lnTo>
                <a:lnTo>
                  <a:pt x="4071" y="2381"/>
                </a:lnTo>
                <a:lnTo>
                  <a:pt x="4081" y="2369"/>
                </a:lnTo>
                <a:lnTo>
                  <a:pt x="4092" y="2358"/>
                </a:lnTo>
                <a:lnTo>
                  <a:pt x="4103" y="2346"/>
                </a:lnTo>
                <a:lnTo>
                  <a:pt x="4117" y="2335"/>
                </a:lnTo>
                <a:lnTo>
                  <a:pt x="4130" y="2326"/>
                </a:lnTo>
                <a:lnTo>
                  <a:pt x="4145" y="2317"/>
                </a:lnTo>
                <a:lnTo>
                  <a:pt x="4145" y="2317"/>
                </a:lnTo>
                <a:lnTo>
                  <a:pt x="4180" y="2336"/>
                </a:lnTo>
                <a:lnTo>
                  <a:pt x="4215" y="2357"/>
                </a:lnTo>
                <a:lnTo>
                  <a:pt x="4251" y="2378"/>
                </a:lnTo>
                <a:lnTo>
                  <a:pt x="4286" y="2402"/>
                </a:lnTo>
                <a:lnTo>
                  <a:pt x="4286" y="2402"/>
                </a:lnTo>
                <a:lnTo>
                  <a:pt x="4307" y="2416"/>
                </a:lnTo>
                <a:lnTo>
                  <a:pt x="4341" y="2441"/>
                </a:lnTo>
                <a:lnTo>
                  <a:pt x="4361" y="2456"/>
                </a:lnTo>
                <a:lnTo>
                  <a:pt x="4382" y="2474"/>
                </a:lnTo>
                <a:lnTo>
                  <a:pt x="4405" y="2494"/>
                </a:lnTo>
                <a:lnTo>
                  <a:pt x="4430" y="2515"/>
                </a:lnTo>
                <a:lnTo>
                  <a:pt x="4453" y="2539"/>
                </a:lnTo>
                <a:lnTo>
                  <a:pt x="4478" y="2563"/>
                </a:lnTo>
                <a:lnTo>
                  <a:pt x="4501" y="2590"/>
                </a:lnTo>
                <a:lnTo>
                  <a:pt x="4524" y="2618"/>
                </a:lnTo>
                <a:lnTo>
                  <a:pt x="4545" y="2647"/>
                </a:lnTo>
                <a:lnTo>
                  <a:pt x="4564" y="2678"/>
                </a:lnTo>
                <a:lnTo>
                  <a:pt x="4574" y="2693"/>
                </a:lnTo>
                <a:lnTo>
                  <a:pt x="4582" y="2709"/>
                </a:lnTo>
                <a:lnTo>
                  <a:pt x="4590" y="2726"/>
                </a:lnTo>
                <a:lnTo>
                  <a:pt x="4596" y="2742"/>
                </a:lnTo>
                <a:lnTo>
                  <a:pt x="4596" y="2742"/>
                </a:lnTo>
                <a:lnTo>
                  <a:pt x="4606" y="2768"/>
                </a:lnTo>
                <a:lnTo>
                  <a:pt x="4616" y="2792"/>
                </a:lnTo>
                <a:lnTo>
                  <a:pt x="4624" y="2817"/>
                </a:lnTo>
                <a:lnTo>
                  <a:pt x="4630" y="2840"/>
                </a:lnTo>
                <a:lnTo>
                  <a:pt x="4636" y="2864"/>
                </a:lnTo>
                <a:lnTo>
                  <a:pt x="4641" y="2886"/>
                </a:lnTo>
                <a:lnTo>
                  <a:pt x="4645" y="2908"/>
                </a:lnTo>
                <a:lnTo>
                  <a:pt x="4649" y="2928"/>
                </a:lnTo>
                <a:lnTo>
                  <a:pt x="4651" y="2949"/>
                </a:lnTo>
                <a:lnTo>
                  <a:pt x="4653" y="2968"/>
                </a:lnTo>
                <a:lnTo>
                  <a:pt x="4654" y="2987"/>
                </a:lnTo>
                <a:lnTo>
                  <a:pt x="4655" y="3005"/>
                </a:lnTo>
                <a:lnTo>
                  <a:pt x="4654" y="3039"/>
                </a:lnTo>
                <a:lnTo>
                  <a:pt x="4652" y="3070"/>
                </a:lnTo>
                <a:lnTo>
                  <a:pt x="4648" y="3099"/>
                </a:lnTo>
                <a:lnTo>
                  <a:pt x="4642" y="3126"/>
                </a:lnTo>
                <a:lnTo>
                  <a:pt x="4635" y="3149"/>
                </a:lnTo>
                <a:lnTo>
                  <a:pt x="4628" y="3171"/>
                </a:lnTo>
                <a:lnTo>
                  <a:pt x="4620" y="3189"/>
                </a:lnTo>
                <a:lnTo>
                  <a:pt x="4612" y="3206"/>
                </a:lnTo>
                <a:lnTo>
                  <a:pt x="4603" y="3221"/>
                </a:lnTo>
                <a:lnTo>
                  <a:pt x="4596" y="3232"/>
                </a:lnTo>
                <a:lnTo>
                  <a:pt x="4596" y="3232"/>
                </a:lnTo>
                <a:lnTo>
                  <a:pt x="4582" y="3252"/>
                </a:lnTo>
                <a:lnTo>
                  <a:pt x="4568" y="3273"/>
                </a:lnTo>
                <a:lnTo>
                  <a:pt x="4553" y="3291"/>
                </a:lnTo>
                <a:lnTo>
                  <a:pt x="4538" y="3310"/>
                </a:lnTo>
                <a:lnTo>
                  <a:pt x="4522" y="3327"/>
                </a:lnTo>
                <a:lnTo>
                  <a:pt x="4505" y="3343"/>
                </a:lnTo>
                <a:lnTo>
                  <a:pt x="4487" y="3359"/>
                </a:lnTo>
                <a:lnTo>
                  <a:pt x="4469" y="3373"/>
                </a:lnTo>
                <a:lnTo>
                  <a:pt x="4450" y="3386"/>
                </a:lnTo>
                <a:lnTo>
                  <a:pt x="4430" y="3398"/>
                </a:lnTo>
                <a:lnTo>
                  <a:pt x="4409" y="3409"/>
                </a:lnTo>
                <a:lnTo>
                  <a:pt x="4388" y="3418"/>
                </a:lnTo>
                <a:lnTo>
                  <a:pt x="4364" y="3426"/>
                </a:lnTo>
                <a:lnTo>
                  <a:pt x="4341" y="3433"/>
                </a:lnTo>
                <a:lnTo>
                  <a:pt x="4316" y="3438"/>
                </a:lnTo>
                <a:lnTo>
                  <a:pt x="4290" y="3441"/>
                </a:lnTo>
                <a:lnTo>
                  <a:pt x="4290" y="3441"/>
                </a:lnTo>
                <a:lnTo>
                  <a:pt x="4283" y="3440"/>
                </a:lnTo>
                <a:lnTo>
                  <a:pt x="4275" y="3440"/>
                </a:lnTo>
                <a:lnTo>
                  <a:pt x="4275" y="3440"/>
                </a:lnTo>
                <a:lnTo>
                  <a:pt x="4242" y="3441"/>
                </a:lnTo>
                <a:lnTo>
                  <a:pt x="4213" y="3441"/>
                </a:lnTo>
                <a:lnTo>
                  <a:pt x="4185" y="3440"/>
                </a:lnTo>
                <a:lnTo>
                  <a:pt x="4159" y="3437"/>
                </a:lnTo>
                <a:lnTo>
                  <a:pt x="4159" y="3437"/>
                </a:lnTo>
                <a:lnTo>
                  <a:pt x="4131" y="3432"/>
                </a:lnTo>
                <a:lnTo>
                  <a:pt x="4103" y="3427"/>
                </a:lnTo>
                <a:lnTo>
                  <a:pt x="4077" y="3420"/>
                </a:lnTo>
                <a:lnTo>
                  <a:pt x="4052" y="3413"/>
                </a:lnTo>
                <a:lnTo>
                  <a:pt x="4052" y="3413"/>
                </a:lnTo>
                <a:lnTo>
                  <a:pt x="4009" y="3398"/>
                </a:lnTo>
                <a:lnTo>
                  <a:pt x="3965" y="3379"/>
                </a:lnTo>
                <a:lnTo>
                  <a:pt x="3965" y="3379"/>
                </a:lnTo>
                <a:lnTo>
                  <a:pt x="3925" y="3359"/>
                </a:lnTo>
                <a:lnTo>
                  <a:pt x="3874" y="3331"/>
                </a:lnTo>
                <a:lnTo>
                  <a:pt x="3846" y="3314"/>
                </a:lnTo>
                <a:lnTo>
                  <a:pt x="3815" y="3294"/>
                </a:lnTo>
                <a:lnTo>
                  <a:pt x="3782" y="3274"/>
                </a:lnTo>
                <a:lnTo>
                  <a:pt x="3748" y="3250"/>
                </a:lnTo>
                <a:lnTo>
                  <a:pt x="3712" y="3226"/>
                </a:lnTo>
                <a:lnTo>
                  <a:pt x="3676" y="3198"/>
                </a:lnTo>
                <a:lnTo>
                  <a:pt x="3638" y="3170"/>
                </a:lnTo>
                <a:lnTo>
                  <a:pt x="3601" y="3139"/>
                </a:lnTo>
                <a:lnTo>
                  <a:pt x="3563" y="3106"/>
                </a:lnTo>
                <a:lnTo>
                  <a:pt x="3526" y="3071"/>
                </a:lnTo>
                <a:lnTo>
                  <a:pt x="3488" y="3035"/>
                </a:lnTo>
                <a:lnTo>
                  <a:pt x="3451" y="2997"/>
                </a:lnTo>
                <a:lnTo>
                  <a:pt x="3451" y="2997"/>
                </a:lnTo>
                <a:lnTo>
                  <a:pt x="3394" y="2933"/>
                </a:lnTo>
                <a:lnTo>
                  <a:pt x="3342" y="2874"/>
                </a:lnTo>
                <a:lnTo>
                  <a:pt x="3295" y="2819"/>
                </a:lnTo>
                <a:lnTo>
                  <a:pt x="3253" y="2769"/>
                </a:lnTo>
                <a:lnTo>
                  <a:pt x="3215" y="2722"/>
                </a:lnTo>
                <a:lnTo>
                  <a:pt x="3180" y="2679"/>
                </a:lnTo>
                <a:lnTo>
                  <a:pt x="3120" y="2602"/>
                </a:lnTo>
                <a:lnTo>
                  <a:pt x="3120" y="2602"/>
                </a:lnTo>
                <a:lnTo>
                  <a:pt x="3138" y="2609"/>
                </a:lnTo>
                <a:lnTo>
                  <a:pt x="3156" y="2615"/>
                </a:lnTo>
                <a:lnTo>
                  <a:pt x="3175" y="2620"/>
                </a:lnTo>
                <a:lnTo>
                  <a:pt x="3193" y="2625"/>
                </a:lnTo>
                <a:lnTo>
                  <a:pt x="3211" y="2628"/>
                </a:lnTo>
                <a:lnTo>
                  <a:pt x="3229" y="2630"/>
                </a:lnTo>
                <a:lnTo>
                  <a:pt x="3262" y="2633"/>
                </a:lnTo>
                <a:lnTo>
                  <a:pt x="3289" y="2633"/>
                </a:lnTo>
                <a:lnTo>
                  <a:pt x="3312" y="2632"/>
                </a:lnTo>
                <a:lnTo>
                  <a:pt x="3332" y="2630"/>
                </a:lnTo>
                <a:lnTo>
                  <a:pt x="3332" y="2630"/>
                </a:lnTo>
                <a:lnTo>
                  <a:pt x="3336" y="2580"/>
                </a:lnTo>
                <a:lnTo>
                  <a:pt x="3338" y="2535"/>
                </a:lnTo>
                <a:lnTo>
                  <a:pt x="3340" y="2495"/>
                </a:lnTo>
                <a:lnTo>
                  <a:pt x="3346" y="2360"/>
                </a:lnTo>
                <a:lnTo>
                  <a:pt x="3346" y="2360"/>
                </a:lnTo>
                <a:lnTo>
                  <a:pt x="3349" y="2323"/>
                </a:lnTo>
                <a:lnTo>
                  <a:pt x="3351" y="2288"/>
                </a:lnTo>
                <a:lnTo>
                  <a:pt x="3352" y="2251"/>
                </a:lnTo>
                <a:lnTo>
                  <a:pt x="3352" y="2251"/>
                </a:lnTo>
                <a:lnTo>
                  <a:pt x="3340" y="2250"/>
                </a:lnTo>
                <a:lnTo>
                  <a:pt x="3307" y="2246"/>
                </a:lnTo>
                <a:lnTo>
                  <a:pt x="3285" y="2243"/>
                </a:lnTo>
                <a:lnTo>
                  <a:pt x="3260" y="2238"/>
                </a:lnTo>
                <a:lnTo>
                  <a:pt x="3233" y="2233"/>
                </a:lnTo>
                <a:lnTo>
                  <a:pt x="3206" y="2226"/>
                </a:lnTo>
                <a:lnTo>
                  <a:pt x="3176" y="2217"/>
                </a:lnTo>
                <a:lnTo>
                  <a:pt x="3147" y="2206"/>
                </a:lnTo>
                <a:lnTo>
                  <a:pt x="3120" y="2194"/>
                </a:lnTo>
                <a:lnTo>
                  <a:pt x="3106" y="2188"/>
                </a:lnTo>
                <a:lnTo>
                  <a:pt x="3093" y="2181"/>
                </a:lnTo>
                <a:lnTo>
                  <a:pt x="3081" y="2173"/>
                </a:lnTo>
                <a:lnTo>
                  <a:pt x="3070" y="2164"/>
                </a:lnTo>
                <a:lnTo>
                  <a:pt x="3058" y="2155"/>
                </a:lnTo>
                <a:lnTo>
                  <a:pt x="3049" y="2146"/>
                </a:lnTo>
                <a:lnTo>
                  <a:pt x="3040" y="2136"/>
                </a:lnTo>
                <a:lnTo>
                  <a:pt x="3032" y="2125"/>
                </a:lnTo>
                <a:lnTo>
                  <a:pt x="3025" y="2113"/>
                </a:lnTo>
                <a:lnTo>
                  <a:pt x="3019" y="2101"/>
                </a:lnTo>
                <a:lnTo>
                  <a:pt x="3019" y="2101"/>
                </a:lnTo>
                <a:lnTo>
                  <a:pt x="3030" y="2107"/>
                </a:lnTo>
                <a:lnTo>
                  <a:pt x="3042" y="2112"/>
                </a:lnTo>
                <a:lnTo>
                  <a:pt x="3059" y="2119"/>
                </a:lnTo>
                <a:lnTo>
                  <a:pt x="3081" y="2127"/>
                </a:lnTo>
                <a:lnTo>
                  <a:pt x="3106" y="2134"/>
                </a:lnTo>
                <a:lnTo>
                  <a:pt x="3136" y="2139"/>
                </a:lnTo>
                <a:lnTo>
                  <a:pt x="3152" y="2141"/>
                </a:lnTo>
                <a:lnTo>
                  <a:pt x="3169" y="2142"/>
                </a:lnTo>
                <a:lnTo>
                  <a:pt x="3169" y="2142"/>
                </a:lnTo>
                <a:lnTo>
                  <a:pt x="3201" y="2143"/>
                </a:lnTo>
                <a:lnTo>
                  <a:pt x="3234" y="2143"/>
                </a:lnTo>
                <a:lnTo>
                  <a:pt x="3266" y="2141"/>
                </a:lnTo>
                <a:lnTo>
                  <a:pt x="3295" y="2139"/>
                </a:lnTo>
                <a:lnTo>
                  <a:pt x="3340" y="2133"/>
                </a:lnTo>
                <a:lnTo>
                  <a:pt x="3357" y="2131"/>
                </a:lnTo>
                <a:lnTo>
                  <a:pt x="3357" y="2131"/>
                </a:lnTo>
                <a:lnTo>
                  <a:pt x="3359" y="2125"/>
                </a:lnTo>
                <a:lnTo>
                  <a:pt x="3361" y="2113"/>
                </a:lnTo>
                <a:lnTo>
                  <a:pt x="3364" y="2083"/>
                </a:lnTo>
                <a:lnTo>
                  <a:pt x="3367" y="2043"/>
                </a:lnTo>
                <a:lnTo>
                  <a:pt x="3369" y="1999"/>
                </a:lnTo>
                <a:lnTo>
                  <a:pt x="3373" y="1919"/>
                </a:lnTo>
                <a:lnTo>
                  <a:pt x="3375" y="1884"/>
                </a:lnTo>
                <a:lnTo>
                  <a:pt x="3375" y="1884"/>
                </a:lnTo>
                <a:lnTo>
                  <a:pt x="3376" y="1856"/>
                </a:lnTo>
                <a:lnTo>
                  <a:pt x="3377" y="1816"/>
                </a:lnTo>
                <a:lnTo>
                  <a:pt x="3377" y="1767"/>
                </a:lnTo>
                <a:lnTo>
                  <a:pt x="3377" y="1767"/>
                </a:lnTo>
                <a:lnTo>
                  <a:pt x="3369" y="1769"/>
                </a:lnTo>
                <a:lnTo>
                  <a:pt x="3359" y="1770"/>
                </a:lnTo>
                <a:lnTo>
                  <a:pt x="3338" y="1772"/>
                </a:lnTo>
                <a:lnTo>
                  <a:pt x="3315" y="1771"/>
                </a:lnTo>
                <a:lnTo>
                  <a:pt x="3290" y="1769"/>
                </a:lnTo>
                <a:lnTo>
                  <a:pt x="3264" y="1766"/>
                </a:lnTo>
                <a:lnTo>
                  <a:pt x="3236" y="1762"/>
                </a:lnTo>
                <a:lnTo>
                  <a:pt x="3208" y="1756"/>
                </a:lnTo>
                <a:lnTo>
                  <a:pt x="3178" y="1748"/>
                </a:lnTo>
                <a:lnTo>
                  <a:pt x="3178" y="1748"/>
                </a:lnTo>
                <a:lnTo>
                  <a:pt x="3158" y="1742"/>
                </a:lnTo>
                <a:lnTo>
                  <a:pt x="3135" y="1733"/>
                </a:lnTo>
                <a:lnTo>
                  <a:pt x="3112" y="1721"/>
                </a:lnTo>
                <a:lnTo>
                  <a:pt x="3088" y="1706"/>
                </a:lnTo>
                <a:lnTo>
                  <a:pt x="3064" y="1690"/>
                </a:lnTo>
                <a:lnTo>
                  <a:pt x="3053" y="1681"/>
                </a:lnTo>
                <a:lnTo>
                  <a:pt x="3043" y="1672"/>
                </a:lnTo>
                <a:lnTo>
                  <a:pt x="3034" y="1661"/>
                </a:lnTo>
                <a:lnTo>
                  <a:pt x="3025" y="1652"/>
                </a:lnTo>
                <a:lnTo>
                  <a:pt x="3017" y="1642"/>
                </a:lnTo>
                <a:lnTo>
                  <a:pt x="3010" y="1631"/>
                </a:lnTo>
                <a:lnTo>
                  <a:pt x="3010" y="1631"/>
                </a:lnTo>
                <a:lnTo>
                  <a:pt x="3022" y="1636"/>
                </a:lnTo>
                <a:lnTo>
                  <a:pt x="3035" y="1640"/>
                </a:lnTo>
                <a:lnTo>
                  <a:pt x="3052" y="1646"/>
                </a:lnTo>
                <a:lnTo>
                  <a:pt x="3075" y="1652"/>
                </a:lnTo>
                <a:lnTo>
                  <a:pt x="3101" y="1658"/>
                </a:lnTo>
                <a:lnTo>
                  <a:pt x="3132" y="1665"/>
                </a:lnTo>
                <a:lnTo>
                  <a:pt x="3167" y="1670"/>
                </a:lnTo>
                <a:lnTo>
                  <a:pt x="3167" y="1670"/>
                </a:lnTo>
                <a:lnTo>
                  <a:pt x="3187" y="1672"/>
                </a:lnTo>
                <a:lnTo>
                  <a:pt x="3207" y="1673"/>
                </a:lnTo>
                <a:lnTo>
                  <a:pt x="3226" y="1674"/>
                </a:lnTo>
                <a:lnTo>
                  <a:pt x="3245" y="1674"/>
                </a:lnTo>
                <a:lnTo>
                  <a:pt x="3283" y="1672"/>
                </a:lnTo>
                <a:lnTo>
                  <a:pt x="3317" y="1669"/>
                </a:lnTo>
                <a:lnTo>
                  <a:pt x="3346" y="1663"/>
                </a:lnTo>
                <a:lnTo>
                  <a:pt x="3369" y="1658"/>
                </a:lnTo>
                <a:lnTo>
                  <a:pt x="3377" y="1655"/>
                </a:lnTo>
                <a:lnTo>
                  <a:pt x="3383" y="1653"/>
                </a:lnTo>
                <a:lnTo>
                  <a:pt x="3388" y="1650"/>
                </a:lnTo>
                <a:lnTo>
                  <a:pt x="3390" y="1647"/>
                </a:lnTo>
                <a:lnTo>
                  <a:pt x="3390" y="1647"/>
                </a:lnTo>
                <a:lnTo>
                  <a:pt x="3392" y="1621"/>
                </a:lnTo>
                <a:lnTo>
                  <a:pt x="3393" y="1587"/>
                </a:lnTo>
                <a:lnTo>
                  <a:pt x="3394" y="1510"/>
                </a:lnTo>
                <a:lnTo>
                  <a:pt x="3394" y="1412"/>
                </a:lnTo>
                <a:lnTo>
                  <a:pt x="3394" y="1412"/>
                </a:lnTo>
                <a:lnTo>
                  <a:pt x="3399" y="1348"/>
                </a:lnTo>
                <a:lnTo>
                  <a:pt x="3400" y="1304"/>
                </a:lnTo>
                <a:lnTo>
                  <a:pt x="3400" y="1289"/>
                </a:lnTo>
                <a:lnTo>
                  <a:pt x="3399" y="1285"/>
                </a:lnTo>
                <a:lnTo>
                  <a:pt x="3398" y="1284"/>
                </a:lnTo>
                <a:lnTo>
                  <a:pt x="3398" y="1284"/>
                </a:lnTo>
                <a:lnTo>
                  <a:pt x="3392" y="1284"/>
                </a:lnTo>
                <a:lnTo>
                  <a:pt x="3381" y="1285"/>
                </a:lnTo>
                <a:lnTo>
                  <a:pt x="3368" y="1285"/>
                </a:lnTo>
                <a:lnTo>
                  <a:pt x="3354" y="1284"/>
                </a:lnTo>
                <a:lnTo>
                  <a:pt x="3336" y="1282"/>
                </a:lnTo>
                <a:lnTo>
                  <a:pt x="3317" y="1279"/>
                </a:lnTo>
                <a:lnTo>
                  <a:pt x="3297" y="1274"/>
                </a:lnTo>
                <a:lnTo>
                  <a:pt x="3274" y="1269"/>
                </a:lnTo>
                <a:lnTo>
                  <a:pt x="3251" y="1261"/>
                </a:lnTo>
                <a:lnTo>
                  <a:pt x="3226" y="1251"/>
                </a:lnTo>
                <a:lnTo>
                  <a:pt x="3200" y="1240"/>
                </a:lnTo>
                <a:lnTo>
                  <a:pt x="3175" y="1226"/>
                </a:lnTo>
                <a:lnTo>
                  <a:pt x="3149" y="1210"/>
                </a:lnTo>
                <a:lnTo>
                  <a:pt x="3123" y="1191"/>
                </a:lnTo>
                <a:lnTo>
                  <a:pt x="3110" y="1181"/>
                </a:lnTo>
                <a:lnTo>
                  <a:pt x="3097" y="1170"/>
                </a:lnTo>
                <a:lnTo>
                  <a:pt x="3085" y="1157"/>
                </a:lnTo>
                <a:lnTo>
                  <a:pt x="3073" y="1145"/>
                </a:lnTo>
                <a:lnTo>
                  <a:pt x="3073" y="1145"/>
                </a:lnTo>
                <a:lnTo>
                  <a:pt x="3071" y="1143"/>
                </a:lnTo>
                <a:lnTo>
                  <a:pt x="3065" y="1138"/>
                </a:lnTo>
                <a:lnTo>
                  <a:pt x="3059" y="1129"/>
                </a:lnTo>
                <a:lnTo>
                  <a:pt x="3056" y="1123"/>
                </a:lnTo>
                <a:lnTo>
                  <a:pt x="3053" y="1116"/>
                </a:lnTo>
                <a:lnTo>
                  <a:pt x="3051" y="1109"/>
                </a:lnTo>
                <a:lnTo>
                  <a:pt x="3050" y="1101"/>
                </a:lnTo>
                <a:lnTo>
                  <a:pt x="3049" y="1092"/>
                </a:lnTo>
                <a:lnTo>
                  <a:pt x="3050" y="1082"/>
                </a:lnTo>
                <a:lnTo>
                  <a:pt x="3053" y="1072"/>
                </a:lnTo>
                <a:lnTo>
                  <a:pt x="3056" y="1060"/>
                </a:lnTo>
                <a:lnTo>
                  <a:pt x="3062" y="1048"/>
                </a:lnTo>
                <a:lnTo>
                  <a:pt x="3071" y="1035"/>
                </a:lnTo>
                <a:lnTo>
                  <a:pt x="3071" y="1035"/>
                </a:lnTo>
                <a:lnTo>
                  <a:pt x="2806" y="916"/>
                </a:lnTo>
                <a:lnTo>
                  <a:pt x="2806" y="916"/>
                </a:lnTo>
                <a:lnTo>
                  <a:pt x="2815" y="907"/>
                </a:lnTo>
                <a:lnTo>
                  <a:pt x="2824" y="896"/>
                </a:lnTo>
                <a:lnTo>
                  <a:pt x="2834" y="881"/>
                </a:lnTo>
                <a:lnTo>
                  <a:pt x="2845" y="865"/>
                </a:lnTo>
                <a:lnTo>
                  <a:pt x="2850" y="856"/>
                </a:lnTo>
                <a:lnTo>
                  <a:pt x="2854" y="847"/>
                </a:lnTo>
                <a:lnTo>
                  <a:pt x="2858" y="836"/>
                </a:lnTo>
                <a:lnTo>
                  <a:pt x="2861" y="826"/>
                </a:lnTo>
                <a:lnTo>
                  <a:pt x="2863" y="816"/>
                </a:lnTo>
                <a:lnTo>
                  <a:pt x="2863" y="806"/>
                </a:lnTo>
                <a:lnTo>
                  <a:pt x="2863" y="806"/>
                </a:lnTo>
                <a:lnTo>
                  <a:pt x="2863" y="794"/>
                </a:lnTo>
                <a:lnTo>
                  <a:pt x="2860" y="784"/>
                </a:lnTo>
                <a:lnTo>
                  <a:pt x="2855" y="774"/>
                </a:lnTo>
                <a:lnTo>
                  <a:pt x="2849" y="765"/>
                </a:lnTo>
                <a:lnTo>
                  <a:pt x="2841" y="756"/>
                </a:lnTo>
                <a:lnTo>
                  <a:pt x="2830" y="748"/>
                </a:lnTo>
                <a:lnTo>
                  <a:pt x="2820" y="741"/>
                </a:lnTo>
                <a:lnTo>
                  <a:pt x="2808" y="735"/>
                </a:lnTo>
                <a:lnTo>
                  <a:pt x="2795" y="730"/>
                </a:lnTo>
                <a:lnTo>
                  <a:pt x="2781" y="726"/>
                </a:lnTo>
                <a:lnTo>
                  <a:pt x="2767" y="722"/>
                </a:lnTo>
                <a:lnTo>
                  <a:pt x="2753" y="720"/>
                </a:lnTo>
                <a:lnTo>
                  <a:pt x="2738" y="718"/>
                </a:lnTo>
                <a:lnTo>
                  <a:pt x="2723" y="718"/>
                </a:lnTo>
                <a:lnTo>
                  <a:pt x="2709" y="719"/>
                </a:lnTo>
                <a:lnTo>
                  <a:pt x="2694" y="721"/>
                </a:lnTo>
                <a:lnTo>
                  <a:pt x="2694" y="721"/>
                </a:lnTo>
                <a:lnTo>
                  <a:pt x="2681" y="724"/>
                </a:lnTo>
                <a:lnTo>
                  <a:pt x="2669" y="728"/>
                </a:lnTo>
                <a:lnTo>
                  <a:pt x="2656" y="733"/>
                </a:lnTo>
                <a:lnTo>
                  <a:pt x="2644" y="739"/>
                </a:lnTo>
                <a:lnTo>
                  <a:pt x="2634" y="746"/>
                </a:lnTo>
                <a:lnTo>
                  <a:pt x="2623" y="754"/>
                </a:lnTo>
                <a:lnTo>
                  <a:pt x="2604" y="769"/>
                </a:lnTo>
                <a:lnTo>
                  <a:pt x="2589" y="784"/>
                </a:lnTo>
                <a:lnTo>
                  <a:pt x="2578" y="796"/>
                </a:lnTo>
                <a:lnTo>
                  <a:pt x="2569" y="809"/>
                </a:lnTo>
                <a:lnTo>
                  <a:pt x="2238" y="662"/>
                </a:lnTo>
                <a:lnTo>
                  <a:pt x="1977" y="925"/>
                </a:lnTo>
                <a:lnTo>
                  <a:pt x="1977" y="925"/>
                </a:lnTo>
                <a:lnTo>
                  <a:pt x="1972" y="930"/>
                </a:lnTo>
                <a:lnTo>
                  <a:pt x="1966" y="942"/>
                </a:lnTo>
                <a:lnTo>
                  <a:pt x="1963" y="949"/>
                </a:lnTo>
                <a:lnTo>
                  <a:pt x="1961" y="957"/>
                </a:lnTo>
                <a:lnTo>
                  <a:pt x="1960" y="966"/>
                </a:lnTo>
                <a:lnTo>
                  <a:pt x="1960" y="975"/>
                </a:lnTo>
                <a:lnTo>
                  <a:pt x="1964" y="999"/>
                </a:lnTo>
                <a:lnTo>
                  <a:pt x="1964" y="999"/>
                </a:lnTo>
                <a:lnTo>
                  <a:pt x="1964" y="1005"/>
                </a:lnTo>
                <a:lnTo>
                  <a:pt x="1963" y="1011"/>
                </a:lnTo>
                <a:lnTo>
                  <a:pt x="1962" y="1016"/>
                </a:lnTo>
                <a:lnTo>
                  <a:pt x="1961" y="1020"/>
                </a:lnTo>
                <a:lnTo>
                  <a:pt x="1957" y="1028"/>
                </a:lnTo>
                <a:lnTo>
                  <a:pt x="1955" y="1032"/>
                </a:lnTo>
                <a:lnTo>
                  <a:pt x="1955" y="1032"/>
                </a:lnTo>
                <a:lnTo>
                  <a:pt x="1936" y="1054"/>
                </a:lnTo>
                <a:lnTo>
                  <a:pt x="1916" y="1078"/>
                </a:lnTo>
                <a:lnTo>
                  <a:pt x="1896" y="1100"/>
                </a:lnTo>
                <a:lnTo>
                  <a:pt x="1876" y="1123"/>
                </a:lnTo>
                <a:lnTo>
                  <a:pt x="1876" y="1123"/>
                </a:lnTo>
                <a:lnTo>
                  <a:pt x="1847" y="1161"/>
                </a:lnTo>
                <a:lnTo>
                  <a:pt x="1836" y="1177"/>
                </a:lnTo>
                <a:lnTo>
                  <a:pt x="1828" y="1189"/>
                </a:lnTo>
                <a:lnTo>
                  <a:pt x="1828" y="1189"/>
                </a:lnTo>
                <a:lnTo>
                  <a:pt x="1819" y="1204"/>
                </a:lnTo>
                <a:lnTo>
                  <a:pt x="1811" y="1220"/>
                </a:lnTo>
                <a:lnTo>
                  <a:pt x="1799" y="1245"/>
                </a:lnTo>
                <a:lnTo>
                  <a:pt x="1789" y="1269"/>
                </a:lnTo>
                <a:lnTo>
                  <a:pt x="1781" y="1290"/>
                </a:lnTo>
                <a:lnTo>
                  <a:pt x="1781" y="1290"/>
                </a:lnTo>
                <a:lnTo>
                  <a:pt x="1780" y="1293"/>
                </a:lnTo>
                <a:lnTo>
                  <a:pt x="1778" y="1304"/>
                </a:lnTo>
                <a:lnTo>
                  <a:pt x="1778" y="1311"/>
                </a:lnTo>
                <a:lnTo>
                  <a:pt x="1777" y="1319"/>
                </a:lnTo>
                <a:lnTo>
                  <a:pt x="1778" y="1328"/>
                </a:lnTo>
                <a:lnTo>
                  <a:pt x="1780" y="1339"/>
                </a:lnTo>
                <a:lnTo>
                  <a:pt x="1784" y="1352"/>
                </a:lnTo>
                <a:lnTo>
                  <a:pt x="1789" y="1365"/>
                </a:lnTo>
                <a:lnTo>
                  <a:pt x="1797" y="1378"/>
                </a:lnTo>
                <a:lnTo>
                  <a:pt x="1807" y="1394"/>
                </a:lnTo>
                <a:lnTo>
                  <a:pt x="1819" y="1410"/>
                </a:lnTo>
                <a:lnTo>
                  <a:pt x="1833" y="1426"/>
                </a:lnTo>
                <a:lnTo>
                  <a:pt x="1852" y="1444"/>
                </a:lnTo>
                <a:lnTo>
                  <a:pt x="1874" y="1462"/>
                </a:lnTo>
                <a:lnTo>
                  <a:pt x="1881" y="1468"/>
                </a:lnTo>
                <a:lnTo>
                  <a:pt x="1881" y="1468"/>
                </a:lnTo>
                <a:lnTo>
                  <a:pt x="1894" y="1451"/>
                </a:lnTo>
                <a:lnTo>
                  <a:pt x="1905" y="1462"/>
                </a:lnTo>
                <a:lnTo>
                  <a:pt x="1905" y="1462"/>
                </a:lnTo>
                <a:lnTo>
                  <a:pt x="1914" y="1471"/>
                </a:lnTo>
                <a:lnTo>
                  <a:pt x="1926" y="1482"/>
                </a:lnTo>
                <a:lnTo>
                  <a:pt x="1941" y="1494"/>
                </a:lnTo>
                <a:lnTo>
                  <a:pt x="1957" y="1504"/>
                </a:lnTo>
                <a:lnTo>
                  <a:pt x="1957" y="1504"/>
                </a:lnTo>
                <a:lnTo>
                  <a:pt x="1959" y="1497"/>
                </a:lnTo>
                <a:lnTo>
                  <a:pt x="1964" y="1477"/>
                </a:lnTo>
                <a:lnTo>
                  <a:pt x="1969" y="1464"/>
                </a:lnTo>
                <a:lnTo>
                  <a:pt x="1975" y="1451"/>
                </a:lnTo>
                <a:lnTo>
                  <a:pt x="1983" y="1437"/>
                </a:lnTo>
                <a:lnTo>
                  <a:pt x="1991" y="1422"/>
                </a:lnTo>
                <a:lnTo>
                  <a:pt x="1991" y="1422"/>
                </a:lnTo>
                <a:lnTo>
                  <a:pt x="2000" y="1410"/>
                </a:lnTo>
                <a:lnTo>
                  <a:pt x="2011" y="1398"/>
                </a:lnTo>
                <a:lnTo>
                  <a:pt x="2025" y="1384"/>
                </a:lnTo>
                <a:lnTo>
                  <a:pt x="2038" y="1371"/>
                </a:lnTo>
                <a:lnTo>
                  <a:pt x="2052" y="1359"/>
                </a:lnTo>
                <a:lnTo>
                  <a:pt x="2065" y="1348"/>
                </a:lnTo>
                <a:lnTo>
                  <a:pt x="2080" y="1337"/>
                </a:lnTo>
                <a:lnTo>
                  <a:pt x="2092" y="1329"/>
                </a:lnTo>
                <a:lnTo>
                  <a:pt x="2092" y="1329"/>
                </a:lnTo>
                <a:lnTo>
                  <a:pt x="2107" y="1320"/>
                </a:lnTo>
                <a:lnTo>
                  <a:pt x="2123" y="1312"/>
                </a:lnTo>
                <a:lnTo>
                  <a:pt x="2138" y="1305"/>
                </a:lnTo>
                <a:lnTo>
                  <a:pt x="2154" y="1298"/>
                </a:lnTo>
                <a:lnTo>
                  <a:pt x="2170" y="1294"/>
                </a:lnTo>
                <a:lnTo>
                  <a:pt x="2186" y="1291"/>
                </a:lnTo>
                <a:lnTo>
                  <a:pt x="2202" y="1288"/>
                </a:lnTo>
                <a:lnTo>
                  <a:pt x="2220" y="1287"/>
                </a:lnTo>
                <a:lnTo>
                  <a:pt x="2220" y="1287"/>
                </a:lnTo>
                <a:lnTo>
                  <a:pt x="2234" y="1288"/>
                </a:lnTo>
                <a:lnTo>
                  <a:pt x="2247" y="1289"/>
                </a:lnTo>
                <a:lnTo>
                  <a:pt x="2261" y="1292"/>
                </a:lnTo>
                <a:lnTo>
                  <a:pt x="2272" y="1297"/>
                </a:lnTo>
                <a:lnTo>
                  <a:pt x="2283" y="1304"/>
                </a:lnTo>
                <a:lnTo>
                  <a:pt x="2295" y="1311"/>
                </a:lnTo>
                <a:lnTo>
                  <a:pt x="2305" y="1320"/>
                </a:lnTo>
                <a:lnTo>
                  <a:pt x="2316" y="1330"/>
                </a:lnTo>
                <a:lnTo>
                  <a:pt x="2316" y="1330"/>
                </a:lnTo>
                <a:lnTo>
                  <a:pt x="2323" y="1338"/>
                </a:lnTo>
                <a:lnTo>
                  <a:pt x="2330" y="1349"/>
                </a:lnTo>
                <a:lnTo>
                  <a:pt x="2336" y="1360"/>
                </a:lnTo>
                <a:lnTo>
                  <a:pt x="2342" y="1372"/>
                </a:lnTo>
                <a:lnTo>
                  <a:pt x="2347" y="1384"/>
                </a:lnTo>
                <a:lnTo>
                  <a:pt x="2351" y="1398"/>
                </a:lnTo>
                <a:lnTo>
                  <a:pt x="2355" y="1412"/>
                </a:lnTo>
                <a:lnTo>
                  <a:pt x="2358" y="1426"/>
                </a:lnTo>
                <a:lnTo>
                  <a:pt x="2360" y="1440"/>
                </a:lnTo>
                <a:lnTo>
                  <a:pt x="2362" y="1454"/>
                </a:lnTo>
                <a:lnTo>
                  <a:pt x="2363" y="1467"/>
                </a:lnTo>
                <a:lnTo>
                  <a:pt x="2364" y="1480"/>
                </a:lnTo>
                <a:lnTo>
                  <a:pt x="2364" y="1493"/>
                </a:lnTo>
                <a:lnTo>
                  <a:pt x="2363" y="1504"/>
                </a:lnTo>
                <a:lnTo>
                  <a:pt x="2361" y="1514"/>
                </a:lnTo>
                <a:lnTo>
                  <a:pt x="2359" y="1523"/>
                </a:lnTo>
                <a:lnTo>
                  <a:pt x="2359" y="1523"/>
                </a:lnTo>
                <a:lnTo>
                  <a:pt x="2330" y="1505"/>
                </a:lnTo>
                <a:lnTo>
                  <a:pt x="2330" y="1505"/>
                </a:lnTo>
                <a:lnTo>
                  <a:pt x="2309" y="1494"/>
                </a:lnTo>
                <a:lnTo>
                  <a:pt x="2281" y="1484"/>
                </a:lnTo>
                <a:lnTo>
                  <a:pt x="2266" y="1477"/>
                </a:lnTo>
                <a:lnTo>
                  <a:pt x="2251" y="1473"/>
                </a:lnTo>
                <a:lnTo>
                  <a:pt x="2233" y="1469"/>
                </a:lnTo>
                <a:lnTo>
                  <a:pt x="2215" y="1465"/>
                </a:lnTo>
                <a:lnTo>
                  <a:pt x="2195" y="1463"/>
                </a:lnTo>
                <a:lnTo>
                  <a:pt x="2175" y="1462"/>
                </a:lnTo>
                <a:lnTo>
                  <a:pt x="2154" y="1462"/>
                </a:lnTo>
                <a:lnTo>
                  <a:pt x="2132" y="1464"/>
                </a:lnTo>
                <a:lnTo>
                  <a:pt x="2109" y="1467"/>
                </a:lnTo>
                <a:lnTo>
                  <a:pt x="2086" y="1472"/>
                </a:lnTo>
                <a:lnTo>
                  <a:pt x="2062" y="1480"/>
                </a:lnTo>
                <a:lnTo>
                  <a:pt x="2037" y="1491"/>
                </a:lnTo>
                <a:lnTo>
                  <a:pt x="2037" y="1491"/>
                </a:lnTo>
                <a:lnTo>
                  <a:pt x="1995" y="1509"/>
                </a:lnTo>
                <a:lnTo>
                  <a:pt x="1967" y="1521"/>
                </a:lnTo>
                <a:lnTo>
                  <a:pt x="1936" y="1534"/>
                </a:lnTo>
                <a:lnTo>
                  <a:pt x="1900" y="1548"/>
                </a:lnTo>
                <a:lnTo>
                  <a:pt x="1860" y="1562"/>
                </a:lnTo>
                <a:lnTo>
                  <a:pt x="1814" y="1578"/>
                </a:lnTo>
                <a:lnTo>
                  <a:pt x="1764" y="1593"/>
                </a:lnTo>
                <a:lnTo>
                  <a:pt x="1764" y="1593"/>
                </a:lnTo>
                <a:lnTo>
                  <a:pt x="1737" y="1600"/>
                </a:lnTo>
                <a:lnTo>
                  <a:pt x="1725" y="1602"/>
                </a:lnTo>
                <a:lnTo>
                  <a:pt x="1713" y="1603"/>
                </a:lnTo>
                <a:lnTo>
                  <a:pt x="1701" y="1603"/>
                </a:lnTo>
                <a:lnTo>
                  <a:pt x="1691" y="1603"/>
                </a:lnTo>
                <a:lnTo>
                  <a:pt x="1681" y="1602"/>
                </a:lnTo>
                <a:lnTo>
                  <a:pt x="1672" y="1600"/>
                </a:lnTo>
                <a:lnTo>
                  <a:pt x="1664" y="1597"/>
                </a:lnTo>
                <a:lnTo>
                  <a:pt x="1655" y="1592"/>
                </a:lnTo>
                <a:lnTo>
                  <a:pt x="1649" y="1587"/>
                </a:lnTo>
                <a:lnTo>
                  <a:pt x="1642" y="1581"/>
                </a:lnTo>
                <a:lnTo>
                  <a:pt x="1637" y="1574"/>
                </a:lnTo>
                <a:lnTo>
                  <a:pt x="1633" y="1564"/>
                </a:lnTo>
                <a:lnTo>
                  <a:pt x="1629" y="1554"/>
                </a:lnTo>
                <a:lnTo>
                  <a:pt x="1626" y="1543"/>
                </a:lnTo>
                <a:lnTo>
                  <a:pt x="1626" y="1543"/>
                </a:lnTo>
                <a:lnTo>
                  <a:pt x="1624" y="1533"/>
                </a:lnTo>
                <a:lnTo>
                  <a:pt x="1623" y="1522"/>
                </a:lnTo>
                <a:lnTo>
                  <a:pt x="1623" y="1513"/>
                </a:lnTo>
                <a:lnTo>
                  <a:pt x="1623" y="1504"/>
                </a:lnTo>
                <a:lnTo>
                  <a:pt x="1625" y="1488"/>
                </a:lnTo>
                <a:lnTo>
                  <a:pt x="1629" y="1473"/>
                </a:lnTo>
                <a:lnTo>
                  <a:pt x="1633" y="1462"/>
                </a:lnTo>
                <a:lnTo>
                  <a:pt x="1636" y="1454"/>
                </a:lnTo>
                <a:lnTo>
                  <a:pt x="1640" y="1446"/>
                </a:lnTo>
                <a:lnTo>
                  <a:pt x="1640" y="1446"/>
                </a:lnTo>
                <a:lnTo>
                  <a:pt x="1636" y="1447"/>
                </a:lnTo>
                <a:lnTo>
                  <a:pt x="1626" y="1450"/>
                </a:lnTo>
                <a:lnTo>
                  <a:pt x="1610" y="1456"/>
                </a:lnTo>
                <a:lnTo>
                  <a:pt x="1601" y="1459"/>
                </a:lnTo>
                <a:lnTo>
                  <a:pt x="1592" y="1464"/>
                </a:lnTo>
                <a:lnTo>
                  <a:pt x="1582" y="1470"/>
                </a:lnTo>
                <a:lnTo>
                  <a:pt x="1573" y="1476"/>
                </a:lnTo>
                <a:lnTo>
                  <a:pt x="1563" y="1485"/>
                </a:lnTo>
                <a:lnTo>
                  <a:pt x="1554" y="1494"/>
                </a:lnTo>
                <a:lnTo>
                  <a:pt x="1546" y="1504"/>
                </a:lnTo>
                <a:lnTo>
                  <a:pt x="1539" y="1515"/>
                </a:lnTo>
                <a:lnTo>
                  <a:pt x="1533" y="1529"/>
                </a:lnTo>
                <a:lnTo>
                  <a:pt x="1528" y="1543"/>
                </a:lnTo>
                <a:lnTo>
                  <a:pt x="1528" y="1543"/>
                </a:lnTo>
                <a:lnTo>
                  <a:pt x="1525" y="1558"/>
                </a:lnTo>
                <a:lnTo>
                  <a:pt x="1523" y="1574"/>
                </a:lnTo>
                <a:lnTo>
                  <a:pt x="1523" y="1589"/>
                </a:lnTo>
                <a:lnTo>
                  <a:pt x="1523" y="1603"/>
                </a:lnTo>
                <a:lnTo>
                  <a:pt x="1524" y="1616"/>
                </a:lnTo>
                <a:lnTo>
                  <a:pt x="1527" y="1631"/>
                </a:lnTo>
                <a:lnTo>
                  <a:pt x="1531" y="1643"/>
                </a:lnTo>
                <a:lnTo>
                  <a:pt x="1536" y="1655"/>
                </a:lnTo>
                <a:lnTo>
                  <a:pt x="1542" y="1668"/>
                </a:lnTo>
                <a:lnTo>
                  <a:pt x="1549" y="1678"/>
                </a:lnTo>
                <a:lnTo>
                  <a:pt x="1557" y="1688"/>
                </a:lnTo>
                <a:lnTo>
                  <a:pt x="1568" y="1696"/>
                </a:lnTo>
                <a:lnTo>
                  <a:pt x="1578" y="1704"/>
                </a:lnTo>
                <a:lnTo>
                  <a:pt x="1590" y="1711"/>
                </a:lnTo>
                <a:lnTo>
                  <a:pt x="1602" y="1717"/>
                </a:lnTo>
                <a:lnTo>
                  <a:pt x="1617" y="1721"/>
                </a:lnTo>
                <a:lnTo>
                  <a:pt x="1617" y="1721"/>
                </a:lnTo>
                <a:lnTo>
                  <a:pt x="1630" y="1724"/>
                </a:lnTo>
                <a:lnTo>
                  <a:pt x="1644" y="1725"/>
                </a:lnTo>
                <a:lnTo>
                  <a:pt x="1660" y="1724"/>
                </a:lnTo>
                <a:lnTo>
                  <a:pt x="1676" y="1722"/>
                </a:lnTo>
                <a:lnTo>
                  <a:pt x="1692" y="1720"/>
                </a:lnTo>
                <a:lnTo>
                  <a:pt x="1710" y="1716"/>
                </a:lnTo>
                <a:lnTo>
                  <a:pt x="1727" y="1711"/>
                </a:lnTo>
                <a:lnTo>
                  <a:pt x="1744" y="1705"/>
                </a:lnTo>
                <a:lnTo>
                  <a:pt x="1779" y="1691"/>
                </a:lnTo>
                <a:lnTo>
                  <a:pt x="1815" y="1676"/>
                </a:lnTo>
                <a:lnTo>
                  <a:pt x="1849" y="1659"/>
                </a:lnTo>
                <a:lnTo>
                  <a:pt x="1880" y="1643"/>
                </a:lnTo>
                <a:lnTo>
                  <a:pt x="1880" y="1643"/>
                </a:lnTo>
                <a:lnTo>
                  <a:pt x="1942" y="1611"/>
                </a:lnTo>
                <a:lnTo>
                  <a:pt x="1979" y="1593"/>
                </a:lnTo>
                <a:lnTo>
                  <a:pt x="2013" y="1577"/>
                </a:lnTo>
                <a:lnTo>
                  <a:pt x="2013" y="1577"/>
                </a:lnTo>
                <a:lnTo>
                  <a:pt x="2041" y="1565"/>
                </a:lnTo>
                <a:lnTo>
                  <a:pt x="2054" y="1561"/>
                </a:lnTo>
                <a:lnTo>
                  <a:pt x="2068" y="1557"/>
                </a:lnTo>
                <a:lnTo>
                  <a:pt x="2081" y="1554"/>
                </a:lnTo>
                <a:lnTo>
                  <a:pt x="2093" y="1552"/>
                </a:lnTo>
                <a:lnTo>
                  <a:pt x="2105" y="1550"/>
                </a:lnTo>
                <a:lnTo>
                  <a:pt x="2119" y="1550"/>
                </a:lnTo>
                <a:lnTo>
                  <a:pt x="2131" y="1550"/>
                </a:lnTo>
                <a:lnTo>
                  <a:pt x="2143" y="1551"/>
                </a:lnTo>
                <a:lnTo>
                  <a:pt x="2156" y="1553"/>
                </a:lnTo>
                <a:lnTo>
                  <a:pt x="2170" y="1555"/>
                </a:lnTo>
                <a:lnTo>
                  <a:pt x="2183" y="1559"/>
                </a:lnTo>
                <a:lnTo>
                  <a:pt x="2196" y="1563"/>
                </a:lnTo>
                <a:lnTo>
                  <a:pt x="2211" y="1569"/>
                </a:lnTo>
                <a:lnTo>
                  <a:pt x="2226" y="1576"/>
                </a:lnTo>
                <a:lnTo>
                  <a:pt x="2226" y="1576"/>
                </a:lnTo>
                <a:lnTo>
                  <a:pt x="2246" y="1586"/>
                </a:lnTo>
                <a:lnTo>
                  <a:pt x="2265" y="1596"/>
                </a:lnTo>
                <a:lnTo>
                  <a:pt x="2281" y="1607"/>
                </a:lnTo>
                <a:lnTo>
                  <a:pt x="2295" y="1616"/>
                </a:lnTo>
                <a:lnTo>
                  <a:pt x="2305" y="1626"/>
                </a:lnTo>
                <a:lnTo>
                  <a:pt x="2312" y="1633"/>
                </a:lnTo>
                <a:lnTo>
                  <a:pt x="2319" y="1639"/>
                </a:lnTo>
                <a:lnTo>
                  <a:pt x="2319" y="1639"/>
                </a:lnTo>
                <a:lnTo>
                  <a:pt x="2317" y="1642"/>
                </a:lnTo>
                <a:lnTo>
                  <a:pt x="2313" y="1649"/>
                </a:lnTo>
                <a:lnTo>
                  <a:pt x="2305" y="1660"/>
                </a:lnTo>
                <a:lnTo>
                  <a:pt x="2300" y="1667"/>
                </a:lnTo>
                <a:lnTo>
                  <a:pt x="2293" y="1674"/>
                </a:lnTo>
                <a:lnTo>
                  <a:pt x="2285" y="1680"/>
                </a:lnTo>
                <a:lnTo>
                  <a:pt x="2276" y="1687"/>
                </a:lnTo>
                <a:lnTo>
                  <a:pt x="2267" y="1693"/>
                </a:lnTo>
                <a:lnTo>
                  <a:pt x="2255" y="1698"/>
                </a:lnTo>
                <a:lnTo>
                  <a:pt x="2242" y="1703"/>
                </a:lnTo>
                <a:lnTo>
                  <a:pt x="2228" y="1707"/>
                </a:lnTo>
                <a:lnTo>
                  <a:pt x="2212" y="1711"/>
                </a:lnTo>
                <a:lnTo>
                  <a:pt x="2194" y="1712"/>
                </a:lnTo>
                <a:lnTo>
                  <a:pt x="2194" y="1712"/>
                </a:lnTo>
                <a:lnTo>
                  <a:pt x="2180" y="1713"/>
                </a:lnTo>
                <a:lnTo>
                  <a:pt x="2166" y="1712"/>
                </a:lnTo>
                <a:lnTo>
                  <a:pt x="2152" y="1710"/>
                </a:lnTo>
                <a:lnTo>
                  <a:pt x="2139" y="1706"/>
                </a:lnTo>
                <a:lnTo>
                  <a:pt x="2127" y="1703"/>
                </a:lnTo>
                <a:lnTo>
                  <a:pt x="2115" y="1699"/>
                </a:lnTo>
                <a:lnTo>
                  <a:pt x="2103" y="1695"/>
                </a:lnTo>
                <a:lnTo>
                  <a:pt x="2092" y="1689"/>
                </a:lnTo>
                <a:lnTo>
                  <a:pt x="2082" y="1684"/>
                </a:lnTo>
                <a:lnTo>
                  <a:pt x="2073" y="1678"/>
                </a:lnTo>
                <a:lnTo>
                  <a:pt x="2064" y="1672"/>
                </a:lnTo>
                <a:lnTo>
                  <a:pt x="2056" y="1665"/>
                </a:lnTo>
                <a:lnTo>
                  <a:pt x="2048" y="1657"/>
                </a:lnTo>
                <a:lnTo>
                  <a:pt x="2042" y="1650"/>
                </a:lnTo>
                <a:lnTo>
                  <a:pt x="2036" y="1643"/>
                </a:lnTo>
                <a:lnTo>
                  <a:pt x="2031" y="1636"/>
                </a:lnTo>
                <a:lnTo>
                  <a:pt x="2031" y="1636"/>
                </a:lnTo>
                <a:lnTo>
                  <a:pt x="2022" y="1658"/>
                </a:lnTo>
                <a:lnTo>
                  <a:pt x="2013" y="1676"/>
                </a:lnTo>
                <a:lnTo>
                  <a:pt x="2007" y="1689"/>
                </a:lnTo>
                <a:lnTo>
                  <a:pt x="2007" y="1689"/>
                </a:lnTo>
                <a:lnTo>
                  <a:pt x="2003" y="1697"/>
                </a:lnTo>
                <a:lnTo>
                  <a:pt x="2000" y="1704"/>
                </a:lnTo>
                <a:lnTo>
                  <a:pt x="1998" y="1713"/>
                </a:lnTo>
                <a:lnTo>
                  <a:pt x="1997" y="1719"/>
                </a:lnTo>
                <a:lnTo>
                  <a:pt x="1997" y="1726"/>
                </a:lnTo>
                <a:lnTo>
                  <a:pt x="1997" y="1732"/>
                </a:lnTo>
                <a:lnTo>
                  <a:pt x="1999" y="1744"/>
                </a:lnTo>
                <a:lnTo>
                  <a:pt x="2001" y="1756"/>
                </a:lnTo>
                <a:lnTo>
                  <a:pt x="2003" y="1766"/>
                </a:lnTo>
                <a:lnTo>
                  <a:pt x="2004" y="1777"/>
                </a:lnTo>
                <a:lnTo>
                  <a:pt x="2003" y="1783"/>
                </a:lnTo>
                <a:lnTo>
                  <a:pt x="2001" y="1788"/>
                </a:lnTo>
                <a:lnTo>
                  <a:pt x="2001" y="1788"/>
                </a:lnTo>
                <a:lnTo>
                  <a:pt x="1999" y="1794"/>
                </a:lnTo>
                <a:lnTo>
                  <a:pt x="1995" y="1800"/>
                </a:lnTo>
                <a:lnTo>
                  <a:pt x="1986" y="1813"/>
                </a:lnTo>
                <a:lnTo>
                  <a:pt x="1973" y="1825"/>
                </a:lnTo>
                <a:lnTo>
                  <a:pt x="1960" y="1837"/>
                </a:lnTo>
                <a:lnTo>
                  <a:pt x="1945" y="1849"/>
                </a:lnTo>
                <a:lnTo>
                  <a:pt x="1931" y="1860"/>
                </a:lnTo>
                <a:lnTo>
                  <a:pt x="1904" y="1878"/>
                </a:lnTo>
                <a:lnTo>
                  <a:pt x="1904" y="1878"/>
                </a:lnTo>
                <a:lnTo>
                  <a:pt x="1886" y="1889"/>
                </a:lnTo>
                <a:lnTo>
                  <a:pt x="1864" y="1901"/>
                </a:lnTo>
                <a:lnTo>
                  <a:pt x="1842" y="1911"/>
                </a:lnTo>
                <a:lnTo>
                  <a:pt x="1819" y="1919"/>
                </a:lnTo>
                <a:lnTo>
                  <a:pt x="1798" y="1926"/>
                </a:lnTo>
                <a:lnTo>
                  <a:pt x="1779" y="1932"/>
                </a:lnTo>
                <a:lnTo>
                  <a:pt x="1754" y="1940"/>
                </a:lnTo>
                <a:lnTo>
                  <a:pt x="1754" y="1940"/>
                </a:lnTo>
                <a:lnTo>
                  <a:pt x="1779" y="1998"/>
                </a:lnTo>
                <a:lnTo>
                  <a:pt x="1811" y="2066"/>
                </a:lnTo>
                <a:lnTo>
                  <a:pt x="1811" y="2066"/>
                </a:lnTo>
                <a:lnTo>
                  <a:pt x="1833" y="2111"/>
                </a:lnTo>
                <a:lnTo>
                  <a:pt x="1862" y="2166"/>
                </a:lnTo>
                <a:lnTo>
                  <a:pt x="1877" y="2193"/>
                </a:lnTo>
                <a:lnTo>
                  <a:pt x="1893" y="2219"/>
                </a:lnTo>
                <a:lnTo>
                  <a:pt x="1909" y="2240"/>
                </a:lnTo>
                <a:lnTo>
                  <a:pt x="1916" y="2250"/>
                </a:lnTo>
                <a:lnTo>
                  <a:pt x="1924" y="2259"/>
                </a:lnTo>
                <a:lnTo>
                  <a:pt x="1924" y="2259"/>
                </a:lnTo>
                <a:lnTo>
                  <a:pt x="1940" y="2254"/>
                </a:lnTo>
                <a:lnTo>
                  <a:pt x="1957" y="2249"/>
                </a:lnTo>
                <a:lnTo>
                  <a:pt x="1980" y="2243"/>
                </a:lnTo>
                <a:lnTo>
                  <a:pt x="2004" y="2235"/>
                </a:lnTo>
                <a:lnTo>
                  <a:pt x="2031" y="2225"/>
                </a:lnTo>
                <a:lnTo>
                  <a:pt x="2057" y="2213"/>
                </a:lnTo>
                <a:lnTo>
                  <a:pt x="2071" y="2206"/>
                </a:lnTo>
                <a:lnTo>
                  <a:pt x="2083" y="2199"/>
                </a:lnTo>
                <a:lnTo>
                  <a:pt x="2083" y="2199"/>
                </a:lnTo>
                <a:lnTo>
                  <a:pt x="2105" y="2186"/>
                </a:lnTo>
                <a:lnTo>
                  <a:pt x="2126" y="2172"/>
                </a:lnTo>
                <a:lnTo>
                  <a:pt x="2145" y="2157"/>
                </a:lnTo>
                <a:lnTo>
                  <a:pt x="2162" y="2142"/>
                </a:lnTo>
                <a:lnTo>
                  <a:pt x="2177" y="2128"/>
                </a:lnTo>
                <a:lnTo>
                  <a:pt x="2189" y="2113"/>
                </a:lnTo>
                <a:lnTo>
                  <a:pt x="2199" y="2099"/>
                </a:lnTo>
                <a:lnTo>
                  <a:pt x="2207" y="2086"/>
                </a:lnTo>
                <a:lnTo>
                  <a:pt x="2207" y="2086"/>
                </a:lnTo>
                <a:lnTo>
                  <a:pt x="2190" y="2122"/>
                </a:lnTo>
                <a:lnTo>
                  <a:pt x="2175" y="2155"/>
                </a:lnTo>
                <a:lnTo>
                  <a:pt x="2161" y="2185"/>
                </a:lnTo>
                <a:lnTo>
                  <a:pt x="2146" y="2213"/>
                </a:lnTo>
                <a:lnTo>
                  <a:pt x="2132" y="2238"/>
                </a:lnTo>
                <a:lnTo>
                  <a:pt x="2119" y="2261"/>
                </a:lnTo>
                <a:lnTo>
                  <a:pt x="2105" y="2281"/>
                </a:lnTo>
                <a:lnTo>
                  <a:pt x="2092" y="2299"/>
                </a:lnTo>
                <a:lnTo>
                  <a:pt x="2080" y="2317"/>
                </a:lnTo>
                <a:lnTo>
                  <a:pt x="2068" y="2331"/>
                </a:lnTo>
                <a:lnTo>
                  <a:pt x="2055" y="2344"/>
                </a:lnTo>
                <a:lnTo>
                  <a:pt x="2044" y="2356"/>
                </a:lnTo>
                <a:lnTo>
                  <a:pt x="2033" y="2367"/>
                </a:lnTo>
                <a:lnTo>
                  <a:pt x="2022" y="2376"/>
                </a:lnTo>
                <a:lnTo>
                  <a:pt x="2011" y="2383"/>
                </a:lnTo>
                <a:lnTo>
                  <a:pt x="2000" y="2391"/>
                </a:lnTo>
                <a:lnTo>
                  <a:pt x="2000" y="2391"/>
                </a:lnTo>
                <a:lnTo>
                  <a:pt x="1907" y="2452"/>
                </a:lnTo>
                <a:lnTo>
                  <a:pt x="1797" y="2524"/>
                </a:lnTo>
                <a:lnTo>
                  <a:pt x="1735" y="2563"/>
                </a:lnTo>
                <a:lnTo>
                  <a:pt x="1671" y="2602"/>
                </a:lnTo>
                <a:lnTo>
                  <a:pt x="1602" y="2642"/>
                </a:lnTo>
                <a:lnTo>
                  <a:pt x="1532" y="2682"/>
                </a:lnTo>
                <a:lnTo>
                  <a:pt x="1459" y="2720"/>
                </a:lnTo>
                <a:lnTo>
                  <a:pt x="1422" y="2739"/>
                </a:lnTo>
                <a:lnTo>
                  <a:pt x="1384" y="2756"/>
                </a:lnTo>
                <a:lnTo>
                  <a:pt x="1347" y="2774"/>
                </a:lnTo>
                <a:lnTo>
                  <a:pt x="1308" y="2791"/>
                </a:lnTo>
                <a:lnTo>
                  <a:pt x="1269" y="2808"/>
                </a:lnTo>
                <a:lnTo>
                  <a:pt x="1230" y="2823"/>
                </a:lnTo>
                <a:lnTo>
                  <a:pt x="1190" y="2837"/>
                </a:lnTo>
                <a:lnTo>
                  <a:pt x="1151" y="2851"/>
                </a:lnTo>
                <a:lnTo>
                  <a:pt x="1111" y="2864"/>
                </a:lnTo>
                <a:lnTo>
                  <a:pt x="1072" y="2875"/>
                </a:lnTo>
                <a:lnTo>
                  <a:pt x="1032" y="2885"/>
                </a:lnTo>
                <a:lnTo>
                  <a:pt x="992" y="2893"/>
                </a:lnTo>
                <a:lnTo>
                  <a:pt x="952" y="2902"/>
                </a:lnTo>
                <a:lnTo>
                  <a:pt x="913" y="2908"/>
                </a:lnTo>
                <a:lnTo>
                  <a:pt x="913" y="2908"/>
                </a:lnTo>
                <a:lnTo>
                  <a:pt x="901" y="2908"/>
                </a:lnTo>
                <a:lnTo>
                  <a:pt x="889" y="2907"/>
                </a:lnTo>
                <a:lnTo>
                  <a:pt x="876" y="2904"/>
                </a:lnTo>
                <a:lnTo>
                  <a:pt x="863" y="2901"/>
                </a:lnTo>
                <a:lnTo>
                  <a:pt x="850" y="2898"/>
                </a:lnTo>
                <a:lnTo>
                  <a:pt x="836" y="2892"/>
                </a:lnTo>
                <a:lnTo>
                  <a:pt x="809" y="2880"/>
                </a:lnTo>
                <a:lnTo>
                  <a:pt x="781" y="2866"/>
                </a:lnTo>
                <a:lnTo>
                  <a:pt x="754" y="2850"/>
                </a:lnTo>
                <a:lnTo>
                  <a:pt x="726" y="2832"/>
                </a:lnTo>
                <a:lnTo>
                  <a:pt x="698" y="2813"/>
                </a:lnTo>
                <a:lnTo>
                  <a:pt x="672" y="2792"/>
                </a:lnTo>
                <a:lnTo>
                  <a:pt x="646" y="2772"/>
                </a:lnTo>
                <a:lnTo>
                  <a:pt x="623" y="2751"/>
                </a:lnTo>
                <a:lnTo>
                  <a:pt x="600" y="2731"/>
                </a:lnTo>
                <a:lnTo>
                  <a:pt x="581" y="2711"/>
                </a:lnTo>
                <a:lnTo>
                  <a:pt x="563" y="2694"/>
                </a:lnTo>
                <a:lnTo>
                  <a:pt x="548" y="2679"/>
                </a:lnTo>
                <a:lnTo>
                  <a:pt x="537" y="2665"/>
                </a:lnTo>
                <a:lnTo>
                  <a:pt x="537" y="2665"/>
                </a:lnTo>
                <a:lnTo>
                  <a:pt x="533" y="2661"/>
                </a:lnTo>
                <a:lnTo>
                  <a:pt x="530" y="2657"/>
                </a:lnTo>
                <a:lnTo>
                  <a:pt x="520" y="2652"/>
                </a:lnTo>
                <a:lnTo>
                  <a:pt x="512" y="2650"/>
                </a:lnTo>
                <a:lnTo>
                  <a:pt x="502" y="2649"/>
                </a:lnTo>
                <a:lnTo>
                  <a:pt x="493" y="2649"/>
                </a:lnTo>
                <a:lnTo>
                  <a:pt x="483" y="2651"/>
                </a:lnTo>
                <a:lnTo>
                  <a:pt x="473" y="2654"/>
                </a:lnTo>
                <a:lnTo>
                  <a:pt x="464" y="2658"/>
                </a:lnTo>
                <a:lnTo>
                  <a:pt x="447" y="2666"/>
                </a:lnTo>
                <a:lnTo>
                  <a:pt x="433" y="2676"/>
                </a:lnTo>
                <a:lnTo>
                  <a:pt x="419" y="2686"/>
                </a:lnTo>
                <a:lnTo>
                  <a:pt x="419" y="2686"/>
                </a:lnTo>
                <a:lnTo>
                  <a:pt x="412" y="2685"/>
                </a:lnTo>
                <a:lnTo>
                  <a:pt x="393" y="2683"/>
                </a:lnTo>
                <a:lnTo>
                  <a:pt x="379" y="2683"/>
                </a:lnTo>
                <a:lnTo>
                  <a:pt x="364" y="2683"/>
                </a:lnTo>
                <a:lnTo>
                  <a:pt x="348" y="2684"/>
                </a:lnTo>
                <a:lnTo>
                  <a:pt x="329" y="2686"/>
                </a:lnTo>
                <a:lnTo>
                  <a:pt x="310" y="2689"/>
                </a:lnTo>
                <a:lnTo>
                  <a:pt x="290" y="2694"/>
                </a:lnTo>
                <a:lnTo>
                  <a:pt x="271" y="2700"/>
                </a:lnTo>
                <a:lnTo>
                  <a:pt x="252" y="2709"/>
                </a:lnTo>
                <a:lnTo>
                  <a:pt x="242" y="2715"/>
                </a:lnTo>
                <a:lnTo>
                  <a:pt x="233" y="2720"/>
                </a:lnTo>
                <a:lnTo>
                  <a:pt x="224" y="2726"/>
                </a:lnTo>
                <a:lnTo>
                  <a:pt x="216" y="2733"/>
                </a:lnTo>
                <a:lnTo>
                  <a:pt x="207" y="2741"/>
                </a:lnTo>
                <a:lnTo>
                  <a:pt x="199" y="2749"/>
                </a:lnTo>
                <a:lnTo>
                  <a:pt x="191" y="2759"/>
                </a:lnTo>
                <a:lnTo>
                  <a:pt x="184" y="2768"/>
                </a:lnTo>
                <a:lnTo>
                  <a:pt x="184" y="2768"/>
                </a:lnTo>
                <a:lnTo>
                  <a:pt x="183" y="2771"/>
                </a:lnTo>
                <a:lnTo>
                  <a:pt x="185" y="2773"/>
                </a:lnTo>
                <a:lnTo>
                  <a:pt x="188" y="2774"/>
                </a:lnTo>
                <a:lnTo>
                  <a:pt x="193" y="2774"/>
                </a:lnTo>
                <a:lnTo>
                  <a:pt x="210" y="2772"/>
                </a:lnTo>
                <a:lnTo>
                  <a:pt x="230" y="2770"/>
                </a:lnTo>
                <a:lnTo>
                  <a:pt x="255" y="2768"/>
                </a:lnTo>
                <a:lnTo>
                  <a:pt x="280" y="2767"/>
                </a:lnTo>
                <a:lnTo>
                  <a:pt x="293" y="2768"/>
                </a:lnTo>
                <a:lnTo>
                  <a:pt x="307" y="2769"/>
                </a:lnTo>
                <a:lnTo>
                  <a:pt x="319" y="2771"/>
                </a:lnTo>
                <a:lnTo>
                  <a:pt x="331" y="2774"/>
                </a:lnTo>
                <a:lnTo>
                  <a:pt x="331" y="2774"/>
                </a:lnTo>
                <a:lnTo>
                  <a:pt x="338" y="2777"/>
                </a:lnTo>
                <a:lnTo>
                  <a:pt x="343" y="2780"/>
                </a:lnTo>
                <a:lnTo>
                  <a:pt x="346" y="2783"/>
                </a:lnTo>
                <a:lnTo>
                  <a:pt x="347" y="2786"/>
                </a:lnTo>
                <a:lnTo>
                  <a:pt x="347" y="2789"/>
                </a:lnTo>
                <a:lnTo>
                  <a:pt x="345" y="2793"/>
                </a:lnTo>
                <a:lnTo>
                  <a:pt x="339" y="2801"/>
                </a:lnTo>
                <a:lnTo>
                  <a:pt x="332" y="2811"/>
                </a:lnTo>
                <a:lnTo>
                  <a:pt x="325" y="2822"/>
                </a:lnTo>
                <a:lnTo>
                  <a:pt x="321" y="2828"/>
                </a:lnTo>
                <a:lnTo>
                  <a:pt x="319" y="2834"/>
                </a:lnTo>
                <a:lnTo>
                  <a:pt x="317" y="2840"/>
                </a:lnTo>
                <a:lnTo>
                  <a:pt x="317" y="2847"/>
                </a:lnTo>
                <a:lnTo>
                  <a:pt x="317" y="2847"/>
                </a:lnTo>
                <a:lnTo>
                  <a:pt x="317" y="2853"/>
                </a:lnTo>
                <a:lnTo>
                  <a:pt x="319" y="2859"/>
                </a:lnTo>
                <a:lnTo>
                  <a:pt x="321" y="2864"/>
                </a:lnTo>
                <a:lnTo>
                  <a:pt x="324" y="2869"/>
                </a:lnTo>
                <a:lnTo>
                  <a:pt x="328" y="2874"/>
                </a:lnTo>
                <a:lnTo>
                  <a:pt x="333" y="2879"/>
                </a:lnTo>
                <a:lnTo>
                  <a:pt x="346" y="2889"/>
                </a:lnTo>
                <a:lnTo>
                  <a:pt x="361" y="2899"/>
                </a:lnTo>
                <a:lnTo>
                  <a:pt x="377" y="2908"/>
                </a:lnTo>
                <a:lnTo>
                  <a:pt x="397" y="2917"/>
                </a:lnTo>
                <a:lnTo>
                  <a:pt x="416" y="2925"/>
                </a:lnTo>
                <a:lnTo>
                  <a:pt x="458" y="2941"/>
                </a:lnTo>
                <a:lnTo>
                  <a:pt x="500" y="2955"/>
                </a:lnTo>
                <a:lnTo>
                  <a:pt x="571" y="2976"/>
                </a:lnTo>
                <a:lnTo>
                  <a:pt x="571" y="2976"/>
                </a:lnTo>
                <a:lnTo>
                  <a:pt x="579" y="2980"/>
                </a:lnTo>
                <a:lnTo>
                  <a:pt x="585" y="2984"/>
                </a:lnTo>
                <a:lnTo>
                  <a:pt x="588" y="2990"/>
                </a:lnTo>
                <a:lnTo>
                  <a:pt x="590" y="2995"/>
                </a:lnTo>
                <a:lnTo>
                  <a:pt x="590" y="2999"/>
                </a:lnTo>
                <a:lnTo>
                  <a:pt x="588" y="3003"/>
                </a:lnTo>
                <a:lnTo>
                  <a:pt x="585" y="3005"/>
                </a:lnTo>
                <a:lnTo>
                  <a:pt x="581" y="3006"/>
                </a:lnTo>
                <a:lnTo>
                  <a:pt x="581" y="3006"/>
                </a:lnTo>
                <a:lnTo>
                  <a:pt x="556" y="3005"/>
                </a:lnTo>
                <a:lnTo>
                  <a:pt x="532" y="3002"/>
                </a:lnTo>
                <a:lnTo>
                  <a:pt x="509" y="2999"/>
                </a:lnTo>
                <a:lnTo>
                  <a:pt x="488" y="2994"/>
                </a:lnTo>
                <a:lnTo>
                  <a:pt x="467" y="2989"/>
                </a:lnTo>
                <a:lnTo>
                  <a:pt x="448" y="2982"/>
                </a:lnTo>
                <a:lnTo>
                  <a:pt x="429" y="2976"/>
                </a:lnTo>
                <a:lnTo>
                  <a:pt x="412" y="2970"/>
                </a:lnTo>
                <a:lnTo>
                  <a:pt x="380" y="2957"/>
                </a:lnTo>
                <a:lnTo>
                  <a:pt x="352" y="2945"/>
                </a:lnTo>
                <a:lnTo>
                  <a:pt x="327" y="2933"/>
                </a:lnTo>
                <a:lnTo>
                  <a:pt x="316" y="2929"/>
                </a:lnTo>
                <a:lnTo>
                  <a:pt x="305" y="2925"/>
                </a:lnTo>
                <a:lnTo>
                  <a:pt x="305" y="2925"/>
                </a:lnTo>
                <a:lnTo>
                  <a:pt x="286" y="2920"/>
                </a:lnTo>
                <a:lnTo>
                  <a:pt x="268" y="2916"/>
                </a:lnTo>
                <a:lnTo>
                  <a:pt x="253" y="2913"/>
                </a:lnTo>
                <a:lnTo>
                  <a:pt x="237" y="2911"/>
                </a:lnTo>
                <a:lnTo>
                  <a:pt x="224" y="2910"/>
                </a:lnTo>
                <a:lnTo>
                  <a:pt x="213" y="2911"/>
                </a:lnTo>
                <a:lnTo>
                  <a:pt x="202" y="2912"/>
                </a:lnTo>
                <a:lnTo>
                  <a:pt x="192" y="2914"/>
                </a:lnTo>
                <a:lnTo>
                  <a:pt x="185" y="2918"/>
                </a:lnTo>
                <a:lnTo>
                  <a:pt x="178" y="2922"/>
                </a:lnTo>
                <a:lnTo>
                  <a:pt x="172" y="2927"/>
                </a:lnTo>
                <a:lnTo>
                  <a:pt x="167" y="2933"/>
                </a:lnTo>
                <a:lnTo>
                  <a:pt x="163" y="2939"/>
                </a:lnTo>
                <a:lnTo>
                  <a:pt x="160" y="2948"/>
                </a:lnTo>
                <a:lnTo>
                  <a:pt x="156" y="2956"/>
                </a:lnTo>
                <a:lnTo>
                  <a:pt x="155" y="2965"/>
                </a:lnTo>
                <a:lnTo>
                  <a:pt x="155" y="2965"/>
                </a:lnTo>
                <a:lnTo>
                  <a:pt x="154" y="2968"/>
                </a:lnTo>
                <a:lnTo>
                  <a:pt x="152" y="2971"/>
                </a:lnTo>
                <a:lnTo>
                  <a:pt x="150" y="2974"/>
                </a:lnTo>
                <a:lnTo>
                  <a:pt x="147" y="2976"/>
                </a:lnTo>
                <a:lnTo>
                  <a:pt x="140" y="2980"/>
                </a:lnTo>
                <a:lnTo>
                  <a:pt x="132" y="2985"/>
                </a:lnTo>
                <a:lnTo>
                  <a:pt x="109" y="2995"/>
                </a:lnTo>
                <a:lnTo>
                  <a:pt x="97" y="3001"/>
                </a:lnTo>
                <a:lnTo>
                  <a:pt x="84" y="3009"/>
                </a:lnTo>
                <a:lnTo>
                  <a:pt x="71" y="3019"/>
                </a:lnTo>
                <a:lnTo>
                  <a:pt x="57" y="3033"/>
                </a:lnTo>
                <a:lnTo>
                  <a:pt x="51" y="3040"/>
                </a:lnTo>
                <a:lnTo>
                  <a:pt x="45" y="3048"/>
                </a:lnTo>
                <a:lnTo>
                  <a:pt x="39" y="3058"/>
                </a:lnTo>
                <a:lnTo>
                  <a:pt x="33" y="3068"/>
                </a:lnTo>
                <a:lnTo>
                  <a:pt x="28" y="3080"/>
                </a:lnTo>
                <a:lnTo>
                  <a:pt x="22" y="3092"/>
                </a:lnTo>
                <a:lnTo>
                  <a:pt x="17" y="3106"/>
                </a:lnTo>
                <a:lnTo>
                  <a:pt x="13" y="3120"/>
                </a:lnTo>
                <a:lnTo>
                  <a:pt x="9" y="3137"/>
                </a:lnTo>
                <a:lnTo>
                  <a:pt x="6" y="3154"/>
                </a:lnTo>
                <a:lnTo>
                  <a:pt x="3" y="3174"/>
                </a:lnTo>
                <a:lnTo>
                  <a:pt x="0" y="3194"/>
                </a:lnTo>
                <a:lnTo>
                  <a:pt x="0" y="3194"/>
                </a:lnTo>
                <a:lnTo>
                  <a:pt x="1" y="3195"/>
                </a:lnTo>
                <a:lnTo>
                  <a:pt x="2" y="3196"/>
                </a:lnTo>
                <a:lnTo>
                  <a:pt x="6" y="3194"/>
                </a:lnTo>
                <a:lnTo>
                  <a:pt x="12" y="3189"/>
                </a:lnTo>
                <a:lnTo>
                  <a:pt x="20" y="3181"/>
                </a:lnTo>
                <a:lnTo>
                  <a:pt x="43" y="3158"/>
                </a:lnTo>
                <a:lnTo>
                  <a:pt x="69" y="3134"/>
                </a:lnTo>
                <a:lnTo>
                  <a:pt x="82" y="3121"/>
                </a:lnTo>
                <a:lnTo>
                  <a:pt x="95" y="3110"/>
                </a:lnTo>
                <a:lnTo>
                  <a:pt x="107" y="3101"/>
                </a:lnTo>
                <a:lnTo>
                  <a:pt x="119" y="3094"/>
                </a:lnTo>
                <a:lnTo>
                  <a:pt x="124" y="3091"/>
                </a:lnTo>
                <a:lnTo>
                  <a:pt x="129" y="3090"/>
                </a:lnTo>
                <a:lnTo>
                  <a:pt x="133" y="3089"/>
                </a:lnTo>
                <a:lnTo>
                  <a:pt x="137" y="3089"/>
                </a:lnTo>
                <a:lnTo>
                  <a:pt x="140" y="3091"/>
                </a:lnTo>
                <a:lnTo>
                  <a:pt x="143" y="3093"/>
                </a:lnTo>
                <a:lnTo>
                  <a:pt x="144" y="3097"/>
                </a:lnTo>
                <a:lnTo>
                  <a:pt x="146" y="3101"/>
                </a:lnTo>
                <a:lnTo>
                  <a:pt x="146" y="3101"/>
                </a:lnTo>
                <a:lnTo>
                  <a:pt x="149" y="3117"/>
                </a:lnTo>
                <a:lnTo>
                  <a:pt x="154" y="3132"/>
                </a:lnTo>
                <a:lnTo>
                  <a:pt x="162" y="3145"/>
                </a:lnTo>
                <a:lnTo>
                  <a:pt x="170" y="3155"/>
                </a:lnTo>
                <a:lnTo>
                  <a:pt x="179" y="3165"/>
                </a:lnTo>
                <a:lnTo>
                  <a:pt x="189" y="3173"/>
                </a:lnTo>
                <a:lnTo>
                  <a:pt x="200" y="3180"/>
                </a:lnTo>
                <a:lnTo>
                  <a:pt x="214" y="3185"/>
                </a:lnTo>
                <a:lnTo>
                  <a:pt x="227" y="3189"/>
                </a:lnTo>
                <a:lnTo>
                  <a:pt x="241" y="3191"/>
                </a:lnTo>
                <a:lnTo>
                  <a:pt x="256" y="3193"/>
                </a:lnTo>
                <a:lnTo>
                  <a:pt x="271" y="3194"/>
                </a:lnTo>
                <a:lnTo>
                  <a:pt x="287" y="3195"/>
                </a:lnTo>
                <a:lnTo>
                  <a:pt x="304" y="3194"/>
                </a:lnTo>
                <a:lnTo>
                  <a:pt x="337" y="3192"/>
                </a:lnTo>
                <a:lnTo>
                  <a:pt x="371" y="3188"/>
                </a:lnTo>
                <a:lnTo>
                  <a:pt x="405" y="3183"/>
                </a:lnTo>
                <a:lnTo>
                  <a:pt x="438" y="3178"/>
                </a:lnTo>
                <a:lnTo>
                  <a:pt x="468" y="3174"/>
                </a:lnTo>
                <a:lnTo>
                  <a:pt x="496" y="3172"/>
                </a:lnTo>
                <a:lnTo>
                  <a:pt x="509" y="3171"/>
                </a:lnTo>
                <a:lnTo>
                  <a:pt x="520" y="3171"/>
                </a:lnTo>
                <a:lnTo>
                  <a:pt x="531" y="3172"/>
                </a:lnTo>
                <a:lnTo>
                  <a:pt x="541" y="3174"/>
                </a:lnTo>
                <a:lnTo>
                  <a:pt x="549" y="3177"/>
                </a:lnTo>
                <a:lnTo>
                  <a:pt x="555" y="3181"/>
                </a:lnTo>
                <a:lnTo>
                  <a:pt x="555" y="3181"/>
                </a:lnTo>
                <a:lnTo>
                  <a:pt x="558" y="3184"/>
                </a:lnTo>
                <a:lnTo>
                  <a:pt x="559" y="3186"/>
                </a:lnTo>
                <a:lnTo>
                  <a:pt x="557" y="3189"/>
                </a:lnTo>
                <a:lnTo>
                  <a:pt x="554" y="3191"/>
                </a:lnTo>
                <a:lnTo>
                  <a:pt x="549" y="3194"/>
                </a:lnTo>
                <a:lnTo>
                  <a:pt x="542" y="3196"/>
                </a:lnTo>
                <a:lnTo>
                  <a:pt x="525" y="3200"/>
                </a:lnTo>
                <a:lnTo>
                  <a:pt x="475" y="3209"/>
                </a:lnTo>
                <a:lnTo>
                  <a:pt x="447" y="3215"/>
                </a:lnTo>
                <a:lnTo>
                  <a:pt x="417" y="3221"/>
                </a:lnTo>
                <a:lnTo>
                  <a:pt x="388" y="3228"/>
                </a:lnTo>
                <a:lnTo>
                  <a:pt x="359" y="3236"/>
                </a:lnTo>
                <a:lnTo>
                  <a:pt x="346" y="3240"/>
                </a:lnTo>
                <a:lnTo>
                  <a:pt x="333" y="3245"/>
                </a:lnTo>
                <a:lnTo>
                  <a:pt x="322" y="3250"/>
                </a:lnTo>
                <a:lnTo>
                  <a:pt x="312" y="3256"/>
                </a:lnTo>
                <a:lnTo>
                  <a:pt x="303" y="3263"/>
                </a:lnTo>
                <a:lnTo>
                  <a:pt x="294" y="3269"/>
                </a:lnTo>
                <a:lnTo>
                  <a:pt x="288" y="3276"/>
                </a:lnTo>
                <a:lnTo>
                  <a:pt x="284" y="3284"/>
                </a:lnTo>
                <a:lnTo>
                  <a:pt x="282" y="3292"/>
                </a:lnTo>
                <a:lnTo>
                  <a:pt x="281" y="3300"/>
                </a:lnTo>
                <a:lnTo>
                  <a:pt x="283" y="3311"/>
                </a:lnTo>
                <a:lnTo>
                  <a:pt x="287" y="3321"/>
                </a:lnTo>
                <a:lnTo>
                  <a:pt x="287" y="3321"/>
                </a:lnTo>
                <a:lnTo>
                  <a:pt x="287" y="3322"/>
                </a:lnTo>
                <a:lnTo>
                  <a:pt x="286" y="3325"/>
                </a:lnTo>
                <a:lnTo>
                  <a:pt x="283" y="3331"/>
                </a:lnTo>
                <a:lnTo>
                  <a:pt x="268" y="3348"/>
                </a:lnTo>
                <a:lnTo>
                  <a:pt x="258" y="3361"/>
                </a:lnTo>
                <a:lnTo>
                  <a:pt x="247" y="3374"/>
                </a:lnTo>
                <a:lnTo>
                  <a:pt x="237" y="3389"/>
                </a:lnTo>
                <a:lnTo>
                  <a:pt x="228" y="3406"/>
                </a:lnTo>
                <a:lnTo>
                  <a:pt x="220" y="3423"/>
                </a:lnTo>
                <a:lnTo>
                  <a:pt x="217" y="3432"/>
                </a:lnTo>
                <a:lnTo>
                  <a:pt x="214" y="3443"/>
                </a:lnTo>
                <a:lnTo>
                  <a:pt x="213" y="3452"/>
                </a:lnTo>
                <a:lnTo>
                  <a:pt x="212" y="3463"/>
                </a:lnTo>
                <a:lnTo>
                  <a:pt x="212" y="3473"/>
                </a:lnTo>
                <a:lnTo>
                  <a:pt x="213" y="3483"/>
                </a:lnTo>
                <a:lnTo>
                  <a:pt x="215" y="3495"/>
                </a:lnTo>
                <a:lnTo>
                  <a:pt x="219" y="3506"/>
                </a:lnTo>
                <a:lnTo>
                  <a:pt x="223" y="3518"/>
                </a:lnTo>
                <a:lnTo>
                  <a:pt x="229" y="3529"/>
                </a:lnTo>
                <a:lnTo>
                  <a:pt x="237" y="3542"/>
                </a:lnTo>
                <a:lnTo>
                  <a:pt x="246" y="3554"/>
                </a:lnTo>
                <a:lnTo>
                  <a:pt x="257" y="3566"/>
                </a:lnTo>
                <a:lnTo>
                  <a:pt x="270" y="3579"/>
                </a:lnTo>
                <a:lnTo>
                  <a:pt x="270" y="3579"/>
                </a:lnTo>
                <a:lnTo>
                  <a:pt x="270" y="3572"/>
                </a:lnTo>
                <a:lnTo>
                  <a:pt x="272" y="3555"/>
                </a:lnTo>
                <a:lnTo>
                  <a:pt x="277" y="3530"/>
                </a:lnTo>
                <a:lnTo>
                  <a:pt x="281" y="3517"/>
                </a:lnTo>
                <a:lnTo>
                  <a:pt x="285" y="3503"/>
                </a:lnTo>
                <a:lnTo>
                  <a:pt x="291" y="3490"/>
                </a:lnTo>
                <a:lnTo>
                  <a:pt x="298" y="3476"/>
                </a:lnTo>
                <a:lnTo>
                  <a:pt x="306" y="3463"/>
                </a:lnTo>
                <a:lnTo>
                  <a:pt x="315" y="3453"/>
                </a:lnTo>
                <a:lnTo>
                  <a:pt x="321" y="3448"/>
                </a:lnTo>
                <a:lnTo>
                  <a:pt x="326" y="3444"/>
                </a:lnTo>
                <a:lnTo>
                  <a:pt x="332" y="3439"/>
                </a:lnTo>
                <a:lnTo>
                  <a:pt x="339" y="3436"/>
                </a:lnTo>
                <a:lnTo>
                  <a:pt x="346" y="3434"/>
                </a:lnTo>
                <a:lnTo>
                  <a:pt x="354" y="3432"/>
                </a:lnTo>
                <a:lnTo>
                  <a:pt x="361" y="3432"/>
                </a:lnTo>
                <a:lnTo>
                  <a:pt x="369" y="3432"/>
                </a:lnTo>
                <a:lnTo>
                  <a:pt x="369" y="3432"/>
                </a:lnTo>
                <a:lnTo>
                  <a:pt x="383" y="3433"/>
                </a:lnTo>
                <a:lnTo>
                  <a:pt x="396" y="3436"/>
                </a:lnTo>
                <a:lnTo>
                  <a:pt x="408" y="3440"/>
                </a:lnTo>
                <a:lnTo>
                  <a:pt x="420" y="3445"/>
                </a:lnTo>
                <a:lnTo>
                  <a:pt x="443" y="3455"/>
                </a:lnTo>
                <a:lnTo>
                  <a:pt x="454" y="3459"/>
                </a:lnTo>
                <a:lnTo>
                  <a:pt x="465" y="3463"/>
                </a:lnTo>
                <a:lnTo>
                  <a:pt x="476" y="3466"/>
                </a:lnTo>
                <a:lnTo>
                  <a:pt x="489" y="3468"/>
                </a:lnTo>
                <a:lnTo>
                  <a:pt x="501" y="3469"/>
                </a:lnTo>
                <a:lnTo>
                  <a:pt x="514" y="3467"/>
                </a:lnTo>
                <a:lnTo>
                  <a:pt x="528" y="3464"/>
                </a:lnTo>
                <a:lnTo>
                  <a:pt x="542" y="3458"/>
                </a:lnTo>
                <a:lnTo>
                  <a:pt x="558" y="3450"/>
                </a:lnTo>
                <a:lnTo>
                  <a:pt x="575" y="3437"/>
                </a:lnTo>
                <a:lnTo>
                  <a:pt x="575" y="3437"/>
                </a:lnTo>
                <a:lnTo>
                  <a:pt x="588" y="3428"/>
                </a:lnTo>
                <a:lnTo>
                  <a:pt x="600" y="3417"/>
                </a:lnTo>
                <a:lnTo>
                  <a:pt x="614" y="3405"/>
                </a:lnTo>
                <a:lnTo>
                  <a:pt x="630" y="3392"/>
                </a:lnTo>
                <a:lnTo>
                  <a:pt x="651" y="3380"/>
                </a:lnTo>
                <a:lnTo>
                  <a:pt x="664" y="3373"/>
                </a:lnTo>
                <a:lnTo>
                  <a:pt x="678" y="3367"/>
                </a:lnTo>
                <a:lnTo>
                  <a:pt x="693" y="3360"/>
                </a:lnTo>
                <a:lnTo>
                  <a:pt x="712" y="3354"/>
                </a:lnTo>
                <a:lnTo>
                  <a:pt x="732" y="3346"/>
                </a:lnTo>
                <a:lnTo>
                  <a:pt x="754" y="3339"/>
                </a:lnTo>
                <a:lnTo>
                  <a:pt x="754" y="3339"/>
                </a:lnTo>
                <a:lnTo>
                  <a:pt x="756" y="3339"/>
                </a:lnTo>
                <a:lnTo>
                  <a:pt x="757" y="3340"/>
                </a:lnTo>
                <a:lnTo>
                  <a:pt x="760" y="3345"/>
                </a:lnTo>
                <a:lnTo>
                  <a:pt x="762" y="3354"/>
                </a:lnTo>
                <a:lnTo>
                  <a:pt x="765" y="3363"/>
                </a:lnTo>
                <a:lnTo>
                  <a:pt x="768" y="3375"/>
                </a:lnTo>
                <a:lnTo>
                  <a:pt x="772" y="3387"/>
                </a:lnTo>
                <a:lnTo>
                  <a:pt x="777" y="3400"/>
                </a:lnTo>
                <a:lnTo>
                  <a:pt x="783" y="3412"/>
                </a:lnTo>
                <a:lnTo>
                  <a:pt x="783" y="3412"/>
                </a:lnTo>
                <a:lnTo>
                  <a:pt x="786" y="3415"/>
                </a:lnTo>
                <a:lnTo>
                  <a:pt x="789" y="3417"/>
                </a:lnTo>
                <a:lnTo>
                  <a:pt x="797" y="3422"/>
                </a:lnTo>
                <a:lnTo>
                  <a:pt x="805" y="3425"/>
                </a:lnTo>
                <a:lnTo>
                  <a:pt x="813" y="3429"/>
                </a:lnTo>
                <a:lnTo>
                  <a:pt x="821" y="3432"/>
                </a:lnTo>
                <a:lnTo>
                  <a:pt x="827" y="3435"/>
                </a:lnTo>
                <a:lnTo>
                  <a:pt x="830" y="3437"/>
                </a:lnTo>
                <a:lnTo>
                  <a:pt x="831" y="3439"/>
                </a:lnTo>
                <a:lnTo>
                  <a:pt x="833" y="3443"/>
                </a:lnTo>
                <a:lnTo>
                  <a:pt x="833" y="3446"/>
                </a:lnTo>
                <a:lnTo>
                  <a:pt x="833" y="3446"/>
                </a:lnTo>
                <a:lnTo>
                  <a:pt x="832" y="3456"/>
                </a:lnTo>
                <a:lnTo>
                  <a:pt x="830" y="3467"/>
                </a:lnTo>
                <a:lnTo>
                  <a:pt x="826" y="3477"/>
                </a:lnTo>
                <a:lnTo>
                  <a:pt x="822" y="3486"/>
                </a:lnTo>
                <a:lnTo>
                  <a:pt x="817" y="3496"/>
                </a:lnTo>
                <a:lnTo>
                  <a:pt x="811" y="3505"/>
                </a:lnTo>
                <a:lnTo>
                  <a:pt x="798" y="3521"/>
                </a:lnTo>
                <a:lnTo>
                  <a:pt x="784" y="3535"/>
                </a:lnTo>
                <a:lnTo>
                  <a:pt x="773" y="3546"/>
                </a:lnTo>
                <a:lnTo>
                  <a:pt x="765" y="3552"/>
                </a:lnTo>
                <a:lnTo>
                  <a:pt x="763" y="3555"/>
                </a:lnTo>
                <a:lnTo>
                  <a:pt x="763" y="3555"/>
                </a:lnTo>
                <a:lnTo>
                  <a:pt x="767" y="3558"/>
                </a:lnTo>
                <a:lnTo>
                  <a:pt x="778" y="3561"/>
                </a:lnTo>
                <a:lnTo>
                  <a:pt x="785" y="3562"/>
                </a:lnTo>
                <a:lnTo>
                  <a:pt x="794" y="3563"/>
                </a:lnTo>
                <a:lnTo>
                  <a:pt x="804" y="3563"/>
                </a:lnTo>
                <a:lnTo>
                  <a:pt x="815" y="3561"/>
                </a:lnTo>
                <a:lnTo>
                  <a:pt x="826" y="3558"/>
                </a:lnTo>
                <a:lnTo>
                  <a:pt x="839" y="3553"/>
                </a:lnTo>
                <a:lnTo>
                  <a:pt x="852" y="3546"/>
                </a:lnTo>
                <a:lnTo>
                  <a:pt x="865" y="3536"/>
                </a:lnTo>
                <a:lnTo>
                  <a:pt x="879" y="3522"/>
                </a:lnTo>
                <a:lnTo>
                  <a:pt x="894" y="3506"/>
                </a:lnTo>
                <a:lnTo>
                  <a:pt x="907" y="3486"/>
                </a:lnTo>
                <a:lnTo>
                  <a:pt x="921" y="3463"/>
                </a:lnTo>
                <a:lnTo>
                  <a:pt x="921" y="3463"/>
                </a:lnTo>
                <a:lnTo>
                  <a:pt x="924" y="3459"/>
                </a:lnTo>
                <a:lnTo>
                  <a:pt x="927" y="3455"/>
                </a:lnTo>
                <a:lnTo>
                  <a:pt x="930" y="3453"/>
                </a:lnTo>
                <a:lnTo>
                  <a:pt x="935" y="3451"/>
                </a:lnTo>
                <a:lnTo>
                  <a:pt x="939" y="3450"/>
                </a:lnTo>
                <a:lnTo>
                  <a:pt x="943" y="3450"/>
                </a:lnTo>
                <a:lnTo>
                  <a:pt x="951" y="3450"/>
                </a:lnTo>
                <a:lnTo>
                  <a:pt x="970" y="3452"/>
                </a:lnTo>
                <a:lnTo>
                  <a:pt x="982" y="3452"/>
                </a:lnTo>
                <a:lnTo>
                  <a:pt x="987" y="3451"/>
                </a:lnTo>
                <a:lnTo>
                  <a:pt x="992" y="3450"/>
                </a:lnTo>
                <a:lnTo>
                  <a:pt x="992" y="3450"/>
                </a:lnTo>
                <a:lnTo>
                  <a:pt x="1010" y="3444"/>
                </a:lnTo>
                <a:lnTo>
                  <a:pt x="1017" y="3439"/>
                </a:lnTo>
                <a:lnTo>
                  <a:pt x="1024" y="3435"/>
                </a:lnTo>
                <a:lnTo>
                  <a:pt x="1029" y="3432"/>
                </a:lnTo>
                <a:lnTo>
                  <a:pt x="1033" y="3428"/>
                </a:lnTo>
                <a:lnTo>
                  <a:pt x="1036" y="3424"/>
                </a:lnTo>
                <a:lnTo>
                  <a:pt x="1039" y="3419"/>
                </a:lnTo>
                <a:lnTo>
                  <a:pt x="1041" y="3415"/>
                </a:lnTo>
                <a:lnTo>
                  <a:pt x="1042" y="3410"/>
                </a:lnTo>
                <a:lnTo>
                  <a:pt x="1043" y="3401"/>
                </a:lnTo>
                <a:lnTo>
                  <a:pt x="1042" y="3390"/>
                </a:lnTo>
                <a:lnTo>
                  <a:pt x="1040" y="3380"/>
                </a:lnTo>
                <a:lnTo>
                  <a:pt x="1035" y="3358"/>
                </a:lnTo>
                <a:lnTo>
                  <a:pt x="1034" y="3347"/>
                </a:lnTo>
                <a:lnTo>
                  <a:pt x="1033" y="3335"/>
                </a:lnTo>
                <a:lnTo>
                  <a:pt x="1034" y="3324"/>
                </a:lnTo>
                <a:lnTo>
                  <a:pt x="1036" y="3319"/>
                </a:lnTo>
                <a:lnTo>
                  <a:pt x="1038" y="3313"/>
                </a:lnTo>
                <a:lnTo>
                  <a:pt x="1040" y="3308"/>
                </a:lnTo>
                <a:lnTo>
                  <a:pt x="1044" y="3302"/>
                </a:lnTo>
                <a:lnTo>
                  <a:pt x="1048" y="3296"/>
                </a:lnTo>
                <a:lnTo>
                  <a:pt x="1054" y="3291"/>
                </a:lnTo>
                <a:lnTo>
                  <a:pt x="1054" y="3291"/>
                </a:lnTo>
                <a:lnTo>
                  <a:pt x="1069" y="3278"/>
                </a:lnTo>
                <a:lnTo>
                  <a:pt x="1084" y="3265"/>
                </a:lnTo>
                <a:lnTo>
                  <a:pt x="1099" y="3253"/>
                </a:lnTo>
                <a:lnTo>
                  <a:pt x="1115" y="3241"/>
                </a:lnTo>
                <a:lnTo>
                  <a:pt x="1146" y="3221"/>
                </a:lnTo>
                <a:lnTo>
                  <a:pt x="1178" y="3202"/>
                </a:lnTo>
                <a:lnTo>
                  <a:pt x="1210" y="3186"/>
                </a:lnTo>
                <a:lnTo>
                  <a:pt x="1241" y="3171"/>
                </a:lnTo>
                <a:lnTo>
                  <a:pt x="1273" y="3156"/>
                </a:lnTo>
                <a:lnTo>
                  <a:pt x="1304" y="3144"/>
                </a:lnTo>
                <a:lnTo>
                  <a:pt x="1304" y="3144"/>
                </a:lnTo>
                <a:lnTo>
                  <a:pt x="1303" y="3148"/>
                </a:lnTo>
                <a:lnTo>
                  <a:pt x="1299" y="3160"/>
                </a:lnTo>
                <a:lnTo>
                  <a:pt x="1294" y="3180"/>
                </a:lnTo>
                <a:lnTo>
                  <a:pt x="1291" y="3203"/>
                </a:lnTo>
                <a:lnTo>
                  <a:pt x="1290" y="3218"/>
                </a:lnTo>
                <a:lnTo>
                  <a:pt x="1290" y="3232"/>
                </a:lnTo>
                <a:lnTo>
                  <a:pt x="1291" y="3247"/>
                </a:lnTo>
                <a:lnTo>
                  <a:pt x="1292" y="3264"/>
                </a:lnTo>
                <a:lnTo>
                  <a:pt x="1296" y="3280"/>
                </a:lnTo>
                <a:lnTo>
                  <a:pt x="1301" y="3296"/>
                </a:lnTo>
                <a:lnTo>
                  <a:pt x="1306" y="3314"/>
                </a:lnTo>
                <a:lnTo>
                  <a:pt x="1314" y="3331"/>
                </a:lnTo>
                <a:lnTo>
                  <a:pt x="1640" y="3247"/>
                </a:lnTo>
                <a:lnTo>
                  <a:pt x="1640" y="3247"/>
                </a:lnTo>
                <a:lnTo>
                  <a:pt x="1634" y="3231"/>
                </a:lnTo>
                <a:lnTo>
                  <a:pt x="1631" y="3215"/>
                </a:lnTo>
                <a:lnTo>
                  <a:pt x="1629" y="3197"/>
                </a:lnTo>
                <a:lnTo>
                  <a:pt x="1629" y="3180"/>
                </a:lnTo>
                <a:lnTo>
                  <a:pt x="1631" y="3162"/>
                </a:lnTo>
                <a:lnTo>
                  <a:pt x="1634" y="3145"/>
                </a:lnTo>
                <a:lnTo>
                  <a:pt x="1638" y="3128"/>
                </a:lnTo>
                <a:lnTo>
                  <a:pt x="1644" y="3109"/>
                </a:lnTo>
                <a:lnTo>
                  <a:pt x="1651" y="3092"/>
                </a:lnTo>
                <a:lnTo>
                  <a:pt x="1660" y="3073"/>
                </a:lnTo>
                <a:lnTo>
                  <a:pt x="1669" y="3056"/>
                </a:lnTo>
                <a:lnTo>
                  <a:pt x="1679" y="3039"/>
                </a:lnTo>
                <a:lnTo>
                  <a:pt x="1689" y="3021"/>
                </a:lnTo>
                <a:lnTo>
                  <a:pt x="1701" y="3004"/>
                </a:lnTo>
                <a:lnTo>
                  <a:pt x="1725" y="2972"/>
                </a:lnTo>
                <a:lnTo>
                  <a:pt x="1725" y="2972"/>
                </a:lnTo>
                <a:lnTo>
                  <a:pt x="1726" y="2971"/>
                </a:lnTo>
                <a:lnTo>
                  <a:pt x="1727" y="2971"/>
                </a:lnTo>
                <a:lnTo>
                  <a:pt x="1728" y="2975"/>
                </a:lnTo>
                <a:lnTo>
                  <a:pt x="1725" y="2997"/>
                </a:lnTo>
                <a:lnTo>
                  <a:pt x="1721" y="3030"/>
                </a:lnTo>
                <a:lnTo>
                  <a:pt x="1715" y="3072"/>
                </a:lnTo>
                <a:lnTo>
                  <a:pt x="1713" y="3095"/>
                </a:lnTo>
                <a:lnTo>
                  <a:pt x="1711" y="3118"/>
                </a:lnTo>
                <a:lnTo>
                  <a:pt x="1711" y="3140"/>
                </a:lnTo>
                <a:lnTo>
                  <a:pt x="1711" y="3161"/>
                </a:lnTo>
                <a:lnTo>
                  <a:pt x="1713" y="3181"/>
                </a:lnTo>
                <a:lnTo>
                  <a:pt x="1716" y="3198"/>
                </a:lnTo>
                <a:lnTo>
                  <a:pt x="1719" y="3206"/>
                </a:lnTo>
                <a:lnTo>
                  <a:pt x="1722" y="3213"/>
                </a:lnTo>
                <a:lnTo>
                  <a:pt x="1726" y="3219"/>
                </a:lnTo>
                <a:lnTo>
                  <a:pt x="1730" y="3224"/>
                </a:lnTo>
                <a:lnTo>
                  <a:pt x="2050" y="3141"/>
                </a:lnTo>
                <a:lnTo>
                  <a:pt x="2050" y="3141"/>
                </a:lnTo>
                <a:lnTo>
                  <a:pt x="2046" y="3131"/>
                </a:lnTo>
                <a:lnTo>
                  <a:pt x="2043" y="3119"/>
                </a:lnTo>
                <a:lnTo>
                  <a:pt x="2041" y="3108"/>
                </a:lnTo>
                <a:lnTo>
                  <a:pt x="2039" y="3096"/>
                </a:lnTo>
                <a:lnTo>
                  <a:pt x="2038" y="3084"/>
                </a:lnTo>
                <a:lnTo>
                  <a:pt x="2038" y="3071"/>
                </a:lnTo>
                <a:lnTo>
                  <a:pt x="2039" y="3045"/>
                </a:lnTo>
                <a:lnTo>
                  <a:pt x="2043" y="3018"/>
                </a:lnTo>
                <a:lnTo>
                  <a:pt x="2048" y="2992"/>
                </a:lnTo>
                <a:lnTo>
                  <a:pt x="2055" y="2965"/>
                </a:lnTo>
                <a:lnTo>
                  <a:pt x="2064" y="2941"/>
                </a:lnTo>
                <a:lnTo>
                  <a:pt x="2064" y="2941"/>
                </a:lnTo>
                <a:lnTo>
                  <a:pt x="2072" y="2968"/>
                </a:lnTo>
                <a:lnTo>
                  <a:pt x="2079" y="2997"/>
                </a:lnTo>
                <a:lnTo>
                  <a:pt x="2088" y="3024"/>
                </a:lnTo>
                <a:lnTo>
                  <a:pt x="2098" y="3052"/>
                </a:lnTo>
                <a:lnTo>
                  <a:pt x="2108" y="3079"/>
                </a:lnTo>
                <a:lnTo>
                  <a:pt x="2121" y="3105"/>
                </a:lnTo>
                <a:lnTo>
                  <a:pt x="2135" y="3131"/>
                </a:lnTo>
                <a:lnTo>
                  <a:pt x="2149" y="3156"/>
                </a:lnTo>
                <a:lnTo>
                  <a:pt x="2166" y="3181"/>
                </a:lnTo>
                <a:lnTo>
                  <a:pt x="2183" y="3203"/>
                </a:lnTo>
                <a:lnTo>
                  <a:pt x="2201" y="3225"/>
                </a:lnTo>
                <a:lnTo>
                  <a:pt x="2222" y="3245"/>
                </a:lnTo>
                <a:lnTo>
                  <a:pt x="2244" y="3265"/>
                </a:lnTo>
                <a:lnTo>
                  <a:pt x="2268" y="3281"/>
                </a:lnTo>
                <a:lnTo>
                  <a:pt x="2280" y="3289"/>
                </a:lnTo>
                <a:lnTo>
                  <a:pt x="2292" y="3296"/>
                </a:lnTo>
                <a:lnTo>
                  <a:pt x="2306" y="3303"/>
                </a:lnTo>
                <a:lnTo>
                  <a:pt x="2320" y="3310"/>
                </a:lnTo>
                <a:lnTo>
                  <a:pt x="2320" y="3310"/>
                </a:lnTo>
                <a:lnTo>
                  <a:pt x="2365" y="3329"/>
                </a:lnTo>
                <a:lnTo>
                  <a:pt x="2410" y="3347"/>
                </a:lnTo>
                <a:lnTo>
                  <a:pt x="2454" y="3364"/>
                </a:lnTo>
                <a:lnTo>
                  <a:pt x="2499" y="3380"/>
                </a:lnTo>
                <a:lnTo>
                  <a:pt x="2544" y="3395"/>
                </a:lnTo>
                <a:lnTo>
                  <a:pt x="2589" y="3411"/>
                </a:lnTo>
                <a:lnTo>
                  <a:pt x="2683" y="3440"/>
                </a:lnTo>
                <a:lnTo>
                  <a:pt x="2782" y="3469"/>
                </a:lnTo>
                <a:lnTo>
                  <a:pt x="2889" y="3500"/>
                </a:lnTo>
                <a:lnTo>
                  <a:pt x="3005" y="3534"/>
                </a:lnTo>
                <a:lnTo>
                  <a:pt x="3133" y="3570"/>
                </a:lnTo>
                <a:lnTo>
                  <a:pt x="3133" y="3570"/>
                </a:lnTo>
                <a:lnTo>
                  <a:pt x="3205" y="3593"/>
                </a:lnTo>
                <a:lnTo>
                  <a:pt x="3273" y="3616"/>
                </a:lnTo>
                <a:lnTo>
                  <a:pt x="3305" y="3628"/>
                </a:lnTo>
                <a:lnTo>
                  <a:pt x="3333" y="3639"/>
                </a:lnTo>
                <a:lnTo>
                  <a:pt x="3358" y="3649"/>
                </a:lnTo>
                <a:lnTo>
                  <a:pt x="3377" y="3658"/>
                </a:lnTo>
                <a:lnTo>
                  <a:pt x="3377" y="3658"/>
                </a:lnTo>
                <a:lnTo>
                  <a:pt x="3383" y="3661"/>
                </a:lnTo>
                <a:lnTo>
                  <a:pt x="3389" y="3665"/>
                </a:lnTo>
                <a:lnTo>
                  <a:pt x="3393" y="3668"/>
                </a:lnTo>
                <a:lnTo>
                  <a:pt x="3397" y="3673"/>
                </a:lnTo>
                <a:lnTo>
                  <a:pt x="3399" y="3677"/>
                </a:lnTo>
                <a:lnTo>
                  <a:pt x="3401" y="3682"/>
                </a:lnTo>
                <a:lnTo>
                  <a:pt x="3402" y="3686"/>
                </a:lnTo>
                <a:lnTo>
                  <a:pt x="3402" y="3690"/>
                </a:lnTo>
                <a:lnTo>
                  <a:pt x="3401" y="3699"/>
                </a:lnTo>
                <a:lnTo>
                  <a:pt x="3397" y="3708"/>
                </a:lnTo>
                <a:lnTo>
                  <a:pt x="3392" y="3717"/>
                </a:lnTo>
                <a:lnTo>
                  <a:pt x="3386" y="3726"/>
                </a:lnTo>
                <a:lnTo>
                  <a:pt x="3378" y="3734"/>
                </a:lnTo>
                <a:lnTo>
                  <a:pt x="3371" y="3742"/>
                </a:lnTo>
                <a:lnTo>
                  <a:pt x="3357" y="3754"/>
                </a:lnTo>
                <a:lnTo>
                  <a:pt x="3346" y="3764"/>
                </a:lnTo>
                <a:lnTo>
                  <a:pt x="3341" y="3767"/>
                </a:lnTo>
                <a:lnTo>
                  <a:pt x="3341" y="3767"/>
                </a:lnTo>
                <a:lnTo>
                  <a:pt x="3355" y="3775"/>
                </a:lnTo>
                <a:lnTo>
                  <a:pt x="3371" y="3783"/>
                </a:lnTo>
                <a:lnTo>
                  <a:pt x="3411" y="3801"/>
                </a:lnTo>
                <a:lnTo>
                  <a:pt x="3435" y="3814"/>
                </a:lnTo>
                <a:lnTo>
                  <a:pt x="3461" y="3829"/>
                </a:lnTo>
                <a:lnTo>
                  <a:pt x="3492" y="3848"/>
                </a:lnTo>
                <a:lnTo>
                  <a:pt x="3527" y="3873"/>
                </a:lnTo>
                <a:lnTo>
                  <a:pt x="3527" y="3873"/>
                </a:lnTo>
                <a:lnTo>
                  <a:pt x="3545" y="3888"/>
                </a:lnTo>
                <a:lnTo>
                  <a:pt x="3563" y="3906"/>
                </a:lnTo>
                <a:lnTo>
                  <a:pt x="3580" y="3925"/>
                </a:lnTo>
                <a:lnTo>
                  <a:pt x="3595" y="3946"/>
                </a:lnTo>
                <a:lnTo>
                  <a:pt x="3608" y="3967"/>
                </a:lnTo>
                <a:lnTo>
                  <a:pt x="3622" y="3991"/>
                </a:lnTo>
                <a:lnTo>
                  <a:pt x="3634" y="4014"/>
                </a:lnTo>
                <a:lnTo>
                  <a:pt x="3645" y="4040"/>
                </a:lnTo>
                <a:lnTo>
                  <a:pt x="3655" y="4066"/>
                </a:lnTo>
                <a:lnTo>
                  <a:pt x="3665" y="4094"/>
                </a:lnTo>
                <a:lnTo>
                  <a:pt x="3674" y="4122"/>
                </a:lnTo>
                <a:lnTo>
                  <a:pt x="3682" y="4151"/>
                </a:lnTo>
                <a:lnTo>
                  <a:pt x="3698" y="4211"/>
                </a:lnTo>
                <a:lnTo>
                  <a:pt x="3714" y="4274"/>
                </a:lnTo>
                <a:lnTo>
                  <a:pt x="3714" y="4274"/>
                </a:lnTo>
                <a:lnTo>
                  <a:pt x="3725" y="4324"/>
                </a:lnTo>
                <a:lnTo>
                  <a:pt x="3734" y="4377"/>
                </a:lnTo>
                <a:lnTo>
                  <a:pt x="3742" y="4430"/>
                </a:lnTo>
                <a:lnTo>
                  <a:pt x="3744" y="4457"/>
                </a:lnTo>
                <a:lnTo>
                  <a:pt x="3746" y="4481"/>
                </a:lnTo>
                <a:lnTo>
                  <a:pt x="3748" y="4506"/>
                </a:lnTo>
                <a:lnTo>
                  <a:pt x="3749" y="4529"/>
                </a:lnTo>
                <a:lnTo>
                  <a:pt x="3748" y="4551"/>
                </a:lnTo>
                <a:lnTo>
                  <a:pt x="3745" y="4571"/>
                </a:lnTo>
                <a:lnTo>
                  <a:pt x="3742" y="4590"/>
                </a:lnTo>
                <a:lnTo>
                  <a:pt x="3737" y="4606"/>
                </a:lnTo>
                <a:lnTo>
                  <a:pt x="3731" y="4619"/>
                </a:lnTo>
                <a:lnTo>
                  <a:pt x="3728" y="4625"/>
                </a:lnTo>
                <a:lnTo>
                  <a:pt x="3724" y="4631"/>
                </a:lnTo>
                <a:lnTo>
                  <a:pt x="3724" y="4631"/>
                </a:lnTo>
                <a:lnTo>
                  <a:pt x="3715" y="4641"/>
                </a:lnTo>
                <a:lnTo>
                  <a:pt x="3705" y="4651"/>
                </a:lnTo>
                <a:lnTo>
                  <a:pt x="3691" y="4660"/>
                </a:lnTo>
                <a:lnTo>
                  <a:pt x="3683" y="4665"/>
                </a:lnTo>
                <a:lnTo>
                  <a:pt x="3673" y="4670"/>
                </a:lnTo>
                <a:lnTo>
                  <a:pt x="3663" y="4676"/>
                </a:lnTo>
                <a:lnTo>
                  <a:pt x="3650" y="4681"/>
                </a:lnTo>
                <a:lnTo>
                  <a:pt x="3621" y="4690"/>
                </a:lnTo>
                <a:lnTo>
                  <a:pt x="3582" y="4700"/>
                </a:lnTo>
                <a:lnTo>
                  <a:pt x="3535" y="4710"/>
                </a:lnTo>
                <a:lnTo>
                  <a:pt x="3560" y="4833"/>
                </a:lnTo>
                <a:lnTo>
                  <a:pt x="3560" y="4833"/>
                </a:lnTo>
                <a:lnTo>
                  <a:pt x="3579" y="4834"/>
                </a:lnTo>
                <a:lnTo>
                  <a:pt x="3597" y="4834"/>
                </a:lnTo>
                <a:lnTo>
                  <a:pt x="3615" y="4833"/>
                </a:lnTo>
                <a:lnTo>
                  <a:pt x="3631" y="4831"/>
                </a:lnTo>
                <a:lnTo>
                  <a:pt x="3646" y="4829"/>
                </a:lnTo>
                <a:lnTo>
                  <a:pt x="3662" y="4826"/>
                </a:lnTo>
                <a:lnTo>
                  <a:pt x="3688" y="4819"/>
                </a:lnTo>
                <a:lnTo>
                  <a:pt x="3711" y="4812"/>
                </a:lnTo>
                <a:lnTo>
                  <a:pt x="3728" y="4805"/>
                </a:lnTo>
                <a:lnTo>
                  <a:pt x="3742" y="4799"/>
                </a:lnTo>
                <a:lnTo>
                  <a:pt x="3742" y="4799"/>
                </a:lnTo>
                <a:lnTo>
                  <a:pt x="3736" y="4805"/>
                </a:lnTo>
                <a:lnTo>
                  <a:pt x="3730" y="4813"/>
                </a:lnTo>
                <a:lnTo>
                  <a:pt x="3722" y="4823"/>
                </a:lnTo>
                <a:lnTo>
                  <a:pt x="3722" y="4823"/>
                </a:lnTo>
                <a:lnTo>
                  <a:pt x="3711" y="4839"/>
                </a:lnTo>
                <a:lnTo>
                  <a:pt x="3700" y="4856"/>
                </a:lnTo>
                <a:lnTo>
                  <a:pt x="3692" y="4871"/>
                </a:lnTo>
                <a:lnTo>
                  <a:pt x="3685" y="4886"/>
                </a:lnTo>
                <a:lnTo>
                  <a:pt x="3680" y="4902"/>
                </a:lnTo>
                <a:lnTo>
                  <a:pt x="3675" y="4919"/>
                </a:lnTo>
                <a:lnTo>
                  <a:pt x="3672" y="4936"/>
                </a:lnTo>
                <a:lnTo>
                  <a:pt x="3669" y="4957"/>
                </a:lnTo>
                <a:lnTo>
                  <a:pt x="3799" y="5041"/>
                </a:lnTo>
                <a:lnTo>
                  <a:pt x="3799" y="5041"/>
                </a:lnTo>
                <a:lnTo>
                  <a:pt x="3812" y="5000"/>
                </a:lnTo>
                <a:lnTo>
                  <a:pt x="3826" y="4960"/>
                </a:lnTo>
                <a:lnTo>
                  <a:pt x="3841" y="4924"/>
                </a:lnTo>
                <a:lnTo>
                  <a:pt x="3855" y="4891"/>
                </a:lnTo>
                <a:lnTo>
                  <a:pt x="3870" y="4864"/>
                </a:lnTo>
                <a:lnTo>
                  <a:pt x="3877" y="4851"/>
                </a:lnTo>
                <a:lnTo>
                  <a:pt x="3885" y="4841"/>
                </a:lnTo>
                <a:lnTo>
                  <a:pt x="3892" y="4832"/>
                </a:lnTo>
                <a:lnTo>
                  <a:pt x="3899" y="4825"/>
                </a:lnTo>
                <a:lnTo>
                  <a:pt x="3906" y="4820"/>
                </a:lnTo>
                <a:lnTo>
                  <a:pt x="3913" y="4816"/>
                </a:lnTo>
                <a:lnTo>
                  <a:pt x="3913" y="4816"/>
                </a:lnTo>
                <a:lnTo>
                  <a:pt x="3919" y="4814"/>
                </a:lnTo>
                <a:lnTo>
                  <a:pt x="3926" y="4814"/>
                </a:lnTo>
                <a:lnTo>
                  <a:pt x="3935" y="4814"/>
                </a:lnTo>
                <a:lnTo>
                  <a:pt x="3944" y="4815"/>
                </a:lnTo>
                <a:lnTo>
                  <a:pt x="3954" y="4817"/>
                </a:lnTo>
                <a:lnTo>
                  <a:pt x="3965" y="4819"/>
                </a:lnTo>
                <a:lnTo>
                  <a:pt x="3990" y="4828"/>
                </a:lnTo>
                <a:lnTo>
                  <a:pt x="4017" y="4839"/>
                </a:lnTo>
                <a:lnTo>
                  <a:pt x="4047" y="4854"/>
                </a:lnTo>
                <a:lnTo>
                  <a:pt x="4078" y="4874"/>
                </a:lnTo>
                <a:lnTo>
                  <a:pt x="4110" y="4895"/>
                </a:lnTo>
                <a:lnTo>
                  <a:pt x="4127" y="4908"/>
                </a:lnTo>
                <a:lnTo>
                  <a:pt x="4143" y="4921"/>
                </a:lnTo>
                <a:lnTo>
                  <a:pt x="4160" y="4935"/>
                </a:lnTo>
                <a:lnTo>
                  <a:pt x="4176" y="4950"/>
                </a:lnTo>
                <a:lnTo>
                  <a:pt x="4192" y="4965"/>
                </a:lnTo>
                <a:lnTo>
                  <a:pt x="4208" y="4981"/>
                </a:lnTo>
                <a:lnTo>
                  <a:pt x="4224" y="4999"/>
                </a:lnTo>
                <a:lnTo>
                  <a:pt x="4239" y="5017"/>
                </a:lnTo>
                <a:lnTo>
                  <a:pt x="4254" y="5035"/>
                </a:lnTo>
                <a:lnTo>
                  <a:pt x="4268" y="5055"/>
                </a:lnTo>
                <a:lnTo>
                  <a:pt x="4282" y="5075"/>
                </a:lnTo>
                <a:lnTo>
                  <a:pt x="4296" y="5097"/>
                </a:lnTo>
                <a:lnTo>
                  <a:pt x="4308" y="5118"/>
                </a:lnTo>
                <a:lnTo>
                  <a:pt x="4320" y="5141"/>
                </a:lnTo>
                <a:lnTo>
                  <a:pt x="4331" y="5164"/>
                </a:lnTo>
                <a:lnTo>
                  <a:pt x="4342" y="5189"/>
                </a:lnTo>
                <a:lnTo>
                  <a:pt x="4342" y="5189"/>
                </a:lnTo>
                <a:lnTo>
                  <a:pt x="4347" y="5203"/>
                </a:lnTo>
                <a:lnTo>
                  <a:pt x="4352" y="5220"/>
                </a:lnTo>
                <a:lnTo>
                  <a:pt x="4356" y="5236"/>
                </a:lnTo>
                <a:lnTo>
                  <a:pt x="4360" y="5253"/>
                </a:lnTo>
                <a:lnTo>
                  <a:pt x="4363" y="5272"/>
                </a:lnTo>
                <a:lnTo>
                  <a:pt x="4366" y="5290"/>
                </a:lnTo>
                <a:lnTo>
                  <a:pt x="4370" y="5329"/>
                </a:lnTo>
                <a:lnTo>
                  <a:pt x="4372" y="5368"/>
                </a:lnTo>
                <a:lnTo>
                  <a:pt x="4371" y="5409"/>
                </a:lnTo>
                <a:lnTo>
                  <a:pt x="4370" y="5429"/>
                </a:lnTo>
                <a:lnTo>
                  <a:pt x="4369" y="5449"/>
                </a:lnTo>
                <a:lnTo>
                  <a:pt x="4366" y="5469"/>
                </a:lnTo>
                <a:lnTo>
                  <a:pt x="4363" y="5488"/>
                </a:lnTo>
                <a:lnTo>
                  <a:pt x="4360" y="5508"/>
                </a:lnTo>
                <a:lnTo>
                  <a:pt x="4356" y="5526"/>
                </a:lnTo>
                <a:lnTo>
                  <a:pt x="4351" y="5545"/>
                </a:lnTo>
                <a:lnTo>
                  <a:pt x="4345" y="5562"/>
                </a:lnTo>
                <a:lnTo>
                  <a:pt x="4339" y="5579"/>
                </a:lnTo>
                <a:lnTo>
                  <a:pt x="4332" y="5595"/>
                </a:lnTo>
                <a:lnTo>
                  <a:pt x="4324" y="5610"/>
                </a:lnTo>
                <a:lnTo>
                  <a:pt x="4316" y="5624"/>
                </a:lnTo>
                <a:lnTo>
                  <a:pt x="4307" y="5638"/>
                </a:lnTo>
                <a:lnTo>
                  <a:pt x="4298" y="5650"/>
                </a:lnTo>
                <a:lnTo>
                  <a:pt x="4287" y="5661"/>
                </a:lnTo>
                <a:lnTo>
                  <a:pt x="4276" y="5670"/>
                </a:lnTo>
                <a:lnTo>
                  <a:pt x="4264" y="5679"/>
                </a:lnTo>
                <a:lnTo>
                  <a:pt x="4252" y="5686"/>
                </a:lnTo>
                <a:lnTo>
                  <a:pt x="4238" y="5691"/>
                </a:lnTo>
                <a:lnTo>
                  <a:pt x="4224" y="5694"/>
                </a:lnTo>
                <a:lnTo>
                  <a:pt x="4224" y="5694"/>
                </a:lnTo>
                <a:lnTo>
                  <a:pt x="4216" y="5695"/>
                </a:lnTo>
                <a:lnTo>
                  <a:pt x="4208" y="5695"/>
                </a:lnTo>
                <a:lnTo>
                  <a:pt x="4198" y="5694"/>
                </a:lnTo>
                <a:lnTo>
                  <a:pt x="4188" y="5692"/>
                </a:lnTo>
                <a:lnTo>
                  <a:pt x="4168" y="5687"/>
                </a:lnTo>
                <a:lnTo>
                  <a:pt x="4145" y="5679"/>
                </a:lnTo>
                <a:lnTo>
                  <a:pt x="4123" y="5668"/>
                </a:lnTo>
                <a:lnTo>
                  <a:pt x="4099" y="5657"/>
                </a:lnTo>
                <a:lnTo>
                  <a:pt x="4051" y="5635"/>
                </a:lnTo>
                <a:lnTo>
                  <a:pt x="4028" y="5623"/>
                </a:lnTo>
                <a:lnTo>
                  <a:pt x="4005" y="5614"/>
                </a:lnTo>
                <a:lnTo>
                  <a:pt x="3984" y="5607"/>
                </a:lnTo>
                <a:lnTo>
                  <a:pt x="3964" y="5602"/>
                </a:lnTo>
                <a:lnTo>
                  <a:pt x="3955" y="5601"/>
                </a:lnTo>
                <a:lnTo>
                  <a:pt x="3947" y="5600"/>
                </a:lnTo>
                <a:lnTo>
                  <a:pt x="3939" y="5601"/>
                </a:lnTo>
                <a:lnTo>
                  <a:pt x="3932" y="5602"/>
                </a:lnTo>
                <a:lnTo>
                  <a:pt x="3924" y="5605"/>
                </a:lnTo>
                <a:lnTo>
                  <a:pt x="3919" y="5609"/>
                </a:lnTo>
                <a:lnTo>
                  <a:pt x="3914" y="5614"/>
                </a:lnTo>
                <a:lnTo>
                  <a:pt x="3909" y="5620"/>
                </a:lnTo>
                <a:lnTo>
                  <a:pt x="3909" y="5620"/>
                </a:lnTo>
                <a:lnTo>
                  <a:pt x="3905" y="5627"/>
                </a:lnTo>
                <a:lnTo>
                  <a:pt x="3900" y="5635"/>
                </a:lnTo>
                <a:lnTo>
                  <a:pt x="3893" y="5641"/>
                </a:lnTo>
                <a:lnTo>
                  <a:pt x="3886" y="5647"/>
                </a:lnTo>
                <a:lnTo>
                  <a:pt x="3869" y="5658"/>
                </a:lnTo>
                <a:lnTo>
                  <a:pt x="3851" y="5668"/>
                </a:lnTo>
                <a:lnTo>
                  <a:pt x="3810" y="5690"/>
                </a:lnTo>
                <a:lnTo>
                  <a:pt x="3789" y="5701"/>
                </a:lnTo>
                <a:lnTo>
                  <a:pt x="3770" y="5714"/>
                </a:lnTo>
                <a:lnTo>
                  <a:pt x="3761" y="5720"/>
                </a:lnTo>
                <a:lnTo>
                  <a:pt x="3752" y="5729"/>
                </a:lnTo>
                <a:lnTo>
                  <a:pt x="3743" y="5736"/>
                </a:lnTo>
                <a:lnTo>
                  <a:pt x="3735" y="5745"/>
                </a:lnTo>
                <a:lnTo>
                  <a:pt x="3728" y="5754"/>
                </a:lnTo>
                <a:lnTo>
                  <a:pt x="3722" y="5764"/>
                </a:lnTo>
                <a:lnTo>
                  <a:pt x="3717" y="5775"/>
                </a:lnTo>
                <a:lnTo>
                  <a:pt x="3713" y="5787"/>
                </a:lnTo>
                <a:lnTo>
                  <a:pt x="3710" y="5799"/>
                </a:lnTo>
                <a:lnTo>
                  <a:pt x="3708" y="5813"/>
                </a:lnTo>
                <a:lnTo>
                  <a:pt x="3707" y="5827"/>
                </a:lnTo>
                <a:lnTo>
                  <a:pt x="3707" y="5843"/>
                </a:lnTo>
                <a:lnTo>
                  <a:pt x="3709" y="5860"/>
                </a:lnTo>
                <a:lnTo>
                  <a:pt x="3713" y="5877"/>
                </a:lnTo>
                <a:lnTo>
                  <a:pt x="3718" y="5896"/>
                </a:lnTo>
                <a:lnTo>
                  <a:pt x="3724" y="5917"/>
                </a:lnTo>
                <a:lnTo>
                  <a:pt x="3724" y="5917"/>
                </a:lnTo>
                <a:lnTo>
                  <a:pt x="3741" y="5896"/>
                </a:lnTo>
                <a:lnTo>
                  <a:pt x="3759" y="5875"/>
                </a:lnTo>
                <a:lnTo>
                  <a:pt x="3776" y="5856"/>
                </a:lnTo>
                <a:lnTo>
                  <a:pt x="3794" y="5840"/>
                </a:lnTo>
                <a:lnTo>
                  <a:pt x="3802" y="5833"/>
                </a:lnTo>
                <a:lnTo>
                  <a:pt x="3811" y="5827"/>
                </a:lnTo>
                <a:lnTo>
                  <a:pt x="3819" y="5821"/>
                </a:lnTo>
                <a:lnTo>
                  <a:pt x="3827" y="5817"/>
                </a:lnTo>
                <a:lnTo>
                  <a:pt x="3835" y="5815"/>
                </a:lnTo>
                <a:lnTo>
                  <a:pt x="3843" y="5813"/>
                </a:lnTo>
                <a:lnTo>
                  <a:pt x="3850" y="5813"/>
                </a:lnTo>
                <a:lnTo>
                  <a:pt x="3857" y="5815"/>
                </a:lnTo>
                <a:lnTo>
                  <a:pt x="3857" y="5815"/>
                </a:lnTo>
                <a:lnTo>
                  <a:pt x="3861" y="5817"/>
                </a:lnTo>
                <a:lnTo>
                  <a:pt x="3864" y="5819"/>
                </a:lnTo>
                <a:lnTo>
                  <a:pt x="3870" y="5825"/>
                </a:lnTo>
                <a:lnTo>
                  <a:pt x="3875" y="5833"/>
                </a:lnTo>
                <a:lnTo>
                  <a:pt x="3879" y="5841"/>
                </a:lnTo>
                <a:lnTo>
                  <a:pt x="3888" y="5862"/>
                </a:lnTo>
                <a:lnTo>
                  <a:pt x="3894" y="5872"/>
                </a:lnTo>
                <a:lnTo>
                  <a:pt x="3901" y="5882"/>
                </a:lnTo>
                <a:lnTo>
                  <a:pt x="3901" y="5882"/>
                </a:lnTo>
                <a:lnTo>
                  <a:pt x="3904" y="5885"/>
                </a:lnTo>
                <a:lnTo>
                  <a:pt x="3908" y="5887"/>
                </a:lnTo>
                <a:lnTo>
                  <a:pt x="3913" y="5889"/>
                </a:lnTo>
                <a:lnTo>
                  <a:pt x="3919" y="5890"/>
                </a:lnTo>
                <a:lnTo>
                  <a:pt x="3934" y="5892"/>
                </a:lnTo>
                <a:lnTo>
                  <a:pt x="3950" y="5892"/>
                </a:lnTo>
                <a:lnTo>
                  <a:pt x="3968" y="5891"/>
                </a:lnTo>
                <a:lnTo>
                  <a:pt x="3989" y="5889"/>
                </a:lnTo>
                <a:lnTo>
                  <a:pt x="4032" y="5885"/>
                </a:lnTo>
                <a:lnTo>
                  <a:pt x="4074" y="5881"/>
                </a:lnTo>
                <a:lnTo>
                  <a:pt x="4093" y="5879"/>
                </a:lnTo>
                <a:lnTo>
                  <a:pt x="4110" y="5879"/>
                </a:lnTo>
                <a:lnTo>
                  <a:pt x="4126" y="5879"/>
                </a:lnTo>
                <a:lnTo>
                  <a:pt x="4137" y="5881"/>
                </a:lnTo>
                <a:lnTo>
                  <a:pt x="4142" y="5883"/>
                </a:lnTo>
                <a:lnTo>
                  <a:pt x="4146" y="5885"/>
                </a:lnTo>
                <a:lnTo>
                  <a:pt x="4148" y="5887"/>
                </a:lnTo>
                <a:lnTo>
                  <a:pt x="4150" y="5890"/>
                </a:lnTo>
                <a:lnTo>
                  <a:pt x="4150" y="5890"/>
                </a:lnTo>
                <a:lnTo>
                  <a:pt x="4151" y="5893"/>
                </a:lnTo>
                <a:lnTo>
                  <a:pt x="4150" y="5896"/>
                </a:lnTo>
                <a:lnTo>
                  <a:pt x="4149" y="5898"/>
                </a:lnTo>
                <a:lnTo>
                  <a:pt x="4148" y="5900"/>
                </a:lnTo>
                <a:lnTo>
                  <a:pt x="4143" y="5904"/>
                </a:lnTo>
                <a:lnTo>
                  <a:pt x="4136" y="5905"/>
                </a:lnTo>
                <a:lnTo>
                  <a:pt x="4118" y="5908"/>
                </a:lnTo>
                <a:lnTo>
                  <a:pt x="4100" y="5910"/>
                </a:lnTo>
                <a:lnTo>
                  <a:pt x="4100" y="5910"/>
                </a:lnTo>
                <a:lnTo>
                  <a:pt x="4021" y="5924"/>
                </a:lnTo>
                <a:lnTo>
                  <a:pt x="3981" y="5931"/>
                </a:lnTo>
                <a:lnTo>
                  <a:pt x="3943" y="5939"/>
                </a:lnTo>
                <a:lnTo>
                  <a:pt x="3925" y="5944"/>
                </a:lnTo>
                <a:lnTo>
                  <a:pt x="3909" y="5950"/>
                </a:lnTo>
                <a:lnTo>
                  <a:pt x="3894" y="5956"/>
                </a:lnTo>
                <a:lnTo>
                  <a:pt x="3881" y="5962"/>
                </a:lnTo>
                <a:lnTo>
                  <a:pt x="3869" y="5968"/>
                </a:lnTo>
                <a:lnTo>
                  <a:pt x="3860" y="5976"/>
                </a:lnTo>
                <a:lnTo>
                  <a:pt x="3853" y="5984"/>
                </a:lnTo>
                <a:lnTo>
                  <a:pt x="3850" y="5988"/>
                </a:lnTo>
                <a:lnTo>
                  <a:pt x="3848" y="5993"/>
                </a:lnTo>
                <a:lnTo>
                  <a:pt x="3848" y="5993"/>
                </a:lnTo>
                <a:lnTo>
                  <a:pt x="3846" y="6000"/>
                </a:lnTo>
                <a:lnTo>
                  <a:pt x="3846" y="6004"/>
                </a:lnTo>
                <a:lnTo>
                  <a:pt x="3847" y="6014"/>
                </a:lnTo>
                <a:lnTo>
                  <a:pt x="3847" y="6019"/>
                </a:lnTo>
                <a:lnTo>
                  <a:pt x="3846" y="6025"/>
                </a:lnTo>
                <a:lnTo>
                  <a:pt x="3845" y="6033"/>
                </a:lnTo>
                <a:lnTo>
                  <a:pt x="3842" y="6044"/>
                </a:lnTo>
                <a:lnTo>
                  <a:pt x="3842" y="6044"/>
                </a:lnTo>
                <a:lnTo>
                  <a:pt x="3837" y="6055"/>
                </a:lnTo>
                <a:lnTo>
                  <a:pt x="3831" y="6064"/>
                </a:lnTo>
                <a:lnTo>
                  <a:pt x="3823" y="6072"/>
                </a:lnTo>
                <a:lnTo>
                  <a:pt x="3815" y="6080"/>
                </a:lnTo>
                <a:lnTo>
                  <a:pt x="3796" y="6096"/>
                </a:lnTo>
                <a:lnTo>
                  <a:pt x="3786" y="6104"/>
                </a:lnTo>
                <a:lnTo>
                  <a:pt x="3776" y="6113"/>
                </a:lnTo>
                <a:lnTo>
                  <a:pt x="3767" y="6122"/>
                </a:lnTo>
                <a:lnTo>
                  <a:pt x="3758" y="6134"/>
                </a:lnTo>
                <a:lnTo>
                  <a:pt x="3750" y="6147"/>
                </a:lnTo>
                <a:lnTo>
                  <a:pt x="3742" y="6161"/>
                </a:lnTo>
                <a:lnTo>
                  <a:pt x="3736" y="6179"/>
                </a:lnTo>
                <a:lnTo>
                  <a:pt x="3732" y="6198"/>
                </a:lnTo>
                <a:lnTo>
                  <a:pt x="3730" y="6220"/>
                </a:lnTo>
                <a:lnTo>
                  <a:pt x="3730" y="6246"/>
                </a:lnTo>
                <a:lnTo>
                  <a:pt x="3730" y="6246"/>
                </a:lnTo>
                <a:lnTo>
                  <a:pt x="3732" y="6259"/>
                </a:lnTo>
                <a:lnTo>
                  <a:pt x="3735" y="6272"/>
                </a:lnTo>
                <a:lnTo>
                  <a:pt x="3739" y="6284"/>
                </a:lnTo>
                <a:lnTo>
                  <a:pt x="3744" y="6296"/>
                </a:lnTo>
                <a:lnTo>
                  <a:pt x="3751" y="6306"/>
                </a:lnTo>
                <a:lnTo>
                  <a:pt x="3757" y="6318"/>
                </a:lnTo>
                <a:lnTo>
                  <a:pt x="3763" y="6327"/>
                </a:lnTo>
                <a:lnTo>
                  <a:pt x="3770" y="6336"/>
                </a:lnTo>
                <a:lnTo>
                  <a:pt x="3784" y="6351"/>
                </a:lnTo>
                <a:lnTo>
                  <a:pt x="3797" y="6363"/>
                </a:lnTo>
                <a:lnTo>
                  <a:pt x="3807" y="6370"/>
                </a:lnTo>
                <a:lnTo>
                  <a:pt x="3810" y="6372"/>
                </a:lnTo>
                <a:lnTo>
                  <a:pt x="3813" y="6373"/>
                </a:lnTo>
                <a:lnTo>
                  <a:pt x="3813" y="6373"/>
                </a:lnTo>
                <a:lnTo>
                  <a:pt x="3814" y="6372"/>
                </a:lnTo>
                <a:lnTo>
                  <a:pt x="3815" y="6371"/>
                </a:lnTo>
                <a:lnTo>
                  <a:pt x="3816" y="6366"/>
                </a:lnTo>
                <a:lnTo>
                  <a:pt x="3818" y="6358"/>
                </a:lnTo>
                <a:lnTo>
                  <a:pt x="3818" y="6348"/>
                </a:lnTo>
                <a:lnTo>
                  <a:pt x="3820" y="6324"/>
                </a:lnTo>
                <a:lnTo>
                  <a:pt x="3823" y="6295"/>
                </a:lnTo>
                <a:lnTo>
                  <a:pt x="3825" y="6281"/>
                </a:lnTo>
                <a:lnTo>
                  <a:pt x="3828" y="6265"/>
                </a:lnTo>
                <a:lnTo>
                  <a:pt x="3831" y="6252"/>
                </a:lnTo>
                <a:lnTo>
                  <a:pt x="3836" y="6239"/>
                </a:lnTo>
                <a:lnTo>
                  <a:pt x="3843" y="6228"/>
                </a:lnTo>
                <a:lnTo>
                  <a:pt x="3847" y="6224"/>
                </a:lnTo>
                <a:lnTo>
                  <a:pt x="3851" y="6218"/>
                </a:lnTo>
                <a:lnTo>
                  <a:pt x="3855" y="6215"/>
                </a:lnTo>
                <a:lnTo>
                  <a:pt x="3860" y="6212"/>
                </a:lnTo>
                <a:lnTo>
                  <a:pt x="3865" y="6209"/>
                </a:lnTo>
                <a:lnTo>
                  <a:pt x="3871" y="6208"/>
                </a:lnTo>
                <a:lnTo>
                  <a:pt x="3871" y="6208"/>
                </a:lnTo>
                <a:lnTo>
                  <a:pt x="3877" y="6207"/>
                </a:lnTo>
                <a:lnTo>
                  <a:pt x="3882" y="6208"/>
                </a:lnTo>
                <a:lnTo>
                  <a:pt x="3888" y="6210"/>
                </a:lnTo>
                <a:lnTo>
                  <a:pt x="3892" y="6214"/>
                </a:lnTo>
                <a:lnTo>
                  <a:pt x="3902" y="6223"/>
                </a:lnTo>
                <a:lnTo>
                  <a:pt x="3911" y="6233"/>
                </a:lnTo>
                <a:lnTo>
                  <a:pt x="3921" y="6243"/>
                </a:lnTo>
                <a:lnTo>
                  <a:pt x="3926" y="6248"/>
                </a:lnTo>
                <a:lnTo>
                  <a:pt x="3933" y="6252"/>
                </a:lnTo>
                <a:lnTo>
                  <a:pt x="3940" y="6256"/>
                </a:lnTo>
                <a:lnTo>
                  <a:pt x="3946" y="6259"/>
                </a:lnTo>
                <a:lnTo>
                  <a:pt x="3954" y="6260"/>
                </a:lnTo>
                <a:lnTo>
                  <a:pt x="3962" y="6261"/>
                </a:lnTo>
                <a:lnTo>
                  <a:pt x="3962" y="6261"/>
                </a:lnTo>
                <a:lnTo>
                  <a:pt x="3970" y="6260"/>
                </a:lnTo>
                <a:lnTo>
                  <a:pt x="3979" y="6257"/>
                </a:lnTo>
                <a:lnTo>
                  <a:pt x="3987" y="6254"/>
                </a:lnTo>
                <a:lnTo>
                  <a:pt x="3996" y="6250"/>
                </a:lnTo>
                <a:lnTo>
                  <a:pt x="4005" y="6244"/>
                </a:lnTo>
                <a:lnTo>
                  <a:pt x="4014" y="6238"/>
                </a:lnTo>
                <a:lnTo>
                  <a:pt x="4035" y="6221"/>
                </a:lnTo>
                <a:lnTo>
                  <a:pt x="4055" y="6204"/>
                </a:lnTo>
                <a:lnTo>
                  <a:pt x="4077" y="6184"/>
                </a:lnTo>
                <a:lnTo>
                  <a:pt x="4122" y="6141"/>
                </a:lnTo>
                <a:lnTo>
                  <a:pt x="4144" y="6119"/>
                </a:lnTo>
                <a:lnTo>
                  <a:pt x="4166" y="6099"/>
                </a:lnTo>
                <a:lnTo>
                  <a:pt x="4187" y="6079"/>
                </a:lnTo>
                <a:lnTo>
                  <a:pt x="4208" y="6064"/>
                </a:lnTo>
                <a:lnTo>
                  <a:pt x="4227" y="6051"/>
                </a:lnTo>
                <a:lnTo>
                  <a:pt x="4236" y="6046"/>
                </a:lnTo>
                <a:lnTo>
                  <a:pt x="4245" y="6042"/>
                </a:lnTo>
                <a:lnTo>
                  <a:pt x="4254" y="6038"/>
                </a:lnTo>
                <a:lnTo>
                  <a:pt x="4262" y="6036"/>
                </a:lnTo>
                <a:lnTo>
                  <a:pt x="4270" y="6036"/>
                </a:lnTo>
                <a:lnTo>
                  <a:pt x="4277" y="6037"/>
                </a:lnTo>
                <a:lnTo>
                  <a:pt x="4277" y="6037"/>
                </a:lnTo>
                <a:lnTo>
                  <a:pt x="4278" y="6038"/>
                </a:lnTo>
                <a:lnTo>
                  <a:pt x="4279" y="6041"/>
                </a:lnTo>
                <a:lnTo>
                  <a:pt x="4278" y="6044"/>
                </a:lnTo>
                <a:lnTo>
                  <a:pt x="4277" y="6046"/>
                </a:lnTo>
                <a:lnTo>
                  <a:pt x="4272" y="6053"/>
                </a:lnTo>
                <a:lnTo>
                  <a:pt x="4264" y="6061"/>
                </a:lnTo>
                <a:lnTo>
                  <a:pt x="4241" y="6082"/>
                </a:lnTo>
                <a:lnTo>
                  <a:pt x="4212" y="6109"/>
                </a:lnTo>
                <a:lnTo>
                  <a:pt x="4181" y="6139"/>
                </a:lnTo>
                <a:lnTo>
                  <a:pt x="4167" y="6154"/>
                </a:lnTo>
                <a:lnTo>
                  <a:pt x="4152" y="6170"/>
                </a:lnTo>
                <a:lnTo>
                  <a:pt x="4140" y="6187"/>
                </a:lnTo>
                <a:lnTo>
                  <a:pt x="4129" y="6204"/>
                </a:lnTo>
                <a:lnTo>
                  <a:pt x="4121" y="6220"/>
                </a:lnTo>
                <a:lnTo>
                  <a:pt x="4118" y="6229"/>
                </a:lnTo>
                <a:lnTo>
                  <a:pt x="4116" y="6238"/>
                </a:lnTo>
                <a:lnTo>
                  <a:pt x="4116" y="6238"/>
                </a:lnTo>
                <a:lnTo>
                  <a:pt x="4114" y="6250"/>
                </a:lnTo>
                <a:lnTo>
                  <a:pt x="4114" y="6261"/>
                </a:lnTo>
                <a:lnTo>
                  <a:pt x="4115" y="6273"/>
                </a:lnTo>
                <a:lnTo>
                  <a:pt x="4119" y="6282"/>
                </a:lnTo>
                <a:lnTo>
                  <a:pt x="4123" y="6290"/>
                </a:lnTo>
                <a:lnTo>
                  <a:pt x="4129" y="6298"/>
                </a:lnTo>
                <a:lnTo>
                  <a:pt x="4135" y="6305"/>
                </a:lnTo>
                <a:lnTo>
                  <a:pt x="4142" y="6311"/>
                </a:lnTo>
                <a:lnTo>
                  <a:pt x="4157" y="6325"/>
                </a:lnTo>
                <a:lnTo>
                  <a:pt x="4163" y="6331"/>
                </a:lnTo>
                <a:lnTo>
                  <a:pt x="4169" y="6338"/>
                </a:lnTo>
                <a:lnTo>
                  <a:pt x="4175" y="6345"/>
                </a:lnTo>
                <a:lnTo>
                  <a:pt x="4179" y="6352"/>
                </a:lnTo>
                <a:lnTo>
                  <a:pt x="4182" y="6361"/>
                </a:lnTo>
                <a:lnTo>
                  <a:pt x="4183" y="6370"/>
                </a:lnTo>
                <a:lnTo>
                  <a:pt x="4183" y="6370"/>
                </a:lnTo>
                <a:lnTo>
                  <a:pt x="4184" y="6380"/>
                </a:lnTo>
                <a:lnTo>
                  <a:pt x="4186" y="6391"/>
                </a:lnTo>
                <a:lnTo>
                  <a:pt x="4189" y="6400"/>
                </a:lnTo>
                <a:lnTo>
                  <a:pt x="4193" y="6411"/>
                </a:lnTo>
                <a:lnTo>
                  <a:pt x="4198" y="6420"/>
                </a:lnTo>
                <a:lnTo>
                  <a:pt x="4205" y="6429"/>
                </a:lnTo>
                <a:lnTo>
                  <a:pt x="4212" y="6437"/>
                </a:lnTo>
                <a:lnTo>
                  <a:pt x="4220" y="6445"/>
                </a:lnTo>
                <a:lnTo>
                  <a:pt x="4228" y="6454"/>
                </a:lnTo>
                <a:lnTo>
                  <a:pt x="4237" y="6461"/>
                </a:lnTo>
                <a:lnTo>
                  <a:pt x="4257" y="6474"/>
                </a:lnTo>
                <a:lnTo>
                  <a:pt x="4278" y="6486"/>
                </a:lnTo>
                <a:lnTo>
                  <a:pt x="4300" y="6497"/>
                </a:lnTo>
                <a:lnTo>
                  <a:pt x="4322" y="6506"/>
                </a:lnTo>
                <a:lnTo>
                  <a:pt x="4344" y="6514"/>
                </a:lnTo>
                <a:lnTo>
                  <a:pt x="4364" y="6519"/>
                </a:lnTo>
                <a:lnTo>
                  <a:pt x="4382" y="6524"/>
                </a:lnTo>
                <a:lnTo>
                  <a:pt x="4399" y="6526"/>
                </a:lnTo>
                <a:lnTo>
                  <a:pt x="4412" y="6527"/>
                </a:lnTo>
                <a:lnTo>
                  <a:pt x="4421" y="6527"/>
                </a:lnTo>
                <a:lnTo>
                  <a:pt x="4424" y="6526"/>
                </a:lnTo>
                <a:lnTo>
                  <a:pt x="4426" y="6525"/>
                </a:lnTo>
                <a:lnTo>
                  <a:pt x="4426" y="6525"/>
                </a:lnTo>
                <a:lnTo>
                  <a:pt x="4427" y="6523"/>
                </a:lnTo>
                <a:lnTo>
                  <a:pt x="4427" y="6521"/>
                </a:lnTo>
                <a:lnTo>
                  <a:pt x="4425" y="6515"/>
                </a:lnTo>
                <a:lnTo>
                  <a:pt x="4420" y="6508"/>
                </a:lnTo>
                <a:lnTo>
                  <a:pt x="4412" y="6498"/>
                </a:lnTo>
                <a:lnTo>
                  <a:pt x="4393" y="6475"/>
                </a:lnTo>
                <a:lnTo>
                  <a:pt x="4369" y="6448"/>
                </a:lnTo>
                <a:lnTo>
                  <a:pt x="4358" y="6435"/>
                </a:lnTo>
                <a:lnTo>
                  <a:pt x="4348" y="6421"/>
                </a:lnTo>
                <a:lnTo>
                  <a:pt x="4339" y="6407"/>
                </a:lnTo>
                <a:lnTo>
                  <a:pt x="4330" y="6393"/>
                </a:lnTo>
                <a:lnTo>
                  <a:pt x="4325" y="6380"/>
                </a:lnTo>
                <a:lnTo>
                  <a:pt x="4324" y="6374"/>
                </a:lnTo>
                <a:lnTo>
                  <a:pt x="4323" y="6368"/>
                </a:lnTo>
                <a:lnTo>
                  <a:pt x="4323" y="6362"/>
                </a:lnTo>
                <a:lnTo>
                  <a:pt x="4324" y="6356"/>
                </a:lnTo>
                <a:lnTo>
                  <a:pt x="4326" y="6351"/>
                </a:lnTo>
                <a:lnTo>
                  <a:pt x="4329" y="6346"/>
                </a:lnTo>
                <a:lnTo>
                  <a:pt x="4329" y="6346"/>
                </a:lnTo>
                <a:lnTo>
                  <a:pt x="4333" y="6342"/>
                </a:lnTo>
                <a:lnTo>
                  <a:pt x="4337" y="6339"/>
                </a:lnTo>
                <a:lnTo>
                  <a:pt x="4343" y="6338"/>
                </a:lnTo>
                <a:lnTo>
                  <a:pt x="4347" y="6337"/>
                </a:lnTo>
                <a:lnTo>
                  <a:pt x="4352" y="6337"/>
                </a:lnTo>
                <a:lnTo>
                  <a:pt x="4358" y="6338"/>
                </a:lnTo>
                <a:lnTo>
                  <a:pt x="4370" y="6340"/>
                </a:lnTo>
                <a:lnTo>
                  <a:pt x="4384" y="6343"/>
                </a:lnTo>
                <a:lnTo>
                  <a:pt x="4392" y="6344"/>
                </a:lnTo>
                <a:lnTo>
                  <a:pt x="4399" y="6344"/>
                </a:lnTo>
                <a:lnTo>
                  <a:pt x="4408" y="6344"/>
                </a:lnTo>
                <a:lnTo>
                  <a:pt x="4416" y="6343"/>
                </a:lnTo>
                <a:lnTo>
                  <a:pt x="4425" y="6341"/>
                </a:lnTo>
                <a:lnTo>
                  <a:pt x="4436" y="6337"/>
                </a:lnTo>
                <a:lnTo>
                  <a:pt x="4436" y="6337"/>
                </a:lnTo>
                <a:lnTo>
                  <a:pt x="4437" y="6335"/>
                </a:lnTo>
                <a:lnTo>
                  <a:pt x="4438" y="6332"/>
                </a:lnTo>
                <a:lnTo>
                  <a:pt x="4438" y="6325"/>
                </a:lnTo>
                <a:lnTo>
                  <a:pt x="4436" y="6314"/>
                </a:lnTo>
                <a:lnTo>
                  <a:pt x="4434" y="6299"/>
                </a:lnTo>
                <a:lnTo>
                  <a:pt x="4431" y="6283"/>
                </a:lnTo>
                <a:lnTo>
                  <a:pt x="4428" y="6264"/>
                </a:lnTo>
                <a:lnTo>
                  <a:pt x="4426" y="6243"/>
                </a:lnTo>
                <a:lnTo>
                  <a:pt x="4426" y="6219"/>
                </a:lnTo>
                <a:lnTo>
                  <a:pt x="4428" y="6195"/>
                </a:lnTo>
                <a:lnTo>
                  <a:pt x="4431" y="6182"/>
                </a:lnTo>
                <a:lnTo>
                  <a:pt x="4434" y="6167"/>
                </a:lnTo>
                <a:lnTo>
                  <a:pt x="4437" y="6154"/>
                </a:lnTo>
                <a:lnTo>
                  <a:pt x="4441" y="6139"/>
                </a:lnTo>
                <a:lnTo>
                  <a:pt x="4446" y="6124"/>
                </a:lnTo>
                <a:lnTo>
                  <a:pt x="4453" y="6109"/>
                </a:lnTo>
                <a:lnTo>
                  <a:pt x="4460" y="6094"/>
                </a:lnTo>
                <a:lnTo>
                  <a:pt x="4469" y="6078"/>
                </a:lnTo>
                <a:lnTo>
                  <a:pt x="4479" y="6062"/>
                </a:lnTo>
                <a:lnTo>
                  <a:pt x="4490" y="6046"/>
                </a:lnTo>
                <a:lnTo>
                  <a:pt x="4503" y="6029"/>
                </a:lnTo>
                <a:lnTo>
                  <a:pt x="4516" y="6013"/>
                </a:lnTo>
                <a:lnTo>
                  <a:pt x="4533" y="5996"/>
                </a:lnTo>
                <a:lnTo>
                  <a:pt x="4550" y="5979"/>
                </a:lnTo>
                <a:lnTo>
                  <a:pt x="4550" y="5979"/>
                </a:lnTo>
                <a:lnTo>
                  <a:pt x="4557" y="5990"/>
                </a:lnTo>
                <a:lnTo>
                  <a:pt x="4566" y="6002"/>
                </a:lnTo>
                <a:lnTo>
                  <a:pt x="4578" y="6015"/>
                </a:lnTo>
                <a:lnTo>
                  <a:pt x="4586" y="6022"/>
                </a:lnTo>
                <a:lnTo>
                  <a:pt x="4594" y="6029"/>
                </a:lnTo>
                <a:lnTo>
                  <a:pt x="4603" y="6035"/>
                </a:lnTo>
                <a:lnTo>
                  <a:pt x="4614" y="6043"/>
                </a:lnTo>
                <a:lnTo>
                  <a:pt x="4624" y="6048"/>
                </a:lnTo>
                <a:lnTo>
                  <a:pt x="4636" y="6052"/>
                </a:lnTo>
                <a:lnTo>
                  <a:pt x="4648" y="6056"/>
                </a:lnTo>
                <a:lnTo>
                  <a:pt x="4662" y="6058"/>
                </a:lnTo>
                <a:lnTo>
                  <a:pt x="4662" y="6058"/>
                </a:lnTo>
                <a:lnTo>
                  <a:pt x="4668" y="6059"/>
                </a:lnTo>
                <a:lnTo>
                  <a:pt x="4673" y="6061"/>
                </a:lnTo>
                <a:lnTo>
                  <a:pt x="4677" y="6064"/>
                </a:lnTo>
                <a:lnTo>
                  <a:pt x="4681" y="6067"/>
                </a:lnTo>
                <a:lnTo>
                  <a:pt x="4685" y="6071"/>
                </a:lnTo>
                <a:lnTo>
                  <a:pt x="4688" y="6075"/>
                </a:lnTo>
                <a:lnTo>
                  <a:pt x="4692" y="6087"/>
                </a:lnTo>
                <a:lnTo>
                  <a:pt x="4696" y="6099"/>
                </a:lnTo>
                <a:lnTo>
                  <a:pt x="4698" y="6112"/>
                </a:lnTo>
                <a:lnTo>
                  <a:pt x="4698" y="6125"/>
                </a:lnTo>
                <a:lnTo>
                  <a:pt x="4698" y="6140"/>
                </a:lnTo>
                <a:lnTo>
                  <a:pt x="4696" y="6168"/>
                </a:lnTo>
                <a:lnTo>
                  <a:pt x="4694" y="6193"/>
                </a:lnTo>
                <a:lnTo>
                  <a:pt x="4692" y="6210"/>
                </a:lnTo>
                <a:lnTo>
                  <a:pt x="4692" y="6215"/>
                </a:lnTo>
                <a:lnTo>
                  <a:pt x="4693" y="6216"/>
                </a:lnTo>
                <a:lnTo>
                  <a:pt x="4694" y="6216"/>
                </a:lnTo>
                <a:lnTo>
                  <a:pt x="4694" y="6216"/>
                </a:lnTo>
                <a:lnTo>
                  <a:pt x="4697" y="6215"/>
                </a:lnTo>
                <a:lnTo>
                  <a:pt x="4702" y="6212"/>
                </a:lnTo>
                <a:lnTo>
                  <a:pt x="4708" y="6207"/>
                </a:lnTo>
                <a:lnTo>
                  <a:pt x="4714" y="6200"/>
                </a:lnTo>
                <a:lnTo>
                  <a:pt x="4721" y="6191"/>
                </a:lnTo>
                <a:lnTo>
                  <a:pt x="4729" y="6181"/>
                </a:lnTo>
                <a:lnTo>
                  <a:pt x="4736" y="6167"/>
                </a:lnTo>
                <a:lnTo>
                  <a:pt x="4743" y="6154"/>
                </a:lnTo>
                <a:lnTo>
                  <a:pt x="4751" y="6139"/>
                </a:lnTo>
                <a:lnTo>
                  <a:pt x="4758" y="6121"/>
                </a:lnTo>
                <a:lnTo>
                  <a:pt x="4763" y="6104"/>
                </a:lnTo>
                <a:lnTo>
                  <a:pt x="4768" y="6084"/>
                </a:lnTo>
                <a:lnTo>
                  <a:pt x="4771" y="6064"/>
                </a:lnTo>
                <a:lnTo>
                  <a:pt x="4773" y="6044"/>
                </a:lnTo>
                <a:lnTo>
                  <a:pt x="4772" y="6022"/>
                </a:lnTo>
                <a:lnTo>
                  <a:pt x="4770" y="6000"/>
                </a:lnTo>
                <a:lnTo>
                  <a:pt x="4770" y="6000"/>
                </a:lnTo>
                <a:lnTo>
                  <a:pt x="4778" y="5992"/>
                </a:lnTo>
                <a:lnTo>
                  <a:pt x="4798" y="5975"/>
                </a:lnTo>
                <a:lnTo>
                  <a:pt x="4809" y="5964"/>
                </a:lnTo>
                <a:lnTo>
                  <a:pt x="4819" y="5952"/>
                </a:lnTo>
                <a:lnTo>
                  <a:pt x="4827" y="5938"/>
                </a:lnTo>
                <a:lnTo>
                  <a:pt x="4830" y="5932"/>
                </a:lnTo>
                <a:lnTo>
                  <a:pt x="4832" y="5926"/>
                </a:lnTo>
                <a:lnTo>
                  <a:pt x="4832" y="5926"/>
                </a:lnTo>
                <a:lnTo>
                  <a:pt x="4834" y="5917"/>
                </a:lnTo>
                <a:lnTo>
                  <a:pt x="4835" y="5908"/>
                </a:lnTo>
                <a:lnTo>
                  <a:pt x="4836" y="5899"/>
                </a:lnTo>
                <a:lnTo>
                  <a:pt x="4835" y="5892"/>
                </a:lnTo>
                <a:lnTo>
                  <a:pt x="4834" y="5886"/>
                </a:lnTo>
                <a:lnTo>
                  <a:pt x="4832" y="5880"/>
                </a:lnTo>
                <a:lnTo>
                  <a:pt x="4830" y="5875"/>
                </a:lnTo>
                <a:lnTo>
                  <a:pt x="4827" y="5870"/>
                </a:lnTo>
                <a:lnTo>
                  <a:pt x="4819" y="5861"/>
                </a:lnTo>
                <a:lnTo>
                  <a:pt x="4810" y="5851"/>
                </a:lnTo>
                <a:lnTo>
                  <a:pt x="4800" y="5842"/>
                </a:lnTo>
                <a:lnTo>
                  <a:pt x="4789" y="5831"/>
                </a:lnTo>
                <a:lnTo>
                  <a:pt x="4778" y="5818"/>
                </a:lnTo>
                <a:lnTo>
                  <a:pt x="4772" y="5810"/>
                </a:lnTo>
                <a:lnTo>
                  <a:pt x="4767" y="5801"/>
                </a:lnTo>
                <a:lnTo>
                  <a:pt x="4762" y="5792"/>
                </a:lnTo>
                <a:lnTo>
                  <a:pt x="4757" y="5782"/>
                </a:lnTo>
                <a:lnTo>
                  <a:pt x="4753" y="5770"/>
                </a:lnTo>
                <a:lnTo>
                  <a:pt x="4749" y="5757"/>
                </a:lnTo>
                <a:lnTo>
                  <a:pt x="4744" y="5743"/>
                </a:lnTo>
                <a:lnTo>
                  <a:pt x="4741" y="5727"/>
                </a:lnTo>
                <a:lnTo>
                  <a:pt x="4738" y="5710"/>
                </a:lnTo>
                <a:lnTo>
                  <a:pt x="4736" y="5691"/>
                </a:lnTo>
                <a:lnTo>
                  <a:pt x="4735" y="5670"/>
                </a:lnTo>
                <a:lnTo>
                  <a:pt x="4734" y="5648"/>
                </a:lnTo>
                <a:lnTo>
                  <a:pt x="4734" y="5623"/>
                </a:lnTo>
                <a:lnTo>
                  <a:pt x="4735" y="5597"/>
                </a:lnTo>
                <a:lnTo>
                  <a:pt x="4735" y="5597"/>
                </a:lnTo>
                <a:lnTo>
                  <a:pt x="4735" y="5579"/>
                </a:lnTo>
                <a:lnTo>
                  <a:pt x="4734" y="5573"/>
                </a:lnTo>
                <a:lnTo>
                  <a:pt x="4733" y="5568"/>
                </a:lnTo>
                <a:lnTo>
                  <a:pt x="4731" y="5563"/>
                </a:lnTo>
                <a:lnTo>
                  <a:pt x="4729" y="5559"/>
                </a:lnTo>
                <a:lnTo>
                  <a:pt x="4727" y="5556"/>
                </a:lnTo>
                <a:lnTo>
                  <a:pt x="4724" y="5553"/>
                </a:lnTo>
                <a:lnTo>
                  <a:pt x="4716" y="5547"/>
                </a:lnTo>
                <a:lnTo>
                  <a:pt x="4706" y="5540"/>
                </a:lnTo>
                <a:lnTo>
                  <a:pt x="4693" y="5530"/>
                </a:lnTo>
                <a:lnTo>
                  <a:pt x="4679" y="5518"/>
                </a:lnTo>
                <a:lnTo>
                  <a:pt x="4679" y="5518"/>
                </a:lnTo>
                <a:lnTo>
                  <a:pt x="4671" y="5508"/>
                </a:lnTo>
                <a:lnTo>
                  <a:pt x="4664" y="5498"/>
                </a:lnTo>
                <a:lnTo>
                  <a:pt x="4659" y="5487"/>
                </a:lnTo>
                <a:lnTo>
                  <a:pt x="4655" y="5477"/>
                </a:lnTo>
                <a:lnTo>
                  <a:pt x="4654" y="5469"/>
                </a:lnTo>
                <a:lnTo>
                  <a:pt x="4654" y="5466"/>
                </a:lnTo>
                <a:lnTo>
                  <a:pt x="4654" y="5464"/>
                </a:lnTo>
                <a:lnTo>
                  <a:pt x="4657" y="5462"/>
                </a:lnTo>
                <a:lnTo>
                  <a:pt x="4659" y="5461"/>
                </a:lnTo>
                <a:lnTo>
                  <a:pt x="4661" y="5461"/>
                </a:lnTo>
                <a:lnTo>
                  <a:pt x="4665" y="5462"/>
                </a:lnTo>
                <a:lnTo>
                  <a:pt x="4665" y="5462"/>
                </a:lnTo>
                <a:lnTo>
                  <a:pt x="4679" y="5468"/>
                </a:lnTo>
                <a:lnTo>
                  <a:pt x="4693" y="5472"/>
                </a:lnTo>
                <a:lnTo>
                  <a:pt x="4708" y="5475"/>
                </a:lnTo>
                <a:lnTo>
                  <a:pt x="4723" y="5476"/>
                </a:lnTo>
                <a:lnTo>
                  <a:pt x="4737" y="5477"/>
                </a:lnTo>
                <a:lnTo>
                  <a:pt x="4752" y="5478"/>
                </a:lnTo>
                <a:lnTo>
                  <a:pt x="4765" y="5477"/>
                </a:lnTo>
                <a:lnTo>
                  <a:pt x="4778" y="5476"/>
                </a:lnTo>
                <a:lnTo>
                  <a:pt x="4802" y="5473"/>
                </a:lnTo>
                <a:lnTo>
                  <a:pt x="4819" y="5469"/>
                </a:lnTo>
                <a:lnTo>
                  <a:pt x="4835" y="5465"/>
                </a:lnTo>
                <a:lnTo>
                  <a:pt x="4835" y="5465"/>
                </a:lnTo>
                <a:lnTo>
                  <a:pt x="4844" y="5369"/>
                </a:lnTo>
                <a:lnTo>
                  <a:pt x="4849" y="5294"/>
                </a:lnTo>
                <a:lnTo>
                  <a:pt x="4851" y="5239"/>
                </a:lnTo>
                <a:lnTo>
                  <a:pt x="4851" y="5201"/>
                </a:lnTo>
                <a:lnTo>
                  <a:pt x="4849" y="5176"/>
                </a:lnTo>
                <a:lnTo>
                  <a:pt x="4847" y="5161"/>
                </a:lnTo>
                <a:lnTo>
                  <a:pt x="4845" y="5155"/>
                </a:lnTo>
                <a:lnTo>
                  <a:pt x="4844" y="5153"/>
                </a:lnTo>
                <a:lnTo>
                  <a:pt x="4844" y="5153"/>
                </a:lnTo>
                <a:lnTo>
                  <a:pt x="4825" y="5154"/>
                </a:lnTo>
                <a:lnTo>
                  <a:pt x="4808" y="5153"/>
                </a:lnTo>
                <a:lnTo>
                  <a:pt x="4791" y="5152"/>
                </a:lnTo>
                <a:lnTo>
                  <a:pt x="4776" y="5151"/>
                </a:lnTo>
                <a:lnTo>
                  <a:pt x="4763" y="5149"/>
                </a:lnTo>
                <a:lnTo>
                  <a:pt x="4750" y="5146"/>
                </a:lnTo>
                <a:lnTo>
                  <a:pt x="4737" y="5143"/>
                </a:lnTo>
                <a:lnTo>
                  <a:pt x="4726" y="5139"/>
                </a:lnTo>
                <a:lnTo>
                  <a:pt x="4716" y="5135"/>
                </a:lnTo>
                <a:lnTo>
                  <a:pt x="4707" y="5131"/>
                </a:lnTo>
                <a:lnTo>
                  <a:pt x="4698" y="5125"/>
                </a:lnTo>
                <a:lnTo>
                  <a:pt x="4690" y="5120"/>
                </a:lnTo>
                <a:lnTo>
                  <a:pt x="4683" y="5114"/>
                </a:lnTo>
                <a:lnTo>
                  <a:pt x="4676" y="5109"/>
                </a:lnTo>
                <a:lnTo>
                  <a:pt x="4665" y="5096"/>
                </a:lnTo>
                <a:lnTo>
                  <a:pt x="4665" y="5096"/>
                </a:lnTo>
                <a:lnTo>
                  <a:pt x="4677" y="5099"/>
                </a:lnTo>
                <a:lnTo>
                  <a:pt x="4690" y="5101"/>
                </a:lnTo>
                <a:lnTo>
                  <a:pt x="4717" y="5103"/>
                </a:lnTo>
                <a:lnTo>
                  <a:pt x="4742" y="5103"/>
                </a:lnTo>
                <a:lnTo>
                  <a:pt x="4768" y="5101"/>
                </a:lnTo>
                <a:lnTo>
                  <a:pt x="4790" y="5097"/>
                </a:lnTo>
                <a:lnTo>
                  <a:pt x="4812" y="5091"/>
                </a:lnTo>
                <a:lnTo>
                  <a:pt x="4821" y="5088"/>
                </a:lnTo>
                <a:lnTo>
                  <a:pt x="4829" y="5084"/>
                </a:lnTo>
                <a:lnTo>
                  <a:pt x="4838" y="5078"/>
                </a:lnTo>
                <a:lnTo>
                  <a:pt x="4844" y="5074"/>
                </a:lnTo>
                <a:lnTo>
                  <a:pt x="4844" y="5074"/>
                </a:lnTo>
                <a:lnTo>
                  <a:pt x="4843" y="5026"/>
                </a:lnTo>
                <a:lnTo>
                  <a:pt x="4841" y="4978"/>
                </a:lnTo>
                <a:lnTo>
                  <a:pt x="4838" y="4923"/>
                </a:lnTo>
                <a:lnTo>
                  <a:pt x="4833" y="4868"/>
                </a:lnTo>
                <a:lnTo>
                  <a:pt x="4831" y="4843"/>
                </a:lnTo>
                <a:lnTo>
                  <a:pt x="4828" y="4821"/>
                </a:lnTo>
                <a:lnTo>
                  <a:pt x="4825" y="4802"/>
                </a:lnTo>
                <a:lnTo>
                  <a:pt x="4822" y="4788"/>
                </a:lnTo>
                <a:lnTo>
                  <a:pt x="4820" y="4783"/>
                </a:lnTo>
                <a:lnTo>
                  <a:pt x="4818" y="4780"/>
                </a:lnTo>
                <a:lnTo>
                  <a:pt x="4816" y="4778"/>
                </a:lnTo>
                <a:lnTo>
                  <a:pt x="4814" y="4778"/>
                </a:lnTo>
                <a:lnTo>
                  <a:pt x="4814" y="4778"/>
                </a:lnTo>
                <a:lnTo>
                  <a:pt x="4786" y="4785"/>
                </a:lnTo>
                <a:lnTo>
                  <a:pt x="4760" y="4790"/>
                </a:lnTo>
                <a:lnTo>
                  <a:pt x="4746" y="4791"/>
                </a:lnTo>
                <a:lnTo>
                  <a:pt x="4734" y="4792"/>
                </a:lnTo>
                <a:lnTo>
                  <a:pt x="4722" y="4792"/>
                </a:lnTo>
                <a:lnTo>
                  <a:pt x="4711" y="4791"/>
                </a:lnTo>
                <a:lnTo>
                  <a:pt x="4698" y="4789"/>
                </a:lnTo>
                <a:lnTo>
                  <a:pt x="4687" y="4787"/>
                </a:lnTo>
                <a:lnTo>
                  <a:pt x="4675" y="4784"/>
                </a:lnTo>
                <a:lnTo>
                  <a:pt x="4664" y="4780"/>
                </a:lnTo>
                <a:lnTo>
                  <a:pt x="4652" y="4775"/>
                </a:lnTo>
                <a:lnTo>
                  <a:pt x="4640" y="4770"/>
                </a:lnTo>
                <a:lnTo>
                  <a:pt x="4629" y="4762"/>
                </a:lnTo>
                <a:lnTo>
                  <a:pt x="4618" y="4755"/>
                </a:lnTo>
                <a:lnTo>
                  <a:pt x="4618" y="4755"/>
                </a:lnTo>
                <a:lnTo>
                  <a:pt x="4613" y="4752"/>
                </a:lnTo>
                <a:lnTo>
                  <a:pt x="4608" y="4748"/>
                </a:lnTo>
                <a:lnTo>
                  <a:pt x="4602" y="4740"/>
                </a:lnTo>
                <a:lnTo>
                  <a:pt x="4597" y="4731"/>
                </a:lnTo>
                <a:lnTo>
                  <a:pt x="4594" y="4721"/>
                </a:lnTo>
                <a:lnTo>
                  <a:pt x="4592" y="4709"/>
                </a:lnTo>
                <a:lnTo>
                  <a:pt x="4591" y="4699"/>
                </a:lnTo>
                <a:lnTo>
                  <a:pt x="4590" y="4677"/>
                </a:lnTo>
                <a:lnTo>
                  <a:pt x="4589" y="4655"/>
                </a:lnTo>
                <a:lnTo>
                  <a:pt x="4587" y="4646"/>
                </a:lnTo>
                <a:lnTo>
                  <a:pt x="4585" y="4638"/>
                </a:lnTo>
                <a:lnTo>
                  <a:pt x="4581" y="4631"/>
                </a:lnTo>
                <a:lnTo>
                  <a:pt x="4575" y="4624"/>
                </a:lnTo>
                <a:lnTo>
                  <a:pt x="4571" y="4621"/>
                </a:lnTo>
                <a:lnTo>
                  <a:pt x="4567" y="4619"/>
                </a:lnTo>
                <a:lnTo>
                  <a:pt x="4561" y="4618"/>
                </a:lnTo>
                <a:lnTo>
                  <a:pt x="4556" y="4617"/>
                </a:lnTo>
                <a:lnTo>
                  <a:pt x="4556" y="4617"/>
                </a:lnTo>
                <a:lnTo>
                  <a:pt x="4534" y="4610"/>
                </a:lnTo>
                <a:lnTo>
                  <a:pt x="4511" y="4603"/>
                </a:lnTo>
                <a:lnTo>
                  <a:pt x="4489" y="4595"/>
                </a:lnTo>
                <a:lnTo>
                  <a:pt x="4468" y="4585"/>
                </a:lnTo>
                <a:lnTo>
                  <a:pt x="4448" y="4575"/>
                </a:lnTo>
                <a:lnTo>
                  <a:pt x="4428" y="4564"/>
                </a:lnTo>
                <a:lnTo>
                  <a:pt x="4410" y="4554"/>
                </a:lnTo>
                <a:lnTo>
                  <a:pt x="4394" y="4543"/>
                </a:lnTo>
                <a:lnTo>
                  <a:pt x="4377" y="4531"/>
                </a:lnTo>
                <a:lnTo>
                  <a:pt x="4363" y="4521"/>
                </a:lnTo>
                <a:lnTo>
                  <a:pt x="4337" y="4501"/>
                </a:lnTo>
                <a:lnTo>
                  <a:pt x="4318" y="4482"/>
                </a:lnTo>
                <a:lnTo>
                  <a:pt x="4306" y="4467"/>
                </a:lnTo>
                <a:lnTo>
                  <a:pt x="4306" y="4467"/>
                </a:lnTo>
                <a:lnTo>
                  <a:pt x="4297" y="4455"/>
                </a:lnTo>
                <a:lnTo>
                  <a:pt x="4288" y="4442"/>
                </a:lnTo>
                <a:lnTo>
                  <a:pt x="4282" y="4431"/>
                </a:lnTo>
                <a:lnTo>
                  <a:pt x="4277" y="4420"/>
                </a:lnTo>
                <a:lnTo>
                  <a:pt x="4273" y="4410"/>
                </a:lnTo>
                <a:lnTo>
                  <a:pt x="4270" y="4401"/>
                </a:lnTo>
                <a:lnTo>
                  <a:pt x="4266" y="4384"/>
                </a:lnTo>
                <a:lnTo>
                  <a:pt x="4265" y="4371"/>
                </a:lnTo>
                <a:lnTo>
                  <a:pt x="4265" y="4361"/>
                </a:lnTo>
                <a:lnTo>
                  <a:pt x="4266" y="4352"/>
                </a:lnTo>
                <a:lnTo>
                  <a:pt x="4266" y="4352"/>
                </a:lnTo>
                <a:lnTo>
                  <a:pt x="4284" y="4362"/>
                </a:lnTo>
                <a:lnTo>
                  <a:pt x="4302" y="4368"/>
                </a:lnTo>
                <a:lnTo>
                  <a:pt x="4321" y="4373"/>
                </a:lnTo>
                <a:lnTo>
                  <a:pt x="4340" y="4376"/>
                </a:lnTo>
                <a:lnTo>
                  <a:pt x="4358" y="4378"/>
                </a:lnTo>
                <a:lnTo>
                  <a:pt x="4377" y="4377"/>
                </a:lnTo>
                <a:lnTo>
                  <a:pt x="4396" y="4374"/>
                </a:lnTo>
                <a:lnTo>
                  <a:pt x="4414" y="4370"/>
                </a:lnTo>
                <a:lnTo>
                  <a:pt x="4434" y="4130"/>
                </a:lnTo>
                <a:lnTo>
                  <a:pt x="4434" y="4130"/>
                </a:lnTo>
                <a:lnTo>
                  <a:pt x="4425" y="4129"/>
                </a:lnTo>
                <a:lnTo>
                  <a:pt x="4405" y="4126"/>
                </a:lnTo>
                <a:lnTo>
                  <a:pt x="4392" y="4123"/>
                </a:lnTo>
                <a:lnTo>
                  <a:pt x="4377" y="4119"/>
                </a:lnTo>
                <a:lnTo>
                  <a:pt x="4362" y="4115"/>
                </a:lnTo>
                <a:lnTo>
                  <a:pt x="4348" y="4109"/>
                </a:lnTo>
                <a:lnTo>
                  <a:pt x="4348" y="4109"/>
                </a:lnTo>
                <a:lnTo>
                  <a:pt x="4339" y="4105"/>
                </a:lnTo>
                <a:lnTo>
                  <a:pt x="4331" y="4100"/>
                </a:lnTo>
                <a:lnTo>
                  <a:pt x="4323" y="4094"/>
                </a:lnTo>
                <a:lnTo>
                  <a:pt x="4316" y="4088"/>
                </a:lnTo>
                <a:lnTo>
                  <a:pt x="4302" y="4074"/>
                </a:lnTo>
                <a:lnTo>
                  <a:pt x="4289" y="4061"/>
                </a:lnTo>
                <a:lnTo>
                  <a:pt x="4280" y="4048"/>
                </a:lnTo>
                <a:lnTo>
                  <a:pt x="4273" y="4038"/>
                </a:lnTo>
                <a:lnTo>
                  <a:pt x="4267" y="4028"/>
                </a:lnTo>
                <a:lnTo>
                  <a:pt x="4267" y="4028"/>
                </a:lnTo>
                <a:lnTo>
                  <a:pt x="4274" y="4031"/>
                </a:lnTo>
                <a:lnTo>
                  <a:pt x="4293" y="4039"/>
                </a:lnTo>
                <a:lnTo>
                  <a:pt x="4321" y="4047"/>
                </a:lnTo>
                <a:lnTo>
                  <a:pt x="4339" y="4051"/>
                </a:lnTo>
                <a:lnTo>
                  <a:pt x="4356" y="4054"/>
                </a:lnTo>
                <a:lnTo>
                  <a:pt x="4356" y="4054"/>
                </a:lnTo>
                <a:lnTo>
                  <a:pt x="4375" y="4056"/>
                </a:lnTo>
                <a:lnTo>
                  <a:pt x="4392" y="4057"/>
                </a:lnTo>
                <a:lnTo>
                  <a:pt x="4407" y="4055"/>
                </a:lnTo>
                <a:lnTo>
                  <a:pt x="4419" y="4053"/>
                </a:lnTo>
                <a:lnTo>
                  <a:pt x="4430" y="4051"/>
                </a:lnTo>
                <a:lnTo>
                  <a:pt x="4438" y="4049"/>
                </a:lnTo>
                <a:lnTo>
                  <a:pt x="4444" y="4046"/>
                </a:lnTo>
                <a:lnTo>
                  <a:pt x="4477" y="3775"/>
                </a:lnTo>
                <a:lnTo>
                  <a:pt x="4477" y="3775"/>
                </a:lnTo>
                <a:lnTo>
                  <a:pt x="4451" y="3776"/>
                </a:lnTo>
                <a:lnTo>
                  <a:pt x="4427" y="3775"/>
                </a:lnTo>
                <a:lnTo>
                  <a:pt x="4408" y="3773"/>
                </a:lnTo>
                <a:lnTo>
                  <a:pt x="4392" y="3768"/>
                </a:lnTo>
                <a:lnTo>
                  <a:pt x="4377" y="3762"/>
                </a:lnTo>
                <a:lnTo>
                  <a:pt x="4365" y="3755"/>
                </a:lnTo>
                <a:lnTo>
                  <a:pt x="4356" y="3747"/>
                </a:lnTo>
                <a:lnTo>
                  <a:pt x="4348" y="3739"/>
                </a:lnTo>
                <a:lnTo>
                  <a:pt x="4343" y="3731"/>
                </a:lnTo>
                <a:lnTo>
                  <a:pt x="4337" y="3722"/>
                </a:lnTo>
                <a:lnTo>
                  <a:pt x="4335" y="3713"/>
                </a:lnTo>
                <a:lnTo>
                  <a:pt x="4333" y="3705"/>
                </a:lnTo>
                <a:lnTo>
                  <a:pt x="4332" y="3697"/>
                </a:lnTo>
                <a:lnTo>
                  <a:pt x="4331" y="3691"/>
                </a:lnTo>
                <a:lnTo>
                  <a:pt x="4332" y="3682"/>
                </a:lnTo>
                <a:lnTo>
                  <a:pt x="4332" y="3682"/>
                </a:lnTo>
                <a:lnTo>
                  <a:pt x="4357" y="3677"/>
                </a:lnTo>
                <a:lnTo>
                  <a:pt x="4381" y="3671"/>
                </a:lnTo>
                <a:lnTo>
                  <a:pt x="4405" y="3663"/>
                </a:lnTo>
                <a:lnTo>
                  <a:pt x="4428" y="3656"/>
                </a:lnTo>
                <a:lnTo>
                  <a:pt x="4451" y="3647"/>
                </a:lnTo>
                <a:lnTo>
                  <a:pt x="4473" y="3637"/>
                </a:lnTo>
                <a:lnTo>
                  <a:pt x="4495" y="3626"/>
                </a:lnTo>
                <a:lnTo>
                  <a:pt x="4515" y="3613"/>
                </a:lnTo>
                <a:lnTo>
                  <a:pt x="4536" y="3601"/>
                </a:lnTo>
                <a:lnTo>
                  <a:pt x="4555" y="3588"/>
                </a:lnTo>
                <a:lnTo>
                  <a:pt x="4574" y="3573"/>
                </a:lnTo>
                <a:lnTo>
                  <a:pt x="4592" y="3558"/>
                </a:lnTo>
                <a:lnTo>
                  <a:pt x="4609" y="3543"/>
                </a:lnTo>
                <a:lnTo>
                  <a:pt x="4627" y="3526"/>
                </a:lnTo>
                <a:lnTo>
                  <a:pt x="4642" y="3510"/>
                </a:lnTo>
                <a:lnTo>
                  <a:pt x="4659" y="3493"/>
                </a:lnTo>
                <a:lnTo>
                  <a:pt x="4673" y="3474"/>
                </a:lnTo>
                <a:lnTo>
                  <a:pt x="4688" y="3456"/>
                </a:lnTo>
                <a:lnTo>
                  <a:pt x="4702" y="3437"/>
                </a:lnTo>
                <a:lnTo>
                  <a:pt x="4715" y="3418"/>
                </a:lnTo>
                <a:lnTo>
                  <a:pt x="4727" y="3399"/>
                </a:lnTo>
                <a:lnTo>
                  <a:pt x="4738" y="3379"/>
                </a:lnTo>
                <a:lnTo>
                  <a:pt x="4750" y="3360"/>
                </a:lnTo>
                <a:lnTo>
                  <a:pt x="4760" y="3339"/>
                </a:lnTo>
                <a:lnTo>
                  <a:pt x="4770" y="3319"/>
                </a:lnTo>
                <a:lnTo>
                  <a:pt x="4779" y="3298"/>
                </a:lnTo>
                <a:lnTo>
                  <a:pt x="4787" y="3278"/>
                </a:lnTo>
                <a:lnTo>
                  <a:pt x="4796" y="3257"/>
                </a:lnTo>
                <a:lnTo>
                  <a:pt x="4803" y="3237"/>
                </a:lnTo>
                <a:lnTo>
                  <a:pt x="4809" y="3217"/>
                </a:lnTo>
                <a:lnTo>
                  <a:pt x="4815" y="3196"/>
                </a:lnTo>
                <a:lnTo>
                  <a:pt x="4820" y="3177"/>
                </a:lnTo>
                <a:lnTo>
                  <a:pt x="4820" y="3177"/>
                </a:lnTo>
                <a:lnTo>
                  <a:pt x="4831" y="3183"/>
                </a:lnTo>
                <a:lnTo>
                  <a:pt x="4847" y="3189"/>
                </a:lnTo>
                <a:lnTo>
                  <a:pt x="4864" y="3195"/>
                </a:lnTo>
                <a:lnTo>
                  <a:pt x="4882" y="3200"/>
                </a:lnTo>
                <a:lnTo>
                  <a:pt x="4903" y="3203"/>
                </a:lnTo>
                <a:lnTo>
                  <a:pt x="4913" y="3204"/>
                </a:lnTo>
                <a:lnTo>
                  <a:pt x="4923" y="3205"/>
                </a:lnTo>
                <a:lnTo>
                  <a:pt x="4935" y="3204"/>
                </a:lnTo>
                <a:lnTo>
                  <a:pt x="4945" y="3203"/>
                </a:lnTo>
                <a:lnTo>
                  <a:pt x="4955" y="3201"/>
                </a:lnTo>
                <a:lnTo>
                  <a:pt x="4965" y="3198"/>
                </a:lnTo>
                <a:lnTo>
                  <a:pt x="4965" y="3198"/>
                </a:lnTo>
                <a:lnTo>
                  <a:pt x="4967" y="3170"/>
                </a:lnTo>
                <a:lnTo>
                  <a:pt x="4970" y="3103"/>
                </a:lnTo>
                <a:lnTo>
                  <a:pt x="4972" y="3067"/>
                </a:lnTo>
                <a:lnTo>
                  <a:pt x="4973" y="3033"/>
                </a:lnTo>
                <a:lnTo>
                  <a:pt x="4972" y="3005"/>
                </a:lnTo>
                <a:lnTo>
                  <a:pt x="4972" y="2995"/>
                </a:lnTo>
                <a:lnTo>
                  <a:pt x="4970" y="2989"/>
                </a:lnTo>
                <a:lnTo>
                  <a:pt x="4970" y="2989"/>
                </a:lnTo>
                <a:lnTo>
                  <a:pt x="4955" y="2987"/>
                </a:lnTo>
                <a:lnTo>
                  <a:pt x="4938" y="2984"/>
                </a:lnTo>
                <a:lnTo>
                  <a:pt x="4919" y="2979"/>
                </a:lnTo>
                <a:lnTo>
                  <a:pt x="4911" y="2976"/>
                </a:lnTo>
                <a:lnTo>
                  <a:pt x="4902" y="2973"/>
                </a:lnTo>
                <a:lnTo>
                  <a:pt x="4893" y="2968"/>
                </a:lnTo>
                <a:lnTo>
                  <a:pt x="4885" y="2964"/>
                </a:lnTo>
                <a:lnTo>
                  <a:pt x="4876" y="2958"/>
                </a:lnTo>
                <a:lnTo>
                  <a:pt x="4868" y="2951"/>
                </a:lnTo>
                <a:lnTo>
                  <a:pt x="4861" y="2944"/>
                </a:lnTo>
                <a:lnTo>
                  <a:pt x="4854" y="2935"/>
                </a:lnTo>
                <a:lnTo>
                  <a:pt x="4848" y="2926"/>
                </a:lnTo>
                <a:lnTo>
                  <a:pt x="4842" y="2915"/>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54" name="Freeform 5">
            <a:extLst>
              <a:ext uri="{FF2B5EF4-FFF2-40B4-BE49-F238E27FC236}">
                <a16:creationId xmlns:a16="http://schemas.microsoft.com/office/drawing/2014/main" id="{E518FEDE-29E1-4148-9DBF-C17BDBF2CB4F}"/>
              </a:ext>
            </a:extLst>
          </p:cNvPr>
          <p:cNvSpPr>
            <a:spLocks/>
          </p:cNvSpPr>
          <p:nvPr userDrawn="1"/>
        </p:nvSpPr>
        <p:spPr bwMode="auto">
          <a:xfrm>
            <a:off x="1528763" y="893763"/>
            <a:ext cx="160338" cy="141288"/>
          </a:xfrm>
          <a:custGeom>
            <a:avLst/>
            <a:gdLst>
              <a:gd name="T0" fmla="*/ 623 w 1210"/>
              <a:gd name="T1" fmla="*/ 1065 h 1065"/>
              <a:gd name="T2" fmla="*/ 211 w 1210"/>
              <a:gd name="T3" fmla="*/ 202 h 1065"/>
              <a:gd name="T4" fmla="*/ 194 w 1210"/>
              <a:gd name="T5" fmla="*/ 163 h 1065"/>
              <a:gd name="T6" fmla="*/ 177 w 1210"/>
              <a:gd name="T7" fmla="*/ 131 h 1065"/>
              <a:gd name="T8" fmla="*/ 160 w 1210"/>
              <a:gd name="T9" fmla="*/ 105 h 1065"/>
              <a:gd name="T10" fmla="*/ 139 w 1210"/>
              <a:gd name="T11" fmla="*/ 84 h 1065"/>
              <a:gd name="T12" fmla="*/ 115 w 1210"/>
              <a:gd name="T13" fmla="*/ 69 h 1065"/>
              <a:gd name="T14" fmla="*/ 84 w 1210"/>
              <a:gd name="T15" fmla="*/ 59 h 1065"/>
              <a:gd name="T16" fmla="*/ 47 w 1210"/>
              <a:gd name="T17" fmla="*/ 52 h 1065"/>
              <a:gd name="T18" fmla="*/ 0 w 1210"/>
              <a:gd name="T19" fmla="*/ 50 h 1065"/>
              <a:gd name="T20" fmla="*/ 566 w 1210"/>
              <a:gd name="T21" fmla="*/ 0 h 1065"/>
              <a:gd name="T22" fmla="*/ 566 w 1210"/>
              <a:gd name="T23" fmla="*/ 50 h 1065"/>
              <a:gd name="T24" fmla="*/ 516 w 1210"/>
              <a:gd name="T25" fmla="*/ 52 h 1065"/>
              <a:gd name="T26" fmla="*/ 477 w 1210"/>
              <a:gd name="T27" fmla="*/ 58 h 1065"/>
              <a:gd name="T28" fmla="*/ 448 w 1210"/>
              <a:gd name="T29" fmla="*/ 68 h 1065"/>
              <a:gd name="T30" fmla="*/ 430 w 1210"/>
              <a:gd name="T31" fmla="*/ 81 h 1065"/>
              <a:gd name="T32" fmla="*/ 421 w 1210"/>
              <a:gd name="T33" fmla="*/ 99 h 1065"/>
              <a:gd name="T34" fmla="*/ 419 w 1210"/>
              <a:gd name="T35" fmla="*/ 122 h 1065"/>
              <a:gd name="T36" fmla="*/ 425 w 1210"/>
              <a:gd name="T37" fmla="*/ 150 h 1065"/>
              <a:gd name="T38" fmla="*/ 437 w 1210"/>
              <a:gd name="T39" fmla="*/ 181 h 1065"/>
              <a:gd name="T40" fmla="*/ 922 w 1210"/>
              <a:gd name="T41" fmla="*/ 181 h 1065"/>
              <a:gd name="T42" fmla="*/ 928 w 1210"/>
              <a:gd name="T43" fmla="*/ 165 h 1065"/>
              <a:gd name="T44" fmla="*/ 937 w 1210"/>
              <a:gd name="T45" fmla="*/ 134 h 1065"/>
              <a:gd name="T46" fmla="*/ 938 w 1210"/>
              <a:gd name="T47" fmla="*/ 110 h 1065"/>
              <a:gd name="T48" fmla="*/ 932 w 1210"/>
              <a:gd name="T49" fmla="*/ 89 h 1065"/>
              <a:gd name="T50" fmla="*/ 918 w 1210"/>
              <a:gd name="T51" fmla="*/ 74 h 1065"/>
              <a:gd name="T52" fmla="*/ 894 w 1210"/>
              <a:gd name="T53" fmla="*/ 62 h 1065"/>
              <a:gd name="T54" fmla="*/ 860 w 1210"/>
              <a:gd name="T55" fmla="*/ 54 h 1065"/>
              <a:gd name="T56" fmla="*/ 817 w 1210"/>
              <a:gd name="T57" fmla="*/ 50 h 1065"/>
              <a:gd name="T58" fmla="*/ 792 w 1210"/>
              <a:gd name="T59" fmla="*/ 0 h 1065"/>
              <a:gd name="T60" fmla="*/ 1210 w 1210"/>
              <a:gd name="T61" fmla="*/ 50 h 1065"/>
              <a:gd name="T62" fmla="*/ 1189 w 1210"/>
              <a:gd name="T63" fmla="*/ 50 h 1065"/>
              <a:gd name="T64" fmla="*/ 1151 w 1210"/>
              <a:gd name="T65" fmla="*/ 53 h 1065"/>
              <a:gd name="T66" fmla="*/ 1119 w 1210"/>
              <a:gd name="T67" fmla="*/ 61 h 1065"/>
              <a:gd name="T68" fmla="*/ 1091 w 1210"/>
              <a:gd name="T69" fmla="*/ 73 h 1065"/>
              <a:gd name="T70" fmla="*/ 1068 w 1210"/>
              <a:gd name="T71" fmla="*/ 89 h 1065"/>
              <a:gd name="T72" fmla="*/ 1046 w 1210"/>
              <a:gd name="T73" fmla="*/ 113 h 1065"/>
              <a:gd name="T74" fmla="*/ 1027 w 1210"/>
              <a:gd name="T75" fmla="*/ 142 h 1065"/>
              <a:gd name="T76" fmla="*/ 1008 w 1210"/>
              <a:gd name="T77" fmla="*/ 180 h 1065"/>
              <a:gd name="T78" fmla="*/ 997 w 1210"/>
              <a:gd name="T79" fmla="*/ 202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10" h="1065">
                <a:moveTo>
                  <a:pt x="997" y="202"/>
                </a:moveTo>
                <a:lnTo>
                  <a:pt x="623" y="1065"/>
                </a:lnTo>
                <a:lnTo>
                  <a:pt x="587" y="1065"/>
                </a:lnTo>
                <a:lnTo>
                  <a:pt x="211" y="202"/>
                </a:lnTo>
                <a:lnTo>
                  <a:pt x="211" y="202"/>
                </a:lnTo>
                <a:lnTo>
                  <a:pt x="194" y="163"/>
                </a:lnTo>
                <a:lnTo>
                  <a:pt x="185" y="146"/>
                </a:lnTo>
                <a:lnTo>
                  <a:pt x="177" y="131"/>
                </a:lnTo>
                <a:lnTo>
                  <a:pt x="168" y="117"/>
                </a:lnTo>
                <a:lnTo>
                  <a:pt x="160" y="105"/>
                </a:lnTo>
                <a:lnTo>
                  <a:pt x="150" y="93"/>
                </a:lnTo>
                <a:lnTo>
                  <a:pt x="139" y="84"/>
                </a:lnTo>
                <a:lnTo>
                  <a:pt x="128" y="76"/>
                </a:lnTo>
                <a:lnTo>
                  <a:pt x="115" y="69"/>
                </a:lnTo>
                <a:lnTo>
                  <a:pt x="101" y="63"/>
                </a:lnTo>
                <a:lnTo>
                  <a:pt x="84" y="59"/>
                </a:lnTo>
                <a:lnTo>
                  <a:pt x="67" y="54"/>
                </a:lnTo>
                <a:lnTo>
                  <a:pt x="47" y="52"/>
                </a:lnTo>
                <a:lnTo>
                  <a:pt x="25" y="50"/>
                </a:lnTo>
                <a:lnTo>
                  <a:pt x="0" y="50"/>
                </a:lnTo>
                <a:lnTo>
                  <a:pt x="0" y="0"/>
                </a:lnTo>
                <a:lnTo>
                  <a:pt x="566" y="0"/>
                </a:lnTo>
                <a:lnTo>
                  <a:pt x="566" y="50"/>
                </a:lnTo>
                <a:lnTo>
                  <a:pt x="566" y="50"/>
                </a:lnTo>
                <a:lnTo>
                  <a:pt x="539" y="50"/>
                </a:lnTo>
                <a:lnTo>
                  <a:pt x="516" y="52"/>
                </a:lnTo>
                <a:lnTo>
                  <a:pt x="494" y="54"/>
                </a:lnTo>
                <a:lnTo>
                  <a:pt x="477" y="58"/>
                </a:lnTo>
                <a:lnTo>
                  <a:pt x="460" y="63"/>
                </a:lnTo>
                <a:lnTo>
                  <a:pt x="448" y="68"/>
                </a:lnTo>
                <a:lnTo>
                  <a:pt x="438" y="74"/>
                </a:lnTo>
                <a:lnTo>
                  <a:pt x="430" y="81"/>
                </a:lnTo>
                <a:lnTo>
                  <a:pt x="424" y="90"/>
                </a:lnTo>
                <a:lnTo>
                  <a:pt x="421" y="99"/>
                </a:lnTo>
                <a:lnTo>
                  <a:pt x="419" y="111"/>
                </a:lnTo>
                <a:lnTo>
                  <a:pt x="419" y="122"/>
                </a:lnTo>
                <a:lnTo>
                  <a:pt x="421" y="135"/>
                </a:lnTo>
                <a:lnTo>
                  <a:pt x="425" y="150"/>
                </a:lnTo>
                <a:lnTo>
                  <a:pt x="430" y="165"/>
                </a:lnTo>
                <a:lnTo>
                  <a:pt x="437" y="181"/>
                </a:lnTo>
                <a:lnTo>
                  <a:pt x="678" y="742"/>
                </a:lnTo>
                <a:lnTo>
                  <a:pt x="922" y="181"/>
                </a:lnTo>
                <a:lnTo>
                  <a:pt x="922" y="181"/>
                </a:lnTo>
                <a:lnTo>
                  <a:pt x="928" y="165"/>
                </a:lnTo>
                <a:lnTo>
                  <a:pt x="933" y="149"/>
                </a:lnTo>
                <a:lnTo>
                  <a:pt x="937" y="134"/>
                </a:lnTo>
                <a:lnTo>
                  <a:pt x="938" y="122"/>
                </a:lnTo>
                <a:lnTo>
                  <a:pt x="938" y="110"/>
                </a:lnTo>
                <a:lnTo>
                  <a:pt x="936" y="98"/>
                </a:lnTo>
                <a:lnTo>
                  <a:pt x="932" y="89"/>
                </a:lnTo>
                <a:lnTo>
                  <a:pt x="926" y="81"/>
                </a:lnTo>
                <a:lnTo>
                  <a:pt x="918" y="74"/>
                </a:lnTo>
                <a:lnTo>
                  <a:pt x="906" y="67"/>
                </a:lnTo>
                <a:lnTo>
                  <a:pt x="894" y="62"/>
                </a:lnTo>
                <a:lnTo>
                  <a:pt x="879" y="58"/>
                </a:lnTo>
                <a:lnTo>
                  <a:pt x="860" y="54"/>
                </a:lnTo>
                <a:lnTo>
                  <a:pt x="841" y="52"/>
                </a:lnTo>
                <a:lnTo>
                  <a:pt x="817" y="50"/>
                </a:lnTo>
                <a:lnTo>
                  <a:pt x="792" y="50"/>
                </a:lnTo>
                <a:lnTo>
                  <a:pt x="792" y="0"/>
                </a:lnTo>
                <a:lnTo>
                  <a:pt x="1210" y="0"/>
                </a:lnTo>
                <a:lnTo>
                  <a:pt x="1210" y="50"/>
                </a:lnTo>
                <a:lnTo>
                  <a:pt x="1210" y="50"/>
                </a:lnTo>
                <a:lnTo>
                  <a:pt x="1189" y="50"/>
                </a:lnTo>
                <a:lnTo>
                  <a:pt x="1169" y="51"/>
                </a:lnTo>
                <a:lnTo>
                  <a:pt x="1151" y="53"/>
                </a:lnTo>
                <a:lnTo>
                  <a:pt x="1134" y="57"/>
                </a:lnTo>
                <a:lnTo>
                  <a:pt x="1119" y="61"/>
                </a:lnTo>
                <a:lnTo>
                  <a:pt x="1105" y="66"/>
                </a:lnTo>
                <a:lnTo>
                  <a:pt x="1091" y="73"/>
                </a:lnTo>
                <a:lnTo>
                  <a:pt x="1079" y="80"/>
                </a:lnTo>
                <a:lnTo>
                  <a:pt x="1068" y="89"/>
                </a:lnTo>
                <a:lnTo>
                  <a:pt x="1057" y="100"/>
                </a:lnTo>
                <a:lnTo>
                  <a:pt x="1046" y="113"/>
                </a:lnTo>
                <a:lnTo>
                  <a:pt x="1036" y="127"/>
                </a:lnTo>
                <a:lnTo>
                  <a:pt x="1027" y="142"/>
                </a:lnTo>
                <a:lnTo>
                  <a:pt x="1017" y="161"/>
                </a:lnTo>
                <a:lnTo>
                  <a:pt x="1008" y="180"/>
                </a:lnTo>
                <a:lnTo>
                  <a:pt x="997" y="202"/>
                </a:lnTo>
                <a:lnTo>
                  <a:pt x="997" y="202"/>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55" name="Freeform 6">
            <a:extLst>
              <a:ext uri="{FF2B5EF4-FFF2-40B4-BE49-F238E27FC236}">
                <a16:creationId xmlns:a16="http://schemas.microsoft.com/office/drawing/2014/main" id="{9CE8211D-F405-5B46-8655-DE27EA85F16F}"/>
              </a:ext>
            </a:extLst>
          </p:cNvPr>
          <p:cNvSpPr>
            <a:spLocks noEditPoints="1"/>
          </p:cNvSpPr>
          <p:nvPr userDrawn="1"/>
        </p:nvSpPr>
        <p:spPr bwMode="auto">
          <a:xfrm>
            <a:off x="1671638" y="890588"/>
            <a:ext cx="160338" cy="139700"/>
          </a:xfrm>
          <a:custGeom>
            <a:avLst/>
            <a:gdLst>
              <a:gd name="T0" fmla="*/ 289 w 1210"/>
              <a:gd name="T1" fmla="*/ 883 h 1064"/>
              <a:gd name="T2" fmla="*/ 276 w 1210"/>
              <a:gd name="T3" fmla="*/ 916 h 1064"/>
              <a:gd name="T4" fmla="*/ 271 w 1210"/>
              <a:gd name="T5" fmla="*/ 943 h 1064"/>
              <a:gd name="T6" fmla="*/ 274 w 1210"/>
              <a:gd name="T7" fmla="*/ 966 h 1064"/>
              <a:gd name="T8" fmla="*/ 284 w 1210"/>
              <a:gd name="T9" fmla="*/ 983 h 1064"/>
              <a:gd name="T10" fmla="*/ 303 w 1210"/>
              <a:gd name="T11" fmla="*/ 998 h 1064"/>
              <a:gd name="T12" fmla="*/ 331 w 1210"/>
              <a:gd name="T13" fmla="*/ 1007 h 1064"/>
              <a:gd name="T14" fmla="*/ 369 w 1210"/>
              <a:gd name="T15" fmla="*/ 1013 h 1064"/>
              <a:gd name="T16" fmla="*/ 417 w 1210"/>
              <a:gd name="T17" fmla="*/ 1014 h 1064"/>
              <a:gd name="T18" fmla="*/ 0 w 1210"/>
              <a:gd name="T19" fmla="*/ 1064 h 1064"/>
              <a:gd name="T20" fmla="*/ 0 w 1210"/>
              <a:gd name="T21" fmla="*/ 1014 h 1064"/>
              <a:gd name="T22" fmla="*/ 41 w 1210"/>
              <a:gd name="T23" fmla="*/ 1013 h 1064"/>
              <a:gd name="T24" fmla="*/ 76 w 1210"/>
              <a:gd name="T25" fmla="*/ 1008 h 1064"/>
              <a:gd name="T26" fmla="*/ 106 w 1210"/>
              <a:gd name="T27" fmla="*/ 999 h 1064"/>
              <a:gd name="T28" fmla="*/ 131 w 1210"/>
              <a:gd name="T29" fmla="*/ 984 h 1064"/>
              <a:gd name="T30" fmla="*/ 153 w 1210"/>
              <a:gd name="T31" fmla="*/ 964 h 1064"/>
              <a:gd name="T32" fmla="*/ 173 w 1210"/>
              <a:gd name="T33" fmla="*/ 938 h 1064"/>
              <a:gd name="T34" fmla="*/ 192 w 1210"/>
              <a:gd name="T35" fmla="*/ 904 h 1064"/>
              <a:gd name="T36" fmla="*/ 212 w 1210"/>
              <a:gd name="T37" fmla="*/ 863 h 1064"/>
              <a:gd name="T38" fmla="*/ 623 w 1210"/>
              <a:gd name="T39" fmla="*/ 0 h 1064"/>
              <a:gd name="T40" fmla="*/ 999 w 1210"/>
              <a:gd name="T41" fmla="*/ 863 h 1064"/>
              <a:gd name="T42" fmla="*/ 1025 w 1210"/>
              <a:gd name="T43" fmla="*/ 918 h 1064"/>
              <a:gd name="T44" fmla="*/ 1041 w 1210"/>
              <a:gd name="T45" fmla="*/ 946 h 1064"/>
              <a:gd name="T46" fmla="*/ 1060 w 1210"/>
              <a:gd name="T47" fmla="*/ 970 h 1064"/>
              <a:gd name="T48" fmla="*/ 1082 w 1210"/>
              <a:gd name="T49" fmla="*/ 988 h 1064"/>
              <a:gd name="T50" fmla="*/ 1110 w 1210"/>
              <a:gd name="T51" fmla="*/ 1002 h 1064"/>
              <a:gd name="T52" fmla="*/ 1142 w 1210"/>
              <a:gd name="T53" fmla="*/ 1010 h 1064"/>
              <a:gd name="T54" fmla="*/ 1185 w 1210"/>
              <a:gd name="T55" fmla="*/ 1014 h 1064"/>
              <a:gd name="T56" fmla="*/ 1210 w 1210"/>
              <a:gd name="T57" fmla="*/ 1064 h 1064"/>
              <a:gd name="T58" fmla="*/ 647 w 1210"/>
              <a:gd name="T59" fmla="*/ 1014 h 1064"/>
              <a:gd name="T60" fmla="*/ 674 w 1210"/>
              <a:gd name="T61" fmla="*/ 1014 h 1064"/>
              <a:gd name="T62" fmla="*/ 719 w 1210"/>
              <a:gd name="T63" fmla="*/ 1010 h 1064"/>
              <a:gd name="T64" fmla="*/ 752 w 1210"/>
              <a:gd name="T65" fmla="*/ 1003 h 1064"/>
              <a:gd name="T66" fmla="*/ 775 w 1210"/>
              <a:gd name="T67" fmla="*/ 990 h 1064"/>
              <a:gd name="T68" fmla="*/ 790 w 1210"/>
              <a:gd name="T69" fmla="*/ 974 h 1064"/>
              <a:gd name="T70" fmla="*/ 795 w 1210"/>
              <a:gd name="T71" fmla="*/ 954 h 1064"/>
              <a:gd name="T72" fmla="*/ 793 w 1210"/>
              <a:gd name="T73" fmla="*/ 929 h 1064"/>
              <a:gd name="T74" fmla="*/ 783 w 1210"/>
              <a:gd name="T75" fmla="*/ 899 h 1064"/>
              <a:gd name="T76" fmla="*/ 704 w 1210"/>
              <a:gd name="T77" fmla="*/ 719 h 1064"/>
              <a:gd name="T78" fmla="*/ 289 w 1210"/>
              <a:gd name="T79" fmla="*/ 883 h 1064"/>
              <a:gd name="T80" fmla="*/ 394 w 1210"/>
              <a:gd name="T81" fmla="*/ 642 h 1064"/>
              <a:gd name="T82" fmla="*/ 533 w 1210"/>
              <a:gd name="T83" fmla="*/ 318 h 1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10" h="1064">
                <a:moveTo>
                  <a:pt x="289" y="883"/>
                </a:moveTo>
                <a:lnTo>
                  <a:pt x="289" y="883"/>
                </a:lnTo>
                <a:lnTo>
                  <a:pt x="281" y="900"/>
                </a:lnTo>
                <a:lnTo>
                  <a:pt x="276" y="916"/>
                </a:lnTo>
                <a:lnTo>
                  <a:pt x="273" y="930"/>
                </a:lnTo>
                <a:lnTo>
                  <a:pt x="271" y="943"/>
                </a:lnTo>
                <a:lnTo>
                  <a:pt x="272" y="955"/>
                </a:lnTo>
                <a:lnTo>
                  <a:pt x="274" y="966"/>
                </a:lnTo>
                <a:lnTo>
                  <a:pt x="278" y="975"/>
                </a:lnTo>
                <a:lnTo>
                  <a:pt x="284" y="983"/>
                </a:lnTo>
                <a:lnTo>
                  <a:pt x="293" y="991"/>
                </a:lnTo>
                <a:lnTo>
                  <a:pt x="303" y="998"/>
                </a:lnTo>
                <a:lnTo>
                  <a:pt x="316" y="1003"/>
                </a:lnTo>
                <a:lnTo>
                  <a:pt x="331" y="1007"/>
                </a:lnTo>
                <a:lnTo>
                  <a:pt x="349" y="1010"/>
                </a:lnTo>
                <a:lnTo>
                  <a:pt x="369" y="1013"/>
                </a:lnTo>
                <a:lnTo>
                  <a:pt x="392" y="1014"/>
                </a:lnTo>
                <a:lnTo>
                  <a:pt x="417" y="1014"/>
                </a:lnTo>
                <a:lnTo>
                  <a:pt x="417" y="1064"/>
                </a:lnTo>
                <a:lnTo>
                  <a:pt x="0" y="1064"/>
                </a:lnTo>
                <a:lnTo>
                  <a:pt x="0" y="1014"/>
                </a:lnTo>
                <a:lnTo>
                  <a:pt x="0" y="1014"/>
                </a:lnTo>
                <a:lnTo>
                  <a:pt x="22" y="1014"/>
                </a:lnTo>
                <a:lnTo>
                  <a:pt x="41" y="1013"/>
                </a:lnTo>
                <a:lnTo>
                  <a:pt x="59" y="1011"/>
                </a:lnTo>
                <a:lnTo>
                  <a:pt x="76" y="1008"/>
                </a:lnTo>
                <a:lnTo>
                  <a:pt x="91" y="1004"/>
                </a:lnTo>
                <a:lnTo>
                  <a:pt x="106" y="999"/>
                </a:lnTo>
                <a:lnTo>
                  <a:pt x="119" y="992"/>
                </a:lnTo>
                <a:lnTo>
                  <a:pt x="131" y="984"/>
                </a:lnTo>
                <a:lnTo>
                  <a:pt x="142" y="975"/>
                </a:lnTo>
                <a:lnTo>
                  <a:pt x="153" y="964"/>
                </a:lnTo>
                <a:lnTo>
                  <a:pt x="164" y="952"/>
                </a:lnTo>
                <a:lnTo>
                  <a:pt x="173" y="938"/>
                </a:lnTo>
                <a:lnTo>
                  <a:pt x="183" y="922"/>
                </a:lnTo>
                <a:lnTo>
                  <a:pt x="192" y="904"/>
                </a:lnTo>
                <a:lnTo>
                  <a:pt x="203" y="884"/>
                </a:lnTo>
                <a:lnTo>
                  <a:pt x="212" y="863"/>
                </a:lnTo>
                <a:lnTo>
                  <a:pt x="586" y="0"/>
                </a:lnTo>
                <a:lnTo>
                  <a:pt x="623" y="0"/>
                </a:lnTo>
                <a:lnTo>
                  <a:pt x="999" y="863"/>
                </a:lnTo>
                <a:lnTo>
                  <a:pt x="999" y="863"/>
                </a:lnTo>
                <a:lnTo>
                  <a:pt x="1017" y="900"/>
                </a:lnTo>
                <a:lnTo>
                  <a:pt x="1025" y="918"/>
                </a:lnTo>
                <a:lnTo>
                  <a:pt x="1033" y="933"/>
                </a:lnTo>
                <a:lnTo>
                  <a:pt x="1041" y="946"/>
                </a:lnTo>
                <a:lnTo>
                  <a:pt x="1050" y="959"/>
                </a:lnTo>
                <a:lnTo>
                  <a:pt x="1060" y="970"/>
                </a:lnTo>
                <a:lnTo>
                  <a:pt x="1071" y="980"/>
                </a:lnTo>
                <a:lnTo>
                  <a:pt x="1082" y="988"/>
                </a:lnTo>
                <a:lnTo>
                  <a:pt x="1095" y="995"/>
                </a:lnTo>
                <a:lnTo>
                  <a:pt x="1110" y="1002"/>
                </a:lnTo>
                <a:lnTo>
                  <a:pt x="1125" y="1006"/>
                </a:lnTo>
                <a:lnTo>
                  <a:pt x="1142" y="1010"/>
                </a:lnTo>
                <a:lnTo>
                  <a:pt x="1163" y="1012"/>
                </a:lnTo>
                <a:lnTo>
                  <a:pt x="1185" y="1014"/>
                </a:lnTo>
                <a:lnTo>
                  <a:pt x="1210" y="1014"/>
                </a:lnTo>
                <a:lnTo>
                  <a:pt x="1210" y="1064"/>
                </a:lnTo>
                <a:lnTo>
                  <a:pt x="647" y="1064"/>
                </a:lnTo>
                <a:lnTo>
                  <a:pt x="647" y="1014"/>
                </a:lnTo>
                <a:lnTo>
                  <a:pt x="647" y="1014"/>
                </a:lnTo>
                <a:lnTo>
                  <a:pt x="674" y="1014"/>
                </a:lnTo>
                <a:lnTo>
                  <a:pt x="698" y="1012"/>
                </a:lnTo>
                <a:lnTo>
                  <a:pt x="719" y="1010"/>
                </a:lnTo>
                <a:lnTo>
                  <a:pt x="736" y="1007"/>
                </a:lnTo>
                <a:lnTo>
                  <a:pt x="752" y="1003"/>
                </a:lnTo>
                <a:lnTo>
                  <a:pt x="765" y="996"/>
                </a:lnTo>
                <a:lnTo>
                  <a:pt x="775" y="990"/>
                </a:lnTo>
                <a:lnTo>
                  <a:pt x="783" y="983"/>
                </a:lnTo>
                <a:lnTo>
                  <a:pt x="790" y="974"/>
                </a:lnTo>
                <a:lnTo>
                  <a:pt x="793" y="965"/>
                </a:lnTo>
                <a:lnTo>
                  <a:pt x="795" y="954"/>
                </a:lnTo>
                <a:lnTo>
                  <a:pt x="795" y="942"/>
                </a:lnTo>
                <a:lnTo>
                  <a:pt x="793" y="929"/>
                </a:lnTo>
                <a:lnTo>
                  <a:pt x="789" y="915"/>
                </a:lnTo>
                <a:lnTo>
                  <a:pt x="783" y="899"/>
                </a:lnTo>
                <a:lnTo>
                  <a:pt x="776" y="883"/>
                </a:lnTo>
                <a:lnTo>
                  <a:pt x="704" y="719"/>
                </a:lnTo>
                <a:lnTo>
                  <a:pt x="359" y="719"/>
                </a:lnTo>
                <a:lnTo>
                  <a:pt x="289" y="883"/>
                </a:lnTo>
                <a:close/>
                <a:moveTo>
                  <a:pt x="533" y="318"/>
                </a:moveTo>
                <a:lnTo>
                  <a:pt x="394" y="642"/>
                </a:lnTo>
                <a:lnTo>
                  <a:pt x="671" y="642"/>
                </a:lnTo>
                <a:lnTo>
                  <a:pt x="533" y="318"/>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56" name="Freeform 7">
            <a:extLst>
              <a:ext uri="{FF2B5EF4-FFF2-40B4-BE49-F238E27FC236}">
                <a16:creationId xmlns:a16="http://schemas.microsoft.com/office/drawing/2014/main" id="{D9067B2B-2829-7444-8B91-CC44818880A8}"/>
              </a:ext>
            </a:extLst>
          </p:cNvPr>
          <p:cNvSpPr>
            <a:spLocks/>
          </p:cNvSpPr>
          <p:nvPr userDrawn="1"/>
        </p:nvSpPr>
        <p:spPr bwMode="auto">
          <a:xfrm>
            <a:off x="1849438" y="893763"/>
            <a:ext cx="131763" cy="136525"/>
          </a:xfrm>
          <a:custGeom>
            <a:avLst/>
            <a:gdLst>
              <a:gd name="T0" fmla="*/ 0 w 1002"/>
              <a:gd name="T1" fmla="*/ 0 h 1035"/>
              <a:gd name="T2" fmla="*/ 545 w 1002"/>
              <a:gd name="T3" fmla="*/ 50 h 1035"/>
              <a:gd name="T4" fmla="*/ 519 w 1002"/>
              <a:gd name="T5" fmla="*/ 50 h 1035"/>
              <a:gd name="T6" fmla="*/ 476 w 1002"/>
              <a:gd name="T7" fmla="*/ 54 h 1035"/>
              <a:gd name="T8" fmla="*/ 443 w 1002"/>
              <a:gd name="T9" fmla="*/ 63 h 1035"/>
              <a:gd name="T10" fmla="*/ 424 w 1002"/>
              <a:gd name="T11" fmla="*/ 73 h 1035"/>
              <a:gd name="T12" fmla="*/ 413 w 1002"/>
              <a:gd name="T13" fmla="*/ 81 h 1035"/>
              <a:gd name="T14" fmla="*/ 405 w 1002"/>
              <a:gd name="T15" fmla="*/ 92 h 1035"/>
              <a:gd name="T16" fmla="*/ 394 w 1002"/>
              <a:gd name="T17" fmla="*/ 113 h 1035"/>
              <a:gd name="T18" fmla="*/ 385 w 1002"/>
              <a:gd name="T19" fmla="*/ 148 h 1035"/>
              <a:gd name="T20" fmla="*/ 380 w 1002"/>
              <a:gd name="T21" fmla="*/ 194 h 1035"/>
              <a:gd name="T22" fmla="*/ 379 w 1002"/>
              <a:gd name="T23" fmla="*/ 252 h 1035"/>
              <a:gd name="T24" fmla="*/ 379 w 1002"/>
              <a:gd name="T25" fmla="*/ 756 h 1035"/>
              <a:gd name="T26" fmla="*/ 380 w 1002"/>
              <a:gd name="T27" fmla="*/ 814 h 1035"/>
              <a:gd name="T28" fmla="*/ 385 w 1002"/>
              <a:gd name="T29" fmla="*/ 860 h 1035"/>
              <a:gd name="T30" fmla="*/ 394 w 1002"/>
              <a:gd name="T31" fmla="*/ 896 h 1035"/>
              <a:gd name="T32" fmla="*/ 405 w 1002"/>
              <a:gd name="T33" fmla="*/ 915 h 1035"/>
              <a:gd name="T34" fmla="*/ 413 w 1002"/>
              <a:gd name="T35" fmla="*/ 927 h 1035"/>
              <a:gd name="T36" fmla="*/ 424 w 1002"/>
              <a:gd name="T37" fmla="*/ 936 h 1035"/>
              <a:gd name="T38" fmla="*/ 443 w 1002"/>
              <a:gd name="T39" fmla="*/ 946 h 1035"/>
              <a:gd name="T40" fmla="*/ 476 w 1002"/>
              <a:gd name="T41" fmla="*/ 954 h 1035"/>
              <a:gd name="T42" fmla="*/ 519 w 1002"/>
              <a:gd name="T43" fmla="*/ 957 h 1035"/>
              <a:gd name="T44" fmla="*/ 743 w 1002"/>
              <a:gd name="T45" fmla="*/ 957 h 1035"/>
              <a:gd name="T46" fmla="*/ 772 w 1002"/>
              <a:gd name="T47" fmla="*/ 957 h 1035"/>
              <a:gd name="T48" fmla="*/ 819 w 1002"/>
              <a:gd name="T49" fmla="*/ 953 h 1035"/>
              <a:gd name="T50" fmla="*/ 855 w 1002"/>
              <a:gd name="T51" fmla="*/ 946 h 1035"/>
              <a:gd name="T52" fmla="*/ 883 w 1002"/>
              <a:gd name="T53" fmla="*/ 934 h 1035"/>
              <a:gd name="T54" fmla="*/ 904 w 1002"/>
              <a:gd name="T55" fmla="*/ 917 h 1035"/>
              <a:gd name="T56" fmla="*/ 919 w 1002"/>
              <a:gd name="T57" fmla="*/ 897 h 1035"/>
              <a:gd name="T58" fmla="*/ 930 w 1002"/>
              <a:gd name="T59" fmla="*/ 872 h 1035"/>
              <a:gd name="T60" fmla="*/ 943 w 1002"/>
              <a:gd name="T61" fmla="*/ 826 h 1035"/>
              <a:gd name="T62" fmla="*/ 1002 w 1002"/>
              <a:gd name="T63" fmla="*/ 792 h 1035"/>
              <a:gd name="T64" fmla="*/ 0 w 1002"/>
              <a:gd name="T65" fmla="*/ 1035 h 1035"/>
              <a:gd name="T66" fmla="*/ 0 w 1002"/>
              <a:gd name="T67" fmla="*/ 985 h 1035"/>
              <a:gd name="T68" fmla="*/ 48 w 1002"/>
              <a:gd name="T69" fmla="*/ 984 h 1035"/>
              <a:gd name="T70" fmla="*/ 86 w 1002"/>
              <a:gd name="T71" fmla="*/ 978 h 1035"/>
              <a:gd name="T72" fmla="*/ 114 w 1002"/>
              <a:gd name="T73" fmla="*/ 966 h 1035"/>
              <a:gd name="T74" fmla="*/ 125 w 1002"/>
              <a:gd name="T75" fmla="*/ 958 h 1035"/>
              <a:gd name="T76" fmla="*/ 136 w 1002"/>
              <a:gd name="T77" fmla="*/ 949 h 1035"/>
              <a:gd name="T78" fmla="*/ 143 w 1002"/>
              <a:gd name="T79" fmla="*/ 937 h 1035"/>
              <a:gd name="T80" fmla="*/ 154 w 1002"/>
              <a:gd name="T81" fmla="*/ 906 h 1035"/>
              <a:gd name="T82" fmla="*/ 161 w 1002"/>
              <a:gd name="T83" fmla="*/ 866 h 1035"/>
              <a:gd name="T84" fmla="*/ 163 w 1002"/>
              <a:gd name="T85" fmla="*/ 814 h 1035"/>
              <a:gd name="T86" fmla="*/ 163 w 1002"/>
              <a:gd name="T87" fmla="*/ 252 h 1035"/>
              <a:gd name="T88" fmla="*/ 163 w 1002"/>
              <a:gd name="T89" fmla="*/ 221 h 1035"/>
              <a:gd name="T90" fmla="*/ 161 w 1002"/>
              <a:gd name="T91" fmla="*/ 169 h 1035"/>
              <a:gd name="T92" fmla="*/ 154 w 1002"/>
              <a:gd name="T93" fmla="*/ 129 h 1035"/>
              <a:gd name="T94" fmla="*/ 143 w 1002"/>
              <a:gd name="T95" fmla="*/ 98 h 1035"/>
              <a:gd name="T96" fmla="*/ 136 w 1002"/>
              <a:gd name="T97" fmla="*/ 86 h 1035"/>
              <a:gd name="T98" fmla="*/ 125 w 1002"/>
              <a:gd name="T99" fmla="*/ 77 h 1035"/>
              <a:gd name="T100" fmla="*/ 114 w 1002"/>
              <a:gd name="T101" fmla="*/ 69 h 1035"/>
              <a:gd name="T102" fmla="*/ 86 w 1002"/>
              <a:gd name="T103" fmla="*/ 58 h 1035"/>
              <a:gd name="T104" fmla="*/ 48 w 1002"/>
              <a:gd name="T105" fmla="*/ 51 h 1035"/>
              <a:gd name="T106" fmla="*/ 0 w 1002"/>
              <a:gd name="T107" fmla="*/ 50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02" h="1035">
                <a:moveTo>
                  <a:pt x="0" y="50"/>
                </a:moveTo>
                <a:lnTo>
                  <a:pt x="0" y="0"/>
                </a:lnTo>
                <a:lnTo>
                  <a:pt x="545" y="0"/>
                </a:lnTo>
                <a:lnTo>
                  <a:pt x="545" y="50"/>
                </a:lnTo>
                <a:lnTo>
                  <a:pt x="545" y="50"/>
                </a:lnTo>
                <a:lnTo>
                  <a:pt x="519" y="50"/>
                </a:lnTo>
                <a:lnTo>
                  <a:pt x="497" y="51"/>
                </a:lnTo>
                <a:lnTo>
                  <a:pt x="476" y="54"/>
                </a:lnTo>
                <a:lnTo>
                  <a:pt x="459" y="58"/>
                </a:lnTo>
                <a:lnTo>
                  <a:pt x="443" y="63"/>
                </a:lnTo>
                <a:lnTo>
                  <a:pt x="429" y="69"/>
                </a:lnTo>
                <a:lnTo>
                  <a:pt x="424" y="73"/>
                </a:lnTo>
                <a:lnTo>
                  <a:pt x="418" y="77"/>
                </a:lnTo>
                <a:lnTo>
                  <a:pt x="413" y="81"/>
                </a:lnTo>
                <a:lnTo>
                  <a:pt x="409" y="86"/>
                </a:lnTo>
                <a:lnTo>
                  <a:pt x="405" y="92"/>
                </a:lnTo>
                <a:lnTo>
                  <a:pt x="400" y="98"/>
                </a:lnTo>
                <a:lnTo>
                  <a:pt x="394" y="113"/>
                </a:lnTo>
                <a:lnTo>
                  <a:pt x="389" y="129"/>
                </a:lnTo>
                <a:lnTo>
                  <a:pt x="385" y="148"/>
                </a:lnTo>
                <a:lnTo>
                  <a:pt x="382" y="169"/>
                </a:lnTo>
                <a:lnTo>
                  <a:pt x="380" y="194"/>
                </a:lnTo>
                <a:lnTo>
                  <a:pt x="379" y="221"/>
                </a:lnTo>
                <a:lnTo>
                  <a:pt x="379" y="252"/>
                </a:lnTo>
                <a:lnTo>
                  <a:pt x="379" y="756"/>
                </a:lnTo>
                <a:lnTo>
                  <a:pt x="379" y="756"/>
                </a:lnTo>
                <a:lnTo>
                  <a:pt x="379" y="787"/>
                </a:lnTo>
                <a:lnTo>
                  <a:pt x="380" y="814"/>
                </a:lnTo>
                <a:lnTo>
                  <a:pt x="382" y="839"/>
                </a:lnTo>
                <a:lnTo>
                  <a:pt x="385" y="860"/>
                </a:lnTo>
                <a:lnTo>
                  <a:pt x="389" y="879"/>
                </a:lnTo>
                <a:lnTo>
                  <a:pt x="394" y="896"/>
                </a:lnTo>
                <a:lnTo>
                  <a:pt x="400" y="909"/>
                </a:lnTo>
                <a:lnTo>
                  <a:pt x="405" y="915"/>
                </a:lnTo>
                <a:lnTo>
                  <a:pt x="409" y="921"/>
                </a:lnTo>
                <a:lnTo>
                  <a:pt x="413" y="927"/>
                </a:lnTo>
                <a:lnTo>
                  <a:pt x="418" y="932"/>
                </a:lnTo>
                <a:lnTo>
                  <a:pt x="424" y="936"/>
                </a:lnTo>
                <a:lnTo>
                  <a:pt x="429" y="939"/>
                </a:lnTo>
                <a:lnTo>
                  <a:pt x="443" y="946"/>
                </a:lnTo>
                <a:lnTo>
                  <a:pt x="459" y="950"/>
                </a:lnTo>
                <a:lnTo>
                  <a:pt x="476" y="954"/>
                </a:lnTo>
                <a:lnTo>
                  <a:pt x="497" y="956"/>
                </a:lnTo>
                <a:lnTo>
                  <a:pt x="519" y="957"/>
                </a:lnTo>
                <a:lnTo>
                  <a:pt x="545" y="957"/>
                </a:lnTo>
                <a:lnTo>
                  <a:pt x="743" y="957"/>
                </a:lnTo>
                <a:lnTo>
                  <a:pt x="743" y="957"/>
                </a:lnTo>
                <a:lnTo>
                  <a:pt x="772" y="957"/>
                </a:lnTo>
                <a:lnTo>
                  <a:pt x="796" y="955"/>
                </a:lnTo>
                <a:lnTo>
                  <a:pt x="819" y="953"/>
                </a:lnTo>
                <a:lnTo>
                  <a:pt x="838" y="950"/>
                </a:lnTo>
                <a:lnTo>
                  <a:pt x="855" y="946"/>
                </a:lnTo>
                <a:lnTo>
                  <a:pt x="871" y="940"/>
                </a:lnTo>
                <a:lnTo>
                  <a:pt x="883" y="934"/>
                </a:lnTo>
                <a:lnTo>
                  <a:pt x="894" y="927"/>
                </a:lnTo>
                <a:lnTo>
                  <a:pt x="904" y="917"/>
                </a:lnTo>
                <a:lnTo>
                  <a:pt x="912" y="908"/>
                </a:lnTo>
                <a:lnTo>
                  <a:pt x="919" y="897"/>
                </a:lnTo>
                <a:lnTo>
                  <a:pt x="925" y="886"/>
                </a:lnTo>
                <a:lnTo>
                  <a:pt x="930" y="872"/>
                </a:lnTo>
                <a:lnTo>
                  <a:pt x="935" y="858"/>
                </a:lnTo>
                <a:lnTo>
                  <a:pt x="943" y="826"/>
                </a:lnTo>
                <a:lnTo>
                  <a:pt x="952" y="792"/>
                </a:lnTo>
                <a:lnTo>
                  <a:pt x="1002" y="792"/>
                </a:lnTo>
                <a:lnTo>
                  <a:pt x="988" y="1035"/>
                </a:lnTo>
                <a:lnTo>
                  <a:pt x="0" y="1035"/>
                </a:lnTo>
                <a:lnTo>
                  <a:pt x="0" y="985"/>
                </a:lnTo>
                <a:lnTo>
                  <a:pt x="0" y="985"/>
                </a:lnTo>
                <a:lnTo>
                  <a:pt x="25" y="985"/>
                </a:lnTo>
                <a:lnTo>
                  <a:pt x="48" y="984"/>
                </a:lnTo>
                <a:lnTo>
                  <a:pt x="68" y="982"/>
                </a:lnTo>
                <a:lnTo>
                  <a:pt x="86" y="978"/>
                </a:lnTo>
                <a:lnTo>
                  <a:pt x="101" y="973"/>
                </a:lnTo>
                <a:lnTo>
                  <a:pt x="114" y="966"/>
                </a:lnTo>
                <a:lnTo>
                  <a:pt x="120" y="963"/>
                </a:lnTo>
                <a:lnTo>
                  <a:pt x="125" y="958"/>
                </a:lnTo>
                <a:lnTo>
                  <a:pt x="131" y="954"/>
                </a:lnTo>
                <a:lnTo>
                  <a:pt x="136" y="949"/>
                </a:lnTo>
                <a:lnTo>
                  <a:pt x="140" y="943"/>
                </a:lnTo>
                <a:lnTo>
                  <a:pt x="143" y="937"/>
                </a:lnTo>
                <a:lnTo>
                  <a:pt x="150" y="923"/>
                </a:lnTo>
                <a:lnTo>
                  <a:pt x="154" y="906"/>
                </a:lnTo>
                <a:lnTo>
                  <a:pt x="158" y="888"/>
                </a:lnTo>
                <a:lnTo>
                  <a:pt x="161" y="866"/>
                </a:lnTo>
                <a:lnTo>
                  <a:pt x="162" y="842"/>
                </a:lnTo>
                <a:lnTo>
                  <a:pt x="163" y="814"/>
                </a:lnTo>
                <a:lnTo>
                  <a:pt x="163" y="783"/>
                </a:lnTo>
                <a:lnTo>
                  <a:pt x="163" y="252"/>
                </a:lnTo>
                <a:lnTo>
                  <a:pt x="163" y="252"/>
                </a:lnTo>
                <a:lnTo>
                  <a:pt x="163" y="221"/>
                </a:lnTo>
                <a:lnTo>
                  <a:pt x="162" y="194"/>
                </a:lnTo>
                <a:lnTo>
                  <a:pt x="161" y="169"/>
                </a:lnTo>
                <a:lnTo>
                  <a:pt x="158" y="148"/>
                </a:lnTo>
                <a:lnTo>
                  <a:pt x="154" y="129"/>
                </a:lnTo>
                <a:lnTo>
                  <a:pt x="150" y="113"/>
                </a:lnTo>
                <a:lnTo>
                  <a:pt x="143" y="98"/>
                </a:lnTo>
                <a:lnTo>
                  <a:pt x="140" y="92"/>
                </a:lnTo>
                <a:lnTo>
                  <a:pt x="136" y="86"/>
                </a:lnTo>
                <a:lnTo>
                  <a:pt x="131" y="81"/>
                </a:lnTo>
                <a:lnTo>
                  <a:pt x="125" y="77"/>
                </a:lnTo>
                <a:lnTo>
                  <a:pt x="120" y="73"/>
                </a:lnTo>
                <a:lnTo>
                  <a:pt x="114" y="69"/>
                </a:lnTo>
                <a:lnTo>
                  <a:pt x="101" y="63"/>
                </a:lnTo>
                <a:lnTo>
                  <a:pt x="86" y="58"/>
                </a:lnTo>
                <a:lnTo>
                  <a:pt x="68" y="54"/>
                </a:lnTo>
                <a:lnTo>
                  <a:pt x="48" y="51"/>
                </a:lnTo>
                <a:lnTo>
                  <a:pt x="25" y="50"/>
                </a:lnTo>
                <a:lnTo>
                  <a:pt x="0" y="50"/>
                </a:lnTo>
                <a:lnTo>
                  <a:pt x="0" y="50"/>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57" name="Freeform 8">
            <a:extLst>
              <a:ext uri="{FF2B5EF4-FFF2-40B4-BE49-F238E27FC236}">
                <a16:creationId xmlns:a16="http://schemas.microsoft.com/office/drawing/2014/main" id="{1D2160BE-DEA1-534A-A109-C55F9A86EF32}"/>
              </a:ext>
            </a:extLst>
          </p:cNvPr>
          <p:cNvSpPr>
            <a:spLocks/>
          </p:cNvSpPr>
          <p:nvPr userDrawn="1"/>
        </p:nvSpPr>
        <p:spPr bwMode="auto">
          <a:xfrm>
            <a:off x="1982788" y="893763"/>
            <a:ext cx="142875" cy="136525"/>
          </a:xfrm>
          <a:custGeom>
            <a:avLst/>
            <a:gdLst>
              <a:gd name="T0" fmla="*/ 1028 w 1078"/>
              <a:gd name="T1" fmla="*/ 244 h 1035"/>
              <a:gd name="T2" fmla="*/ 1019 w 1078"/>
              <a:gd name="T3" fmla="*/ 209 h 1035"/>
              <a:gd name="T4" fmla="*/ 1006 w 1078"/>
              <a:gd name="T5" fmla="*/ 163 h 1035"/>
              <a:gd name="T6" fmla="*/ 995 w 1078"/>
              <a:gd name="T7" fmla="*/ 138 h 1035"/>
              <a:gd name="T8" fmla="*/ 979 w 1078"/>
              <a:gd name="T9" fmla="*/ 118 h 1035"/>
              <a:gd name="T10" fmla="*/ 959 w 1078"/>
              <a:gd name="T11" fmla="*/ 101 h 1035"/>
              <a:gd name="T12" fmla="*/ 931 w 1078"/>
              <a:gd name="T13" fmla="*/ 90 h 1035"/>
              <a:gd name="T14" fmla="*/ 895 w 1078"/>
              <a:gd name="T15" fmla="*/ 82 h 1035"/>
              <a:gd name="T16" fmla="*/ 848 w 1078"/>
              <a:gd name="T17" fmla="*/ 78 h 1035"/>
              <a:gd name="T18" fmla="*/ 646 w 1078"/>
              <a:gd name="T19" fmla="*/ 78 h 1035"/>
              <a:gd name="T20" fmla="*/ 646 w 1078"/>
              <a:gd name="T21" fmla="*/ 783 h 1035"/>
              <a:gd name="T22" fmla="*/ 648 w 1078"/>
              <a:gd name="T23" fmla="*/ 842 h 1035"/>
              <a:gd name="T24" fmla="*/ 652 w 1078"/>
              <a:gd name="T25" fmla="*/ 888 h 1035"/>
              <a:gd name="T26" fmla="*/ 661 w 1078"/>
              <a:gd name="T27" fmla="*/ 923 h 1035"/>
              <a:gd name="T28" fmla="*/ 672 w 1078"/>
              <a:gd name="T29" fmla="*/ 943 h 1035"/>
              <a:gd name="T30" fmla="*/ 680 w 1078"/>
              <a:gd name="T31" fmla="*/ 954 h 1035"/>
              <a:gd name="T32" fmla="*/ 691 w 1078"/>
              <a:gd name="T33" fmla="*/ 963 h 1035"/>
              <a:gd name="T34" fmla="*/ 711 w 1078"/>
              <a:gd name="T35" fmla="*/ 973 h 1035"/>
              <a:gd name="T36" fmla="*/ 743 w 1078"/>
              <a:gd name="T37" fmla="*/ 982 h 1035"/>
              <a:gd name="T38" fmla="*/ 786 w 1078"/>
              <a:gd name="T39" fmla="*/ 985 h 1035"/>
              <a:gd name="T40" fmla="*/ 812 w 1078"/>
              <a:gd name="T41" fmla="*/ 1035 h 1035"/>
              <a:gd name="T42" fmla="*/ 267 w 1078"/>
              <a:gd name="T43" fmla="*/ 985 h 1035"/>
              <a:gd name="T44" fmla="*/ 292 w 1078"/>
              <a:gd name="T45" fmla="*/ 985 h 1035"/>
              <a:gd name="T46" fmla="*/ 335 w 1078"/>
              <a:gd name="T47" fmla="*/ 982 h 1035"/>
              <a:gd name="T48" fmla="*/ 368 w 1078"/>
              <a:gd name="T49" fmla="*/ 973 h 1035"/>
              <a:gd name="T50" fmla="*/ 387 w 1078"/>
              <a:gd name="T51" fmla="*/ 963 h 1035"/>
              <a:gd name="T52" fmla="*/ 398 w 1078"/>
              <a:gd name="T53" fmla="*/ 954 h 1035"/>
              <a:gd name="T54" fmla="*/ 407 w 1078"/>
              <a:gd name="T55" fmla="*/ 943 h 1035"/>
              <a:gd name="T56" fmla="*/ 417 w 1078"/>
              <a:gd name="T57" fmla="*/ 923 h 1035"/>
              <a:gd name="T58" fmla="*/ 425 w 1078"/>
              <a:gd name="T59" fmla="*/ 888 h 1035"/>
              <a:gd name="T60" fmla="*/ 429 w 1078"/>
              <a:gd name="T61" fmla="*/ 842 h 1035"/>
              <a:gd name="T62" fmla="*/ 431 w 1078"/>
              <a:gd name="T63" fmla="*/ 783 h 1035"/>
              <a:gd name="T64" fmla="*/ 259 w 1078"/>
              <a:gd name="T65" fmla="*/ 78 h 1035"/>
              <a:gd name="T66" fmla="*/ 231 w 1078"/>
              <a:gd name="T67" fmla="*/ 78 h 1035"/>
              <a:gd name="T68" fmla="*/ 184 w 1078"/>
              <a:gd name="T69" fmla="*/ 82 h 1035"/>
              <a:gd name="T70" fmla="*/ 147 w 1078"/>
              <a:gd name="T71" fmla="*/ 90 h 1035"/>
              <a:gd name="T72" fmla="*/ 120 w 1078"/>
              <a:gd name="T73" fmla="*/ 101 h 1035"/>
              <a:gd name="T74" fmla="*/ 99 w 1078"/>
              <a:gd name="T75" fmla="*/ 118 h 1035"/>
              <a:gd name="T76" fmla="*/ 85 w 1078"/>
              <a:gd name="T77" fmla="*/ 138 h 1035"/>
              <a:gd name="T78" fmla="*/ 74 w 1078"/>
              <a:gd name="T79" fmla="*/ 163 h 1035"/>
              <a:gd name="T80" fmla="*/ 60 w 1078"/>
              <a:gd name="T81" fmla="*/ 209 h 1035"/>
              <a:gd name="T82" fmla="*/ 0 w 1078"/>
              <a:gd name="T83" fmla="*/ 244 h 1035"/>
              <a:gd name="T84" fmla="*/ 1064 w 1078"/>
              <a:gd name="T85" fmla="*/ 0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8" h="1035">
                <a:moveTo>
                  <a:pt x="1078" y="244"/>
                </a:moveTo>
                <a:lnTo>
                  <a:pt x="1028" y="244"/>
                </a:lnTo>
                <a:lnTo>
                  <a:pt x="1019" y="209"/>
                </a:lnTo>
                <a:lnTo>
                  <a:pt x="1019" y="209"/>
                </a:lnTo>
                <a:lnTo>
                  <a:pt x="1011" y="177"/>
                </a:lnTo>
                <a:lnTo>
                  <a:pt x="1006" y="163"/>
                </a:lnTo>
                <a:lnTo>
                  <a:pt x="1001" y="150"/>
                </a:lnTo>
                <a:lnTo>
                  <a:pt x="995" y="138"/>
                </a:lnTo>
                <a:lnTo>
                  <a:pt x="988" y="127"/>
                </a:lnTo>
                <a:lnTo>
                  <a:pt x="979" y="118"/>
                </a:lnTo>
                <a:lnTo>
                  <a:pt x="970" y="109"/>
                </a:lnTo>
                <a:lnTo>
                  <a:pt x="959" y="101"/>
                </a:lnTo>
                <a:lnTo>
                  <a:pt x="946" y="95"/>
                </a:lnTo>
                <a:lnTo>
                  <a:pt x="931" y="90"/>
                </a:lnTo>
                <a:lnTo>
                  <a:pt x="914" y="85"/>
                </a:lnTo>
                <a:lnTo>
                  <a:pt x="895" y="82"/>
                </a:lnTo>
                <a:lnTo>
                  <a:pt x="872" y="80"/>
                </a:lnTo>
                <a:lnTo>
                  <a:pt x="848" y="78"/>
                </a:lnTo>
                <a:lnTo>
                  <a:pt x="819" y="78"/>
                </a:lnTo>
                <a:lnTo>
                  <a:pt x="646" y="78"/>
                </a:lnTo>
                <a:lnTo>
                  <a:pt x="646" y="783"/>
                </a:lnTo>
                <a:lnTo>
                  <a:pt x="646" y="783"/>
                </a:lnTo>
                <a:lnTo>
                  <a:pt x="647" y="814"/>
                </a:lnTo>
                <a:lnTo>
                  <a:pt x="648" y="842"/>
                </a:lnTo>
                <a:lnTo>
                  <a:pt x="649" y="866"/>
                </a:lnTo>
                <a:lnTo>
                  <a:pt x="652" y="888"/>
                </a:lnTo>
                <a:lnTo>
                  <a:pt x="656" y="906"/>
                </a:lnTo>
                <a:lnTo>
                  <a:pt x="661" y="923"/>
                </a:lnTo>
                <a:lnTo>
                  <a:pt x="668" y="937"/>
                </a:lnTo>
                <a:lnTo>
                  <a:pt x="672" y="943"/>
                </a:lnTo>
                <a:lnTo>
                  <a:pt x="676" y="949"/>
                </a:lnTo>
                <a:lnTo>
                  <a:pt x="680" y="954"/>
                </a:lnTo>
                <a:lnTo>
                  <a:pt x="685" y="958"/>
                </a:lnTo>
                <a:lnTo>
                  <a:pt x="691" y="963"/>
                </a:lnTo>
                <a:lnTo>
                  <a:pt x="697" y="966"/>
                </a:lnTo>
                <a:lnTo>
                  <a:pt x="711" y="973"/>
                </a:lnTo>
                <a:lnTo>
                  <a:pt x="726" y="978"/>
                </a:lnTo>
                <a:lnTo>
                  <a:pt x="743" y="982"/>
                </a:lnTo>
                <a:lnTo>
                  <a:pt x="764" y="984"/>
                </a:lnTo>
                <a:lnTo>
                  <a:pt x="786" y="985"/>
                </a:lnTo>
                <a:lnTo>
                  <a:pt x="812" y="985"/>
                </a:lnTo>
                <a:lnTo>
                  <a:pt x="812" y="1035"/>
                </a:lnTo>
                <a:lnTo>
                  <a:pt x="267" y="1035"/>
                </a:lnTo>
                <a:lnTo>
                  <a:pt x="267" y="985"/>
                </a:lnTo>
                <a:lnTo>
                  <a:pt x="267" y="985"/>
                </a:lnTo>
                <a:lnTo>
                  <a:pt x="292" y="985"/>
                </a:lnTo>
                <a:lnTo>
                  <a:pt x="315" y="984"/>
                </a:lnTo>
                <a:lnTo>
                  <a:pt x="335" y="982"/>
                </a:lnTo>
                <a:lnTo>
                  <a:pt x="353" y="978"/>
                </a:lnTo>
                <a:lnTo>
                  <a:pt x="368" y="973"/>
                </a:lnTo>
                <a:lnTo>
                  <a:pt x="381" y="966"/>
                </a:lnTo>
                <a:lnTo>
                  <a:pt x="387" y="963"/>
                </a:lnTo>
                <a:lnTo>
                  <a:pt x="394" y="958"/>
                </a:lnTo>
                <a:lnTo>
                  <a:pt x="398" y="954"/>
                </a:lnTo>
                <a:lnTo>
                  <a:pt x="403" y="949"/>
                </a:lnTo>
                <a:lnTo>
                  <a:pt x="407" y="943"/>
                </a:lnTo>
                <a:lnTo>
                  <a:pt x="411" y="937"/>
                </a:lnTo>
                <a:lnTo>
                  <a:pt x="417" y="923"/>
                </a:lnTo>
                <a:lnTo>
                  <a:pt x="422" y="906"/>
                </a:lnTo>
                <a:lnTo>
                  <a:pt x="425" y="888"/>
                </a:lnTo>
                <a:lnTo>
                  <a:pt x="428" y="866"/>
                </a:lnTo>
                <a:lnTo>
                  <a:pt x="429" y="842"/>
                </a:lnTo>
                <a:lnTo>
                  <a:pt x="430" y="814"/>
                </a:lnTo>
                <a:lnTo>
                  <a:pt x="431" y="783"/>
                </a:lnTo>
                <a:lnTo>
                  <a:pt x="431" y="78"/>
                </a:lnTo>
                <a:lnTo>
                  <a:pt x="259" y="78"/>
                </a:lnTo>
                <a:lnTo>
                  <a:pt x="259" y="78"/>
                </a:lnTo>
                <a:lnTo>
                  <a:pt x="231" y="78"/>
                </a:lnTo>
                <a:lnTo>
                  <a:pt x="205" y="80"/>
                </a:lnTo>
                <a:lnTo>
                  <a:pt x="184" y="82"/>
                </a:lnTo>
                <a:lnTo>
                  <a:pt x="165" y="85"/>
                </a:lnTo>
                <a:lnTo>
                  <a:pt x="147" y="90"/>
                </a:lnTo>
                <a:lnTo>
                  <a:pt x="133" y="95"/>
                </a:lnTo>
                <a:lnTo>
                  <a:pt x="120" y="101"/>
                </a:lnTo>
                <a:lnTo>
                  <a:pt x="108" y="109"/>
                </a:lnTo>
                <a:lnTo>
                  <a:pt x="99" y="118"/>
                </a:lnTo>
                <a:lnTo>
                  <a:pt x="91" y="127"/>
                </a:lnTo>
                <a:lnTo>
                  <a:pt x="85" y="138"/>
                </a:lnTo>
                <a:lnTo>
                  <a:pt x="79" y="150"/>
                </a:lnTo>
                <a:lnTo>
                  <a:pt x="74" y="163"/>
                </a:lnTo>
                <a:lnTo>
                  <a:pt x="68" y="177"/>
                </a:lnTo>
                <a:lnTo>
                  <a:pt x="60" y="209"/>
                </a:lnTo>
                <a:lnTo>
                  <a:pt x="51" y="244"/>
                </a:lnTo>
                <a:lnTo>
                  <a:pt x="0" y="244"/>
                </a:lnTo>
                <a:lnTo>
                  <a:pt x="15" y="0"/>
                </a:lnTo>
                <a:lnTo>
                  <a:pt x="1064" y="0"/>
                </a:lnTo>
                <a:lnTo>
                  <a:pt x="1078" y="244"/>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58" name="Freeform 9">
            <a:extLst>
              <a:ext uri="{FF2B5EF4-FFF2-40B4-BE49-F238E27FC236}">
                <a16:creationId xmlns:a16="http://schemas.microsoft.com/office/drawing/2014/main" id="{7DCC9B10-BD4A-BD4C-B031-9A4754EF4F53}"/>
              </a:ext>
            </a:extLst>
          </p:cNvPr>
          <p:cNvSpPr>
            <a:spLocks/>
          </p:cNvSpPr>
          <p:nvPr userDrawn="1"/>
        </p:nvSpPr>
        <p:spPr bwMode="auto">
          <a:xfrm>
            <a:off x="2152651" y="893763"/>
            <a:ext cx="73025" cy="136525"/>
          </a:xfrm>
          <a:custGeom>
            <a:avLst/>
            <a:gdLst>
              <a:gd name="T0" fmla="*/ 0 w 545"/>
              <a:gd name="T1" fmla="*/ 985 h 1035"/>
              <a:gd name="T2" fmla="*/ 26 w 545"/>
              <a:gd name="T3" fmla="*/ 985 h 1035"/>
              <a:gd name="T4" fmla="*/ 69 w 545"/>
              <a:gd name="T5" fmla="*/ 982 h 1035"/>
              <a:gd name="T6" fmla="*/ 102 w 545"/>
              <a:gd name="T7" fmla="*/ 973 h 1035"/>
              <a:gd name="T8" fmla="*/ 121 w 545"/>
              <a:gd name="T9" fmla="*/ 963 h 1035"/>
              <a:gd name="T10" fmla="*/ 131 w 545"/>
              <a:gd name="T11" fmla="*/ 954 h 1035"/>
              <a:gd name="T12" fmla="*/ 140 w 545"/>
              <a:gd name="T13" fmla="*/ 943 h 1035"/>
              <a:gd name="T14" fmla="*/ 151 w 545"/>
              <a:gd name="T15" fmla="*/ 923 h 1035"/>
              <a:gd name="T16" fmla="*/ 159 w 545"/>
              <a:gd name="T17" fmla="*/ 888 h 1035"/>
              <a:gd name="T18" fmla="*/ 163 w 545"/>
              <a:gd name="T19" fmla="*/ 842 h 1035"/>
              <a:gd name="T20" fmla="*/ 164 w 545"/>
              <a:gd name="T21" fmla="*/ 783 h 1035"/>
              <a:gd name="T22" fmla="*/ 164 w 545"/>
              <a:gd name="T23" fmla="*/ 252 h 1035"/>
              <a:gd name="T24" fmla="*/ 163 w 545"/>
              <a:gd name="T25" fmla="*/ 194 h 1035"/>
              <a:gd name="T26" fmla="*/ 159 w 545"/>
              <a:gd name="T27" fmla="*/ 148 h 1035"/>
              <a:gd name="T28" fmla="*/ 151 w 545"/>
              <a:gd name="T29" fmla="*/ 113 h 1035"/>
              <a:gd name="T30" fmla="*/ 140 w 545"/>
              <a:gd name="T31" fmla="*/ 92 h 1035"/>
              <a:gd name="T32" fmla="*/ 131 w 545"/>
              <a:gd name="T33" fmla="*/ 81 h 1035"/>
              <a:gd name="T34" fmla="*/ 121 w 545"/>
              <a:gd name="T35" fmla="*/ 73 h 1035"/>
              <a:gd name="T36" fmla="*/ 102 w 545"/>
              <a:gd name="T37" fmla="*/ 63 h 1035"/>
              <a:gd name="T38" fmla="*/ 69 w 545"/>
              <a:gd name="T39" fmla="*/ 54 h 1035"/>
              <a:gd name="T40" fmla="*/ 26 w 545"/>
              <a:gd name="T41" fmla="*/ 50 h 1035"/>
              <a:gd name="T42" fmla="*/ 0 w 545"/>
              <a:gd name="T43" fmla="*/ 0 h 1035"/>
              <a:gd name="T44" fmla="*/ 545 w 545"/>
              <a:gd name="T45" fmla="*/ 50 h 1035"/>
              <a:gd name="T46" fmla="*/ 520 w 545"/>
              <a:gd name="T47" fmla="*/ 50 h 1035"/>
              <a:gd name="T48" fmla="*/ 477 w 545"/>
              <a:gd name="T49" fmla="*/ 54 h 1035"/>
              <a:gd name="T50" fmla="*/ 444 w 545"/>
              <a:gd name="T51" fmla="*/ 63 h 1035"/>
              <a:gd name="T52" fmla="*/ 425 w 545"/>
              <a:gd name="T53" fmla="*/ 73 h 1035"/>
              <a:gd name="T54" fmla="*/ 413 w 545"/>
              <a:gd name="T55" fmla="*/ 81 h 1035"/>
              <a:gd name="T56" fmla="*/ 405 w 545"/>
              <a:gd name="T57" fmla="*/ 92 h 1035"/>
              <a:gd name="T58" fmla="*/ 395 w 545"/>
              <a:gd name="T59" fmla="*/ 113 h 1035"/>
              <a:gd name="T60" fmla="*/ 386 w 545"/>
              <a:gd name="T61" fmla="*/ 148 h 1035"/>
              <a:gd name="T62" fmla="*/ 381 w 545"/>
              <a:gd name="T63" fmla="*/ 194 h 1035"/>
              <a:gd name="T64" fmla="*/ 380 w 545"/>
              <a:gd name="T65" fmla="*/ 252 h 1035"/>
              <a:gd name="T66" fmla="*/ 380 w 545"/>
              <a:gd name="T67" fmla="*/ 783 h 1035"/>
              <a:gd name="T68" fmla="*/ 381 w 545"/>
              <a:gd name="T69" fmla="*/ 842 h 1035"/>
              <a:gd name="T70" fmla="*/ 386 w 545"/>
              <a:gd name="T71" fmla="*/ 888 h 1035"/>
              <a:gd name="T72" fmla="*/ 395 w 545"/>
              <a:gd name="T73" fmla="*/ 923 h 1035"/>
              <a:gd name="T74" fmla="*/ 405 w 545"/>
              <a:gd name="T75" fmla="*/ 943 h 1035"/>
              <a:gd name="T76" fmla="*/ 413 w 545"/>
              <a:gd name="T77" fmla="*/ 954 h 1035"/>
              <a:gd name="T78" fmla="*/ 425 w 545"/>
              <a:gd name="T79" fmla="*/ 963 h 1035"/>
              <a:gd name="T80" fmla="*/ 444 w 545"/>
              <a:gd name="T81" fmla="*/ 973 h 1035"/>
              <a:gd name="T82" fmla="*/ 477 w 545"/>
              <a:gd name="T83" fmla="*/ 982 h 1035"/>
              <a:gd name="T84" fmla="*/ 520 w 545"/>
              <a:gd name="T85" fmla="*/ 985 h 1035"/>
              <a:gd name="T86" fmla="*/ 545 w 545"/>
              <a:gd name="T87" fmla="*/ 1035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5" h="1035">
                <a:moveTo>
                  <a:pt x="0" y="1035"/>
                </a:moveTo>
                <a:lnTo>
                  <a:pt x="0" y="985"/>
                </a:lnTo>
                <a:lnTo>
                  <a:pt x="0" y="985"/>
                </a:lnTo>
                <a:lnTo>
                  <a:pt x="26" y="985"/>
                </a:lnTo>
                <a:lnTo>
                  <a:pt x="48" y="984"/>
                </a:lnTo>
                <a:lnTo>
                  <a:pt x="69" y="982"/>
                </a:lnTo>
                <a:lnTo>
                  <a:pt x="86" y="978"/>
                </a:lnTo>
                <a:lnTo>
                  <a:pt x="102" y="973"/>
                </a:lnTo>
                <a:lnTo>
                  <a:pt x="115" y="966"/>
                </a:lnTo>
                <a:lnTo>
                  <a:pt x="121" y="963"/>
                </a:lnTo>
                <a:lnTo>
                  <a:pt x="126" y="958"/>
                </a:lnTo>
                <a:lnTo>
                  <a:pt x="131" y="954"/>
                </a:lnTo>
                <a:lnTo>
                  <a:pt x="136" y="949"/>
                </a:lnTo>
                <a:lnTo>
                  <a:pt x="140" y="943"/>
                </a:lnTo>
                <a:lnTo>
                  <a:pt x="143" y="937"/>
                </a:lnTo>
                <a:lnTo>
                  <a:pt x="151" y="923"/>
                </a:lnTo>
                <a:lnTo>
                  <a:pt x="155" y="906"/>
                </a:lnTo>
                <a:lnTo>
                  <a:pt x="159" y="888"/>
                </a:lnTo>
                <a:lnTo>
                  <a:pt x="162" y="866"/>
                </a:lnTo>
                <a:lnTo>
                  <a:pt x="163" y="842"/>
                </a:lnTo>
                <a:lnTo>
                  <a:pt x="164" y="814"/>
                </a:lnTo>
                <a:lnTo>
                  <a:pt x="164" y="783"/>
                </a:lnTo>
                <a:lnTo>
                  <a:pt x="164" y="252"/>
                </a:lnTo>
                <a:lnTo>
                  <a:pt x="164" y="252"/>
                </a:lnTo>
                <a:lnTo>
                  <a:pt x="164" y="221"/>
                </a:lnTo>
                <a:lnTo>
                  <a:pt x="163" y="194"/>
                </a:lnTo>
                <a:lnTo>
                  <a:pt x="162" y="169"/>
                </a:lnTo>
                <a:lnTo>
                  <a:pt x="159" y="148"/>
                </a:lnTo>
                <a:lnTo>
                  <a:pt x="155" y="129"/>
                </a:lnTo>
                <a:lnTo>
                  <a:pt x="151" y="113"/>
                </a:lnTo>
                <a:lnTo>
                  <a:pt x="143" y="98"/>
                </a:lnTo>
                <a:lnTo>
                  <a:pt x="140" y="92"/>
                </a:lnTo>
                <a:lnTo>
                  <a:pt x="136" y="86"/>
                </a:lnTo>
                <a:lnTo>
                  <a:pt x="131" y="81"/>
                </a:lnTo>
                <a:lnTo>
                  <a:pt x="126" y="77"/>
                </a:lnTo>
                <a:lnTo>
                  <a:pt x="121" y="73"/>
                </a:lnTo>
                <a:lnTo>
                  <a:pt x="115" y="69"/>
                </a:lnTo>
                <a:lnTo>
                  <a:pt x="102" y="63"/>
                </a:lnTo>
                <a:lnTo>
                  <a:pt x="86" y="58"/>
                </a:lnTo>
                <a:lnTo>
                  <a:pt x="69" y="54"/>
                </a:lnTo>
                <a:lnTo>
                  <a:pt x="48" y="51"/>
                </a:lnTo>
                <a:lnTo>
                  <a:pt x="26" y="50"/>
                </a:lnTo>
                <a:lnTo>
                  <a:pt x="0" y="50"/>
                </a:lnTo>
                <a:lnTo>
                  <a:pt x="0" y="0"/>
                </a:lnTo>
                <a:lnTo>
                  <a:pt x="545" y="0"/>
                </a:lnTo>
                <a:lnTo>
                  <a:pt x="545" y="50"/>
                </a:lnTo>
                <a:lnTo>
                  <a:pt x="545" y="50"/>
                </a:lnTo>
                <a:lnTo>
                  <a:pt x="520" y="50"/>
                </a:lnTo>
                <a:lnTo>
                  <a:pt x="497" y="51"/>
                </a:lnTo>
                <a:lnTo>
                  <a:pt x="477" y="54"/>
                </a:lnTo>
                <a:lnTo>
                  <a:pt x="459" y="58"/>
                </a:lnTo>
                <a:lnTo>
                  <a:pt x="444" y="63"/>
                </a:lnTo>
                <a:lnTo>
                  <a:pt x="430" y="69"/>
                </a:lnTo>
                <a:lnTo>
                  <a:pt x="425" y="73"/>
                </a:lnTo>
                <a:lnTo>
                  <a:pt x="418" y="77"/>
                </a:lnTo>
                <a:lnTo>
                  <a:pt x="413" y="81"/>
                </a:lnTo>
                <a:lnTo>
                  <a:pt x="409" y="86"/>
                </a:lnTo>
                <a:lnTo>
                  <a:pt x="405" y="92"/>
                </a:lnTo>
                <a:lnTo>
                  <a:pt x="401" y="98"/>
                </a:lnTo>
                <a:lnTo>
                  <a:pt x="395" y="113"/>
                </a:lnTo>
                <a:lnTo>
                  <a:pt x="390" y="129"/>
                </a:lnTo>
                <a:lnTo>
                  <a:pt x="386" y="148"/>
                </a:lnTo>
                <a:lnTo>
                  <a:pt x="383" y="169"/>
                </a:lnTo>
                <a:lnTo>
                  <a:pt x="381" y="194"/>
                </a:lnTo>
                <a:lnTo>
                  <a:pt x="380" y="221"/>
                </a:lnTo>
                <a:lnTo>
                  <a:pt x="380" y="252"/>
                </a:lnTo>
                <a:lnTo>
                  <a:pt x="380" y="783"/>
                </a:lnTo>
                <a:lnTo>
                  <a:pt x="380" y="783"/>
                </a:lnTo>
                <a:lnTo>
                  <a:pt x="380" y="814"/>
                </a:lnTo>
                <a:lnTo>
                  <a:pt x="381" y="842"/>
                </a:lnTo>
                <a:lnTo>
                  <a:pt x="383" y="866"/>
                </a:lnTo>
                <a:lnTo>
                  <a:pt x="386" y="888"/>
                </a:lnTo>
                <a:lnTo>
                  <a:pt x="390" y="906"/>
                </a:lnTo>
                <a:lnTo>
                  <a:pt x="395" y="923"/>
                </a:lnTo>
                <a:lnTo>
                  <a:pt x="401" y="937"/>
                </a:lnTo>
                <a:lnTo>
                  <a:pt x="405" y="943"/>
                </a:lnTo>
                <a:lnTo>
                  <a:pt x="409" y="949"/>
                </a:lnTo>
                <a:lnTo>
                  <a:pt x="413" y="954"/>
                </a:lnTo>
                <a:lnTo>
                  <a:pt x="418" y="958"/>
                </a:lnTo>
                <a:lnTo>
                  <a:pt x="425" y="963"/>
                </a:lnTo>
                <a:lnTo>
                  <a:pt x="430" y="966"/>
                </a:lnTo>
                <a:lnTo>
                  <a:pt x="444" y="973"/>
                </a:lnTo>
                <a:lnTo>
                  <a:pt x="459" y="978"/>
                </a:lnTo>
                <a:lnTo>
                  <a:pt x="477" y="982"/>
                </a:lnTo>
                <a:lnTo>
                  <a:pt x="497" y="984"/>
                </a:lnTo>
                <a:lnTo>
                  <a:pt x="520" y="985"/>
                </a:lnTo>
                <a:lnTo>
                  <a:pt x="545" y="985"/>
                </a:lnTo>
                <a:lnTo>
                  <a:pt x="545" y="1035"/>
                </a:lnTo>
                <a:lnTo>
                  <a:pt x="0" y="1035"/>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59" name="Freeform 10">
            <a:extLst>
              <a:ext uri="{FF2B5EF4-FFF2-40B4-BE49-F238E27FC236}">
                <a16:creationId xmlns:a16="http://schemas.microsoft.com/office/drawing/2014/main" id="{3D333A13-76A2-BF4F-8FFB-06086F336512}"/>
              </a:ext>
            </a:extLst>
          </p:cNvPr>
          <p:cNvSpPr>
            <a:spLocks noEditPoints="1"/>
          </p:cNvSpPr>
          <p:nvPr userDrawn="1"/>
        </p:nvSpPr>
        <p:spPr bwMode="auto">
          <a:xfrm>
            <a:off x="2260601" y="890588"/>
            <a:ext cx="152400" cy="144463"/>
          </a:xfrm>
          <a:custGeom>
            <a:avLst/>
            <a:gdLst>
              <a:gd name="T0" fmla="*/ 489 w 1152"/>
              <a:gd name="T1" fmla="*/ 1087 h 1094"/>
              <a:gd name="T2" fmla="*/ 353 w 1152"/>
              <a:gd name="T3" fmla="*/ 1051 h 1094"/>
              <a:gd name="T4" fmla="*/ 232 w 1152"/>
              <a:gd name="T5" fmla="*/ 984 h 1094"/>
              <a:gd name="T6" fmla="*/ 132 w 1152"/>
              <a:gd name="T7" fmla="*/ 894 h 1094"/>
              <a:gd name="T8" fmla="*/ 57 w 1152"/>
              <a:gd name="T9" fmla="*/ 783 h 1094"/>
              <a:gd name="T10" fmla="*/ 12 w 1152"/>
              <a:gd name="T11" fmla="*/ 656 h 1094"/>
              <a:gd name="T12" fmla="*/ 0 w 1152"/>
              <a:gd name="T13" fmla="*/ 547 h 1094"/>
              <a:gd name="T14" fmla="*/ 19 w 1152"/>
              <a:gd name="T15" fmla="*/ 411 h 1094"/>
              <a:gd name="T16" fmla="*/ 70 w 1152"/>
              <a:gd name="T17" fmla="*/ 287 h 1094"/>
              <a:gd name="T18" fmla="*/ 151 w 1152"/>
              <a:gd name="T19" fmla="*/ 180 h 1094"/>
              <a:gd name="T20" fmla="*/ 255 w 1152"/>
              <a:gd name="T21" fmla="*/ 94 h 1094"/>
              <a:gd name="T22" fmla="*/ 379 w 1152"/>
              <a:gd name="T23" fmla="*/ 33 h 1094"/>
              <a:gd name="T24" fmla="*/ 518 w 1152"/>
              <a:gd name="T25" fmla="*/ 3 h 1094"/>
              <a:gd name="T26" fmla="*/ 635 w 1152"/>
              <a:gd name="T27" fmla="*/ 3 h 1094"/>
              <a:gd name="T28" fmla="*/ 773 w 1152"/>
              <a:gd name="T29" fmla="*/ 33 h 1094"/>
              <a:gd name="T30" fmla="*/ 897 w 1152"/>
              <a:gd name="T31" fmla="*/ 94 h 1094"/>
              <a:gd name="T32" fmla="*/ 1001 w 1152"/>
              <a:gd name="T33" fmla="*/ 180 h 1094"/>
              <a:gd name="T34" fmla="*/ 1082 w 1152"/>
              <a:gd name="T35" fmla="*/ 287 h 1094"/>
              <a:gd name="T36" fmla="*/ 1133 w 1152"/>
              <a:gd name="T37" fmla="*/ 411 h 1094"/>
              <a:gd name="T38" fmla="*/ 1152 w 1152"/>
              <a:gd name="T39" fmla="*/ 547 h 1094"/>
              <a:gd name="T40" fmla="*/ 1139 w 1152"/>
              <a:gd name="T41" fmla="*/ 656 h 1094"/>
              <a:gd name="T42" fmla="*/ 1094 w 1152"/>
              <a:gd name="T43" fmla="*/ 783 h 1094"/>
              <a:gd name="T44" fmla="*/ 1020 w 1152"/>
              <a:gd name="T45" fmla="*/ 894 h 1094"/>
              <a:gd name="T46" fmla="*/ 919 w 1152"/>
              <a:gd name="T47" fmla="*/ 984 h 1094"/>
              <a:gd name="T48" fmla="*/ 800 w 1152"/>
              <a:gd name="T49" fmla="*/ 1051 h 1094"/>
              <a:gd name="T50" fmla="*/ 664 w 1152"/>
              <a:gd name="T51" fmla="*/ 1087 h 1094"/>
              <a:gd name="T52" fmla="*/ 577 w 1152"/>
              <a:gd name="T53" fmla="*/ 82 h 1094"/>
              <a:gd name="T54" fmla="*/ 492 w 1152"/>
              <a:gd name="T55" fmla="*/ 94 h 1094"/>
              <a:gd name="T56" fmla="*/ 404 w 1152"/>
              <a:gd name="T57" fmla="*/ 137 h 1094"/>
              <a:gd name="T58" fmla="*/ 336 w 1152"/>
              <a:gd name="T59" fmla="*/ 204 h 1094"/>
              <a:gd name="T60" fmla="*/ 285 w 1152"/>
              <a:gd name="T61" fmla="*/ 290 h 1094"/>
              <a:gd name="T62" fmla="*/ 253 w 1152"/>
              <a:gd name="T63" fmla="*/ 386 h 1094"/>
              <a:gd name="T64" fmla="*/ 234 w 1152"/>
              <a:gd name="T65" fmla="*/ 507 h 1094"/>
              <a:gd name="T66" fmla="*/ 240 w 1152"/>
              <a:gd name="T67" fmla="*/ 647 h 1094"/>
              <a:gd name="T68" fmla="*/ 264 w 1152"/>
              <a:gd name="T69" fmla="*/ 747 h 1094"/>
              <a:gd name="T70" fmla="*/ 303 w 1152"/>
              <a:gd name="T71" fmla="*/ 840 h 1094"/>
              <a:gd name="T72" fmla="*/ 360 w 1152"/>
              <a:gd name="T73" fmla="*/ 919 h 1094"/>
              <a:gd name="T74" fmla="*/ 437 w 1152"/>
              <a:gd name="T75" fmla="*/ 977 h 1094"/>
              <a:gd name="T76" fmla="*/ 533 w 1152"/>
              <a:gd name="T77" fmla="*/ 1008 h 1094"/>
              <a:gd name="T78" fmla="*/ 621 w 1152"/>
              <a:gd name="T79" fmla="*/ 1008 h 1094"/>
              <a:gd name="T80" fmla="*/ 716 w 1152"/>
              <a:gd name="T81" fmla="*/ 977 h 1094"/>
              <a:gd name="T82" fmla="*/ 793 w 1152"/>
              <a:gd name="T83" fmla="*/ 919 h 1094"/>
              <a:gd name="T84" fmla="*/ 850 w 1152"/>
              <a:gd name="T85" fmla="*/ 840 h 1094"/>
              <a:gd name="T86" fmla="*/ 890 w 1152"/>
              <a:gd name="T87" fmla="*/ 747 h 1094"/>
              <a:gd name="T88" fmla="*/ 912 w 1152"/>
              <a:gd name="T89" fmla="*/ 647 h 1094"/>
              <a:gd name="T90" fmla="*/ 918 w 1152"/>
              <a:gd name="T91" fmla="*/ 507 h 1094"/>
              <a:gd name="T92" fmla="*/ 901 w 1152"/>
              <a:gd name="T93" fmla="*/ 386 h 1094"/>
              <a:gd name="T94" fmla="*/ 867 w 1152"/>
              <a:gd name="T95" fmla="*/ 290 h 1094"/>
              <a:gd name="T96" fmla="*/ 817 w 1152"/>
              <a:gd name="T97" fmla="*/ 204 h 1094"/>
              <a:gd name="T98" fmla="*/ 749 w 1152"/>
              <a:gd name="T99" fmla="*/ 137 h 1094"/>
              <a:gd name="T100" fmla="*/ 662 w 1152"/>
              <a:gd name="T101" fmla="*/ 94 h 1094"/>
              <a:gd name="T102" fmla="*/ 577 w 1152"/>
              <a:gd name="T103" fmla="*/ 82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52" h="1094">
                <a:moveTo>
                  <a:pt x="577" y="1094"/>
                </a:moveTo>
                <a:lnTo>
                  <a:pt x="577" y="1094"/>
                </a:lnTo>
                <a:lnTo>
                  <a:pt x="547" y="1093"/>
                </a:lnTo>
                <a:lnTo>
                  <a:pt x="518" y="1091"/>
                </a:lnTo>
                <a:lnTo>
                  <a:pt x="489" y="1087"/>
                </a:lnTo>
                <a:lnTo>
                  <a:pt x="460" y="1082"/>
                </a:lnTo>
                <a:lnTo>
                  <a:pt x="433" y="1076"/>
                </a:lnTo>
                <a:lnTo>
                  <a:pt x="406" y="1069"/>
                </a:lnTo>
                <a:lnTo>
                  <a:pt x="379" y="1060"/>
                </a:lnTo>
                <a:lnTo>
                  <a:pt x="353" y="1051"/>
                </a:lnTo>
                <a:lnTo>
                  <a:pt x="327" y="1039"/>
                </a:lnTo>
                <a:lnTo>
                  <a:pt x="303" y="1027"/>
                </a:lnTo>
                <a:lnTo>
                  <a:pt x="278" y="1014"/>
                </a:lnTo>
                <a:lnTo>
                  <a:pt x="255" y="1000"/>
                </a:lnTo>
                <a:lnTo>
                  <a:pt x="232" y="984"/>
                </a:lnTo>
                <a:lnTo>
                  <a:pt x="211" y="968"/>
                </a:lnTo>
                <a:lnTo>
                  <a:pt x="189" y="950"/>
                </a:lnTo>
                <a:lnTo>
                  <a:pt x="170" y="933"/>
                </a:lnTo>
                <a:lnTo>
                  <a:pt x="151" y="914"/>
                </a:lnTo>
                <a:lnTo>
                  <a:pt x="132" y="894"/>
                </a:lnTo>
                <a:lnTo>
                  <a:pt x="115" y="873"/>
                </a:lnTo>
                <a:lnTo>
                  <a:pt x="99" y="851"/>
                </a:lnTo>
                <a:lnTo>
                  <a:pt x="84" y="830"/>
                </a:lnTo>
                <a:lnTo>
                  <a:pt x="70" y="806"/>
                </a:lnTo>
                <a:lnTo>
                  <a:pt x="57" y="783"/>
                </a:lnTo>
                <a:lnTo>
                  <a:pt x="46" y="758"/>
                </a:lnTo>
                <a:lnTo>
                  <a:pt x="36" y="734"/>
                </a:lnTo>
                <a:lnTo>
                  <a:pt x="27" y="708"/>
                </a:lnTo>
                <a:lnTo>
                  <a:pt x="19" y="683"/>
                </a:lnTo>
                <a:lnTo>
                  <a:pt x="12" y="656"/>
                </a:lnTo>
                <a:lnTo>
                  <a:pt x="7" y="629"/>
                </a:lnTo>
                <a:lnTo>
                  <a:pt x="3" y="602"/>
                </a:lnTo>
                <a:lnTo>
                  <a:pt x="1" y="574"/>
                </a:lnTo>
                <a:lnTo>
                  <a:pt x="0" y="547"/>
                </a:lnTo>
                <a:lnTo>
                  <a:pt x="0" y="547"/>
                </a:lnTo>
                <a:lnTo>
                  <a:pt x="1" y="519"/>
                </a:lnTo>
                <a:lnTo>
                  <a:pt x="3" y="491"/>
                </a:lnTo>
                <a:lnTo>
                  <a:pt x="7" y="464"/>
                </a:lnTo>
                <a:lnTo>
                  <a:pt x="12" y="437"/>
                </a:lnTo>
                <a:lnTo>
                  <a:pt x="19" y="411"/>
                </a:lnTo>
                <a:lnTo>
                  <a:pt x="27" y="385"/>
                </a:lnTo>
                <a:lnTo>
                  <a:pt x="36" y="360"/>
                </a:lnTo>
                <a:lnTo>
                  <a:pt x="46" y="335"/>
                </a:lnTo>
                <a:lnTo>
                  <a:pt x="57" y="310"/>
                </a:lnTo>
                <a:lnTo>
                  <a:pt x="70" y="287"/>
                </a:lnTo>
                <a:lnTo>
                  <a:pt x="84" y="264"/>
                </a:lnTo>
                <a:lnTo>
                  <a:pt x="99" y="242"/>
                </a:lnTo>
                <a:lnTo>
                  <a:pt x="115" y="220"/>
                </a:lnTo>
                <a:lnTo>
                  <a:pt x="132" y="200"/>
                </a:lnTo>
                <a:lnTo>
                  <a:pt x="151" y="180"/>
                </a:lnTo>
                <a:lnTo>
                  <a:pt x="170" y="161"/>
                </a:lnTo>
                <a:lnTo>
                  <a:pt x="189" y="143"/>
                </a:lnTo>
                <a:lnTo>
                  <a:pt x="211" y="125"/>
                </a:lnTo>
                <a:lnTo>
                  <a:pt x="232" y="109"/>
                </a:lnTo>
                <a:lnTo>
                  <a:pt x="255" y="94"/>
                </a:lnTo>
                <a:lnTo>
                  <a:pt x="278" y="79"/>
                </a:lnTo>
                <a:lnTo>
                  <a:pt x="303" y="66"/>
                </a:lnTo>
                <a:lnTo>
                  <a:pt x="327" y="54"/>
                </a:lnTo>
                <a:lnTo>
                  <a:pt x="353" y="44"/>
                </a:lnTo>
                <a:lnTo>
                  <a:pt x="379" y="33"/>
                </a:lnTo>
                <a:lnTo>
                  <a:pt x="406" y="24"/>
                </a:lnTo>
                <a:lnTo>
                  <a:pt x="433" y="17"/>
                </a:lnTo>
                <a:lnTo>
                  <a:pt x="460" y="11"/>
                </a:lnTo>
                <a:lnTo>
                  <a:pt x="489" y="6"/>
                </a:lnTo>
                <a:lnTo>
                  <a:pt x="518" y="3"/>
                </a:lnTo>
                <a:lnTo>
                  <a:pt x="547" y="1"/>
                </a:lnTo>
                <a:lnTo>
                  <a:pt x="577" y="0"/>
                </a:lnTo>
                <a:lnTo>
                  <a:pt x="577" y="0"/>
                </a:lnTo>
                <a:lnTo>
                  <a:pt x="607" y="1"/>
                </a:lnTo>
                <a:lnTo>
                  <a:pt x="635" y="3"/>
                </a:lnTo>
                <a:lnTo>
                  <a:pt x="664" y="6"/>
                </a:lnTo>
                <a:lnTo>
                  <a:pt x="692" y="11"/>
                </a:lnTo>
                <a:lnTo>
                  <a:pt x="720" y="17"/>
                </a:lnTo>
                <a:lnTo>
                  <a:pt x="747" y="24"/>
                </a:lnTo>
                <a:lnTo>
                  <a:pt x="773" y="33"/>
                </a:lnTo>
                <a:lnTo>
                  <a:pt x="800" y="44"/>
                </a:lnTo>
                <a:lnTo>
                  <a:pt x="825" y="54"/>
                </a:lnTo>
                <a:lnTo>
                  <a:pt x="850" y="66"/>
                </a:lnTo>
                <a:lnTo>
                  <a:pt x="873" y="79"/>
                </a:lnTo>
                <a:lnTo>
                  <a:pt x="897" y="94"/>
                </a:lnTo>
                <a:lnTo>
                  <a:pt x="919" y="109"/>
                </a:lnTo>
                <a:lnTo>
                  <a:pt x="942" y="125"/>
                </a:lnTo>
                <a:lnTo>
                  <a:pt x="962" y="143"/>
                </a:lnTo>
                <a:lnTo>
                  <a:pt x="983" y="161"/>
                </a:lnTo>
                <a:lnTo>
                  <a:pt x="1001" y="180"/>
                </a:lnTo>
                <a:lnTo>
                  <a:pt x="1020" y="200"/>
                </a:lnTo>
                <a:lnTo>
                  <a:pt x="1037" y="220"/>
                </a:lnTo>
                <a:lnTo>
                  <a:pt x="1052" y="242"/>
                </a:lnTo>
                <a:lnTo>
                  <a:pt x="1068" y="264"/>
                </a:lnTo>
                <a:lnTo>
                  <a:pt x="1082" y="287"/>
                </a:lnTo>
                <a:lnTo>
                  <a:pt x="1094" y="310"/>
                </a:lnTo>
                <a:lnTo>
                  <a:pt x="1106" y="335"/>
                </a:lnTo>
                <a:lnTo>
                  <a:pt x="1116" y="360"/>
                </a:lnTo>
                <a:lnTo>
                  <a:pt x="1125" y="385"/>
                </a:lnTo>
                <a:lnTo>
                  <a:pt x="1133" y="411"/>
                </a:lnTo>
                <a:lnTo>
                  <a:pt x="1139" y="437"/>
                </a:lnTo>
                <a:lnTo>
                  <a:pt x="1144" y="464"/>
                </a:lnTo>
                <a:lnTo>
                  <a:pt x="1148" y="491"/>
                </a:lnTo>
                <a:lnTo>
                  <a:pt x="1151" y="519"/>
                </a:lnTo>
                <a:lnTo>
                  <a:pt x="1152" y="547"/>
                </a:lnTo>
                <a:lnTo>
                  <a:pt x="1152" y="547"/>
                </a:lnTo>
                <a:lnTo>
                  <a:pt x="1151" y="574"/>
                </a:lnTo>
                <a:lnTo>
                  <a:pt x="1148" y="602"/>
                </a:lnTo>
                <a:lnTo>
                  <a:pt x="1144" y="629"/>
                </a:lnTo>
                <a:lnTo>
                  <a:pt x="1139" y="656"/>
                </a:lnTo>
                <a:lnTo>
                  <a:pt x="1133" y="683"/>
                </a:lnTo>
                <a:lnTo>
                  <a:pt x="1125" y="708"/>
                </a:lnTo>
                <a:lnTo>
                  <a:pt x="1116" y="734"/>
                </a:lnTo>
                <a:lnTo>
                  <a:pt x="1106" y="758"/>
                </a:lnTo>
                <a:lnTo>
                  <a:pt x="1094" y="783"/>
                </a:lnTo>
                <a:lnTo>
                  <a:pt x="1082" y="806"/>
                </a:lnTo>
                <a:lnTo>
                  <a:pt x="1068" y="830"/>
                </a:lnTo>
                <a:lnTo>
                  <a:pt x="1052" y="851"/>
                </a:lnTo>
                <a:lnTo>
                  <a:pt x="1037" y="873"/>
                </a:lnTo>
                <a:lnTo>
                  <a:pt x="1020" y="894"/>
                </a:lnTo>
                <a:lnTo>
                  <a:pt x="1001" y="914"/>
                </a:lnTo>
                <a:lnTo>
                  <a:pt x="983" y="933"/>
                </a:lnTo>
                <a:lnTo>
                  <a:pt x="962" y="950"/>
                </a:lnTo>
                <a:lnTo>
                  <a:pt x="942" y="968"/>
                </a:lnTo>
                <a:lnTo>
                  <a:pt x="919" y="984"/>
                </a:lnTo>
                <a:lnTo>
                  <a:pt x="897" y="1000"/>
                </a:lnTo>
                <a:lnTo>
                  <a:pt x="873" y="1014"/>
                </a:lnTo>
                <a:lnTo>
                  <a:pt x="850" y="1027"/>
                </a:lnTo>
                <a:lnTo>
                  <a:pt x="825" y="1039"/>
                </a:lnTo>
                <a:lnTo>
                  <a:pt x="800" y="1051"/>
                </a:lnTo>
                <a:lnTo>
                  <a:pt x="773" y="1060"/>
                </a:lnTo>
                <a:lnTo>
                  <a:pt x="747" y="1069"/>
                </a:lnTo>
                <a:lnTo>
                  <a:pt x="720" y="1076"/>
                </a:lnTo>
                <a:lnTo>
                  <a:pt x="692" y="1082"/>
                </a:lnTo>
                <a:lnTo>
                  <a:pt x="664" y="1087"/>
                </a:lnTo>
                <a:lnTo>
                  <a:pt x="635" y="1091"/>
                </a:lnTo>
                <a:lnTo>
                  <a:pt x="607" y="1093"/>
                </a:lnTo>
                <a:lnTo>
                  <a:pt x="577" y="1094"/>
                </a:lnTo>
                <a:lnTo>
                  <a:pt x="577" y="1094"/>
                </a:lnTo>
                <a:close/>
                <a:moveTo>
                  <a:pt x="577" y="82"/>
                </a:moveTo>
                <a:lnTo>
                  <a:pt x="577" y="82"/>
                </a:lnTo>
                <a:lnTo>
                  <a:pt x="554" y="83"/>
                </a:lnTo>
                <a:lnTo>
                  <a:pt x="533" y="86"/>
                </a:lnTo>
                <a:lnTo>
                  <a:pt x="511" y="90"/>
                </a:lnTo>
                <a:lnTo>
                  <a:pt x="492" y="94"/>
                </a:lnTo>
                <a:lnTo>
                  <a:pt x="473" y="100"/>
                </a:lnTo>
                <a:lnTo>
                  <a:pt x="454" y="108"/>
                </a:lnTo>
                <a:lnTo>
                  <a:pt x="437" y="116"/>
                </a:lnTo>
                <a:lnTo>
                  <a:pt x="419" y="125"/>
                </a:lnTo>
                <a:lnTo>
                  <a:pt x="404" y="137"/>
                </a:lnTo>
                <a:lnTo>
                  <a:pt x="389" y="148"/>
                </a:lnTo>
                <a:lnTo>
                  <a:pt x="374" y="161"/>
                </a:lnTo>
                <a:lnTo>
                  <a:pt x="360" y="174"/>
                </a:lnTo>
                <a:lnTo>
                  <a:pt x="348" y="189"/>
                </a:lnTo>
                <a:lnTo>
                  <a:pt x="336" y="204"/>
                </a:lnTo>
                <a:lnTo>
                  <a:pt x="324" y="219"/>
                </a:lnTo>
                <a:lnTo>
                  <a:pt x="313" y="237"/>
                </a:lnTo>
                <a:lnTo>
                  <a:pt x="303" y="253"/>
                </a:lnTo>
                <a:lnTo>
                  <a:pt x="294" y="272"/>
                </a:lnTo>
                <a:lnTo>
                  <a:pt x="285" y="290"/>
                </a:lnTo>
                <a:lnTo>
                  <a:pt x="277" y="308"/>
                </a:lnTo>
                <a:lnTo>
                  <a:pt x="270" y="327"/>
                </a:lnTo>
                <a:lnTo>
                  <a:pt x="264" y="346"/>
                </a:lnTo>
                <a:lnTo>
                  <a:pt x="258" y="367"/>
                </a:lnTo>
                <a:lnTo>
                  <a:pt x="253" y="386"/>
                </a:lnTo>
                <a:lnTo>
                  <a:pt x="248" y="407"/>
                </a:lnTo>
                <a:lnTo>
                  <a:pt x="245" y="426"/>
                </a:lnTo>
                <a:lnTo>
                  <a:pt x="240" y="446"/>
                </a:lnTo>
                <a:lnTo>
                  <a:pt x="238" y="467"/>
                </a:lnTo>
                <a:lnTo>
                  <a:pt x="234" y="507"/>
                </a:lnTo>
                <a:lnTo>
                  <a:pt x="233" y="547"/>
                </a:lnTo>
                <a:lnTo>
                  <a:pt x="233" y="547"/>
                </a:lnTo>
                <a:lnTo>
                  <a:pt x="234" y="587"/>
                </a:lnTo>
                <a:lnTo>
                  <a:pt x="238" y="626"/>
                </a:lnTo>
                <a:lnTo>
                  <a:pt x="240" y="647"/>
                </a:lnTo>
                <a:lnTo>
                  <a:pt x="245" y="667"/>
                </a:lnTo>
                <a:lnTo>
                  <a:pt x="248" y="687"/>
                </a:lnTo>
                <a:lnTo>
                  <a:pt x="253" y="707"/>
                </a:lnTo>
                <a:lnTo>
                  <a:pt x="258" y="728"/>
                </a:lnTo>
                <a:lnTo>
                  <a:pt x="264" y="747"/>
                </a:lnTo>
                <a:lnTo>
                  <a:pt x="270" y="766"/>
                </a:lnTo>
                <a:lnTo>
                  <a:pt x="277" y="785"/>
                </a:lnTo>
                <a:lnTo>
                  <a:pt x="285" y="804"/>
                </a:lnTo>
                <a:lnTo>
                  <a:pt x="294" y="822"/>
                </a:lnTo>
                <a:lnTo>
                  <a:pt x="303" y="840"/>
                </a:lnTo>
                <a:lnTo>
                  <a:pt x="313" y="857"/>
                </a:lnTo>
                <a:lnTo>
                  <a:pt x="324" y="874"/>
                </a:lnTo>
                <a:lnTo>
                  <a:pt x="336" y="889"/>
                </a:lnTo>
                <a:lnTo>
                  <a:pt x="348" y="904"/>
                </a:lnTo>
                <a:lnTo>
                  <a:pt x="360" y="919"/>
                </a:lnTo>
                <a:lnTo>
                  <a:pt x="374" y="932"/>
                </a:lnTo>
                <a:lnTo>
                  <a:pt x="389" y="945"/>
                </a:lnTo>
                <a:lnTo>
                  <a:pt x="404" y="957"/>
                </a:lnTo>
                <a:lnTo>
                  <a:pt x="419" y="968"/>
                </a:lnTo>
                <a:lnTo>
                  <a:pt x="437" y="977"/>
                </a:lnTo>
                <a:lnTo>
                  <a:pt x="454" y="986"/>
                </a:lnTo>
                <a:lnTo>
                  <a:pt x="473" y="993"/>
                </a:lnTo>
                <a:lnTo>
                  <a:pt x="492" y="1000"/>
                </a:lnTo>
                <a:lnTo>
                  <a:pt x="511" y="1005"/>
                </a:lnTo>
                <a:lnTo>
                  <a:pt x="533" y="1008"/>
                </a:lnTo>
                <a:lnTo>
                  <a:pt x="554" y="1010"/>
                </a:lnTo>
                <a:lnTo>
                  <a:pt x="577" y="1011"/>
                </a:lnTo>
                <a:lnTo>
                  <a:pt x="577" y="1011"/>
                </a:lnTo>
                <a:lnTo>
                  <a:pt x="599" y="1010"/>
                </a:lnTo>
                <a:lnTo>
                  <a:pt x="621" y="1008"/>
                </a:lnTo>
                <a:lnTo>
                  <a:pt x="641" y="1005"/>
                </a:lnTo>
                <a:lnTo>
                  <a:pt x="662" y="1000"/>
                </a:lnTo>
                <a:lnTo>
                  <a:pt x="680" y="993"/>
                </a:lnTo>
                <a:lnTo>
                  <a:pt x="699" y="986"/>
                </a:lnTo>
                <a:lnTo>
                  <a:pt x="716" y="977"/>
                </a:lnTo>
                <a:lnTo>
                  <a:pt x="733" y="968"/>
                </a:lnTo>
                <a:lnTo>
                  <a:pt x="749" y="957"/>
                </a:lnTo>
                <a:lnTo>
                  <a:pt x="764" y="945"/>
                </a:lnTo>
                <a:lnTo>
                  <a:pt x="778" y="932"/>
                </a:lnTo>
                <a:lnTo>
                  <a:pt x="793" y="919"/>
                </a:lnTo>
                <a:lnTo>
                  <a:pt x="805" y="904"/>
                </a:lnTo>
                <a:lnTo>
                  <a:pt x="817" y="889"/>
                </a:lnTo>
                <a:lnTo>
                  <a:pt x="828" y="874"/>
                </a:lnTo>
                <a:lnTo>
                  <a:pt x="840" y="857"/>
                </a:lnTo>
                <a:lnTo>
                  <a:pt x="850" y="840"/>
                </a:lnTo>
                <a:lnTo>
                  <a:pt x="859" y="822"/>
                </a:lnTo>
                <a:lnTo>
                  <a:pt x="867" y="804"/>
                </a:lnTo>
                <a:lnTo>
                  <a:pt x="875" y="785"/>
                </a:lnTo>
                <a:lnTo>
                  <a:pt x="883" y="766"/>
                </a:lnTo>
                <a:lnTo>
                  <a:pt x="890" y="747"/>
                </a:lnTo>
                <a:lnTo>
                  <a:pt x="895" y="728"/>
                </a:lnTo>
                <a:lnTo>
                  <a:pt x="901" y="707"/>
                </a:lnTo>
                <a:lnTo>
                  <a:pt x="905" y="687"/>
                </a:lnTo>
                <a:lnTo>
                  <a:pt x="909" y="667"/>
                </a:lnTo>
                <a:lnTo>
                  <a:pt x="912" y="647"/>
                </a:lnTo>
                <a:lnTo>
                  <a:pt x="915" y="626"/>
                </a:lnTo>
                <a:lnTo>
                  <a:pt x="918" y="587"/>
                </a:lnTo>
                <a:lnTo>
                  <a:pt x="920" y="547"/>
                </a:lnTo>
                <a:lnTo>
                  <a:pt x="920" y="547"/>
                </a:lnTo>
                <a:lnTo>
                  <a:pt x="918" y="507"/>
                </a:lnTo>
                <a:lnTo>
                  <a:pt x="915" y="467"/>
                </a:lnTo>
                <a:lnTo>
                  <a:pt x="912" y="446"/>
                </a:lnTo>
                <a:lnTo>
                  <a:pt x="909" y="426"/>
                </a:lnTo>
                <a:lnTo>
                  <a:pt x="905" y="407"/>
                </a:lnTo>
                <a:lnTo>
                  <a:pt x="901" y="386"/>
                </a:lnTo>
                <a:lnTo>
                  <a:pt x="895" y="367"/>
                </a:lnTo>
                <a:lnTo>
                  <a:pt x="890" y="346"/>
                </a:lnTo>
                <a:lnTo>
                  <a:pt x="883" y="327"/>
                </a:lnTo>
                <a:lnTo>
                  <a:pt x="875" y="308"/>
                </a:lnTo>
                <a:lnTo>
                  <a:pt x="867" y="290"/>
                </a:lnTo>
                <a:lnTo>
                  <a:pt x="859" y="272"/>
                </a:lnTo>
                <a:lnTo>
                  <a:pt x="850" y="253"/>
                </a:lnTo>
                <a:lnTo>
                  <a:pt x="840" y="237"/>
                </a:lnTo>
                <a:lnTo>
                  <a:pt x="828" y="219"/>
                </a:lnTo>
                <a:lnTo>
                  <a:pt x="817" y="204"/>
                </a:lnTo>
                <a:lnTo>
                  <a:pt x="805" y="189"/>
                </a:lnTo>
                <a:lnTo>
                  <a:pt x="793" y="174"/>
                </a:lnTo>
                <a:lnTo>
                  <a:pt x="778" y="161"/>
                </a:lnTo>
                <a:lnTo>
                  <a:pt x="764" y="148"/>
                </a:lnTo>
                <a:lnTo>
                  <a:pt x="749" y="137"/>
                </a:lnTo>
                <a:lnTo>
                  <a:pt x="733" y="125"/>
                </a:lnTo>
                <a:lnTo>
                  <a:pt x="716" y="116"/>
                </a:lnTo>
                <a:lnTo>
                  <a:pt x="699" y="108"/>
                </a:lnTo>
                <a:lnTo>
                  <a:pt x="680" y="100"/>
                </a:lnTo>
                <a:lnTo>
                  <a:pt x="662" y="94"/>
                </a:lnTo>
                <a:lnTo>
                  <a:pt x="641" y="90"/>
                </a:lnTo>
                <a:lnTo>
                  <a:pt x="621" y="86"/>
                </a:lnTo>
                <a:lnTo>
                  <a:pt x="599" y="83"/>
                </a:lnTo>
                <a:lnTo>
                  <a:pt x="577" y="82"/>
                </a:lnTo>
                <a:lnTo>
                  <a:pt x="577" y="82"/>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60" name="Freeform 11">
            <a:extLst>
              <a:ext uri="{FF2B5EF4-FFF2-40B4-BE49-F238E27FC236}">
                <a16:creationId xmlns:a16="http://schemas.microsoft.com/office/drawing/2014/main" id="{005AF851-6FDD-2A46-B43C-A5A3736B10A1}"/>
              </a:ext>
            </a:extLst>
          </p:cNvPr>
          <p:cNvSpPr>
            <a:spLocks/>
          </p:cNvSpPr>
          <p:nvPr userDrawn="1"/>
        </p:nvSpPr>
        <p:spPr bwMode="auto">
          <a:xfrm>
            <a:off x="2447926" y="893763"/>
            <a:ext cx="155575" cy="141288"/>
          </a:xfrm>
          <a:custGeom>
            <a:avLst/>
            <a:gdLst>
              <a:gd name="T0" fmla="*/ 922 w 1165"/>
              <a:gd name="T1" fmla="*/ 252 h 1065"/>
              <a:gd name="T2" fmla="*/ 921 w 1165"/>
              <a:gd name="T3" fmla="*/ 194 h 1065"/>
              <a:gd name="T4" fmla="*/ 916 w 1165"/>
              <a:gd name="T5" fmla="*/ 148 h 1065"/>
              <a:gd name="T6" fmla="*/ 906 w 1165"/>
              <a:gd name="T7" fmla="*/ 113 h 1065"/>
              <a:gd name="T8" fmla="*/ 896 w 1165"/>
              <a:gd name="T9" fmla="*/ 92 h 1065"/>
              <a:gd name="T10" fmla="*/ 888 w 1165"/>
              <a:gd name="T11" fmla="*/ 81 h 1065"/>
              <a:gd name="T12" fmla="*/ 877 w 1165"/>
              <a:gd name="T13" fmla="*/ 73 h 1065"/>
              <a:gd name="T14" fmla="*/ 857 w 1165"/>
              <a:gd name="T15" fmla="*/ 63 h 1065"/>
              <a:gd name="T16" fmla="*/ 825 w 1165"/>
              <a:gd name="T17" fmla="*/ 54 h 1065"/>
              <a:gd name="T18" fmla="*/ 782 w 1165"/>
              <a:gd name="T19" fmla="*/ 50 h 1065"/>
              <a:gd name="T20" fmla="*/ 756 w 1165"/>
              <a:gd name="T21" fmla="*/ 0 h 1065"/>
              <a:gd name="T22" fmla="*/ 1165 w 1165"/>
              <a:gd name="T23" fmla="*/ 50 h 1065"/>
              <a:gd name="T24" fmla="*/ 1139 w 1165"/>
              <a:gd name="T25" fmla="*/ 50 h 1065"/>
              <a:gd name="T26" fmla="*/ 1096 w 1165"/>
              <a:gd name="T27" fmla="*/ 54 h 1065"/>
              <a:gd name="T28" fmla="*/ 1062 w 1165"/>
              <a:gd name="T29" fmla="*/ 63 h 1065"/>
              <a:gd name="T30" fmla="*/ 1042 w 1165"/>
              <a:gd name="T31" fmla="*/ 73 h 1065"/>
              <a:gd name="T32" fmla="*/ 1032 w 1165"/>
              <a:gd name="T33" fmla="*/ 81 h 1065"/>
              <a:gd name="T34" fmla="*/ 1023 w 1165"/>
              <a:gd name="T35" fmla="*/ 92 h 1065"/>
              <a:gd name="T36" fmla="*/ 1014 w 1165"/>
              <a:gd name="T37" fmla="*/ 113 h 1065"/>
              <a:gd name="T38" fmla="*/ 1005 w 1165"/>
              <a:gd name="T39" fmla="*/ 148 h 1065"/>
              <a:gd name="T40" fmla="*/ 1000 w 1165"/>
              <a:gd name="T41" fmla="*/ 194 h 1065"/>
              <a:gd name="T42" fmla="*/ 999 w 1165"/>
              <a:gd name="T43" fmla="*/ 252 h 1065"/>
              <a:gd name="T44" fmla="*/ 955 w 1165"/>
              <a:gd name="T45" fmla="*/ 1065 h 1065"/>
              <a:gd name="T46" fmla="*/ 242 w 1165"/>
              <a:gd name="T47" fmla="*/ 783 h 1065"/>
              <a:gd name="T48" fmla="*/ 242 w 1165"/>
              <a:gd name="T49" fmla="*/ 814 h 1065"/>
              <a:gd name="T50" fmla="*/ 245 w 1165"/>
              <a:gd name="T51" fmla="*/ 866 h 1065"/>
              <a:gd name="T52" fmla="*/ 251 w 1165"/>
              <a:gd name="T53" fmla="*/ 906 h 1065"/>
              <a:gd name="T54" fmla="*/ 263 w 1165"/>
              <a:gd name="T55" fmla="*/ 937 h 1065"/>
              <a:gd name="T56" fmla="*/ 271 w 1165"/>
              <a:gd name="T57" fmla="*/ 949 h 1065"/>
              <a:gd name="T58" fmla="*/ 281 w 1165"/>
              <a:gd name="T59" fmla="*/ 958 h 1065"/>
              <a:gd name="T60" fmla="*/ 292 w 1165"/>
              <a:gd name="T61" fmla="*/ 966 h 1065"/>
              <a:gd name="T62" fmla="*/ 322 w 1165"/>
              <a:gd name="T63" fmla="*/ 978 h 1065"/>
              <a:gd name="T64" fmla="*/ 359 w 1165"/>
              <a:gd name="T65" fmla="*/ 984 h 1065"/>
              <a:gd name="T66" fmla="*/ 407 w 1165"/>
              <a:gd name="T67" fmla="*/ 985 h 1065"/>
              <a:gd name="T68" fmla="*/ 0 w 1165"/>
              <a:gd name="T69" fmla="*/ 1035 h 1065"/>
              <a:gd name="T70" fmla="*/ 0 w 1165"/>
              <a:gd name="T71" fmla="*/ 985 h 1065"/>
              <a:gd name="T72" fmla="*/ 49 w 1165"/>
              <a:gd name="T73" fmla="*/ 984 h 1065"/>
              <a:gd name="T74" fmla="*/ 86 w 1165"/>
              <a:gd name="T75" fmla="*/ 978 h 1065"/>
              <a:gd name="T76" fmla="*/ 115 w 1165"/>
              <a:gd name="T77" fmla="*/ 966 h 1065"/>
              <a:gd name="T78" fmla="*/ 126 w 1165"/>
              <a:gd name="T79" fmla="*/ 958 h 1065"/>
              <a:gd name="T80" fmla="*/ 135 w 1165"/>
              <a:gd name="T81" fmla="*/ 949 h 1065"/>
              <a:gd name="T82" fmla="*/ 144 w 1165"/>
              <a:gd name="T83" fmla="*/ 937 h 1065"/>
              <a:gd name="T84" fmla="*/ 155 w 1165"/>
              <a:gd name="T85" fmla="*/ 906 h 1065"/>
              <a:gd name="T86" fmla="*/ 161 w 1165"/>
              <a:gd name="T87" fmla="*/ 866 h 1065"/>
              <a:gd name="T88" fmla="*/ 164 w 1165"/>
              <a:gd name="T89" fmla="*/ 814 h 1065"/>
              <a:gd name="T90" fmla="*/ 164 w 1165"/>
              <a:gd name="T91" fmla="*/ 252 h 1065"/>
              <a:gd name="T92" fmla="*/ 164 w 1165"/>
              <a:gd name="T93" fmla="*/ 221 h 1065"/>
              <a:gd name="T94" fmla="*/ 161 w 1165"/>
              <a:gd name="T95" fmla="*/ 169 h 1065"/>
              <a:gd name="T96" fmla="*/ 155 w 1165"/>
              <a:gd name="T97" fmla="*/ 129 h 1065"/>
              <a:gd name="T98" fmla="*/ 144 w 1165"/>
              <a:gd name="T99" fmla="*/ 98 h 1065"/>
              <a:gd name="T100" fmla="*/ 135 w 1165"/>
              <a:gd name="T101" fmla="*/ 86 h 1065"/>
              <a:gd name="T102" fmla="*/ 126 w 1165"/>
              <a:gd name="T103" fmla="*/ 77 h 1065"/>
              <a:gd name="T104" fmla="*/ 115 w 1165"/>
              <a:gd name="T105" fmla="*/ 69 h 1065"/>
              <a:gd name="T106" fmla="*/ 86 w 1165"/>
              <a:gd name="T107" fmla="*/ 58 h 1065"/>
              <a:gd name="T108" fmla="*/ 49 w 1165"/>
              <a:gd name="T109" fmla="*/ 51 h 1065"/>
              <a:gd name="T110" fmla="*/ 0 w 1165"/>
              <a:gd name="T111" fmla="*/ 50 h 1065"/>
              <a:gd name="T112" fmla="*/ 345 w 1165"/>
              <a:gd name="T113" fmla="*/ 0 h 1065"/>
              <a:gd name="T114" fmla="*/ 922 w 1165"/>
              <a:gd name="T115" fmla="*/ 252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65" h="1065">
                <a:moveTo>
                  <a:pt x="922" y="252"/>
                </a:moveTo>
                <a:lnTo>
                  <a:pt x="922" y="252"/>
                </a:lnTo>
                <a:lnTo>
                  <a:pt x="921" y="221"/>
                </a:lnTo>
                <a:lnTo>
                  <a:pt x="921" y="194"/>
                </a:lnTo>
                <a:lnTo>
                  <a:pt x="919" y="169"/>
                </a:lnTo>
                <a:lnTo>
                  <a:pt x="916" y="148"/>
                </a:lnTo>
                <a:lnTo>
                  <a:pt x="912" y="129"/>
                </a:lnTo>
                <a:lnTo>
                  <a:pt x="906" y="113"/>
                </a:lnTo>
                <a:lnTo>
                  <a:pt x="900" y="98"/>
                </a:lnTo>
                <a:lnTo>
                  <a:pt x="896" y="92"/>
                </a:lnTo>
                <a:lnTo>
                  <a:pt x="892" y="86"/>
                </a:lnTo>
                <a:lnTo>
                  <a:pt x="888" y="81"/>
                </a:lnTo>
                <a:lnTo>
                  <a:pt x="883" y="77"/>
                </a:lnTo>
                <a:lnTo>
                  <a:pt x="877" y="73"/>
                </a:lnTo>
                <a:lnTo>
                  <a:pt x="872" y="69"/>
                </a:lnTo>
                <a:lnTo>
                  <a:pt x="857" y="63"/>
                </a:lnTo>
                <a:lnTo>
                  <a:pt x="842" y="58"/>
                </a:lnTo>
                <a:lnTo>
                  <a:pt x="825" y="54"/>
                </a:lnTo>
                <a:lnTo>
                  <a:pt x="804" y="51"/>
                </a:lnTo>
                <a:lnTo>
                  <a:pt x="782" y="50"/>
                </a:lnTo>
                <a:lnTo>
                  <a:pt x="756" y="50"/>
                </a:lnTo>
                <a:lnTo>
                  <a:pt x="756" y="0"/>
                </a:lnTo>
                <a:lnTo>
                  <a:pt x="1165" y="0"/>
                </a:lnTo>
                <a:lnTo>
                  <a:pt x="1165" y="50"/>
                </a:lnTo>
                <a:lnTo>
                  <a:pt x="1165" y="50"/>
                </a:lnTo>
                <a:lnTo>
                  <a:pt x="1139" y="50"/>
                </a:lnTo>
                <a:lnTo>
                  <a:pt x="1116" y="51"/>
                </a:lnTo>
                <a:lnTo>
                  <a:pt x="1096" y="54"/>
                </a:lnTo>
                <a:lnTo>
                  <a:pt x="1078" y="58"/>
                </a:lnTo>
                <a:lnTo>
                  <a:pt x="1062" y="63"/>
                </a:lnTo>
                <a:lnTo>
                  <a:pt x="1049" y="69"/>
                </a:lnTo>
                <a:lnTo>
                  <a:pt x="1042" y="73"/>
                </a:lnTo>
                <a:lnTo>
                  <a:pt x="1037" y="77"/>
                </a:lnTo>
                <a:lnTo>
                  <a:pt x="1032" y="81"/>
                </a:lnTo>
                <a:lnTo>
                  <a:pt x="1028" y="86"/>
                </a:lnTo>
                <a:lnTo>
                  <a:pt x="1023" y="92"/>
                </a:lnTo>
                <a:lnTo>
                  <a:pt x="1020" y="98"/>
                </a:lnTo>
                <a:lnTo>
                  <a:pt x="1014" y="113"/>
                </a:lnTo>
                <a:lnTo>
                  <a:pt x="1009" y="129"/>
                </a:lnTo>
                <a:lnTo>
                  <a:pt x="1005" y="148"/>
                </a:lnTo>
                <a:lnTo>
                  <a:pt x="1002" y="169"/>
                </a:lnTo>
                <a:lnTo>
                  <a:pt x="1000" y="194"/>
                </a:lnTo>
                <a:lnTo>
                  <a:pt x="999" y="221"/>
                </a:lnTo>
                <a:lnTo>
                  <a:pt x="999" y="252"/>
                </a:lnTo>
                <a:lnTo>
                  <a:pt x="999" y="1065"/>
                </a:lnTo>
                <a:lnTo>
                  <a:pt x="955" y="1065"/>
                </a:lnTo>
                <a:lnTo>
                  <a:pt x="242" y="212"/>
                </a:lnTo>
                <a:lnTo>
                  <a:pt x="242" y="783"/>
                </a:lnTo>
                <a:lnTo>
                  <a:pt x="242" y="783"/>
                </a:lnTo>
                <a:lnTo>
                  <a:pt x="242" y="814"/>
                </a:lnTo>
                <a:lnTo>
                  <a:pt x="243" y="842"/>
                </a:lnTo>
                <a:lnTo>
                  <a:pt x="245" y="866"/>
                </a:lnTo>
                <a:lnTo>
                  <a:pt x="248" y="888"/>
                </a:lnTo>
                <a:lnTo>
                  <a:pt x="251" y="906"/>
                </a:lnTo>
                <a:lnTo>
                  <a:pt x="256" y="923"/>
                </a:lnTo>
                <a:lnTo>
                  <a:pt x="263" y="937"/>
                </a:lnTo>
                <a:lnTo>
                  <a:pt x="266" y="943"/>
                </a:lnTo>
                <a:lnTo>
                  <a:pt x="271" y="949"/>
                </a:lnTo>
                <a:lnTo>
                  <a:pt x="276" y="954"/>
                </a:lnTo>
                <a:lnTo>
                  <a:pt x="281" y="958"/>
                </a:lnTo>
                <a:lnTo>
                  <a:pt x="286" y="963"/>
                </a:lnTo>
                <a:lnTo>
                  <a:pt x="292" y="966"/>
                </a:lnTo>
                <a:lnTo>
                  <a:pt x="305" y="973"/>
                </a:lnTo>
                <a:lnTo>
                  <a:pt x="322" y="978"/>
                </a:lnTo>
                <a:lnTo>
                  <a:pt x="339" y="982"/>
                </a:lnTo>
                <a:lnTo>
                  <a:pt x="359" y="984"/>
                </a:lnTo>
                <a:lnTo>
                  <a:pt x="382" y="985"/>
                </a:lnTo>
                <a:lnTo>
                  <a:pt x="407" y="985"/>
                </a:lnTo>
                <a:lnTo>
                  <a:pt x="407" y="1035"/>
                </a:lnTo>
                <a:lnTo>
                  <a:pt x="0" y="1035"/>
                </a:lnTo>
                <a:lnTo>
                  <a:pt x="0" y="985"/>
                </a:lnTo>
                <a:lnTo>
                  <a:pt x="0" y="985"/>
                </a:lnTo>
                <a:lnTo>
                  <a:pt x="26" y="985"/>
                </a:lnTo>
                <a:lnTo>
                  <a:pt x="49" y="984"/>
                </a:lnTo>
                <a:lnTo>
                  <a:pt x="69" y="982"/>
                </a:lnTo>
                <a:lnTo>
                  <a:pt x="86" y="978"/>
                </a:lnTo>
                <a:lnTo>
                  <a:pt x="102" y="973"/>
                </a:lnTo>
                <a:lnTo>
                  <a:pt x="115" y="966"/>
                </a:lnTo>
                <a:lnTo>
                  <a:pt x="121" y="963"/>
                </a:lnTo>
                <a:lnTo>
                  <a:pt x="126" y="958"/>
                </a:lnTo>
                <a:lnTo>
                  <a:pt x="131" y="954"/>
                </a:lnTo>
                <a:lnTo>
                  <a:pt x="135" y="949"/>
                </a:lnTo>
                <a:lnTo>
                  <a:pt x="141" y="943"/>
                </a:lnTo>
                <a:lnTo>
                  <a:pt x="144" y="937"/>
                </a:lnTo>
                <a:lnTo>
                  <a:pt x="150" y="923"/>
                </a:lnTo>
                <a:lnTo>
                  <a:pt x="155" y="906"/>
                </a:lnTo>
                <a:lnTo>
                  <a:pt x="159" y="888"/>
                </a:lnTo>
                <a:lnTo>
                  <a:pt x="161" y="866"/>
                </a:lnTo>
                <a:lnTo>
                  <a:pt x="163" y="842"/>
                </a:lnTo>
                <a:lnTo>
                  <a:pt x="164" y="814"/>
                </a:lnTo>
                <a:lnTo>
                  <a:pt x="164" y="783"/>
                </a:lnTo>
                <a:lnTo>
                  <a:pt x="164" y="252"/>
                </a:lnTo>
                <a:lnTo>
                  <a:pt x="164" y="252"/>
                </a:lnTo>
                <a:lnTo>
                  <a:pt x="164" y="221"/>
                </a:lnTo>
                <a:lnTo>
                  <a:pt x="163" y="194"/>
                </a:lnTo>
                <a:lnTo>
                  <a:pt x="161" y="169"/>
                </a:lnTo>
                <a:lnTo>
                  <a:pt x="159" y="148"/>
                </a:lnTo>
                <a:lnTo>
                  <a:pt x="155" y="129"/>
                </a:lnTo>
                <a:lnTo>
                  <a:pt x="150" y="113"/>
                </a:lnTo>
                <a:lnTo>
                  <a:pt x="144" y="98"/>
                </a:lnTo>
                <a:lnTo>
                  <a:pt x="141" y="92"/>
                </a:lnTo>
                <a:lnTo>
                  <a:pt x="135" y="86"/>
                </a:lnTo>
                <a:lnTo>
                  <a:pt x="131" y="81"/>
                </a:lnTo>
                <a:lnTo>
                  <a:pt x="126" y="77"/>
                </a:lnTo>
                <a:lnTo>
                  <a:pt x="121" y="73"/>
                </a:lnTo>
                <a:lnTo>
                  <a:pt x="115" y="69"/>
                </a:lnTo>
                <a:lnTo>
                  <a:pt x="102" y="63"/>
                </a:lnTo>
                <a:lnTo>
                  <a:pt x="86" y="58"/>
                </a:lnTo>
                <a:lnTo>
                  <a:pt x="69" y="54"/>
                </a:lnTo>
                <a:lnTo>
                  <a:pt x="49" y="51"/>
                </a:lnTo>
                <a:lnTo>
                  <a:pt x="26" y="50"/>
                </a:lnTo>
                <a:lnTo>
                  <a:pt x="0" y="50"/>
                </a:lnTo>
                <a:lnTo>
                  <a:pt x="0" y="0"/>
                </a:lnTo>
                <a:lnTo>
                  <a:pt x="345" y="0"/>
                </a:lnTo>
                <a:lnTo>
                  <a:pt x="922" y="686"/>
                </a:lnTo>
                <a:lnTo>
                  <a:pt x="922" y="252"/>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61" name="Freeform 12">
            <a:extLst>
              <a:ext uri="{FF2B5EF4-FFF2-40B4-BE49-F238E27FC236}">
                <a16:creationId xmlns:a16="http://schemas.microsoft.com/office/drawing/2014/main" id="{C4E87749-D64C-2547-9F7D-FD3F337B06D0}"/>
              </a:ext>
            </a:extLst>
          </p:cNvPr>
          <p:cNvSpPr>
            <a:spLocks/>
          </p:cNvSpPr>
          <p:nvPr userDrawn="1"/>
        </p:nvSpPr>
        <p:spPr bwMode="auto">
          <a:xfrm>
            <a:off x="2636838" y="893763"/>
            <a:ext cx="127000" cy="136525"/>
          </a:xfrm>
          <a:custGeom>
            <a:avLst/>
            <a:gdLst>
              <a:gd name="T0" fmla="*/ 25 w 959"/>
              <a:gd name="T1" fmla="*/ 985 h 1035"/>
              <a:gd name="T2" fmla="*/ 86 w 959"/>
              <a:gd name="T3" fmla="*/ 978 h 1035"/>
              <a:gd name="T4" fmla="*/ 120 w 959"/>
              <a:gd name="T5" fmla="*/ 963 h 1035"/>
              <a:gd name="T6" fmla="*/ 136 w 959"/>
              <a:gd name="T7" fmla="*/ 949 h 1035"/>
              <a:gd name="T8" fmla="*/ 150 w 959"/>
              <a:gd name="T9" fmla="*/ 923 h 1035"/>
              <a:gd name="T10" fmla="*/ 161 w 959"/>
              <a:gd name="T11" fmla="*/ 866 h 1035"/>
              <a:gd name="T12" fmla="*/ 163 w 959"/>
              <a:gd name="T13" fmla="*/ 783 h 1035"/>
              <a:gd name="T14" fmla="*/ 163 w 959"/>
              <a:gd name="T15" fmla="*/ 221 h 1035"/>
              <a:gd name="T16" fmla="*/ 158 w 959"/>
              <a:gd name="T17" fmla="*/ 148 h 1035"/>
              <a:gd name="T18" fmla="*/ 143 w 959"/>
              <a:gd name="T19" fmla="*/ 98 h 1035"/>
              <a:gd name="T20" fmla="*/ 131 w 959"/>
              <a:gd name="T21" fmla="*/ 81 h 1035"/>
              <a:gd name="T22" fmla="*/ 114 w 959"/>
              <a:gd name="T23" fmla="*/ 69 h 1035"/>
              <a:gd name="T24" fmla="*/ 68 w 959"/>
              <a:gd name="T25" fmla="*/ 54 h 1035"/>
              <a:gd name="T26" fmla="*/ 0 w 959"/>
              <a:gd name="T27" fmla="*/ 50 h 1035"/>
              <a:gd name="T28" fmla="*/ 902 w 959"/>
              <a:gd name="T29" fmla="*/ 244 h 1035"/>
              <a:gd name="T30" fmla="*/ 843 w 959"/>
              <a:gd name="T31" fmla="*/ 209 h 1035"/>
              <a:gd name="T32" fmla="*/ 824 w 959"/>
              <a:gd name="T33" fmla="*/ 150 h 1035"/>
              <a:gd name="T34" fmla="*/ 803 w 959"/>
              <a:gd name="T35" fmla="*/ 118 h 1035"/>
              <a:gd name="T36" fmla="*/ 770 w 959"/>
              <a:gd name="T37" fmla="*/ 95 h 1035"/>
              <a:gd name="T38" fmla="*/ 719 w 959"/>
              <a:gd name="T39" fmla="*/ 82 h 1035"/>
              <a:gd name="T40" fmla="*/ 643 w 959"/>
              <a:gd name="T41" fmla="*/ 78 h 1035"/>
              <a:gd name="T42" fmla="*/ 474 w 959"/>
              <a:gd name="T43" fmla="*/ 449 h 1035"/>
              <a:gd name="T44" fmla="*/ 532 w 959"/>
              <a:gd name="T45" fmla="*/ 447 h 1035"/>
              <a:gd name="T46" fmla="*/ 597 w 959"/>
              <a:gd name="T47" fmla="*/ 439 h 1035"/>
              <a:gd name="T48" fmla="*/ 634 w 959"/>
              <a:gd name="T49" fmla="*/ 424 h 1035"/>
              <a:gd name="T50" fmla="*/ 649 w 959"/>
              <a:gd name="T51" fmla="*/ 410 h 1035"/>
              <a:gd name="T52" fmla="*/ 662 w 959"/>
              <a:gd name="T53" fmla="*/ 385 h 1035"/>
              <a:gd name="T54" fmla="*/ 673 w 959"/>
              <a:gd name="T55" fmla="*/ 332 h 1035"/>
              <a:gd name="T56" fmla="*/ 725 w 959"/>
              <a:gd name="T57" fmla="*/ 283 h 1035"/>
              <a:gd name="T58" fmla="*/ 675 w 959"/>
              <a:gd name="T59" fmla="*/ 691 h 1035"/>
              <a:gd name="T60" fmla="*/ 671 w 959"/>
              <a:gd name="T61" fmla="*/ 623 h 1035"/>
              <a:gd name="T62" fmla="*/ 656 w 959"/>
              <a:gd name="T63" fmla="*/ 576 h 1035"/>
              <a:gd name="T64" fmla="*/ 644 w 959"/>
              <a:gd name="T65" fmla="*/ 560 h 1035"/>
              <a:gd name="T66" fmla="*/ 628 w 959"/>
              <a:gd name="T67" fmla="*/ 547 h 1035"/>
              <a:gd name="T68" fmla="*/ 578 w 959"/>
              <a:gd name="T69" fmla="*/ 532 h 1035"/>
              <a:gd name="T70" fmla="*/ 505 w 959"/>
              <a:gd name="T71" fmla="*/ 527 h 1035"/>
              <a:gd name="T72" fmla="*/ 379 w 959"/>
              <a:gd name="T73" fmla="*/ 756 h 1035"/>
              <a:gd name="T74" fmla="*/ 380 w 959"/>
              <a:gd name="T75" fmla="*/ 814 h 1035"/>
              <a:gd name="T76" fmla="*/ 389 w 959"/>
              <a:gd name="T77" fmla="*/ 879 h 1035"/>
              <a:gd name="T78" fmla="*/ 405 w 959"/>
              <a:gd name="T79" fmla="*/ 915 h 1035"/>
              <a:gd name="T80" fmla="*/ 418 w 959"/>
              <a:gd name="T81" fmla="*/ 932 h 1035"/>
              <a:gd name="T82" fmla="*/ 444 w 959"/>
              <a:gd name="T83" fmla="*/ 946 h 1035"/>
              <a:gd name="T84" fmla="*/ 497 w 959"/>
              <a:gd name="T85" fmla="*/ 956 h 1035"/>
              <a:gd name="T86" fmla="*/ 700 w 959"/>
              <a:gd name="T87" fmla="*/ 957 h 1035"/>
              <a:gd name="T88" fmla="*/ 753 w 959"/>
              <a:gd name="T89" fmla="*/ 955 h 1035"/>
              <a:gd name="T90" fmla="*/ 813 w 959"/>
              <a:gd name="T91" fmla="*/ 946 h 1035"/>
              <a:gd name="T92" fmla="*/ 852 w 959"/>
              <a:gd name="T93" fmla="*/ 927 h 1035"/>
              <a:gd name="T94" fmla="*/ 876 w 959"/>
              <a:gd name="T95" fmla="*/ 897 h 1035"/>
              <a:gd name="T96" fmla="*/ 891 w 959"/>
              <a:gd name="T97" fmla="*/ 858 h 1035"/>
              <a:gd name="T98" fmla="*/ 959 w 959"/>
              <a:gd name="T99" fmla="*/ 792 h 1035"/>
              <a:gd name="T100" fmla="*/ 0 w 959"/>
              <a:gd name="T101" fmla="*/ 985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59" h="1035">
                <a:moveTo>
                  <a:pt x="0" y="985"/>
                </a:moveTo>
                <a:lnTo>
                  <a:pt x="0" y="985"/>
                </a:lnTo>
                <a:lnTo>
                  <a:pt x="25" y="985"/>
                </a:lnTo>
                <a:lnTo>
                  <a:pt x="48" y="984"/>
                </a:lnTo>
                <a:lnTo>
                  <a:pt x="68" y="982"/>
                </a:lnTo>
                <a:lnTo>
                  <a:pt x="86" y="978"/>
                </a:lnTo>
                <a:lnTo>
                  <a:pt x="101" y="973"/>
                </a:lnTo>
                <a:lnTo>
                  <a:pt x="114" y="966"/>
                </a:lnTo>
                <a:lnTo>
                  <a:pt x="120" y="963"/>
                </a:lnTo>
                <a:lnTo>
                  <a:pt x="126" y="958"/>
                </a:lnTo>
                <a:lnTo>
                  <a:pt x="131" y="954"/>
                </a:lnTo>
                <a:lnTo>
                  <a:pt x="136" y="949"/>
                </a:lnTo>
                <a:lnTo>
                  <a:pt x="140" y="943"/>
                </a:lnTo>
                <a:lnTo>
                  <a:pt x="143" y="937"/>
                </a:lnTo>
                <a:lnTo>
                  <a:pt x="150" y="923"/>
                </a:lnTo>
                <a:lnTo>
                  <a:pt x="154" y="906"/>
                </a:lnTo>
                <a:lnTo>
                  <a:pt x="158" y="888"/>
                </a:lnTo>
                <a:lnTo>
                  <a:pt x="161" y="866"/>
                </a:lnTo>
                <a:lnTo>
                  <a:pt x="162" y="842"/>
                </a:lnTo>
                <a:lnTo>
                  <a:pt x="163" y="814"/>
                </a:lnTo>
                <a:lnTo>
                  <a:pt x="163" y="783"/>
                </a:lnTo>
                <a:lnTo>
                  <a:pt x="163" y="252"/>
                </a:lnTo>
                <a:lnTo>
                  <a:pt x="163" y="252"/>
                </a:lnTo>
                <a:lnTo>
                  <a:pt x="163" y="221"/>
                </a:lnTo>
                <a:lnTo>
                  <a:pt x="162" y="194"/>
                </a:lnTo>
                <a:lnTo>
                  <a:pt x="161" y="169"/>
                </a:lnTo>
                <a:lnTo>
                  <a:pt x="158" y="148"/>
                </a:lnTo>
                <a:lnTo>
                  <a:pt x="154" y="129"/>
                </a:lnTo>
                <a:lnTo>
                  <a:pt x="150" y="113"/>
                </a:lnTo>
                <a:lnTo>
                  <a:pt x="143" y="98"/>
                </a:lnTo>
                <a:lnTo>
                  <a:pt x="140" y="92"/>
                </a:lnTo>
                <a:lnTo>
                  <a:pt x="136" y="86"/>
                </a:lnTo>
                <a:lnTo>
                  <a:pt x="131" y="81"/>
                </a:lnTo>
                <a:lnTo>
                  <a:pt x="126" y="77"/>
                </a:lnTo>
                <a:lnTo>
                  <a:pt x="120" y="73"/>
                </a:lnTo>
                <a:lnTo>
                  <a:pt x="114" y="69"/>
                </a:lnTo>
                <a:lnTo>
                  <a:pt x="101" y="63"/>
                </a:lnTo>
                <a:lnTo>
                  <a:pt x="86" y="58"/>
                </a:lnTo>
                <a:lnTo>
                  <a:pt x="68" y="54"/>
                </a:lnTo>
                <a:lnTo>
                  <a:pt x="48" y="51"/>
                </a:lnTo>
                <a:lnTo>
                  <a:pt x="25" y="50"/>
                </a:lnTo>
                <a:lnTo>
                  <a:pt x="0" y="50"/>
                </a:lnTo>
                <a:lnTo>
                  <a:pt x="0" y="0"/>
                </a:lnTo>
                <a:lnTo>
                  <a:pt x="888" y="0"/>
                </a:lnTo>
                <a:lnTo>
                  <a:pt x="902" y="244"/>
                </a:lnTo>
                <a:lnTo>
                  <a:pt x="852" y="244"/>
                </a:lnTo>
                <a:lnTo>
                  <a:pt x="843" y="209"/>
                </a:lnTo>
                <a:lnTo>
                  <a:pt x="843" y="209"/>
                </a:lnTo>
                <a:lnTo>
                  <a:pt x="834" y="177"/>
                </a:lnTo>
                <a:lnTo>
                  <a:pt x="830" y="163"/>
                </a:lnTo>
                <a:lnTo>
                  <a:pt x="824" y="150"/>
                </a:lnTo>
                <a:lnTo>
                  <a:pt x="818" y="138"/>
                </a:lnTo>
                <a:lnTo>
                  <a:pt x="812" y="127"/>
                </a:lnTo>
                <a:lnTo>
                  <a:pt x="803" y="118"/>
                </a:lnTo>
                <a:lnTo>
                  <a:pt x="794" y="109"/>
                </a:lnTo>
                <a:lnTo>
                  <a:pt x="783" y="101"/>
                </a:lnTo>
                <a:lnTo>
                  <a:pt x="770" y="95"/>
                </a:lnTo>
                <a:lnTo>
                  <a:pt x="755" y="90"/>
                </a:lnTo>
                <a:lnTo>
                  <a:pt x="738" y="85"/>
                </a:lnTo>
                <a:lnTo>
                  <a:pt x="719" y="82"/>
                </a:lnTo>
                <a:lnTo>
                  <a:pt x="696" y="80"/>
                </a:lnTo>
                <a:lnTo>
                  <a:pt x="672" y="78"/>
                </a:lnTo>
                <a:lnTo>
                  <a:pt x="643" y="78"/>
                </a:lnTo>
                <a:lnTo>
                  <a:pt x="379" y="78"/>
                </a:lnTo>
                <a:lnTo>
                  <a:pt x="379" y="449"/>
                </a:lnTo>
                <a:lnTo>
                  <a:pt x="474" y="449"/>
                </a:lnTo>
                <a:lnTo>
                  <a:pt x="474" y="449"/>
                </a:lnTo>
                <a:lnTo>
                  <a:pt x="505" y="448"/>
                </a:lnTo>
                <a:lnTo>
                  <a:pt x="532" y="447"/>
                </a:lnTo>
                <a:lnTo>
                  <a:pt x="557" y="446"/>
                </a:lnTo>
                <a:lnTo>
                  <a:pt x="578" y="443"/>
                </a:lnTo>
                <a:lnTo>
                  <a:pt x="597" y="439"/>
                </a:lnTo>
                <a:lnTo>
                  <a:pt x="613" y="434"/>
                </a:lnTo>
                <a:lnTo>
                  <a:pt x="628" y="428"/>
                </a:lnTo>
                <a:lnTo>
                  <a:pt x="634" y="424"/>
                </a:lnTo>
                <a:lnTo>
                  <a:pt x="639" y="419"/>
                </a:lnTo>
                <a:lnTo>
                  <a:pt x="644" y="415"/>
                </a:lnTo>
                <a:lnTo>
                  <a:pt x="649" y="410"/>
                </a:lnTo>
                <a:lnTo>
                  <a:pt x="653" y="404"/>
                </a:lnTo>
                <a:lnTo>
                  <a:pt x="656" y="398"/>
                </a:lnTo>
                <a:lnTo>
                  <a:pt x="662" y="385"/>
                </a:lnTo>
                <a:lnTo>
                  <a:pt x="667" y="369"/>
                </a:lnTo>
                <a:lnTo>
                  <a:pt x="671" y="352"/>
                </a:lnTo>
                <a:lnTo>
                  <a:pt x="673" y="332"/>
                </a:lnTo>
                <a:lnTo>
                  <a:pt x="674" y="309"/>
                </a:lnTo>
                <a:lnTo>
                  <a:pt x="675" y="283"/>
                </a:lnTo>
                <a:lnTo>
                  <a:pt x="725" y="283"/>
                </a:lnTo>
                <a:lnTo>
                  <a:pt x="725" y="691"/>
                </a:lnTo>
                <a:lnTo>
                  <a:pt x="675" y="691"/>
                </a:lnTo>
                <a:lnTo>
                  <a:pt x="675" y="691"/>
                </a:lnTo>
                <a:lnTo>
                  <a:pt x="674" y="666"/>
                </a:lnTo>
                <a:lnTo>
                  <a:pt x="673" y="643"/>
                </a:lnTo>
                <a:lnTo>
                  <a:pt x="671" y="623"/>
                </a:lnTo>
                <a:lnTo>
                  <a:pt x="667" y="605"/>
                </a:lnTo>
                <a:lnTo>
                  <a:pt x="662" y="589"/>
                </a:lnTo>
                <a:lnTo>
                  <a:pt x="656" y="576"/>
                </a:lnTo>
                <a:lnTo>
                  <a:pt x="653" y="570"/>
                </a:lnTo>
                <a:lnTo>
                  <a:pt x="649" y="565"/>
                </a:lnTo>
                <a:lnTo>
                  <a:pt x="644" y="560"/>
                </a:lnTo>
                <a:lnTo>
                  <a:pt x="639" y="554"/>
                </a:lnTo>
                <a:lnTo>
                  <a:pt x="634" y="550"/>
                </a:lnTo>
                <a:lnTo>
                  <a:pt x="628" y="547"/>
                </a:lnTo>
                <a:lnTo>
                  <a:pt x="613" y="540"/>
                </a:lnTo>
                <a:lnTo>
                  <a:pt x="597" y="536"/>
                </a:lnTo>
                <a:lnTo>
                  <a:pt x="578" y="532"/>
                </a:lnTo>
                <a:lnTo>
                  <a:pt x="557" y="529"/>
                </a:lnTo>
                <a:lnTo>
                  <a:pt x="532" y="528"/>
                </a:lnTo>
                <a:lnTo>
                  <a:pt x="505" y="527"/>
                </a:lnTo>
                <a:lnTo>
                  <a:pt x="474" y="527"/>
                </a:lnTo>
                <a:lnTo>
                  <a:pt x="379" y="527"/>
                </a:lnTo>
                <a:lnTo>
                  <a:pt x="379" y="756"/>
                </a:lnTo>
                <a:lnTo>
                  <a:pt x="379" y="756"/>
                </a:lnTo>
                <a:lnTo>
                  <a:pt x="379" y="787"/>
                </a:lnTo>
                <a:lnTo>
                  <a:pt x="380" y="814"/>
                </a:lnTo>
                <a:lnTo>
                  <a:pt x="382" y="839"/>
                </a:lnTo>
                <a:lnTo>
                  <a:pt x="385" y="860"/>
                </a:lnTo>
                <a:lnTo>
                  <a:pt x="389" y="879"/>
                </a:lnTo>
                <a:lnTo>
                  <a:pt x="394" y="896"/>
                </a:lnTo>
                <a:lnTo>
                  <a:pt x="401" y="909"/>
                </a:lnTo>
                <a:lnTo>
                  <a:pt x="405" y="915"/>
                </a:lnTo>
                <a:lnTo>
                  <a:pt x="409" y="921"/>
                </a:lnTo>
                <a:lnTo>
                  <a:pt x="413" y="927"/>
                </a:lnTo>
                <a:lnTo>
                  <a:pt x="418" y="932"/>
                </a:lnTo>
                <a:lnTo>
                  <a:pt x="424" y="936"/>
                </a:lnTo>
                <a:lnTo>
                  <a:pt x="429" y="939"/>
                </a:lnTo>
                <a:lnTo>
                  <a:pt x="444" y="946"/>
                </a:lnTo>
                <a:lnTo>
                  <a:pt x="459" y="950"/>
                </a:lnTo>
                <a:lnTo>
                  <a:pt x="476" y="954"/>
                </a:lnTo>
                <a:lnTo>
                  <a:pt x="497" y="956"/>
                </a:lnTo>
                <a:lnTo>
                  <a:pt x="519" y="957"/>
                </a:lnTo>
                <a:lnTo>
                  <a:pt x="545" y="957"/>
                </a:lnTo>
                <a:lnTo>
                  <a:pt x="700" y="957"/>
                </a:lnTo>
                <a:lnTo>
                  <a:pt x="700" y="957"/>
                </a:lnTo>
                <a:lnTo>
                  <a:pt x="729" y="957"/>
                </a:lnTo>
                <a:lnTo>
                  <a:pt x="753" y="955"/>
                </a:lnTo>
                <a:lnTo>
                  <a:pt x="776" y="953"/>
                </a:lnTo>
                <a:lnTo>
                  <a:pt x="795" y="950"/>
                </a:lnTo>
                <a:lnTo>
                  <a:pt x="813" y="946"/>
                </a:lnTo>
                <a:lnTo>
                  <a:pt x="827" y="940"/>
                </a:lnTo>
                <a:lnTo>
                  <a:pt x="840" y="934"/>
                </a:lnTo>
                <a:lnTo>
                  <a:pt x="852" y="927"/>
                </a:lnTo>
                <a:lnTo>
                  <a:pt x="861" y="917"/>
                </a:lnTo>
                <a:lnTo>
                  <a:pt x="869" y="908"/>
                </a:lnTo>
                <a:lnTo>
                  <a:pt x="876" y="897"/>
                </a:lnTo>
                <a:lnTo>
                  <a:pt x="882" y="886"/>
                </a:lnTo>
                <a:lnTo>
                  <a:pt x="887" y="872"/>
                </a:lnTo>
                <a:lnTo>
                  <a:pt x="891" y="858"/>
                </a:lnTo>
                <a:lnTo>
                  <a:pt x="901" y="826"/>
                </a:lnTo>
                <a:lnTo>
                  <a:pt x="909" y="792"/>
                </a:lnTo>
                <a:lnTo>
                  <a:pt x="959" y="792"/>
                </a:lnTo>
                <a:lnTo>
                  <a:pt x="946" y="1035"/>
                </a:lnTo>
                <a:lnTo>
                  <a:pt x="0" y="1035"/>
                </a:lnTo>
                <a:lnTo>
                  <a:pt x="0" y="985"/>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62" name="Freeform 13">
            <a:extLst>
              <a:ext uri="{FF2B5EF4-FFF2-40B4-BE49-F238E27FC236}">
                <a16:creationId xmlns:a16="http://schemas.microsoft.com/office/drawing/2014/main" id="{985C0882-23D9-8349-8EFD-8B68F98ECE6E}"/>
              </a:ext>
            </a:extLst>
          </p:cNvPr>
          <p:cNvSpPr>
            <a:spLocks/>
          </p:cNvSpPr>
          <p:nvPr userDrawn="1"/>
        </p:nvSpPr>
        <p:spPr bwMode="auto">
          <a:xfrm>
            <a:off x="2798763" y="893763"/>
            <a:ext cx="152400" cy="141288"/>
          </a:xfrm>
          <a:custGeom>
            <a:avLst/>
            <a:gdLst>
              <a:gd name="T0" fmla="*/ 1159 w 1159"/>
              <a:gd name="T1" fmla="*/ 50 h 1065"/>
              <a:gd name="T2" fmla="*/ 1091 w 1159"/>
              <a:gd name="T3" fmla="*/ 54 h 1065"/>
              <a:gd name="T4" fmla="*/ 1039 w 1159"/>
              <a:gd name="T5" fmla="*/ 73 h 1065"/>
              <a:gd name="T6" fmla="*/ 1019 w 1159"/>
              <a:gd name="T7" fmla="*/ 92 h 1065"/>
              <a:gd name="T8" fmla="*/ 1001 w 1159"/>
              <a:gd name="T9" fmla="*/ 148 h 1065"/>
              <a:gd name="T10" fmla="*/ 996 w 1159"/>
              <a:gd name="T11" fmla="*/ 252 h 1065"/>
              <a:gd name="T12" fmla="*/ 994 w 1159"/>
              <a:gd name="T13" fmla="*/ 700 h 1065"/>
              <a:gd name="T14" fmla="*/ 976 w 1159"/>
              <a:gd name="T15" fmla="*/ 790 h 1065"/>
              <a:gd name="T16" fmla="*/ 944 w 1159"/>
              <a:gd name="T17" fmla="*/ 866 h 1065"/>
              <a:gd name="T18" fmla="*/ 899 w 1159"/>
              <a:gd name="T19" fmla="*/ 932 h 1065"/>
              <a:gd name="T20" fmla="*/ 843 w 1159"/>
              <a:gd name="T21" fmla="*/ 984 h 1065"/>
              <a:gd name="T22" fmla="*/ 777 w 1159"/>
              <a:gd name="T23" fmla="*/ 1023 h 1065"/>
              <a:gd name="T24" fmla="*/ 702 w 1159"/>
              <a:gd name="T25" fmla="*/ 1049 h 1065"/>
              <a:gd name="T26" fmla="*/ 621 w 1159"/>
              <a:gd name="T27" fmla="*/ 1063 h 1065"/>
              <a:gd name="T28" fmla="*/ 558 w 1159"/>
              <a:gd name="T29" fmla="*/ 1065 h 1065"/>
              <a:gd name="T30" fmla="*/ 476 w 1159"/>
              <a:gd name="T31" fmla="*/ 1054 h 1065"/>
              <a:gd name="T32" fmla="*/ 399 w 1159"/>
              <a:gd name="T33" fmla="*/ 1031 h 1065"/>
              <a:gd name="T34" fmla="*/ 331 w 1159"/>
              <a:gd name="T35" fmla="*/ 995 h 1065"/>
              <a:gd name="T36" fmla="*/ 273 w 1159"/>
              <a:gd name="T37" fmla="*/ 946 h 1065"/>
              <a:gd name="T38" fmla="*/ 226 w 1159"/>
              <a:gd name="T39" fmla="*/ 884 h 1065"/>
              <a:gd name="T40" fmla="*/ 191 w 1159"/>
              <a:gd name="T41" fmla="*/ 810 h 1065"/>
              <a:gd name="T42" fmla="*/ 170 w 1159"/>
              <a:gd name="T43" fmla="*/ 723 h 1065"/>
              <a:gd name="T44" fmla="*/ 165 w 1159"/>
              <a:gd name="T45" fmla="*/ 252 h 1065"/>
              <a:gd name="T46" fmla="*/ 162 w 1159"/>
              <a:gd name="T47" fmla="*/ 169 h 1065"/>
              <a:gd name="T48" fmla="*/ 145 w 1159"/>
              <a:gd name="T49" fmla="*/ 98 h 1065"/>
              <a:gd name="T50" fmla="*/ 126 w 1159"/>
              <a:gd name="T51" fmla="*/ 77 h 1065"/>
              <a:gd name="T52" fmla="*/ 87 w 1159"/>
              <a:gd name="T53" fmla="*/ 58 h 1065"/>
              <a:gd name="T54" fmla="*/ 0 w 1159"/>
              <a:gd name="T55" fmla="*/ 50 h 1065"/>
              <a:gd name="T56" fmla="*/ 547 w 1159"/>
              <a:gd name="T57" fmla="*/ 50 h 1065"/>
              <a:gd name="T58" fmla="*/ 460 w 1159"/>
              <a:gd name="T59" fmla="*/ 58 h 1065"/>
              <a:gd name="T60" fmla="*/ 419 w 1159"/>
              <a:gd name="T61" fmla="*/ 77 h 1065"/>
              <a:gd name="T62" fmla="*/ 402 w 1159"/>
              <a:gd name="T63" fmla="*/ 98 h 1065"/>
              <a:gd name="T64" fmla="*/ 384 w 1159"/>
              <a:gd name="T65" fmla="*/ 169 h 1065"/>
              <a:gd name="T66" fmla="*/ 381 w 1159"/>
              <a:gd name="T67" fmla="*/ 631 h 1065"/>
              <a:gd name="T68" fmla="*/ 384 w 1159"/>
              <a:gd name="T69" fmla="*/ 691 h 1065"/>
              <a:gd name="T70" fmla="*/ 397 w 1159"/>
              <a:gd name="T71" fmla="*/ 761 h 1065"/>
              <a:gd name="T72" fmla="*/ 420 w 1159"/>
              <a:gd name="T73" fmla="*/ 819 h 1065"/>
              <a:gd name="T74" fmla="*/ 451 w 1159"/>
              <a:gd name="T75" fmla="*/ 867 h 1065"/>
              <a:gd name="T76" fmla="*/ 488 w 1159"/>
              <a:gd name="T77" fmla="*/ 905 h 1065"/>
              <a:gd name="T78" fmla="*/ 532 w 1159"/>
              <a:gd name="T79" fmla="*/ 933 h 1065"/>
              <a:gd name="T80" fmla="*/ 581 w 1159"/>
              <a:gd name="T81" fmla="*/ 950 h 1065"/>
              <a:gd name="T82" fmla="*/ 635 w 1159"/>
              <a:gd name="T83" fmla="*/ 957 h 1065"/>
              <a:gd name="T84" fmla="*/ 676 w 1159"/>
              <a:gd name="T85" fmla="*/ 956 h 1065"/>
              <a:gd name="T86" fmla="*/ 727 w 1159"/>
              <a:gd name="T87" fmla="*/ 947 h 1065"/>
              <a:gd name="T88" fmla="*/ 773 w 1159"/>
              <a:gd name="T89" fmla="*/ 927 h 1065"/>
              <a:gd name="T90" fmla="*/ 814 w 1159"/>
              <a:gd name="T91" fmla="*/ 897 h 1065"/>
              <a:gd name="T92" fmla="*/ 847 w 1159"/>
              <a:gd name="T93" fmla="*/ 857 h 1065"/>
              <a:gd name="T94" fmla="*/ 873 w 1159"/>
              <a:gd name="T95" fmla="*/ 806 h 1065"/>
              <a:gd name="T96" fmla="*/ 891 w 1159"/>
              <a:gd name="T97" fmla="*/ 745 h 1065"/>
              <a:gd name="T98" fmla="*/ 901 w 1159"/>
              <a:gd name="T99" fmla="*/ 672 h 1065"/>
              <a:gd name="T100" fmla="*/ 903 w 1159"/>
              <a:gd name="T101" fmla="*/ 252 h 1065"/>
              <a:gd name="T102" fmla="*/ 896 w 1159"/>
              <a:gd name="T103" fmla="*/ 148 h 1065"/>
              <a:gd name="T104" fmla="*/ 878 w 1159"/>
              <a:gd name="T105" fmla="*/ 92 h 1065"/>
              <a:gd name="T106" fmla="*/ 859 w 1159"/>
              <a:gd name="T107" fmla="*/ 73 h 1065"/>
              <a:gd name="T108" fmla="*/ 805 w 1159"/>
              <a:gd name="T109" fmla="*/ 54 h 1065"/>
              <a:gd name="T110" fmla="*/ 737 w 1159"/>
              <a:gd name="T111" fmla="*/ 50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59" h="1065">
                <a:moveTo>
                  <a:pt x="737" y="50"/>
                </a:moveTo>
                <a:lnTo>
                  <a:pt x="737" y="0"/>
                </a:lnTo>
                <a:lnTo>
                  <a:pt x="1159" y="0"/>
                </a:lnTo>
                <a:lnTo>
                  <a:pt x="1159" y="50"/>
                </a:lnTo>
                <a:lnTo>
                  <a:pt x="1159" y="50"/>
                </a:lnTo>
                <a:lnTo>
                  <a:pt x="1134" y="50"/>
                </a:lnTo>
                <a:lnTo>
                  <a:pt x="1111" y="51"/>
                </a:lnTo>
                <a:lnTo>
                  <a:pt x="1091" y="54"/>
                </a:lnTo>
                <a:lnTo>
                  <a:pt x="1073" y="58"/>
                </a:lnTo>
                <a:lnTo>
                  <a:pt x="1058" y="63"/>
                </a:lnTo>
                <a:lnTo>
                  <a:pt x="1045" y="69"/>
                </a:lnTo>
                <a:lnTo>
                  <a:pt x="1039" y="73"/>
                </a:lnTo>
                <a:lnTo>
                  <a:pt x="1033" y="77"/>
                </a:lnTo>
                <a:lnTo>
                  <a:pt x="1028" y="81"/>
                </a:lnTo>
                <a:lnTo>
                  <a:pt x="1023" y="86"/>
                </a:lnTo>
                <a:lnTo>
                  <a:pt x="1019" y="92"/>
                </a:lnTo>
                <a:lnTo>
                  <a:pt x="1016" y="98"/>
                </a:lnTo>
                <a:lnTo>
                  <a:pt x="1009" y="113"/>
                </a:lnTo>
                <a:lnTo>
                  <a:pt x="1005" y="129"/>
                </a:lnTo>
                <a:lnTo>
                  <a:pt x="1001" y="148"/>
                </a:lnTo>
                <a:lnTo>
                  <a:pt x="998" y="169"/>
                </a:lnTo>
                <a:lnTo>
                  <a:pt x="997" y="194"/>
                </a:lnTo>
                <a:lnTo>
                  <a:pt x="996" y="221"/>
                </a:lnTo>
                <a:lnTo>
                  <a:pt x="996" y="252"/>
                </a:lnTo>
                <a:lnTo>
                  <a:pt x="996" y="651"/>
                </a:lnTo>
                <a:lnTo>
                  <a:pt x="996" y="651"/>
                </a:lnTo>
                <a:lnTo>
                  <a:pt x="995" y="675"/>
                </a:lnTo>
                <a:lnTo>
                  <a:pt x="994" y="700"/>
                </a:lnTo>
                <a:lnTo>
                  <a:pt x="990" y="723"/>
                </a:lnTo>
                <a:lnTo>
                  <a:pt x="986" y="746"/>
                </a:lnTo>
                <a:lnTo>
                  <a:pt x="982" y="768"/>
                </a:lnTo>
                <a:lnTo>
                  <a:pt x="976" y="790"/>
                </a:lnTo>
                <a:lnTo>
                  <a:pt x="970" y="810"/>
                </a:lnTo>
                <a:lnTo>
                  <a:pt x="962" y="829"/>
                </a:lnTo>
                <a:lnTo>
                  <a:pt x="954" y="849"/>
                </a:lnTo>
                <a:lnTo>
                  <a:pt x="944" y="866"/>
                </a:lnTo>
                <a:lnTo>
                  <a:pt x="934" y="884"/>
                </a:lnTo>
                <a:lnTo>
                  <a:pt x="924" y="901"/>
                </a:lnTo>
                <a:lnTo>
                  <a:pt x="912" y="916"/>
                </a:lnTo>
                <a:lnTo>
                  <a:pt x="899" y="932"/>
                </a:lnTo>
                <a:lnTo>
                  <a:pt x="886" y="946"/>
                </a:lnTo>
                <a:lnTo>
                  <a:pt x="873" y="959"/>
                </a:lnTo>
                <a:lnTo>
                  <a:pt x="859" y="972"/>
                </a:lnTo>
                <a:lnTo>
                  <a:pt x="843" y="984"/>
                </a:lnTo>
                <a:lnTo>
                  <a:pt x="828" y="995"/>
                </a:lnTo>
                <a:lnTo>
                  <a:pt x="812" y="1005"/>
                </a:lnTo>
                <a:lnTo>
                  <a:pt x="794" y="1015"/>
                </a:lnTo>
                <a:lnTo>
                  <a:pt x="777" y="1023"/>
                </a:lnTo>
                <a:lnTo>
                  <a:pt x="759" y="1031"/>
                </a:lnTo>
                <a:lnTo>
                  <a:pt x="741" y="1038"/>
                </a:lnTo>
                <a:lnTo>
                  <a:pt x="722" y="1044"/>
                </a:lnTo>
                <a:lnTo>
                  <a:pt x="702" y="1049"/>
                </a:lnTo>
                <a:lnTo>
                  <a:pt x="683" y="1054"/>
                </a:lnTo>
                <a:lnTo>
                  <a:pt x="662" y="1057"/>
                </a:lnTo>
                <a:lnTo>
                  <a:pt x="643" y="1061"/>
                </a:lnTo>
                <a:lnTo>
                  <a:pt x="621" y="1063"/>
                </a:lnTo>
                <a:lnTo>
                  <a:pt x="601" y="1065"/>
                </a:lnTo>
                <a:lnTo>
                  <a:pt x="579" y="1065"/>
                </a:lnTo>
                <a:lnTo>
                  <a:pt x="579" y="1065"/>
                </a:lnTo>
                <a:lnTo>
                  <a:pt x="558" y="1065"/>
                </a:lnTo>
                <a:lnTo>
                  <a:pt x="538" y="1063"/>
                </a:lnTo>
                <a:lnTo>
                  <a:pt x="516" y="1061"/>
                </a:lnTo>
                <a:lnTo>
                  <a:pt x="496" y="1057"/>
                </a:lnTo>
                <a:lnTo>
                  <a:pt x="476" y="1054"/>
                </a:lnTo>
                <a:lnTo>
                  <a:pt x="456" y="1049"/>
                </a:lnTo>
                <a:lnTo>
                  <a:pt x="437" y="1044"/>
                </a:lnTo>
                <a:lnTo>
                  <a:pt x="418" y="1038"/>
                </a:lnTo>
                <a:lnTo>
                  <a:pt x="399" y="1031"/>
                </a:lnTo>
                <a:lnTo>
                  <a:pt x="382" y="1023"/>
                </a:lnTo>
                <a:lnTo>
                  <a:pt x="365" y="1015"/>
                </a:lnTo>
                <a:lnTo>
                  <a:pt x="347" y="1005"/>
                </a:lnTo>
                <a:lnTo>
                  <a:pt x="331" y="995"/>
                </a:lnTo>
                <a:lnTo>
                  <a:pt x="316" y="984"/>
                </a:lnTo>
                <a:lnTo>
                  <a:pt x="301" y="972"/>
                </a:lnTo>
                <a:lnTo>
                  <a:pt x="286" y="959"/>
                </a:lnTo>
                <a:lnTo>
                  <a:pt x="273" y="946"/>
                </a:lnTo>
                <a:lnTo>
                  <a:pt x="259" y="932"/>
                </a:lnTo>
                <a:lnTo>
                  <a:pt x="247" y="916"/>
                </a:lnTo>
                <a:lnTo>
                  <a:pt x="236" y="901"/>
                </a:lnTo>
                <a:lnTo>
                  <a:pt x="226" y="884"/>
                </a:lnTo>
                <a:lnTo>
                  <a:pt x="215" y="866"/>
                </a:lnTo>
                <a:lnTo>
                  <a:pt x="206" y="849"/>
                </a:lnTo>
                <a:lnTo>
                  <a:pt x="198" y="829"/>
                </a:lnTo>
                <a:lnTo>
                  <a:pt x="191" y="810"/>
                </a:lnTo>
                <a:lnTo>
                  <a:pt x="184" y="790"/>
                </a:lnTo>
                <a:lnTo>
                  <a:pt x="179" y="768"/>
                </a:lnTo>
                <a:lnTo>
                  <a:pt x="174" y="746"/>
                </a:lnTo>
                <a:lnTo>
                  <a:pt x="170" y="723"/>
                </a:lnTo>
                <a:lnTo>
                  <a:pt x="167" y="700"/>
                </a:lnTo>
                <a:lnTo>
                  <a:pt x="166" y="675"/>
                </a:lnTo>
                <a:lnTo>
                  <a:pt x="165" y="651"/>
                </a:lnTo>
                <a:lnTo>
                  <a:pt x="165" y="252"/>
                </a:lnTo>
                <a:lnTo>
                  <a:pt x="165" y="252"/>
                </a:lnTo>
                <a:lnTo>
                  <a:pt x="165" y="221"/>
                </a:lnTo>
                <a:lnTo>
                  <a:pt x="164" y="194"/>
                </a:lnTo>
                <a:lnTo>
                  <a:pt x="162" y="169"/>
                </a:lnTo>
                <a:lnTo>
                  <a:pt x="160" y="148"/>
                </a:lnTo>
                <a:lnTo>
                  <a:pt x="156" y="129"/>
                </a:lnTo>
                <a:lnTo>
                  <a:pt x="151" y="113"/>
                </a:lnTo>
                <a:lnTo>
                  <a:pt x="145" y="98"/>
                </a:lnTo>
                <a:lnTo>
                  <a:pt x="141" y="92"/>
                </a:lnTo>
                <a:lnTo>
                  <a:pt x="137" y="86"/>
                </a:lnTo>
                <a:lnTo>
                  <a:pt x="132" y="81"/>
                </a:lnTo>
                <a:lnTo>
                  <a:pt x="126" y="77"/>
                </a:lnTo>
                <a:lnTo>
                  <a:pt x="121" y="73"/>
                </a:lnTo>
                <a:lnTo>
                  <a:pt x="115" y="69"/>
                </a:lnTo>
                <a:lnTo>
                  <a:pt x="102" y="63"/>
                </a:lnTo>
                <a:lnTo>
                  <a:pt x="87" y="58"/>
                </a:lnTo>
                <a:lnTo>
                  <a:pt x="68" y="54"/>
                </a:lnTo>
                <a:lnTo>
                  <a:pt x="48" y="51"/>
                </a:lnTo>
                <a:lnTo>
                  <a:pt x="25" y="50"/>
                </a:lnTo>
                <a:lnTo>
                  <a:pt x="0" y="50"/>
                </a:lnTo>
                <a:lnTo>
                  <a:pt x="0" y="0"/>
                </a:lnTo>
                <a:lnTo>
                  <a:pt x="547" y="0"/>
                </a:lnTo>
                <a:lnTo>
                  <a:pt x="547" y="50"/>
                </a:lnTo>
                <a:lnTo>
                  <a:pt x="547" y="50"/>
                </a:lnTo>
                <a:lnTo>
                  <a:pt x="521" y="50"/>
                </a:lnTo>
                <a:lnTo>
                  <a:pt x="498" y="51"/>
                </a:lnTo>
                <a:lnTo>
                  <a:pt x="477" y="54"/>
                </a:lnTo>
                <a:lnTo>
                  <a:pt x="460" y="58"/>
                </a:lnTo>
                <a:lnTo>
                  <a:pt x="444" y="63"/>
                </a:lnTo>
                <a:lnTo>
                  <a:pt x="430" y="69"/>
                </a:lnTo>
                <a:lnTo>
                  <a:pt x="425" y="73"/>
                </a:lnTo>
                <a:lnTo>
                  <a:pt x="419" y="77"/>
                </a:lnTo>
                <a:lnTo>
                  <a:pt x="414" y="81"/>
                </a:lnTo>
                <a:lnTo>
                  <a:pt x="410" y="86"/>
                </a:lnTo>
                <a:lnTo>
                  <a:pt x="406" y="92"/>
                </a:lnTo>
                <a:lnTo>
                  <a:pt x="402" y="98"/>
                </a:lnTo>
                <a:lnTo>
                  <a:pt x="395" y="113"/>
                </a:lnTo>
                <a:lnTo>
                  <a:pt x="390" y="129"/>
                </a:lnTo>
                <a:lnTo>
                  <a:pt x="386" y="148"/>
                </a:lnTo>
                <a:lnTo>
                  <a:pt x="384" y="169"/>
                </a:lnTo>
                <a:lnTo>
                  <a:pt x="382" y="194"/>
                </a:lnTo>
                <a:lnTo>
                  <a:pt x="381" y="221"/>
                </a:lnTo>
                <a:lnTo>
                  <a:pt x="381" y="252"/>
                </a:lnTo>
                <a:lnTo>
                  <a:pt x="381" y="631"/>
                </a:lnTo>
                <a:lnTo>
                  <a:pt x="381" y="631"/>
                </a:lnTo>
                <a:lnTo>
                  <a:pt x="381" y="652"/>
                </a:lnTo>
                <a:lnTo>
                  <a:pt x="382" y="672"/>
                </a:lnTo>
                <a:lnTo>
                  <a:pt x="384" y="691"/>
                </a:lnTo>
                <a:lnTo>
                  <a:pt x="386" y="710"/>
                </a:lnTo>
                <a:lnTo>
                  <a:pt x="389" y="727"/>
                </a:lnTo>
                <a:lnTo>
                  <a:pt x="393" y="745"/>
                </a:lnTo>
                <a:lnTo>
                  <a:pt x="397" y="761"/>
                </a:lnTo>
                <a:lnTo>
                  <a:pt x="403" y="776"/>
                </a:lnTo>
                <a:lnTo>
                  <a:pt x="408" y="792"/>
                </a:lnTo>
                <a:lnTo>
                  <a:pt x="413" y="806"/>
                </a:lnTo>
                <a:lnTo>
                  <a:pt x="420" y="819"/>
                </a:lnTo>
                <a:lnTo>
                  <a:pt x="427" y="833"/>
                </a:lnTo>
                <a:lnTo>
                  <a:pt x="434" y="845"/>
                </a:lnTo>
                <a:lnTo>
                  <a:pt x="442" y="857"/>
                </a:lnTo>
                <a:lnTo>
                  <a:pt x="451" y="867"/>
                </a:lnTo>
                <a:lnTo>
                  <a:pt x="459" y="878"/>
                </a:lnTo>
                <a:lnTo>
                  <a:pt x="468" y="888"/>
                </a:lnTo>
                <a:lnTo>
                  <a:pt x="478" y="897"/>
                </a:lnTo>
                <a:lnTo>
                  <a:pt x="488" y="905"/>
                </a:lnTo>
                <a:lnTo>
                  <a:pt x="499" y="913"/>
                </a:lnTo>
                <a:lnTo>
                  <a:pt x="510" y="920"/>
                </a:lnTo>
                <a:lnTo>
                  <a:pt x="521" y="927"/>
                </a:lnTo>
                <a:lnTo>
                  <a:pt x="532" y="933"/>
                </a:lnTo>
                <a:lnTo>
                  <a:pt x="544" y="938"/>
                </a:lnTo>
                <a:lnTo>
                  <a:pt x="556" y="943"/>
                </a:lnTo>
                <a:lnTo>
                  <a:pt x="569" y="947"/>
                </a:lnTo>
                <a:lnTo>
                  <a:pt x="581" y="950"/>
                </a:lnTo>
                <a:lnTo>
                  <a:pt x="595" y="953"/>
                </a:lnTo>
                <a:lnTo>
                  <a:pt x="608" y="955"/>
                </a:lnTo>
                <a:lnTo>
                  <a:pt x="621" y="956"/>
                </a:lnTo>
                <a:lnTo>
                  <a:pt x="635" y="957"/>
                </a:lnTo>
                <a:lnTo>
                  <a:pt x="649" y="957"/>
                </a:lnTo>
                <a:lnTo>
                  <a:pt x="649" y="957"/>
                </a:lnTo>
                <a:lnTo>
                  <a:pt x="662" y="957"/>
                </a:lnTo>
                <a:lnTo>
                  <a:pt x="676" y="956"/>
                </a:lnTo>
                <a:lnTo>
                  <a:pt x="689" y="955"/>
                </a:lnTo>
                <a:lnTo>
                  <a:pt x="702" y="953"/>
                </a:lnTo>
                <a:lnTo>
                  <a:pt x="714" y="950"/>
                </a:lnTo>
                <a:lnTo>
                  <a:pt x="727" y="947"/>
                </a:lnTo>
                <a:lnTo>
                  <a:pt x="739" y="943"/>
                </a:lnTo>
                <a:lnTo>
                  <a:pt x="751" y="938"/>
                </a:lnTo>
                <a:lnTo>
                  <a:pt x="762" y="933"/>
                </a:lnTo>
                <a:lnTo>
                  <a:pt x="773" y="927"/>
                </a:lnTo>
                <a:lnTo>
                  <a:pt x="784" y="920"/>
                </a:lnTo>
                <a:lnTo>
                  <a:pt x="794" y="913"/>
                </a:lnTo>
                <a:lnTo>
                  <a:pt x="803" y="905"/>
                </a:lnTo>
                <a:lnTo>
                  <a:pt x="814" y="897"/>
                </a:lnTo>
                <a:lnTo>
                  <a:pt x="823" y="888"/>
                </a:lnTo>
                <a:lnTo>
                  <a:pt x="831" y="878"/>
                </a:lnTo>
                <a:lnTo>
                  <a:pt x="839" y="867"/>
                </a:lnTo>
                <a:lnTo>
                  <a:pt x="847" y="857"/>
                </a:lnTo>
                <a:lnTo>
                  <a:pt x="854" y="845"/>
                </a:lnTo>
                <a:lnTo>
                  <a:pt x="861" y="833"/>
                </a:lnTo>
                <a:lnTo>
                  <a:pt x="868" y="819"/>
                </a:lnTo>
                <a:lnTo>
                  <a:pt x="873" y="806"/>
                </a:lnTo>
                <a:lnTo>
                  <a:pt x="879" y="792"/>
                </a:lnTo>
                <a:lnTo>
                  <a:pt x="883" y="776"/>
                </a:lnTo>
                <a:lnTo>
                  <a:pt x="887" y="761"/>
                </a:lnTo>
                <a:lnTo>
                  <a:pt x="891" y="745"/>
                </a:lnTo>
                <a:lnTo>
                  <a:pt x="894" y="727"/>
                </a:lnTo>
                <a:lnTo>
                  <a:pt x="897" y="710"/>
                </a:lnTo>
                <a:lnTo>
                  <a:pt x="899" y="691"/>
                </a:lnTo>
                <a:lnTo>
                  <a:pt x="901" y="672"/>
                </a:lnTo>
                <a:lnTo>
                  <a:pt x="902" y="652"/>
                </a:lnTo>
                <a:lnTo>
                  <a:pt x="903" y="631"/>
                </a:lnTo>
                <a:lnTo>
                  <a:pt x="903" y="252"/>
                </a:lnTo>
                <a:lnTo>
                  <a:pt x="903" y="252"/>
                </a:lnTo>
                <a:lnTo>
                  <a:pt x="902" y="221"/>
                </a:lnTo>
                <a:lnTo>
                  <a:pt x="901" y="194"/>
                </a:lnTo>
                <a:lnTo>
                  <a:pt x="899" y="169"/>
                </a:lnTo>
                <a:lnTo>
                  <a:pt x="896" y="148"/>
                </a:lnTo>
                <a:lnTo>
                  <a:pt x="893" y="129"/>
                </a:lnTo>
                <a:lnTo>
                  <a:pt x="888" y="113"/>
                </a:lnTo>
                <a:lnTo>
                  <a:pt x="881" y="98"/>
                </a:lnTo>
                <a:lnTo>
                  <a:pt x="878" y="92"/>
                </a:lnTo>
                <a:lnTo>
                  <a:pt x="874" y="86"/>
                </a:lnTo>
                <a:lnTo>
                  <a:pt x="869" y="81"/>
                </a:lnTo>
                <a:lnTo>
                  <a:pt x="864" y="77"/>
                </a:lnTo>
                <a:lnTo>
                  <a:pt x="859" y="73"/>
                </a:lnTo>
                <a:lnTo>
                  <a:pt x="852" y="69"/>
                </a:lnTo>
                <a:lnTo>
                  <a:pt x="839" y="63"/>
                </a:lnTo>
                <a:lnTo>
                  <a:pt x="824" y="58"/>
                </a:lnTo>
                <a:lnTo>
                  <a:pt x="805" y="54"/>
                </a:lnTo>
                <a:lnTo>
                  <a:pt x="785" y="51"/>
                </a:lnTo>
                <a:lnTo>
                  <a:pt x="762" y="50"/>
                </a:lnTo>
                <a:lnTo>
                  <a:pt x="737" y="50"/>
                </a:lnTo>
                <a:lnTo>
                  <a:pt x="737" y="50"/>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63" name="Freeform 14">
            <a:extLst>
              <a:ext uri="{FF2B5EF4-FFF2-40B4-BE49-F238E27FC236}">
                <a16:creationId xmlns:a16="http://schemas.microsoft.com/office/drawing/2014/main" id="{06E49BB8-6ACF-B54E-8E60-142D9EF181D5}"/>
              </a:ext>
            </a:extLst>
          </p:cNvPr>
          <p:cNvSpPr>
            <a:spLocks/>
          </p:cNvSpPr>
          <p:nvPr userDrawn="1"/>
        </p:nvSpPr>
        <p:spPr bwMode="auto">
          <a:xfrm>
            <a:off x="2962276" y="893763"/>
            <a:ext cx="160338" cy="141288"/>
          </a:xfrm>
          <a:custGeom>
            <a:avLst/>
            <a:gdLst>
              <a:gd name="T0" fmla="*/ 623 w 1210"/>
              <a:gd name="T1" fmla="*/ 1065 h 1065"/>
              <a:gd name="T2" fmla="*/ 211 w 1210"/>
              <a:gd name="T3" fmla="*/ 202 h 1065"/>
              <a:gd name="T4" fmla="*/ 193 w 1210"/>
              <a:gd name="T5" fmla="*/ 163 h 1065"/>
              <a:gd name="T6" fmla="*/ 177 w 1210"/>
              <a:gd name="T7" fmla="*/ 131 h 1065"/>
              <a:gd name="T8" fmla="*/ 159 w 1210"/>
              <a:gd name="T9" fmla="*/ 105 h 1065"/>
              <a:gd name="T10" fmla="*/ 139 w 1210"/>
              <a:gd name="T11" fmla="*/ 84 h 1065"/>
              <a:gd name="T12" fmla="*/ 114 w 1210"/>
              <a:gd name="T13" fmla="*/ 69 h 1065"/>
              <a:gd name="T14" fmla="*/ 85 w 1210"/>
              <a:gd name="T15" fmla="*/ 59 h 1065"/>
              <a:gd name="T16" fmla="*/ 47 w 1210"/>
              <a:gd name="T17" fmla="*/ 52 h 1065"/>
              <a:gd name="T18" fmla="*/ 0 w 1210"/>
              <a:gd name="T19" fmla="*/ 50 h 1065"/>
              <a:gd name="T20" fmla="*/ 566 w 1210"/>
              <a:gd name="T21" fmla="*/ 0 h 1065"/>
              <a:gd name="T22" fmla="*/ 566 w 1210"/>
              <a:gd name="T23" fmla="*/ 50 h 1065"/>
              <a:gd name="T24" fmla="*/ 515 w 1210"/>
              <a:gd name="T25" fmla="*/ 52 h 1065"/>
              <a:gd name="T26" fmla="*/ 476 w 1210"/>
              <a:gd name="T27" fmla="*/ 58 h 1065"/>
              <a:gd name="T28" fmla="*/ 448 w 1210"/>
              <a:gd name="T29" fmla="*/ 68 h 1065"/>
              <a:gd name="T30" fmla="*/ 429 w 1210"/>
              <a:gd name="T31" fmla="*/ 81 h 1065"/>
              <a:gd name="T32" fmla="*/ 420 w 1210"/>
              <a:gd name="T33" fmla="*/ 99 h 1065"/>
              <a:gd name="T34" fmla="*/ 419 w 1210"/>
              <a:gd name="T35" fmla="*/ 122 h 1065"/>
              <a:gd name="T36" fmla="*/ 424 w 1210"/>
              <a:gd name="T37" fmla="*/ 150 h 1065"/>
              <a:gd name="T38" fmla="*/ 436 w 1210"/>
              <a:gd name="T39" fmla="*/ 181 h 1065"/>
              <a:gd name="T40" fmla="*/ 921 w 1210"/>
              <a:gd name="T41" fmla="*/ 181 h 1065"/>
              <a:gd name="T42" fmla="*/ 928 w 1210"/>
              <a:gd name="T43" fmla="*/ 165 h 1065"/>
              <a:gd name="T44" fmla="*/ 936 w 1210"/>
              <a:gd name="T45" fmla="*/ 134 h 1065"/>
              <a:gd name="T46" fmla="*/ 938 w 1210"/>
              <a:gd name="T47" fmla="*/ 110 h 1065"/>
              <a:gd name="T48" fmla="*/ 931 w 1210"/>
              <a:gd name="T49" fmla="*/ 89 h 1065"/>
              <a:gd name="T50" fmla="*/ 917 w 1210"/>
              <a:gd name="T51" fmla="*/ 74 h 1065"/>
              <a:gd name="T52" fmla="*/ 894 w 1210"/>
              <a:gd name="T53" fmla="*/ 62 h 1065"/>
              <a:gd name="T54" fmla="*/ 861 w 1210"/>
              <a:gd name="T55" fmla="*/ 54 h 1065"/>
              <a:gd name="T56" fmla="*/ 817 w 1210"/>
              <a:gd name="T57" fmla="*/ 50 h 1065"/>
              <a:gd name="T58" fmla="*/ 792 w 1210"/>
              <a:gd name="T59" fmla="*/ 0 h 1065"/>
              <a:gd name="T60" fmla="*/ 1210 w 1210"/>
              <a:gd name="T61" fmla="*/ 50 h 1065"/>
              <a:gd name="T62" fmla="*/ 1188 w 1210"/>
              <a:gd name="T63" fmla="*/ 50 h 1065"/>
              <a:gd name="T64" fmla="*/ 1150 w 1210"/>
              <a:gd name="T65" fmla="*/ 53 h 1065"/>
              <a:gd name="T66" fmla="*/ 1119 w 1210"/>
              <a:gd name="T67" fmla="*/ 61 h 1065"/>
              <a:gd name="T68" fmla="*/ 1091 w 1210"/>
              <a:gd name="T69" fmla="*/ 73 h 1065"/>
              <a:gd name="T70" fmla="*/ 1067 w 1210"/>
              <a:gd name="T71" fmla="*/ 89 h 1065"/>
              <a:gd name="T72" fmla="*/ 1046 w 1210"/>
              <a:gd name="T73" fmla="*/ 113 h 1065"/>
              <a:gd name="T74" fmla="*/ 1026 w 1210"/>
              <a:gd name="T75" fmla="*/ 142 h 1065"/>
              <a:gd name="T76" fmla="*/ 1007 w 1210"/>
              <a:gd name="T77" fmla="*/ 180 h 1065"/>
              <a:gd name="T78" fmla="*/ 997 w 1210"/>
              <a:gd name="T79" fmla="*/ 202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10" h="1065">
                <a:moveTo>
                  <a:pt x="997" y="202"/>
                </a:moveTo>
                <a:lnTo>
                  <a:pt x="623" y="1065"/>
                </a:lnTo>
                <a:lnTo>
                  <a:pt x="587" y="1065"/>
                </a:lnTo>
                <a:lnTo>
                  <a:pt x="211" y="202"/>
                </a:lnTo>
                <a:lnTo>
                  <a:pt x="211" y="202"/>
                </a:lnTo>
                <a:lnTo>
                  <a:pt x="193" y="163"/>
                </a:lnTo>
                <a:lnTo>
                  <a:pt x="185" y="146"/>
                </a:lnTo>
                <a:lnTo>
                  <a:pt x="177" y="131"/>
                </a:lnTo>
                <a:lnTo>
                  <a:pt x="169" y="117"/>
                </a:lnTo>
                <a:lnTo>
                  <a:pt x="159" y="105"/>
                </a:lnTo>
                <a:lnTo>
                  <a:pt x="149" y="93"/>
                </a:lnTo>
                <a:lnTo>
                  <a:pt x="139" y="84"/>
                </a:lnTo>
                <a:lnTo>
                  <a:pt x="128" y="76"/>
                </a:lnTo>
                <a:lnTo>
                  <a:pt x="114" y="69"/>
                </a:lnTo>
                <a:lnTo>
                  <a:pt x="100" y="63"/>
                </a:lnTo>
                <a:lnTo>
                  <a:pt x="85" y="59"/>
                </a:lnTo>
                <a:lnTo>
                  <a:pt x="66" y="54"/>
                </a:lnTo>
                <a:lnTo>
                  <a:pt x="47" y="52"/>
                </a:lnTo>
                <a:lnTo>
                  <a:pt x="24" y="50"/>
                </a:lnTo>
                <a:lnTo>
                  <a:pt x="0" y="50"/>
                </a:lnTo>
                <a:lnTo>
                  <a:pt x="0" y="0"/>
                </a:lnTo>
                <a:lnTo>
                  <a:pt x="566" y="0"/>
                </a:lnTo>
                <a:lnTo>
                  <a:pt x="566" y="50"/>
                </a:lnTo>
                <a:lnTo>
                  <a:pt x="566" y="50"/>
                </a:lnTo>
                <a:lnTo>
                  <a:pt x="539" y="50"/>
                </a:lnTo>
                <a:lnTo>
                  <a:pt x="515" y="52"/>
                </a:lnTo>
                <a:lnTo>
                  <a:pt x="494" y="54"/>
                </a:lnTo>
                <a:lnTo>
                  <a:pt x="476" y="58"/>
                </a:lnTo>
                <a:lnTo>
                  <a:pt x="461" y="63"/>
                </a:lnTo>
                <a:lnTo>
                  <a:pt x="448" y="68"/>
                </a:lnTo>
                <a:lnTo>
                  <a:pt x="438" y="74"/>
                </a:lnTo>
                <a:lnTo>
                  <a:pt x="429" y="81"/>
                </a:lnTo>
                <a:lnTo>
                  <a:pt x="423" y="90"/>
                </a:lnTo>
                <a:lnTo>
                  <a:pt x="420" y="99"/>
                </a:lnTo>
                <a:lnTo>
                  <a:pt x="418" y="111"/>
                </a:lnTo>
                <a:lnTo>
                  <a:pt x="419" y="122"/>
                </a:lnTo>
                <a:lnTo>
                  <a:pt x="421" y="135"/>
                </a:lnTo>
                <a:lnTo>
                  <a:pt x="424" y="150"/>
                </a:lnTo>
                <a:lnTo>
                  <a:pt x="429" y="165"/>
                </a:lnTo>
                <a:lnTo>
                  <a:pt x="436" y="181"/>
                </a:lnTo>
                <a:lnTo>
                  <a:pt x="678" y="742"/>
                </a:lnTo>
                <a:lnTo>
                  <a:pt x="921" y="181"/>
                </a:lnTo>
                <a:lnTo>
                  <a:pt x="921" y="181"/>
                </a:lnTo>
                <a:lnTo>
                  <a:pt x="928" y="165"/>
                </a:lnTo>
                <a:lnTo>
                  <a:pt x="933" y="149"/>
                </a:lnTo>
                <a:lnTo>
                  <a:pt x="936" y="134"/>
                </a:lnTo>
                <a:lnTo>
                  <a:pt x="938" y="122"/>
                </a:lnTo>
                <a:lnTo>
                  <a:pt x="938" y="110"/>
                </a:lnTo>
                <a:lnTo>
                  <a:pt x="935" y="98"/>
                </a:lnTo>
                <a:lnTo>
                  <a:pt x="931" y="89"/>
                </a:lnTo>
                <a:lnTo>
                  <a:pt x="925" y="81"/>
                </a:lnTo>
                <a:lnTo>
                  <a:pt x="917" y="74"/>
                </a:lnTo>
                <a:lnTo>
                  <a:pt x="906" y="67"/>
                </a:lnTo>
                <a:lnTo>
                  <a:pt x="894" y="62"/>
                </a:lnTo>
                <a:lnTo>
                  <a:pt x="878" y="58"/>
                </a:lnTo>
                <a:lnTo>
                  <a:pt x="861" y="54"/>
                </a:lnTo>
                <a:lnTo>
                  <a:pt x="840" y="52"/>
                </a:lnTo>
                <a:lnTo>
                  <a:pt x="817" y="50"/>
                </a:lnTo>
                <a:lnTo>
                  <a:pt x="792" y="50"/>
                </a:lnTo>
                <a:lnTo>
                  <a:pt x="792" y="0"/>
                </a:lnTo>
                <a:lnTo>
                  <a:pt x="1210" y="0"/>
                </a:lnTo>
                <a:lnTo>
                  <a:pt x="1210" y="50"/>
                </a:lnTo>
                <a:lnTo>
                  <a:pt x="1210" y="50"/>
                </a:lnTo>
                <a:lnTo>
                  <a:pt x="1188" y="50"/>
                </a:lnTo>
                <a:lnTo>
                  <a:pt x="1169" y="51"/>
                </a:lnTo>
                <a:lnTo>
                  <a:pt x="1150" y="53"/>
                </a:lnTo>
                <a:lnTo>
                  <a:pt x="1134" y="57"/>
                </a:lnTo>
                <a:lnTo>
                  <a:pt x="1119" y="61"/>
                </a:lnTo>
                <a:lnTo>
                  <a:pt x="1104" y="66"/>
                </a:lnTo>
                <a:lnTo>
                  <a:pt x="1091" y="73"/>
                </a:lnTo>
                <a:lnTo>
                  <a:pt x="1079" y="80"/>
                </a:lnTo>
                <a:lnTo>
                  <a:pt x="1067" y="89"/>
                </a:lnTo>
                <a:lnTo>
                  <a:pt x="1056" y="100"/>
                </a:lnTo>
                <a:lnTo>
                  <a:pt x="1046" y="113"/>
                </a:lnTo>
                <a:lnTo>
                  <a:pt x="1036" y="127"/>
                </a:lnTo>
                <a:lnTo>
                  <a:pt x="1026" y="142"/>
                </a:lnTo>
                <a:lnTo>
                  <a:pt x="1016" y="161"/>
                </a:lnTo>
                <a:lnTo>
                  <a:pt x="1007" y="180"/>
                </a:lnTo>
                <a:lnTo>
                  <a:pt x="997" y="202"/>
                </a:lnTo>
                <a:lnTo>
                  <a:pt x="997" y="202"/>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64" name="Freeform 15">
            <a:extLst>
              <a:ext uri="{FF2B5EF4-FFF2-40B4-BE49-F238E27FC236}">
                <a16:creationId xmlns:a16="http://schemas.microsoft.com/office/drawing/2014/main" id="{B0AC8484-A2F8-3247-83AA-7687014EB007}"/>
              </a:ext>
            </a:extLst>
          </p:cNvPr>
          <p:cNvSpPr>
            <a:spLocks noEditPoints="1"/>
          </p:cNvSpPr>
          <p:nvPr userDrawn="1"/>
        </p:nvSpPr>
        <p:spPr bwMode="auto">
          <a:xfrm>
            <a:off x="3135313" y="890588"/>
            <a:ext cx="152400" cy="144463"/>
          </a:xfrm>
          <a:custGeom>
            <a:avLst/>
            <a:gdLst>
              <a:gd name="T0" fmla="*/ 489 w 1151"/>
              <a:gd name="T1" fmla="*/ 1087 h 1094"/>
              <a:gd name="T2" fmla="*/ 353 w 1151"/>
              <a:gd name="T3" fmla="*/ 1051 h 1094"/>
              <a:gd name="T4" fmla="*/ 232 w 1151"/>
              <a:gd name="T5" fmla="*/ 984 h 1094"/>
              <a:gd name="T6" fmla="*/ 132 w 1151"/>
              <a:gd name="T7" fmla="*/ 894 h 1094"/>
              <a:gd name="T8" fmla="*/ 57 w 1151"/>
              <a:gd name="T9" fmla="*/ 783 h 1094"/>
              <a:gd name="T10" fmla="*/ 12 w 1151"/>
              <a:gd name="T11" fmla="*/ 656 h 1094"/>
              <a:gd name="T12" fmla="*/ 0 w 1151"/>
              <a:gd name="T13" fmla="*/ 547 h 1094"/>
              <a:gd name="T14" fmla="*/ 18 w 1151"/>
              <a:gd name="T15" fmla="*/ 411 h 1094"/>
              <a:gd name="T16" fmla="*/ 70 w 1151"/>
              <a:gd name="T17" fmla="*/ 287 h 1094"/>
              <a:gd name="T18" fmla="*/ 150 w 1151"/>
              <a:gd name="T19" fmla="*/ 180 h 1094"/>
              <a:gd name="T20" fmla="*/ 254 w 1151"/>
              <a:gd name="T21" fmla="*/ 94 h 1094"/>
              <a:gd name="T22" fmla="*/ 379 w 1151"/>
              <a:gd name="T23" fmla="*/ 33 h 1094"/>
              <a:gd name="T24" fmla="*/ 517 w 1151"/>
              <a:gd name="T25" fmla="*/ 3 h 1094"/>
              <a:gd name="T26" fmla="*/ 635 w 1151"/>
              <a:gd name="T27" fmla="*/ 3 h 1094"/>
              <a:gd name="T28" fmla="*/ 774 w 1151"/>
              <a:gd name="T29" fmla="*/ 33 h 1094"/>
              <a:gd name="T30" fmla="*/ 897 w 1151"/>
              <a:gd name="T31" fmla="*/ 94 h 1094"/>
              <a:gd name="T32" fmla="*/ 1001 w 1151"/>
              <a:gd name="T33" fmla="*/ 180 h 1094"/>
              <a:gd name="T34" fmla="*/ 1082 w 1151"/>
              <a:gd name="T35" fmla="*/ 287 h 1094"/>
              <a:gd name="T36" fmla="*/ 1133 w 1151"/>
              <a:gd name="T37" fmla="*/ 411 h 1094"/>
              <a:gd name="T38" fmla="*/ 1151 w 1151"/>
              <a:gd name="T39" fmla="*/ 547 h 1094"/>
              <a:gd name="T40" fmla="*/ 1139 w 1151"/>
              <a:gd name="T41" fmla="*/ 656 h 1094"/>
              <a:gd name="T42" fmla="*/ 1094 w 1151"/>
              <a:gd name="T43" fmla="*/ 783 h 1094"/>
              <a:gd name="T44" fmla="*/ 1019 w 1151"/>
              <a:gd name="T45" fmla="*/ 894 h 1094"/>
              <a:gd name="T46" fmla="*/ 919 w 1151"/>
              <a:gd name="T47" fmla="*/ 984 h 1094"/>
              <a:gd name="T48" fmla="*/ 799 w 1151"/>
              <a:gd name="T49" fmla="*/ 1051 h 1094"/>
              <a:gd name="T50" fmla="*/ 663 w 1151"/>
              <a:gd name="T51" fmla="*/ 1087 h 1094"/>
              <a:gd name="T52" fmla="*/ 577 w 1151"/>
              <a:gd name="T53" fmla="*/ 82 h 1094"/>
              <a:gd name="T54" fmla="*/ 492 w 1151"/>
              <a:gd name="T55" fmla="*/ 94 h 1094"/>
              <a:gd name="T56" fmla="*/ 404 w 1151"/>
              <a:gd name="T57" fmla="*/ 137 h 1094"/>
              <a:gd name="T58" fmla="*/ 335 w 1151"/>
              <a:gd name="T59" fmla="*/ 204 h 1094"/>
              <a:gd name="T60" fmla="*/ 285 w 1151"/>
              <a:gd name="T61" fmla="*/ 290 h 1094"/>
              <a:gd name="T62" fmla="*/ 252 w 1151"/>
              <a:gd name="T63" fmla="*/ 386 h 1094"/>
              <a:gd name="T64" fmla="*/ 234 w 1151"/>
              <a:gd name="T65" fmla="*/ 507 h 1094"/>
              <a:gd name="T66" fmla="*/ 240 w 1151"/>
              <a:gd name="T67" fmla="*/ 647 h 1094"/>
              <a:gd name="T68" fmla="*/ 264 w 1151"/>
              <a:gd name="T69" fmla="*/ 747 h 1094"/>
              <a:gd name="T70" fmla="*/ 303 w 1151"/>
              <a:gd name="T71" fmla="*/ 840 h 1094"/>
              <a:gd name="T72" fmla="*/ 360 w 1151"/>
              <a:gd name="T73" fmla="*/ 919 h 1094"/>
              <a:gd name="T74" fmla="*/ 436 w 1151"/>
              <a:gd name="T75" fmla="*/ 977 h 1094"/>
              <a:gd name="T76" fmla="*/ 533 w 1151"/>
              <a:gd name="T77" fmla="*/ 1008 h 1094"/>
              <a:gd name="T78" fmla="*/ 621 w 1151"/>
              <a:gd name="T79" fmla="*/ 1008 h 1094"/>
              <a:gd name="T80" fmla="*/ 716 w 1151"/>
              <a:gd name="T81" fmla="*/ 977 h 1094"/>
              <a:gd name="T82" fmla="*/ 792 w 1151"/>
              <a:gd name="T83" fmla="*/ 919 h 1094"/>
              <a:gd name="T84" fmla="*/ 850 w 1151"/>
              <a:gd name="T85" fmla="*/ 840 h 1094"/>
              <a:gd name="T86" fmla="*/ 889 w 1151"/>
              <a:gd name="T87" fmla="*/ 747 h 1094"/>
              <a:gd name="T88" fmla="*/ 912 w 1151"/>
              <a:gd name="T89" fmla="*/ 647 h 1094"/>
              <a:gd name="T90" fmla="*/ 919 w 1151"/>
              <a:gd name="T91" fmla="*/ 507 h 1094"/>
              <a:gd name="T92" fmla="*/ 901 w 1151"/>
              <a:gd name="T93" fmla="*/ 386 h 1094"/>
              <a:gd name="T94" fmla="*/ 867 w 1151"/>
              <a:gd name="T95" fmla="*/ 290 h 1094"/>
              <a:gd name="T96" fmla="*/ 817 w 1151"/>
              <a:gd name="T97" fmla="*/ 204 h 1094"/>
              <a:gd name="T98" fmla="*/ 748 w 1151"/>
              <a:gd name="T99" fmla="*/ 137 h 1094"/>
              <a:gd name="T100" fmla="*/ 661 w 1151"/>
              <a:gd name="T101" fmla="*/ 94 h 1094"/>
              <a:gd name="T102" fmla="*/ 577 w 1151"/>
              <a:gd name="T103" fmla="*/ 82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51" h="1094">
                <a:moveTo>
                  <a:pt x="577" y="1094"/>
                </a:moveTo>
                <a:lnTo>
                  <a:pt x="577" y="1094"/>
                </a:lnTo>
                <a:lnTo>
                  <a:pt x="547" y="1093"/>
                </a:lnTo>
                <a:lnTo>
                  <a:pt x="517" y="1091"/>
                </a:lnTo>
                <a:lnTo>
                  <a:pt x="489" y="1087"/>
                </a:lnTo>
                <a:lnTo>
                  <a:pt x="461" y="1082"/>
                </a:lnTo>
                <a:lnTo>
                  <a:pt x="432" y="1076"/>
                </a:lnTo>
                <a:lnTo>
                  <a:pt x="406" y="1069"/>
                </a:lnTo>
                <a:lnTo>
                  <a:pt x="379" y="1060"/>
                </a:lnTo>
                <a:lnTo>
                  <a:pt x="353" y="1051"/>
                </a:lnTo>
                <a:lnTo>
                  <a:pt x="327" y="1039"/>
                </a:lnTo>
                <a:lnTo>
                  <a:pt x="303" y="1027"/>
                </a:lnTo>
                <a:lnTo>
                  <a:pt x="278" y="1014"/>
                </a:lnTo>
                <a:lnTo>
                  <a:pt x="254" y="1000"/>
                </a:lnTo>
                <a:lnTo>
                  <a:pt x="232" y="984"/>
                </a:lnTo>
                <a:lnTo>
                  <a:pt x="210" y="968"/>
                </a:lnTo>
                <a:lnTo>
                  <a:pt x="189" y="950"/>
                </a:lnTo>
                <a:lnTo>
                  <a:pt x="170" y="933"/>
                </a:lnTo>
                <a:lnTo>
                  <a:pt x="150" y="914"/>
                </a:lnTo>
                <a:lnTo>
                  <a:pt x="132" y="894"/>
                </a:lnTo>
                <a:lnTo>
                  <a:pt x="115" y="873"/>
                </a:lnTo>
                <a:lnTo>
                  <a:pt x="99" y="851"/>
                </a:lnTo>
                <a:lnTo>
                  <a:pt x="84" y="830"/>
                </a:lnTo>
                <a:lnTo>
                  <a:pt x="70" y="806"/>
                </a:lnTo>
                <a:lnTo>
                  <a:pt x="57" y="783"/>
                </a:lnTo>
                <a:lnTo>
                  <a:pt x="46" y="758"/>
                </a:lnTo>
                <a:lnTo>
                  <a:pt x="36" y="734"/>
                </a:lnTo>
                <a:lnTo>
                  <a:pt x="26" y="708"/>
                </a:lnTo>
                <a:lnTo>
                  <a:pt x="18" y="683"/>
                </a:lnTo>
                <a:lnTo>
                  <a:pt x="12" y="656"/>
                </a:lnTo>
                <a:lnTo>
                  <a:pt x="7" y="629"/>
                </a:lnTo>
                <a:lnTo>
                  <a:pt x="3" y="602"/>
                </a:lnTo>
                <a:lnTo>
                  <a:pt x="1" y="574"/>
                </a:lnTo>
                <a:lnTo>
                  <a:pt x="0" y="547"/>
                </a:lnTo>
                <a:lnTo>
                  <a:pt x="0" y="547"/>
                </a:lnTo>
                <a:lnTo>
                  <a:pt x="1" y="519"/>
                </a:lnTo>
                <a:lnTo>
                  <a:pt x="3" y="491"/>
                </a:lnTo>
                <a:lnTo>
                  <a:pt x="7" y="464"/>
                </a:lnTo>
                <a:lnTo>
                  <a:pt x="12" y="437"/>
                </a:lnTo>
                <a:lnTo>
                  <a:pt x="18" y="411"/>
                </a:lnTo>
                <a:lnTo>
                  <a:pt x="26" y="385"/>
                </a:lnTo>
                <a:lnTo>
                  <a:pt x="36" y="360"/>
                </a:lnTo>
                <a:lnTo>
                  <a:pt x="46" y="335"/>
                </a:lnTo>
                <a:lnTo>
                  <a:pt x="57" y="310"/>
                </a:lnTo>
                <a:lnTo>
                  <a:pt x="70" y="287"/>
                </a:lnTo>
                <a:lnTo>
                  <a:pt x="84" y="264"/>
                </a:lnTo>
                <a:lnTo>
                  <a:pt x="99" y="242"/>
                </a:lnTo>
                <a:lnTo>
                  <a:pt x="115" y="220"/>
                </a:lnTo>
                <a:lnTo>
                  <a:pt x="132" y="200"/>
                </a:lnTo>
                <a:lnTo>
                  <a:pt x="150" y="180"/>
                </a:lnTo>
                <a:lnTo>
                  <a:pt x="170" y="161"/>
                </a:lnTo>
                <a:lnTo>
                  <a:pt x="189" y="143"/>
                </a:lnTo>
                <a:lnTo>
                  <a:pt x="210" y="125"/>
                </a:lnTo>
                <a:lnTo>
                  <a:pt x="232" y="109"/>
                </a:lnTo>
                <a:lnTo>
                  <a:pt x="254" y="94"/>
                </a:lnTo>
                <a:lnTo>
                  <a:pt x="278" y="79"/>
                </a:lnTo>
                <a:lnTo>
                  <a:pt x="303" y="66"/>
                </a:lnTo>
                <a:lnTo>
                  <a:pt x="327" y="54"/>
                </a:lnTo>
                <a:lnTo>
                  <a:pt x="353" y="44"/>
                </a:lnTo>
                <a:lnTo>
                  <a:pt x="379" y="33"/>
                </a:lnTo>
                <a:lnTo>
                  <a:pt x="406" y="24"/>
                </a:lnTo>
                <a:lnTo>
                  <a:pt x="432" y="17"/>
                </a:lnTo>
                <a:lnTo>
                  <a:pt x="461" y="11"/>
                </a:lnTo>
                <a:lnTo>
                  <a:pt x="489" y="6"/>
                </a:lnTo>
                <a:lnTo>
                  <a:pt x="517" y="3"/>
                </a:lnTo>
                <a:lnTo>
                  <a:pt x="547" y="1"/>
                </a:lnTo>
                <a:lnTo>
                  <a:pt x="577" y="0"/>
                </a:lnTo>
                <a:lnTo>
                  <a:pt x="577" y="0"/>
                </a:lnTo>
                <a:lnTo>
                  <a:pt x="606" y="1"/>
                </a:lnTo>
                <a:lnTo>
                  <a:pt x="635" y="3"/>
                </a:lnTo>
                <a:lnTo>
                  <a:pt x="663" y="6"/>
                </a:lnTo>
                <a:lnTo>
                  <a:pt x="692" y="11"/>
                </a:lnTo>
                <a:lnTo>
                  <a:pt x="720" y="17"/>
                </a:lnTo>
                <a:lnTo>
                  <a:pt x="746" y="24"/>
                </a:lnTo>
                <a:lnTo>
                  <a:pt x="774" y="33"/>
                </a:lnTo>
                <a:lnTo>
                  <a:pt x="799" y="44"/>
                </a:lnTo>
                <a:lnTo>
                  <a:pt x="825" y="54"/>
                </a:lnTo>
                <a:lnTo>
                  <a:pt x="850" y="66"/>
                </a:lnTo>
                <a:lnTo>
                  <a:pt x="874" y="79"/>
                </a:lnTo>
                <a:lnTo>
                  <a:pt x="897" y="94"/>
                </a:lnTo>
                <a:lnTo>
                  <a:pt x="919" y="109"/>
                </a:lnTo>
                <a:lnTo>
                  <a:pt x="942" y="125"/>
                </a:lnTo>
                <a:lnTo>
                  <a:pt x="962" y="143"/>
                </a:lnTo>
                <a:lnTo>
                  <a:pt x="982" y="161"/>
                </a:lnTo>
                <a:lnTo>
                  <a:pt x="1001" y="180"/>
                </a:lnTo>
                <a:lnTo>
                  <a:pt x="1019" y="200"/>
                </a:lnTo>
                <a:lnTo>
                  <a:pt x="1037" y="220"/>
                </a:lnTo>
                <a:lnTo>
                  <a:pt x="1052" y="242"/>
                </a:lnTo>
                <a:lnTo>
                  <a:pt x="1067" y="264"/>
                </a:lnTo>
                <a:lnTo>
                  <a:pt x="1082" y="287"/>
                </a:lnTo>
                <a:lnTo>
                  <a:pt x="1094" y="310"/>
                </a:lnTo>
                <a:lnTo>
                  <a:pt x="1105" y="335"/>
                </a:lnTo>
                <a:lnTo>
                  <a:pt x="1116" y="360"/>
                </a:lnTo>
                <a:lnTo>
                  <a:pt x="1125" y="385"/>
                </a:lnTo>
                <a:lnTo>
                  <a:pt x="1133" y="411"/>
                </a:lnTo>
                <a:lnTo>
                  <a:pt x="1139" y="437"/>
                </a:lnTo>
                <a:lnTo>
                  <a:pt x="1144" y="464"/>
                </a:lnTo>
                <a:lnTo>
                  <a:pt x="1148" y="491"/>
                </a:lnTo>
                <a:lnTo>
                  <a:pt x="1150" y="519"/>
                </a:lnTo>
                <a:lnTo>
                  <a:pt x="1151" y="547"/>
                </a:lnTo>
                <a:lnTo>
                  <a:pt x="1151" y="547"/>
                </a:lnTo>
                <a:lnTo>
                  <a:pt x="1150" y="574"/>
                </a:lnTo>
                <a:lnTo>
                  <a:pt x="1148" y="602"/>
                </a:lnTo>
                <a:lnTo>
                  <a:pt x="1144" y="629"/>
                </a:lnTo>
                <a:lnTo>
                  <a:pt x="1139" y="656"/>
                </a:lnTo>
                <a:lnTo>
                  <a:pt x="1133" y="683"/>
                </a:lnTo>
                <a:lnTo>
                  <a:pt x="1125" y="708"/>
                </a:lnTo>
                <a:lnTo>
                  <a:pt x="1116" y="734"/>
                </a:lnTo>
                <a:lnTo>
                  <a:pt x="1105" y="758"/>
                </a:lnTo>
                <a:lnTo>
                  <a:pt x="1094" y="783"/>
                </a:lnTo>
                <a:lnTo>
                  <a:pt x="1082" y="806"/>
                </a:lnTo>
                <a:lnTo>
                  <a:pt x="1067" y="830"/>
                </a:lnTo>
                <a:lnTo>
                  <a:pt x="1052" y="851"/>
                </a:lnTo>
                <a:lnTo>
                  <a:pt x="1037" y="873"/>
                </a:lnTo>
                <a:lnTo>
                  <a:pt x="1019" y="894"/>
                </a:lnTo>
                <a:lnTo>
                  <a:pt x="1001" y="914"/>
                </a:lnTo>
                <a:lnTo>
                  <a:pt x="982" y="933"/>
                </a:lnTo>
                <a:lnTo>
                  <a:pt x="962" y="950"/>
                </a:lnTo>
                <a:lnTo>
                  <a:pt x="942" y="968"/>
                </a:lnTo>
                <a:lnTo>
                  <a:pt x="919" y="984"/>
                </a:lnTo>
                <a:lnTo>
                  <a:pt x="897" y="1000"/>
                </a:lnTo>
                <a:lnTo>
                  <a:pt x="874" y="1014"/>
                </a:lnTo>
                <a:lnTo>
                  <a:pt x="850" y="1027"/>
                </a:lnTo>
                <a:lnTo>
                  <a:pt x="825" y="1039"/>
                </a:lnTo>
                <a:lnTo>
                  <a:pt x="799" y="1051"/>
                </a:lnTo>
                <a:lnTo>
                  <a:pt x="774" y="1060"/>
                </a:lnTo>
                <a:lnTo>
                  <a:pt x="746" y="1069"/>
                </a:lnTo>
                <a:lnTo>
                  <a:pt x="720" y="1076"/>
                </a:lnTo>
                <a:lnTo>
                  <a:pt x="692" y="1082"/>
                </a:lnTo>
                <a:lnTo>
                  <a:pt x="663" y="1087"/>
                </a:lnTo>
                <a:lnTo>
                  <a:pt x="635" y="1091"/>
                </a:lnTo>
                <a:lnTo>
                  <a:pt x="606" y="1093"/>
                </a:lnTo>
                <a:lnTo>
                  <a:pt x="577" y="1094"/>
                </a:lnTo>
                <a:lnTo>
                  <a:pt x="577" y="1094"/>
                </a:lnTo>
                <a:close/>
                <a:moveTo>
                  <a:pt x="577" y="82"/>
                </a:moveTo>
                <a:lnTo>
                  <a:pt x="577" y="82"/>
                </a:lnTo>
                <a:lnTo>
                  <a:pt x="554" y="83"/>
                </a:lnTo>
                <a:lnTo>
                  <a:pt x="533" y="86"/>
                </a:lnTo>
                <a:lnTo>
                  <a:pt x="511" y="90"/>
                </a:lnTo>
                <a:lnTo>
                  <a:pt x="492" y="94"/>
                </a:lnTo>
                <a:lnTo>
                  <a:pt x="472" y="100"/>
                </a:lnTo>
                <a:lnTo>
                  <a:pt x="454" y="108"/>
                </a:lnTo>
                <a:lnTo>
                  <a:pt x="436" y="116"/>
                </a:lnTo>
                <a:lnTo>
                  <a:pt x="419" y="125"/>
                </a:lnTo>
                <a:lnTo>
                  <a:pt x="404" y="137"/>
                </a:lnTo>
                <a:lnTo>
                  <a:pt x="388" y="148"/>
                </a:lnTo>
                <a:lnTo>
                  <a:pt x="374" y="161"/>
                </a:lnTo>
                <a:lnTo>
                  <a:pt x="360" y="174"/>
                </a:lnTo>
                <a:lnTo>
                  <a:pt x="347" y="189"/>
                </a:lnTo>
                <a:lnTo>
                  <a:pt x="335" y="204"/>
                </a:lnTo>
                <a:lnTo>
                  <a:pt x="324" y="219"/>
                </a:lnTo>
                <a:lnTo>
                  <a:pt x="313" y="237"/>
                </a:lnTo>
                <a:lnTo>
                  <a:pt x="303" y="253"/>
                </a:lnTo>
                <a:lnTo>
                  <a:pt x="293" y="272"/>
                </a:lnTo>
                <a:lnTo>
                  <a:pt x="285" y="290"/>
                </a:lnTo>
                <a:lnTo>
                  <a:pt x="277" y="308"/>
                </a:lnTo>
                <a:lnTo>
                  <a:pt x="270" y="327"/>
                </a:lnTo>
                <a:lnTo>
                  <a:pt x="264" y="346"/>
                </a:lnTo>
                <a:lnTo>
                  <a:pt x="258" y="367"/>
                </a:lnTo>
                <a:lnTo>
                  <a:pt x="252" y="386"/>
                </a:lnTo>
                <a:lnTo>
                  <a:pt x="248" y="407"/>
                </a:lnTo>
                <a:lnTo>
                  <a:pt x="244" y="426"/>
                </a:lnTo>
                <a:lnTo>
                  <a:pt x="240" y="446"/>
                </a:lnTo>
                <a:lnTo>
                  <a:pt x="238" y="467"/>
                </a:lnTo>
                <a:lnTo>
                  <a:pt x="234" y="507"/>
                </a:lnTo>
                <a:lnTo>
                  <a:pt x="233" y="547"/>
                </a:lnTo>
                <a:lnTo>
                  <a:pt x="233" y="547"/>
                </a:lnTo>
                <a:lnTo>
                  <a:pt x="234" y="587"/>
                </a:lnTo>
                <a:lnTo>
                  <a:pt x="238" y="626"/>
                </a:lnTo>
                <a:lnTo>
                  <a:pt x="240" y="647"/>
                </a:lnTo>
                <a:lnTo>
                  <a:pt x="244" y="667"/>
                </a:lnTo>
                <a:lnTo>
                  <a:pt x="248" y="687"/>
                </a:lnTo>
                <a:lnTo>
                  <a:pt x="252" y="707"/>
                </a:lnTo>
                <a:lnTo>
                  <a:pt x="258" y="728"/>
                </a:lnTo>
                <a:lnTo>
                  <a:pt x="264" y="747"/>
                </a:lnTo>
                <a:lnTo>
                  <a:pt x="270" y="766"/>
                </a:lnTo>
                <a:lnTo>
                  <a:pt x="277" y="785"/>
                </a:lnTo>
                <a:lnTo>
                  <a:pt x="285" y="804"/>
                </a:lnTo>
                <a:lnTo>
                  <a:pt x="293" y="822"/>
                </a:lnTo>
                <a:lnTo>
                  <a:pt x="303" y="840"/>
                </a:lnTo>
                <a:lnTo>
                  <a:pt x="313" y="857"/>
                </a:lnTo>
                <a:lnTo>
                  <a:pt x="324" y="874"/>
                </a:lnTo>
                <a:lnTo>
                  <a:pt x="335" y="889"/>
                </a:lnTo>
                <a:lnTo>
                  <a:pt x="347" y="904"/>
                </a:lnTo>
                <a:lnTo>
                  <a:pt x="360" y="919"/>
                </a:lnTo>
                <a:lnTo>
                  <a:pt x="374" y="932"/>
                </a:lnTo>
                <a:lnTo>
                  <a:pt x="388" y="945"/>
                </a:lnTo>
                <a:lnTo>
                  <a:pt x="404" y="957"/>
                </a:lnTo>
                <a:lnTo>
                  <a:pt x="419" y="968"/>
                </a:lnTo>
                <a:lnTo>
                  <a:pt x="436" y="977"/>
                </a:lnTo>
                <a:lnTo>
                  <a:pt x="454" y="986"/>
                </a:lnTo>
                <a:lnTo>
                  <a:pt x="472" y="993"/>
                </a:lnTo>
                <a:lnTo>
                  <a:pt x="492" y="1000"/>
                </a:lnTo>
                <a:lnTo>
                  <a:pt x="511" y="1005"/>
                </a:lnTo>
                <a:lnTo>
                  <a:pt x="533" y="1008"/>
                </a:lnTo>
                <a:lnTo>
                  <a:pt x="554" y="1010"/>
                </a:lnTo>
                <a:lnTo>
                  <a:pt x="577" y="1011"/>
                </a:lnTo>
                <a:lnTo>
                  <a:pt x="577" y="1011"/>
                </a:lnTo>
                <a:lnTo>
                  <a:pt x="599" y="1010"/>
                </a:lnTo>
                <a:lnTo>
                  <a:pt x="621" y="1008"/>
                </a:lnTo>
                <a:lnTo>
                  <a:pt x="641" y="1005"/>
                </a:lnTo>
                <a:lnTo>
                  <a:pt x="661" y="1000"/>
                </a:lnTo>
                <a:lnTo>
                  <a:pt x="680" y="993"/>
                </a:lnTo>
                <a:lnTo>
                  <a:pt x="698" y="986"/>
                </a:lnTo>
                <a:lnTo>
                  <a:pt x="716" y="977"/>
                </a:lnTo>
                <a:lnTo>
                  <a:pt x="733" y="968"/>
                </a:lnTo>
                <a:lnTo>
                  <a:pt x="748" y="957"/>
                </a:lnTo>
                <a:lnTo>
                  <a:pt x="764" y="945"/>
                </a:lnTo>
                <a:lnTo>
                  <a:pt x="778" y="932"/>
                </a:lnTo>
                <a:lnTo>
                  <a:pt x="792" y="919"/>
                </a:lnTo>
                <a:lnTo>
                  <a:pt x="805" y="904"/>
                </a:lnTo>
                <a:lnTo>
                  <a:pt x="817" y="889"/>
                </a:lnTo>
                <a:lnTo>
                  <a:pt x="829" y="874"/>
                </a:lnTo>
                <a:lnTo>
                  <a:pt x="839" y="857"/>
                </a:lnTo>
                <a:lnTo>
                  <a:pt x="850" y="840"/>
                </a:lnTo>
                <a:lnTo>
                  <a:pt x="859" y="822"/>
                </a:lnTo>
                <a:lnTo>
                  <a:pt x="867" y="804"/>
                </a:lnTo>
                <a:lnTo>
                  <a:pt x="875" y="785"/>
                </a:lnTo>
                <a:lnTo>
                  <a:pt x="882" y="766"/>
                </a:lnTo>
                <a:lnTo>
                  <a:pt x="889" y="747"/>
                </a:lnTo>
                <a:lnTo>
                  <a:pt x="896" y="728"/>
                </a:lnTo>
                <a:lnTo>
                  <a:pt x="901" y="707"/>
                </a:lnTo>
                <a:lnTo>
                  <a:pt x="905" y="687"/>
                </a:lnTo>
                <a:lnTo>
                  <a:pt x="909" y="667"/>
                </a:lnTo>
                <a:lnTo>
                  <a:pt x="912" y="647"/>
                </a:lnTo>
                <a:lnTo>
                  <a:pt x="915" y="626"/>
                </a:lnTo>
                <a:lnTo>
                  <a:pt x="919" y="587"/>
                </a:lnTo>
                <a:lnTo>
                  <a:pt x="920" y="547"/>
                </a:lnTo>
                <a:lnTo>
                  <a:pt x="920" y="547"/>
                </a:lnTo>
                <a:lnTo>
                  <a:pt x="919" y="507"/>
                </a:lnTo>
                <a:lnTo>
                  <a:pt x="915" y="467"/>
                </a:lnTo>
                <a:lnTo>
                  <a:pt x="912" y="446"/>
                </a:lnTo>
                <a:lnTo>
                  <a:pt x="909" y="426"/>
                </a:lnTo>
                <a:lnTo>
                  <a:pt x="905" y="407"/>
                </a:lnTo>
                <a:lnTo>
                  <a:pt x="901" y="386"/>
                </a:lnTo>
                <a:lnTo>
                  <a:pt x="896" y="367"/>
                </a:lnTo>
                <a:lnTo>
                  <a:pt x="889" y="346"/>
                </a:lnTo>
                <a:lnTo>
                  <a:pt x="882" y="327"/>
                </a:lnTo>
                <a:lnTo>
                  <a:pt x="875" y="308"/>
                </a:lnTo>
                <a:lnTo>
                  <a:pt x="867" y="290"/>
                </a:lnTo>
                <a:lnTo>
                  <a:pt x="859" y="272"/>
                </a:lnTo>
                <a:lnTo>
                  <a:pt x="850" y="253"/>
                </a:lnTo>
                <a:lnTo>
                  <a:pt x="839" y="237"/>
                </a:lnTo>
                <a:lnTo>
                  <a:pt x="829" y="219"/>
                </a:lnTo>
                <a:lnTo>
                  <a:pt x="817" y="204"/>
                </a:lnTo>
                <a:lnTo>
                  <a:pt x="805" y="189"/>
                </a:lnTo>
                <a:lnTo>
                  <a:pt x="792" y="174"/>
                </a:lnTo>
                <a:lnTo>
                  <a:pt x="778" y="161"/>
                </a:lnTo>
                <a:lnTo>
                  <a:pt x="764" y="148"/>
                </a:lnTo>
                <a:lnTo>
                  <a:pt x="748" y="137"/>
                </a:lnTo>
                <a:lnTo>
                  <a:pt x="733" y="125"/>
                </a:lnTo>
                <a:lnTo>
                  <a:pt x="716" y="116"/>
                </a:lnTo>
                <a:lnTo>
                  <a:pt x="698" y="108"/>
                </a:lnTo>
                <a:lnTo>
                  <a:pt x="680" y="100"/>
                </a:lnTo>
                <a:lnTo>
                  <a:pt x="661" y="94"/>
                </a:lnTo>
                <a:lnTo>
                  <a:pt x="641" y="90"/>
                </a:lnTo>
                <a:lnTo>
                  <a:pt x="621" y="86"/>
                </a:lnTo>
                <a:lnTo>
                  <a:pt x="599" y="83"/>
                </a:lnTo>
                <a:lnTo>
                  <a:pt x="577" y="82"/>
                </a:lnTo>
                <a:lnTo>
                  <a:pt x="577" y="82"/>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65" name="Freeform 16">
            <a:extLst>
              <a:ext uri="{FF2B5EF4-FFF2-40B4-BE49-F238E27FC236}">
                <a16:creationId xmlns:a16="http://schemas.microsoft.com/office/drawing/2014/main" id="{B5D68C21-7AED-414B-9238-BC99BD377826}"/>
              </a:ext>
            </a:extLst>
          </p:cNvPr>
          <p:cNvSpPr>
            <a:spLocks/>
          </p:cNvSpPr>
          <p:nvPr userDrawn="1"/>
        </p:nvSpPr>
        <p:spPr bwMode="auto">
          <a:xfrm>
            <a:off x="3332163" y="889001"/>
            <a:ext cx="93663" cy="146050"/>
          </a:xfrm>
          <a:custGeom>
            <a:avLst/>
            <a:gdLst>
              <a:gd name="T0" fmla="*/ 52 w 712"/>
              <a:gd name="T1" fmla="*/ 723 h 1103"/>
              <a:gd name="T2" fmla="*/ 75 w 712"/>
              <a:gd name="T3" fmla="*/ 804 h 1103"/>
              <a:gd name="T4" fmla="*/ 112 w 712"/>
              <a:gd name="T5" fmla="*/ 875 h 1103"/>
              <a:gd name="T6" fmla="*/ 159 w 712"/>
              <a:gd name="T7" fmla="*/ 933 h 1103"/>
              <a:gd name="T8" fmla="*/ 215 w 712"/>
              <a:gd name="T9" fmla="*/ 978 h 1103"/>
              <a:gd name="T10" fmla="*/ 278 w 712"/>
              <a:gd name="T11" fmla="*/ 1009 h 1103"/>
              <a:gd name="T12" fmla="*/ 343 w 712"/>
              <a:gd name="T13" fmla="*/ 1024 h 1103"/>
              <a:gd name="T14" fmla="*/ 405 w 712"/>
              <a:gd name="T15" fmla="*/ 1022 h 1103"/>
              <a:gd name="T16" fmla="*/ 481 w 712"/>
              <a:gd name="T17" fmla="*/ 992 h 1103"/>
              <a:gd name="T18" fmla="*/ 529 w 712"/>
              <a:gd name="T19" fmla="*/ 929 h 1103"/>
              <a:gd name="T20" fmla="*/ 541 w 712"/>
              <a:gd name="T21" fmla="*/ 854 h 1103"/>
              <a:gd name="T22" fmla="*/ 528 w 712"/>
              <a:gd name="T23" fmla="*/ 795 h 1103"/>
              <a:gd name="T24" fmla="*/ 490 w 712"/>
              <a:gd name="T25" fmla="*/ 737 h 1103"/>
              <a:gd name="T26" fmla="*/ 429 w 712"/>
              <a:gd name="T27" fmla="*/ 688 h 1103"/>
              <a:gd name="T28" fmla="*/ 198 w 712"/>
              <a:gd name="T29" fmla="*/ 566 h 1103"/>
              <a:gd name="T30" fmla="*/ 94 w 712"/>
              <a:gd name="T31" fmla="*/ 485 h 1103"/>
              <a:gd name="T32" fmla="*/ 32 w 712"/>
              <a:gd name="T33" fmla="*/ 380 h 1103"/>
              <a:gd name="T34" fmla="*/ 16 w 712"/>
              <a:gd name="T35" fmla="*/ 267 h 1103"/>
              <a:gd name="T36" fmla="*/ 25 w 712"/>
              <a:gd name="T37" fmla="*/ 204 h 1103"/>
              <a:gd name="T38" fmla="*/ 52 w 712"/>
              <a:gd name="T39" fmla="*/ 145 h 1103"/>
              <a:gd name="T40" fmla="*/ 94 w 712"/>
              <a:gd name="T41" fmla="*/ 95 h 1103"/>
              <a:gd name="T42" fmla="*/ 148 w 712"/>
              <a:gd name="T43" fmla="*/ 54 h 1103"/>
              <a:gd name="T44" fmla="*/ 212 w 712"/>
              <a:gd name="T45" fmla="*/ 25 h 1103"/>
              <a:gd name="T46" fmla="*/ 285 w 712"/>
              <a:gd name="T47" fmla="*/ 11 h 1103"/>
              <a:gd name="T48" fmla="*/ 352 w 712"/>
              <a:gd name="T49" fmla="*/ 11 h 1103"/>
              <a:gd name="T50" fmla="*/ 427 w 712"/>
              <a:gd name="T51" fmla="*/ 25 h 1103"/>
              <a:gd name="T52" fmla="*/ 526 w 712"/>
              <a:gd name="T53" fmla="*/ 79 h 1103"/>
              <a:gd name="T54" fmla="*/ 556 w 712"/>
              <a:gd name="T55" fmla="*/ 47 h 1103"/>
              <a:gd name="T56" fmla="*/ 624 w 712"/>
              <a:gd name="T57" fmla="*/ 0 h 1103"/>
              <a:gd name="T58" fmla="*/ 568 w 712"/>
              <a:gd name="T59" fmla="*/ 328 h 1103"/>
              <a:gd name="T60" fmla="*/ 527 w 712"/>
              <a:gd name="T61" fmla="*/ 203 h 1103"/>
              <a:gd name="T62" fmla="*/ 481 w 712"/>
              <a:gd name="T63" fmla="*/ 142 h 1103"/>
              <a:gd name="T64" fmla="*/ 428 w 712"/>
              <a:gd name="T65" fmla="*/ 106 h 1103"/>
              <a:gd name="T66" fmla="*/ 358 w 712"/>
              <a:gd name="T67" fmla="*/ 86 h 1103"/>
              <a:gd name="T68" fmla="*/ 300 w 712"/>
              <a:gd name="T69" fmla="*/ 87 h 1103"/>
              <a:gd name="T70" fmla="*/ 240 w 712"/>
              <a:gd name="T71" fmla="*/ 113 h 1103"/>
              <a:gd name="T72" fmla="*/ 199 w 712"/>
              <a:gd name="T73" fmla="*/ 165 h 1103"/>
              <a:gd name="T74" fmla="*/ 187 w 712"/>
              <a:gd name="T75" fmla="*/ 222 h 1103"/>
              <a:gd name="T76" fmla="*/ 200 w 712"/>
              <a:gd name="T77" fmla="*/ 278 h 1103"/>
              <a:gd name="T78" fmla="*/ 241 w 712"/>
              <a:gd name="T79" fmla="*/ 336 h 1103"/>
              <a:gd name="T80" fmla="*/ 308 w 712"/>
              <a:gd name="T81" fmla="*/ 390 h 1103"/>
              <a:gd name="T82" fmla="*/ 535 w 712"/>
              <a:gd name="T83" fmla="*/ 510 h 1103"/>
              <a:gd name="T84" fmla="*/ 631 w 712"/>
              <a:gd name="T85" fmla="*/ 590 h 1103"/>
              <a:gd name="T86" fmla="*/ 695 w 712"/>
              <a:gd name="T87" fmla="*/ 693 h 1103"/>
              <a:gd name="T88" fmla="*/ 712 w 712"/>
              <a:gd name="T89" fmla="*/ 789 h 1103"/>
              <a:gd name="T90" fmla="*/ 701 w 712"/>
              <a:gd name="T91" fmla="*/ 872 h 1103"/>
              <a:gd name="T92" fmla="*/ 669 w 712"/>
              <a:gd name="T93" fmla="*/ 945 h 1103"/>
              <a:gd name="T94" fmla="*/ 619 w 712"/>
              <a:gd name="T95" fmla="*/ 1005 h 1103"/>
              <a:gd name="T96" fmla="*/ 556 w 712"/>
              <a:gd name="T97" fmla="*/ 1053 h 1103"/>
              <a:gd name="T98" fmla="*/ 483 w 712"/>
              <a:gd name="T99" fmla="*/ 1085 h 1103"/>
              <a:gd name="T100" fmla="*/ 402 w 712"/>
              <a:gd name="T101" fmla="*/ 1101 h 1103"/>
              <a:gd name="T102" fmla="*/ 323 w 712"/>
              <a:gd name="T103" fmla="*/ 1100 h 1103"/>
              <a:gd name="T104" fmla="*/ 223 w 712"/>
              <a:gd name="T105" fmla="*/ 1073 h 1103"/>
              <a:gd name="T106" fmla="*/ 111 w 712"/>
              <a:gd name="T107" fmla="*/ 1024 h 1103"/>
              <a:gd name="T108" fmla="*/ 77 w 712"/>
              <a:gd name="T109" fmla="*/ 1044 h 1103"/>
              <a:gd name="T110" fmla="*/ 51 w 712"/>
              <a:gd name="T111" fmla="*/ 1103 h 1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2" h="1103">
                <a:moveTo>
                  <a:pt x="51" y="1103"/>
                </a:moveTo>
                <a:lnTo>
                  <a:pt x="0" y="1103"/>
                </a:lnTo>
                <a:lnTo>
                  <a:pt x="0" y="723"/>
                </a:lnTo>
                <a:lnTo>
                  <a:pt x="52" y="723"/>
                </a:lnTo>
                <a:lnTo>
                  <a:pt x="52" y="723"/>
                </a:lnTo>
                <a:lnTo>
                  <a:pt x="56" y="740"/>
                </a:lnTo>
                <a:lnTo>
                  <a:pt x="60" y="757"/>
                </a:lnTo>
                <a:lnTo>
                  <a:pt x="64" y="773"/>
                </a:lnTo>
                <a:lnTo>
                  <a:pt x="69" y="789"/>
                </a:lnTo>
                <a:lnTo>
                  <a:pt x="75" y="804"/>
                </a:lnTo>
                <a:lnTo>
                  <a:pt x="81" y="819"/>
                </a:lnTo>
                <a:lnTo>
                  <a:pt x="88" y="834"/>
                </a:lnTo>
                <a:lnTo>
                  <a:pt x="96" y="848"/>
                </a:lnTo>
                <a:lnTo>
                  <a:pt x="104" y="861"/>
                </a:lnTo>
                <a:lnTo>
                  <a:pt x="112" y="875"/>
                </a:lnTo>
                <a:lnTo>
                  <a:pt x="120" y="888"/>
                </a:lnTo>
                <a:lnTo>
                  <a:pt x="129" y="899"/>
                </a:lnTo>
                <a:lnTo>
                  <a:pt x="139" y="911"/>
                </a:lnTo>
                <a:lnTo>
                  <a:pt x="149" y="923"/>
                </a:lnTo>
                <a:lnTo>
                  <a:pt x="159" y="933"/>
                </a:lnTo>
                <a:lnTo>
                  <a:pt x="170" y="943"/>
                </a:lnTo>
                <a:lnTo>
                  <a:pt x="180" y="952"/>
                </a:lnTo>
                <a:lnTo>
                  <a:pt x="192" y="962"/>
                </a:lnTo>
                <a:lnTo>
                  <a:pt x="204" y="970"/>
                </a:lnTo>
                <a:lnTo>
                  <a:pt x="215" y="978"/>
                </a:lnTo>
                <a:lnTo>
                  <a:pt x="227" y="985"/>
                </a:lnTo>
                <a:lnTo>
                  <a:pt x="240" y="992"/>
                </a:lnTo>
                <a:lnTo>
                  <a:pt x="252" y="998"/>
                </a:lnTo>
                <a:lnTo>
                  <a:pt x="264" y="1003"/>
                </a:lnTo>
                <a:lnTo>
                  <a:pt x="278" y="1009"/>
                </a:lnTo>
                <a:lnTo>
                  <a:pt x="290" y="1013"/>
                </a:lnTo>
                <a:lnTo>
                  <a:pt x="303" y="1017"/>
                </a:lnTo>
                <a:lnTo>
                  <a:pt x="316" y="1020"/>
                </a:lnTo>
                <a:lnTo>
                  <a:pt x="330" y="1022"/>
                </a:lnTo>
                <a:lnTo>
                  <a:pt x="343" y="1024"/>
                </a:lnTo>
                <a:lnTo>
                  <a:pt x="356" y="1025"/>
                </a:lnTo>
                <a:lnTo>
                  <a:pt x="370" y="1025"/>
                </a:lnTo>
                <a:lnTo>
                  <a:pt x="370" y="1025"/>
                </a:lnTo>
                <a:lnTo>
                  <a:pt x="388" y="1024"/>
                </a:lnTo>
                <a:lnTo>
                  <a:pt x="405" y="1022"/>
                </a:lnTo>
                <a:lnTo>
                  <a:pt x="423" y="1019"/>
                </a:lnTo>
                <a:lnTo>
                  <a:pt x="438" y="1015"/>
                </a:lnTo>
                <a:lnTo>
                  <a:pt x="453" y="1009"/>
                </a:lnTo>
                <a:lnTo>
                  <a:pt x="468" y="1000"/>
                </a:lnTo>
                <a:lnTo>
                  <a:pt x="481" y="992"/>
                </a:lnTo>
                <a:lnTo>
                  <a:pt x="493" y="982"/>
                </a:lnTo>
                <a:lnTo>
                  <a:pt x="504" y="971"/>
                </a:lnTo>
                <a:lnTo>
                  <a:pt x="514" y="958"/>
                </a:lnTo>
                <a:lnTo>
                  <a:pt x="522" y="944"/>
                </a:lnTo>
                <a:lnTo>
                  <a:pt x="529" y="929"/>
                </a:lnTo>
                <a:lnTo>
                  <a:pt x="534" y="912"/>
                </a:lnTo>
                <a:lnTo>
                  <a:pt x="538" y="894"/>
                </a:lnTo>
                <a:lnTo>
                  <a:pt x="541" y="875"/>
                </a:lnTo>
                <a:lnTo>
                  <a:pt x="541" y="854"/>
                </a:lnTo>
                <a:lnTo>
                  <a:pt x="541" y="854"/>
                </a:lnTo>
                <a:lnTo>
                  <a:pt x="541" y="842"/>
                </a:lnTo>
                <a:lnTo>
                  <a:pt x="539" y="831"/>
                </a:lnTo>
                <a:lnTo>
                  <a:pt x="537" y="818"/>
                </a:lnTo>
                <a:lnTo>
                  <a:pt x="533" y="806"/>
                </a:lnTo>
                <a:lnTo>
                  <a:pt x="528" y="795"/>
                </a:lnTo>
                <a:lnTo>
                  <a:pt x="523" y="783"/>
                </a:lnTo>
                <a:lnTo>
                  <a:pt x="516" y="771"/>
                </a:lnTo>
                <a:lnTo>
                  <a:pt x="509" y="759"/>
                </a:lnTo>
                <a:lnTo>
                  <a:pt x="499" y="748"/>
                </a:lnTo>
                <a:lnTo>
                  <a:pt x="490" y="737"/>
                </a:lnTo>
                <a:lnTo>
                  <a:pt x="480" y="726"/>
                </a:lnTo>
                <a:lnTo>
                  <a:pt x="469" y="716"/>
                </a:lnTo>
                <a:lnTo>
                  <a:pt x="457" y="706"/>
                </a:lnTo>
                <a:lnTo>
                  <a:pt x="443" y="697"/>
                </a:lnTo>
                <a:lnTo>
                  <a:pt x="429" y="688"/>
                </a:lnTo>
                <a:lnTo>
                  <a:pt x="415" y="680"/>
                </a:lnTo>
                <a:lnTo>
                  <a:pt x="250" y="593"/>
                </a:lnTo>
                <a:lnTo>
                  <a:pt x="250" y="593"/>
                </a:lnTo>
                <a:lnTo>
                  <a:pt x="223" y="580"/>
                </a:lnTo>
                <a:lnTo>
                  <a:pt x="198" y="566"/>
                </a:lnTo>
                <a:lnTo>
                  <a:pt x="174" y="551"/>
                </a:lnTo>
                <a:lnTo>
                  <a:pt x="152" y="535"/>
                </a:lnTo>
                <a:lnTo>
                  <a:pt x="131" y="520"/>
                </a:lnTo>
                <a:lnTo>
                  <a:pt x="112" y="502"/>
                </a:lnTo>
                <a:lnTo>
                  <a:pt x="94" y="485"/>
                </a:lnTo>
                <a:lnTo>
                  <a:pt x="78" y="467"/>
                </a:lnTo>
                <a:lnTo>
                  <a:pt x="64" y="447"/>
                </a:lnTo>
                <a:lnTo>
                  <a:pt x="52" y="426"/>
                </a:lnTo>
                <a:lnTo>
                  <a:pt x="40" y="404"/>
                </a:lnTo>
                <a:lnTo>
                  <a:pt x="32" y="380"/>
                </a:lnTo>
                <a:lnTo>
                  <a:pt x="25" y="355"/>
                </a:lnTo>
                <a:lnTo>
                  <a:pt x="20" y="328"/>
                </a:lnTo>
                <a:lnTo>
                  <a:pt x="17" y="299"/>
                </a:lnTo>
                <a:lnTo>
                  <a:pt x="16" y="267"/>
                </a:lnTo>
                <a:lnTo>
                  <a:pt x="16" y="267"/>
                </a:lnTo>
                <a:lnTo>
                  <a:pt x="16" y="254"/>
                </a:lnTo>
                <a:lnTo>
                  <a:pt x="17" y="242"/>
                </a:lnTo>
                <a:lnTo>
                  <a:pt x="19" y="228"/>
                </a:lnTo>
                <a:lnTo>
                  <a:pt x="22" y="216"/>
                </a:lnTo>
                <a:lnTo>
                  <a:pt x="25" y="204"/>
                </a:lnTo>
                <a:lnTo>
                  <a:pt x="29" y="192"/>
                </a:lnTo>
                <a:lnTo>
                  <a:pt x="34" y="179"/>
                </a:lnTo>
                <a:lnTo>
                  <a:pt x="39" y="167"/>
                </a:lnTo>
                <a:lnTo>
                  <a:pt x="45" y="156"/>
                </a:lnTo>
                <a:lnTo>
                  <a:pt x="52" y="145"/>
                </a:lnTo>
                <a:lnTo>
                  <a:pt x="59" y="134"/>
                </a:lnTo>
                <a:lnTo>
                  <a:pt x="67" y="123"/>
                </a:lnTo>
                <a:lnTo>
                  <a:pt x="75" y="114"/>
                </a:lnTo>
                <a:lnTo>
                  <a:pt x="83" y="104"/>
                </a:lnTo>
                <a:lnTo>
                  <a:pt x="94" y="95"/>
                </a:lnTo>
                <a:lnTo>
                  <a:pt x="103" y="85"/>
                </a:lnTo>
                <a:lnTo>
                  <a:pt x="113" y="76"/>
                </a:lnTo>
                <a:lnTo>
                  <a:pt x="124" y="69"/>
                </a:lnTo>
                <a:lnTo>
                  <a:pt x="135" y="61"/>
                </a:lnTo>
                <a:lnTo>
                  <a:pt x="148" y="54"/>
                </a:lnTo>
                <a:lnTo>
                  <a:pt x="160" y="46"/>
                </a:lnTo>
                <a:lnTo>
                  <a:pt x="172" y="40"/>
                </a:lnTo>
                <a:lnTo>
                  <a:pt x="186" y="34"/>
                </a:lnTo>
                <a:lnTo>
                  <a:pt x="199" y="29"/>
                </a:lnTo>
                <a:lnTo>
                  <a:pt x="212" y="25"/>
                </a:lnTo>
                <a:lnTo>
                  <a:pt x="226" y="21"/>
                </a:lnTo>
                <a:lnTo>
                  <a:pt x="241" y="17"/>
                </a:lnTo>
                <a:lnTo>
                  <a:pt x="255" y="14"/>
                </a:lnTo>
                <a:lnTo>
                  <a:pt x="269" y="12"/>
                </a:lnTo>
                <a:lnTo>
                  <a:pt x="285" y="11"/>
                </a:lnTo>
                <a:lnTo>
                  <a:pt x="300" y="10"/>
                </a:lnTo>
                <a:lnTo>
                  <a:pt x="315" y="9"/>
                </a:lnTo>
                <a:lnTo>
                  <a:pt x="315" y="9"/>
                </a:lnTo>
                <a:lnTo>
                  <a:pt x="335" y="10"/>
                </a:lnTo>
                <a:lnTo>
                  <a:pt x="352" y="11"/>
                </a:lnTo>
                <a:lnTo>
                  <a:pt x="369" y="12"/>
                </a:lnTo>
                <a:lnTo>
                  <a:pt x="384" y="15"/>
                </a:lnTo>
                <a:lnTo>
                  <a:pt x="399" y="18"/>
                </a:lnTo>
                <a:lnTo>
                  <a:pt x="414" y="21"/>
                </a:lnTo>
                <a:lnTo>
                  <a:pt x="427" y="25"/>
                </a:lnTo>
                <a:lnTo>
                  <a:pt x="440" y="30"/>
                </a:lnTo>
                <a:lnTo>
                  <a:pt x="464" y="40"/>
                </a:lnTo>
                <a:lnTo>
                  <a:pt x="486" y="53"/>
                </a:lnTo>
                <a:lnTo>
                  <a:pt x="507" y="66"/>
                </a:lnTo>
                <a:lnTo>
                  <a:pt x="526" y="79"/>
                </a:lnTo>
                <a:lnTo>
                  <a:pt x="526" y="79"/>
                </a:lnTo>
                <a:lnTo>
                  <a:pt x="534" y="73"/>
                </a:lnTo>
                <a:lnTo>
                  <a:pt x="541" y="65"/>
                </a:lnTo>
                <a:lnTo>
                  <a:pt x="549" y="57"/>
                </a:lnTo>
                <a:lnTo>
                  <a:pt x="556" y="47"/>
                </a:lnTo>
                <a:lnTo>
                  <a:pt x="562" y="36"/>
                </a:lnTo>
                <a:lnTo>
                  <a:pt x="568" y="26"/>
                </a:lnTo>
                <a:lnTo>
                  <a:pt x="572" y="14"/>
                </a:lnTo>
                <a:lnTo>
                  <a:pt x="576" y="0"/>
                </a:lnTo>
                <a:lnTo>
                  <a:pt x="624" y="0"/>
                </a:lnTo>
                <a:lnTo>
                  <a:pt x="624" y="380"/>
                </a:lnTo>
                <a:lnTo>
                  <a:pt x="575" y="380"/>
                </a:lnTo>
                <a:lnTo>
                  <a:pt x="575" y="380"/>
                </a:lnTo>
                <a:lnTo>
                  <a:pt x="572" y="354"/>
                </a:lnTo>
                <a:lnTo>
                  <a:pt x="568" y="328"/>
                </a:lnTo>
                <a:lnTo>
                  <a:pt x="563" y="301"/>
                </a:lnTo>
                <a:lnTo>
                  <a:pt x="556" y="275"/>
                </a:lnTo>
                <a:lnTo>
                  <a:pt x="549" y="250"/>
                </a:lnTo>
                <a:lnTo>
                  <a:pt x="538" y="225"/>
                </a:lnTo>
                <a:lnTo>
                  <a:pt x="527" y="203"/>
                </a:lnTo>
                <a:lnTo>
                  <a:pt x="514" y="180"/>
                </a:lnTo>
                <a:lnTo>
                  <a:pt x="507" y="170"/>
                </a:lnTo>
                <a:lnTo>
                  <a:pt x="498" y="160"/>
                </a:lnTo>
                <a:lnTo>
                  <a:pt x="490" y="151"/>
                </a:lnTo>
                <a:lnTo>
                  <a:pt x="481" y="142"/>
                </a:lnTo>
                <a:lnTo>
                  <a:pt x="472" y="133"/>
                </a:lnTo>
                <a:lnTo>
                  <a:pt x="462" y="125"/>
                </a:lnTo>
                <a:lnTo>
                  <a:pt x="451" y="118"/>
                </a:lnTo>
                <a:lnTo>
                  <a:pt x="440" y="112"/>
                </a:lnTo>
                <a:lnTo>
                  <a:pt x="428" y="106"/>
                </a:lnTo>
                <a:lnTo>
                  <a:pt x="416" y="101"/>
                </a:lnTo>
                <a:lnTo>
                  <a:pt x="402" y="96"/>
                </a:lnTo>
                <a:lnTo>
                  <a:pt x="388" y="91"/>
                </a:lnTo>
                <a:lnTo>
                  <a:pt x="374" y="88"/>
                </a:lnTo>
                <a:lnTo>
                  <a:pt x="358" y="86"/>
                </a:lnTo>
                <a:lnTo>
                  <a:pt x="343" y="85"/>
                </a:lnTo>
                <a:lnTo>
                  <a:pt x="327" y="84"/>
                </a:lnTo>
                <a:lnTo>
                  <a:pt x="327" y="84"/>
                </a:lnTo>
                <a:lnTo>
                  <a:pt x="313" y="85"/>
                </a:lnTo>
                <a:lnTo>
                  <a:pt x="300" y="87"/>
                </a:lnTo>
                <a:lnTo>
                  <a:pt x="287" y="90"/>
                </a:lnTo>
                <a:lnTo>
                  <a:pt x="275" y="95"/>
                </a:lnTo>
                <a:lnTo>
                  <a:pt x="262" y="100"/>
                </a:lnTo>
                <a:lnTo>
                  <a:pt x="251" y="106"/>
                </a:lnTo>
                <a:lnTo>
                  <a:pt x="240" y="113"/>
                </a:lnTo>
                <a:lnTo>
                  <a:pt x="230" y="121"/>
                </a:lnTo>
                <a:lnTo>
                  <a:pt x="220" y="131"/>
                </a:lnTo>
                <a:lnTo>
                  <a:pt x="212" y="142"/>
                </a:lnTo>
                <a:lnTo>
                  <a:pt x="205" y="153"/>
                </a:lnTo>
                <a:lnTo>
                  <a:pt x="199" y="165"/>
                </a:lnTo>
                <a:lnTo>
                  <a:pt x="194" y="178"/>
                </a:lnTo>
                <a:lnTo>
                  <a:pt x="190" y="192"/>
                </a:lnTo>
                <a:lnTo>
                  <a:pt x="188" y="207"/>
                </a:lnTo>
                <a:lnTo>
                  <a:pt x="187" y="222"/>
                </a:lnTo>
                <a:lnTo>
                  <a:pt x="187" y="222"/>
                </a:lnTo>
                <a:lnTo>
                  <a:pt x="187" y="233"/>
                </a:lnTo>
                <a:lnTo>
                  <a:pt x="189" y="244"/>
                </a:lnTo>
                <a:lnTo>
                  <a:pt x="192" y="254"/>
                </a:lnTo>
                <a:lnTo>
                  <a:pt x="195" y="265"/>
                </a:lnTo>
                <a:lnTo>
                  <a:pt x="200" y="278"/>
                </a:lnTo>
                <a:lnTo>
                  <a:pt x="206" y="289"/>
                </a:lnTo>
                <a:lnTo>
                  <a:pt x="213" y="301"/>
                </a:lnTo>
                <a:lnTo>
                  <a:pt x="221" y="312"/>
                </a:lnTo>
                <a:lnTo>
                  <a:pt x="231" y="325"/>
                </a:lnTo>
                <a:lnTo>
                  <a:pt x="241" y="336"/>
                </a:lnTo>
                <a:lnTo>
                  <a:pt x="252" y="348"/>
                </a:lnTo>
                <a:lnTo>
                  <a:pt x="264" y="359"/>
                </a:lnTo>
                <a:lnTo>
                  <a:pt x="278" y="370"/>
                </a:lnTo>
                <a:lnTo>
                  <a:pt x="292" y="380"/>
                </a:lnTo>
                <a:lnTo>
                  <a:pt x="308" y="390"/>
                </a:lnTo>
                <a:lnTo>
                  <a:pt x="325" y="399"/>
                </a:lnTo>
                <a:lnTo>
                  <a:pt x="490" y="483"/>
                </a:lnTo>
                <a:lnTo>
                  <a:pt x="490" y="483"/>
                </a:lnTo>
                <a:lnTo>
                  <a:pt x="513" y="495"/>
                </a:lnTo>
                <a:lnTo>
                  <a:pt x="535" y="510"/>
                </a:lnTo>
                <a:lnTo>
                  <a:pt x="556" y="524"/>
                </a:lnTo>
                <a:lnTo>
                  <a:pt x="576" y="538"/>
                </a:lnTo>
                <a:lnTo>
                  <a:pt x="596" y="555"/>
                </a:lnTo>
                <a:lnTo>
                  <a:pt x="614" y="572"/>
                </a:lnTo>
                <a:lnTo>
                  <a:pt x="631" y="590"/>
                </a:lnTo>
                <a:lnTo>
                  <a:pt x="648" y="609"/>
                </a:lnTo>
                <a:lnTo>
                  <a:pt x="662" y="628"/>
                </a:lnTo>
                <a:lnTo>
                  <a:pt x="674" y="649"/>
                </a:lnTo>
                <a:lnTo>
                  <a:pt x="686" y="670"/>
                </a:lnTo>
                <a:lnTo>
                  <a:pt x="695" y="693"/>
                </a:lnTo>
                <a:lnTo>
                  <a:pt x="703" y="715"/>
                </a:lnTo>
                <a:lnTo>
                  <a:pt x="708" y="739"/>
                </a:lnTo>
                <a:lnTo>
                  <a:pt x="711" y="763"/>
                </a:lnTo>
                <a:lnTo>
                  <a:pt x="712" y="789"/>
                </a:lnTo>
                <a:lnTo>
                  <a:pt x="712" y="789"/>
                </a:lnTo>
                <a:lnTo>
                  <a:pt x="712" y="806"/>
                </a:lnTo>
                <a:lnTo>
                  <a:pt x="711" y="824"/>
                </a:lnTo>
                <a:lnTo>
                  <a:pt x="708" y="840"/>
                </a:lnTo>
                <a:lnTo>
                  <a:pt x="705" y="856"/>
                </a:lnTo>
                <a:lnTo>
                  <a:pt x="701" y="872"/>
                </a:lnTo>
                <a:lnTo>
                  <a:pt x="696" y="887"/>
                </a:lnTo>
                <a:lnTo>
                  <a:pt x="691" y="902"/>
                </a:lnTo>
                <a:lnTo>
                  <a:pt x="684" y="917"/>
                </a:lnTo>
                <a:lnTo>
                  <a:pt x="676" y="931"/>
                </a:lnTo>
                <a:lnTo>
                  <a:pt x="669" y="945"/>
                </a:lnTo>
                <a:lnTo>
                  <a:pt x="660" y="957"/>
                </a:lnTo>
                <a:lnTo>
                  <a:pt x="651" y="971"/>
                </a:lnTo>
                <a:lnTo>
                  <a:pt x="641" y="983"/>
                </a:lnTo>
                <a:lnTo>
                  <a:pt x="630" y="994"/>
                </a:lnTo>
                <a:lnTo>
                  <a:pt x="619" y="1005"/>
                </a:lnTo>
                <a:lnTo>
                  <a:pt x="608" y="1016"/>
                </a:lnTo>
                <a:lnTo>
                  <a:pt x="596" y="1026"/>
                </a:lnTo>
                <a:lnTo>
                  <a:pt x="582" y="1035"/>
                </a:lnTo>
                <a:lnTo>
                  <a:pt x="570" y="1044"/>
                </a:lnTo>
                <a:lnTo>
                  <a:pt x="556" y="1053"/>
                </a:lnTo>
                <a:lnTo>
                  <a:pt x="542" y="1061"/>
                </a:lnTo>
                <a:lnTo>
                  <a:pt x="528" y="1068"/>
                </a:lnTo>
                <a:lnTo>
                  <a:pt x="513" y="1074"/>
                </a:lnTo>
                <a:lnTo>
                  <a:pt x="498" y="1080"/>
                </a:lnTo>
                <a:lnTo>
                  <a:pt x="483" y="1085"/>
                </a:lnTo>
                <a:lnTo>
                  <a:pt x="467" y="1089"/>
                </a:lnTo>
                <a:lnTo>
                  <a:pt x="451" y="1093"/>
                </a:lnTo>
                <a:lnTo>
                  <a:pt x="435" y="1096"/>
                </a:lnTo>
                <a:lnTo>
                  <a:pt x="419" y="1100"/>
                </a:lnTo>
                <a:lnTo>
                  <a:pt x="402" y="1101"/>
                </a:lnTo>
                <a:lnTo>
                  <a:pt x="386" y="1103"/>
                </a:lnTo>
                <a:lnTo>
                  <a:pt x="370" y="1103"/>
                </a:lnTo>
                <a:lnTo>
                  <a:pt x="370" y="1103"/>
                </a:lnTo>
                <a:lnTo>
                  <a:pt x="345" y="1102"/>
                </a:lnTo>
                <a:lnTo>
                  <a:pt x="323" y="1100"/>
                </a:lnTo>
                <a:lnTo>
                  <a:pt x="300" y="1096"/>
                </a:lnTo>
                <a:lnTo>
                  <a:pt x="280" y="1091"/>
                </a:lnTo>
                <a:lnTo>
                  <a:pt x="260" y="1086"/>
                </a:lnTo>
                <a:lnTo>
                  <a:pt x="241" y="1080"/>
                </a:lnTo>
                <a:lnTo>
                  <a:pt x="223" y="1073"/>
                </a:lnTo>
                <a:lnTo>
                  <a:pt x="206" y="1067"/>
                </a:lnTo>
                <a:lnTo>
                  <a:pt x="175" y="1053"/>
                </a:lnTo>
                <a:lnTo>
                  <a:pt x="147" y="1039"/>
                </a:lnTo>
                <a:lnTo>
                  <a:pt x="122" y="1028"/>
                </a:lnTo>
                <a:lnTo>
                  <a:pt x="111" y="1024"/>
                </a:lnTo>
                <a:lnTo>
                  <a:pt x="101" y="1022"/>
                </a:lnTo>
                <a:lnTo>
                  <a:pt x="101" y="1022"/>
                </a:lnTo>
                <a:lnTo>
                  <a:pt x="93" y="1028"/>
                </a:lnTo>
                <a:lnTo>
                  <a:pt x="85" y="1036"/>
                </a:lnTo>
                <a:lnTo>
                  <a:pt x="77" y="1044"/>
                </a:lnTo>
                <a:lnTo>
                  <a:pt x="71" y="1055"/>
                </a:lnTo>
                <a:lnTo>
                  <a:pt x="64" y="1065"/>
                </a:lnTo>
                <a:lnTo>
                  <a:pt x="59" y="1076"/>
                </a:lnTo>
                <a:lnTo>
                  <a:pt x="54" y="1089"/>
                </a:lnTo>
                <a:lnTo>
                  <a:pt x="51" y="1103"/>
                </a:lnTo>
                <a:lnTo>
                  <a:pt x="51" y="1103"/>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66" name="Freeform 17">
            <a:extLst>
              <a:ext uri="{FF2B5EF4-FFF2-40B4-BE49-F238E27FC236}">
                <a16:creationId xmlns:a16="http://schemas.microsoft.com/office/drawing/2014/main" id="{66C73EC7-6D1D-844B-A699-5AF0D250FD86}"/>
              </a:ext>
            </a:extLst>
          </p:cNvPr>
          <p:cNvSpPr>
            <a:spLocks/>
          </p:cNvSpPr>
          <p:nvPr userDrawn="1"/>
        </p:nvSpPr>
        <p:spPr bwMode="auto">
          <a:xfrm>
            <a:off x="3455988" y="893763"/>
            <a:ext cx="142875" cy="136525"/>
          </a:xfrm>
          <a:custGeom>
            <a:avLst/>
            <a:gdLst>
              <a:gd name="T0" fmla="*/ 1028 w 1078"/>
              <a:gd name="T1" fmla="*/ 244 h 1035"/>
              <a:gd name="T2" fmla="*/ 1020 w 1078"/>
              <a:gd name="T3" fmla="*/ 209 h 1035"/>
              <a:gd name="T4" fmla="*/ 1006 w 1078"/>
              <a:gd name="T5" fmla="*/ 163 h 1035"/>
              <a:gd name="T6" fmla="*/ 995 w 1078"/>
              <a:gd name="T7" fmla="*/ 138 h 1035"/>
              <a:gd name="T8" fmla="*/ 980 w 1078"/>
              <a:gd name="T9" fmla="*/ 118 h 1035"/>
              <a:gd name="T10" fmla="*/ 959 w 1078"/>
              <a:gd name="T11" fmla="*/ 101 h 1035"/>
              <a:gd name="T12" fmla="*/ 932 w 1078"/>
              <a:gd name="T13" fmla="*/ 90 h 1035"/>
              <a:gd name="T14" fmla="*/ 895 w 1078"/>
              <a:gd name="T15" fmla="*/ 82 h 1035"/>
              <a:gd name="T16" fmla="*/ 848 w 1078"/>
              <a:gd name="T17" fmla="*/ 78 h 1035"/>
              <a:gd name="T18" fmla="*/ 646 w 1078"/>
              <a:gd name="T19" fmla="*/ 78 h 1035"/>
              <a:gd name="T20" fmla="*/ 646 w 1078"/>
              <a:gd name="T21" fmla="*/ 783 h 1035"/>
              <a:gd name="T22" fmla="*/ 648 w 1078"/>
              <a:gd name="T23" fmla="*/ 842 h 1035"/>
              <a:gd name="T24" fmla="*/ 652 w 1078"/>
              <a:gd name="T25" fmla="*/ 888 h 1035"/>
              <a:gd name="T26" fmla="*/ 662 w 1078"/>
              <a:gd name="T27" fmla="*/ 923 h 1035"/>
              <a:gd name="T28" fmla="*/ 672 w 1078"/>
              <a:gd name="T29" fmla="*/ 943 h 1035"/>
              <a:gd name="T30" fmla="*/ 680 w 1078"/>
              <a:gd name="T31" fmla="*/ 954 h 1035"/>
              <a:gd name="T32" fmla="*/ 691 w 1078"/>
              <a:gd name="T33" fmla="*/ 963 h 1035"/>
              <a:gd name="T34" fmla="*/ 711 w 1078"/>
              <a:gd name="T35" fmla="*/ 973 h 1035"/>
              <a:gd name="T36" fmla="*/ 743 w 1078"/>
              <a:gd name="T37" fmla="*/ 982 h 1035"/>
              <a:gd name="T38" fmla="*/ 787 w 1078"/>
              <a:gd name="T39" fmla="*/ 985 h 1035"/>
              <a:gd name="T40" fmla="*/ 812 w 1078"/>
              <a:gd name="T41" fmla="*/ 1035 h 1035"/>
              <a:gd name="T42" fmla="*/ 267 w 1078"/>
              <a:gd name="T43" fmla="*/ 985 h 1035"/>
              <a:gd name="T44" fmla="*/ 293 w 1078"/>
              <a:gd name="T45" fmla="*/ 985 h 1035"/>
              <a:gd name="T46" fmla="*/ 335 w 1078"/>
              <a:gd name="T47" fmla="*/ 982 h 1035"/>
              <a:gd name="T48" fmla="*/ 369 w 1078"/>
              <a:gd name="T49" fmla="*/ 973 h 1035"/>
              <a:gd name="T50" fmla="*/ 388 w 1078"/>
              <a:gd name="T51" fmla="*/ 963 h 1035"/>
              <a:gd name="T52" fmla="*/ 399 w 1078"/>
              <a:gd name="T53" fmla="*/ 954 h 1035"/>
              <a:gd name="T54" fmla="*/ 407 w 1078"/>
              <a:gd name="T55" fmla="*/ 943 h 1035"/>
              <a:gd name="T56" fmla="*/ 417 w 1078"/>
              <a:gd name="T57" fmla="*/ 923 h 1035"/>
              <a:gd name="T58" fmla="*/ 425 w 1078"/>
              <a:gd name="T59" fmla="*/ 888 h 1035"/>
              <a:gd name="T60" fmla="*/ 430 w 1078"/>
              <a:gd name="T61" fmla="*/ 842 h 1035"/>
              <a:gd name="T62" fmla="*/ 432 w 1078"/>
              <a:gd name="T63" fmla="*/ 783 h 1035"/>
              <a:gd name="T64" fmla="*/ 259 w 1078"/>
              <a:gd name="T65" fmla="*/ 78 h 1035"/>
              <a:gd name="T66" fmla="*/ 231 w 1078"/>
              <a:gd name="T67" fmla="*/ 78 h 1035"/>
              <a:gd name="T68" fmla="*/ 184 w 1078"/>
              <a:gd name="T69" fmla="*/ 82 h 1035"/>
              <a:gd name="T70" fmla="*/ 147 w 1078"/>
              <a:gd name="T71" fmla="*/ 90 h 1035"/>
              <a:gd name="T72" fmla="*/ 120 w 1078"/>
              <a:gd name="T73" fmla="*/ 101 h 1035"/>
              <a:gd name="T74" fmla="*/ 99 w 1078"/>
              <a:gd name="T75" fmla="*/ 118 h 1035"/>
              <a:gd name="T76" fmla="*/ 85 w 1078"/>
              <a:gd name="T77" fmla="*/ 138 h 1035"/>
              <a:gd name="T78" fmla="*/ 74 w 1078"/>
              <a:gd name="T79" fmla="*/ 163 h 1035"/>
              <a:gd name="T80" fmla="*/ 60 w 1078"/>
              <a:gd name="T81" fmla="*/ 209 h 1035"/>
              <a:gd name="T82" fmla="*/ 0 w 1078"/>
              <a:gd name="T83" fmla="*/ 244 h 1035"/>
              <a:gd name="T84" fmla="*/ 1065 w 1078"/>
              <a:gd name="T85" fmla="*/ 0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8" h="1035">
                <a:moveTo>
                  <a:pt x="1078" y="244"/>
                </a:moveTo>
                <a:lnTo>
                  <a:pt x="1028" y="244"/>
                </a:lnTo>
                <a:lnTo>
                  <a:pt x="1020" y="209"/>
                </a:lnTo>
                <a:lnTo>
                  <a:pt x="1020" y="209"/>
                </a:lnTo>
                <a:lnTo>
                  <a:pt x="1011" y="177"/>
                </a:lnTo>
                <a:lnTo>
                  <a:pt x="1006" y="163"/>
                </a:lnTo>
                <a:lnTo>
                  <a:pt x="1001" y="150"/>
                </a:lnTo>
                <a:lnTo>
                  <a:pt x="995" y="138"/>
                </a:lnTo>
                <a:lnTo>
                  <a:pt x="988" y="127"/>
                </a:lnTo>
                <a:lnTo>
                  <a:pt x="980" y="118"/>
                </a:lnTo>
                <a:lnTo>
                  <a:pt x="970" y="109"/>
                </a:lnTo>
                <a:lnTo>
                  <a:pt x="959" y="101"/>
                </a:lnTo>
                <a:lnTo>
                  <a:pt x="947" y="95"/>
                </a:lnTo>
                <a:lnTo>
                  <a:pt x="932" y="90"/>
                </a:lnTo>
                <a:lnTo>
                  <a:pt x="914" y="85"/>
                </a:lnTo>
                <a:lnTo>
                  <a:pt x="895" y="82"/>
                </a:lnTo>
                <a:lnTo>
                  <a:pt x="872" y="80"/>
                </a:lnTo>
                <a:lnTo>
                  <a:pt x="848" y="78"/>
                </a:lnTo>
                <a:lnTo>
                  <a:pt x="819" y="78"/>
                </a:lnTo>
                <a:lnTo>
                  <a:pt x="646" y="78"/>
                </a:lnTo>
                <a:lnTo>
                  <a:pt x="646" y="783"/>
                </a:lnTo>
                <a:lnTo>
                  <a:pt x="646" y="783"/>
                </a:lnTo>
                <a:lnTo>
                  <a:pt x="647" y="814"/>
                </a:lnTo>
                <a:lnTo>
                  <a:pt x="648" y="842"/>
                </a:lnTo>
                <a:lnTo>
                  <a:pt x="649" y="866"/>
                </a:lnTo>
                <a:lnTo>
                  <a:pt x="652" y="888"/>
                </a:lnTo>
                <a:lnTo>
                  <a:pt x="657" y="906"/>
                </a:lnTo>
                <a:lnTo>
                  <a:pt x="662" y="923"/>
                </a:lnTo>
                <a:lnTo>
                  <a:pt x="668" y="937"/>
                </a:lnTo>
                <a:lnTo>
                  <a:pt x="672" y="943"/>
                </a:lnTo>
                <a:lnTo>
                  <a:pt x="676" y="949"/>
                </a:lnTo>
                <a:lnTo>
                  <a:pt x="680" y="954"/>
                </a:lnTo>
                <a:lnTo>
                  <a:pt x="685" y="958"/>
                </a:lnTo>
                <a:lnTo>
                  <a:pt x="691" y="963"/>
                </a:lnTo>
                <a:lnTo>
                  <a:pt x="697" y="966"/>
                </a:lnTo>
                <a:lnTo>
                  <a:pt x="711" y="973"/>
                </a:lnTo>
                <a:lnTo>
                  <a:pt x="726" y="978"/>
                </a:lnTo>
                <a:lnTo>
                  <a:pt x="743" y="982"/>
                </a:lnTo>
                <a:lnTo>
                  <a:pt x="764" y="984"/>
                </a:lnTo>
                <a:lnTo>
                  <a:pt x="787" y="985"/>
                </a:lnTo>
                <a:lnTo>
                  <a:pt x="812" y="985"/>
                </a:lnTo>
                <a:lnTo>
                  <a:pt x="812" y="1035"/>
                </a:lnTo>
                <a:lnTo>
                  <a:pt x="267" y="1035"/>
                </a:lnTo>
                <a:lnTo>
                  <a:pt x="267" y="985"/>
                </a:lnTo>
                <a:lnTo>
                  <a:pt x="267" y="985"/>
                </a:lnTo>
                <a:lnTo>
                  <a:pt x="293" y="985"/>
                </a:lnTo>
                <a:lnTo>
                  <a:pt x="315" y="984"/>
                </a:lnTo>
                <a:lnTo>
                  <a:pt x="335" y="982"/>
                </a:lnTo>
                <a:lnTo>
                  <a:pt x="353" y="978"/>
                </a:lnTo>
                <a:lnTo>
                  <a:pt x="369" y="973"/>
                </a:lnTo>
                <a:lnTo>
                  <a:pt x="383" y="966"/>
                </a:lnTo>
                <a:lnTo>
                  <a:pt x="388" y="963"/>
                </a:lnTo>
                <a:lnTo>
                  <a:pt x="394" y="958"/>
                </a:lnTo>
                <a:lnTo>
                  <a:pt x="399" y="954"/>
                </a:lnTo>
                <a:lnTo>
                  <a:pt x="403" y="949"/>
                </a:lnTo>
                <a:lnTo>
                  <a:pt x="407" y="943"/>
                </a:lnTo>
                <a:lnTo>
                  <a:pt x="411" y="937"/>
                </a:lnTo>
                <a:lnTo>
                  <a:pt x="417" y="923"/>
                </a:lnTo>
                <a:lnTo>
                  <a:pt x="422" y="906"/>
                </a:lnTo>
                <a:lnTo>
                  <a:pt x="425" y="888"/>
                </a:lnTo>
                <a:lnTo>
                  <a:pt x="429" y="866"/>
                </a:lnTo>
                <a:lnTo>
                  <a:pt x="430" y="842"/>
                </a:lnTo>
                <a:lnTo>
                  <a:pt x="431" y="814"/>
                </a:lnTo>
                <a:lnTo>
                  <a:pt x="432" y="783"/>
                </a:lnTo>
                <a:lnTo>
                  <a:pt x="432" y="78"/>
                </a:lnTo>
                <a:lnTo>
                  <a:pt x="259" y="78"/>
                </a:lnTo>
                <a:lnTo>
                  <a:pt x="259" y="78"/>
                </a:lnTo>
                <a:lnTo>
                  <a:pt x="231" y="78"/>
                </a:lnTo>
                <a:lnTo>
                  <a:pt x="206" y="80"/>
                </a:lnTo>
                <a:lnTo>
                  <a:pt x="184" y="82"/>
                </a:lnTo>
                <a:lnTo>
                  <a:pt x="165" y="85"/>
                </a:lnTo>
                <a:lnTo>
                  <a:pt x="147" y="90"/>
                </a:lnTo>
                <a:lnTo>
                  <a:pt x="133" y="95"/>
                </a:lnTo>
                <a:lnTo>
                  <a:pt x="120" y="101"/>
                </a:lnTo>
                <a:lnTo>
                  <a:pt x="110" y="109"/>
                </a:lnTo>
                <a:lnTo>
                  <a:pt x="99" y="118"/>
                </a:lnTo>
                <a:lnTo>
                  <a:pt x="91" y="127"/>
                </a:lnTo>
                <a:lnTo>
                  <a:pt x="85" y="138"/>
                </a:lnTo>
                <a:lnTo>
                  <a:pt x="79" y="150"/>
                </a:lnTo>
                <a:lnTo>
                  <a:pt x="74" y="163"/>
                </a:lnTo>
                <a:lnTo>
                  <a:pt x="69" y="177"/>
                </a:lnTo>
                <a:lnTo>
                  <a:pt x="60" y="209"/>
                </a:lnTo>
                <a:lnTo>
                  <a:pt x="51" y="244"/>
                </a:lnTo>
                <a:lnTo>
                  <a:pt x="0" y="244"/>
                </a:lnTo>
                <a:lnTo>
                  <a:pt x="15" y="0"/>
                </a:lnTo>
                <a:lnTo>
                  <a:pt x="1065" y="0"/>
                </a:lnTo>
                <a:lnTo>
                  <a:pt x="1078" y="244"/>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67" name="Freeform 18">
            <a:extLst>
              <a:ext uri="{FF2B5EF4-FFF2-40B4-BE49-F238E27FC236}">
                <a16:creationId xmlns:a16="http://schemas.microsoft.com/office/drawing/2014/main" id="{C59FF6E7-70B2-104B-BA19-464BCC297FEA}"/>
              </a:ext>
            </a:extLst>
          </p:cNvPr>
          <p:cNvSpPr>
            <a:spLocks noEditPoints="1"/>
          </p:cNvSpPr>
          <p:nvPr userDrawn="1"/>
        </p:nvSpPr>
        <p:spPr bwMode="auto">
          <a:xfrm>
            <a:off x="3627438" y="890588"/>
            <a:ext cx="152400" cy="144463"/>
          </a:xfrm>
          <a:custGeom>
            <a:avLst/>
            <a:gdLst>
              <a:gd name="T0" fmla="*/ 487 w 1150"/>
              <a:gd name="T1" fmla="*/ 1087 h 1094"/>
              <a:gd name="T2" fmla="*/ 351 w 1150"/>
              <a:gd name="T3" fmla="*/ 1051 h 1094"/>
              <a:gd name="T4" fmla="*/ 231 w 1150"/>
              <a:gd name="T5" fmla="*/ 984 h 1094"/>
              <a:gd name="T6" fmla="*/ 131 w 1150"/>
              <a:gd name="T7" fmla="*/ 894 h 1094"/>
              <a:gd name="T8" fmla="*/ 56 w 1150"/>
              <a:gd name="T9" fmla="*/ 783 h 1094"/>
              <a:gd name="T10" fmla="*/ 11 w 1150"/>
              <a:gd name="T11" fmla="*/ 656 h 1094"/>
              <a:gd name="T12" fmla="*/ 0 w 1150"/>
              <a:gd name="T13" fmla="*/ 547 h 1094"/>
              <a:gd name="T14" fmla="*/ 17 w 1150"/>
              <a:gd name="T15" fmla="*/ 411 h 1094"/>
              <a:gd name="T16" fmla="*/ 69 w 1150"/>
              <a:gd name="T17" fmla="*/ 287 h 1094"/>
              <a:gd name="T18" fmla="*/ 149 w 1150"/>
              <a:gd name="T19" fmla="*/ 180 h 1094"/>
              <a:gd name="T20" fmla="*/ 253 w 1150"/>
              <a:gd name="T21" fmla="*/ 94 h 1094"/>
              <a:gd name="T22" fmla="*/ 378 w 1150"/>
              <a:gd name="T23" fmla="*/ 33 h 1094"/>
              <a:gd name="T24" fmla="*/ 517 w 1150"/>
              <a:gd name="T25" fmla="*/ 3 h 1094"/>
              <a:gd name="T26" fmla="*/ 634 w 1150"/>
              <a:gd name="T27" fmla="*/ 3 h 1094"/>
              <a:gd name="T28" fmla="*/ 773 w 1150"/>
              <a:gd name="T29" fmla="*/ 33 h 1094"/>
              <a:gd name="T30" fmla="*/ 895 w 1150"/>
              <a:gd name="T31" fmla="*/ 94 h 1094"/>
              <a:gd name="T32" fmla="*/ 1000 w 1150"/>
              <a:gd name="T33" fmla="*/ 180 h 1094"/>
              <a:gd name="T34" fmla="*/ 1080 w 1150"/>
              <a:gd name="T35" fmla="*/ 287 h 1094"/>
              <a:gd name="T36" fmla="*/ 1132 w 1150"/>
              <a:gd name="T37" fmla="*/ 411 h 1094"/>
              <a:gd name="T38" fmla="*/ 1150 w 1150"/>
              <a:gd name="T39" fmla="*/ 547 h 1094"/>
              <a:gd name="T40" fmla="*/ 1138 w 1150"/>
              <a:gd name="T41" fmla="*/ 656 h 1094"/>
              <a:gd name="T42" fmla="*/ 1093 w 1150"/>
              <a:gd name="T43" fmla="*/ 783 h 1094"/>
              <a:gd name="T44" fmla="*/ 1018 w 1150"/>
              <a:gd name="T45" fmla="*/ 894 h 1094"/>
              <a:gd name="T46" fmla="*/ 919 w 1150"/>
              <a:gd name="T47" fmla="*/ 984 h 1094"/>
              <a:gd name="T48" fmla="*/ 798 w 1150"/>
              <a:gd name="T49" fmla="*/ 1051 h 1094"/>
              <a:gd name="T50" fmla="*/ 662 w 1150"/>
              <a:gd name="T51" fmla="*/ 1087 h 1094"/>
              <a:gd name="T52" fmla="*/ 575 w 1150"/>
              <a:gd name="T53" fmla="*/ 82 h 1094"/>
              <a:gd name="T54" fmla="*/ 490 w 1150"/>
              <a:gd name="T55" fmla="*/ 94 h 1094"/>
              <a:gd name="T56" fmla="*/ 403 w 1150"/>
              <a:gd name="T57" fmla="*/ 137 h 1094"/>
              <a:gd name="T58" fmla="*/ 334 w 1150"/>
              <a:gd name="T59" fmla="*/ 204 h 1094"/>
              <a:gd name="T60" fmla="*/ 284 w 1150"/>
              <a:gd name="T61" fmla="*/ 290 h 1094"/>
              <a:gd name="T62" fmla="*/ 251 w 1150"/>
              <a:gd name="T63" fmla="*/ 386 h 1094"/>
              <a:gd name="T64" fmla="*/ 233 w 1150"/>
              <a:gd name="T65" fmla="*/ 507 h 1094"/>
              <a:gd name="T66" fmla="*/ 240 w 1150"/>
              <a:gd name="T67" fmla="*/ 647 h 1094"/>
              <a:gd name="T68" fmla="*/ 262 w 1150"/>
              <a:gd name="T69" fmla="*/ 747 h 1094"/>
              <a:gd name="T70" fmla="*/ 302 w 1150"/>
              <a:gd name="T71" fmla="*/ 840 h 1094"/>
              <a:gd name="T72" fmla="*/ 360 w 1150"/>
              <a:gd name="T73" fmla="*/ 919 h 1094"/>
              <a:gd name="T74" fmla="*/ 435 w 1150"/>
              <a:gd name="T75" fmla="*/ 977 h 1094"/>
              <a:gd name="T76" fmla="*/ 531 w 1150"/>
              <a:gd name="T77" fmla="*/ 1008 h 1094"/>
              <a:gd name="T78" fmla="*/ 619 w 1150"/>
              <a:gd name="T79" fmla="*/ 1008 h 1094"/>
              <a:gd name="T80" fmla="*/ 715 w 1150"/>
              <a:gd name="T81" fmla="*/ 977 h 1094"/>
              <a:gd name="T82" fmla="*/ 791 w 1150"/>
              <a:gd name="T83" fmla="*/ 919 h 1094"/>
              <a:gd name="T84" fmla="*/ 848 w 1150"/>
              <a:gd name="T85" fmla="*/ 840 h 1094"/>
              <a:gd name="T86" fmla="*/ 888 w 1150"/>
              <a:gd name="T87" fmla="*/ 747 h 1094"/>
              <a:gd name="T88" fmla="*/ 911 w 1150"/>
              <a:gd name="T89" fmla="*/ 647 h 1094"/>
              <a:gd name="T90" fmla="*/ 918 w 1150"/>
              <a:gd name="T91" fmla="*/ 507 h 1094"/>
              <a:gd name="T92" fmla="*/ 899 w 1150"/>
              <a:gd name="T93" fmla="*/ 386 h 1094"/>
              <a:gd name="T94" fmla="*/ 867 w 1150"/>
              <a:gd name="T95" fmla="*/ 290 h 1094"/>
              <a:gd name="T96" fmla="*/ 816 w 1150"/>
              <a:gd name="T97" fmla="*/ 204 h 1094"/>
              <a:gd name="T98" fmla="*/ 747 w 1150"/>
              <a:gd name="T99" fmla="*/ 137 h 1094"/>
              <a:gd name="T100" fmla="*/ 660 w 1150"/>
              <a:gd name="T101" fmla="*/ 94 h 1094"/>
              <a:gd name="T102" fmla="*/ 575 w 1150"/>
              <a:gd name="T103" fmla="*/ 82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50" h="1094">
                <a:moveTo>
                  <a:pt x="575" y="1094"/>
                </a:moveTo>
                <a:lnTo>
                  <a:pt x="575" y="1094"/>
                </a:lnTo>
                <a:lnTo>
                  <a:pt x="546" y="1093"/>
                </a:lnTo>
                <a:lnTo>
                  <a:pt x="517" y="1091"/>
                </a:lnTo>
                <a:lnTo>
                  <a:pt x="487" y="1087"/>
                </a:lnTo>
                <a:lnTo>
                  <a:pt x="460" y="1082"/>
                </a:lnTo>
                <a:lnTo>
                  <a:pt x="431" y="1076"/>
                </a:lnTo>
                <a:lnTo>
                  <a:pt x="405" y="1069"/>
                </a:lnTo>
                <a:lnTo>
                  <a:pt x="378" y="1060"/>
                </a:lnTo>
                <a:lnTo>
                  <a:pt x="351" y="1051"/>
                </a:lnTo>
                <a:lnTo>
                  <a:pt x="326" y="1039"/>
                </a:lnTo>
                <a:lnTo>
                  <a:pt x="301" y="1027"/>
                </a:lnTo>
                <a:lnTo>
                  <a:pt x="277" y="1014"/>
                </a:lnTo>
                <a:lnTo>
                  <a:pt x="253" y="1000"/>
                </a:lnTo>
                <a:lnTo>
                  <a:pt x="231" y="984"/>
                </a:lnTo>
                <a:lnTo>
                  <a:pt x="209" y="968"/>
                </a:lnTo>
                <a:lnTo>
                  <a:pt x="188" y="950"/>
                </a:lnTo>
                <a:lnTo>
                  <a:pt x="168" y="933"/>
                </a:lnTo>
                <a:lnTo>
                  <a:pt x="149" y="914"/>
                </a:lnTo>
                <a:lnTo>
                  <a:pt x="131" y="894"/>
                </a:lnTo>
                <a:lnTo>
                  <a:pt x="114" y="873"/>
                </a:lnTo>
                <a:lnTo>
                  <a:pt x="98" y="851"/>
                </a:lnTo>
                <a:lnTo>
                  <a:pt x="82" y="830"/>
                </a:lnTo>
                <a:lnTo>
                  <a:pt x="69" y="806"/>
                </a:lnTo>
                <a:lnTo>
                  <a:pt x="56" y="783"/>
                </a:lnTo>
                <a:lnTo>
                  <a:pt x="45" y="758"/>
                </a:lnTo>
                <a:lnTo>
                  <a:pt x="34" y="734"/>
                </a:lnTo>
                <a:lnTo>
                  <a:pt x="25" y="708"/>
                </a:lnTo>
                <a:lnTo>
                  <a:pt x="17" y="683"/>
                </a:lnTo>
                <a:lnTo>
                  <a:pt x="11" y="656"/>
                </a:lnTo>
                <a:lnTo>
                  <a:pt x="6" y="629"/>
                </a:lnTo>
                <a:lnTo>
                  <a:pt x="2" y="602"/>
                </a:lnTo>
                <a:lnTo>
                  <a:pt x="0" y="574"/>
                </a:lnTo>
                <a:lnTo>
                  <a:pt x="0" y="547"/>
                </a:lnTo>
                <a:lnTo>
                  <a:pt x="0" y="547"/>
                </a:lnTo>
                <a:lnTo>
                  <a:pt x="0" y="519"/>
                </a:lnTo>
                <a:lnTo>
                  <a:pt x="2" y="491"/>
                </a:lnTo>
                <a:lnTo>
                  <a:pt x="6" y="464"/>
                </a:lnTo>
                <a:lnTo>
                  <a:pt x="11" y="437"/>
                </a:lnTo>
                <a:lnTo>
                  <a:pt x="17" y="411"/>
                </a:lnTo>
                <a:lnTo>
                  <a:pt x="25" y="385"/>
                </a:lnTo>
                <a:lnTo>
                  <a:pt x="34" y="360"/>
                </a:lnTo>
                <a:lnTo>
                  <a:pt x="45" y="335"/>
                </a:lnTo>
                <a:lnTo>
                  <a:pt x="56" y="310"/>
                </a:lnTo>
                <a:lnTo>
                  <a:pt x="69" y="287"/>
                </a:lnTo>
                <a:lnTo>
                  <a:pt x="82" y="264"/>
                </a:lnTo>
                <a:lnTo>
                  <a:pt x="98" y="242"/>
                </a:lnTo>
                <a:lnTo>
                  <a:pt x="114" y="220"/>
                </a:lnTo>
                <a:lnTo>
                  <a:pt x="131" y="200"/>
                </a:lnTo>
                <a:lnTo>
                  <a:pt x="149" y="180"/>
                </a:lnTo>
                <a:lnTo>
                  <a:pt x="168" y="161"/>
                </a:lnTo>
                <a:lnTo>
                  <a:pt x="188" y="143"/>
                </a:lnTo>
                <a:lnTo>
                  <a:pt x="209" y="125"/>
                </a:lnTo>
                <a:lnTo>
                  <a:pt x="231" y="109"/>
                </a:lnTo>
                <a:lnTo>
                  <a:pt x="253" y="94"/>
                </a:lnTo>
                <a:lnTo>
                  <a:pt x="277" y="79"/>
                </a:lnTo>
                <a:lnTo>
                  <a:pt x="301" y="66"/>
                </a:lnTo>
                <a:lnTo>
                  <a:pt x="326" y="54"/>
                </a:lnTo>
                <a:lnTo>
                  <a:pt x="351" y="44"/>
                </a:lnTo>
                <a:lnTo>
                  <a:pt x="378" y="33"/>
                </a:lnTo>
                <a:lnTo>
                  <a:pt x="405" y="24"/>
                </a:lnTo>
                <a:lnTo>
                  <a:pt x="431" y="17"/>
                </a:lnTo>
                <a:lnTo>
                  <a:pt x="460" y="11"/>
                </a:lnTo>
                <a:lnTo>
                  <a:pt x="487" y="6"/>
                </a:lnTo>
                <a:lnTo>
                  <a:pt x="517" y="3"/>
                </a:lnTo>
                <a:lnTo>
                  <a:pt x="546" y="1"/>
                </a:lnTo>
                <a:lnTo>
                  <a:pt x="575" y="0"/>
                </a:lnTo>
                <a:lnTo>
                  <a:pt x="575" y="0"/>
                </a:lnTo>
                <a:lnTo>
                  <a:pt x="605" y="1"/>
                </a:lnTo>
                <a:lnTo>
                  <a:pt x="634" y="3"/>
                </a:lnTo>
                <a:lnTo>
                  <a:pt x="662" y="6"/>
                </a:lnTo>
                <a:lnTo>
                  <a:pt x="691" y="11"/>
                </a:lnTo>
                <a:lnTo>
                  <a:pt x="719" y="17"/>
                </a:lnTo>
                <a:lnTo>
                  <a:pt x="746" y="24"/>
                </a:lnTo>
                <a:lnTo>
                  <a:pt x="773" y="33"/>
                </a:lnTo>
                <a:lnTo>
                  <a:pt x="798" y="44"/>
                </a:lnTo>
                <a:lnTo>
                  <a:pt x="824" y="54"/>
                </a:lnTo>
                <a:lnTo>
                  <a:pt x="848" y="66"/>
                </a:lnTo>
                <a:lnTo>
                  <a:pt x="873" y="79"/>
                </a:lnTo>
                <a:lnTo>
                  <a:pt x="895" y="94"/>
                </a:lnTo>
                <a:lnTo>
                  <a:pt x="919" y="109"/>
                </a:lnTo>
                <a:lnTo>
                  <a:pt x="940" y="125"/>
                </a:lnTo>
                <a:lnTo>
                  <a:pt x="961" y="143"/>
                </a:lnTo>
                <a:lnTo>
                  <a:pt x="981" y="161"/>
                </a:lnTo>
                <a:lnTo>
                  <a:pt x="1000" y="180"/>
                </a:lnTo>
                <a:lnTo>
                  <a:pt x="1018" y="200"/>
                </a:lnTo>
                <a:lnTo>
                  <a:pt x="1035" y="220"/>
                </a:lnTo>
                <a:lnTo>
                  <a:pt x="1052" y="242"/>
                </a:lnTo>
                <a:lnTo>
                  <a:pt x="1066" y="264"/>
                </a:lnTo>
                <a:lnTo>
                  <a:pt x="1080" y="287"/>
                </a:lnTo>
                <a:lnTo>
                  <a:pt x="1093" y="310"/>
                </a:lnTo>
                <a:lnTo>
                  <a:pt x="1104" y="335"/>
                </a:lnTo>
                <a:lnTo>
                  <a:pt x="1115" y="360"/>
                </a:lnTo>
                <a:lnTo>
                  <a:pt x="1123" y="385"/>
                </a:lnTo>
                <a:lnTo>
                  <a:pt x="1132" y="411"/>
                </a:lnTo>
                <a:lnTo>
                  <a:pt x="1138" y="437"/>
                </a:lnTo>
                <a:lnTo>
                  <a:pt x="1143" y="464"/>
                </a:lnTo>
                <a:lnTo>
                  <a:pt x="1147" y="491"/>
                </a:lnTo>
                <a:lnTo>
                  <a:pt x="1149" y="519"/>
                </a:lnTo>
                <a:lnTo>
                  <a:pt x="1150" y="547"/>
                </a:lnTo>
                <a:lnTo>
                  <a:pt x="1150" y="547"/>
                </a:lnTo>
                <a:lnTo>
                  <a:pt x="1149" y="574"/>
                </a:lnTo>
                <a:lnTo>
                  <a:pt x="1147" y="602"/>
                </a:lnTo>
                <a:lnTo>
                  <a:pt x="1143" y="629"/>
                </a:lnTo>
                <a:lnTo>
                  <a:pt x="1138" y="656"/>
                </a:lnTo>
                <a:lnTo>
                  <a:pt x="1132" y="683"/>
                </a:lnTo>
                <a:lnTo>
                  <a:pt x="1123" y="708"/>
                </a:lnTo>
                <a:lnTo>
                  <a:pt x="1115" y="734"/>
                </a:lnTo>
                <a:lnTo>
                  <a:pt x="1104" y="758"/>
                </a:lnTo>
                <a:lnTo>
                  <a:pt x="1093" y="783"/>
                </a:lnTo>
                <a:lnTo>
                  <a:pt x="1080" y="806"/>
                </a:lnTo>
                <a:lnTo>
                  <a:pt x="1066" y="830"/>
                </a:lnTo>
                <a:lnTo>
                  <a:pt x="1052" y="851"/>
                </a:lnTo>
                <a:lnTo>
                  <a:pt x="1035" y="873"/>
                </a:lnTo>
                <a:lnTo>
                  <a:pt x="1018" y="894"/>
                </a:lnTo>
                <a:lnTo>
                  <a:pt x="1000" y="914"/>
                </a:lnTo>
                <a:lnTo>
                  <a:pt x="981" y="933"/>
                </a:lnTo>
                <a:lnTo>
                  <a:pt x="961" y="950"/>
                </a:lnTo>
                <a:lnTo>
                  <a:pt x="940" y="968"/>
                </a:lnTo>
                <a:lnTo>
                  <a:pt x="919" y="984"/>
                </a:lnTo>
                <a:lnTo>
                  <a:pt x="895" y="1000"/>
                </a:lnTo>
                <a:lnTo>
                  <a:pt x="873" y="1014"/>
                </a:lnTo>
                <a:lnTo>
                  <a:pt x="848" y="1027"/>
                </a:lnTo>
                <a:lnTo>
                  <a:pt x="824" y="1039"/>
                </a:lnTo>
                <a:lnTo>
                  <a:pt x="798" y="1051"/>
                </a:lnTo>
                <a:lnTo>
                  <a:pt x="773" y="1060"/>
                </a:lnTo>
                <a:lnTo>
                  <a:pt x="746" y="1069"/>
                </a:lnTo>
                <a:lnTo>
                  <a:pt x="719" y="1076"/>
                </a:lnTo>
                <a:lnTo>
                  <a:pt x="691" y="1082"/>
                </a:lnTo>
                <a:lnTo>
                  <a:pt x="662" y="1087"/>
                </a:lnTo>
                <a:lnTo>
                  <a:pt x="634" y="1091"/>
                </a:lnTo>
                <a:lnTo>
                  <a:pt x="605" y="1093"/>
                </a:lnTo>
                <a:lnTo>
                  <a:pt x="575" y="1094"/>
                </a:lnTo>
                <a:lnTo>
                  <a:pt x="575" y="1094"/>
                </a:lnTo>
                <a:close/>
                <a:moveTo>
                  <a:pt x="575" y="82"/>
                </a:moveTo>
                <a:lnTo>
                  <a:pt x="575" y="82"/>
                </a:lnTo>
                <a:lnTo>
                  <a:pt x="553" y="83"/>
                </a:lnTo>
                <a:lnTo>
                  <a:pt x="531" y="86"/>
                </a:lnTo>
                <a:lnTo>
                  <a:pt x="510" y="90"/>
                </a:lnTo>
                <a:lnTo>
                  <a:pt x="490" y="94"/>
                </a:lnTo>
                <a:lnTo>
                  <a:pt x="471" y="100"/>
                </a:lnTo>
                <a:lnTo>
                  <a:pt x="453" y="108"/>
                </a:lnTo>
                <a:lnTo>
                  <a:pt x="435" y="116"/>
                </a:lnTo>
                <a:lnTo>
                  <a:pt x="419" y="125"/>
                </a:lnTo>
                <a:lnTo>
                  <a:pt x="403" y="137"/>
                </a:lnTo>
                <a:lnTo>
                  <a:pt x="387" y="148"/>
                </a:lnTo>
                <a:lnTo>
                  <a:pt x="373" y="161"/>
                </a:lnTo>
                <a:lnTo>
                  <a:pt x="360" y="174"/>
                </a:lnTo>
                <a:lnTo>
                  <a:pt x="346" y="189"/>
                </a:lnTo>
                <a:lnTo>
                  <a:pt x="334" y="204"/>
                </a:lnTo>
                <a:lnTo>
                  <a:pt x="323" y="219"/>
                </a:lnTo>
                <a:lnTo>
                  <a:pt x="312" y="237"/>
                </a:lnTo>
                <a:lnTo>
                  <a:pt x="302" y="253"/>
                </a:lnTo>
                <a:lnTo>
                  <a:pt x="292" y="272"/>
                </a:lnTo>
                <a:lnTo>
                  <a:pt x="284" y="290"/>
                </a:lnTo>
                <a:lnTo>
                  <a:pt x="276" y="308"/>
                </a:lnTo>
                <a:lnTo>
                  <a:pt x="269" y="327"/>
                </a:lnTo>
                <a:lnTo>
                  <a:pt x="262" y="346"/>
                </a:lnTo>
                <a:lnTo>
                  <a:pt x="256" y="367"/>
                </a:lnTo>
                <a:lnTo>
                  <a:pt x="251" y="386"/>
                </a:lnTo>
                <a:lnTo>
                  <a:pt x="247" y="407"/>
                </a:lnTo>
                <a:lnTo>
                  <a:pt x="243" y="426"/>
                </a:lnTo>
                <a:lnTo>
                  <a:pt x="240" y="446"/>
                </a:lnTo>
                <a:lnTo>
                  <a:pt x="237" y="467"/>
                </a:lnTo>
                <a:lnTo>
                  <a:pt x="233" y="507"/>
                </a:lnTo>
                <a:lnTo>
                  <a:pt x="232" y="547"/>
                </a:lnTo>
                <a:lnTo>
                  <a:pt x="232" y="547"/>
                </a:lnTo>
                <a:lnTo>
                  <a:pt x="233" y="587"/>
                </a:lnTo>
                <a:lnTo>
                  <a:pt x="237" y="626"/>
                </a:lnTo>
                <a:lnTo>
                  <a:pt x="240" y="647"/>
                </a:lnTo>
                <a:lnTo>
                  <a:pt x="243" y="667"/>
                </a:lnTo>
                <a:lnTo>
                  <a:pt x="247" y="687"/>
                </a:lnTo>
                <a:lnTo>
                  <a:pt x="251" y="707"/>
                </a:lnTo>
                <a:lnTo>
                  <a:pt x="256" y="728"/>
                </a:lnTo>
                <a:lnTo>
                  <a:pt x="262" y="747"/>
                </a:lnTo>
                <a:lnTo>
                  <a:pt x="269" y="766"/>
                </a:lnTo>
                <a:lnTo>
                  <a:pt x="276" y="785"/>
                </a:lnTo>
                <a:lnTo>
                  <a:pt x="284" y="804"/>
                </a:lnTo>
                <a:lnTo>
                  <a:pt x="292" y="822"/>
                </a:lnTo>
                <a:lnTo>
                  <a:pt x="302" y="840"/>
                </a:lnTo>
                <a:lnTo>
                  <a:pt x="312" y="857"/>
                </a:lnTo>
                <a:lnTo>
                  <a:pt x="323" y="874"/>
                </a:lnTo>
                <a:lnTo>
                  <a:pt x="334" y="889"/>
                </a:lnTo>
                <a:lnTo>
                  <a:pt x="346" y="904"/>
                </a:lnTo>
                <a:lnTo>
                  <a:pt x="360" y="919"/>
                </a:lnTo>
                <a:lnTo>
                  <a:pt x="373" y="932"/>
                </a:lnTo>
                <a:lnTo>
                  <a:pt x="387" y="945"/>
                </a:lnTo>
                <a:lnTo>
                  <a:pt x="403" y="957"/>
                </a:lnTo>
                <a:lnTo>
                  <a:pt x="419" y="968"/>
                </a:lnTo>
                <a:lnTo>
                  <a:pt x="435" y="977"/>
                </a:lnTo>
                <a:lnTo>
                  <a:pt x="453" y="986"/>
                </a:lnTo>
                <a:lnTo>
                  <a:pt x="471" y="993"/>
                </a:lnTo>
                <a:lnTo>
                  <a:pt x="490" y="1000"/>
                </a:lnTo>
                <a:lnTo>
                  <a:pt x="510" y="1005"/>
                </a:lnTo>
                <a:lnTo>
                  <a:pt x="531" y="1008"/>
                </a:lnTo>
                <a:lnTo>
                  <a:pt x="553" y="1010"/>
                </a:lnTo>
                <a:lnTo>
                  <a:pt x="575" y="1011"/>
                </a:lnTo>
                <a:lnTo>
                  <a:pt x="575" y="1011"/>
                </a:lnTo>
                <a:lnTo>
                  <a:pt x="598" y="1010"/>
                </a:lnTo>
                <a:lnTo>
                  <a:pt x="619" y="1008"/>
                </a:lnTo>
                <a:lnTo>
                  <a:pt x="640" y="1005"/>
                </a:lnTo>
                <a:lnTo>
                  <a:pt x="660" y="1000"/>
                </a:lnTo>
                <a:lnTo>
                  <a:pt x="679" y="993"/>
                </a:lnTo>
                <a:lnTo>
                  <a:pt x="697" y="986"/>
                </a:lnTo>
                <a:lnTo>
                  <a:pt x="715" y="977"/>
                </a:lnTo>
                <a:lnTo>
                  <a:pt x="732" y="968"/>
                </a:lnTo>
                <a:lnTo>
                  <a:pt x="747" y="957"/>
                </a:lnTo>
                <a:lnTo>
                  <a:pt x="762" y="945"/>
                </a:lnTo>
                <a:lnTo>
                  <a:pt x="777" y="932"/>
                </a:lnTo>
                <a:lnTo>
                  <a:pt x="791" y="919"/>
                </a:lnTo>
                <a:lnTo>
                  <a:pt x="803" y="904"/>
                </a:lnTo>
                <a:lnTo>
                  <a:pt x="816" y="889"/>
                </a:lnTo>
                <a:lnTo>
                  <a:pt x="828" y="874"/>
                </a:lnTo>
                <a:lnTo>
                  <a:pt x="838" y="857"/>
                </a:lnTo>
                <a:lnTo>
                  <a:pt x="848" y="840"/>
                </a:lnTo>
                <a:lnTo>
                  <a:pt x="858" y="822"/>
                </a:lnTo>
                <a:lnTo>
                  <a:pt x="867" y="804"/>
                </a:lnTo>
                <a:lnTo>
                  <a:pt x="874" y="785"/>
                </a:lnTo>
                <a:lnTo>
                  <a:pt x="881" y="766"/>
                </a:lnTo>
                <a:lnTo>
                  <a:pt x="888" y="747"/>
                </a:lnTo>
                <a:lnTo>
                  <a:pt x="894" y="728"/>
                </a:lnTo>
                <a:lnTo>
                  <a:pt x="899" y="707"/>
                </a:lnTo>
                <a:lnTo>
                  <a:pt x="904" y="687"/>
                </a:lnTo>
                <a:lnTo>
                  <a:pt x="908" y="667"/>
                </a:lnTo>
                <a:lnTo>
                  <a:pt x="911" y="647"/>
                </a:lnTo>
                <a:lnTo>
                  <a:pt x="914" y="626"/>
                </a:lnTo>
                <a:lnTo>
                  <a:pt x="918" y="587"/>
                </a:lnTo>
                <a:lnTo>
                  <a:pt x="919" y="547"/>
                </a:lnTo>
                <a:lnTo>
                  <a:pt x="919" y="547"/>
                </a:lnTo>
                <a:lnTo>
                  <a:pt x="918" y="507"/>
                </a:lnTo>
                <a:lnTo>
                  <a:pt x="914" y="467"/>
                </a:lnTo>
                <a:lnTo>
                  <a:pt x="911" y="446"/>
                </a:lnTo>
                <a:lnTo>
                  <a:pt x="908" y="426"/>
                </a:lnTo>
                <a:lnTo>
                  <a:pt x="904" y="407"/>
                </a:lnTo>
                <a:lnTo>
                  <a:pt x="899" y="386"/>
                </a:lnTo>
                <a:lnTo>
                  <a:pt x="894" y="367"/>
                </a:lnTo>
                <a:lnTo>
                  <a:pt x="888" y="346"/>
                </a:lnTo>
                <a:lnTo>
                  <a:pt x="881" y="327"/>
                </a:lnTo>
                <a:lnTo>
                  <a:pt x="874" y="308"/>
                </a:lnTo>
                <a:lnTo>
                  <a:pt x="867" y="290"/>
                </a:lnTo>
                <a:lnTo>
                  <a:pt x="858" y="272"/>
                </a:lnTo>
                <a:lnTo>
                  <a:pt x="848" y="253"/>
                </a:lnTo>
                <a:lnTo>
                  <a:pt x="838" y="237"/>
                </a:lnTo>
                <a:lnTo>
                  <a:pt x="828" y="219"/>
                </a:lnTo>
                <a:lnTo>
                  <a:pt x="816" y="204"/>
                </a:lnTo>
                <a:lnTo>
                  <a:pt x="803" y="189"/>
                </a:lnTo>
                <a:lnTo>
                  <a:pt x="791" y="174"/>
                </a:lnTo>
                <a:lnTo>
                  <a:pt x="777" y="161"/>
                </a:lnTo>
                <a:lnTo>
                  <a:pt x="762" y="148"/>
                </a:lnTo>
                <a:lnTo>
                  <a:pt x="747" y="137"/>
                </a:lnTo>
                <a:lnTo>
                  <a:pt x="732" y="125"/>
                </a:lnTo>
                <a:lnTo>
                  <a:pt x="715" y="116"/>
                </a:lnTo>
                <a:lnTo>
                  <a:pt x="697" y="108"/>
                </a:lnTo>
                <a:lnTo>
                  <a:pt x="679" y="100"/>
                </a:lnTo>
                <a:lnTo>
                  <a:pt x="660" y="94"/>
                </a:lnTo>
                <a:lnTo>
                  <a:pt x="640" y="90"/>
                </a:lnTo>
                <a:lnTo>
                  <a:pt x="619" y="86"/>
                </a:lnTo>
                <a:lnTo>
                  <a:pt x="598" y="83"/>
                </a:lnTo>
                <a:lnTo>
                  <a:pt x="575" y="82"/>
                </a:lnTo>
                <a:lnTo>
                  <a:pt x="575" y="82"/>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68" name="Freeform 19">
            <a:extLst>
              <a:ext uri="{FF2B5EF4-FFF2-40B4-BE49-F238E27FC236}">
                <a16:creationId xmlns:a16="http://schemas.microsoft.com/office/drawing/2014/main" id="{54877859-8FA6-8348-BA35-6A9AE7383771}"/>
              </a:ext>
            </a:extLst>
          </p:cNvPr>
          <p:cNvSpPr>
            <a:spLocks/>
          </p:cNvSpPr>
          <p:nvPr userDrawn="1"/>
        </p:nvSpPr>
        <p:spPr bwMode="auto">
          <a:xfrm>
            <a:off x="1552576" y="1154113"/>
            <a:ext cx="90488" cy="144463"/>
          </a:xfrm>
          <a:custGeom>
            <a:avLst/>
            <a:gdLst>
              <a:gd name="T0" fmla="*/ 38 w 683"/>
              <a:gd name="T1" fmla="*/ 752 h 1102"/>
              <a:gd name="T2" fmla="*/ 64 w 683"/>
              <a:gd name="T3" fmla="*/ 849 h 1102"/>
              <a:gd name="T4" fmla="*/ 104 w 683"/>
              <a:gd name="T5" fmla="*/ 921 h 1102"/>
              <a:gd name="T6" fmla="*/ 171 w 683"/>
              <a:gd name="T7" fmla="*/ 985 h 1102"/>
              <a:gd name="T8" fmla="*/ 273 w 683"/>
              <a:gd name="T9" fmla="*/ 1026 h 1102"/>
              <a:gd name="T10" fmla="*/ 377 w 683"/>
              <a:gd name="T11" fmla="*/ 1032 h 1102"/>
              <a:gd name="T12" fmla="*/ 476 w 683"/>
              <a:gd name="T13" fmla="*/ 1002 h 1102"/>
              <a:gd name="T14" fmla="*/ 544 w 683"/>
              <a:gd name="T15" fmla="*/ 937 h 1102"/>
              <a:gd name="T16" fmla="*/ 570 w 683"/>
              <a:gd name="T17" fmla="*/ 844 h 1102"/>
              <a:gd name="T18" fmla="*/ 556 w 683"/>
              <a:gd name="T19" fmla="*/ 787 h 1102"/>
              <a:gd name="T20" fmla="*/ 501 w 683"/>
              <a:gd name="T21" fmla="*/ 720 h 1102"/>
              <a:gd name="T22" fmla="*/ 413 w 683"/>
              <a:gd name="T23" fmla="*/ 659 h 1102"/>
              <a:gd name="T24" fmla="*/ 168 w 683"/>
              <a:gd name="T25" fmla="*/ 529 h 1102"/>
              <a:gd name="T26" fmla="*/ 86 w 683"/>
              <a:gd name="T27" fmla="*/ 455 h 1102"/>
              <a:gd name="T28" fmla="*/ 30 w 683"/>
              <a:gd name="T29" fmla="*/ 358 h 1102"/>
              <a:gd name="T30" fmla="*/ 14 w 683"/>
              <a:gd name="T31" fmla="*/ 265 h 1102"/>
              <a:gd name="T32" fmla="*/ 23 w 683"/>
              <a:gd name="T33" fmla="*/ 201 h 1102"/>
              <a:gd name="T34" fmla="*/ 46 w 683"/>
              <a:gd name="T35" fmla="*/ 142 h 1102"/>
              <a:gd name="T36" fmla="*/ 85 w 683"/>
              <a:gd name="T37" fmla="*/ 92 h 1102"/>
              <a:gd name="T38" fmla="*/ 136 w 683"/>
              <a:gd name="T39" fmla="*/ 52 h 1102"/>
              <a:gd name="T40" fmla="*/ 199 w 683"/>
              <a:gd name="T41" fmla="*/ 24 h 1102"/>
              <a:gd name="T42" fmla="*/ 269 w 683"/>
              <a:gd name="T43" fmla="*/ 9 h 1102"/>
              <a:gd name="T44" fmla="*/ 337 w 683"/>
              <a:gd name="T45" fmla="*/ 10 h 1102"/>
              <a:gd name="T46" fmla="*/ 411 w 683"/>
              <a:gd name="T47" fmla="*/ 25 h 1102"/>
              <a:gd name="T48" fmla="*/ 511 w 683"/>
              <a:gd name="T49" fmla="*/ 79 h 1102"/>
              <a:gd name="T50" fmla="*/ 540 w 683"/>
              <a:gd name="T51" fmla="*/ 46 h 1102"/>
              <a:gd name="T52" fmla="*/ 595 w 683"/>
              <a:gd name="T53" fmla="*/ 0 h 1102"/>
              <a:gd name="T54" fmla="*/ 553 w 683"/>
              <a:gd name="T55" fmla="*/ 326 h 1102"/>
              <a:gd name="T56" fmla="*/ 512 w 683"/>
              <a:gd name="T57" fmla="*/ 200 h 1102"/>
              <a:gd name="T58" fmla="*/ 473 w 683"/>
              <a:gd name="T59" fmla="*/ 145 h 1102"/>
              <a:gd name="T60" fmla="*/ 420 w 683"/>
              <a:gd name="T61" fmla="*/ 106 h 1102"/>
              <a:gd name="T62" fmla="*/ 348 w 683"/>
              <a:gd name="T63" fmla="*/ 82 h 1102"/>
              <a:gd name="T64" fmla="*/ 277 w 683"/>
              <a:gd name="T65" fmla="*/ 78 h 1102"/>
              <a:gd name="T66" fmla="*/ 200 w 683"/>
              <a:gd name="T67" fmla="*/ 104 h 1102"/>
              <a:gd name="T68" fmla="*/ 148 w 683"/>
              <a:gd name="T69" fmla="*/ 158 h 1102"/>
              <a:gd name="T70" fmla="*/ 128 w 683"/>
              <a:gd name="T71" fmla="*/ 231 h 1102"/>
              <a:gd name="T72" fmla="*/ 139 w 683"/>
              <a:gd name="T73" fmla="*/ 292 h 1102"/>
              <a:gd name="T74" fmla="*/ 191 w 683"/>
              <a:gd name="T75" fmla="*/ 355 h 1102"/>
              <a:gd name="T76" fmla="*/ 287 w 683"/>
              <a:gd name="T77" fmla="*/ 417 h 1102"/>
              <a:gd name="T78" fmla="*/ 548 w 683"/>
              <a:gd name="T79" fmla="*/ 556 h 1102"/>
              <a:gd name="T80" fmla="*/ 631 w 683"/>
              <a:gd name="T81" fmla="*/ 633 h 1102"/>
              <a:gd name="T82" fmla="*/ 674 w 683"/>
              <a:gd name="T83" fmla="*/ 720 h 1102"/>
              <a:gd name="T84" fmla="*/ 683 w 683"/>
              <a:gd name="T85" fmla="*/ 792 h 1102"/>
              <a:gd name="T86" fmla="*/ 673 w 683"/>
              <a:gd name="T87" fmla="*/ 874 h 1102"/>
              <a:gd name="T88" fmla="*/ 643 w 683"/>
              <a:gd name="T89" fmla="*/ 947 h 1102"/>
              <a:gd name="T90" fmla="*/ 597 w 683"/>
              <a:gd name="T91" fmla="*/ 1007 h 1102"/>
              <a:gd name="T92" fmla="*/ 536 w 683"/>
              <a:gd name="T93" fmla="*/ 1053 h 1102"/>
              <a:gd name="T94" fmla="*/ 466 w 683"/>
              <a:gd name="T95" fmla="*/ 1085 h 1102"/>
              <a:gd name="T96" fmla="*/ 387 w 683"/>
              <a:gd name="T97" fmla="*/ 1100 h 1102"/>
              <a:gd name="T98" fmla="*/ 307 w 683"/>
              <a:gd name="T99" fmla="*/ 1099 h 1102"/>
              <a:gd name="T100" fmla="*/ 208 w 683"/>
              <a:gd name="T101" fmla="*/ 1073 h 1102"/>
              <a:gd name="T102" fmla="*/ 95 w 683"/>
              <a:gd name="T103" fmla="*/ 1024 h 1102"/>
              <a:gd name="T104" fmla="*/ 62 w 683"/>
              <a:gd name="T105" fmla="*/ 1044 h 1102"/>
              <a:gd name="T106" fmla="*/ 35 w 683"/>
              <a:gd name="T107" fmla="*/ 1102 h 1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83" h="1102">
                <a:moveTo>
                  <a:pt x="0" y="723"/>
                </a:moveTo>
                <a:lnTo>
                  <a:pt x="36" y="723"/>
                </a:lnTo>
                <a:lnTo>
                  <a:pt x="36" y="723"/>
                </a:lnTo>
                <a:lnTo>
                  <a:pt x="37" y="736"/>
                </a:lnTo>
                <a:lnTo>
                  <a:pt x="38" y="752"/>
                </a:lnTo>
                <a:lnTo>
                  <a:pt x="41" y="771"/>
                </a:lnTo>
                <a:lnTo>
                  <a:pt x="46" y="795"/>
                </a:lnTo>
                <a:lnTo>
                  <a:pt x="54" y="821"/>
                </a:lnTo>
                <a:lnTo>
                  <a:pt x="59" y="835"/>
                </a:lnTo>
                <a:lnTo>
                  <a:pt x="64" y="849"/>
                </a:lnTo>
                <a:lnTo>
                  <a:pt x="70" y="863"/>
                </a:lnTo>
                <a:lnTo>
                  <a:pt x="77" y="878"/>
                </a:lnTo>
                <a:lnTo>
                  <a:pt x="84" y="893"/>
                </a:lnTo>
                <a:lnTo>
                  <a:pt x="93" y="907"/>
                </a:lnTo>
                <a:lnTo>
                  <a:pt x="104" y="921"/>
                </a:lnTo>
                <a:lnTo>
                  <a:pt x="115" y="935"/>
                </a:lnTo>
                <a:lnTo>
                  <a:pt x="127" y="948"/>
                </a:lnTo>
                <a:lnTo>
                  <a:pt x="140" y="961"/>
                </a:lnTo>
                <a:lnTo>
                  <a:pt x="155" y="974"/>
                </a:lnTo>
                <a:lnTo>
                  <a:pt x="171" y="985"/>
                </a:lnTo>
                <a:lnTo>
                  <a:pt x="189" y="995"/>
                </a:lnTo>
                <a:lnTo>
                  <a:pt x="207" y="1004"/>
                </a:lnTo>
                <a:lnTo>
                  <a:pt x="227" y="1012"/>
                </a:lnTo>
                <a:lnTo>
                  <a:pt x="250" y="1020"/>
                </a:lnTo>
                <a:lnTo>
                  <a:pt x="273" y="1026"/>
                </a:lnTo>
                <a:lnTo>
                  <a:pt x="298" y="1030"/>
                </a:lnTo>
                <a:lnTo>
                  <a:pt x="326" y="1032"/>
                </a:lnTo>
                <a:lnTo>
                  <a:pt x="354" y="1033"/>
                </a:lnTo>
                <a:lnTo>
                  <a:pt x="354" y="1033"/>
                </a:lnTo>
                <a:lnTo>
                  <a:pt x="377" y="1032"/>
                </a:lnTo>
                <a:lnTo>
                  <a:pt x="398" y="1030"/>
                </a:lnTo>
                <a:lnTo>
                  <a:pt x="420" y="1025"/>
                </a:lnTo>
                <a:lnTo>
                  <a:pt x="439" y="1019"/>
                </a:lnTo>
                <a:lnTo>
                  <a:pt x="458" y="1011"/>
                </a:lnTo>
                <a:lnTo>
                  <a:pt x="476" y="1002"/>
                </a:lnTo>
                <a:lnTo>
                  <a:pt x="492" y="992"/>
                </a:lnTo>
                <a:lnTo>
                  <a:pt x="508" y="980"/>
                </a:lnTo>
                <a:lnTo>
                  <a:pt x="522" y="966"/>
                </a:lnTo>
                <a:lnTo>
                  <a:pt x="533" y="952"/>
                </a:lnTo>
                <a:lnTo>
                  <a:pt x="544" y="937"/>
                </a:lnTo>
                <a:lnTo>
                  <a:pt x="553" y="919"/>
                </a:lnTo>
                <a:lnTo>
                  <a:pt x="560" y="902"/>
                </a:lnTo>
                <a:lnTo>
                  <a:pt x="565" y="884"/>
                </a:lnTo>
                <a:lnTo>
                  <a:pt x="569" y="864"/>
                </a:lnTo>
                <a:lnTo>
                  <a:pt x="570" y="844"/>
                </a:lnTo>
                <a:lnTo>
                  <a:pt x="570" y="844"/>
                </a:lnTo>
                <a:lnTo>
                  <a:pt x="569" y="828"/>
                </a:lnTo>
                <a:lnTo>
                  <a:pt x="566" y="814"/>
                </a:lnTo>
                <a:lnTo>
                  <a:pt x="562" y="800"/>
                </a:lnTo>
                <a:lnTo>
                  <a:pt x="556" y="787"/>
                </a:lnTo>
                <a:lnTo>
                  <a:pt x="547" y="772"/>
                </a:lnTo>
                <a:lnTo>
                  <a:pt x="538" y="759"/>
                </a:lnTo>
                <a:lnTo>
                  <a:pt x="527" y="746"/>
                </a:lnTo>
                <a:lnTo>
                  <a:pt x="515" y="732"/>
                </a:lnTo>
                <a:lnTo>
                  <a:pt x="501" y="720"/>
                </a:lnTo>
                <a:lnTo>
                  <a:pt x="486" y="707"/>
                </a:lnTo>
                <a:lnTo>
                  <a:pt x="470" y="695"/>
                </a:lnTo>
                <a:lnTo>
                  <a:pt x="452" y="682"/>
                </a:lnTo>
                <a:lnTo>
                  <a:pt x="434" y="670"/>
                </a:lnTo>
                <a:lnTo>
                  <a:pt x="413" y="659"/>
                </a:lnTo>
                <a:lnTo>
                  <a:pt x="372" y="634"/>
                </a:lnTo>
                <a:lnTo>
                  <a:pt x="206" y="550"/>
                </a:lnTo>
                <a:lnTo>
                  <a:pt x="206" y="550"/>
                </a:lnTo>
                <a:lnTo>
                  <a:pt x="186" y="540"/>
                </a:lnTo>
                <a:lnTo>
                  <a:pt x="168" y="529"/>
                </a:lnTo>
                <a:lnTo>
                  <a:pt x="151" y="516"/>
                </a:lnTo>
                <a:lnTo>
                  <a:pt x="133" y="502"/>
                </a:lnTo>
                <a:lnTo>
                  <a:pt x="117" y="488"/>
                </a:lnTo>
                <a:lnTo>
                  <a:pt x="101" y="472"/>
                </a:lnTo>
                <a:lnTo>
                  <a:pt x="86" y="455"/>
                </a:lnTo>
                <a:lnTo>
                  <a:pt x="72" y="438"/>
                </a:lnTo>
                <a:lnTo>
                  <a:pt x="60" y="419"/>
                </a:lnTo>
                <a:lnTo>
                  <a:pt x="48" y="400"/>
                </a:lnTo>
                <a:lnTo>
                  <a:pt x="38" y="380"/>
                </a:lnTo>
                <a:lnTo>
                  <a:pt x="30" y="358"/>
                </a:lnTo>
                <a:lnTo>
                  <a:pt x="23" y="336"/>
                </a:lnTo>
                <a:lnTo>
                  <a:pt x="18" y="313"/>
                </a:lnTo>
                <a:lnTo>
                  <a:pt x="15" y="290"/>
                </a:lnTo>
                <a:lnTo>
                  <a:pt x="14" y="265"/>
                </a:lnTo>
                <a:lnTo>
                  <a:pt x="14" y="265"/>
                </a:lnTo>
                <a:lnTo>
                  <a:pt x="15" y="252"/>
                </a:lnTo>
                <a:lnTo>
                  <a:pt x="16" y="240"/>
                </a:lnTo>
                <a:lnTo>
                  <a:pt x="17" y="226"/>
                </a:lnTo>
                <a:lnTo>
                  <a:pt x="20" y="213"/>
                </a:lnTo>
                <a:lnTo>
                  <a:pt x="23" y="201"/>
                </a:lnTo>
                <a:lnTo>
                  <a:pt x="26" y="188"/>
                </a:lnTo>
                <a:lnTo>
                  <a:pt x="30" y="177"/>
                </a:lnTo>
                <a:lnTo>
                  <a:pt x="35" y="165"/>
                </a:lnTo>
                <a:lnTo>
                  <a:pt x="40" y="154"/>
                </a:lnTo>
                <a:lnTo>
                  <a:pt x="46" y="142"/>
                </a:lnTo>
                <a:lnTo>
                  <a:pt x="54" y="132"/>
                </a:lnTo>
                <a:lnTo>
                  <a:pt x="61" y="121"/>
                </a:lnTo>
                <a:lnTo>
                  <a:pt x="68" y="112"/>
                </a:lnTo>
                <a:lnTo>
                  <a:pt x="76" y="101"/>
                </a:lnTo>
                <a:lnTo>
                  <a:pt x="85" y="92"/>
                </a:lnTo>
                <a:lnTo>
                  <a:pt x="94" y="83"/>
                </a:lnTo>
                <a:lnTo>
                  <a:pt x="105" y="75"/>
                </a:lnTo>
                <a:lnTo>
                  <a:pt x="115" y="67"/>
                </a:lnTo>
                <a:lnTo>
                  <a:pt x="125" y="60"/>
                </a:lnTo>
                <a:lnTo>
                  <a:pt x="136" y="52"/>
                </a:lnTo>
                <a:lnTo>
                  <a:pt x="148" y="45"/>
                </a:lnTo>
                <a:lnTo>
                  <a:pt x="160" y="39"/>
                </a:lnTo>
                <a:lnTo>
                  <a:pt x="172" y="34"/>
                </a:lnTo>
                <a:lnTo>
                  <a:pt x="185" y="29"/>
                </a:lnTo>
                <a:lnTo>
                  <a:pt x="199" y="24"/>
                </a:lnTo>
                <a:lnTo>
                  <a:pt x="212" y="20"/>
                </a:lnTo>
                <a:lnTo>
                  <a:pt x="225" y="17"/>
                </a:lnTo>
                <a:lnTo>
                  <a:pt x="240" y="14"/>
                </a:lnTo>
                <a:lnTo>
                  <a:pt x="255" y="12"/>
                </a:lnTo>
                <a:lnTo>
                  <a:pt x="269" y="9"/>
                </a:lnTo>
                <a:lnTo>
                  <a:pt x="285" y="8"/>
                </a:lnTo>
                <a:lnTo>
                  <a:pt x="300" y="8"/>
                </a:lnTo>
                <a:lnTo>
                  <a:pt x="300" y="8"/>
                </a:lnTo>
                <a:lnTo>
                  <a:pt x="319" y="8"/>
                </a:lnTo>
                <a:lnTo>
                  <a:pt x="337" y="10"/>
                </a:lnTo>
                <a:lnTo>
                  <a:pt x="353" y="12"/>
                </a:lnTo>
                <a:lnTo>
                  <a:pt x="368" y="15"/>
                </a:lnTo>
                <a:lnTo>
                  <a:pt x="384" y="18"/>
                </a:lnTo>
                <a:lnTo>
                  <a:pt x="398" y="21"/>
                </a:lnTo>
                <a:lnTo>
                  <a:pt x="411" y="25"/>
                </a:lnTo>
                <a:lnTo>
                  <a:pt x="425" y="30"/>
                </a:lnTo>
                <a:lnTo>
                  <a:pt x="448" y="40"/>
                </a:lnTo>
                <a:lnTo>
                  <a:pt x="471" y="52"/>
                </a:lnTo>
                <a:lnTo>
                  <a:pt x="491" y="66"/>
                </a:lnTo>
                <a:lnTo>
                  <a:pt x="511" y="79"/>
                </a:lnTo>
                <a:lnTo>
                  <a:pt x="511" y="79"/>
                </a:lnTo>
                <a:lnTo>
                  <a:pt x="519" y="73"/>
                </a:lnTo>
                <a:lnTo>
                  <a:pt x="526" y="65"/>
                </a:lnTo>
                <a:lnTo>
                  <a:pt x="533" y="57"/>
                </a:lnTo>
                <a:lnTo>
                  <a:pt x="540" y="46"/>
                </a:lnTo>
                <a:lnTo>
                  <a:pt x="546" y="36"/>
                </a:lnTo>
                <a:lnTo>
                  <a:pt x="553" y="25"/>
                </a:lnTo>
                <a:lnTo>
                  <a:pt x="557" y="13"/>
                </a:lnTo>
                <a:lnTo>
                  <a:pt x="561" y="0"/>
                </a:lnTo>
                <a:lnTo>
                  <a:pt x="595" y="0"/>
                </a:lnTo>
                <a:lnTo>
                  <a:pt x="595" y="380"/>
                </a:lnTo>
                <a:lnTo>
                  <a:pt x="559" y="380"/>
                </a:lnTo>
                <a:lnTo>
                  <a:pt x="559" y="380"/>
                </a:lnTo>
                <a:lnTo>
                  <a:pt x="557" y="353"/>
                </a:lnTo>
                <a:lnTo>
                  <a:pt x="553" y="326"/>
                </a:lnTo>
                <a:lnTo>
                  <a:pt x="547" y="300"/>
                </a:lnTo>
                <a:lnTo>
                  <a:pt x="541" y="274"/>
                </a:lnTo>
                <a:lnTo>
                  <a:pt x="533" y="249"/>
                </a:lnTo>
                <a:lnTo>
                  <a:pt x="523" y="223"/>
                </a:lnTo>
                <a:lnTo>
                  <a:pt x="512" y="200"/>
                </a:lnTo>
                <a:lnTo>
                  <a:pt x="504" y="187"/>
                </a:lnTo>
                <a:lnTo>
                  <a:pt x="497" y="177"/>
                </a:lnTo>
                <a:lnTo>
                  <a:pt x="490" y="166"/>
                </a:lnTo>
                <a:lnTo>
                  <a:pt x="482" y="156"/>
                </a:lnTo>
                <a:lnTo>
                  <a:pt x="473" y="145"/>
                </a:lnTo>
                <a:lnTo>
                  <a:pt x="464" y="136"/>
                </a:lnTo>
                <a:lnTo>
                  <a:pt x="453" y="128"/>
                </a:lnTo>
                <a:lnTo>
                  <a:pt x="443" y="120"/>
                </a:lnTo>
                <a:lnTo>
                  <a:pt x="431" y="112"/>
                </a:lnTo>
                <a:lnTo>
                  <a:pt x="420" y="106"/>
                </a:lnTo>
                <a:lnTo>
                  <a:pt x="406" y="99"/>
                </a:lnTo>
                <a:lnTo>
                  <a:pt x="393" y="93"/>
                </a:lnTo>
                <a:lnTo>
                  <a:pt x="379" y="89"/>
                </a:lnTo>
                <a:lnTo>
                  <a:pt x="363" y="85"/>
                </a:lnTo>
                <a:lnTo>
                  <a:pt x="348" y="82"/>
                </a:lnTo>
                <a:lnTo>
                  <a:pt x="331" y="79"/>
                </a:lnTo>
                <a:lnTo>
                  <a:pt x="313" y="78"/>
                </a:lnTo>
                <a:lnTo>
                  <a:pt x="295" y="78"/>
                </a:lnTo>
                <a:lnTo>
                  <a:pt x="295" y="78"/>
                </a:lnTo>
                <a:lnTo>
                  <a:pt x="277" y="78"/>
                </a:lnTo>
                <a:lnTo>
                  <a:pt x="260" y="81"/>
                </a:lnTo>
                <a:lnTo>
                  <a:pt x="244" y="84"/>
                </a:lnTo>
                <a:lnTo>
                  <a:pt x="228" y="89"/>
                </a:lnTo>
                <a:lnTo>
                  <a:pt x="214" y="95"/>
                </a:lnTo>
                <a:lnTo>
                  <a:pt x="200" y="104"/>
                </a:lnTo>
                <a:lnTo>
                  <a:pt x="188" y="112"/>
                </a:lnTo>
                <a:lnTo>
                  <a:pt x="175" y="122"/>
                </a:lnTo>
                <a:lnTo>
                  <a:pt x="165" y="133"/>
                </a:lnTo>
                <a:lnTo>
                  <a:pt x="156" y="144"/>
                </a:lnTo>
                <a:lnTo>
                  <a:pt x="148" y="158"/>
                </a:lnTo>
                <a:lnTo>
                  <a:pt x="140" y="171"/>
                </a:lnTo>
                <a:lnTo>
                  <a:pt x="135" y="185"/>
                </a:lnTo>
                <a:lnTo>
                  <a:pt x="131" y="200"/>
                </a:lnTo>
                <a:lnTo>
                  <a:pt x="128" y="215"/>
                </a:lnTo>
                <a:lnTo>
                  <a:pt x="128" y="231"/>
                </a:lnTo>
                <a:lnTo>
                  <a:pt x="128" y="231"/>
                </a:lnTo>
                <a:lnTo>
                  <a:pt x="128" y="248"/>
                </a:lnTo>
                <a:lnTo>
                  <a:pt x="131" y="263"/>
                </a:lnTo>
                <a:lnTo>
                  <a:pt x="134" y="277"/>
                </a:lnTo>
                <a:lnTo>
                  <a:pt x="139" y="292"/>
                </a:lnTo>
                <a:lnTo>
                  <a:pt x="147" y="305"/>
                </a:lnTo>
                <a:lnTo>
                  <a:pt x="155" y="317"/>
                </a:lnTo>
                <a:lnTo>
                  <a:pt x="165" y="331"/>
                </a:lnTo>
                <a:lnTo>
                  <a:pt x="177" y="343"/>
                </a:lnTo>
                <a:lnTo>
                  <a:pt x="191" y="355"/>
                </a:lnTo>
                <a:lnTo>
                  <a:pt x="206" y="366"/>
                </a:lnTo>
                <a:lnTo>
                  <a:pt x="223" y="379"/>
                </a:lnTo>
                <a:lnTo>
                  <a:pt x="242" y="392"/>
                </a:lnTo>
                <a:lnTo>
                  <a:pt x="263" y="404"/>
                </a:lnTo>
                <a:lnTo>
                  <a:pt x="287" y="417"/>
                </a:lnTo>
                <a:lnTo>
                  <a:pt x="339" y="445"/>
                </a:lnTo>
                <a:lnTo>
                  <a:pt x="502" y="530"/>
                </a:lnTo>
                <a:lnTo>
                  <a:pt x="502" y="530"/>
                </a:lnTo>
                <a:lnTo>
                  <a:pt x="526" y="542"/>
                </a:lnTo>
                <a:lnTo>
                  <a:pt x="548" y="556"/>
                </a:lnTo>
                <a:lnTo>
                  <a:pt x="568" y="571"/>
                </a:lnTo>
                <a:lnTo>
                  <a:pt x="586" y="585"/>
                </a:lnTo>
                <a:lnTo>
                  <a:pt x="603" y="601"/>
                </a:lnTo>
                <a:lnTo>
                  <a:pt x="618" y="617"/>
                </a:lnTo>
                <a:lnTo>
                  <a:pt x="631" y="633"/>
                </a:lnTo>
                <a:lnTo>
                  <a:pt x="643" y="651"/>
                </a:lnTo>
                <a:lnTo>
                  <a:pt x="653" y="667"/>
                </a:lnTo>
                <a:lnTo>
                  <a:pt x="661" y="684"/>
                </a:lnTo>
                <a:lnTo>
                  <a:pt x="668" y="703"/>
                </a:lnTo>
                <a:lnTo>
                  <a:pt x="674" y="720"/>
                </a:lnTo>
                <a:lnTo>
                  <a:pt x="678" y="738"/>
                </a:lnTo>
                <a:lnTo>
                  <a:pt x="681" y="756"/>
                </a:lnTo>
                <a:lnTo>
                  <a:pt x="682" y="774"/>
                </a:lnTo>
                <a:lnTo>
                  <a:pt x="683" y="792"/>
                </a:lnTo>
                <a:lnTo>
                  <a:pt x="683" y="792"/>
                </a:lnTo>
                <a:lnTo>
                  <a:pt x="683" y="809"/>
                </a:lnTo>
                <a:lnTo>
                  <a:pt x="681" y="826"/>
                </a:lnTo>
                <a:lnTo>
                  <a:pt x="679" y="843"/>
                </a:lnTo>
                <a:lnTo>
                  <a:pt x="676" y="859"/>
                </a:lnTo>
                <a:lnTo>
                  <a:pt x="673" y="874"/>
                </a:lnTo>
                <a:lnTo>
                  <a:pt x="668" y="890"/>
                </a:lnTo>
                <a:lnTo>
                  <a:pt x="663" y="905"/>
                </a:lnTo>
                <a:lnTo>
                  <a:pt x="657" y="919"/>
                </a:lnTo>
                <a:lnTo>
                  <a:pt x="650" y="934"/>
                </a:lnTo>
                <a:lnTo>
                  <a:pt x="643" y="947"/>
                </a:lnTo>
                <a:lnTo>
                  <a:pt x="634" y="960"/>
                </a:lnTo>
                <a:lnTo>
                  <a:pt x="626" y="973"/>
                </a:lnTo>
                <a:lnTo>
                  <a:pt x="617" y="985"/>
                </a:lnTo>
                <a:lnTo>
                  <a:pt x="607" y="996"/>
                </a:lnTo>
                <a:lnTo>
                  <a:pt x="597" y="1007"/>
                </a:lnTo>
                <a:lnTo>
                  <a:pt x="585" y="1018"/>
                </a:lnTo>
                <a:lnTo>
                  <a:pt x="574" y="1028"/>
                </a:lnTo>
                <a:lnTo>
                  <a:pt x="562" y="1037"/>
                </a:lnTo>
                <a:lnTo>
                  <a:pt x="549" y="1045"/>
                </a:lnTo>
                <a:lnTo>
                  <a:pt x="536" y="1053"/>
                </a:lnTo>
                <a:lnTo>
                  <a:pt x="523" y="1062"/>
                </a:lnTo>
                <a:lnTo>
                  <a:pt x="509" y="1068"/>
                </a:lnTo>
                <a:lnTo>
                  <a:pt x="495" y="1075"/>
                </a:lnTo>
                <a:lnTo>
                  <a:pt x="480" y="1080"/>
                </a:lnTo>
                <a:lnTo>
                  <a:pt x="466" y="1085"/>
                </a:lnTo>
                <a:lnTo>
                  <a:pt x="450" y="1089"/>
                </a:lnTo>
                <a:lnTo>
                  <a:pt x="435" y="1093"/>
                </a:lnTo>
                <a:lnTo>
                  <a:pt x="419" y="1096"/>
                </a:lnTo>
                <a:lnTo>
                  <a:pt x="403" y="1099"/>
                </a:lnTo>
                <a:lnTo>
                  <a:pt x="387" y="1100"/>
                </a:lnTo>
                <a:lnTo>
                  <a:pt x="371" y="1101"/>
                </a:lnTo>
                <a:lnTo>
                  <a:pt x="354" y="1102"/>
                </a:lnTo>
                <a:lnTo>
                  <a:pt x="354" y="1102"/>
                </a:lnTo>
                <a:lnTo>
                  <a:pt x="330" y="1101"/>
                </a:lnTo>
                <a:lnTo>
                  <a:pt x="307" y="1099"/>
                </a:lnTo>
                <a:lnTo>
                  <a:pt x="285" y="1095"/>
                </a:lnTo>
                <a:lnTo>
                  <a:pt x="264" y="1091"/>
                </a:lnTo>
                <a:lnTo>
                  <a:pt x="245" y="1086"/>
                </a:lnTo>
                <a:lnTo>
                  <a:pt x="225" y="1080"/>
                </a:lnTo>
                <a:lnTo>
                  <a:pt x="208" y="1073"/>
                </a:lnTo>
                <a:lnTo>
                  <a:pt x="191" y="1067"/>
                </a:lnTo>
                <a:lnTo>
                  <a:pt x="160" y="1052"/>
                </a:lnTo>
                <a:lnTo>
                  <a:pt x="131" y="1039"/>
                </a:lnTo>
                <a:lnTo>
                  <a:pt x="107" y="1028"/>
                </a:lnTo>
                <a:lnTo>
                  <a:pt x="95" y="1024"/>
                </a:lnTo>
                <a:lnTo>
                  <a:pt x="85" y="1021"/>
                </a:lnTo>
                <a:lnTo>
                  <a:pt x="85" y="1021"/>
                </a:lnTo>
                <a:lnTo>
                  <a:pt x="77" y="1028"/>
                </a:lnTo>
                <a:lnTo>
                  <a:pt x="70" y="1036"/>
                </a:lnTo>
                <a:lnTo>
                  <a:pt x="62" y="1044"/>
                </a:lnTo>
                <a:lnTo>
                  <a:pt x="56" y="1053"/>
                </a:lnTo>
                <a:lnTo>
                  <a:pt x="48" y="1065"/>
                </a:lnTo>
                <a:lnTo>
                  <a:pt x="43" y="1076"/>
                </a:lnTo>
                <a:lnTo>
                  <a:pt x="38" y="1088"/>
                </a:lnTo>
                <a:lnTo>
                  <a:pt x="35" y="1102"/>
                </a:lnTo>
                <a:lnTo>
                  <a:pt x="0" y="1102"/>
                </a:lnTo>
                <a:lnTo>
                  <a:pt x="0" y="723"/>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69" name="Freeform 20">
            <a:extLst>
              <a:ext uri="{FF2B5EF4-FFF2-40B4-BE49-F238E27FC236}">
                <a16:creationId xmlns:a16="http://schemas.microsoft.com/office/drawing/2014/main" id="{A84706CA-E44B-774B-BAA9-508708757137}"/>
              </a:ext>
            </a:extLst>
          </p:cNvPr>
          <p:cNvSpPr>
            <a:spLocks/>
          </p:cNvSpPr>
          <p:nvPr userDrawn="1"/>
        </p:nvSpPr>
        <p:spPr bwMode="auto">
          <a:xfrm>
            <a:off x="1671638" y="1158876"/>
            <a:ext cx="141288" cy="136525"/>
          </a:xfrm>
          <a:custGeom>
            <a:avLst/>
            <a:gdLst>
              <a:gd name="T0" fmla="*/ 304 w 1077"/>
              <a:gd name="T1" fmla="*/ 999 h 1035"/>
              <a:gd name="T2" fmla="*/ 352 w 1077"/>
              <a:gd name="T3" fmla="*/ 997 h 1035"/>
              <a:gd name="T4" fmla="*/ 390 w 1077"/>
              <a:gd name="T5" fmla="*/ 991 h 1035"/>
              <a:gd name="T6" fmla="*/ 419 w 1077"/>
              <a:gd name="T7" fmla="*/ 981 h 1035"/>
              <a:gd name="T8" fmla="*/ 431 w 1077"/>
              <a:gd name="T9" fmla="*/ 972 h 1035"/>
              <a:gd name="T10" fmla="*/ 441 w 1077"/>
              <a:gd name="T11" fmla="*/ 962 h 1035"/>
              <a:gd name="T12" fmla="*/ 448 w 1077"/>
              <a:gd name="T13" fmla="*/ 951 h 1035"/>
              <a:gd name="T14" fmla="*/ 460 w 1077"/>
              <a:gd name="T15" fmla="*/ 920 h 1035"/>
              <a:gd name="T16" fmla="*/ 466 w 1077"/>
              <a:gd name="T17" fmla="*/ 879 h 1035"/>
              <a:gd name="T18" fmla="*/ 469 w 1077"/>
              <a:gd name="T19" fmla="*/ 827 h 1035"/>
              <a:gd name="T20" fmla="*/ 469 w 1077"/>
              <a:gd name="T21" fmla="*/ 68 h 1035"/>
              <a:gd name="T22" fmla="*/ 245 w 1077"/>
              <a:gd name="T23" fmla="*/ 68 h 1035"/>
              <a:gd name="T24" fmla="*/ 192 w 1077"/>
              <a:gd name="T25" fmla="*/ 69 h 1035"/>
              <a:gd name="T26" fmla="*/ 150 w 1077"/>
              <a:gd name="T27" fmla="*/ 75 h 1035"/>
              <a:gd name="T28" fmla="*/ 119 w 1077"/>
              <a:gd name="T29" fmla="*/ 85 h 1035"/>
              <a:gd name="T30" fmla="*/ 94 w 1077"/>
              <a:gd name="T31" fmla="*/ 98 h 1035"/>
              <a:gd name="T32" fmla="*/ 77 w 1077"/>
              <a:gd name="T33" fmla="*/ 117 h 1035"/>
              <a:gd name="T34" fmla="*/ 64 w 1077"/>
              <a:gd name="T35" fmla="*/ 139 h 1035"/>
              <a:gd name="T36" fmla="*/ 54 w 1077"/>
              <a:gd name="T37" fmla="*/ 167 h 1035"/>
              <a:gd name="T38" fmla="*/ 37 w 1077"/>
              <a:gd name="T39" fmla="*/ 233 h 1035"/>
              <a:gd name="T40" fmla="*/ 15 w 1077"/>
              <a:gd name="T41" fmla="*/ 0 h 1035"/>
              <a:gd name="T42" fmla="*/ 1077 w 1077"/>
              <a:gd name="T43" fmla="*/ 233 h 1035"/>
              <a:gd name="T44" fmla="*/ 1032 w 1077"/>
              <a:gd name="T45" fmla="*/ 198 h 1035"/>
              <a:gd name="T46" fmla="*/ 1023 w 1077"/>
              <a:gd name="T47" fmla="*/ 167 h 1035"/>
              <a:gd name="T48" fmla="*/ 1012 w 1077"/>
              <a:gd name="T49" fmla="*/ 139 h 1035"/>
              <a:gd name="T50" fmla="*/ 1000 w 1077"/>
              <a:gd name="T51" fmla="*/ 117 h 1035"/>
              <a:gd name="T52" fmla="*/ 983 w 1077"/>
              <a:gd name="T53" fmla="*/ 98 h 1035"/>
              <a:gd name="T54" fmla="*/ 958 w 1077"/>
              <a:gd name="T55" fmla="*/ 85 h 1035"/>
              <a:gd name="T56" fmla="*/ 926 w 1077"/>
              <a:gd name="T57" fmla="*/ 75 h 1035"/>
              <a:gd name="T58" fmla="*/ 884 w 1077"/>
              <a:gd name="T59" fmla="*/ 69 h 1035"/>
              <a:gd name="T60" fmla="*/ 831 w 1077"/>
              <a:gd name="T61" fmla="*/ 68 h 1035"/>
              <a:gd name="T62" fmla="*/ 607 w 1077"/>
              <a:gd name="T63" fmla="*/ 797 h 1035"/>
              <a:gd name="T64" fmla="*/ 607 w 1077"/>
              <a:gd name="T65" fmla="*/ 827 h 1035"/>
              <a:gd name="T66" fmla="*/ 610 w 1077"/>
              <a:gd name="T67" fmla="*/ 879 h 1035"/>
              <a:gd name="T68" fmla="*/ 617 w 1077"/>
              <a:gd name="T69" fmla="*/ 920 h 1035"/>
              <a:gd name="T70" fmla="*/ 629 w 1077"/>
              <a:gd name="T71" fmla="*/ 951 h 1035"/>
              <a:gd name="T72" fmla="*/ 636 w 1077"/>
              <a:gd name="T73" fmla="*/ 962 h 1035"/>
              <a:gd name="T74" fmla="*/ 646 w 1077"/>
              <a:gd name="T75" fmla="*/ 972 h 1035"/>
              <a:gd name="T76" fmla="*/ 657 w 1077"/>
              <a:gd name="T77" fmla="*/ 981 h 1035"/>
              <a:gd name="T78" fmla="*/ 687 w 1077"/>
              <a:gd name="T79" fmla="*/ 991 h 1035"/>
              <a:gd name="T80" fmla="*/ 725 w 1077"/>
              <a:gd name="T81" fmla="*/ 997 h 1035"/>
              <a:gd name="T82" fmla="*/ 773 w 1077"/>
              <a:gd name="T83" fmla="*/ 999 h 1035"/>
              <a:gd name="T84" fmla="*/ 304 w 1077"/>
              <a:gd name="T85" fmla="*/ 1035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7" h="1035">
                <a:moveTo>
                  <a:pt x="304" y="999"/>
                </a:moveTo>
                <a:lnTo>
                  <a:pt x="304" y="999"/>
                </a:lnTo>
                <a:lnTo>
                  <a:pt x="329" y="998"/>
                </a:lnTo>
                <a:lnTo>
                  <a:pt x="352" y="997"/>
                </a:lnTo>
                <a:lnTo>
                  <a:pt x="372" y="995"/>
                </a:lnTo>
                <a:lnTo>
                  <a:pt x="390" y="991"/>
                </a:lnTo>
                <a:lnTo>
                  <a:pt x="406" y="987"/>
                </a:lnTo>
                <a:lnTo>
                  <a:pt x="419" y="981"/>
                </a:lnTo>
                <a:lnTo>
                  <a:pt x="425" y="977"/>
                </a:lnTo>
                <a:lnTo>
                  <a:pt x="431" y="972"/>
                </a:lnTo>
                <a:lnTo>
                  <a:pt x="436" y="967"/>
                </a:lnTo>
                <a:lnTo>
                  <a:pt x="441" y="962"/>
                </a:lnTo>
                <a:lnTo>
                  <a:pt x="445" y="957"/>
                </a:lnTo>
                <a:lnTo>
                  <a:pt x="448" y="951"/>
                </a:lnTo>
                <a:lnTo>
                  <a:pt x="455" y="937"/>
                </a:lnTo>
                <a:lnTo>
                  <a:pt x="460" y="920"/>
                </a:lnTo>
                <a:lnTo>
                  <a:pt x="463" y="901"/>
                </a:lnTo>
                <a:lnTo>
                  <a:pt x="466" y="879"/>
                </a:lnTo>
                <a:lnTo>
                  <a:pt x="468" y="855"/>
                </a:lnTo>
                <a:lnTo>
                  <a:pt x="469" y="827"/>
                </a:lnTo>
                <a:lnTo>
                  <a:pt x="469" y="797"/>
                </a:lnTo>
                <a:lnTo>
                  <a:pt x="469" y="68"/>
                </a:lnTo>
                <a:lnTo>
                  <a:pt x="245" y="68"/>
                </a:lnTo>
                <a:lnTo>
                  <a:pt x="245" y="68"/>
                </a:lnTo>
                <a:lnTo>
                  <a:pt x="217" y="68"/>
                </a:lnTo>
                <a:lnTo>
                  <a:pt x="192" y="69"/>
                </a:lnTo>
                <a:lnTo>
                  <a:pt x="170" y="72"/>
                </a:lnTo>
                <a:lnTo>
                  <a:pt x="150" y="75"/>
                </a:lnTo>
                <a:lnTo>
                  <a:pt x="133" y="79"/>
                </a:lnTo>
                <a:lnTo>
                  <a:pt x="119" y="85"/>
                </a:lnTo>
                <a:lnTo>
                  <a:pt x="105" y="91"/>
                </a:lnTo>
                <a:lnTo>
                  <a:pt x="94" y="98"/>
                </a:lnTo>
                <a:lnTo>
                  <a:pt x="85" y="106"/>
                </a:lnTo>
                <a:lnTo>
                  <a:pt x="77" y="117"/>
                </a:lnTo>
                <a:lnTo>
                  <a:pt x="71" y="127"/>
                </a:lnTo>
                <a:lnTo>
                  <a:pt x="64" y="139"/>
                </a:lnTo>
                <a:lnTo>
                  <a:pt x="59" y="152"/>
                </a:lnTo>
                <a:lnTo>
                  <a:pt x="54" y="167"/>
                </a:lnTo>
                <a:lnTo>
                  <a:pt x="45" y="198"/>
                </a:lnTo>
                <a:lnTo>
                  <a:pt x="37" y="233"/>
                </a:lnTo>
                <a:lnTo>
                  <a:pt x="0" y="233"/>
                </a:lnTo>
                <a:lnTo>
                  <a:pt x="15" y="0"/>
                </a:lnTo>
                <a:lnTo>
                  <a:pt x="1061" y="0"/>
                </a:lnTo>
                <a:lnTo>
                  <a:pt x="1077" y="233"/>
                </a:lnTo>
                <a:lnTo>
                  <a:pt x="1040" y="233"/>
                </a:lnTo>
                <a:lnTo>
                  <a:pt x="1032" y="198"/>
                </a:lnTo>
                <a:lnTo>
                  <a:pt x="1032" y="198"/>
                </a:lnTo>
                <a:lnTo>
                  <a:pt x="1023" y="167"/>
                </a:lnTo>
                <a:lnTo>
                  <a:pt x="1017" y="152"/>
                </a:lnTo>
                <a:lnTo>
                  <a:pt x="1012" y="139"/>
                </a:lnTo>
                <a:lnTo>
                  <a:pt x="1006" y="127"/>
                </a:lnTo>
                <a:lnTo>
                  <a:pt x="1000" y="117"/>
                </a:lnTo>
                <a:lnTo>
                  <a:pt x="992" y="106"/>
                </a:lnTo>
                <a:lnTo>
                  <a:pt x="983" y="98"/>
                </a:lnTo>
                <a:lnTo>
                  <a:pt x="971" y="91"/>
                </a:lnTo>
                <a:lnTo>
                  <a:pt x="958" y="85"/>
                </a:lnTo>
                <a:lnTo>
                  <a:pt x="944" y="79"/>
                </a:lnTo>
                <a:lnTo>
                  <a:pt x="926" y="75"/>
                </a:lnTo>
                <a:lnTo>
                  <a:pt x="907" y="72"/>
                </a:lnTo>
                <a:lnTo>
                  <a:pt x="884" y="69"/>
                </a:lnTo>
                <a:lnTo>
                  <a:pt x="860" y="68"/>
                </a:lnTo>
                <a:lnTo>
                  <a:pt x="831" y="68"/>
                </a:lnTo>
                <a:lnTo>
                  <a:pt x="607" y="68"/>
                </a:lnTo>
                <a:lnTo>
                  <a:pt x="607" y="797"/>
                </a:lnTo>
                <a:lnTo>
                  <a:pt x="607" y="797"/>
                </a:lnTo>
                <a:lnTo>
                  <a:pt x="607" y="827"/>
                </a:lnTo>
                <a:lnTo>
                  <a:pt x="608" y="855"/>
                </a:lnTo>
                <a:lnTo>
                  <a:pt x="610" y="879"/>
                </a:lnTo>
                <a:lnTo>
                  <a:pt x="614" y="901"/>
                </a:lnTo>
                <a:lnTo>
                  <a:pt x="617" y="920"/>
                </a:lnTo>
                <a:lnTo>
                  <a:pt x="622" y="937"/>
                </a:lnTo>
                <a:lnTo>
                  <a:pt x="629" y="951"/>
                </a:lnTo>
                <a:lnTo>
                  <a:pt x="632" y="957"/>
                </a:lnTo>
                <a:lnTo>
                  <a:pt x="636" y="962"/>
                </a:lnTo>
                <a:lnTo>
                  <a:pt x="641" y="967"/>
                </a:lnTo>
                <a:lnTo>
                  <a:pt x="646" y="972"/>
                </a:lnTo>
                <a:lnTo>
                  <a:pt x="651" y="977"/>
                </a:lnTo>
                <a:lnTo>
                  <a:pt x="657" y="981"/>
                </a:lnTo>
                <a:lnTo>
                  <a:pt x="671" y="987"/>
                </a:lnTo>
                <a:lnTo>
                  <a:pt x="687" y="991"/>
                </a:lnTo>
                <a:lnTo>
                  <a:pt x="705" y="995"/>
                </a:lnTo>
                <a:lnTo>
                  <a:pt x="725" y="997"/>
                </a:lnTo>
                <a:lnTo>
                  <a:pt x="747" y="998"/>
                </a:lnTo>
                <a:lnTo>
                  <a:pt x="773" y="999"/>
                </a:lnTo>
                <a:lnTo>
                  <a:pt x="773" y="1035"/>
                </a:lnTo>
                <a:lnTo>
                  <a:pt x="304" y="1035"/>
                </a:lnTo>
                <a:lnTo>
                  <a:pt x="304" y="999"/>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70" name="Freeform 21">
            <a:extLst>
              <a:ext uri="{FF2B5EF4-FFF2-40B4-BE49-F238E27FC236}">
                <a16:creationId xmlns:a16="http://schemas.microsoft.com/office/drawing/2014/main" id="{624144CE-E5A6-D842-BB2E-FE41CEB927EB}"/>
              </a:ext>
            </a:extLst>
          </p:cNvPr>
          <p:cNvSpPr>
            <a:spLocks noEditPoints="1"/>
          </p:cNvSpPr>
          <p:nvPr userDrawn="1"/>
        </p:nvSpPr>
        <p:spPr bwMode="auto">
          <a:xfrm>
            <a:off x="1811338" y="1154113"/>
            <a:ext cx="157163" cy="141288"/>
          </a:xfrm>
          <a:custGeom>
            <a:avLst/>
            <a:gdLst>
              <a:gd name="T0" fmla="*/ 0 w 1196"/>
              <a:gd name="T1" fmla="*/ 1029 h 1065"/>
              <a:gd name="T2" fmla="*/ 48 w 1196"/>
              <a:gd name="T3" fmla="*/ 1027 h 1065"/>
              <a:gd name="T4" fmla="*/ 86 w 1196"/>
              <a:gd name="T5" fmla="*/ 1022 h 1065"/>
              <a:gd name="T6" fmla="*/ 115 w 1196"/>
              <a:gd name="T7" fmla="*/ 1013 h 1065"/>
              <a:gd name="T8" fmla="*/ 137 w 1196"/>
              <a:gd name="T9" fmla="*/ 999 h 1065"/>
              <a:gd name="T10" fmla="*/ 156 w 1196"/>
              <a:gd name="T11" fmla="*/ 979 h 1065"/>
              <a:gd name="T12" fmla="*/ 172 w 1196"/>
              <a:gd name="T13" fmla="*/ 953 h 1065"/>
              <a:gd name="T14" fmla="*/ 188 w 1196"/>
              <a:gd name="T15" fmla="*/ 920 h 1065"/>
              <a:gd name="T16" fmla="*/ 586 w 1196"/>
              <a:gd name="T17" fmla="*/ 0 h 1065"/>
              <a:gd name="T18" fmla="*/ 990 w 1196"/>
              <a:gd name="T19" fmla="*/ 879 h 1065"/>
              <a:gd name="T20" fmla="*/ 1008 w 1196"/>
              <a:gd name="T21" fmla="*/ 920 h 1065"/>
              <a:gd name="T22" fmla="*/ 1025 w 1196"/>
              <a:gd name="T23" fmla="*/ 953 h 1065"/>
              <a:gd name="T24" fmla="*/ 1041 w 1196"/>
              <a:gd name="T25" fmla="*/ 979 h 1065"/>
              <a:gd name="T26" fmla="*/ 1060 w 1196"/>
              <a:gd name="T27" fmla="*/ 999 h 1065"/>
              <a:gd name="T28" fmla="*/ 1082 w 1196"/>
              <a:gd name="T29" fmla="*/ 1013 h 1065"/>
              <a:gd name="T30" fmla="*/ 1111 w 1196"/>
              <a:gd name="T31" fmla="*/ 1022 h 1065"/>
              <a:gd name="T32" fmla="*/ 1148 w 1196"/>
              <a:gd name="T33" fmla="*/ 1027 h 1065"/>
              <a:gd name="T34" fmla="*/ 1196 w 1196"/>
              <a:gd name="T35" fmla="*/ 1029 h 1065"/>
              <a:gd name="T36" fmla="*/ 717 w 1196"/>
              <a:gd name="T37" fmla="*/ 1065 h 1065"/>
              <a:gd name="T38" fmla="*/ 717 w 1196"/>
              <a:gd name="T39" fmla="*/ 1029 h 1065"/>
              <a:gd name="T40" fmla="*/ 766 w 1196"/>
              <a:gd name="T41" fmla="*/ 1027 h 1065"/>
              <a:gd name="T42" fmla="*/ 805 w 1196"/>
              <a:gd name="T43" fmla="*/ 1022 h 1065"/>
              <a:gd name="T44" fmla="*/ 834 w 1196"/>
              <a:gd name="T45" fmla="*/ 1013 h 1065"/>
              <a:gd name="T46" fmla="*/ 854 w 1196"/>
              <a:gd name="T47" fmla="*/ 998 h 1065"/>
              <a:gd name="T48" fmla="*/ 865 w 1196"/>
              <a:gd name="T49" fmla="*/ 981 h 1065"/>
              <a:gd name="T50" fmla="*/ 868 w 1196"/>
              <a:gd name="T51" fmla="*/ 958 h 1065"/>
              <a:gd name="T52" fmla="*/ 864 w 1196"/>
              <a:gd name="T53" fmla="*/ 931 h 1065"/>
              <a:gd name="T54" fmla="*/ 852 w 1196"/>
              <a:gd name="T55" fmla="*/ 897 h 1065"/>
              <a:gd name="T56" fmla="*/ 352 w 1196"/>
              <a:gd name="T57" fmla="*/ 706 h 1065"/>
              <a:gd name="T58" fmla="*/ 269 w 1196"/>
              <a:gd name="T59" fmla="*/ 897 h 1065"/>
              <a:gd name="T60" fmla="*/ 257 w 1196"/>
              <a:gd name="T61" fmla="*/ 930 h 1065"/>
              <a:gd name="T62" fmla="*/ 253 w 1196"/>
              <a:gd name="T63" fmla="*/ 957 h 1065"/>
              <a:gd name="T64" fmla="*/ 256 w 1196"/>
              <a:gd name="T65" fmla="*/ 980 h 1065"/>
              <a:gd name="T66" fmla="*/ 267 w 1196"/>
              <a:gd name="T67" fmla="*/ 998 h 1065"/>
              <a:gd name="T68" fmla="*/ 288 w 1196"/>
              <a:gd name="T69" fmla="*/ 1012 h 1065"/>
              <a:gd name="T70" fmla="*/ 316 w 1196"/>
              <a:gd name="T71" fmla="*/ 1021 h 1065"/>
              <a:gd name="T72" fmla="*/ 355 w 1196"/>
              <a:gd name="T73" fmla="*/ 1027 h 1065"/>
              <a:gd name="T74" fmla="*/ 403 w 1196"/>
              <a:gd name="T75" fmla="*/ 1029 h 1065"/>
              <a:gd name="T76" fmla="*/ 0 w 1196"/>
              <a:gd name="T77" fmla="*/ 1065 h 1065"/>
              <a:gd name="T78" fmla="*/ 740 w 1196"/>
              <a:gd name="T79" fmla="*/ 643 h 1065"/>
              <a:gd name="T80" fmla="*/ 380 w 1196"/>
              <a:gd name="T81" fmla="*/ 643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96" h="1065">
                <a:moveTo>
                  <a:pt x="0" y="1029"/>
                </a:moveTo>
                <a:lnTo>
                  <a:pt x="0" y="1029"/>
                </a:lnTo>
                <a:lnTo>
                  <a:pt x="26" y="1028"/>
                </a:lnTo>
                <a:lnTo>
                  <a:pt x="48" y="1027"/>
                </a:lnTo>
                <a:lnTo>
                  <a:pt x="68" y="1025"/>
                </a:lnTo>
                <a:lnTo>
                  <a:pt x="86" y="1022"/>
                </a:lnTo>
                <a:lnTo>
                  <a:pt x="102" y="1018"/>
                </a:lnTo>
                <a:lnTo>
                  <a:pt x="115" y="1013"/>
                </a:lnTo>
                <a:lnTo>
                  <a:pt x="127" y="1007"/>
                </a:lnTo>
                <a:lnTo>
                  <a:pt x="137" y="999"/>
                </a:lnTo>
                <a:lnTo>
                  <a:pt x="148" y="990"/>
                </a:lnTo>
                <a:lnTo>
                  <a:pt x="156" y="979"/>
                </a:lnTo>
                <a:lnTo>
                  <a:pt x="164" y="967"/>
                </a:lnTo>
                <a:lnTo>
                  <a:pt x="172" y="953"/>
                </a:lnTo>
                <a:lnTo>
                  <a:pt x="180" y="937"/>
                </a:lnTo>
                <a:lnTo>
                  <a:pt x="188" y="920"/>
                </a:lnTo>
                <a:lnTo>
                  <a:pt x="207" y="879"/>
                </a:lnTo>
                <a:lnTo>
                  <a:pt x="586" y="0"/>
                </a:lnTo>
                <a:lnTo>
                  <a:pt x="609" y="0"/>
                </a:lnTo>
                <a:lnTo>
                  <a:pt x="990" y="879"/>
                </a:lnTo>
                <a:lnTo>
                  <a:pt x="990" y="879"/>
                </a:lnTo>
                <a:lnTo>
                  <a:pt x="1008" y="920"/>
                </a:lnTo>
                <a:lnTo>
                  <a:pt x="1017" y="937"/>
                </a:lnTo>
                <a:lnTo>
                  <a:pt x="1025" y="953"/>
                </a:lnTo>
                <a:lnTo>
                  <a:pt x="1033" y="967"/>
                </a:lnTo>
                <a:lnTo>
                  <a:pt x="1041" y="979"/>
                </a:lnTo>
                <a:lnTo>
                  <a:pt x="1049" y="990"/>
                </a:lnTo>
                <a:lnTo>
                  <a:pt x="1060" y="999"/>
                </a:lnTo>
                <a:lnTo>
                  <a:pt x="1070" y="1007"/>
                </a:lnTo>
                <a:lnTo>
                  <a:pt x="1082" y="1013"/>
                </a:lnTo>
                <a:lnTo>
                  <a:pt x="1095" y="1018"/>
                </a:lnTo>
                <a:lnTo>
                  <a:pt x="1111" y="1022"/>
                </a:lnTo>
                <a:lnTo>
                  <a:pt x="1128" y="1025"/>
                </a:lnTo>
                <a:lnTo>
                  <a:pt x="1148" y="1027"/>
                </a:lnTo>
                <a:lnTo>
                  <a:pt x="1170" y="1028"/>
                </a:lnTo>
                <a:lnTo>
                  <a:pt x="1196" y="1029"/>
                </a:lnTo>
                <a:lnTo>
                  <a:pt x="1196" y="1065"/>
                </a:lnTo>
                <a:lnTo>
                  <a:pt x="717" y="1065"/>
                </a:lnTo>
                <a:lnTo>
                  <a:pt x="717" y="1029"/>
                </a:lnTo>
                <a:lnTo>
                  <a:pt x="717" y="1029"/>
                </a:lnTo>
                <a:lnTo>
                  <a:pt x="743" y="1028"/>
                </a:lnTo>
                <a:lnTo>
                  <a:pt x="766" y="1027"/>
                </a:lnTo>
                <a:lnTo>
                  <a:pt x="787" y="1025"/>
                </a:lnTo>
                <a:lnTo>
                  <a:pt x="805" y="1022"/>
                </a:lnTo>
                <a:lnTo>
                  <a:pt x="820" y="1018"/>
                </a:lnTo>
                <a:lnTo>
                  <a:pt x="834" y="1013"/>
                </a:lnTo>
                <a:lnTo>
                  <a:pt x="845" y="1006"/>
                </a:lnTo>
                <a:lnTo>
                  <a:pt x="854" y="998"/>
                </a:lnTo>
                <a:lnTo>
                  <a:pt x="861" y="990"/>
                </a:lnTo>
                <a:lnTo>
                  <a:pt x="865" y="981"/>
                </a:lnTo>
                <a:lnTo>
                  <a:pt x="868" y="970"/>
                </a:lnTo>
                <a:lnTo>
                  <a:pt x="868" y="958"/>
                </a:lnTo>
                <a:lnTo>
                  <a:pt x="867" y="945"/>
                </a:lnTo>
                <a:lnTo>
                  <a:pt x="864" y="931"/>
                </a:lnTo>
                <a:lnTo>
                  <a:pt x="859" y="915"/>
                </a:lnTo>
                <a:lnTo>
                  <a:pt x="852" y="897"/>
                </a:lnTo>
                <a:lnTo>
                  <a:pt x="769" y="706"/>
                </a:lnTo>
                <a:lnTo>
                  <a:pt x="352" y="706"/>
                </a:lnTo>
                <a:lnTo>
                  <a:pt x="269" y="897"/>
                </a:lnTo>
                <a:lnTo>
                  <a:pt x="269" y="897"/>
                </a:lnTo>
                <a:lnTo>
                  <a:pt x="262" y="915"/>
                </a:lnTo>
                <a:lnTo>
                  <a:pt x="257" y="930"/>
                </a:lnTo>
                <a:lnTo>
                  <a:pt x="254" y="944"/>
                </a:lnTo>
                <a:lnTo>
                  <a:pt x="253" y="957"/>
                </a:lnTo>
                <a:lnTo>
                  <a:pt x="253" y="969"/>
                </a:lnTo>
                <a:lnTo>
                  <a:pt x="256" y="980"/>
                </a:lnTo>
                <a:lnTo>
                  <a:pt x="260" y="989"/>
                </a:lnTo>
                <a:lnTo>
                  <a:pt x="267" y="998"/>
                </a:lnTo>
                <a:lnTo>
                  <a:pt x="276" y="1006"/>
                </a:lnTo>
                <a:lnTo>
                  <a:pt x="288" y="1012"/>
                </a:lnTo>
                <a:lnTo>
                  <a:pt x="301" y="1017"/>
                </a:lnTo>
                <a:lnTo>
                  <a:pt x="316" y="1021"/>
                </a:lnTo>
                <a:lnTo>
                  <a:pt x="335" y="1025"/>
                </a:lnTo>
                <a:lnTo>
                  <a:pt x="355" y="1027"/>
                </a:lnTo>
                <a:lnTo>
                  <a:pt x="378" y="1028"/>
                </a:lnTo>
                <a:lnTo>
                  <a:pt x="403" y="1029"/>
                </a:lnTo>
                <a:lnTo>
                  <a:pt x="403" y="1065"/>
                </a:lnTo>
                <a:lnTo>
                  <a:pt x="0" y="1065"/>
                </a:lnTo>
                <a:lnTo>
                  <a:pt x="0" y="1029"/>
                </a:lnTo>
                <a:close/>
                <a:moveTo>
                  <a:pt x="740" y="643"/>
                </a:moveTo>
                <a:lnTo>
                  <a:pt x="559" y="226"/>
                </a:lnTo>
                <a:lnTo>
                  <a:pt x="380" y="643"/>
                </a:lnTo>
                <a:lnTo>
                  <a:pt x="740" y="643"/>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71" name="Freeform 22">
            <a:extLst>
              <a:ext uri="{FF2B5EF4-FFF2-40B4-BE49-F238E27FC236}">
                <a16:creationId xmlns:a16="http://schemas.microsoft.com/office/drawing/2014/main" id="{A387DB3F-83D5-0A40-B69D-A25DB16F3840}"/>
              </a:ext>
            </a:extLst>
          </p:cNvPr>
          <p:cNvSpPr>
            <a:spLocks/>
          </p:cNvSpPr>
          <p:nvPr userDrawn="1"/>
        </p:nvSpPr>
        <p:spPr bwMode="auto">
          <a:xfrm>
            <a:off x="1966913" y="1158876"/>
            <a:ext cx="142875" cy="136525"/>
          </a:xfrm>
          <a:custGeom>
            <a:avLst/>
            <a:gdLst>
              <a:gd name="T0" fmla="*/ 304 w 1077"/>
              <a:gd name="T1" fmla="*/ 999 h 1035"/>
              <a:gd name="T2" fmla="*/ 353 w 1077"/>
              <a:gd name="T3" fmla="*/ 997 h 1035"/>
              <a:gd name="T4" fmla="*/ 391 w 1077"/>
              <a:gd name="T5" fmla="*/ 991 h 1035"/>
              <a:gd name="T6" fmla="*/ 420 w 1077"/>
              <a:gd name="T7" fmla="*/ 981 h 1035"/>
              <a:gd name="T8" fmla="*/ 431 w 1077"/>
              <a:gd name="T9" fmla="*/ 972 h 1035"/>
              <a:gd name="T10" fmla="*/ 441 w 1077"/>
              <a:gd name="T11" fmla="*/ 962 h 1035"/>
              <a:gd name="T12" fmla="*/ 449 w 1077"/>
              <a:gd name="T13" fmla="*/ 951 h 1035"/>
              <a:gd name="T14" fmla="*/ 461 w 1077"/>
              <a:gd name="T15" fmla="*/ 920 h 1035"/>
              <a:gd name="T16" fmla="*/ 467 w 1077"/>
              <a:gd name="T17" fmla="*/ 879 h 1035"/>
              <a:gd name="T18" fmla="*/ 470 w 1077"/>
              <a:gd name="T19" fmla="*/ 827 h 1035"/>
              <a:gd name="T20" fmla="*/ 470 w 1077"/>
              <a:gd name="T21" fmla="*/ 68 h 1035"/>
              <a:gd name="T22" fmla="*/ 246 w 1077"/>
              <a:gd name="T23" fmla="*/ 68 h 1035"/>
              <a:gd name="T24" fmla="*/ 193 w 1077"/>
              <a:gd name="T25" fmla="*/ 69 h 1035"/>
              <a:gd name="T26" fmla="*/ 151 w 1077"/>
              <a:gd name="T27" fmla="*/ 75 h 1035"/>
              <a:gd name="T28" fmla="*/ 119 w 1077"/>
              <a:gd name="T29" fmla="*/ 85 h 1035"/>
              <a:gd name="T30" fmla="*/ 95 w 1077"/>
              <a:gd name="T31" fmla="*/ 98 h 1035"/>
              <a:gd name="T32" fmla="*/ 78 w 1077"/>
              <a:gd name="T33" fmla="*/ 117 h 1035"/>
              <a:gd name="T34" fmla="*/ 65 w 1077"/>
              <a:gd name="T35" fmla="*/ 139 h 1035"/>
              <a:gd name="T36" fmla="*/ 55 w 1077"/>
              <a:gd name="T37" fmla="*/ 167 h 1035"/>
              <a:gd name="T38" fmla="*/ 37 w 1077"/>
              <a:gd name="T39" fmla="*/ 233 h 1035"/>
              <a:gd name="T40" fmla="*/ 17 w 1077"/>
              <a:gd name="T41" fmla="*/ 0 h 1035"/>
              <a:gd name="T42" fmla="*/ 1077 w 1077"/>
              <a:gd name="T43" fmla="*/ 233 h 1035"/>
              <a:gd name="T44" fmla="*/ 1032 w 1077"/>
              <a:gd name="T45" fmla="*/ 198 h 1035"/>
              <a:gd name="T46" fmla="*/ 1024 w 1077"/>
              <a:gd name="T47" fmla="*/ 167 h 1035"/>
              <a:gd name="T48" fmla="*/ 1014 w 1077"/>
              <a:gd name="T49" fmla="*/ 139 h 1035"/>
              <a:gd name="T50" fmla="*/ 1000 w 1077"/>
              <a:gd name="T51" fmla="*/ 117 h 1035"/>
              <a:gd name="T52" fmla="*/ 983 w 1077"/>
              <a:gd name="T53" fmla="*/ 98 h 1035"/>
              <a:gd name="T54" fmla="*/ 960 w 1077"/>
              <a:gd name="T55" fmla="*/ 85 h 1035"/>
              <a:gd name="T56" fmla="*/ 927 w 1077"/>
              <a:gd name="T57" fmla="*/ 75 h 1035"/>
              <a:gd name="T58" fmla="*/ 886 w 1077"/>
              <a:gd name="T59" fmla="*/ 69 h 1035"/>
              <a:gd name="T60" fmla="*/ 833 w 1077"/>
              <a:gd name="T61" fmla="*/ 68 h 1035"/>
              <a:gd name="T62" fmla="*/ 608 w 1077"/>
              <a:gd name="T63" fmla="*/ 797 h 1035"/>
              <a:gd name="T64" fmla="*/ 609 w 1077"/>
              <a:gd name="T65" fmla="*/ 827 h 1035"/>
              <a:gd name="T66" fmla="*/ 611 w 1077"/>
              <a:gd name="T67" fmla="*/ 879 h 1035"/>
              <a:gd name="T68" fmla="*/ 618 w 1077"/>
              <a:gd name="T69" fmla="*/ 920 h 1035"/>
              <a:gd name="T70" fmla="*/ 629 w 1077"/>
              <a:gd name="T71" fmla="*/ 951 h 1035"/>
              <a:gd name="T72" fmla="*/ 637 w 1077"/>
              <a:gd name="T73" fmla="*/ 962 h 1035"/>
              <a:gd name="T74" fmla="*/ 647 w 1077"/>
              <a:gd name="T75" fmla="*/ 972 h 1035"/>
              <a:gd name="T76" fmla="*/ 658 w 1077"/>
              <a:gd name="T77" fmla="*/ 981 h 1035"/>
              <a:gd name="T78" fmla="*/ 688 w 1077"/>
              <a:gd name="T79" fmla="*/ 991 h 1035"/>
              <a:gd name="T80" fmla="*/ 725 w 1077"/>
              <a:gd name="T81" fmla="*/ 997 h 1035"/>
              <a:gd name="T82" fmla="*/ 773 w 1077"/>
              <a:gd name="T83" fmla="*/ 999 h 1035"/>
              <a:gd name="T84" fmla="*/ 304 w 1077"/>
              <a:gd name="T85" fmla="*/ 1035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7" h="1035">
                <a:moveTo>
                  <a:pt x="304" y="999"/>
                </a:moveTo>
                <a:lnTo>
                  <a:pt x="304" y="999"/>
                </a:lnTo>
                <a:lnTo>
                  <a:pt x="330" y="998"/>
                </a:lnTo>
                <a:lnTo>
                  <a:pt x="353" y="997"/>
                </a:lnTo>
                <a:lnTo>
                  <a:pt x="373" y="995"/>
                </a:lnTo>
                <a:lnTo>
                  <a:pt x="391" y="991"/>
                </a:lnTo>
                <a:lnTo>
                  <a:pt x="406" y="987"/>
                </a:lnTo>
                <a:lnTo>
                  <a:pt x="420" y="981"/>
                </a:lnTo>
                <a:lnTo>
                  <a:pt x="426" y="977"/>
                </a:lnTo>
                <a:lnTo>
                  <a:pt x="431" y="972"/>
                </a:lnTo>
                <a:lnTo>
                  <a:pt x="436" y="967"/>
                </a:lnTo>
                <a:lnTo>
                  <a:pt x="441" y="962"/>
                </a:lnTo>
                <a:lnTo>
                  <a:pt x="445" y="957"/>
                </a:lnTo>
                <a:lnTo>
                  <a:pt x="449" y="951"/>
                </a:lnTo>
                <a:lnTo>
                  <a:pt x="455" y="937"/>
                </a:lnTo>
                <a:lnTo>
                  <a:pt x="461" y="920"/>
                </a:lnTo>
                <a:lnTo>
                  <a:pt x="465" y="901"/>
                </a:lnTo>
                <a:lnTo>
                  <a:pt x="467" y="879"/>
                </a:lnTo>
                <a:lnTo>
                  <a:pt x="469" y="855"/>
                </a:lnTo>
                <a:lnTo>
                  <a:pt x="470" y="827"/>
                </a:lnTo>
                <a:lnTo>
                  <a:pt x="470" y="797"/>
                </a:lnTo>
                <a:lnTo>
                  <a:pt x="470" y="68"/>
                </a:lnTo>
                <a:lnTo>
                  <a:pt x="246" y="68"/>
                </a:lnTo>
                <a:lnTo>
                  <a:pt x="246" y="68"/>
                </a:lnTo>
                <a:lnTo>
                  <a:pt x="217" y="68"/>
                </a:lnTo>
                <a:lnTo>
                  <a:pt x="193" y="69"/>
                </a:lnTo>
                <a:lnTo>
                  <a:pt x="170" y="72"/>
                </a:lnTo>
                <a:lnTo>
                  <a:pt x="151" y="75"/>
                </a:lnTo>
                <a:lnTo>
                  <a:pt x="134" y="79"/>
                </a:lnTo>
                <a:lnTo>
                  <a:pt x="119" y="85"/>
                </a:lnTo>
                <a:lnTo>
                  <a:pt x="107" y="91"/>
                </a:lnTo>
                <a:lnTo>
                  <a:pt x="95" y="98"/>
                </a:lnTo>
                <a:lnTo>
                  <a:pt x="86" y="106"/>
                </a:lnTo>
                <a:lnTo>
                  <a:pt x="78" y="117"/>
                </a:lnTo>
                <a:lnTo>
                  <a:pt x="71" y="127"/>
                </a:lnTo>
                <a:lnTo>
                  <a:pt x="65" y="139"/>
                </a:lnTo>
                <a:lnTo>
                  <a:pt x="60" y="152"/>
                </a:lnTo>
                <a:lnTo>
                  <a:pt x="55" y="167"/>
                </a:lnTo>
                <a:lnTo>
                  <a:pt x="45" y="198"/>
                </a:lnTo>
                <a:lnTo>
                  <a:pt x="37" y="233"/>
                </a:lnTo>
                <a:lnTo>
                  <a:pt x="0" y="233"/>
                </a:lnTo>
                <a:lnTo>
                  <a:pt x="17" y="0"/>
                </a:lnTo>
                <a:lnTo>
                  <a:pt x="1062" y="0"/>
                </a:lnTo>
                <a:lnTo>
                  <a:pt x="1077" y="233"/>
                </a:lnTo>
                <a:lnTo>
                  <a:pt x="1041" y="233"/>
                </a:lnTo>
                <a:lnTo>
                  <a:pt x="1032" y="198"/>
                </a:lnTo>
                <a:lnTo>
                  <a:pt x="1032" y="198"/>
                </a:lnTo>
                <a:lnTo>
                  <a:pt x="1024" y="167"/>
                </a:lnTo>
                <a:lnTo>
                  <a:pt x="1019" y="152"/>
                </a:lnTo>
                <a:lnTo>
                  <a:pt x="1014" y="139"/>
                </a:lnTo>
                <a:lnTo>
                  <a:pt x="1008" y="127"/>
                </a:lnTo>
                <a:lnTo>
                  <a:pt x="1000" y="117"/>
                </a:lnTo>
                <a:lnTo>
                  <a:pt x="992" y="106"/>
                </a:lnTo>
                <a:lnTo>
                  <a:pt x="983" y="98"/>
                </a:lnTo>
                <a:lnTo>
                  <a:pt x="972" y="91"/>
                </a:lnTo>
                <a:lnTo>
                  <a:pt x="960" y="85"/>
                </a:lnTo>
                <a:lnTo>
                  <a:pt x="944" y="79"/>
                </a:lnTo>
                <a:lnTo>
                  <a:pt x="927" y="75"/>
                </a:lnTo>
                <a:lnTo>
                  <a:pt x="907" y="72"/>
                </a:lnTo>
                <a:lnTo>
                  <a:pt x="886" y="69"/>
                </a:lnTo>
                <a:lnTo>
                  <a:pt x="860" y="68"/>
                </a:lnTo>
                <a:lnTo>
                  <a:pt x="833" y="68"/>
                </a:lnTo>
                <a:lnTo>
                  <a:pt x="608" y="68"/>
                </a:lnTo>
                <a:lnTo>
                  <a:pt x="608" y="797"/>
                </a:lnTo>
                <a:lnTo>
                  <a:pt x="608" y="797"/>
                </a:lnTo>
                <a:lnTo>
                  <a:pt x="609" y="827"/>
                </a:lnTo>
                <a:lnTo>
                  <a:pt x="609" y="855"/>
                </a:lnTo>
                <a:lnTo>
                  <a:pt x="611" y="879"/>
                </a:lnTo>
                <a:lnTo>
                  <a:pt x="614" y="901"/>
                </a:lnTo>
                <a:lnTo>
                  <a:pt x="618" y="920"/>
                </a:lnTo>
                <a:lnTo>
                  <a:pt x="623" y="937"/>
                </a:lnTo>
                <a:lnTo>
                  <a:pt x="629" y="951"/>
                </a:lnTo>
                <a:lnTo>
                  <a:pt x="633" y="957"/>
                </a:lnTo>
                <a:lnTo>
                  <a:pt x="637" y="962"/>
                </a:lnTo>
                <a:lnTo>
                  <a:pt x="642" y="967"/>
                </a:lnTo>
                <a:lnTo>
                  <a:pt x="647" y="972"/>
                </a:lnTo>
                <a:lnTo>
                  <a:pt x="653" y="977"/>
                </a:lnTo>
                <a:lnTo>
                  <a:pt x="658" y="981"/>
                </a:lnTo>
                <a:lnTo>
                  <a:pt x="672" y="987"/>
                </a:lnTo>
                <a:lnTo>
                  <a:pt x="688" y="991"/>
                </a:lnTo>
                <a:lnTo>
                  <a:pt x="705" y="995"/>
                </a:lnTo>
                <a:lnTo>
                  <a:pt x="725" y="997"/>
                </a:lnTo>
                <a:lnTo>
                  <a:pt x="748" y="998"/>
                </a:lnTo>
                <a:lnTo>
                  <a:pt x="773" y="999"/>
                </a:lnTo>
                <a:lnTo>
                  <a:pt x="773" y="1035"/>
                </a:lnTo>
                <a:lnTo>
                  <a:pt x="304" y="1035"/>
                </a:lnTo>
                <a:lnTo>
                  <a:pt x="304" y="999"/>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72" name="Freeform 23">
            <a:extLst>
              <a:ext uri="{FF2B5EF4-FFF2-40B4-BE49-F238E27FC236}">
                <a16:creationId xmlns:a16="http://schemas.microsoft.com/office/drawing/2014/main" id="{5E0A04C1-F1DF-C14C-AE96-48E5572CFC9C}"/>
              </a:ext>
            </a:extLst>
          </p:cNvPr>
          <p:cNvSpPr>
            <a:spLocks/>
          </p:cNvSpPr>
          <p:nvPr userDrawn="1"/>
        </p:nvSpPr>
        <p:spPr bwMode="auto">
          <a:xfrm>
            <a:off x="2141538" y="1154113"/>
            <a:ext cx="88900" cy="144463"/>
          </a:xfrm>
          <a:custGeom>
            <a:avLst/>
            <a:gdLst>
              <a:gd name="T0" fmla="*/ 39 w 683"/>
              <a:gd name="T1" fmla="*/ 752 h 1102"/>
              <a:gd name="T2" fmla="*/ 64 w 683"/>
              <a:gd name="T3" fmla="*/ 849 h 1102"/>
              <a:gd name="T4" fmla="*/ 104 w 683"/>
              <a:gd name="T5" fmla="*/ 921 h 1102"/>
              <a:gd name="T6" fmla="*/ 171 w 683"/>
              <a:gd name="T7" fmla="*/ 985 h 1102"/>
              <a:gd name="T8" fmla="*/ 273 w 683"/>
              <a:gd name="T9" fmla="*/ 1026 h 1102"/>
              <a:gd name="T10" fmla="*/ 377 w 683"/>
              <a:gd name="T11" fmla="*/ 1032 h 1102"/>
              <a:gd name="T12" fmla="*/ 476 w 683"/>
              <a:gd name="T13" fmla="*/ 1002 h 1102"/>
              <a:gd name="T14" fmla="*/ 544 w 683"/>
              <a:gd name="T15" fmla="*/ 937 h 1102"/>
              <a:gd name="T16" fmla="*/ 570 w 683"/>
              <a:gd name="T17" fmla="*/ 844 h 1102"/>
              <a:gd name="T18" fmla="*/ 555 w 683"/>
              <a:gd name="T19" fmla="*/ 787 h 1102"/>
              <a:gd name="T20" fmla="*/ 501 w 683"/>
              <a:gd name="T21" fmla="*/ 720 h 1102"/>
              <a:gd name="T22" fmla="*/ 413 w 683"/>
              <a:gd name="T23" fmla="*/ 659 h 1102"/>
              <a:gd name="T24" fmla="*/ 169 w 683"/>
              <a:gd name="T25" fmla="*/ 529 h 1102"/>
              <a:gd name="T26" fmla="*/ 86 w 683"/>
              <a:gd name="T27" fmla="*/ 455 h 1102"/>
              <a:gd name="T28" fmla="*/ 30 w 683"/>
              <a:gd name="T29" fmla="*/ 358 h 1102"/>
              <a:gd name="T30" fmla="*/ 14 w 683"/>
              <a:gd name="T31" fmla="*/ 265 h 1102"/>
              <a:gd name="T32" fmla="*/ 23 w 683"/>
              <a:gd name="T33" fmla="*/ 201 h 1102"/>
              <a:gd name="T34" fmla="*/ 46 w 683"/>
              <a:gd name="T35" fmla="*/ 142 h 1102"/>
              <a:gd name="T36" fmla="*/ 85 w 683"/>
              <a:gd name="T37" fmla="*/ 92 h 1102"/>
              <a:gd name="T38" fmla="*/ 136 w 683"/>
              <a:gd name="T39" fmla="*/ 52 h 1102"/>
              <a:gd name="T40" fmla="*/ 199 w 683"/>
              <a:gd name="T41" fmla="*/ 24 h 1102"/>
              <a:gd name="T42" fmla="*/ 269 w 683"/>
              <a:gd name="T43" fmla="*/ 9 h 1102"/>
              <a:gd name="T44" fmla="*/ 337 w 683"/>
              <a:gd name="T45" fmla="*/ 10 h 1102"/>
              <a:gd name="T46" fmla="*/ 411 w 683"/>
              <a:gd name="T47" fmla="*/ 25 h 1102"/>
              <a:gd name="T48" fmla="*/ 510 w 683"/>
              <a:gd name="T49" fmla="*/ 79 h 1102"/>
              <a:gd name="T50" fmla="*/ 540 w 683"/>
              <a:gd name="T51" fmla="*/ 46 h 1102"/>
              <a:gd name="T52" fmla="*/ 595 w 683"/>
              <a:gd name="T53" fmla="*/ 0 h 1102"/>
              <a:gd name="T54" fmla="*/ 552 w 683"/>
              <a:gd name="T55" fmla="*/ 326 h 1102"/>
              <a:gd name="T56" fmla="*/ 511 w 683"/>
              <a:gd name="T57" fmla="*/ 200 h 1102"/>
              <a:gd name="T58" fmla="*/ 473 w 683"/>
              <a:gd name="T59" fmla="*/ 145 h 1102"/>
              <a:gd name="T60" fmla="*/ 419 w 683"/>
              <a:gd name="T61" fmla="*/ 106 h 1102"/>
              <a:gd name="T62" fmla="*/ 348 w 683"/>
              <a:gd name="T63" fmla="*/ 82 h 1102"/>
              <a:gd name="T64" fmla="*/ 277 w 683"/>
              <a:gd name="T65" fmla="*/ 78 h 1102"/>
              <a:gd name="T66" fmla="*/ 200 w 683"/>
              <a:gd name="T67" fmla="*/ 104 h 1102"/>
              <a:gd name="T68" fmla="*/ 147 w 683"/>
              <a:gd name="T69" fmla="*/ 158 h 1102"/>
              <a:gd name="T70" fmla="*/ 128 w 683"/>
              <a:gd name="T71" fmla="*/ 231 h 1102"/>
              <a:gd name="T72" fmla="*/ 139 w 683"/>
              <a:gd name="T73" fmla="*/ 292 h 1102"/>
              <a:gd name="T74" fmla="*/ 190 w 683"/>
              <a:gd name="T75" fmla="*/ 355 h 1102"/>
              <a:gd name="T76" fmla="*/ 287 w 683"/>
              <a:gd name="T77" fmla="*/ 417 h 1102"/>
              <a:gd name="T78" fmla="*/ 548 w 683"/>
              <a:gd name="T79" fmla="*/ 556 h 1102"/>
              <a:gd name="T80" fmla="*/ 631 w 683"/>
              <a:gd name="T81" fmla="*/ 633 h 1102"/>
              <a:gd name="T82" fmla="*/ 674 w 683"/>
              <a:gd name="T83" fmla="*/ 720 h 1102"/>
              <a:gd name="T84" fmla="*/ 683 w 683"/>
              <a:gd name="T85" fmla="*/ 792 h 1102"/>
              <a:gd name="T86" fmla="*/ 673 w 683"/>
              <a:gd name="T87" fmla="*/ 874 h 1102"/>
              <a:gd name="T88" fmla="*/ 642 w 683"/>
              <a:gd name="T89" fmla="*/ 947 h 1102"/>
              <a:gd name="T90" fmla="*/ 596 w 683"/>
              <a:gd name="T91" fmla="*/ 1007 h 1102"/>
              <a:gd name="T92" fmla="*/ 536 w 683"/>
              <a:gd name="T93" fmla="*/ 1053 h 1102"/>
              <a:gd name="T94" fmla="*/ 465 w 683"/>
              <a:gd name="T95" fmla="*/ 1085 h 1102"/>
              <a:gd name="T96" fmla="*/ 387 w 683"/>
              <a:gd name="T97" fmla="*/ 1100 h 1102"/>
              <a:gd name="T98" fmla="*/ 307 w 683"/>
              <a:gd name="T99" fmla="*/ 1099 h 1102"/>
              <a:gd name="T100" fmla="*/ 208 w 683"/>
              <a:gd name="T101" fmla="*/ 1073 h 1102"/>
              <a:gd name="T102" fmla="*/ 95 w 683"/>
              <a:gd name="T103" fmla="*/ 1024 h 1102"/>
              <a:gd name="T104" fmla="*/ 62 w 683"/>
              <a:gd name="T105" fmla="*/ 1044 h 1102"/>
              <a:gd name="T106" fmla="*/ 35 w 683"/>
              <a:gd name="T107" fmla="*/ 1102 h 1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83" h="1102">
                <a:moveTo>
                  <a:pt x="0" y="723"/>
                </a:moveTo>
                <a:lnTo>
                  <a:pt x="36" y="723"/>
                </a:lnTo>
                <a:lnTo>
                  <a:pt x="36" y="723"/>
                </a:lnTo>
                <a:lnTo>
                  <a:pt x="37" y="736"/>
                </a:lnTo>
                <a:lnTo>
                  <a:pt x="39" y="752"/>
                </a:lnTo>
                <a:lnTo>
                  <a:pt x="41" y="771"/>
                </a:lnTo>
                <a:lnTo>
                  <a:pt x="46" y="795"/>
                </a:lnTo>
                <a:lnTo>
                  <a:pt x="53" y="821"/>
                </a:lnTo>
                <a:lnTo>
                  <a:pt x="59" y="835"/>
                </a:lnTo>
                <a:lnTo>
                  <a:pt x="64" y="849"/>
                </a:lnTo>
                <a:lnTo>
                  <a:pt x="70" y="863"/>
                </a:lnTo>
                <a:lnTo>
                  <a:pt x="77" y="878"/>
                </a:lnTo>
                <a:lnTo>
                  <a:pt x="85" y="893"/>
                </a:lnTo>
                <a:lnTo>
                  <a:pt x="93" y="907"/>
                </a:lnTo>
                <a:lnTo>
                  <a:pt x="104" y="921"/>
                </a:lnTo>
                <a:lnTo>
                  <a:pt x="115" y="935"/>
                </a:lnTo>
                <a:lnTo>
                  <a:pt x="127" y="948"/>
                </a:lnTo>
                <a:lnTo>
                  <a:pt x="140" y="961"/>
                </a:lnTo>
                <a:lnTo>
                  <a:pt x="155" y="974"/>
                </a:lnTo>
                <a:lnTo>
                  <a:pt x="171" y="985"/>
                </a:lnTo>
                <a:lnTo>
                  <a:pt x="188" y="995"/>
                </a:lnTo>
                <a:lnTo>
                  <a:pt x="207" y="1004"/>
                </a:lnTo>
                <a:lnTo>
                  <a:pt x="227" y="1012"/>
                </a:lnTo>
                <a:lnTo>
                  <a:pt x="250" y="1020"/>
                </a:lnTo>
                <a:lnTo>
                  <a:pt x="273" y="1026"/>
                </a:lnTo>
                <a:lnTo>
                  <a:pt x="298" y="1030"/>
                </a:lnTo>
                <a:lnTo>
                  <a:pt x="325" y="1032"/>
                </a:lnTo>
                <a:lnTo>
                  <a:pt x="354" y="1033"/>
                </a:lnTo>
                <a:lnTo>
                  <a:pt x="354" y="1033"/>
                </a:lnTo>
                <a:lnTo>
                  <a:pt x="377" y="1032"/>
                </a:lnTo>
                <a:lnTo>
                  <a:pt x="398" y="1030"/>
                </a:lnTo>
                <a:lnTo>
                  <a:pt x="419" y="1025"/>
                </a:lnTo>
                <a:lnTo>
                  <a:pt x="439" y="1019"/>
                </a:lnTo>
                <a:lnTo>
                  <a:pt x="458" y="1011"/>
                </a:lnTo>
                <a:lnTo>
                  <a:pt x="476" y="1002"/>
                </a:lnTo>
                <a:lnTo>
                  <a:pt x="492" y="992"/>
                </a:lnTo>
                <a:lnTo>
                  <a:pt x="507" y="980"/>
                </a:lnTo>
                <a:lnTo>
                  <a:pt x="522" y="966"/>
                </a:lnTo>
                <a:lnTo>
                  <a:pt x="534" y="952"/>
                </a:lnTo>
                <a:lnTo>
                  <a:pt x="544" y="937"/>
                </a:lnTo>
                <a:lnTo>
                  <a:pt x="553" y="919"/>
                </a:lnTo>
                <a:lnTo>
                  <a:pt x="560" y="902"/>
                </a:lnTo>
                <a:lnTo>
                  <a:pt x="566" y="884"/>
                </a:lnTo>
                <a:lnTo>
                  <a:pt x="569" y="864"/>
                </a:lnTo>
                <a:lnTo>
                  <a:pt x="570" y="844"/>
                </a:lnTo>
                <a:lnTo>
                  <a:pt x="570" y="844"/>
                </a:lnTo>
                <a:lnTo>
                  <a:pt x="569" y="828"/>
                </a:lnTo>
                <a:lnTo>
                  <a:pt x="566" y="814"/>
                </a:lnTo>
                <a:lnTo>
                  <a:pt x="562" y="800"/>
                </a:lnTo>
                <a:lnTo>
                  <a:pt x="555" y="787"/>
                </a:lnTo>
                <a:lnTo>
                  <a:pt x="547" y="772"/>
                </a:lnTo>
                <a:lnTo>
                  <a:pt x="538" y="759"/>
                </a:lnTo>
                <a:lnTo>
                  <a:pt x="527" y="746"/>
                </a:lnTo>
                <a:lnTo>
                  <a:pt x="515" y="732"/>
                </a:lnTo>
                <a:lnTo>
                  <a:pt x="501" y="720"/>
                </a:lnTo>
                <a:lnTo>
                  <a:pt x="486" y="707"/>
                </a:lnTo>
                <a:lnTo>
                  <a:pt x="470" y="695"/>
                </a:lnTo>
                <a:lnTo>
                  <a:pt x="452" y="682"/>
                </a:lnTo>
                <a:lnTo>
                  <a:pt x="434" y="670"/>
                </a:lnTo>
                <a:lnTo>
                  <a:pt x="413" y="659"/>
                </a:lnTo>
                <a:lnTo>
                  <a:pt x="371" y="634"/>
                </a:lnTo>
                <a:lnTo>
                  <a:pt x="206" y="550"/>
                </a:lnTo>
                <a:lnTo>
                  <a:pt x="206" y="550"/>
                </a:lnTo>
                <a:lnTo>
                  <a:pt x="186" y="540"/>
                </a:lnTo>
                <a:lnTo>
                  <a:pt x="169" y="529"/>
                </a:lnTo>
                <a:lnTo>
                  <a:pt x="151" y="516"/>
                </a:lnTo>
                <a:lnTo>
                  <a:pt x="133" y="502"/>
                </a:lnTo>
                <a:lnTo>
                  <a:pt x="117" y="488"/>
                </a:lnTo>
                <a:lnTo>
                  <a:pt x="100" y="472"/>
                </a:lnTo>
                <a:lnTo>
                  <a:pt x="86" y="455"/>
                </a:lnTo>
                <a:lnTo>
                  <a:pt x="72" y="438"/>
                </a:lnTo>
                <a:lnTo>
                  <a:pt x="60" y="419"/>
                </a:lnTo>
                <a:lnTo>
                  <a:pt x="48" y="400"/>
                </a:lnTo>
                <a:lnTo>
                  <a:pt x="38" y="380"/>
                </a:lnTo>
                <a:lnTo>
                  <a:pt x="30" y="358"/>
                </a:lnTo>
                <a:lnTo>
                  <a:pt x="23" y="336"/>
                </a:lnTo>
                <a:lnTo>
                  <a:pt x="18" y="313"/>
                </a:lnTo>
                <a:lnTo>
                  <a:pt x="15" y="290"/>
                </a:lnTo>
                <a:lnTo>
                  <a:pt x="14" y="265"/>
                </a:lnTo>
                <a:lnTo>
                  <a:pt x="14" y="265"/>
                </a:lnTo>
                <a:lnTo>
                  <a:pt x="15" y="252"/>
                </a:lnTo>
                <a:lnTo>
                  <a:pt x="16" y="240"/>
                </a:lnTo>
                <a:lnTo>
                  <a:pt x="17" y="226"/>
                </a:lnTo>
                <a:lnTo>
                  <a:pt x="20" y="213"/>
                </a:lnTo>
                <a:lnTo>
                  <a:pt x="23" y="201"/>
                </a:lnTo>
                <a:lnTo>
                  <a:pt x="26" y="188"/>
                </a:lnTo>
                <a:lnTo>
                  <a:pt x="30" y="177"/>
                </a:lnTo>
                <a:lnTo>
                  <a:pt x="35" y="165"/>
                </a:lnTo>
                <a:lnTo>
                  <a:pt x="41" y="154"/>
                </a:lnTo>
                <a:lnTo>
                  <a:pt x="46" y="142"/>
                </a:lnTo>
                <a:lnTo>
                  <a:pt x="53" y="132"/>
                </a:lnTo>
                <a:lnTo>
                  <a:pt x="61" y="121"/>
                </a:lnTo>
                <a:lnTo>
                  <a:pt x="68" y="112"/>
                </a:lnTo>
                <a:lnTo>
                  <a:pt x="76" y="101"/>
                </a:lnTo>
                <a:lnTo>
                  <a:pt x="85" y="92"/>
                </a:lnTo>
                <a:lnTo>
                  <a:pt x="94" y="83"/>
                </a:lnTo>
                <a:lnTo>
                  <a:pt x="105" y="75"/>
                </a:lnTo>
                <a:lnTo>
                  <a:pt x="115" y="67"/>
                </a:lnTo>
                <a:lnTo>
                  <a:pt x="125" y="60"/>
                </a:lnTo>
                <a:lnTo>
                  <a:pt x="136" y="52"/>
                </a:lnTo>
                <a:lnTo>
                  <a:pt x="147" y="45"/>
                </a:lnTo>
                <a:lnTo>
                  <a:pt x="160" y="39"/>
                </a:lnTo>
                <a:lnTo>
                  <a:pt x="172" y="34"/>
                </a:lnTo>
                <a:lnTo>
                  <a:pt x="185" y="29"/>
                </a:lnTo>
                <a:lnTo>
                  <a:pt x="199" y="24"/>
                </a:lnTo>
                <a:lnTo>
                  <a:pt x="212" y="20"/>
                </a:lnTo>
                <a:lnTo>
                  <a:pt x="226" y="17"/>
                </a:lnTo>
                <a:lnTo>
                  <a:pt x="239" y="14"/>
                </a:lnTo>
                <a:lnTo>
                  <a:pt x="255" y="12"/>
                </a:lnTo>
                <a:lnTo>
                  <a:pt x="269" y="9"/>
                </a:lnTo>
                <a:lnTo>
                  <a:pt x="284" y="8"/>
                </a:lnTo>
                <a:lnTo>
                  <a:pt x="300" y="8"/>
                </a:lnTo>
                <a:lnTo>
                  <a:pt x="300" y="8"/>
                </a:lnTo>
                <a:lnTo>
                  <a:pt x="319" y="8"/>
                </a:lnTo>
                <a:lnTo>
                  <a:pt x="337" y="10"/>
                </a:lnTo>
                <a:lnTo>
                  <a:pt x="353" y="12"/>
                </a:lnTo>
                <a:lnTo>
                  <a:pt x="369" y="15"/>
                </a:lnTo>
                <a:lnTo>
                  <a:pt x="384" y="18"/>
                </a:lnTo>
                <a:lnTo>
                  <a:pt x="398" y="21"/>
                </a:lnTo>
                <a:lnTo>
                  <a:pt x="411" y="25"/>
                </a:lnTo>
                <a:lnTo>
                  <a:pt x="425" y="30"/>
                </a:lnTo>
                <a:lnTo>
                  <a:pt x="448" y="40"/>
                </a:lnTo>
                <a:lnTo>
                  <a:pt x="471" y="52"/>
                </a:lnTo>
                <a:lnTo>
                  <a:pt x="491" y="66"/>
                </a:lnTo>
                <a:lnTo>
                  <a:pt x="510" y="79"/>
                </a:lnTo>
                <a:lnTo>
                  <a:pt x="510" y="79"/>
                </a:lnTo>
                <a:lnTo>
                  <a:pt x="519" y="73"/>
                </a:lnTo>
                <a:lnTo>
                  <a:pt x="526" y="65"/>
                </a:lnTo>
                <a:lnTo>
                  <a:pt x="533" y="57"/>
                </a:lnTo>
                <a:lnTo>
                  <a:pt x="540" y="46"/>
                </a:lnTo>
                <a:lnTo>
                  <a:pt x="546" y="36"/>
                </a:lnTo>
                <a:lnTo>
                  <a:pt x="552" y="25"/>
                </a:lnTo>
                <a:lnTo>
                  <a:pt x="557" y="13"/>
                </a:lnTo>
                <a:lnTo>
                  <a:pt x="561" y="0"/>
                </a:lnTo>
                <a:lnTo>
                  <a:pt x="595" y="0"/>
                </a:lnTo>
                <a:lnTo>
                  <a:pt x="595" y="380"/>
                </a:lnTo>
                <a:lnTo>
                  <a:pt x="560" y="380"/>
                </a:lnTo>
                <a:lnTo>
                  <a:pt x="560" y="380"/>
                </a:lnTo>
                <a:lnTo>
                  <a:pt x="556" y="353"/>
                </a:lnTo>
                <a:lnTo>
                  <a:pt x="552" y="326"/>
                </a:lnTo>
                <a:lnTo>
                  <a:pt x="547" y="300"/>
                </a:lnTo>
                <a:lnTo>
                  <a:pt x="541" y="274"/>
                </a:lnTo>
                <a:lnTo>
                  <a:pt x="533" y="249"/>
                </a:lnTo>
                <a:lnTo>
                  <a:pt x="523" y="223"/>
                </a:lnTo>
                <a:lnTo>
                  <a:pt x="511" y="200"/>
                </a:lnTo>
                <a:lnTo>
                  <a:pt x="504" y="187"/>
                </a:lnTo>
                <a:lnTo>
                  <a:pt x="497" y="177"/>
                </a:lnTo>
                <a:lnTo>
                  <a:pt x="490" y="166"/>
                </a:lnTo>
                <a:lnTo>
                  <a:pt x="482" y="156"/>
                </a:lnTo>
                <a:lnTo>
                  <a:pt x="473" y="145"/>
                </a:lnTo>
                <a:lnTo>
                  <a:pt x="463" y="136"/>
                </a:lnTo>
                <a:lnTo>
                  <a:pt x="453" y="128"/>
                </a:lnTo>
                <a:lnTo>
                  <a:pt x="443" y="120"/>
                </a:lnTo>
                <a:lnTo>
                  <a:pt x="431" y="112"/>
                </a:lnTo>
                <a:lnTo>
                  <a:pt x="419" y="106"/>
                </a:lnTo>
                <a:lnTo>
                  <a:pt x="406" y="99"/>
                </a:lnTo>
                <a:lnTo>
                  <a:pt x="393" y="93"/>
                </a:lnTo>
                <a:lnTo>
                  <a:pt x="379" y="89"/>
                </a:lnTo>
                <a:lnTo>
                  <a:pt x="363" y="85"/>
                </a:lnTo>
                <a:lnTo>
                  <a:pt x="348" y="82"/>
                </a:lnTo>
                <a:lnTo>
                  <a:pt x="331" y="79"/>
                </a:lnTo>
                <a:lnTo>
                  <a:pt x="313" y="78"/>
                </a:lnTo>
                <a:lnTo>
                  <a:pt x="295" y="78"/>
                </a:lnTo>
                <a:lnTo>
                  <a:pt x="295" y="78"/>
                </a:lnTo>
                <a:lnTo>
                  <a:pt x="277" y="78"/>
                </a:lnTo>
                <a:lnTo>
                  <a:pt x="260" y="81"/>
                </a:lnTo>
                <a:lnTo>
                  <a:pt x="244" y="84"/>
                </a:lnTo>
                <a:lnTo>
                  <a:pt x="228" y="89"/>
                </a:lnTo>
                <a:lnTo>
                  <a:pt x="214" y="95"/>
                </a:lnTo>
                <a:lnTo>
                  <a:pt x="200" y="104"/>
                </a:lnTo>
                <a:lnTo>
                  <a:pt x="187" y="112"/>
                </a:lnTo>
                <a:lnTo>
                  <a:pt x="175" y="122"/>
                </a:lnTo>
                <a:lnTo>
                  <a:pt x="165" y="133"/>
                </a:lnTo>
                <a:lnTo>
                  <a:pt x="156" y="144"/>
                </a:lnTo>
                <a:lnTo>
                  <a:pt x="147" y="158"/>
                </a:lnTo>
                <a:lnTo>
                  <a:pt x="140" y="171"/>
                </a:lnTo>
                <a:lnTo>
                  <a:pt x="135" y="185"/>
                </a:lnTo>
                <a:lnTo>
                  <a:pt x="131" y="200"/>
                </a:lnTo>
                <a:lnTo>
                  <a:pt x="129" y="215"/>
                </a:lnTo>
                <a:lnTo>
                  <a:pt x="128" y="231"/>
                </a:lnTo>
                <a:lnTo>
                  <a:pt x="128" y="231"/>
                </a:lnTo>
                <a:lnTo>
                  <a:pt x="128" y="248"/>
                </a:lnTo>
                <a:lnTo>
                  <a:pt x="131" y="263"/>
                </a:lnTo>
                <a:lnTo>
                  <a:pt x="134" y="277"/>
                </a:lnTo>
                <a:lnTo>
                  <a:pt x="139" y="292"/>
                </a:lnTo>
                <a:lnTo>
                  <a:pt x="146" y="305"/>
                </a:lnTo>
                <a:lnTo>
                  <a:pt x="155" y="317"/>
                </a:lnTo>
                <a:lnTo>
                  <a:pt x="165" y="331"/>
                </a:lnTo>
                <a:lnTo>
                  <a:pt x="177" y="343"/>
                </a:lnTo>
                <a:lnTo>
                  <a:pt x="190" y="355"/>
                </a:lnTo>
                <a:lnTo>
                  <a:pt x="206" y="366"/>
                </a:lnTo>
                <a:lnTo>
                  <a:pt x="223" y="379"/>
                </a:lnTo>
                <a:lnTo>
                  <a:pt x="243" y="392"/>
                </a:lnTo>
                <a:lnTo>
                  <a:pt x="263" y="404"/>
                </a:lnTo>
                <a:lnTo>
                  <a:pt x="287" y="417"/>
                </a:lnTo>
                <a:lnTo>
                  <a:pt x="339" y="445"/>
                </a:lnTo>
                <a:lnTo>
                  <a:pt x="502" y="530"/>
                </a:lnTo>
                <a:lnTo>
                  <a:pt x="502" y="530"/>
                </a:lnTo>
                <a:lnTo>
                  <a:pt x="526" y="542"/>
                </a:lnTo>
                <a:lnTo>
                  <a:pt x="548" y="556"/>
                </a:lnTo>
                <a:lnTo>
                  <a:pt x="568" y="571"/>
                </a:lnTo>
                <a:lnTo>
                  <a:pt x="586" y="585"/>
                </a:lnTo>
                <a:lnTo>
                  <a:pt x="604" y="601"/>
                </a:lnTo>
                <a:lnTo>
                  <a:pt x="618" y="617"/>
                </a:lnTo>
                <a:lnTo>
                  <a:pt x="631" y="633"/>
                </a:lnTo>
                <a:lnTo>
                  <a:pt x="642" y="651"/>
                </a:lnTo>
                <a:lnTo>
                  <a:pt x="653" y="667"/>
                </a:lnTo>
                <a:lnTo>
                  <a:pt x="661" y="684"/>
                </a:lnTo>
                <a:lnTo>
                  <a:pt x="668" y="703"/>
                </a:lnTo>
                <a:lnTo>
                  <a:pt x="674" y="720"/>
                </a:lnTo>
                <a:lnTo>
                  <a:pt x="678" y="738"/>
                </a:lnTo>
                <a:lnTo>
                  <a:pt x="681" y="756"/>
                </a:lnTo>
                <a:lnTo>
                  <a:pt x="682" y="774"/>
                </a:lnTo>
                <a:lnTo>
                  <a:pt x="683" y="792"/>
                </a:lnTo>
                <a:lnTo>
                  <a:pt x="683" y="792"/>
                </a:lnTo>
                <a:lnTo>
                  <a:pt x="683" y="809"/>
                </a:lnTo>
                <a:lnTo>
                  <a:pt x="681" y="826"/>
                </a:lnTo>
                <a:lnTo>
                  <a:pt x="679" y="843"/>
                </a:lnTo>
                <a:lnTo>
                  <a:pt x="676" y="859"/>
                </a:lnTo>
                <a:lnTo>
                  <a:pt x="673" y="874"/>
                </a:lnTo>
                <a:lnTo>
                  <a:pt x="668" y="890"/>
                </a:lnTo>
                <a:lnTo>
                  <a:pt x="663" y="905"/>
                </a:lnTo>
                <a:lnTo>
                  <a:pt x="657" y="919"/>
                </a:lnTo>
                <a:lnTo>
                  <a:pt x="651" y="934"/>
                </a:lnTo>
                <a:lnTo>
                  <a:pt x="642" y="947"/>
                </a:lnTo>
                <a:lnTo>
                  <a:pt x="634" y="960"/>
                </a:lnTo>
                <a:lnTo>
                  <a:pt x="626" y="973"/>
                </a:lnTo>
                <a:lnTo>
                  <a:pt x="617" y="985"/>
                </a:lnTo>
                <a:lnTo>
                  <a:pt x="607" y="996"/>
                </a:lnTo>
                <a:lnTo>
                  <a:pt x="596" y="1007"/>
                </a:lnTo>
                <a:lnTo>
                  <a:pt x="585" y="1018"/>
                </a:lnTo>
                <a:lnTo>
                  <a:pt x="574" y="1028"/>
                </a:lnTo>
                <a:lnTo>
                  <a:pt x="562" y="1037"/>
                </a:lnTo>
                <a:lnTo>
                  <a:pt x="549" y="1045"/>
                </a:lnTo>
                <a:lnTo>
                  <a:pt x="536" y="1053"/>
                </a:lnTo>
                <a:lnTo>
                  <a:pt x="523" y="1062"/>
                </a:lnTo>
                <a:lnTo>
                  <a:pt x="509" y="1068"/>
                </a:lnTo>
                <a:lnTo>
                  <a:pt x="495" y="1075"/>
                </a:lnTo>
                <a:lnTo>
                  <a:pt x="480" y="1080"/>
                </a:lnTo>
                <a:lnTo>
                  <a:pt x="465" y="1085"/>
                </a:lnTo>
                <a:lnTo>
                  <a:pt x="450" y="1089"/>
                </a:lnTo>
                <a:lnTo>
                  <a:pt x="435" y="1093"/>
                </a:lnTo>
                <a:lnTo>
                  <a:pt x="419" y="1096"/>
                </a:lnTo>
                <a:lnTo>
                  <a:pt x="403" y="1099"/>
                </a:lnTo>
                <a:lnTo>
                  <a:pt x="387" y="1100"/>
                </a:lnTo>
                <a:lnTo>
                  <a:pt x="370" y="1101"/>
                </a:lnTo>
                <a:lnTo>
                  <a:pt x="354" y="1102"/>
                </a:lnTo>
                <a:lnTo>
                  <a:pt x="354" y="1102"/>
                </a:lnTo>
                <a:lnTo>
                  <a:pt x="329" y="1101"/>
                </a:lnTo>
                <a:lnTo>
                  <a:pt x="307" y="1099"/>
                </a:lnTo>
                <a:lnTo>
                  <a:pt x="286" y="1095"/>
                </a:lnTo>
                <a:lnTo>
                  <a:pt x="264" y="1091"/>
                </a:lnTo>
                <a:lnTo>
                  <a:pt x="245" y="1086"/>
                </a:lnTo>
                <a:lnTo>
                  <a:pt x="225" y="1080"/>
                </a:lnTo>
                <a:lnTo>
                  <a:pt x="208" y="1073"/>
                </a:lnTo>
                <a:lnTo>
                  <a:pt x="190" y="1067"/>
                </a:lnTo>
                <a:lnTo>
                  <a:pt x="160" y="1052"/>
                </a:lnTo>
                <a:lnTo>
                  <a:pt x="131" y="1039"/>
                </a:lnTo>
                <a:lnTo>
                  <a:pt x="107" y="1028"/>
                </a:lnTo>
                <a:lnTo>
                  <a:pt x="95" y="1024"/>
                </a:lnTo>
                <a:lnTo>
                  <a:pt x="85" y="1021"/>
                </a:lnTo>
                <a:lnTo>
                  <a:pt x="85" y="1021"/>
                </a:lnTo>
                <a:lnTo>
                  <a:pt x="77" y="1028"/>
                </a:lnTo>
                <a:lnTo>
                  <a:pt x="70" y="1036"/>
                </a:lnTo>
                <a:lnTo>
                  <a:pt x="62" y="1044"/>
                </a:lnTo>
                <a:lnTo>
                  <a:pt x="55" y="1053"/>
                </a:lnTo>
                <a:lnTo>
                  <a:pt x="49" y="1065"/>
                </a:lnTo>
                <a:lnTo>
                  <a:pt x="43" y="1076"/>
                </a:lnTo>
                <a:lnTo>
                  <a:pt x="38" y="1088"/>
                </a:lnTo>
                <a:lnTo>
                  <a:pt x="35" y="1102"/>
                </a:lnTo>
                <a:lnTo>
                  <a:pt x="0" y="1102"/>
                </a:lnTo>
                <a:lnTo>
                  <a:pt x="0" y="723"/>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73" name="Freeform 24">
            <a:extLst>
              <a:ext uri="{FF2B5EF4-FFF2-40B4-BE49-F238E27FC236}">
                <a16:creationId xmlns:a16="http://schemas.microsoft.com/office/drawing/2014/main" id="{C2FB785F-D8AC-CA4C-BD62-D6AEA6FE7B59}"/>
              </a:ext>
            </a:extLst>
          </p:cNvPr>
          <p:cNvSpPr>
            <a:spLocks noEditPoints="1"/>
          </p:cNvSpPr>
          <p:nvPr userDrawn="1"/>
        </p:nvSpPr>
        <p:spPr bwMode="auto">
          <a:xfrm>
            <a:off x="2270126" y="1158876"/>
            <a:ext cx="133350" cy="136525"/>
          </a:xfrm>
          <a:custGeom>
            <a:avLst/>
            <a:gdLst>
              <a:gd name="T0" fmla="*/ 49 w 1009"/>
              <a:gd name="T1" fmla="*/ 997 h 1035"/>
              <a:gd name="T2" fmla="*/ 115 w 1009"/>
              <a:gd name="T3" fmla="*/ 981 h 1035"/>
              <a:gd name="T4" fmla="*/ 136 w 1009"/>
              <a:gd name="T5" fmla="*/ 962 h 1035"/>
              <a:gd name="T6" fmla="*/ 155 w 1009"/>
              <a:gd name="T7" fmla="*/ 920 h 1035"/>
              <a:gd name="T8" fmla="*/ 163 w 1009"/>
              <a:gd name="T9" fmla="*/ 827 h 1035"/>
              <a:gd name="T10" fmla="*/ 163 w 1009"/>
              <a:gd name="T11" fmla="*/ 206 h 1035"/>
              <a:gd name="T12" fmla="*/ 155 w 1009"/>
              <a:gd name="T13" fmla="*/ 114 h 1035"/>
              <a:gd name="T14" fmla="*/ 136 w 1009"/>
              <a:gd name="T15" fmla="*/ 72 h 1035"/>
              <a:gd name="T16" fmla="*/ 115 w 1009"/>
              <a:gd name="T17" fmla="*/ 54 h 1035"/>
              <a:gd name="T18" fmla="*/ 49 w 1009"/>
              <a:gd name="T19" fmla="*/ 38 h 1035"/>
              <a:gd name="T20" fmla="*/ 456 w 1009"/>
              <a:gd name="T21" fmla="*/ 0 h 1035"/>
              <a:gd name="T22" fmla="*/ 520 w 1009"/>
              <a:gd name="T23" fmla="*/ 3 h 1035"/>
              <a:gd name="T24" fmla="*/ 597 w 1009"/>
              <a:gd name="T25" fmla="*/ 17 h 1035"/>
              <a:gd name="T26" fmla="*/ 663 w 1009"/>
              <a:gd name="T27" fmla="*/ 42 h 1035"/>
              <a:gd name="T28" fmla="*/ 718 w 1009"/>
              <a:gd name="T29" fmla="*/ 76 h 1035"/>
              <a:gd name="T30" fmla="*/ 763 w 1009"/>
              <a:gd name="T31" fmla="*/ 118 h 1035"/>
              <a:gd name="T32" fmla="*/ 796 w 1009"/>
              <a:gd name="T33" fmla="*/ 166 h 1035"/>
              <a:gd name="T34" fmla="*/ 817 w 1009"/>
              <a:gd name="T35" fmla="*/ 219 h 1035"/>
              <a:gd name="T36" fmla="*/ 826 w 1009"/>
              <a:gd name="T37" fmla="*/ 276 h 1035"/>
              <a:gd name="T38" fmla="*/ 825 w 1009"/>
              <a:gd name="T39" fmla="*/ 319 h 1035"/>
              <a:gd name="T40" fmla="*/ 815 w 1009"/>
              <a:gd name="T41" fmla="*/ 372 h 1035"/>
              <a:gd name="T42" fmla="*/ 794 w 1009"/>
              <a:gd name="T43" fmla="*/ 421 h 1035"/>
              <a:gd name="T44" fmla="*/ 764 w 1009"/>
              <a:gd name="T45" fmla="*/ 465 h 1035"/>
              <a:gd name="T46" fmla="*/ 726 w 1009"/>
              <a:gd name="T47" fmla="*/ 503 h 1035"/>
              <a:gd name="T48" fmla="*/ 677 w 1009"/>
              <a:gd name="T49" fmla="*/ 535 h 1035"/>
              <a:gd name="T50" fmla="*/ 620 w 1009"/>
              <a:gd name="T51" fmla="*/ 559 h 1035"/>
              <a:gd name="T52" fmla="*/ 555 w 1009"/>
              <a:gd name="T53" fmla="*/ 576 h 1035"/>
              <a:gd name="T54" fmla="*/ 689 w 1009"/>
              <a:gd name="T55" fmla="*/ 779 h 1035"/>
              <a:gd name="T56" fmla="*/ 767 w 1009"/>
              <a:gd name="T57" fmla="*/ 863 h 1035"/>
              <a:gd name="T58" fmla="*/ 848 w 1009"/>
              <a:gd name="T59" fmla="*/ 929 h 1035"/>
              <a:gd name="T60" fmla="*/ 930 w 1009"/>
              <a:gd name="T61" fmla="*/ 977 h 1035"/>
              <a:gd name="T62" fmla="*/ 1009 w 1009"/>
              <a:gd name="T63" fmla="*/ 999 h 1035"/>
              <a:gd name="T64" fmla="*/ 302 w 1009"/>
              <a:gd name="T65" fmla="*/ 581 h 1035"/>
              <a:gd name="T66" fmla="*/ 303 w 1009"/>
              <a:gd name="T67" fmla="*/ 855 h 1035"/>
              <a:gd name="T68" fmla="*/ 316 w 1009"/>
              <a:gd name="T69" fmla="*/ 937 h 1035"/>
              <a:gd name="T70" fmla="*/ 335 w 1009"/>
              <a:gd name="T71" fmla="*/ 967 h 1035"/>
              <a:gd name="T72" fmla="*/ 365 w 1009"/>
              <a:gd name="T73" fmla="*/ 987 h 1035"/>
              <a:gd name="T74" fmla="*/ 440 w 1009"/>
              <a:gd name="T75" fmla="*/ 998 h 1035"/>
              <a:gd name="T76" fmla="*/ 0 w 1009"/>
              <a:gd name="T77" fmla="*/ 999 h 1035"/>
              <a:gd name="T78" fmla="*/ 494 w 1009"/>
              <a:gd name="T79" fmla="*/ 516 h 1035"/>
              <a:gd name="T80" fmla="*/ 541 w 1009"/>
              <a:gd name="T81" fmla="*/ 505 h 1035"/>
              <a:gd name="T82" fmla="*/ 580 w 1009"/>
              <a:gd name="T83" fmla="*/ 486 h 1035"/>
              <a:gd name="T84" fmla="*/ 633 w 1009"/>
              <a:gd name="T85" fmla="*/ 437 h 1035"/>
              <a:gd name="T86" fmla="*/ 665 w 1009"/>
              <a:gd name="T87" fmla="*/ 359 h 1035"/>
              <a:gd name="T88" fmla="*/ 672 w 1009"/>
              <a:gd name="T89" fmla="*/ 291 h 1035"/>
              <a:gd name="T90" fmla="*/ 660 w 1009"/>
              <a:gd name="T91" fmla="*/ 204 h 1035"/>
              <a:gd name="T92" fmla="*/ 619 w 1009"/>
              <a:gd name="T93" fmla="*/ 131 h 1035"/>
              <a:gd name="T94" fmla="*/ 571 w 1009"/>
              <a:gd name="T95" fmla="*/ 91 h 1035"/>
              <a:gd name="T96" fmla="*/ 529 w 1009"/>
              <a:gd name="T97" fmla="*/ 74 h 1035"/>
              <a:gd name="T98" fmla="*/ 481 w 1009"/>
              <a:gd name="T99" fmla="*/ 65 h 1035"/>
              <a:gd name="T100" fmla="*/ 302 w 1009"/>
              <a:gd name="T101" fmla="*/ 519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09" h="1035">
                <a:moveTo>
                  <a:pt x="0" y="999"/>
                </a:moveTo>
                <a:lnTo>
                  <a:pt x="0" y="999"/>
                </a:lnTo>
                <a:lnTo>
                  <a:pt x="25" y="998"/>
                </a:lnTo>
                <a:lnTo>
                  <a:pt x="49" y="997"/>
                </a:lnTo>
                <a:lnTo>
                  <a:pt x="68" y="995"/>
                </a:lnTo>
                <a:lnTo>
                  <a:pt x="87" y="991"/>
                </a:lnTo>
                <a:lnTo>
                  <a:pt x="102" y="987"/>
                </a:lnTo>
                <a:lnTo>
                  <a:pt x="115" y="981"/>
                </a:lnTo>
                <a:lnTo>
                  <a:pt x="120" y="977"/>
                </a:lnTo>
                <a:lnTo>
                  <a:pt x="126" y="972"/>
                </a:lnTo>
                <a:lnTo>
                  <a:pt x="132" y="967"/>
                </a:lnTo>
                <a:lnTo>
                  <a:pt x="136" y="962"/>
                </a:lnTo>
                <a:lnTo>
                  <a:pt x="140" y="957"/>
                </a:lnTo>
                <a:lnTo>
                  <a:pt x="144" y="951"/>
                </a:lnTo>
                <a:lnTo>
                  <a:pt x="150" y="937"/>
                </a:lnTo>
                <a:lnTo>
                  <a:pt x="155" y="920"/>
                </a:lnTo>
                <a:lnTo>
                  <a:pt x="158" y="901"/>
                </a:lnTo>
                <a:lnTo>
                  <a:pt x="161" y="879"/>
                </a:lnTo>
                <a:lnTo>
                  <a:pt x="163" y="855"/>
                </a:lnTo>
                <a:lnTo>
                  <a:pt x="163" y="827"/>
                </a:lnTo>
                <a:lnTo>
                  <a:pt x="164" y="797"/>
                </a:lnTo>
                <a:lnTo>
                  <a:pt x="164" y="236"/>
                </a:lnTo>
                <a:lnTo>
                  <a:pt x="164" y="236"/>
                </a:lnTo>
                <a:lnTo>
                  <a:pt x="163" y="206"/>
                </a:lnTo>
                <a:lnTo>
                  <a:pt x="163" y="178"/>
                </a:lnTo>
                <a:lnTo>
                  <a:pt x="161" y="153"/>
                </a:lnTo>
                <a:lnTo>
                  <a:pt x="158" y="132"/>
                </a:lnTo>
                <a:lnTo>
                  <a:pt x="155" y="114"/>
                </a:lnTo>
                <a:lnTo>
                  <a:pt x="150" y="97"/>
                </a:lnTo>
                <a:lnTo>
                  <a:pt x="144" y="83"/>
                </a:lnTo>
                <a:lnTo>
                  <a:pt x="140" y="77"/>
                </a:lnTo>
                <a:lnTo>
                  <a:pt x="136" y="72"/>
                </a:lnTo>
                <a:lnTo>
                  <a:pt x="132" y="67"/>
                </a:lnTo>
                <a:lnTo>
                  <a:pt x="126" y="61"/>
                </a:lnTo>
                <a:lnTo>
                  <a:pt x="120" y="57"/>
                </a:lnTo>
                <a:lnTo>
                  <a:pt x="115" y="54"/>
                </a:lnTo>
                <a:lnTo>
                  <a:pt x="102" y="48"/>
                </a:lnTo>
                <a:lnTo>
                  <a:pt x="87" y="43"/>
                </a:lnTo>
                <a:lnTo>
                  <a:pt x="68" y="40"/>
                </a:lnTo>
                <a:lnTo>
                  <a:pt x="49" y="38"/>
                </a:lnTo>
                <a:lnTo>
                  <a:pt x="25" y="37"/>
                </a:lnTo>
                <a:lnTo>
                  <a:pt x="0" y="36"/>
                </a:lnTo>
                <a:lnTo>
                  <a:pt x="0" y="0"/>
                </a:lnTo>
                <a:lnTo>
                  <a:pt x="456" y="0"/>
                </a:lnTo>
                <a:lnTo>
                  <a:pt x="456" y="0"/>
                </a:lnTo>
                <a:lnTo>
                  <a:pt x="478" y="0"/>
                </a:lnTo>
                <a:lnTo>
                  <a:pt x="500" y="1"/>
                </a:lnTo>
                <a:lnTo>
                  <a:pt x="520" y="3"/>
                </a:lnTo>
                <a:lnTo>
                  <a:pt x="541" y="6"/>
                </a:lnTo>
                <a:lnTo>
                  <a:pt x="560" y="9"/>
                </a:lnTo>
                <a:lnTo>
                  <a:pt x="578" y="13"/>
                </a:lnTo>
                <a:lnTo>
                  <a:pt x="597" y="17"/>
                </a:lnTo>
                <a:lnTo>
                  <a:pt x="614" y="23"/>
                </a:lnTo>
                <a:lnTo>
                  <a:pt x="632" y="29"/>
                </a:lnTo>
                <a:lnTo>
                  <a:pt x="648" y="35"/>
                </a:lnTo>
                <a:lnTo>
                  <a:pt x="663" y="42"/>
                </a:lnTo>
                <a:lnTo>
                  <a:pt x="679" y="50"/>
                </a:lnTo>
                <a:lnTo>
                  <a:pt x="693" y="58"/>
                </a:lnTo>
                <a:lnTo>
                  <a:pt x="706" y="67"/>
                </a:lnTo>
                <a:lnTo>
                  <a:pt x="718" y="76"/>
                </a:lnTo>
                <a:lnTo>
                  <a:pt x="731" y="85"/>
                </a:lnTo>
                <a:lnTo>
                  <a:pt x="742" y="95"/>
                </a:lnTo>
                <a:lnTo>
                  <a:pt x="753" y="106"/>
                </a:lnTo>
                <a:lnTo>
                  <a:pt x="763" y="118"/>
                </a:lnTo>
                <a:lnTo>
                  <a:pt x="773" y="129"/>
                </a:lnTo>
                <a:lnTo>
                  <a:pt x="781" y="140"/>
                </a:lnTo>
                <a:lnTo>
                  <a:pt x="789" y="152"/>
                </a:lnTo>
                <a:lnTo>
                  <a:pt x="796" y="166"/>
                </a:lnTo>
                <a:lnTo>
                  <a:pt x="802" y="178"/>
                </a:lnTo>
                <a:lnTo>
                  <a:pt x="807" y="191"/>
                </a:lnTo>
                <a:lnTo>
                  <a:pt x="813" y="205"/>
                </a:lnTo>
                <a:lnTo>
                  <a:pt x="817" y="219"/>
                </a:lnTo>
                <a:lnTo>
                  <a:pt x="821" y="233"/>
                </a:lnTo>
                <a:lnTo>
                  <a:pt x="823" y="248"/>
                </a:lnTo>
                <a:lnTo>
                  <a:pt x="825" y="262"/>
                </a:lnTo>
                <a:lnTo>
                  <a:pt x="826" y="276"/>
                </a:lnTo>
                <a:lnTo>
                  <a:pt x="827" y="291"/>
                </a:lnTo>
                <a:lnTo>
                  <a:pt x="827" y="291"/>
                </a:lnTo>
                <a:lnTo>
                  <a:pt x="826" y="306"/>
                </a:lnTo>
                <a:lnTo>
                  <a:pt x="825" y="319"/>
                </a:lnTo>
                <a:lnTo>
                  <a:pt x="824" y="332"/>
                </a:lnTo>
                <a:lnTo>
                  <a:pt x="822" y="346"/>
                </a:lnTo>
                <a:lnTo>
                  <a:pt x="819" y="359"/>
                </a:lnTo>
                <a:lnTo>
                  <a:pt x="815" y="372"/>
                </a:lnTo>
                <a:lnTo>
                  <a:pt x="810" y="385"/>
                </a:lnTo>
                <a:lnTo>
                  <a:pt x="805" y="397"/>
                </a:lnTo>
                <a:lnTo>
                  <a:pt x="800" y="409"/>
                </a:lnTo>
                <a:lnTo>
                  <a:pt x="794" y="421"/>
                </a:lnTo>
                <a:lnTo>
                  <a:pt x="788" y="433"/>
                </a:lnTo>
                <a:lnTo>
                  <a:pt x="781" y="444"/>
                </a:lnTo>
                <a:lnTo>
                  <a:pt x="773" y="454"/>
                </a:lnTo>
                <a:lnTo>
                  <a:pt x="764" y="465"/>
                </a:lnTo>
                <a:lnTo>
                  <a:pt x="755" y="475"/>
                </a:lnTo>
                <a:lnTo>
                  <a:pt x="746" y="485"/>
                </a:lnTo>
                <a:lnTo>
                  <a:pt x="736" y="494"/>
                </a:lnTo>
                <a:lnTo>
                  <a:pt x="726" y="503"/>
                </a:lnTo>
                <a:lnTo>
                  <a:pt x="714" y="511"/>
                </a:lnTo>
                <a:lnTo>
                  <a:pt x="702" y="519"/>
                </a:lnTo>
                <a:lnTo>
                  <a:pt x="690" y="528"/>
                </a:lnTo>
                <a:lnTo>
                  <a:pt x="677" y="535"/>
                </a:lnTo>
                <a:lnTo>
                  <a:pt x="663" y="542"/>
                </a:lnTo>
                <a:lnTo>
                  <a:pt x="650" y="548"/>
                </a:lnTo>
                <a:lnTo>
                  <a:pt x="635" y="554"/>
                </a:lnTo>
                <a:lnTo>
                  <a:pt x="620" y="559"/>
                </a:lnTo>
                <a:lnTo>
                  <a:pt x="605" y="564"/>
                </a:lnTo>
                <a:lnTo>
                  <a:pt x="589" y="569"/>
                </a:lnTo>
                <a:lnTo>
                  <a:pt x="572" y="573"/>
                </a:lnTo>
                <a:lnTo>
                  <a:pt x="555" y="576"/>
                </a:lnTo>
                <a:lnTo>
                  <a:pt x="537" y="579"/>
                </a:lnTo>
                <a:lnTo>
                  <a:pt x="519" y="581"/>
                </a:lnTo>
                <a:lnTo>
                  <a:pt x="689" y="779"/>
                </a:lnTo>
                <a:lnTo>
                  <a:pt x="689" y="779"/>
                </a:lnTo>
                <a:lnTo>
                  <a:pt x="707" y="802"/>
                </a:lnTo>
                <a:lnTo>
                  <a:pt x="728" y="823"/>
                </a:lnTo>
                <a:lnTo>
                  <a:pt x="747" y="844"/>
                </a:lnTo>
                <a:lnTo>
                  <a:pt x="767" y="863"/>
                </a:lnTo>
                <a:lnTo>
                  <a:pt x="787" y="881"/>
                </a:lnTo>
                <a:lnTo>
                  <a:pt x="807" y="899"/>
                </a:lnTo>
                <a:lnTo>
                  <a:pt x="828" y="915"/>
                </a:lnTo>
                <a:lnTo>
                  <a:pt x="848" y="929"/>
                </a:lnTo>
                <a:lnTo>
                  <a:pt x="869" y="944"/>
                </a:lnTo>
                <a:lnTo>
                  <a:pt x="889" y="956"/>
                </a:lnTo>
                <a:lnTo>
                  <a:pt x="910" y="966"/>
                </a:lnTo>
                <a:lnTo>
                  <a:pt x="930" y="977"/>
                </a:lnTo>
                <a:lnTo>
                  <a:pt x="950" y="985"/>
                </a:lnTo>
                <a:lnTo>
                  <a:pt x="970" y="991"/>
                </a:lnTo>
                <a:lnTo>
                  <a:pt x="989" y="996"/>
                </a:lnTo>
                <a:lnTo>
                  <a:pt x="1009" y="999"/>
                </a:lnTo>
                <a:lnTo>
                  <a:pt x="1009" y="1035"/>
                </a:lnTo>
                <a:lnTo>
                  <a:pt x="725" y="1035"/>
                </a:lnTo>
                <a:lnTo>
                  <a:pt x="383" y="581"/>
                </a:lnTo>
                <a:lnTo>
                  <a:pt x="302" y="581"/>
                </a:lnTo>
                <a:lnTo>
                  <a:pt x="302" y="797"/>
                </a:lnTo>
                <a:lnTo>
                  <a:pt x="302" y="797"/>
                </a:lnTo>
                <a:lnTo>
                  <a:pt x="302" y="827"/>
                </a:lnTo>
                <a:lnTo>
                  <a:pt x="303" y="855"/>
                </a:lnTo>
                <a:lnTo>
                  <a:pt x="304" y="879"/>
                </a:lnTo>
                <a:lnTo>
                  <a:pt x="307" y="901"/>
                </a:lnTo>
                <a:lnTo>
                  <a:pt x="312" y="920"/>
                </a:lnTo>
                <a:lnTo>
                  <a:pt x="316" y="937"/>
                </a:lnTo>
                <a:lnTo>
                  <a:pt x="323" y="951"/>
                </a:lnTo>
                <a:lnTo>
                  <a:pt x="326" y="957"/>
                </a:lnTo>
                <a:lnTo>
                  <a:pt x="330" y="962"/>
                </a:lnTo>
                <a:lnTo>
                  <a:pt x="335" y="967"/>
                </a:lnTo>
                <a:lnTo>
                  <a:pt x="340" y="972"/>
                </a:lnTo>
                <a:lnTo>
                  <a:pt x="345" y="977"/>
                </a:lnTo>
                <a:lnTo>
                  <a:pt x="351" y="981"/>
                </a:lnTo>
                <a:lnTo>
                  <a:pt x="365" y="987"/>
                </a:lnTo>
                <a:lnTo>
                  <a:pt x="380" y="991"/>
                </a:lnTo>
                <a:lnTo>
                  <a:pt x="397" y="995"/>
                </a:lnTo>
                <a:lnTo>
                  <a:pt x="418" y="997"/>
                </a:lnTo>
                <a:lnTo>
                  <a:pt x="440" y="998"/>
                </a:lnTo>
                <a:lnTo>
                  <a:pt x="466" y="999"/>
                </a:lnTo>
                <a:lnTo>
                  <a:pt x="466" y="1035"/>
                </a:lnTo>
                <a:lnTo>
                  <a:pt x="0" y="1035"/>
                </a:lnTo>
                <a:lnTo>
                  <a:pt x="0" y="999"/>
                </a:lnTo>
                <a:close/>
                <a:moveTo>
                  <a:pt x="454" y="519"/>
                </a:moveTo>
                <a:lnTo>
                  <a:pt x="454" y="519"/>
                </a:lnTo>
                <a:lnTo>
                  <a:pt x="481" y="517"/>
                </a:lnTo>
                <a:lnTo>
                  <a:pt x="494" y="516"/>
                </a:lnTo>
                <a:lnTo>
                  <a:pt x="507" y="514"/>
                </a:lnTo>
                <a:lnTo>
                  <a:pt x="518" y="512"/>
                </a:lnTo>
                <a:lnTo>
                  <a:pt x="529" y="509"/>
                </a:lnTo>
                <a:lnTo>
                  <a:pt x="541" y="505"/>
                </a:lnTo>
                <a:lnTo>
                  <a:pt x="552" y="501"/>
                </a:lnTo>
                <a:lnTo>
                  <a:pt x="561" y="497"/>
                </a:lnTo>
                <a:lnTo>
                  <a:pt x="571" y="492"/>
                </a:lnTo>
                <a:lnTo>
                  <a:pt x="580" y="486"/>
                </a:lnTo>
                <a:lnTo>
                  <a:pt x="589" y="481"/>
                </a:lnTo>
                <a:lnTo>
                  <a:pt x="605" y="467"/>
                </a:lnTo>
                <a:lnTo>
                  <a:pt x="619" y="452"/>
                </a:lnTo>
                <a:lnTo>
                  <a:pt x="633" y="437"/>
                </a:lnTo>
                <a:lnTo>
                  <a:pt x="643" y="418"/>
                </a:lnTo>
                <a:lnTo>
                  <a:pt x="652" y="400"/>
                </a:lnTo>
                <a:lnTo>
                  <a:pt x="660" y="380"/>
                </a:lnTo>
                <a:lnTo>
                  <a:pt x="665" y="359"/>
                </a:lnTo>
                <a:lnTo>
                  <a:pt x="669" y="338"/>
                </a:lnTo>
                <a:lnTo>
                  <a:pt x="672" y="315"/>
                </a:lnTo>
                <a:lnTo>
                  <a:pt x="672" y="291"/>
                </a:lnTo>
                <a:lnTo>
                  <a:pt x="672" y="291"/>
                </a:lnTo>
                <a:lnTo>
                  <a:pt x="672" y="268"/>
                </a:lnTo>
                <a:lnTo>
                  <a:pt x="669" y="245"/>
                </a:lnTo>
                <a:lnTo>
                  <a:pt x="665" y="224"/>
                </a:lnTo>
                <a:lnTo>
                  <a:pt x="660" y="204"/>
                </a:lnTo>
                <a:lnTo>
                  <a:pt x="652" y="183"/>
                </a:lnTo>
                <a:lnTo>
                  <a:pt x="643" y="165"/>
                </a:lnTo>
                <a:lnTo>
                  <a:pt x="633" y="147"/>
                </a:lnTo>
                <a:lnTo>
                  <a:pt x="619" y="131"/>
                </a:lnTo>
                <a:lnTo>
                  <a:pt x="605" y="117"/>
                </a:lnTo>
                <a:lnTo>
                  <a:pt x="589" y="103"/>
                </a:lnTo>
                <a:lnTo>
                  <a:pt x="580" y="97"/>
                </a:lnTo>
                <a:lnTo>
                  <a:pt x="571" y="91"/>
                </a:lnTo>
                <a:lnTo>
                  <a:pt x="561" y="86"/>
                </a:lnTo>
                <a:lnTo>
                  <a:pt x="552" y="82"/>
                </a:lnTo>
                <a:lnTo>
                  <a:pt x="541" y="78"/>
                </a:lnTo>
                <a:lnTo>
                  <a:pt x="529" y="74"/>
                </a:lnTo>
                <a:lnTo>
                  <a:pt x="518" y="71"/>
                </a:lnTo>
                <a:lnTo>
                  <a:pt x="507" y="69"/>
                </a:lnTo>
                <a:lnTo>
                  <a:pt x="494" y="67"/>
                </a:lnTo>
                <a:lnTo>
                  <a:pt x="481" y="65"/>
                </a:lnTo>
                <a:lnTo>
                  <a:pt x="468" y="63"/>
                </a:lnTo>
                <a:lnTo>
                  <a:pt x="454" y="63"/>
                </a:lnTo>
                <a:lnTo>
                  <a:pt x="302" y="63"/>
                </a:lnTo>
                <a:lnTo>
                  <a:pt x="302" y="519"/>
                </a:lnTo>
                <a:lnTo>
                  <a:pt x="454" y="519"/>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74" name="Freeform 25">
            <a:extLst>
              <a:ext uri="{FF2B5EF4-FFF2-40B4-BE49-F238E27FC236}">
                <a16:creationId xmlns:a16="http://schemas.microsoft.com/office/drawing/2014/main" id="{FA661C93-19C4-494A-8C2E-93A472BDE956}"/>
              </a:ext>
            </a:extLst>
          </p:cNvPr>
          <p:cNvSpPr>
            <a:spLocks noEditPoints="1"/>
          </p:cNvSpPr>
          <p:nvPr userDrawn="1"/>
        </p:nvSpPr>
        <p:spPr bwMode="auto">
          <a:xfrm>
            <a:off x="2411413" y="1103313"/>
            <a:ext cx="157163" cy="192088"/>
          </a:xfrm>
          <a:custGeom>
            <a:avLst/>
            <a:gdLst>
              <a:gd name="T0" fmla="*/ 48 w 1195"/>
              <a:gd name="T1" fmla="*/ 1411 h 1449"/>
              <a:gd name="T2" fmla="*/ 115 w 1195"/>
              <a:gd name="T3" fmla="*/ 1397 h 1449"/>
              <a:gd name="T4" fmla="*/ 157 w 1195"/>
              <a:gd name="T5" fmla="*/ 1363 h 1449"/>
              <a:gd name="T6" fmla="*/ 188 w 1195"/>
              <a:gd name="T7" fmla="*/ 1304 h 1449"/>
              <a:gd name="T8" fmla="*/ 990 w 1195"/>
              <a:gd name="T9" fmla="*/ 1263 h 1449"/>
              <a:gd name="T10" fmla="*/ 1025 w 1195"/>
              <a:gd name="T11" fmla="*/ 1337 h 1449"/>
              <a:gd name="T12" fmla="*/ 1059 w 1195"/>
              <a:gd name="T13" fmla="*/ 1383 h 1449"/>
              <a:gd name="T14" fmla="*/ 1111 w 1195"/>
              <a:gd name="T15" fmla="*/ 1406 h 1449"/>
              <a:gd name="T16" fmla="*/ 1195 w 1195"/>
              <a:gd name="T17" fmla="*/ 1413 h 1449"/>
              <a:gd name="T18" fmla="*/ 718 w 1195"/>
              <a:gd name="T19" fmla="*/ 1413 h 1449"/>
              <a:gd name="T20" fmla="*/ 805 w 1195"/>
              <a:gd name="T21" fmla="*/ 1406 h 1449"/>
              <a:gd name="T22" fmla="*/ 854 w 1195"/>
              <a:gd name="T23" fmla="*/ 1382 h 1449"/>
              <a:gd name="T24" fmla="*/ 868 w 1195"/>
              <a:gd name="T25" fmla="*/ 1342 h 1449"/>
              <a:gd name="T26" fmla="*/ 852 w 1195"/>
              <a:gd name="T27" fmla="*/ 1281 h 1449"/>
              <a:gd name="T28" fmla="*/ 269 w 1195"/>
              <a:gd name="T29" fmla="*/ 1281 h 1449"/>
              <a:gd name="T30" fmla="*/ 253 w 1195"/>
              <a:gd name="T31" fmla="*/ 1341 h 1449"/>
              <a:gd name="T32" fmla="*/ 267 w 1195"/>
              <a:gd name="T33" fmla="*/ 1382 h 1449"/>
              <a:gd name="T34" fmla="*/ 316 w 1195"/>
              <a:gd name="T35" fmla="*/ 1405 h 1449"/>
              <a:gd name="T36" fmla="*/ 404 w 1195"/>
              <a:gd name="T37" fmla="*/ 1413 h 1449"/>
              <a:gd name="T38" fmla="*/ 740 w 1195"/>
              <a:gd name="T39" fmla="*/ 1027 h 1449"/>
              <a:gd name="T40" fmla="*/ 450 w 1195"/>
              <a:gd name="T41" fmla="*/ 141 h 1449"/>
              <a:gd name="T42" fmla="*/ 456 w 1195"/>
              <a:gd name="T43" fmla="*/ 99 h 1449"/>
              <a:gd name="T44" fmla="*/ 482 w 1195"/>
              <a:gd name="T45" fmla="*/ 51 h 1449"/>
              <a:gd name="T46" fmla="*/ 524 w 1195"/>
              <a:gd name="T47" fmla="*/ 17 h 1449"/>
              <a:gd name="T48" fmla="*/ 577 w 1195"/>
              <a:gd name="T49" fmla="*/ 1 h 1449"/>
              <a:gd name="T50" fmla="*/ 621 w 1195"/>
              <a:gd name="T51" fmla="*/ 3 h 1449"/>
              <a:gd name="T52" fmla="*/ 672 w 1195"/>
              <a:gd name="T53" fmla="*/ 25 h 1449"/>
              <a:gd name="T54" fmla="*/ 711 w 1195"/>
              <a:gd name="T55" fmla="*/ 62 h 1449"/>
              <a:gd name="T56" fmla="*/ 732 w 1195"/>
              <a:gd name="T57" fmla="*/ 112 h 1449"/>
              <a:gd name="T58" fmla="*/ 734 w 1195"/>
              <a:gd name="T59" fmla="*/ 156 h 1449"/>
              <a:gd name="T60" fmla="*/ 718 w 1195"/>
              <a:gd name="T61" fmla="*/ 210 h 1449"/>
              <a:gd name="T62" fmla="*/ 683 w 1195"/>
              <a:gd name="T63" fmla="*/ 252 h 1449"/>
              <a:gd name="T64" fmla="*/ 634 w 1195"/>
              <a:gd name="T65" fmla="*/ 278 h 1449"/>
              <a:gd name="T66" fmla="*/ 591 w 1195"/>
              <a:gd name="T67" fmla="*/ 284 h 1449"/>
              <a:gd name="T68" fmla="*/ 536 w 1195"/>
              <a:gd name="T69" fmla="*/ 273 h 1449"/>
              <a:gd name="T70" fmla="*/ 491 w 1195"/>
              <a:gd name="T71" fmla="*/ 242 h 1449"/>
              <a:gd name="T72" fmla="*/ 461 w 1195"/>
              <a:gd name="T73" fmla="*/ 197 h 1449"/>
              <a:gd name="T74" fmla="*/ 450 w 1195"/>
              <a:gd name="T75" fmla="*/ 141 h 1449"/>
              <a:gd name="T76" fmla="*/ 671 w 1195"/>
              <a:gd name="T77" fmla="*/ 133 h 1449"/>
              <a:gd name="T78" fmla="*/ 662 w 1195"/>
              <a:gd name="T79" fmla="*/ 104 h 1449"/>
              <a:gd name="T80" fmla="*/ 642 w 1195"/>
              <a:gd name="T81" fmla="*/ 82 h 1449"/>
              <a:gd name="T82" fmla="*/ 615 w 1195"/>
              <a:gd name="T83" fmla="*/ 67 h 1449"/>
              <a:gd name="T84" fmla="*/ 591 w 1195"/>
              <a:gd name="T85" fmla="*/ 63 h 1449"/>
              <a:gd name="T86" fmla="*/ 562 w 1195"/>
              <a:gd name="T87" fmla="*/ 70 h 1449"/>
              <a:gd name="T88" fmla="*/ 536 w 1195"/>
              <a:gd name="T89" fmla="*/ 86 h 1449"/>
              <a:gd name="T90" fmla="*/ 519 w 1195"/>
              <a:gd name="T91" fmla="*/ 111 h 1449"/>
              <a:gd name="T92" fmla="*/ 512 w 1195"/>
              <a:gd name="T93" fmla="*/ 141 h 1449"/>
              <a:gd name="T94" fmla="*/ 516 w 1195"/>
              <a:gd name="T95" fmla="*/ 165 h 1449"/>
              <a:gd name="T96" fmla="*/ 531 w 1195"/>
              <a:gd name="T97" fmla="*/ 191 h 1449"/>
              <a:gd name="T98" fmla="*/ 554 w 1195"/>
              <a:gd name="T99" fmla="*/ 211 h 1449"/>
              <a:gd name="T100" fmla="*/ 584 w 1195"/>
              <a:gd name="T101" fmla="*/ 220 h 1449"/>
              <a:gd name="T102" fmla="*/ 608 w 1195"/>
              <a:gd name="T103" fmla="*/ 219 h 1449"/>
              <a:gd name="T104" fmla="*/ 636 w 1195"/>
              <a:gd name="T105" fmla="*/ 207 h 1449"/>
              <a:gd name="T106" fmla="*/ 658 w 1195"/>
              <a:gd name="T107" fmla="*/ 185 h 1449"/>
              <a:gd name="T108" fmla="*/ 669 w 1195"/>
              <a:gd name="T109" fmla="*/ 157 h 1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95" h="1449">
                <a:moveTo>
                  <a:pt x="0" y="1413"/>
                </a:moveTo>
                <a:lnTo>
                  <a:pt x="0" y="1413"/>
                </a:lnTo>
                <a:lnTo>
                  <a:pt x="26" y="1412"/>
                </a:lnTo>
                <a:lnTo>
                  <a:pt x="48" y="1411"/>
                </a:lnTo>
                <a:lnTo>
                  <a:pt x="69" y="1409"/>
                </a:lnTo>
                <a:lnTo>
                  <a:pt x="86" y="1406"/>
                </a:lnTo>
                <a:lnTo>
                  <a:pt x="101" y="1402"/>
                </a:lnTo>
                <a:lnTo>
                  <a:pt x="115" y="1397"/>
                </a:lnTo>
                <a:lnTo>
                  <a:pt x="127" y="1391"/>
                </a:lnTo>
                <a:lnTo>
                  <a:pt x="138" y="1383"/>
                </a:lnTo>
                <a:lnTo>
                  <a:pt x="147" y="1374"/>
                </a:lnTo>
                <a:lnTo>
                  <a:pt x="157" y="1363"/>
                </a:lnTo>
                <a:lnTo>
                  <a:pt x="165" y="1351"/>
                </a:lnTo>
                <a:lnTo>
                  <a:pt x="172" y="1337"/>
                </a:lnTo>
                <a:lnTo>
                  <a:pt x="180" y="1321"/>
                </a:lnTo>
                <a:lnTo>
                  <a:pt x="188" y="1304"/>
                </a:lnTo>
                <a:lnTo>
                  <a:pt x="207" y="1263"/>
                </a:lnTo>
                <a:lnTo>
                  <a:pt x="586" y="384"/>
                </a:lnTo>
                <a:lnTo>
                  <a:pt x="609" y="384"/>
                </a:lnTo>
                <a:lnTo>
                  <a:pt x="990" y="1263"/>
                </a:lnTo>
                <a:lnTo>
                  <a:pt x="990" y="1263"/>
                </a:lnTo>
                <a:lnTo>
                  <a:pt x="1008" y="1304"/>
                </a:lnTo>
                <a:lnTo>
                  <a:pt x="1017" y="1321"/>
                </a:lnTo>
                <a:lnTo>
                  <a:pt x="1025" y="1337"/>
                </a:lnTo>
                <a:lnTo>
                  <a:pt x="1033" y="1351"/>
                </a:lnTo>
                <a:lnTo>
                  <a:pt x="1041" y="1363"/>
                </a:lnTo>
                <a:lnTo>
                  <a:pt x="1049" y="1374"/>
                </a:lnTo>
                <a:lnTo>
                  <a:pt x="1059" y="1383"/>
                </a:lnTo>
                <a:lnTo>
                  <a:pt x="1070" y="1391"/>
                </a:lnTo>
                <a:lnTo>
                  <a:pt x="1082" y="1397"/>
                </a:lnTo>
                <a:lnTo>
                  <a:pt x="1095" y="1402"/>
                </a:lnTo>
                <a:lnTo>
                  <a:pt x="1111" y="1406"/>
                </a:lnTo>
                <a:lnTo>
                  <a:pt x="1128" y="1409"/>
                </a:lnTo>
                <a:lnTo>
                  <a:pt x="1147" y="1411"/>
                </a:lnTo>
                <a:lnTo>
                  <a:pt x="1170" y="1412"/>
                </a:lnTo>
                <a:lnTo>
                  <a:pt x="1195" y="1413"/>
                </a:lnTo>
                <a:lnTo>
                  <a:pt x="1195" y="1449"/>
                </a:lnTo>
                <a:lnTo>
                  <a:pt x="718" y="1449"/>
                </a:lnTo>
                <a:lnTo>
                  <a:pt x="718" y="1413"/>
                </a:lnTo>
                <a:lnTo>
                  <a:pt x="718" y="1413"/>
                </a:lnTo>
                <a:lnTo>
                  <a:pt x="744" y="1412"/>
                </a:lnTo>
                <a:lnTo>
                  <a:pt x="766" y="1411"/>
                </a:lnTo>
                <a:lnTo>
                  <a:pt x="786" y="1409"/>
                </a:lnTo>
                <a:lnTo>
                  <a:pt x="805" y="1406"/>
                </a:lnTo>
                <a:lnTo>
                  <a:pt x="820" y="1402"/>
                </a:lnTo>
                <a:lnTo>
                  <a:pt x="834" y="1397"/>
                </a:lnTo>
                <a:lnTo>
                  <a:pt x="845" y="1390"/>
                </a:lnTo>
                <a:lnTo>
                  <a:pt x="854" y="1382"/>
                </a:lnTo>
                <a:lnTo>
                  <a:pt x="861" y="1374"/>
                </a:lnTo>
                <a:lnTo>
                  <a:pt x="865" y="1365"/>
                </a:lnTo>
                <a:lnTo>
                  <a:pt x="868" y="1354"/>
                </a:lnTo>
                <a:lnTo>
                  <a:pt x="868" y="1342"/>
                </a:lnTo>
                <a:lnTo>
                  <a:pt x="867" y="1329"/>
                </a:lnTo>
                <a:lnTo>
                  <a:pt x="864" y="1315"/>
                </a:lnTo>
                <a:lnTo>
                  <a:pt x="859" y="1299"/>
                </a:lnTo>
                <a:lnTo>
                  <a:pt x="852" y="1281"/>
                </a:lnTo>
                <a:lnTo>
                  <a:pt x="769" y="1090"/>
                </a:lnTo>
                <a:lnTo>
                  <a:pt x="352" y="1090"/>
                </a:lnTo>
                <a:lnTo>
                  <a:pt x="269" y="1281"/>
                </a:lnTo>
                <a:lnTo>
                  <a:pt x="269" y="1281"/>
                </a:lnTo>
                <a:lnTo>
                  <a:pt x="262" y="1299"/>
                </a:lnTo>
                <a:lnTo>
                  <a:pt x="257" y="1314"/>
                </a:lnTo>
                <a:lnTo>
                  <a:pt x="254" y="1328"/>
                </a:lnTo>
                <a:lnTo>
                  <a:pt x="253" y="1341"/>
                </a:lnTo>
                <a:lnTo>
                  <a:pt x="253" y="1353"/>
                </a:lnTo>
                <a:lnTo>
                  <a:pt x="256" y="1364"/>
                </a:lnTo>
                <a:lnTo>
                  <a:pt x="260" y="1373"/>
                </a:lnTo>
                <a:lnTo>
                  <a:pt x="267" y="1382"/>
                </a:lnTo>
                <a:lnTo>
                  <a:pt x="276" y="1390"/>
                </a:lnTo>
                <a:lnTo>
                  <a:pt x="287" y="1396"/>
                </a:lnTo>
                <a:lnTo>
                  <a:pt x="301" y="1401"/>
                </a:lnTo>
                <a:lnTo>
                  <a:pt x="316" y="1405"/>
                </a:lnTo>
                <a:lnTo>
                  <a:pt x="335" y="1409"/>
                </a:lnTo>
                <a:lnTo>
                  <a:pt x="355" y="1411"/>
                </a:lnTo>
                <a:lnTo>
                  <a:pt x="378" y="1412"/>
                </a:lnTo>
                <a:lnTo>
                  <a:pt x="404" y="1413"/>
                </a:lnTo>
                <a:lnTo>
                  <a:pt x="404" y="1449"/>
                </a:lnTo>
                <a:lnTo>
                  <a:pt x="0" y="1449"/>
                </a:lnTo>
                <a:lnTo>
                  <a:pt x="0" y="1413"/>
                </a:lnTo>
                <a:close/>
                <a:moveTo>
                  <a:pt x="740" y="1027"/>
                </a:moveTo>
                <a:lnTo>
                  <a:pt x="558" y="610"/>
                </a:lnTo>
                <a:lnTo>
                  <a:pt x="380" y="1027"/>
                </a:lnTo>
                <a:lnTo>
                  <a:pt x="740" y="1027"/>
                </a:lnTo>
                <a:close/>
                <a:moveTo>
                  <a:pt x="450" y="141"/>
                </a:moveTo>
                <a:lnTo>
                  <a:pt x="450" y="141"/>
                </a:lnTo>
                <a:lnTo>
                  <a:pt x="451" y="127"/>
                </a:lnTo>
                <a:lnTo>
                  <a:pt x="453" y="112"/>
                </a:lnTo>
                <a:lnTo>
                  <a:pt x="456" y="99"/>
                </a:lnTo>
                <a:lnTo>
                  <a:pt x="461" y="87"/>
                </a:lnTo>
                <a:lnTo>
                  <a:pt x="467" y="74"/>
                </a:lnTo>
                <a:lnTo>
                  <a:pt x="474" y="62"/>
                </a:lnTo>
                <a:lnTo>
                  <a:pt x="482" y="51"/>
                </a:lnTo>
                <a:lnTo>
                  <a:pt x="491" y="42"/>
                </a:lnTo>
                <a:lnTo>
                  <a:pt x="501" y="33"/>
                </a:lnTo>
                <a:lnTo>
                  <a:pt x="512" y="25"/>
                </a:lnTo>
                <a:lnTo>
                  <a:pt x="524" y="17"/>
                </a:lnTo>
                <a:lnTo>
                  <a:pt x="536" y="11"/>
                </a:lnTo>
                <a:lnTo>
                  <a:pt x="549" y="6"/>
                </a:lnTo>
                <a:lnTo>
                  <a:pt x="563" y="3"/>
                </a:lnTo>
                <a:lnTo>
                  <a:pt x="577" y="1"/>
                </a:lnTo>
                <a:lnTo>
                  <a:pt x="591" y="0"/>
                </a:lnTo>
                <a:lnTo>
                  <a:pt x="591" y="0"/>
                </a:lnTo>
                <a:lnTo>
                  <a:pt x="607" y="1"/>
                </a:lnTo>
                <a:lnTo>
                  <a:pt x="621" y="3"/>
                </a:lnTo>
                <a:lnTo>
                  <a:pt x="634" y="6"/>
                </a:lnTo>
                <a:lnTo>
                  <a:pt x="647" y="11"/>
                </a:lnTo>
                <a:lnTo>
                  <a:pt x="660" y="17"/>
                </a:lnTo>
                <a:lnTo>
                  <a:pt x="672" y="25"/>
                </a:lnTo>
                <a:lnTo>
                  <a:pt x="683" y="33"/>
                </a:lnTo>
                <a:lnTo>
                  <a:pt x="693" y="42"/>
                </a:lnTo>
                <a:lnTo>
                  <a:pt x="703" y="51"/>
                </a:lnTo>
                <a:lnTo>
                  <a:pt x="711" y="62"/>
                </a:lnTo>
                <a:lnTo>
                  <a:pt x="718" y="74"/>
                </a:lnTo>
                <a:lnTo>
                  <a:pt x="724" y="87"/>
                </a:lnTo>
                <a:lnTo>
                  <a:pt x="728" y="99"/>
                </a:lnTo>
                <a:lnTo>
                  <a:pt x="732" y="112"/>
                </a:lnTo>
                <a:lnTo>
                  <a:pt x="734" y="127"/>
                </a:lnTo>
                <a:lnTo>
                  <a:pt x="735" y="141"/>
                </a:lnTo>
                <a:lnTo>
                  <a:pt x="735" y="141"/>
                </a:lnTo>
                <a:lnTo>
                  <a:pt x="734" y="156"/>
                </a:lnTo>
                <a:lnTo>
                  <a:pt x="732" y="170"/>
                </a:lnTo>
                <a:lnTo>
                  <a:pt x="728" y="184"/>
                </a:lnTo>
                <a:lnTo>
                  <a:pt x="724" y="197"/>
                </a:lnTo>
                <a:lnTo>
                  <a:pt x="718" y="210"/>
                </a:lnTo>
                <a:lnTo>
                  <a:pt x="711" y="222"/>
                </a:lnTo>
                <a:lnTo>
                  <a:pt x="703" y="232"/>
                </a:lnTo>
                <a:lnTo>
                  <a:pt x="693" y="242"/>
                </a:lnTo>
                <a:lnTo>
                  <a:pt x="683" y="252"/>
                </a:lnTo>
                <a:lnTo>
                  <a:pt x="672" y="260"/>
                </a:lnTo>
                <a:lnTo>
                  <a:pt x="660" y="267"/>
                </a:lnTo>
                <a:lnTo>
                  <a:pt x="647" y="273"/>
                </a:lnTo>
                <a:lnTo>
                  <a:pt x="634" y="278"/>
                </a:lnTo>
                <a:lnTo>
                  <a:pt x="621" y="281"/>
                </a:lnTo>
                <a:lnTo>
                  <a:pt x="607" y="284"/>
                </a:lnTo>
                <a:lnTo>
                  <a:pt x="591" y="284"/>
                </a:lnTo>
                <a:lnTo>
                  <a:pt x="591" y="284"/>
                </a:lnTo>
                <a:lnTo>
                  <a:pt x="577" y="284"/>
                </a:lnTo>
                <a:lnTo>
                  <a:pt x="563" y="281"/>
                </a:lnTo>
                <a:lnTo>
                  <a:pt x="549" y="278"/>
                </a:lnTo>
                <a:lnTo>
                  <a:pt x="536" y="273"/>
                </a:lnTo>
                <a:lnTo>
                  <a:pt x="524" y="267"/>
                </a:lnTo>
                <a:lnTo>
                  <a:pt x="512" y="260"/>
                </a:lnTo>
                <a:lnTo>
                  <a:pt x="501" y="252"/>
                </a:lnTo>
                <a:lnTo>
                  <a:pt x="491" y="242"/>
                </a:lnTo>
                <a:lnTo>
                  <a:pt x="482" y="232"/>
                </a:lnTo>
                <a:lnTo>
                  <a:pt x="474" y="222"/>
                </a:lnTo>
                <a:lnTo>
                  <a:pt x="467" y="210"/>
                </a:lnTo>
                <a:lnTo>
                  <a:pt x="461" y="197"/>
                </a:lnTo>
                <a:lnTo>
                  <a:pt x="456" y="184"/>
                </a:lnTo>
                <a:lnTo>
                  <a:pt x="453" y="170"/>
                </a:lnTo>
                <a:lnTo>
                  <a:pt x="451" y="156"/>
                </a:lnTo>
                <a:lnTo>
                  <a:pt x="450" y="141"/>
                </a:lnTo>
                <a:lnTo>
                  <a:pt x="450" y="141"/>
                </a:lnTo>
                <a:close/>
                <a:moveTo>
                  <a:pt x="671" y="141"/>
                </a:moveTo>
                <a:lnTo>
                  <a:pt x="671" y="141"/>
                </a:lnTo>
                <a:lnTo>
                  <a:pt x="671" y="133"/>
                </a:lnTo>
                <a:lnTo>
                  <a:pt x="669" y="126"/>
                </a:lnTo>
                <a:lnTo>
                  <a:pt x="668" y="119"/>
                </a:lnTo>
                <a:lnTo>
                  <a:pt x="665" y="111"/>
                </a:lnTo>
                <a:lnTo>
                  <a:pt x="662" y="104"/>
                </a:lnTo>
                <a:lnTo>
                  <a:pt x="658" y="98"/>
                </a:lnTo>
                <a:lnTo>
                  <a:pt x="653" y="92"/>
                </a:lnTo>
                <a:lnTo>
                  <a:pt x="647" y="86"/>
                </a:lnTo>
                <a:lnTo>
                  <a:pt x="642" y="82"/>
                </a:lnTo>
                <a:lnTo>
                  <a:pt x="636" y="77"/>
                </a:lnTo>
                <a:lnTo>
                  <a:pt x="629" y="73"/>
                </a:lnTo>
                <a:lnTo>
                  <a:pt x="622" y="70"/>
                </a:lnTo>
                <a:lnTo>
                  <a:pt x="615" y="67"/>
                </a:lnTo>
                <a:lnTo>
                  <a:pt x="608" y="65"/>
                </a:lnTo>
                <a:lnTo>
                  <a:pt x="599" y="64"/>
                </a:lnTo>
                <a:lnTo>
                  <a:pt x="591" y="63"/>
                </a:lnTo>
                <a:lnTo>
                  <a:pt x="591" y="63"/>
                </a:lnTo>
                <a:lnTo>
                  <a:pt x="584" y="64"/>
                </a:lnTo>
                <a:lnTo>
                  <a:pt x="576" y="65"/>
                </a:lnTo>
                <a:lnTo>
                  <a:pt x="569" y="67"/>
                </a:lnTo>
                <a:lnTo>
                  <a:pt x="562" y="70"/>
                </a:lnTo>
                <a:lnTo>
                  <a:pt x="554" y="73"/>
                </a:lnTo>
                <a:lnTo>
                  <a:pt x="547" y="77"/>
                </a:lnTo>
                <a:lnTo>
                  <a:pt x="541" y="82"/>
                </a:lnTo>
                <a:lnTo>
                  <a:pt x="536" y="86"/>
                </a:lnTo>
                <a:lnTo>
                  <a:pt x="531" y="92"/>
                </a:lnTo>
                <a:lnTo>
                  <a:pt x="526" y="98"/>
                </a:lnTo>
                <a:lnTo>
                  <a:pt x="522" y="104"/>
                </a:lnTo>
                <a:lnTo>
                  <a:pt x="519" y="111"/>
                </a:lnTo>
                <a:lnTo>
                  <a:pt x="516" y="119"/>
                </a:lnTo>
                <a:lnTo>
                  <a:pt x="513" y="126"/>
                </a:lnTo>
                <a:lnTo>
                  <a:pt x="512" y="133"/>
                </a:lnTo>
                <a:lnTo>
                  <a:pt x="512" y="141"/>
                </a:lnTo>
                <a:lnTo>
                  <a:pt x="512" y="141"/>
                </a:lnTo>
                <a:lnTo>
                  <a:pt x="512" y="149"/>
                </a:lnTo>
                <a:lnTo>
                  <a:pt x="513" y="157"/>
                </a:lnTo>
                <a:lnTo>
                  <a:pt x="516" y="165"/>
                </a:lnTo>
                <a:lnTo>
                  <a:pt x="519" y="172"/>
                </a:lnTo>
                <a:lnTo>
                  <a:pt x="522" y="179"/>
                </a:lnTo>
                <a:lnTo>
                  <a:pt x="526" y="185"/>
                </a:lnTo>
                <a:lnTo>
                  <a:pt x="531" y="191"/>
                </a:lnTo>
                <a:lnTo>
                  <a:pt x="536" y="197"/>
                </a:lnTo>
                <a:lnTo>
                  <a:pt x="541" y="202"/>
                </a:lnTo>
                <a:lnTo>
                  <a:pt x="547" y="207"/>
                </a:lnTo>
                <a:lnTo>
                  <a:pt x="554" y="211"/>
                </a:lnTo>
                <a:lnTo>
                  <a:pt x="562" y="215"/>
                </a:lnTo>
                <a:lnTo>
                  <a:pt x="569" y="217"/>
                </a:lnTo>
                <a:lnTo>
                  <a:pt x="576" y="219"/>
                </a:lnTo>
                <a:lnTo>
                  <a:pt x="584" y="220"/>
                </a:lnTo>
                <a:lnTo>
                  <a:pt x="591" y="221"/>
                </a:lnTo>
                <a:lnTo>
                  <a:pt x="591" y="221"/>
                </a:lnTo>
                <a:lnTo>
                  <a:pt x="599" y="220"/>
                </a:lnTo>
                <a:lnTo>
                  <a:pt x="608" y="219"/>
                </a:lnTo>
                <a:lnTo>
                  <a:pt x="615" y="217"/>
                </a:lnTo>
                <a:lnTo>
                  <a:pt x="622" y="215"/>
                </a:lnTo>
                <a:lnTo>
                  <a:pt x="629" y="211"/>
                </a:lnTo>
                <a:lnTo>
                  <a:pt x="636" y="207"/>
                </a:lnTo>
                <a:lnTo>
                  <a:pt x="642" y="202"/>
                </a:lnTo>
                <a:lnTo>
                  <a:pt x="647" y="197"/>
                </a:lnTo>
                <a:lnTo>
                  <a:pt x="653" y="191"/>
                </a:lnTo>
                <a:lnTo>
                  <a:pt x="658" y="185"/>
                </a:lnTo>
                <a:lnTo>
                  <a:pt x="662" y="179"/>
                </a:lnTo>
                <a:lnTo>
                  <a:pt x="665" y="172"/>
                </a:lnTo>
                <a:lnTo>
                  <a:pt x="668" y="165"/>
                </a:lnTo>
                <a:lnTo>
                  <a:pt x="669" y="157"/>
                </a:lnTo>
                <a:lnTo>
                  <a:pt x="671" y="149"/>
                </a:lnTo>
                <a:lnTo>
                  <a:pt x="671" y="141"/>
                </a:lnTo>
                <a:lnTo>
                  <a:pt x="671" y="141"/>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75" name="Freeform 26">
            <a:extLst>
              <a:ext uri="{FF2B5EF4-FFF2-40B4-BE49-F238E27FC236}">
                <a16:creationId xmlns:a16="http://schemas.microsoft.com/office/drawing/2014/main" id="{9A29B5C2-6BCF-864E-A249-62F234E2F11F}"/>
              </a:ext>
            </a:extLst>
          </p:cNvPr>
          <p:cNvSpPr>
            <a:spLocks noEditPoints="1"/>
          </p:cNvSpPr>
          <p:nvPr userDrawn="1"/>
        </p:nvSpPr>
        <p:spPr bwMode="auto">
          <a:xfrm>
            <a:off x="2586038" y="1158876"/>
            <a:ext cx="138113" cy="136525"/>
          </a:xfrm>
          <a:custGeom>
            <a:avLst/>
            <a:gdLst>
              <a:gd name="T0" fmla="*/ 48 w 1043"/>
              <a:gd name="T1" fmla="*/ 997 h 1035"/>
              <a:gd name="T2" fmla="*/ 115 w 1043"/>
              <a:gd name="T3" fmla="*/ 981 h 1035"/>
              <a:gd name="T4" fmla="*/ 135 w 1043"/>
              <a:gd name="T5" fmla="*/ 962 h 1035"/>
              <a:gd name="T6" fmla="*/ 155 w 1043"/>
              <a:gd name="T7" fmla="*/ 920 h 1035"/>
              <a:gd name="T8" fmla="*/ 164 w 1043"/>
              <a:gd name="T9" fmla="*/ 827 h 1035"/>
              <a:gd name="T10" fmla="*/ 164 w 1043"/>
              <a:gd name="T11" fmla="*/ 206 h 1035"/>
              <a:gd name="T12" fmla="*/ 155 w 1043"/>
              <a:gd name="T13" fmla="*/ 114 h 1035"/>
              <a:gd name="T14" fmla="*/ 135 w 1043"/>
              <a:gd name="T15" fmla="*/ 72 h 1035"/>
              <a:gd name="T16" fmla="*/ 115 w 1043"/>
              <a:gd name="T17" fmla="*/ 54 h 1035"/>
              <a:gd name="T18" fmla="*/ 48 w 1043"/>
              <a:gd name="T19" fmla="*/ 38 h 1035"/>
              <a:gd name="T20" fmla="*/ 468 w 1043"/>
              <a:gd name="T21" fmla="*/ 0 h 1035"/>
              <a:gd name="T22" fmla="*/ 574 w 1043"/>
              <a:gd name="T23" fmla="*/ 6 h 1035"/>
              <a:gd name="T24" fmla="*/ 699 w 1043"/>
              <a:gd name="T25" fmla="*/ 32 h 1035"/>
              <a:gd name="T26" fmla="*/ 803 w 1043"/>
              <a:gd name="T27" fmla="*/ 75 h 1035"/>
              <a:gd name="T28" fmla="*/ 888 w 1043"/>
              <a:gd name="T29" fmla="*/ 135 h 1035"/>
              <a:gd name="T30" fmla="*/ 953 w 1043"/>
              <a:gd name="T31" fmla="*/ 209 h 1035"/>
              <a:gd name="T32" fmla="*/ 1001 w 1043"/>
              <a:gd name="T33" fmla="*/ 294 h 1035"/>
              <a:gd name="T34" fmla="*/ 1031 w 1043"/>
              <a:gd name="T35" fmla="*/ 389 h 1035"/>
              <a:gd name="T36" fmla="*/ 1043 w 1043"/>
              <a:gd name="T37" fmla="*/ 491 h 1035"/>
              <a:gd name="T38" fmla="*/ 1041 w 1043"/>
              <a:gd name="T39" fmla="*/ 570 h 1035"/>
              <a:gd name="T40" fmla="*/ 1025 w 1043"/>
              <a:gd name="T41" fmla="*/ 671 h 1035"/>
              <a:gd name="T42" fmla="*/ 991 w 1043"/>
              <a:gd name="T43" fmla="*/ 764 h 1035"/>
              <a:gd name="T44" fmla="*/ 939 w 1043"/>
              <a:gd name="T45" fmla="*/ 846 h 1035"/>
              <a:gd name="T46" fmla="*/ 868 w 1043"/>
              <a:gd name="T47" fmla="*/ 916 h 1035"/>
              <a:gd name="T48" fmla="*/ 779 w 1043"/>
              <a:gd name="T49" fmla="*/ 972 h 1035"/>
              <a:gd name="T50" fmla="*/ 670 w 1043"/>
              <a:gd name="T51" fmla="*/ 1011 h 1035"/>
              <a:gd name="T52" fmla="*/ 540 w 1043"/>
              <a:gd name="T53" fmla="*/ 1032 h 1035"/>
              <a:gd name="T54" fmla="*/ 0 w 1043"/>
              <a:gd name="T55" fmla="*/ 999 h 1035"/>
              <a:gd name="T56" fmla="*/ 529 w 1043"/>
              <a:gd name="T57" fmla="*/ 968 h 1035"/>
              <a:gd name="T58" fmla="*/ 631 w 1043"/>
              <a:gd name="T59" fmla="*/ 947 h 1035"/>
              <a:gd name="T60" fmla="*/ 713 w 1043"/>
              <a:gd name="T61" fmla="*/ 906 h 1035"/>
              <a:gd name="T62" fmla="*/ 775 w 1043"/>
              <a:gd name="T63" fmla="*/ 852 h 1035"/>
              <a:gd name="T64" fmla="*/ 820 w 1043"/>
              <a:gd name="T65" fmla="*/ 785 h 1035"/>
              <a:gd name="T66" fmla="*/ 851 w 1043"/>
              <a:gd name="T67" fmla="*/ 712 h 1035"/>
              <a:gd name="T68" fmla="*/ 869 w 1043"/>
              <a:gd name="T69" fmla="*/ 634 h 1035"/>
              <a:gd name="T70" fmla="*/ 878 w 1043"/>
              <a:gd name="T71" fmla="*/ 517 h 1035"/>
              <a:gd name="T72" fmla="*/ 865 w 1043"/>
              <a:gd name="T73" fmla="*/ 380 h 1035"/>
              <a:gd name="T74" fmla="*/ 845 w 1043"/>
              <a:gd name="T75" fmla="*/ 304 h 1035"/>
              <a:gd name="T76" fmla="*/ 810 w 1043"/>
              <a:gd name="T77" fmla="*/ 231 h 1035"/>
              <a:gd name="T78" fmla="*/ 761 w 1043"/>
              <a:gd name="T79" fmla="*/ 168 h 1035"/>
              <a:gd name="T80" fmla="*/ 695 w 1043"/>
              <a:gd name="T81" fmla="*/ 117 h 1035"/>
              <a:gd name="T82" fmla="*/ 608 w 1043"/>
              <a:gd name="T83" fmla="*/ 81 h 1035"/>
              <a:gd name="T84" fmla="*/ 500 w 1043"/>
              <a:gd name="T85" fmla="*/ 65 h 1035"/>
              <a:gd name="T86" fmla="*/ 302 w 1043"/>
              <a:gd name="T87" fmla="*/ 771 h 1035"/>
              <a:gd name="T88" fmla="*/ 307 w 1043"/>
              <a:gd name="T89" fmla="*/ 875 h 1035"/>
              <a:gd name="T90" fmla="*/ 324 w 1043"/>
              <a:gd name="T91" fmla="*/ 931 h 1035"/>
              <a:gd name="T92" fmla="*/ 344 w 1043"/>
              <a:gd name="T93" fmla="*/ 950 h 1035"/>
              <a:gd name="T94" fmla="*/ 395 w 1043"/>
              <a:gd name="T95" fmla="*/ 967 h 1035"/>
              <a:gd name="T96" fmla="*/ 469 w 1043"/>
              <a:gd name="T97" fmla="*/ 971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43" h="1035">
                <a:moveTo>
                  <a:pt x="0" y="999"/>
                </a:moveTo>
                <a:lnTo>
                  <a:pt x="0" y="999"/>
                </a:lnTo>
                <a:lnTo>
                  <a:pt x="25" y="998"/>
                </a:lnTo>
                <a:lnTo>
                  <a:pt x="48" y="997"/>
                </a:lnTo>
                <a:lnTo>
                  <a:pt x="68" y="995"/>
                </a:lnTo>
                <a:lnTo>
                  <a:pt x="86" y="991"/>
                </a:lnTo>
                <a:lnTo>
                  <a:pt x="102" y="987"/>
                </a:lnTo>
                <a:lnTo>
                  <a:pt x="115" y="981"/>
                </a:lnTo>
                <a:lnTo>
                  <a:pt x="121" y="977"/>
                </a:lnTo>
                <a:lnTo>
                  <a:pt x="126" y="972"/>
                </a:lnTo>
                <a:lnTo>
                  <a:pt x="131" y="967"/>
                </a:lnTo>
                <a:lnTo>
                  <a:pt x="135" y="962"/>
                </a:lnTo>
                <a:lnTo>
                  <a:pt x="139" y="957"/>
                </a:lnTo>
                <a:lnTo>
                  <a:pt x="143" y="951"/>
                </a:lnTo>
                <a:lnTo>
                  <a:pt x="150" y="937"/>
                </a:lnTo>
                <a:lnTo>
                  <a:pt x="155" y="920"/>
                </a:lnTo>
                <a:lnTo>
                  <a:pt x="158" y="901"/>
                </a:lnTo>
                <a:lnTo>
                  <a:pt x="161" y="879"/>
                </a:lnTo>
                <a:lnTo>
                  <a:pt x="163" y="855"/>
                </a:lnTo>
                <a:lnTo>
                  <a:pt x="164" y="827"/>
                </a:lnTo>
                <a:lnTo>
                  <a:pt x="164" y="797"/>
                </a:lnTo>
                <a:lnTo>
                  <a:pt x="164" y="236"/>
                </a:lnTo>
                <a:lnTo>
                  <a:pt x="164" y="236"/>
                </a:lnTo>
                <a:lnTo>
                  <a:pt x="164" y="206"/>
                </a:lnTo>
                <a:lnTo>
                  <a:pt x="163" y="178"/>
                </a:lnTo>
                <a:lnTo>
                  <a:pt x="161" y="153"/>
                </a:lnTo>
                <a:lnTo>
                  <a:pt x="158" y="132"/>
                </a:lnTo>
                <a:lnTo>
                  <a:pt x="155" y="114"/>
                </a:lnTo>
                <a:lnTo>
                  <a:pt x="150" y="97"/>
                </a:lnTo>
                <a:lnTo>
                  <a:pt x="143" y="83"/>
                </a:lnTo>
                <a:lnTo>
                  <a:pt x="139" y="77"/>
                </a:lnTo>
                <a:lnTo>
                  <a:pt x="135" y="72"/>
                </a:lnTo>
                <a:lnTo>
                  <a:pt x="131" y="67"/>
                </a:lnTo>
                <a:lnTo>
                  <a:pt x="126" y="61"/>
                </a:lnTo>
                <a:lnTo>
                  <a:pt x="121" y="57"/>
                </a:lnTo>
                <a:lnTo>
                  <a:pt x="115" y="54"/>
                </a:lnTo>
                <a:lnTo>
                  <a:pt x="102" y="48"/>
                </a:lnTo>
                <a:lnTo>
                  <a:pt x="86" y="43"/>
                </a:lnTo>
                <a:lnTo>
                  <a:pt x="68" y="40"/>
                </a:lnTo>
                <a:lnTo>
                  <a:pt x="48" y="38"/>
                </a:lnTo>
                <a:lnTo>
                  <a:pt x="25" y="37"/>
                </a:lnTo>
                <a:lnTo>
                  <a:pt x="0" y="36"/>
                </a:lnTo>
                <a:lnTo>
                  <a:pt x="0" y="0"/>
                </a:lnTo>
                <a:lnTo>
                  <a:pt x="468" y="0"/>
                </a:lnTo>
                <a:lnTo>
                  <a:pt x="468" y="0"/>
                </a:lnTo>
                <a:lnTo>
                  <a:pt x="504" y="0"/>
                </a:lnTo>
                <a:lnTo>
                  <a:pt x="540" y="2"/>
                </a:lnTo>
                <a:lnTo>
                  <a:pt x="574" y="6"/>
                </a:lnTo>
                <a:lnTo>
                  <a:pt x="608" y="10"/>
                </a:lnTo>
                <a:lnTo>
                  <a:pt x="639" y="16"/>
                </a:lnTo>
                <a:lnTo>
                  <a:pt x="670" y="24"/>
                </a:lnTo>
                <a:lnTo>
                  <a:pt x="699" y="32"/>
                </a:lnTo>
                <a:lnTo>
                  <a:pt x="727" y="41"/>
                </a:lnTo>
                <a:lnTo>
                  <a:pt x="754" y="51"/>
                </a:lnTo>
                <a:lnTo>
                  <a:pt x="779" y="62"/>
                </a:lnTo>
                <a:lnTo>
                  <a:pt x="803" y="75"/>
                </a:lnTo>
                <a:lnTo>
                  <a:pt x="827" y="88"/>
                </a:lnTo>
                <a:lnTo>
                  <a:pt x="848" y="103"/>
                </a:lnTo>
                <a:lnTo>
                  <a:pt x="868" y="119"/>
                </a:lnTo>
                <a:lnTo>
                  <a:pt x="888" y="135"/>
                </a:lnTo>
                <a:lnTo>
                  <a:pt x="906" y="151"/>
                </a:lnTo>
                <a:lnTo>
                  <a:pt x="924" y="170"/>
                </a:lnTo>
                <a:lnTo>
                  <a:pt x="939" y="188"/>
                </a:lnTo>
                <a:lnTo>
                  <a:pt x="953" y="209"/>
                </a:lnTo>
                <a:lnTo>
                  <a:pt x="968" y="228"/>
                </a:lnTo>
                <a:lnTo>
                  <a:pt x="980" y="250"/>
                </a:lnTo>
                <a:lnTo>
                  <a:pt x="991" y="271"/>
                </a:lnTo>
                <a:lnTo>
                  <a:pt x="1001" y="294"/>
                </a:lnTo>
                <a:lnTo>
                  <a:pt x="1010" y="316"/>
                </a:lnTo>
                <a:lnTo>
                  <a:pt x="1018" y="340"/>
                </a:lnTo>
                <a:lnTo>
                  <a:pt x="1025" y="364"/>
                </a:lnTo>
                <a:lnTo>
                  <a:pt x="1031" y="389"/>
                </a:lnTo>
                <a:lnTo>
                  <a:pt x="1035" y="413"/>
                </a:lnTo>
                <a:lnTo>
                  <a:pt x="1039" y="439"/>
                </a:lnTo>
                <a:lnTo>
                  <a:pt x="1041" y="464"/>
                </a:lnTo>
                <a:lnTo>
                  <a:pt x="1043" y="491"/>
                </a:lnTo>
                <a:lnTo>
                  <a:pt x="1043" y="517"/>
                </a:lnTo>
                <a:lnTo>
                  <a:pt x="1043" y="517"/>
                </a:lnTo>
                <a:lnTo>
                  <a:pt x="1043" y="544"/>
                </a:lnTo>
                <a:lnTo>
                  <a:pt x="1041" y="570"/>
                </a:lnTo>
                <a:lnTo>
                  <a:pt x="1039" y="596"/>
                </a:lnTo>
                <a:lnTo>
                  <a:pt x="1035" y="622"/>
                </a:lnTo>
                <a:lnTo>
                  <a:pt x="1031" y="646"/>
                </a:lnTo>
                <a:lnTo>
                  <a:pt x="1025" y="671"/>
                </a:lnTo>
                <a:lnTo>
                  <a:pt x="1018" y="694"/>
                </a:lnTo>
                <a:lnTo>
                  <a:pt x="1010" y="718"/>
                </a:lnTo>
                <a:lnTo>
                  <a:pt x="1001" y="741"/>
                </a:lnTo>
                <a:lnTo>
                  <a:pt x="991" y="764"/>
                </a:lnTo>
                <a:lnTo>
                  <a:pt x="980" y="785"/>
                </a:lnTo>
                <a:lnTo>
                  <a:pt x="968" y="806"/>
                </a:lnTo>
                <a:lnTo>
                  <a:pt x="953" y="826"/>
                </a:lnTo>
                <a:lnTo>
                  <a:pt x="939" y="846"/>
                </a:lnTo>
                <a:lnTo>
                  <a:pt x="924" y="865"/>
                </a:lnTo>
                <a:lnTo>
                  <a:pt x="906" y="882"/>
                </a:lnTo>
                <a:lnTo>
                  <a:pt x="888" y="900"/>
                </a:lnTo>
                <a:lnTo>
                  <a:pt x="868" y="916"/>
                </a:lnTo>
                <a:lnTo>
                  <a:pt x="848" y="932"/>
                </a:lnTo>
                <a:lnTo>
                  <a:pt x="827" y="946"/>
                </a:lnTo>
                <a:lnTo>
                  <a:pt x="803" y="959"/>
                </a:lnTo>
                <a:lnTo>
                  <a:pt x="779" y="972"/>
                </a:lnTo>
                <a:lnTo>
                  <a:pt x="754" y="984"/>
                </a:lnTo>
                <a:lnTo>
                  <a:pt x="727" y="994"/>
                </a:lnTo>
                <a:lnTo>
                  <a:pt x="699" y="1003"/>
                </a:lnTo>
                <a:lnTo>
                  <a:pt x="670" y="1011"/>
                </a:lnTo>
                <a:lnTo>
                  <a:pt x="639" y="1018"/>
                </a:lnTo>
                <a:lnTo>
                  <a:pt x="608" y="1025"/>
                </a:lnTo>
                <a:lnTo>
                  <a:pt x="574" y="1029"/>
                </a:lnTo>
                <a:lnTo>
                  <a:pt x="540" y="1032"/>
                </a:lnTo>
                <a:lnTo>
                  <a:pt x="504" y="1034"/>
                </a:lnTo>
                <a:lnTo>
                  <a:pt x="468" y="1035"/>
                </a:lnTo>
                <a:lnTo>
                  <a:pt x="0" y="1035"/>
                </a:lnTo>
                <a:lnTo>
                  <a:pt x="0" y="999"/>
                </a:lnTo>
                <a:close/>
                <a:moveTo>
                  <a:pt x="469" y="971"/>
                </a:moveTo>
                <a:lnTo>
                  <a:pt x="469" y="971"/>
                </a:lnTo>
                <a:lnTo>
                  <a:pt x="500" y="970"/>
                </a:lnTo>
                <a:lnTo>
                  <a:pt x="529" y="968"/>
                </a:lnTo>
                <a:lnTo>
                  <a:pt x="557" y="964"/>
                </a:lnTo>
                <a:lnTo>
                  <a:pt x="583" y="960"/>
                </a:lnTo>
                <a:lnTo>
                  <a:pt x="608" y="954"/>
                </a:lnTo>
                <a:lnTo>
                  <a:pt x="631" y="947"/>
                </a:lnTo>
                <a:lnTo>
                  <a:pt x="654" y="938"/>
                </a:lnTo>
                <a:lnTo>
                  <a:pt x="675" y="928"/>
                </a:lnTo>
                <a:lnTo>
                  <a:pt x="695" y="918"/>
                </a:lnTo>
                <a:lnTo>
                  <a:pt x="713" y="906"/>
                </a:lnTo>
                <a:lnTo>
                  <a:pt x="730" y="894"/>
                </a:lnTo>
                <a:lnTo>
                  <a:pt x="747" y="880"/>
                </a:lnTo>
                <a:lnTo>
                  <a:pt x="761" y="866"/>
                </a:lnTo>
                <a:lnTo>
                  <a:pt x="775" y="852"/>
                </a:lnTo>
                <a:lnTo>
                  <a:pt x="788" y="836"/>
                </a:lnTo>
                <a:lnTo>
                  <a:pt x="800" y="820"/>
                </a:lnTo>
                <a:lnTo>
                  <a:pt x="810" y="803"/>
                </a:lnTo>
                <a:lnTo>
                  <a:pt x="820" y="785"/>
                </a:lnTo>
                <a:lnTo>
                  <a:pt x="830" y="768"/>
                </a:lnTo>
                <a:lnTo>
                  <a:pt x="838" y="750"/>
                </a:lnTo>
                <a:lnTo>
                  <a:pt x="845" y="731"/>
                </a:lnTo>
                <a:lnTo>
                  <a:pt x="851" y="712"/>
                </a:lnTo>
                <a:lnTo>
                  <a:pt x="856" y="692"/>
                </a:lnTo>
                <a:lnTo>
                  <a:pt x="861" y="673"/>
                </a:lnTo>
                <a:lnTo>
                  <a:pt x="865" y="653"/>
                </a:lnTo>
                <a:lnTo>
                  <a:pt x="869" y="634"/>
                </a:lnTo>
                <a:lnTo>
                  <a:pt x="875" y="595"/>
                </a:lnTo>
                <a:lnTo>
                  <a:pt x="877" y="555"/>
                </a:lnTo>
                <a:lnTo>
                  <a:pt x="878" y="517"/>
                </a:lnTo>
                <a:lnTo>
                  <a:pt x="878" y="517"/>
                </a:lnTo>
                <a:lnTo>
                  <a:pt x="877" y="479"/>
                </a:lnTo>
                <a:lnTo>
                  <a:pt x="875" y="440"/>
                </a:lnTo>
                <a:lnTo>
                  <a:pt x="869" y="401"/>
                </a:lnTo>
                <a:lnTo>
                  <a:pt x="865" y="380"/>
                </a:lnTo>
                <a:lnTo>
                  <a:pt x="861" y="361"/>
                </a:lnTo>
                <a:lnTo>
                  <a:pt x="856" y="342"/>
                </a:lnTo>
                <a:lnTo>
                  <a:pt x="851" y="323"/>
                </a:lnTo>
                <a:lnTo>
                  <a:pt x="845" y="304"/>
                </a:lnTo>
                <a:lnTo>
                  <a:pt x="838" y="285"/>
                </a:lnTo>
                <a:lnTo>
                  <a:pt x="830" y="267"/>
                </a:lnTo>
                <a:lnTo>
                  <a:pt x="820" y="249"/>
                </a:lnTo>
                <a:lnTo>
                  <a:pt x="810" y="231"/>
                </a:lnTo>
                <a:lnTo>
                  <a:pt x="800" y="215"/>
                </a:lnTo>
                <a:lnTo>
                  <a:pt x="788" y="198"/>
                </a:lnTo>
                <a:lnTo>
                  <a:pt x="775" y="183"/>
                </a:lnTo>
                <a:lnTo>
                  <a:pt x="761" y="168"/>
                </a:lnTo>
                <a:lnTo>
                  <a:pt x="747" y="154"/>
                </a:lnTo>
                <a:lnTo>
                  <a:pt x="730" y="140"/>
                </a:lnTo>
                <a:lnTo>
                  <a:pt x="713" y="128"/>
                </a:lnTo>
                <a:lnTo>
                  <a:pt x="695" y="117"/>
                </a:lnTo>
                <a:lnTo>
                  <a:pt x="675" y="106"/>
                </a:lnTo>
                <a:lnTo>
                  <a:pt x="654" y="96"/>
                </a:lnTo>
                <a:lnTo>
                  <a:pt x="631" y="88"/>
                </a:lnTo>
                <a:lnTo>
                  <a:pt x="608" y="81"/>
                </a:lnTo>
                <a:lnTo>
                  <a:pt x="583" y="75"/>
                </a:lnTo>
                <a:lnTo>
                  <a:pt x="557" y="70"/>
                </a:lnTo>
                <a:lnTo>
                  <a:pt x="529" y="67"/>
                </a:lnTo>
                <a:lnTo>
                  <a:pt x="500" y="65"/>
                </a:lnTo>
                <a:lnTo>
                  <a:pt x="469" y="63"/>
                </a:lnTo>
                <a:lnTo>
                  <a:pt x="302" y="63"/>
                </a:lnTo>
                <a:lnTo>
                  <a:pt x="302" y="771"/>
                </a:lnTo>
                <a:lnTo>
                  <a:pt x="302" y="771"/>
                </a:lnTo>
                <a:lnTo>
                  <a:pt x="302" y="802"/>
                </a:lnTo>
                <a:lnTo>
                  <a:pt x="303" y="829"/>
                </a:lnTo>
                <a:lnTo>
                  <a:pt x="304" y="854"/>
                </a:lnTo>
                <a:lnTo>
                  <a:pt x="307" y="875"/>
                </a:lnTo>
                <a:lnTo>
                  <a:pt x="310" y="894"/>
                </a:lnTo>
                <a:lnTo>
                  <a:pt x="315" y="910"/>
                </a:lnTo>
                <a:lnTo>
                  <a:pt x="321" y="924"/>
                </a:lnTo>
                <a:lnTo>
                  <a:pt x="324" y="931"/>
                </a:lnTo>
                <a:lnTo>
                  <a:pt x="329" y="936"/>
                </a:lnTo>
                <a:lnTo>
                  <a:pt x="334" y="941"/>
                </a:lnTo>
                <a:lnTo>
                  <a:pt x="338" y="946"/>
                </a:lnTo>
                <a:lnTo>
                  <a:pt x="344" y="950"/>
                </a:lnTo>
                <a:lnTo>
                  <a:pt x="349" y="953"/>
                </a:lnTo>
                <a:lnTo>
                  <a:pt x="362" y="959"/>
                </a:lnTo>
                <a:lnTo>
                  <a:pt x="378" y="964"/>
                </a:lnTo>
                <a:lnTo>
                  <a:pt x="395" y="967"/>
                </a:lnTo>
                <a:lnTo>
                  <a:pt x="414" y="969"/>
                </a:lnTo>
                <a:lnTo>
                  <a:pt x="437" y="970"/>
                </a:lnTo>
                <a:lnTo>
                  <a:pt x="463" y="971"/>
                </a:lnTo>
                <a:lnTo>
                  <a:pt x="469" y="971"/>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76" name="Freeform 27">
            <a:extLst>
              <a:ext uri="{FF2B5EF4-FFF2-40B4-BE49-F238E27FC236}">
                <a16:creationId xmlns:a16="http://schemas.microsoft.com/office/drawing/2014/main" id="{568DB860-340B-C44E-BD54-38E675CD9CE2}"/>
              </a:ext>
            </a:extLst>
          </p:cNvPr>
          <p:cNvSpPr>
            <a:spLocks/>
          </p:cNvSpPr>
          <p:nvPr userDrawn="1"/>
        </p:nvSpPr>
        <p:spPr bwMode="auto">
          <a:xfrm>
            <a:off x="2760663" y="1158876"/>
            <a:ext cx="112713" cy="136525"/>
          </a:xfrm>
          <a:custGeom>
            <a:avLst/>
            <a:gdLst>
              <a:gd name="T0" fmla="*/ 26 w 859"/>
              <a:gd name="T1" fmla="*/ 998 h 1035"/>
              <a:gd name="T2" fmla="*/ 86 w 859"/>
              <a:gd name="T3" fmla="*/ 991 h 1035"/>
              <a:gd name="T4" fmla="*/ 121 w 859"/>
              <a:gd name="T5" fmla="*/ 977 h 1035"/>
              <a:gd name="T6" fmla="*/ 135 w 859"/>
              <a:gd name="T7" fmla="*/ 962 h 1035"/>
              <a:gd name="T8" fmla="*/ 150 w 859"/>
              <a:gd name="T9" fmla="*/ 937 h 1035"/>
              <a:gd name="T10" fmla="*/ 161 w 859"/>
              <a:gd name="T11" fmla="*/ 879 h 1035"/>
              <a:gd name="T12" fmla="*/ 164 w 859"/>
              <a:gd name="T13" fmla="*/ 797 h 1035"/>
              <a:gd name="T14" fmla="*/ 164 w 859"/>
              <a:gd name="T15" fmla="*/ 206 h 1035"/>
              <a:gd name="T16" fmla="*/ 159 w 859"/>
              <a:gd name="T17" fmla="*/ 132 h 1035"/>
              <a:gd name="T18" fmla="*/ 143 w 859"/>
              <a:gd name="T19" fmla="*/ 83 h 1035"/>
              <a:gd name="T20" fmla="*/ 131 w 859"/>
              <a:gd name="T21" fmla="*/ 67 h 1035"/>
              <a:gd name="T22" fmla="*/ 115 w 859"/>
              <a:gd name="T23" fmla="*/ 54 h 1035"/>
              <a:gd name="T24" fmla="*/ 69 w 859"/>
              <a:gd name="T25" fmla="*/ 40 h 1035"/>
              <a:gd name="T26" fmla="*/ 0 w 859"/>
              <a:gd name="T27" fmla="*/ 36 h 1035"/>
              <a:gd name="T28" fmla="*/ 802 w 859"/>
              <a:gd name="T29" fmla="*/ 227 h 1035"/>
              <a:gd name="T30" fmla="*/ 757 w 859"/>
              <a:gd name="T31" fmla="*/ 193 h 1035"/>
              <a:gd name="T32" fmla="*/ 739 w 859"/>
              <a:gd name="T33" fmla="*/ 135 h 1035"/>
              <a:gd name="T34" fmla="*/ 717 w 859"/>
              <a:gd name="T35" fmla="*/ 103 h 1035"/>
              <a:gd name="T36" fmla="*/ 684 w 859"/>
              <a:gd name="T37" fmla="*/ 81 h 1035"/>
              <a:gd name="T38" fmla="*/ 632 w 859"/>
              <a:gd name="T39" fmla="*/ 68 h 1035"/>
              <a:gd name="T40" fmla="*/ 558 w 859"/>
              <a:gd name="T41" fmla="*/ 63 h 1035"/>
              <a:gd name="T42" fmla="*/ 388 w 859"/>
              <a:gd name="T43" fmla="*/ 455 h 1035"/>
              <a:gd name="T44" fmla="*/ 446 w 859"/>
              <a:gd name="T45" fmla="*/ 454 h 1035"/>
              <a:gd name="T46" fmla="*/ 512 w 859"/>
              <a:gd name="T47" fmla="*/ 446 h 1035"/>
              <a:gd name="T48" fmla="*/ 547 w 859"/>
              <a:gd name="T49" fmla="*/ 431 h 1035"/>
              <a:gd name="T50" fmla="*/ 563 w 859"/>
              <a:gd name="T51" fmla="*/ 417 h 1035"/>
              <a:gd name="T52" fmla="*/ 577 w 859"/>
              <a:gd name="T53" fmla="*/ 393 h 1035"/>
              <a:gd name="T54" fmla="*/ 587 w 859"/>
              <a:gd name="T55" fmla="*/ 339 h 1035"/>
              <a:gd name="T56" fmla="*/ 625 w 859"/>
              <a:gd name="T57" fmla="*/ 289 h 1035"/>
              <a:gd name="T58" fmla="*/ 588 w 859"/>
              <a:gd name="T59" fmla="*/ 685 h 1035"/>
              <a:gd name="T60" fmla="*/ 585 w 859"/>
              <a:gd name="T61" fmla="*/ 616 h 1035"/>
              <a:gd name="T62" fmla="*/ 571 w 859"/>
              <a:gd name="T63" fmla="*/ 569 h 1035"/>
              <a:gd name="T64" fmla="*/ 559 w 859"/>
              <a:gd name="T65" fmla="*/ 552 h 1035"/>
              <a:gd name="T66" fmla="*/ 541 w 859"/>
              <a:gd name="T67" fmla="*/ 540 h 1035"/>
              <a:gd name="T68" fmla="*/ 492 w 859"/>
              <a:gd name="T69" fmla="*/ 525 h 1035"/>
              <a:gd name="T70" fmla="*/ 419 w 859"/>
              <a:gd name="T71" fmla="*/ 519 h 1035"/>
              <a:gd name="T72" fmla="*/ 302 w 859"/>
              <a:gd name="T73" fmla="*/ 771 h 1035"/>
              <a:gd name="T74" fmla="*/ 303 w 859"/>
              <a:gd name="T75" fmla="*/ 829 h 1035"/>
              <a:gd name="T76" fmla="*/ 311 w 859"/>
              <a:gd name="T77" fmla="*/ 894 h 1035"/>
              <a:gd name="T78" fmla="*/ 326 w 859"/>
              <a:gd name="T79" fmla="*/ 931 h 1035"/>
              <a:gd name="T80" fmla="*/ 340 w 859"/>
              <a:gd name="T81" fmla="*/ 946 h 1035"/>
              <a:gd name="T82" fmla="*/ 364 w 859"/>
              <a:gd name="T83" fmla="*/ 959 h 1035"/>
              <a:gd name="T84" fmla="*/ 417 w 859"/>
              <a:gd name="T85" fmla="*/ 969 h 1035"/>
              <a:gd name="T86" fmla="*/ 614 w 859"/>
              <a:gd name="T87" fmla="*/ 971 h 1035"/>
              <a:gd name="T88" fmla="*/ 668 w 859"/>
              <a:gd name="T89" fmla="*/ 969 h 1035"/>
              <a:gd name="T90" fmla="*/ 726 w 859"/>
              <a:gd name="T91" fmla="*/ 959 h 1035"/>
              <a:gd name="T92" fmla="*/ 765 w 859"/>
              <a:gd name="T93" fmla="*/ 940 h 1035"/>
              <a:gd name="T94" fmla="*/ 790 w 859"/>
              <a:gd name="T95" fmla="*/ 911 h 1035"/>
              <a:gd name="T96" fmla="*/ 806 w 859"/>
              <a:gd name="T97" fmla="*/ 872 h 1035"/>
              <a:gd name="T98" fmla="*/ 859 w 859"/>
              <a:gd name="T99" fmla="*/ 806 h 1035"/>
              <a:gd name="T100" fmla="*/ 0 w 859"/>
              <a:gd name="T101" fmla="*/ 999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59" h="1035">
                <a:moveTo>
                  <a:pt x="0" y="999"/>
                </a:moveTo>
                <a:lnTo>
                  <a:pt x="0" y="999"/>
                </a:lnTo>
                <a:lnTo>
                  <a:pt x="26" y="998"/>
                </a:lnTo>
                <a:lnTo>
                  <a:pt x="48" y="997"/>
                </a:lnTo>
                <a:lnTo>
                  <a:pt x="69" y="995"/>
                </a:lnTo>
                <a:lnTo>
                  <a:pt x="86" y="991"/>
                </a:lnTo>
                <a:lnTo>
                  <a:pt x="102" y="987"/>
                </a:lnTo>
                <a:lnTo>
                  <a:pt x="115" y="981"/>
                </a:lnTo>
                <a:lnTo>
                  <a:pt x="121" y="977"/>
                </a:lnTo>
                <a:lnTo>
                  <a:pt x="126" y="972"/>
                </a:lnTo>
                <a:lnTo>
                  <a:pt x="131" y="967"/>
                </a:lnTo>
                <a:lnTo>
                  <a:pt x="135" y="962"/>
                </a:lnTo>
                <a:lnTo>
                  <a:pt x="140" y="957"/>
                </a:lnTo>
                <a:lnTo>
                  <a:pt x="143" y="951"/>
                </a:lnTo>
                <a:lnTo>
                  <a:pt x="150" y="937"/>
                </a:lnTo>
                <a:lnTo>
                  <a:pt x="155" y="920"/>
                </a:lnTo>
                <a:lnTo>
                  <a:pt x="159" y="901"/>
                </a:lnTo>
                <a:lnTo>
                  <a:pt x="161" y="879"/>
                </a:lnTo>
                <a:lnTo>
                  <a:pt x="163" y="855"/>
                </a:lnTo>
                <a:lnTo>
                  <a:pt x="164" y="827"/>
                </a:lnTo>
                <a:lnTo>
                  <a:pt x="164" y="797"/>
                </a:lnTo>
                <a:lnTo>
                  <a:pt x="164" y="236"/>
                </a:lnTo>
                <a:lnTo>
                  <a:pt x="164" y="236"/>
                </a:lnTo>
                <a:lnTo>
                  <a:pt x="164" y="206"/>
                </a:lnTo>
                <a:lnTo>
                  <a:pt x="163" y="178"/>
                </a:lnTo>
                <a:lnTo>
                  <a:pt x="161" y="153"/>
                </a:lnTo>
                <a:lnTo>
                  <a:pt x="159" y="132"/>
                </a:lnTo>
                <a:lnTo>
                  <a:pt x="155" y="114"/>
                </a:lnTo>
                <a:lnTo>
                  <a:pt x="150" y="97"/>
                </a:lnTo>
                <a:lnTo>
                  <a:pt x="143" y="83"/>
                </a:lnTo>
                <a:lnTo>
                  <a:pt x="140" y="77"/>
                </a:lnTo>
                <a:lnTo>
                  <a:pt x="135" y="72"/>
                </a:lnTo>
                <a:lnTo>
                  <a:pt x="131" y="67"/>
                </a:lnTo>
                <a:lnTo>
                  <a:pt x="126" y="61"/>
                </a:lnTo>
                <a:lnTo>
                  <a:pt x="121" y="57"/>
                </a:lnTo>
                <a:lnTo>
                  <a:pt x="115" y="54"/>
                </a:lnTo>
                <a:lnTo>
                  <a:pt x="102" y="48"/>
                </a:lnTo>
                <a:lnTo>
                  <a:pt x="86" y="43"/>
                </a:lnTo>
                <a:lnTo>
                  <a:pt x="69" y="40"/>
                </a:lnTo>
                <a:lnTo>
                  <a:pt x="48" y="38"/>
                </a:lnTo>
                <a:lnTo>
                  <a:pt x="26" y="37"/>
                </a:lnTo>
                <a:lnTo>
                  <a:pt x="0" y="36"/>
                </a:lnTo>
                <a:lnTo>
                  <a:pt x="0" y="0"/>
                </a:lnTo>
                <a:lnTo>
                  <a:pt x="787" y="0"/>
                </a:lnTo>
                <a:lnTo>
                  <a:pt x="802" y="227"/>
                </a:lnTo>
                <a:lnTo>
                  <a:pt x="766" y="227"/>
                </a:lnTo>
                <a:lnTo>
                  <a:pt x="757" y="193"/>
                </a:lnTo>
                <a:lnTo>
                  <a:pt x="757" y="193"/>
                </a:lnTo>
                <a:lnTo>
                  <a:pt x="749" y="162"/>
                </a:lnTo>
                <a:lnTo>
                  <a:pt x="744" y="147"/>
                </a:lnTo>
                <a:lnTo>
                  <a:pt x="739" y="135"/>
                </a:lnTo>
                <a:lnTo>
                  <a:pt x="732" y="123"/>
                </a:lnTo>
                <a:lnTo>
                  <a:pt x="725" y="113"/>
                </a:lnTo>
                <a:lnTo>
                  <a:pt x="717" y="103"/>
                </a:lnTo>
                <a:lnTo>
                  <a:pt x="708" y="95"/>
                </a:lnTo>
                <a:lnTo>
                  <a:pt x="697" y="87"/>
                </a:lnTo>
                <a:lnTo>
                  <a:pt x="684" y="81"/>
                </a:lnTo>
                <a:lnTo>
                  <a:pt x="669" y="76"/>
                </a:lnTo>
                <a:lnTo>
                  <a:pt x="653" y="72"/>
                </a:lnTo>
                <a:lnTo>
                  <a:pt x="632" y="68"/>
                </a:lnTo>
                <a:lnTo>
                  <a:pt x="611" y="66"/>
                </a:lnTo>
                <a:lnTo>
                  <a:pt x="585" y="65"/>
                </a:lnTo>
                <a:lnTo>
                  <a:pt x="558" y="63"/>
                </a:lnTo>
                <a:lnTo>
                  <a:pt x="302" y="63"/>
                </a:lnTo>
                <a:lnTo>
                  <a:pt x="302" y="455"/>
                </a:lnTo>
                <a:lnTo>
                  <a:pt x="388" y="455"/>
                </a:lnTo>
                <a:lnTo>
                  <a:pt x="388" y="455"/>
                </a:lnTo>
                <a:lnTo>
                  <a:pt x="419" y="455"/>
                </a:lnTo>
                <a:lnTo>
                  <a:pt x="446" y="454"/>
                </a:lnTo>
                <a:lnTo>
                  <a:pt x="471" y="452"/>
                </a:lnTo>
                <a:lnTo>
                  <a:pt x="492" y="450"/>
                </a:lnTo>
                <a:lnTo>
                  <a:pt x="512" y="446"/>
                </a:lnTo>
                <a:lnTo>
                  <a:pt x="527" y="441"/>
                </a:lnTo>
                <a:lnTo>
                  <a:pt x="541" y="435"/>
                </a:lnTo>
                <a:lnTo>
                  <a:pt x="547" y="431"/>
                </a:lnTo>
                <a:lnTo>
                  <a:pt x="553" y="426"/>
                </a:lnTo>
                <a:lnTo>
                  <a:pt x="559" y="422"/>
                </a:lnTo>
                <a:lnTo>
                  <a:pt x="563" y="417"/>
                </a:lnTo>
                <a:lnTo>
                  <a:pt x="567" y="412"/>
                </a:lnTo>
                <a:lnTo>
                  <a:pt x="571" y="406"/>
                </a:lnTo>
                <a:lnTo>
                  <a:pt x="577" y="393"/>
                </a:lnTo>
                <a:lnTo>
                  <a:pt x="581" y="376"/>
                </a:lnTo>
                <a:lnTo>
                  <a:pt x="585" y="359"/>
                </a:lnTo>
                <a:lnTo>
                  <a:pt x="587" y="339"/>
                </a:lnTo>
                <a:lnTo>
                  <a:pt x="588" y="315"/>
                </a:lnTo>
                <a:lnTo>
                  <a:pt x="588" y="289"/>
                </a:lnTo>
                <a:lnTo>
                  <a:pt x="625" y="289"/>
                </a:lnTo>
                <a:lnTo>
                  <a:pt x="625" y="685"/>
                </a:lnTo>
                <a:lnTo>
                  <a:pt x="588" y="685"/>
                </a:lnTo>
                <a:lnTo>
                  <a:pt x="588" y="685"/>
                </a:lnTo>
                <a:lnTo>
                  <a:pt x="588" y="659"/>
                </a:lnTo>
                <a:lnTo>
                  <a:pt x="587" y="636"/>
                </a:lnTo>
                <a:lnTo>
                  <a:pt x="585" y="616"/>
                </a:lnTo>
                <a:lnTo>
                  <a:pt x="581" y="597"/>
                </a:lnTo>
                <a:lnTo>
                  <a:pt x="577" y="582"/>
                </a:lnTo>
                <a:lnTo>
                  <a:pt x="571" y="569"/>
                </a:lnTo>
                <a:lnTo>
                  <a:pt x="567" y="562"/>
                </a:lnTo>
                <a:lnTo>
                  <a:pt x="563" y="557"/>
                </a:lnTo>
                <a:lnTo>
                  <a:pt x="559" y="552"/>
                </a:lnTo>
                <a:lnTo>
                  <a:pt x="553" y="547"/>
                </a:lnTo>
                <a:lnTo>
                  <a:pt x="547" y="543"/>
                </a:lnTo>
                <a:lnTo>
                  <a:pt x="541" y="540"/>
                </a:lnTo>
                <a:lnTo>
                  <a:pt x="527" y="533"/>
                </a:lnTo>
                <a:lnTo>
                  <a:pt x="512" y="529"/>
                </a:lnTo>
                <a:lnTo>
                  <a:pt x="492" y="525"/>
                </a:lnTo>
                <a:lnTo>
                  <a:pt x="471" y="522"/>
                </a:lnTo>
                <a:lnTo>
                  <a:pt x="446" y="521"/>
                </a:lnTo>
                <a:lnTo>
                  <a:pt x="419" y="519"/>
                </a:lnTo>
                <a:lnTo>
                  <a:pt x="388" y="519"/>
                </a:lnTo>
                <a:lnTo>
                  <a:pt x="302" y="519"/>
                </a:lnTo>
                <a:lnTo>
                  <a:pt x="302" y="771"/>
                </a:lnTo>
                <a:lnTo>
                  <a:pt x="302" y="771"/>
                </a:lnTo>
                <a:lnTo>
                  <a:pt x="302" y="802"/>
                </a:lnTo>
                <a:lnTo>
                  <a:pt x="303" y="829"/>
                </a:lnTo>
                <a:lnTo>
                  <a:pt x="305" y="854"/>
                </a:lnTo>
                <a:lnTo>
                  <a:pt x="307" y="875"/>
                </a:lnTo>
                <a:lnTo>
                  <a:pt x="311" y="894"/>
                </a:lnTo>
                <a:lnTo>
                  <a:pt x="316" y="910"/>
                </a:lnTo>
                <a:lnTo>
                  <a:pt x="322" y="924"/>
                </a:lnTo>
                <a:lnTo>
                  <a:pt x="326" y="931"/>
                </a:lnTo>
                <a:lnTo>
                  <a:pt x="331" y="936"/>
                </a:lnTo>
                <a:lnTo>
                  <a:pt x="335" y="941"/>
                </a:lnTo>
                <a:lnTo>
                  <a:pt x="340" y="946"/>
                </a:lnTo>
                <a:lnTo>
                  <a:pt x="345" y="950"/>
                </a:lnTo>
                <a:lnTo>
                  <a:pt x="351" y="953"/>
                </a:lnTo>
                <a:lnTo>
                  <a:pt x="364" y="959"/>
                </a:lnTo>
                <a:lnTo>
                  <a:pt x="380" y="964"/>
                </a:lnTo>
                <a:lnTo>
                  <a:pt x="398" y="967"/>
                </a:lnTo>
                <a:lnTo>
                  <a:pt x="417" y="969"/>
                </a:lnTo>
                <a:lnTo>
                  <a:pt x="440" y="970"/>
                </a:lnTo>
                <a:lnTo>
                  <a:pt x="466" y="971"/>
                </a:lnTo>
                <a:lnTo>
                  <a:pt x="614" y="971"/>
                </a:lnTo>
                <a:lnTo>
                  <a:pt x="614" y="971"/>
                </a:lnTo>
                <a:lnTo>
                  <a:pt x="642" y="970"/>
                </a:lnTo>
                <a:lnTo>
                  <a:pt x="668" y="969"/>
                </a:lnTo>
                <a:lnTo>
                  <a:pt x="689" y="966"/>
                </a:lnTo>
                <a:lnTo>
                  <a:pt x="709" y="963"/>
                </a:lnTo>
                <a:lnTo>
                  <a:pt x="726" y="959"/>
                </a:lnTo>
                <a:lnTo>
                  <a:pt x="742" y="954"/>
                </a:lnTo>
                <a:lnTo>
                  <a:pt x="754" y="947"/>
                </a:lnTo>
                <a:lnTo>
                  <a:pt x="765" y="940"/>
                </a:lnTo>
                <a:lnTo>
                  <a:pt x="775" y="932"/>
                </a:lnTo>
                <a:lnTo>
                  <a:pt x="784" y="921"/>
                </a:lnTo>
                <a:lnTo>
                  <a:pt x="790" y="911"/>
                </a:lnTo>
                <a:lnTo>
                  <a:pt x="796" y="899"/>
                </a:lnTo>
                <a:lnTo>
                  <a:pt x="801" y="886"/>
                </a:lnTo>
                <a:lnTo>
                  <a:pt x="806" y="872"/>
                </a:lnTo>
                <a:lnTo>
                  <a:pt x="814" y="840"/>
                </a:lnTo>
                <a:lnTo>
                  <a:pt x="823" y="806"/>
                </a:lnTo>
                <a:lnTo>
                  <a:pt x="859" y="806"/>
                </a:lnTo>
                <a:lnTo>
                  <a:pt x="846" y="1035"/>
                </a:lnTo>
                <a:lnTo>
                  <a:pt x="0" y="1035"/>
                </a:lnTo>
                <a:lnTo>
                  <a:pt x="0" y="999"/>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77" name="Freeform 28">
            <a:extLst>
              <a:ext uri="{FF2B5EF4-FFF2-40B4-BE49-F238E27FC236}">
                <a16:creationId xmlns:a16="http://schemas.microsoft.com/office/drawing/2014/main" id="{BAD311A5-E6DF-034A-AC06-9BA8B657ADCF}"/>
              </a:ext>
            </a:extLst>
          </p:cNvPr>
          <p:cNvSpPr>
            <a:spLocks/>
          </p:cNvSpPr>
          <p:nvPr userDrawn="1"/>
        </p:nvSpPr>
        <p:spPr bwMode="auto">
          <a:xfrm>
            <a:off x="2903538" y="1158876"/>
            <a:ext cx="142875" cy="136525"/>
          </a:xfrm>
          <a:custGeom>
            <a:avLst/>
            <a:gdLst>
              <a:gd name="T0" fmla="*/ 304 w 1077"/>
              <a:gd name="T1" fmla="*/ 999 h 1035"/>
              <a:gd name="T2" fmla="*/ 352 w 1077"/>
              <a:gd name="T3" fmla="*/ 997 h 1035"/>
              <a:gd name="T4" fmla="*/ 391 w 1077"/>
              <a:gd name="T5" fmla="*/ 991 h 1035"/>
              <a:gd name="T6" fmla="*/ 419 w 1077"/>
              <a:gd name="T7" fmla="*/ 981 h 1035"/>
              <a:gd name="T8" fmla="*/ 431 w 1077"/>
              <a:gd name="T9" fmla="*/ 972 h 1035"/>
              <a:gd name="T10" fmla="*/ 441 w 1077"/>
              <a:gd name="T11" fmla="*/ 962 h 1035"/>
              <a:gd name="T12" fmla="*/ 449 w 1077"/>
              <a:gd name="T13" fmla="*/ 951 h 1035"/>
              <a:gd name="T14" fmla="*/ 460 w 1077"/>
              <a:gd name="T15" fmla="*/ 920 h 1035"/>
              <a:gd name="T16" fmla="*/ 466 w 1077"/>
              <a:gd name="T17" fmla="*/ 879 h 1035"/>
              <a:gd name="T18" fmla="*/ 469 w 1077"/>
              <a:gd name="T19" fmla="*/ 827 h 1035"/>
              <a:gd name="T20" fmla="*/ 469 w 1077"/>
              <a:gd name="T21" fmla="*/ 68 h 1035"/>
              <a:gd name="T22" fmla="*/ 246 w 1077"/>
              <a:gd name="T23" fmla="*/ 68 h 1035"/>
              <a:gd name="T24" fmla="*/ 192 w 1077"/>
              <a:gd name="T25" fmla="*/ 69 h 1035"/>
              <a:gd name="T26" fmla="*/ 150 w 1077"/>
              <a:gd name="T27" fmla="*/ 75 h 1035"/>
              <a:gd name="T28" fmla="*/ 119 w 1077"/>
              <a:gd name="T29" fmla="*/ 85 h 1035"/>
              <a:gd name="T30" fmla="*/ 95 w 1077"/>
              <a:gd name="T31" fmla="*/ 98 h 1035"/>
              <a:gd name="T32" fmla="*/ 78 w 1077"/>
              <a:gd name="T33" fmla="*/ 117 h 1035"/>
              <a:gd name="T34" fmla="*/ 65 w 1077"/>
              <a:gd name="T35" fmla="*/ 139 h 1035"/>
              <a:gd name="T36" fmla="*/ 54 w 1077"/>
              <a:gd name="T37" fmla="*/ 167 h 1035"/>
              <a:gd name="T38" fmla="*/ 37 w 1077"/>
              <a:gd name="T39" fmla="*/ 233 h 1035"/>
              <a:gd name="T40" fmla="*/ 15 w 1077"/>
              <a:gd name="T41" fmla="*/ 0 h 1035"/>
              <a:gd name="T42" fmla="*/ 1077 w 1077"/>
              <a:gd name="T43" fmla="*/ 233 h 1035"/>
              <a:gd name="T44" fmla="*/ 1032 w 1077"/>
              <a:gd name="T45" fmla="*/ 198 h 1035"/>
              <a:gd name="T46" fmla="*/ 1023 w 1077"/>
              <a:gd name="T47" fmla="*/ 167 h 1035"/>
              <a:gd name="T48" fmla="*/ 1013 w 1077"/>
              <a:gd name="T49" fmla="*/ 139 h 1035"/>
              <a:gd name="T50" fmla="*/ 1000 w 1077"/>
              <a:gd name="T51" fmla="*/ 117 h 1035"/>
              <a:gd name="T52" fmla="*/ 983 w 1077"/>
              <a:gd name="T53" fmla="*/ 98 h 1035"/>
              <a:gd name="T54" fmla="*/ 958 w 1077"/>
              <a:gd name="T55" fmla="*/ 85 h 1035"/>
              <a:gd name="T56" fmla="*/ 927 w 1077"/>
              <a:gd name="T57" fmla="*/ 75 h 1035"/>
              <a:gd name="T58" fmla="*/ 886 w 1077"/>
              <a:gd name="T59" fmla="*/ 69 h 1035"/>
              <a:gd name="T60" fmla="*/ 832 w 1077"/>
              <a:gd name="T61" fmla="*/ 68 h 1035"/>
              <a:gd name="T62" fmla="*/ 608 w 1077"/>
              <a:gd name="T63" fmla="*/ 797 h 1035"/>
              <a:gd name="T64" fmla="*/ 608 w 1077"/>
              <a:gd name="T65" fmla="*/ 827 h 1035"/>
              <a:gd name="T66" fmla="*/ 611 w 1077"/>
              <a:gd name="T67" fmla="*/ 879 h 1035"/>
              <a:gd name="T68" fmla="*/ 618 w 1077"/>
              <a:gd name="T69" fmla="*/ 920 h 1035"/>
              <a:gd name="T70" fmla="*/ 629 w 1077"/>
              <a:gd name="T71" fmla="*/ 951 h 1035"/>
              <a:gd name="T72" fmla="*/ 637 w 1077"/>
              <a:gd name="T73" fmla="*/ 962 h 1035"/>
              <a:gd name="T74" fmla="*/ 646 w 1077"/>
              <a:gd name="T75" fmla="*/ 972 h 1035"/>
              <a:gd name="T76" fmla="*/ 658 w 1077"/>
              <a:gd name="T77" fmla="*/ 981 h 1035"/>
              <a:gd name="T78" fmla="*/ 687 w 1077"/>
              <a:gd name="T79" fmla="*/ 991 h 1035"/>
              <a:gd name="T80" fmla="*/ 725 w 1077"/>
              <a:gd name="T81" fmla="*/ 997 h 1035"/>
              <a:gd name="T82" fmla="*/ 773 w 1077"/>
              <a:gd name="T83" fmla="*/ 999 h 1035"/>
              <a:gd name="T84" fmla="*/ 304 w 1077"/>
              <a:gd name="T85" fmla="*/ 1035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7" h="1035">
                <a:moveTo>
                  <a:pt x="304" y="999"/>
                </a:moveTo>
                <a:lnTo>
                  <a:pt x="304" y="999"/>
                </a:lnTo>
                <a:lnTo>
                  <a:pt x="329" y="998"/>
                </a:lnTo>
                <a:lnTo>
                  <a:pt x="352" y="997"/>
                </a:lnTo>
                <a:lnTo>
                  <a:pt x="372" y="995"/>
                </a:lnTo>
                <a:lnTo>
                  <a:pt x="391" y="991"/>
                </a:lnTo>
                <a:lnTo>
                  <a:pt x="406" y="987"/>
                </a:lnTo>
                <a:lnTo>
                  <a:pt x="419" y="981"/>
                </a:lnTo>
                <a:lnTo>
                  <a:pt x="426" y="977"/>
                </a:lnTo>
                <a:lnTo>
                  <a:pt x="431" y="972"/>
                </a:lnTo>
                <a:lnTo>
                  <a:pt x="436" y="967"/>
                </a:lnTo>
                <a:lnTo>
                  <a:pt x="441" y="962"/>
                </a:lnTo>
                <a:lnTo>
                  <a:pt x="445" y="957"/>
                </a:lnTo>
                <a:lnTo>
                  <a:pt x="449" y="951"/>
                </a:lnTo>
                <a:lnTo>
                  <a:pt x="455" y="937"/>
                </a:lnTo>
                <a:lnTo>
                  <a:pt x="460" y="920"/>
                </a:lnTo>
                <a:lnTo>
                  <a:pt x="464" y="901"/>
                </a:lnTo>
                <a:lnTo>
                  <a:pt x="466" y="879"/>
                </a:lnTo>
                <a:lnTo>
                  <a:pt x="468" y="855"/>
                </a:lnTo>
                <a:lnTo>
                  <a:pt x="469" y="827"/>
                </a:lnTo>
                <a:lnTo>
                  <a:pt x="469" y="797"/>
                </a:lnTo>
                <a:lnTo>
                  <a:pt x="469" y="68"/>
                </a:lnTo>
                <a:lnTo>
                  <a:pt x="246" y="68"/>
                </a:lnTo>
                <a:lnTo>
                  <a:pt x="246" y="68"/>
                </a:lnTo>
                <a:lnTo>
                  <a:pt x="217" y="68"/>
                </a:lnTo>
                <a:lnTo>
                  <a:pt x="192" y="69"/>
                </a:lnTo>
                <a:lnTo>
                  <a:pt x="170" y="72"/>
                </a:lnTo>
                <a:lnTo>
                  <a:pt x="150" y="75"/>
                </a:lnTo>
                <a:lnTo>
                  <a:pt x="133" y="79"/>
                </a:lnTo>
                <a:lnTo>
                  <a:pt x="119" y="85"/>
                </a:lnTo>
                <a:lnTo>
                  <a:pt x="105" y="91"/>
                </a:lnTo>
                <a:lnTo>
                  <a:pt x="95" y="98"/>
                </a:lnTo>
                <a:lnTo>
                  <a:pt x="85" y="106"/>
                </a:lnTo>
                <a:lnTo>
                  <a:pt x="78" y="117"/>
                </a:lnTo>
                <a:lnTo>
                  <a:pt x="71" y="127"/>
                </a:lnTo>
                <a:lnTo>
                  <a:pt x="65" y="139"/>
                </a:lnTo>
                <a:lnTo>
                  <a:pt x="59" y="152"/>
                </a:lnTo>
                <a:lnTo>
                  <a:pt x="54" y="167"/>
                </a:lnTo>
                <a:lnTo>
                  <a:pt x="45" y="198"/>
                </a:lnTo>
                <a:lnTo>
                  <a:pt x="37" y="233"/>
                </a:lnTo>
                <a:lnTo>
                  <a:pt x="0" y="233"/>
                </a:lnTo>
                <a:lnTo>
                  <a:pt x="15" y="0"/>
                </a:lnTo>
                <a:lnTo>
                  <a:pt x="1062" y="0"/>
                </a:lnTo>
                <a:lnTo>
                  <a:pt x="1077" y="233"/>
                </a:lnTo>
                <a:lnTo>
                  <a:pt x="1041" y="233"/>
                </a:lnTo>
                <a:lnTo>
                  <a:pt x="1032" y="198"/>
                </a:lnTo>
                <a:lnTo>
                  <a:pt x="1032" y="198"/>
                </a:lnTo>
                <a:lnTo>
                  <a:pt x="1023" y="167"/>
                </a:lnTo>
                <a:lnTo>
                  <a:pt x="1019" y="152"/>
                </a:lnTo>
                <a:lnTo>
                  <a:pt x="1013" y="139"/>
                </a:lnTo>
                <a:lnTo>
                  <a:pt x="1007" y="127"/>
                </a:lnTo>
                <a:lnTo>
                  <a:pt x="1000" y="117"/>
                </a:lnTo>
                <a:lnTo>
                  <a:pt x="992" y="106"/>
                </a:lnTo>
                <a:lnTo>
                  <a:pt x="983" y="98"/>
                </a:lnTo>
                <a:lnTo>
                  <a:pt x="972" y="91"/>
                </a:lnTo>
                <a:lnTo>
                  <a:pt x="958" y="85"/>
                </a:lnTo>
                <a:lnTo>
                  <a:pt x="944" y="79"/>
                </a:lnTo>
                <a:lnTo>
                  <a:pt x="927" y="75"/>
                </a:lnTo>
                <a:lnTo>
                  <a:pt x="907" y="72"/>
                </a:lnTo>
                <a:lnTo>
                  <a:pt x="886" y="69"/>
                </a:lnTo>
                <a:lnTo>
                  <a:pt x="860" y="68"/>
                </a:lnTo>
                <a:lnTo>
                  <a:pt x="832" y="68"/>
                </a:lnTo>
                <a:lnTo>
                  <a:pt x="608" y="68"/>
                </a:lnTo>
                <a:lnTo>
                  <a:pt x="608" y="797"/>
                </a:lnTo>
                <a:lnTo>
                  <a:pt x="608" y="797"/>
                </a:lnTo>
                <a:lnTo>
                  <a:pt x="608" y="827"/>
                </a:lnTo>
                <a:lnTo>
                  <a:pt x="609" y="855"/>
                </a:lnTo>
                <a:lnTo>
                  <a:pt x="611" y="879"/>
                </a:lnTo>
                <a:lnTo>
                  <a:pt x="614" y="901"/>
                </a:lnTo>
                <a:lnTo>
                  <a:pt x="618" y="920"/>
                </a:lnTo>
                <a:lnTo>
                  <a:pt x="622" y="937"/>
                </a:lnTo>
                <a:lnTo>
                  <a:pt x="629" y="951"/>
                </a:lnTo>
                <a:lnTo>
                  <a:pt x="633" y="957"/>
                </a:lnTo>
                <a:lnTo>
                  <a:pt x="637" y="962"/>
                </a:lnTo>
                <a:lnTo>
                  <a:pt x="641" y="967"/>
                </a:lnTo>
                <a:lnTo>
                  <a:pt x="646" y="972"/>
                </a:lnTo>
                <a:lnTo>
                  <a:pt x="651" y="977"/>
                </a:lnTo>
                <a:lnTo>
                  <a:pt x="658" y="981"/>
                </a:lnTo>
                <a:lnTo>
                  <a:pt x="672" y="987"/>
                </a:lnTo>
                <a:lnTo>
                  <a:pt x="687" y="991"/>
                </a:lnTo>
                <a:lnTo>
                  <a:pt x="705" y="995"/>
                </a:lnTo>
                <a:lnTo>
                  <a:pt x="725" y="997"/>
                </a:lnTo>
                <a:lnTo>
                  <a:pt x="748" y="998"/>
                </a:lnTo>
                <a:lnTo>
                  <a:pt x="773" y="999"/>
                </a:lnTo>
                <a:lnTo>
                  <a:pt x="773" y="1035"/>
                </a:lnTo>
                <a:lnTo>
                  <a:pt x="304" y="1035"/>
                </a:lnTo>
                <a:lnTo>
                  <a:pt x="304" y="999"/>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a:p>
        </p:txBody>
      </p:sp>
    </p:spTree>
    <p:extLst>
      <p:ext uri="{BB962C8B-B14F-4D97-AF65-F5344CB8AC3E}">
        <p14:creationId xmlns:p14="http://schemas.microsoft.com/office/powerpoint/2010/main" val="4247303406"/>
      </p:ext>
    </p:extLst>
  </p:cSld>
  <p:clrMapOvr>
    <a:masterClrMapping/>
  </p:clrMapOvr>
  <p:extLst mod="1">
    <p:ext uri="{DCECCB84-F9BA-43D5-87BE-67443E8EF086}">
      <p15:sldGuideLst xmlns:p15="http://schemas.microsoft.com/office/powerpoint/2012/main">
        <p15:guide id="1" orient="horz" pos="16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Otsikko ja sisältö Sote-pieni">
    <p:spTree>
      <p:nvGrpSpPr>
        <p:cNvPr id="1" name=""/>
        <p:cNvGrpSpPr/>
        <p:nvPr/>
      </p:nvGrpSpPr>
      <p:grpSpPr>
        <a:xfrm>
          <a:off x="0" y="0"/>
          <a:ext cx="0" cy="0"/>
          <a:chOff x="0" y="0"/>
          <a:chExt cx="0" cy="0"/>
        </a:xfrm>
      </p:grpSpPr>
      <p:sp>
        <p:nvSpPr>
          <p:cNvPr id="10" name="Freeform 6"/>
          <p:cNvSpPr>
            <a:spLocks/>
          </p:cNvSpPr>
          <p:nvPr userDrawn="1"/>
        </p:nvSpPr>
        <p:spPr bwMode="auto">
          <a:xfrm>
            <a:off x="7975600" y="1"/>
            <a:ext cx="1168400" cy="1317625"/>
          </a:xfrm>
          <a:custGeom>
            <a:avLst/>
            <a:gdLst>
              <a:gd name="T0" fmla="*/ 548 w 736"/>
              <a:gd name="T1" fmla="*/ 713 h 830"/>
              <a:gd name="T2" fmla="*/ 548 w 736"/>
              <a:gd name="T3" fmla="*/ 713 h 830"/>
              <a:gd name="T4" fmla="*/ 594 w 736"/>
              <a:gd name="T5" fmla="*/ 745 h 830"/>
              <a:gd name="T6" fmla="*/ 640 w 736"/>
              <a:gd name="T7" fmla="*/ 775 h 830"/>
              <a:gd name="T8" fmla="*/ 688 w 736"/>
              <a:gd name="T9" fmla="*/ 803 h 830"/>
              <a:gd name="T10" fmla="*/ 736 w 736"/>
              <a:gd name="T11" fmla="*/ 830 h 830"/>
              <a:gd name="T12" fmla="*/ 736 w 736"/>
              <a:gd name="T13" fmla="*/ 0 h 830"/>
              <a:gd name="T14" fmla="*/ 0 w 736"/>
              <a:gd name="T15" fmla="*/ 0 h 830"/>
              <a:gd name="T16" fmla="*/ 0 w 736"/>
              <a:gd name="T17" fmla="*/ 0 h 830"/>
              <a:gd name="T18" fmla="*/ 22 w 736"/>
              <a:gd name="T19" fmla="*/ 55 h 830"/>
              <a:gd name="T20" fmla="*/ 46 w 736"/>
              <a:gd name="T21" fmla="*/ 108 h 830"/>
              <a:gd name="T22" fmla="*/ 72 w 736"/>
              <a:gd name="T23" fmla="*/ 161 h 830"/>
              <a:gd name="T24" fmla="*/ 100 w 736"/>
              <a:gd name="T25" fmla="*/ 211 h 830"/>
              <a:gd name="T26" fmla="*/ 129 w 736"/>
              <a:gd name="T27" fmla="*/ 261 h 830"/>
              <a:gd name="T28" fmla="*/ 160 w 736"/>
              <a:gd name="T29" fmla="*/ 309 h 830"/>
              <a:gd name="T30" fmla="*/ 192 w 736"/>
              <a:gd name="T31" fmla="*/ 357 h 830"/>
              <a:gd name="T32" fmla="*/ 226 w 736"/>
              <a:gd name="T33" fmla="*/ 402 h 830"/>
              <a:gd name="T34" fmla="*/ 262 w 736"/>
              <a:gd name="T35" fmla="*/ 445 h 830"/>
              <a:gd name="T36" fmla="*/ 298 w 736"/>
              <a:gd name="T37" fmla="*/ 488 h 830"/>
              <a:gd name="T38" fmla="*/ 338 w 736"/>
              <a:gd name="T39" fmla="*/ 530 h 830"/>
              <a:gd name="T40" fmla="*/ 377 w 736"/>
              <a:gd name="T41" fmla="*/ 569 h 830"/>
              <a:gd name="T42" fmla="*/ 418 w 736"/>
              <a:gd name="T43" fmla="*/ 607 h 830"/>
              <a:gd name="T44" fmla="*/ 460 w 736"/>
              <a:gd name="T45" fmla="*/ 645 h 830"/>
              <a:gd name="T46" fmla="*/ 503 w 736"/>
              <a:gd name="T47" fmla="*/ 679 h 830"/>
              <a:gd name="T48" fmla="*/ 548 w 736"/>
              <a:gd name="T49" fmla="*/ 713 h 830"/>
              <a:gd name="T50" fmla="*/ 548 w 736"/>
              <a:gd name="T51" fmla="*/ 713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830">
                <a:moveTo>
                  <a:pt x="548" y="713"/>
                </a:moveTo>
                <a:lnTo>
                  <a:pt x="548" y="713"/>
                </a:lnTo>
                <a:lnTo>
                  <a:pt x="594" y="745"/>
                </a:lnTo>
                <a:lnTo>
                  <a:pt x="640" y="775"/>
                </a:lnTo>
                <a:lnTo>
                  <a:pt x="688" y="803"/>
                </a:lnTo>
                <a:lnTo>
                  <a:pt x="736" y="830"/>
                </a:lnTo>
                <a:lnTo>
                  <a:pt x="736" y="0"/>
                </a:lnTo>
                <a:lnTo>
                  <a:pt x="0" y="0"/>
                </a:lnTo>
                <a:lnTo>
                  <a:pt x="0" y="0"/>
                </a:lnTo>
                <a:lnTo>
                  <a:pt x="22" y="55"/>
                </a:lnTo>
                <a:lnTo>
                  <a:pt x="46" y="108"/>
                </a:lnTo>
                <a:lnTo>
                  <a:pt x="72" y="161"/>
                </a:lnTo>
                <a:lnTo>
                  <a:pt x="100" y="211"/>
                </a:lnTo>
                <a:lnTo>
                  <a:pt x="129" y="261"/>
                </a:lnTo>
                <a:lnTo>
                  <a:pt x="160" y="309"/>
                </a:lnTo>
                <a:lnTo>
                  <a:pt x="192" y="357"/>
                </a:lnTo>
                <a:lnTo>
                  <a:pt x="226" y="402"/>
                </a:lnTo>
                <a:lnTo>
                  <a:pt x="262" y="445"/>
                </a:lnTo>
                <a:lnTo>
                  <a:pt x="298" y="488"/>
                </a:lnTo>
                <a:lnTo>
                  <a:pt x="338" y="530"/>
                </a:lnTo>
                <a:lnTo>
                  <a:pt x="377" y="569"/>
                </a:lnTo>
                <a:lnTo>
                  <a:pt x="418" y="607"/>
                </a:lnTo>
                <a:lnTo>
                  <a:pt x="460" y="645"/>
                </a:lnTo>
                <a:lnTo>
                  <a:pt x="503" y="679"/>
                </a:lnTo>
                <a:lnTo>
                  <a:pt x="548" y="713"/>
                </a:lnTo>
                <a:lnTo>
                  <a:pt x="548" y="713"/>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fi-FI" sz="1800"/>
          </a:p>
        </p:txBody>
      </p:sp>
      <p:sp>
        <p:nvSpPr>
          <p:cNvPr id="3" name="Sisällön paikkamerkki 2"/>
          <p:cNvSpPr>
            <a:spLocks noGrp="1"/>
          </p:cNvSpPr>
          <p:nvPr userDrawn="1">
            <p:ph idx="1"/>
          </p:nvPr>
        </p:nvSpPr>
        <p:spPr>
          <a:xfrm>
            <a:off x="432786" y="1317626"/>
            <a:ext cx="7523591" cy="3486373"/>
          </a:xfrm>
        </p:spPr>
        <p:txBody>
          <a:bodyPr/>
          <a:lstStyle>
            <a:lvl1pPr>
              <a:spcBef>
                <a:spcPts val="400"/>
              </a:spcBef>
              <a:defRPr/>
            </a:lvl1pPr>
            <a:lvl2pPr>
              <a:spcBef>
                <a:spcPts val="400"/>
              </a:spcBef>
              <a:defRPr/>
            </a:lvl2pPr>
            <a:lvl3pPr>
              <a:spcBef>
                <a:spcPts val="400"/>
              </a:spcBef>
              <a:defRPr/>
            </a:lvl3pPr>
            <a:lvl4pPr>
              <a:spcBef>
                <a:spcPts val="400"/>
              </a:spcBef>
              <a:defRPr/>
            </a:lvl4pPr>
            <a:lvl5pPr>
              <a:spcBef>
                <a:spcPts val="400"/>
              </a:spcBef>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8" name="Otsikko 7"/>
          <p:cNvSpPr>
            <a:spLocks noGrp="1"/>
          </p:cNvSpPr>
          <p:nvPr userDrawn="1">
            <p:ph type="title"/>
          </p:nvPr>
        </p:nvSpPr>
        <p:spPr>
          <a:xfrm>
            <a:off x="432786" y="235341"/>
            <a:ext cx="7523591" cy="974270"/>
          </a:xfrm>
        </p:spPr>
        <p:txBody>
          <a:bodyPr/>
          <a:lstStyle>
            <a:lvl1pPr>
              <a:defRPr>
                <a:solidFill>
                  <a:srgbClr val="595965"/>
                </a:solidFill>
              </a:defRPr>
            </a:lvl1pPr>
          </a:lstStyle>
          <a:p>
            <a:r>
              <a:rPr lang="en-US" dirty="0"/>
              <a:t>Click to edit Master title style</a:t>
            </a:r>
            <a:endParaRPr lang="fi-FI" dirty="0"/>
          </a:p>
        </p:txBody>
      </p:sp>
      <p:pic>
        <p:nvPicPr>
          <p:cNvPr id="5" name="Picture 4">
            <a:extLst>
              <a:ext uri="{FF2B5EF4-FFF2-40B4-BE49-F238E27FC236}">
                <a16:creationId xmlns:a16="http://schemas.microsoft.com/office/drawing/2014/main" id="{D7751274-4DD9-C549-B707-1280A51F7A5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24329" y="4699761"/>
            <a:ext cx="1439764" cy="274350"/>
          </a:xfrm>
          <a:prstGeom prst="rect">
            <a:avLst/>
          </a:prstGeom>
        </p:spPr>
      </p:pic>
      <p:pic>
        <p:nvPicPr>
          <p:cNvPr id="6" name="Picture 5">
            <a:extLst>
              <a:ext uri="{FF2B5EF4-FFF2-40B4-BE49-F238E27FC236}">
                <a16:creationId xmlns:a16="http://schemas.microsoft.com/office/drawing/2014/main" id="{4F591584-9FCE-5A4F-A985-77C337C3AB8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604449" y="235341"/>
            <a:ext cx="305495" cy="419486"/>
          </a:xfrm>
          <a:prstGeom prst="rect">
            <a:avLst/>
          </a:prstGeom>
        </p:spPr>
      </p:pic>
    </p:spTree>
    <p:extLst>
      <p:ext uri="{BB962C8B-B14F-4D97-AF65-F5344CB8AC3E}">
        <p14:creationId xmlns:p14="http://schemas.microsoft.com/office/powerpoint/2010/main" val="9019341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Otsikko ja sisältö Sote ">
    <p:spTree>
      <p:nvGrpSpPr>
        <p:cNvPr id="1" name=""/>
        <p:cNvGrpSpPr/>
        <p:nvPr/>
      </p:nvGrpSpPr>
      <p:grpSpPr>
        <a:xfrm>
          <a:off x="0" y="0"/>
          <a:ext cx="0" cy="0"/>
          <a:chOff x="0" y="0"/>
          <a:chExt cx="0" cy="0"/>
        </a:xfrm>
      </p:grpSpPr>
      <p:grpSp>
        <p:nvGrpSpPr>
          <p:cNvPr id="11" name="Group 10"/>
          <p:cNvGrpSpPr/>
          <p:nvPr userDrawn="1"/>
        </p:nvGrpSpPr>
        <p:grpSpPr>
          <a:xfrm>
            <a:off x="7605714" y="1"/>
            <a:ext cx="1538287" cy="4587875"/>
            <a:chOff x="7631113" y="0"/>
            <a:chExt cx="1538287" cy="4587875"/>
          </a:xfrm>
        </p:grpSpPr>
        <p:sp>
          <p:nvSpPr>
            <p:cNvPr id="7" name="Freeform 5"/>
            <p:cNvSpPr>
              <a:spLocks/>
            </p:cNvSpPr>
            <p:nvPr userDrawn="1"/>
          </p:nvSpPr>
          <p:spPr bwMode="auto">
            <a:xfrm>
              <a:off x="7631113" y="0"/>
              <a:ext cx="1538287" cy="4587875"/>
            </a:xfrm>
            <a:custGeom>
              <a:avLst/>
              <a:gdLst>
                <a:gd name="T0" fmla="*/ 6 w 969"/>
                <a:gd name="T1" fmla="*/ 0 h 2890"/>
                <a:gd name="T2" fmla="*/ 6 w 969"/>
                <a:gd name="T3" fmla="*/ 0 h 2890"/>
                <a:gd name="T4" fmla="*/ 1 w 969"/>
                <a:gd name="T5" fmla="*/ 97 h 2890"/>
                <a:gd name="T6" fmla="*/ 0 w 969"/>
                <a:gd name="T7" fmla="*/ 193 h 2890"/>
                <a:gd name="T8" fmla="*/ 0 w 969"/>
                <a:gd name="T9" fmla="*/ 290 h 2890"/>
                <a:gd name="T10" fmla="*/ 2 w 969"/>
                <a:gd name="T11" fmla="*/ 386 h 2890"/>
                <a:gd name="T12" fmla="*/ 8 w 969"/>
                <a:gd name="T13" fmla="*/ 483 h 2890"/>
                <a:gd name="T14" fmla="*/ 15 w 969"/>
                <a:gd name="T15" fmla="*/ 577 h 2890"/>
                <a:gd name="T16" fmla="*/ 24 w 969"/>
                <a:gd name="T17" fmla="*/ 673 h 2890"/>
                <a:gd name="T18" fmla="*/ 36 w 969"/>
                <a:gd name="T19" fmla="*/ 767 h 2890"/>
                <a:gd name="T20" fmla="*/ 50 w 969"/>
                <a:gd name="T21" fmla="*/ 862 h 2890"/>
                <a:gd name="T22" fmla="*/ 65 w 969"/>
                <a:gd name="T23" fmla="*/ 956 h 2890"/>
                <a:gd name="T24" fmla="*/ 83 w 969"/>
                <a:gd name="T25" fmla="*/ 1048 h 2890"/>
                <a:gd name="T26" fmla="*/ 104 w 969"/>
                <a:gd name="T27" fmla="*/ 1142 h 2890"/>
                <a:gd name="T28" fmla="*/ 125 w 969"/>
                <a:gd name="T29" fmla="*/ 1234 h 2890"/>
                <a:gd name="T30" fmla="*/ 150 w 969"/>
                <a:gd name="T31" fmla="*/ 1325 h 2890"/>
                <a:gd name="T32" fmla="*/ 176 w 969"/>
                <a:gd name="T33" fmla="*/ 1416 h 2890"/>
                <a:gd name="T34" fmla="*/ 204 w 969"/>
                <a:gd name="T35" fmla="*/ 1506 h 2890"/>
                <a:gd name="T36" fmla="*/ 204 w 969"/>
                <a:gd name="T37" fmla="*/ 1506 h 2890"/>
                <a:gd name="T38" fmla="*/ 236 w 969"/>
                <a:gd name="T39" fmla="*/ 1604 h 2890"/>
                <a:gd name="T40" fmla="*/ 272 w 969"/>
                <a:gd name="T41" fmla="*/ 1700 h 2890"/>
                <a:gd name="T42" fmla="*/ 309 w 969"/>
                <a:gd name="T43" fmla="*/ 1794 h 2890"/>
                <a:gd name="T44" fmla="*/ 349 w 969"/>
                <a:gd name="T45" fmla="*/ 1888 h 2890"/>
                <a:gd name="T46" fmla="*/ 389 w 969"/>
                <a:gd name="T47" fmla="*/ 1979 h 2890"/>
                <a:gd name="T48" fmla="*/ 433 w 969"/>
                <a:gd name="T49" fmla="*/ 2069 h 2890"/>
                <a:gd name="T50" fmla="*/ 478 w 969"/>
                <a:gd name="T51" fmla="*/ 2158 h 2890"/>
                <a:gd name="T52" fmla="*/ 526 w 969"/>
                <a:gd name="T53" fmla="*/ 2245 h 2890"/>
                <a:gd name="T54" fmla="*/ 575 w 969"/>
                <a:gd name="T55" fmla="*/ 2331 h 2890"/>
                <a:gd name="T56" fmla="*/ 626 w 969"/>
                <a:gd name="T57" fmla="*/ 2415 h 2890"/>
                <a:gd name="T58" fmla="*/ 679 w 969"/>
                <a:gd name="T59" fmla="*/ 2499 h 2890"/>
                <a:gd name="T60" fmla="*/ 733 w 969"/>
                <a:gd name="T61" fmla="*/ 2580 h 2890"/>
                <a:gd name="T62" fmla="*/ 790 w 969"/>
                <a:gd name="T63" fmla="*/ 2659 h 2890"/>
                <a:gd name="T64" fmla="*/ 847 w 969"/>
                <a:gd name="T65" fmla="*/ 2738 h 2890"/>
                <a:gd name="T66" fmla="*/ 907 w 969"/>
                <a:gd name="T67" fmla="*/ 2815 h 2890"/>
                <a:gd name="T68" fmla="*/ 969 w 969"/>
                <a:gd name="T69" fmla="*/ 2890 h 2890"/>
                <a:gd name="T70" fmla="*/ 969 w 969"/>
                <a:gd name="T71" fmla="*/ 0 h 2890"/>
                <a:gd name="T72" fmla="*/ 6 w 969"/>
                <a:gd name="T73" fmla="*/ 0 h 2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69" h="2890">
                  <a:moveTo>
                    <a:pt x="6" y="0"/>
                  </a:moveTo>
                  <a:lnTo>
                    <a:pt x="6" y="0"/>
                  </a:lnTo>
                  <a:lnTo>
                    <a:pt x="1" y="97"/>
                  </a:lnTo>
                  <a:lnTo>
                    <a:pt x="0" y="193"/>
                  </a:lnTo>
                  <a:lnTo>
                    <a:pt x="0" y="290"/>
                  </a:lnTo>
                  <a:lnTo>
                    <a:pt x="2" y="386"/>
                  </a:lnTo>
                  <a:lnTo>
                    <a:pt x="8" y="483"/>
                  </a:lnTo>
                  <a:lnTo>
                    <a:pt x="15" y="577"/>
                  </a:lnTo>
                  <a:lnTo>
                    <a:pt x="24" y="673"/>
                  </a:lnTo>
                  <a:lnTo>
                    <a:pt x="36" y="767"/>
                  </a:lnTo>
                  <a:lnTo>
                    <a:pt x="50" y="862"/>
                  </a:lnTo>
                  <a:lnTo>
                    <a:pt x="65" y="956"/>
                  </a:lnTo>
                  <a:lnTo>
                    <a:pt x="83" y="1048"/>
                  </a:lnTo>
                  <a:lnTo>
                    <a:pt x="104" y="1142"/>
                  </a:lnTo>
                  <a:lnTo>
                    <a:pt x="125" y="1234"/>
                  </a:lnTo>
                  <a:lnTo>
                    <a:pt x="150" y="1325"/>
                  </a:lnTo>
                  <a:lnTo>
                    <a:pt x="176" y="1416"/>
                  </a:lnTo>
                  <a:lnTo>
                    <a:pt x="204" y="1506"/>
                  </a:lnTo>
                  <a:lnTo>
                    <a:pt x="204" y="1506"/>
                  </a:lnTo>
                  <a:lnTo>
                    <a:pt x="236" y="1604"/>
                  </a:lnTo>
                  <a:lnTo>
                    <a:pt x="272" y="1700"/>
                  </a:lnTo>
                  <a:lnTo>
                    <a:pt x="309" y="1794"/>
                  </a:lnTo>
                  <a:lnTo>
                    <a:pt x="349" y="1888"/>
                  </a:lnTo>
                  <a:lnTo>
                    <a:pt x="389" y="1979"/>
                  </a:lnTo>
                  <a:lnTo>
                    <a:pt x="433" y="2069"/>
                  </a:lnTo>
                  <a:lnTo>
                    <a:pt x="478" y="2158"/>
                  </a:lnTo>
                  <a:lnTo>
                    <a:pt x="526" y="2245"/>
                  </a:lnTo>
                  <a:lnTo>
                    <a:pt x="575" y="2331"/>
                  </a:lnTo>
                  <a:lnTo>
                    <a:pt x="626" y="2415"/>
                  </a:lnTo>
                  <a:lnTo>
                    <a:pt x="679" y="2499"/>
                  </a:lnTo>
                  <a:lnTo>
                    <a:pt x="733" y="2580"/>
                  </a:lnTo>
                  <a:lnTo>
                    <a:pt x="790" y="2659"/>
                  </a:lnTo>
                  <a:lnTo>
                    <a:pt x="847" y="2738"/>
                  </a:lnTo>
                  <a:lnTo>
                    <a:pt x="907" y="2815"/>
                  </a:lnTo>
                  <a:lnTo>
                    <a:pt x="969" y="2890"/>
                  </a:lnTo>
                  <a:lnTo>
                    <a:pt x="969" y="0"/>
                  </a:lnTo>
                  <a:lnTo>
                    <a:pt x="6"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10" name="Freeform 6"/>
            <p:cNvSpPr>
              <a:spLocks/>
            </p:cNvSpPr>
            <p:nvPr userDrawn="1"/>
          </p:nvSpPr>
          <p:spPr bwMode="auto">
            <a:xfrm>
              <a:off x="8001000" y="0"/>
              <a:ext cx="1168400" cy="1317625"/>
            </a:xfrm>
            <a:custGeom>
              <a:avLst/>
              <a:gdLst>
                <a:gd name="T0" fmla="*/ 548 w 736"/>
                <a:gd name="T1" fmla="*/ 713 h 830"/>
                <a:gd name="T2" fmla="*/ 548 w 736"/>
                <a:gd name="T3" fmla="*/ 713 h 830"/>
                <a:gd name="T4" fmla="*/ 594 w 736"/>
                <a:gd name="T5" fmla="*/ 745 h 830"/>
                <a:gd name="T6" fmla="*/ 640 w 736"/>
                <a:gd name="T7" fmla="*/ 775 h 830"/>
                <a:gd name="T8" fmla="*/ 688 w 736"/>
                <a:gd name="T9" fmla="*/ 803 h 830"/>
                <a:gd name="T10" fmla="*/ 736 w 736"/>
                <a:gd name="T11" fmla="*/ 830 h 830"/>
                <a:gd name="T12" fmla="*/ 736 w 736"/>
                <a:gd name="T13" fmla="*/ 0 h 830"/>
                <a:gd name="T14" fmla="*/ 0 w 736"/>
                <a:gd name="T15" fmla="*/ 0 h 830"/>
                <a:gd name="T16" fmla="*/ 0 w 736"/>
                <a:gd name="T17" fmla="*/ 0 h 830"/>
                <a:gd name="T18" fmla="*/ 22 w 736"/>
                <a:gd name="T19" fmla="*/ 55 h 830"/>
                <a:gd name="T20" fmla="*/ 46 w 736"/>
                <a:gd name="T21" fmla="*/ 108 h 830"/>
                <a:gd name="T22" fmla="*/ 72 w 736"/>
                <a:gd name="T23" fmla="*/ 161 h 830"/>
                <a:gd name="T24" fmla="*/ 100 w 736"/>
                <a:gd name="T25" fmla="*/ 211 h 830"/>
                <a:gd name="T26" fmla="*/ 129 w 736"/>
                <a:gd name="T27" fmla="*/ 261 h 830"/>
                <a:gd name="T28" fmla="*/ 160 w 736"/>
                <a:gd name="T29" fmla="*/ 309 h 830"/>
                <a:gd name="T30" fmla="*/ 192 w 736"/>
                <a:gd name="T31" fmla="*/ 357 h 830"/>
                <a:gd name="T32" fmla="*/ 226 w 736"/>
                <a:gd name="T33" fmla="*/ 402 h 830"/>
                <a:gd name="T34" fmla="*/ 262 w 736"/>
                <a:gd name="T35" fmla="*/ 445 h 830"/>
                <a:gd name="T36" fmla="*/ 298 w 736"/>
                <a:gd name="T37" fmla="*/ 488 h 830"/>
                <a:gd name="T38" fmla="*/ 338 w 736"/>
                <a:gd name="T39" fmla="*/ 530 h 830"/>
                <a:gd name="T40" fmla="*/ 377 w 736"/>
                <a:gd name="T41" fmla="*/ 569 h 830"/>
                <a:gd name="T42" fmla="*/ 418 w 736"/>
                <a:gd name="T43" fmla="*/ 607 h 830"/>
                <a:gd name="T44" fmla="*/ 460 w 736"/>
                <a:gd name="T45" fmla="*/ 645 h 830"/>
                <a:gd name="T46" fmla="*/ 503 w 736"/>
                <a:gd name="T47" fmla="*/ 679 h 830"/>
                <a:gd name="T48" fmla="*/ 548 w 736"/>
                <a:gd name="T49" fmla="*/ 713 h 830"/>
                <a:gd name="T50" fmla="*/ 548 w 736"/>
                <a:gd name="T51" fmla="*/ 713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830">
                  <a:moveTo>
                    <a:pt x="548" y="713"/>
                  </a:moveTo>
                  <a:lnTo>
                    <a:pt x="548" y="713"/>
                  </a:lnTo>
                  <a:lnTo>
                    <a:pt x="594" y="745"/>
                  </a:lnTo>
                  <a:lnTo>
                    <a:pt x="640" y="775"/>
                  </a:lnTo>
                  <a:lnTo>
                    <a:pt x="688" y="803"/>
                  </a:lnTo>
                  <a:lnTo>
                    <a:pt x="736" y="830"/>
                  </a:lnTo>
                  <a:lnTo>
                    <a:pt x="736" y="0"/>
                  </a:lnTo>
                  <a:lnTo>
                    <a:pt x="0" y="0"/>
                  </a:lnTo>
                  <a:lnTo>
                    <a:pt x="0" y="0"/>
                  </a:lnTo>
                  <a:lnTo>
                    <a:pt x="22" y="55"/>
                  </a:lnTo>
                  <a:lnTo>
                    <a:pt x="46" y="108"/>
                  </a:lnTo>
                  <a:lnTo>
                    <a:pt x="72" y="161"/>
                  </a:lnTo>
                  <a:lnTo>
                    <a:pt x="100" y="211"/>
                  </a:lnTo>
                  <a:lnTo>
                    <a:pt x="129" y="261"/>
                  </a:lnTo>
                  <a:lnTo>
                    <a:pt x="160" y="309"/>
                  </a:lnTo>
                  <a:lnTo>
                    <a:pt x="192" y="357"/>
                  </a:lnTo>
                  <a:lnTo>
                    <a:pt x="226" y="402"/>
                  </a:lnTo>
                  <a:lnTo>
                    <a:pt x="262" y="445"/>
                  </a:lnTo>
                  <a:lnTo>
                    <a:pt x="298" y="488"/>
                  </a:lnTo>
                  <a:lnTo>
                    <a:pt x="338" y="530"/>
                  </a:lnTo>
                  <a:lnTo>
                    <a:pt x="377" y="569"/>
                  </a:lnTo>
                  <a:lnTo>
                    <a:pt x="418" y="607"/>
                  </a:lnTo>
                  <a:lnTo>
                    <a:pt x="460" y="645"/>
                  </a:lnTo>
                  <a:lnTo>
                    <a:pt x="503" y="679"/>
                  </a:lnTo>
                  <a:lnTo>
                    <a:pt x="548" y="713"/>
                  </a:lnTo>
                  <a:lnTo>
                    <a:pt x="548" y="71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grpSp>
      <p:sp>
        <p:nvSpPr>
          <p:cNvPr id="3" name="Sisällön paikkamerkki 2"/>
          <p:cNvSpPr>
            <a:spLocks noGrp="1"/>
          </p:cNvSpPr>
          <p:nvPr userDrawn="1">
            <p:ph idx="1"/>
          </p:nvPr>
        </p:nvSpPr>
        <p:spPr>
          <a:xfrm>
            <a:off x="432786" y="1317626"/>
            <a:ext cx="7523591" cy="3486373"/>
          </a:xfrm>
        </p:spPr>
        <p:txBody>
          <a:bodyPr/>
          <a:lstStyle>
            <a:lvl1pPr>
              <a:defRPr>
                <a:solidFill>
                  <a:srgbClr val="595965"/>
                </a:solidFill>
              </a:defRPr>
            </a:lvl1pPr>
            <a:lvl2pPr>
              <a:defRPr>
                <a:solidFill>
                  <a:srgbClr val="595965"/>
                </a:solidFill>
              </a:defRPr>
            </a:lvl2pPr>
            <a:lvl3pPr>
              <a:defRPr>
                <a:solidFill>
                  <a:srgbClr val="595965"/>
                </a:solidFill>
              </a:defRPr>
            </a:lvl3pPr>
            <a:lvl4pPr>
              <a:defRPr>
                <a:solidFill>
                  <a:srgbClr val="595965"/>
                </a:solidFill>
              </a:defRPr>
            </a:lvl4pPr>
            <a:lvl5pPr>
              <a:defRPr>
                <a:solidFill>
                  <a:srgbClr val="595965"/>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8" name="Otsikko 7"/>
          <p:cNvSpPr>
            <a:spLocks noGrp="1"/>
          </p:cNvSpPr>
          <p:nvPr userDrawn="1">
            <p:ph type="title"/>
          </p:nvPr>
        </p:nvSpPr>
        <p:spPr>
          <a:xfrm>
            <a:off x="432786" y="235341"/>
            <a:ext cx="7523591" cy="974270"/>
          </a:xfrm>
        </p:spPr>
        <p:txBody>
          <a:bodyPr/>
          <a:lstStyle>
            <a:lvl1pPr>
              <a:defRPr>
                <a:solidFill>
                  <a:srgbClr val="595965"/>
                </a:solidFill>
              </a:defRPr>
            </a:lvl1pPr>
          </a:lstStyle>
          <a:p>
            <a:r>
              <a:rPr lang="en-US" dirty="0"/>
              <a:t>Click to edit Master title style</a:t>
            </a:r>
            <a:endParaRPr lang="fi-FI" dirty="0"/>
          </a:p>
        </p:txBody>
      </p:sp>
      <p:pic>
        <p:nvPicPr>
          <p:cNvPr id="4" name="Picture 3">
            <a:extLst>
              <a:ext uri="{FF2B5EF4-FFF2-40B4-BE49-F238E27FC236}">
                <a16:creationId xmlns:a16="http://schemas.microsoft.com/office/drawing/2014/main" id="{754219E2-E925-5346-9128-1CC5851983C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24329" y="4699761"/>
            <a:ext cx="1439764" cy="274350"/>
          </a:xfrm>
          <a:prstGeom prst="rect">
            <a:avLst/>
          </a:prstGeom>
        </p:spPr>
      </p:pic>
      <p:pic>
        <p:nvPicPr>
          <p:cNvPr id="9" name="Picture 8">
            <a:extLst>
              <a:ext uri="{FF2B5EF4-FFF2-40B4-BE49-F238E27FC236}">
                <a16:creationId xmlns:a16="http://schemas.microsoft.com/office/drawing/2014/main" id="{6A34F243-EB61-D748-AAD4-903B490D52C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604449" y="235341"/>
            <a:ext cx="305495" cy="419486"/>
          </a:xfrm>
          <a:prstGeom prst="rect">
            <a:avLst/>
          </a:prstGeom>
        </p:spPr>
      </p:pic>
    </p:spTree>
    <p:extLst>
      <p:ext uri="{BB962C8B-B14F-4D97-AF65-F5344CB8AC3E}">
        <p14:creationId xmlns:p14="http://schemas.microsoft.com/office/powerpoint/2010/main" val="36628638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_Otsikko ja sisältö Sote">
    <p:spTree>
      <p:nvGrpSpPr>
        <p:cNvPr id="1" name=""/>
        <p:cNvGrpSpPr/>
        <p:nvPr/>
      </p:nvGrpSpPr>
      <p:grpSpPr>
        <a:xfrm>
          <a:off x="0" y="0"/>
          <a:ext cx="0" cy="0"/>
          <a:chOff x="0" y="0"/>
          <a:chExt cx="0" cy="0"/>
        </a:xfrm>
      </p:grpSpPr>
      <p:grpSp>
        <p:nvGrpSpPr>
          <p:cNvPr id="42" name="Group 41"/>
          <p:cNvGrpSpPr/>
          <p:nvPr userDrawn="1"/>
        </p:nvGrpSpPr>
        <p:grpSpPr>
          <a:xfrm>
            <a:off x="6788151" y="1"/>
            <a:ext cx="2355850" cy="5143501"/>
            <a:chOff x="6788150" y="0"/>
            <a:chExt cx="2355850" cy="5143501"/>
          </a:xfrm>
        </p:grpSpPr>
        <p:sp>
          <p:nvSpPr>
            <p:cNvPr id="31" name="Freeform 22"/>
            <p:cNvSpPr>
              <a:spLocks/>
            </p:cNvSpPr>
            <p:nvPr userDrawn="1"/>
          </p:nvSpPr>
          <p:spPr bwMode="auto">
            <a:xfrm>
              <a:off x="7845425" y="4103688"/>
              <a:ext cx="1298575" cy="1039813"/>
            </a:xfrm>
            <a:custGeom>
              <a:avLst/>
              <a:gdLst>
                <a:gd name="T0" fmla="*/ 482 w 818"/>
                <a:gd name="T1" fmla="*/ 0 h 655"/>
                <a:gd name="T2" fmla="*/ 483 w 818"/>
                <a:gd name="T3" fmla="*/ 0 h 655"/>
                <a:gd name="T4" fmla="*/ 483 w 818"/>
                <a:gd name="T5" fmla="*/ 0 h 655"/>
                <a:gd name="T6" fmla="*/ 482 w 818"/>
                <a:gd name="T7" fmla="*/ 0 h 655"/>
                <a:gd name="T8" fmla="*/ 482 w 818"/>
                <a:gd name="T9" fmla="*/ 0 h 655"/>
                <a:gd name="T10" fmla="*/ 482 w 818"/>
                <a:gd name="T11" fmla="*/ 0 h 655"/>
                <a:gd name="T12" fmla="*/ 442 w 818"/>
                <a:gd name="T13" fmla="*/ 40 h 655"/>
                <a:gd name="T14" fmla="*/ 404 w 818"/>
                <a:gd name="T15" fmla="*/ 79 h 655"/>
                <a:gd name="T16" fmla="*/ 369 w 818"/>
                <a:gd name="T17" fmla="*/ 118 h 655"/>
                <a:gd name="T18" fmla="*/ 334 w 818"/>
                <a:gd name="T19" fmla="*/ 156 h 655"/>
                <a:gd name="T20" fmla="*/ 303 w 818"/>
                <a:gd name="T21" fmla="*/ 194 h 655"/>
                <a:gd name="T22" fmla="*/ 271 w 818"/>
                <a:gd name="T23" fmla="*/ 232 h 655"/>
                <a:gd name="T24" fmla="*/ 242 w 818"/>
                <a:gd name="T25" fmla="*/ 269 h 655"/>
                <a:gd name="T26" fmla="*/ 214 w 818"/>
                <a:gd name="T27" fmla="*/ 309 h 655"/>
                <a:gd name="T28" fmla="*/ 186 w 818"/>
                <a:gd name="T29" fmla="*/ 347 h 655"/>
                <a:gd name="T30" fmla="*/ 159 w 818"/>
                <a:gd name="T31" fmla="*/ 387 h 655"/>
                <a:gd name="T32" fmla="*/ 132 w 818"/>
                <a:gd name="T33" fmla="*/ 428 h 655"/>
                <a:gd name="T34" fmla="*/ 106 w 818"/>
                <a:gd name="T35" fmla="*/ 469 h 655"/>
                <a:gd name="T36" fmla="*/ 80 w 818"/>
                <a:gd name="T37" fmla="*/ 513 h 655"/>
                <a:gd name="T38" fmla="*/ 53 w 818"/>
                <a:gd name="T39" fmla="*/ 558 h 655"/>
                <a:gd name="T40" fmla="*/ 0 w 818"/>
                <a:gd name="T41" fmla="*/ 655 h 655"/>
                <a:gd name="T42" fmla="*/ 818 w 818"/>
                <a:gd name="T43" fmla="*/ 655 h 655"/>
                <a:gd name="T44" fmla="*/ 818 w 818"/>
                <a:gd name="T45" fmla="*/ 163 h 655"/>
                <a:gd name="T46" fmla="*/ 818 w 818"/>
                <a:gd name="T47" fmla="*/ 163 h 655"/>
                <a:gd name="T48" fmla="*/ 795 w 818"/>
                <a:gd name="T49" fmla="*/ 157 h 655"/>
                <a:gd name="T50" fmla="*/ 772 w 818"/>
                <a:gd name="T51" fmla="*/ 148 h 655"/>
                <a:gd name="T52" fmla="*/ 746 w 818"/>
                <a:gd name="T53" fmla="*/ 136 h 655"/>
                <a:gd name="T54" fmla="*/ 719 w 818"/>
                <a:gd name="T55" fmla="*/ 125 h 655"/>
                <a:gd name="T56" fmla="*/ 663 w 818"/>
                <a:gd name="T57" fmla="*/ 98 h 655"/>
                <a:gd name="T58" fmla="*/ 609 w 818"/>
                <a:gd name="T59" fmla="*/ 70 h 655"/>
                <a:gd name="T60" fmla="*/ 559 w 818"/>
                <a:gd name="T61" fmla="*/ 43 h 655"/>
                <a:gd name="T62" fmla="*/ 519 w 818"/>
                <a:gd name="T63" fmla="*/ 22 h 655"/>
                <a:gd name="T64" fmla="*/ 482 w 818"/>
                <a:gd name="T65" fmla="*/ 0 h 655"/>
                <a:gd name="T66" fmla="*/ 482 w 818"/>
                <a:gd name="T67" fmla="*/ 0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18" h="655">
                  <a:moveTo>
                    <a:pt x="482" y="0"/>
                  </a:moveTo>
                  <a:lnTo>
                    <a:pt x="483" y="0"/>
                  </a:lnTo>
                  <a:lnTo>
                    <a:pt x="483" y="0"/>
                  </a:lnTo>
                  <a:lnTo>
                    <a:pt x="482" y="0"/>
                  </a:lnTo>
                  <a:lnTo>
                    <a:pt x="482" y="0"/>
                  </a:lnTo>
                  <a:lnTo>
                    <a:pt x="482" y="0"/>
                  </a:lnTo>
                  <a:lnTo>
                    <a:pt x="442" y="40"/>
                  </a:lnTo>
                  <a:lnTo>
                    <a:pt x="404" y="79"/>
                  </a:lnTo>
                  <a:lnTo>
                    <a:pt x="369" y="118"/>
                  </a:lnTo>
                  <a:lnTo>
                    <a:pt x="334" y="156"/>
                  </a:lnTo>
                  <a:lnTo>
                    <a:pt x="303" y="194"/>
                  </a:lnTo>
                  <a:lnTo>
                    <a:pt x="271" y="232"/>
                  </a:lnTo>
                  <a:lnTo>
                    <a:pt x="242" y="269"/>
                  </a:lnTo>
                  <a:lnTo>
                    <a:pt x="214" y="309"/>
                  </a:lnTo>
                  <a:lnTo>
                    <a:pt x="186" y="347"/>
                  </a:lnTo>
                  <a:lnTo>
                    <a:pt x="159" y="387"/>
                  </a:lnTo>
                  <a:lnTo>
                    <a:pt x="132" y="428"/>
                  </a:lnTo>
                  <a:lnTo>
                    <a:pt x="106" y="469"/>
                  </a:lnTo>
                  <a:lnTo>
                    <a:pt x="80" y="513"/>
                  </a:lnTo>
                  <a:lnTo>
                    <a:pt x="53" y="558"/>
                  </a:lnTo>
                  <a:lnTo>
                    <a:pt x="0" y="655"/>
                  </a:lnTo>
                  <a:lnTo>
                    <a:pt x="818" y="655"/>
                  </a:lnTo>
                  <a:lnTo>
                    <a:pt x="818" y="163"/>
                  </a:lnTo>
                  <a:lnTo>
                    <a:pt x="818" y="163"/>
                  </a:lnTo>
                  <a:lnTo>
                    <a:pt x="795" y="157"/>
                  </a:lnTo>
                  <a:lnTo>
                    <a:pt x="772" y="148"/>
                  </a:lnTo>
                  <a:lnTo>
                    <a:pt x="746" y="136"/>
                  </a:lnTo>
                  <a:lnTo>
                    <a:pt x="719" y="125"/>
                  </a:lnTo>
                  <a:lnTo>
                    <a:pt x="663" y="98"/>
                  </a:lnTo>
                  <a:lnTo>
                    <a:pt x="609" y="70"/>
                  </a:lnTo>
                  <a:lnTo>
                    <a:pt x="559" y="43"/>
                  </a:lnTo>
                  <a:lnTo>
                    <a:pt x="519" y="22"/>
                  </a:lnTo>
                  <a:lnTo>
                    <a:pt x="482" y="0"/>
                  </a:lnTo>
                  <a:lnTo>
                    <a:pt x="482" y="0"/>
                  </a:lnTo>
                  <a:close/>
                </a:path>
              </a:pathLst>
            </a:custGeom>
            <a:solidFill>
              <a:schemeClr val="tx2">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2" name="Freeform 23"/>
            <p:cNvSpPr>
              <a:spLocks/>
            </p:cNvSpPr>
            <p:nvPr userDrawn="1"/>
          </p:nvSpPr>
          <p:spPr bwMode="auto">
            <a:xfrm>
              <a:off x="6788150" y="0"/>
              <a:ext cx="1822450" cy="4084638"/>
            </a:xfrm>
            <a:custGeom>
              <a:avLst/>
              <a:gdLst>
                <a:gd name="T0" fmla="*/ 1148 w 1148"/>
                <a:gd name="T1" fmla="*/ 864 h 2573"/>
                <a:gd name="T2" fmla="*/ 1148 w 1148"/>
                <a:gd name="T3" fmla="*/ 864 h 2573"/>
                <a:gd name="T4" fmla="*/ 1148 w 1148"/>
                <a:gd name="T5" fmla="*/ 864 h 2573"/>
                <a:gd name="T6" fmla="*/ 104 w 1148"/>
                <a:gd name="T7" fmla="*/ 0 h 2573"/>
                <a:gd name="T8" fmla="*/ 19 w 1148"/>
                <a:gd name="T9" fmla="*/ 0 h 2573"/>
                <a:gd name="T10" fmla="*/ 11 w 1148"/>
                <a:gd name="T11" fmla="*/ 77 h 2573"/>
                <a:gd name="T12" fmla="*/ 1 w 1148"/>
                <a:gd name="T13" fmla="*/ 230 h 2573"/>
                <a:gd name="T14" fmla="*/ 0 w 1148"/>
                <a:gd name="T15" fmla="*/ 381 h 2573"/>
                <a:gd name="T16" fmla="*/ 7 w 1148"/>
                <a:gd name="T17" fmla="*/ 533 h 2573"/>
                <a:gd name="T18" fmla="*/ 21 w 1148"/>
                <a:gd name="T19" fmla="*/ 683 h 2573"/>
                <a:gd name="T20" fmla="*/ 45 w 1148"/>
                <a:gd name="T21" fmla="*/ 831 h 2573"/>
                <a:gd name="T22" fmla="*/ 75 w 1148"/>
                <a:gd name="T23" fmla="*/ 978 h 2573"/>
                <a:gd name="T24" fmla="*/ 115 w 1148"/>
                <a:gd name="T25" fmla="*/ 1122 h 2573"/>
                <a:gd name="T26" fmla="*/ 136 w 1148"/>
                <a:gd name="T27" fmla="*/ 1193 h 2573"/>
                <a:gd name="T28" fmla="*/ 173 w 1148"/>
                <a:gd name="T29" fmla="*/ 1299 h 2573"/>
                <a:gd name="T30" fmla="*/ 214 w 1148"/>
                <a:gd name="T31" fmla="*/ 1404 h 2573"/>
                <a:gd name="T32" fmla="*/ 259 w 1148"/>
                <a:gd name="T33" fmla="*/ 1505 h 2573"/>
                <a:gd name="T34" fmla="*/ 307 w 1148"/>
                <a:gd name="T35" fmla="*/ 1604 h 2573"/>
                <a:gd name="T36" fmla="*/ 359 w 1148"/>
                <a:gd name="T37" fmla="*/ 1701 h 2573"/>
                <a:gd name="T38" fmla="*/ 414 w 1148"/>
                <a:gd name="T39" fmla="*/ 1794 h 2573"/>
                <a:gd name="T40" fmla="*/ 473 w 1148"/>
                <a:gd name="T41" fmla="*/ 1886 h 2573"/>
                <a:gd name="T42" fmla="*/ 534 w 1148"/>
                <a:gd name="T43" fmla="*/ 1973 h 2573"/>
                <a:gd name="T44" fmla="*/ 600 w 1148"/>
                <a:gd name="T45" fmla="*/ 2059 h 2573"/>
                <a:gd name="T46" fmla="*/ 667 w 1148"/>
                <a:gd name="T47" fmla="*/ 2142 h 2573"/>
                <a:gd name="T48" fmla="*/ 738 w 1148"/>
                <a:gd name="T49" fmla="*/ 2221 h 2573"/>
                <a:gd name="T50" fmla="*/ 811 w 1148"/>
                <a:gd name="T51" fmla="*/ 2297 h 2573"/>
                <a:gd name="T52" fmla="*/ 888 w 1148"/>
                <a:gd name="T53" fmla="*/ 2372 h 2573"/>
                <a:gd name="T54" fmla="*/ 966 w 1148"/>
                <a:gd name="T55" fmla="*/ 2441 h 2573"/>
                <a:gd name="T56" fmla="*/ 1049 w 1148"/>
                <a:gd name="T57" fmla="*/ 2509 h 2573"/>
                <a:gd name="T58" fmla="*/ 1132 w 1148"/>
                <a:gd name="T59" fmla="*/ 2573 h 2573"/>
                <a:gd name="T60" fmla="*/ 1131 w 1148"/>
                <a:gd name="T61" fmla="*/ 2553 h 2573"/>
                <a:gd name="T62" fmla="*/ 1131 w 1148"/>
                <a:gd name="T63" fmla="*/ 2304 h 2573"/>
                <a:gd name="T64" fmla="*/ 1144 w 1148"/>
                <a:gd name="T65" fmla="*/ 1131 h 2573"/>
                <a:gd name="T66" fmla="*/ 1148 w 1148"/>
                <a:gd name="T67" fmla="*/ 864 h 2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48" h="2573">
                  <a:moveTo>
                    <a:pt x="1148" y="864"/>
                  </a:moveTo>
                  <a:lnTo>
                    <a:pt x="1148" y="864"/>
                  </a:lnTo>
                  <a:lnTo>
                    <a:pt x="1148" y="864"/>
                  </a:lnTo>
                  <a:lnTo>
                    <a:pt x="1148" y="864"/>
                  </a:lnTo>
                  <a:lnTo>
                    <a:pt x="1148" y="864"/>
                  </a:lnTo>
                  <a:lnTo>
                    <a:pt x="1148" y="864"/>
                  </a:lnTo>
                  <a:lnTo>
                    <a:pt x="663" y="0"/>
                  </a:lnTo>
                  <a:lnTo>
                    <a:pt x="104" y="0"/>
                  </a:lnTo>
                  <a:lnTo>
                    <a:pt x="86" y="0"/>
                  </a:lnTo>
                  <a:lnTo>
                    <a:pt x="19" y="0"/>
                  </a:lnTo>
                  <a:lnTo>
                    <a:pt x="19" y="0"/>
                  </a:lnTo>
                  <a:lnTo>
                    <a:pt x="11" y="77"/>
                  </a:lnTo>
                  <a:lnTo>
                    <a:pt x="6" y="153"/>
                  </a:lnTo>
                  <a:lnTo>
                    <a:pt x="1" y="230"/>
                  </a:lnTo>
                  <a:lnTo>
                    <a:pt x="0" y="306"/>
                  </a:lnTo>
                  <a:lnTo>
                    <a:pt x="0" y="381"/>
                  </a:lnTo>
                  <a:lnTo>
                    <a:pt x="2" y="458"/>
                  </a:lnTo>
                  <a:lnTo>
                    <a:pt x="7" y="533"/>
                  </a:lnTo>
                  <a:lnTo>
                    <a:pt x="14" y="609"/>
                  </a:lnTo>
                  <a:lnTo>
                    <a:pt x="21" y="683"/>
                  </a:lnTo>
                  <a:lnTo>
                    <a:pt x="33" y="757"/>
                  </a:lnTo>
                  <a:lnTo>
                    <a:pt x="45" y="831"/>
                  </a:lnTo>
                  <a:lnTo>
                    <a:pt x="60" y="905"/>
                  </a:lnTo>
                  <a:lnTo>
                    <a:pt x="75" y="978"/>
                  </a:lnTo>
                  <a:lnTo>
                    <a:pt x="95" y="1050"/>
                  </a:lnTo>
                  <a:lnTo>
                    <a:pt x="115" y="1122"/>
                  </a:lnTo>
                  <a:lnTo>
                    <a:pt x="136" y="1193"/>
                  </a:lnTo>
                  <a:lnTo>
                    <a:pt x="136" y="1193"/>
                  </a:lnTo>
                  <a:lnTo>
                    <a:pt x="154" y="1247"/>
                  </a:lnTo>
                  <a:lnTo>
                    <a:pt x="173" y="1299"/>
                  </a:lnTo>
                  <a:lnTo>
                    <a:pt x="194" y="1351"/>
                  </a:lnTo>
                  <a:lnTo>
                    <a:pt x="214" y="1404"/>
                  </a:lnTo>
                  <a:lnTo>
                    <a:pt x="236" y="1455"/>
                  </a:lnTo>
                  <a:lnTo>
                    <a:pt x="259" y="1505"/>
                  </a:lnTo>
                  <a:lnTo>
                    <a:pt x="282" y="1555"/>
                  </a:lnTo>
                  <a:lnTo>
                    <a:pt x="307" y="1604"/>
                  </a:lnTo>
                  <a:lnTo>
                    <a:pt x="333" y="1653"/>
                  </a:lnTo>
                  <a:lnTo>
                    <a:pt x="359" y="1701"/>
                  </a:lnTo>
                  <a:lnTo>
                    <a:pt x="386" y="1748"/>
                  </a:lnTo>
                  <a:lnTo>
                    <a:pt x="414" y="1794"/>
                  </a:lnTo>
                  <a:lnTo>
                    <a:pt x="443" y="1841"/>
                  </a:lnTo>
                  <a:lnTo>
                    <a:pt x="473" y="1886"/>
                  </a:lnTo>
                  <a:lnTo>
                    <a:pt x="503" y="1929"/>
                  </a:lnTo>
                  <a:lnTo>
                    <a:pt x="534" y="1973"/>
                  </a:lnTo>
                  <a:lnTo>
                    <a:pt x="567" y="2017"/>
                  </a:lnTo>
                  <a:lnTo>
                    <a:pt x="600" y="2059"/>
                  </a:lnTo>
                  <a:lnTo>
                    <a:pt x="633" y="2100"/>
                  </a:lnTo>
                  <a:lnTo>
                    <a:pt x="667" y="2142"/>
                  </a:lnTo>
                  <a:lnTo>
                    <a:pt x="702" y="2181"/>
                  </a:lnTo>
                  <a:lnTo>
                    <a:pt x="738" y="2221"/>
                  </a:lnTo>
                  <a:lnTo>
                    <a:pt x="774" y="2260"/>
                  </a:lnTo>
                  <a:lnTo>
                    <a:pt x="811" y="2297"/>
                  </a:lnTo>
                  <a:lnTo>
                    <a:pt x="849" y="2334"/>
                  </a:lnTo>
                  <a:lnTo>
                    <a:pt x="888" y="2372"/>
                  </a:lnTo>
                  <a:lnTo>
                    <a:pt x="927" y="2406"/>
                  </a:lnTo>
                  <a:lnTo>
                    <a:pt x="966" y="2441"/>
                  </a:lnTo>
                  <a:lnTo>
                    <a:pt x="1007" y="2476"/>
                  </a:lnTo>
                  <a:lnTo>
                    <a:pt x="1049" y="2509"/>
                  </a:lnTo>
                  <a:lnTo>
                    <a:pt x="1089" y="2541"/>
                  </a:lnTo>
                  <a:lnTo>
                    <a:pt x="1132" y="2573"/>
                  </a:lnTo>
                  <a:lnTo>
                    <a:pt x="1132" y="2573"/>
                  </a:lnTo>
                  <a:lnTo>
                    <a:pt x="1131" y="2553"/>
                  </a:lnTo>
                  <a:lnTo>
                    <a:pt x="1131" y="2498"/>
                  </a:lnTo>
                  <a:lnTo>
                    <a:pt x="1131" y="2304"/>
                  </a:lnTo>
                  <a:lnTo>
                    <a:pt x="1137" y="1717"/>
                  </a:lnTo>
                  <a:lnTo>
                    <a:pt x="1144" y="1131"/>
                  </a:lnTo>
                  <a:lnTo>
                    <a:pt x="1148" y="864"/>
                  </a:lnTo>
                  <a:lnTo>
                    <a:pt x="1148" y="864"/>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3" name="Freeform 24"/>
            <p:cNvSpPr>
              <a:spLocks noEditPoints="1"/>
            </p:cNvSpPr>
            <p:nvPr userDrawn="1"/>
          </p:nvSpPr>
          <p:spPr bwMode="auto">
            <a:xfrm>
              <a:off x="6953250" y="0"/>
              <a:ext cx="2001838" cy="4103688"/>
            </a:xfrm>
            <a:custGeom>
              <a:avLst/>
              <a:gdLst>
                <a:gd name="T0" fmla="*/ 582 w 1261"/>
                <a:gd name="T1" fmla="*/ 0 h 2585"/>
                <a:gd name="T2" fmla="*/ 0 w 1261"/>
                <a:gd name="T3" fmla="*/ 0 h 2585"/>
                <a:gd name="T4" fmla="*/ 6 w 1261"/>
                <a:gd name="T5" fmla="*/ 33 h 2585"/>
                <a:gd name="T6" fmla="*/ 22 w 1261"/>
                <a:gd name="T7" fmla="*/ 97 h 2585"/>
                <a:gd name="T8" fmla="*/ 32 w 1261"/>
                <a:gd name="T9" fmla="*/ 129 h 2585"/>
                <a:gd name="T10" fmla="*/ 63 w 1261"/>
                <a:gd name="T11" fmla="*/ 210 h 2585"/>
                <a:gd name="T12" fmla="*/ 99 w 1261"/>
                <a:gd name="T13" fmla="*/ 288 h 2585"/>
                <a:gd name="T14" fmla="*/ 140 w 1261"/>
                <a:gd name="T15" fmla="*/ 361 h 2585"/>
                <a:gd name="T16" fmla="*/ 186 w 1261"/>
                <a:gd name="T17" fmla="*/ 431 h 2585"/>
                <a:gd name="T18" fmla="*/ 238 w 1261"/>
                <a:gd name="T19" fmla="*/ 495 h 2585"/>
                <a:gd name="T20" fmla="*/ 294 w 1261"/>
                <a:gd name="T21" fmla="*/ 556 h 2585"/>
                <a:gd name="T22" fmla="*/ 355 w 1261"/>
                <a:gd name="T23" fmla="*/ 611 h 2585"/>
                <a:gd name="T24" fmla="*/ 419 w 1261"/>
                <a:gd name="T25" fmla="*/ 660 h 2585"/>
                <a:gd name="T26" fmla="*/ 454 w 1261"/>
                <a:gd name="T27" fmla="*/ 686 h 2585"/>
                <a:gd name="T28" fmla="*/ 528 w 1261"/>
                <a:gd name="T29" fmla="*/ 730 h 2585"/>
                <a:gd name="T30" fmla="*/ 604 w 1261"/>
                <a:gd name="T31" fmla="*/ 768 h 2585"/>
                <a:gd name="T32" fmla="*/ 681 w 1261"/>
                <a:gd name="T33" fmla="*/ 801 h 2585"/>
                <a:gd name="T34" fmla="*/ 761 w 1261"/>
                <a:gd name="T35" fmla="*/ 826 h 2585"/>
                <a:gd name="T36" fmla="*/ 841 w 1261"/>
                <a:gd name="T37" fmla="*/ 845 h 2585"/>
                <a:gd name="T38" fmla="*/ 922 w 1261"/>
                <a:gd name="T39" fmla="*/ 857 h 2585"/>
                <a:gd name="T40" fmla="*/ 1003 w 1261"/>
                <a:gd name="T41" fmla="*/ 863 h 2585"/>
                <a:gd name="T42" fmla="*/ 1044 w 1261"/>
                <a:gd name="T43" fmla="*/ 864 h 2585"/>
                <a:gd name="T44" fmla="*/ 976 w 1261"/>
                <a:gd name="T45" fmla="*/ 918 h 2585"/>
                <a:gd name="T46" fmla="*/ 913 w 1261"/>
                <a:gd name="T47" fmla="*/ 977 h 2585"/>
                <a:gd name="T48" fmla="*/ 857 w 1261"/>
                <a:gd name="T49" fmla="*/ 1038 h 2585"/>
                <a:gd name="T50" fmla="*/ 805 w 1261"/>
                <a:gd name="T51" fmla="*/ 1104 h 2585"/>
                <a:gd name="T52" fmla="*/ 759 w 1261"/>
                <a:gd name="T53" fmla="*/ 1173 h 2585"/>
                <a:gd name="T54" fmla="*/ 720 w 1261"/>
                <a:gd name="T55" fmla="*/ 1245 h 2585"/>
                <a:gd name="T56" fmla="*/ 686 w 1261"/>
                <a:gd name="T57" fmla="*/ 1320 h 2585"/>
                <a:gd name="T58" fmla="*/ 658 w 1261"/>
                <a:gd name="T59" fmla="*/ 1396 h 2585"/>
                <a:gd name="T60" fmla="*/ 645 w 1261"/>
                <a:gd name="T61" fmla="*/ 1438 h 2585"/>
                <a:gd name="T62" fmla="*/ 625 w 1261"/>
                <a:gd name="T63" fmla="*/ 1521 h 2585"/>
                <a:gd name="T64" fmla="*/ 612 w 1261"/>
                <a:gd name="T65" fmla="*/ 1605 h 2585"/>
                <a:gd name="T66" fmla="*/ 606 w 1261"/>
                <a:gd name="T67" fmla="*/ 1689 h 2585"/>
                <a:gd name="T68" fmla="*/ 606 w 1261"/>
                <a:gd name="T69" fmla="*/ 1772 h 2585"/>
                <a:gd name="T70" fmla="*/ 614 w 1261"/>
                <a:gd name="T71" fmla="*/ 1854 h 2585"/>
                <a:gd name="T72" fmla="*/ 626 w 1261"/>
                <a:gd name="T73" fmla="*/ 1935 h 2585"/>
                <a:gd name="T74" fmla="*/ 645 w 1261"/>
                <a:gd name="T75" fmla="*/ 2015 h 2585"/>
                <a:gd name="T76" fmla="*/ 658 w 1261"/>
                <a:gd name="T77" fmla="*/ 2053 h 2585"/>
                <a:gd name="T78" fmla="*/ 688 w 1261"/>
                <a:gd name="T79" fmla="*/ 2135 h 2585"/>
                <a:gd name="T80" fmla="*/ 724 w 1261"/>
                <a:gd name="T81" fmla="*/ 2212 h 2585"/>
                <a:gd name="T82" fmla="*/ 766 w 1261"/>
                <a:gd name="T83" fmla="*/ 2286 h 2585"/>
                <a:gd name="T84" fmla="*/ 812 w 1261"/>
                <a:gd name="T85" fmla="*/ 2355 h 2585"/>
                <a:gd name="T86" fmla="*/ 864 w 1261"/>
                <a:gd name="T87" fmla="*/ 2420 h 2585"/>
                <a:gd name="T88" fmla="*/ 920 w 1261"/>
                <a:gd name="T89" fmla="*/ 2480 h 2585"/>
                <a:gd name="T90" fmla="*/ 979 w 1261"/>
                <a:gd name="T91" fmla="*/ 2535 h 2585"/>
                <a:gd name="T92" fmla="*/ 1044 w 1261"/>
                <a:gd name="T93" fmla="*/ 2585 h 2585"/>
                <a:gd name="T94" fmla="*/ 1044 w 1261"/>
                <a:gd name="T95" fmla="*/ 2585 h 2585"/>
                <a:gd name="T96" fmla="*/ 1261 w 1261"/>
                <a:gd name="T97" fmla="*/ 2376 h 2585"/>
                <a:gd name="T98" fmla="*/ 1044 w 1261"/>
                <a:gd name="T99" fmla="*/ 864 h 2585"/>
                <a:gd name="T100" fmla="*/ 1044 w 1261"/>
                <a:gd name="T101" fmla="*/ 864 h 2585"/>
                <a:gd name="T102" fmla="*/ 1044 w 1261"/>
                <a:gd name="T103" fmla="*/ 864 h 2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61" h="2585">
                  <a:moveTo>
                    <a:pt x="1255" y="0"/>
                  </a:moveTo>
                  <a:lnTo>
                    <a:pt x="582" y="0"/>
                  </a:lnTo>
                  <a:lnTo>
                    <a:pt x="470" y="0"/>
                  </a:lnTo>
                  <a:lnTo>
                    <a:pt x="0" y="0"/>
                  </a:lnTo>
                  <a:lnTo>
                    <a:pt x="0" y="0"/>
                  </a:lnTo>
                  <a:lnTo>
                    <a:pt x="6" y="33"/>
                  </a:lnTo>
                  <a:lnTo>
                    <a:pt x="14" y="65"/>
                  </a:lnTo>
                  <a:lnTo>
                    <a:pt x="22" y="97"/>
                  </a:lnTo>
                  <a:lnTo>
                    <a:pt x="32" y="129"/>
                  </a:lnTo>
                  <a:lnTo>
                    <a:pt x="32" y="129"/>
                  </a:lnTo>
                  <a:lnTo>
                    <a:pt x="47" y="170"/>
                  </a:lnTo>
                  <a:lnTo>
                    <a:pt x="63" y="210"/>
                  </a:lnTo>
                  <a:lnTo>
                    <a:pt x="79" y="250"/>
                  </a:lnTo>
                  <a:lnTo>
                    <a:pt x="99" y="288"/>
                  </a:lnTo>
                  <a:lnTo>
                    <a:pt x="119" y="325"/>
                  </a:lnTo>
                  <a:lnTo>
                    <a:pt x="140" y="361"/>
                  </a:lnTo>
                  <a:lnTo>
                    <a:pt x="163" y="396"/>
                  </a:lnTo>
                  <a:lnTo>
                    <a:pt x="186" y="431"/>
                  </a:lnTo>
                  <a:lnTo>
                    <a:pt x="212" y="464"/>
                  </a:lnTo>
                  <a:lnTo>
                    <a:pt x="238" y="495"/>
                  </a:lnTo>
                  <a:lnTo>
                    <a:pt x="266" y="525"/>
                  </a:lnTo>
                  <a:lnTo>
                    <a:pt x="294" y="556"/>
                  </a:lnTo>
                  <a:lnTo>
                    <a:pt x="324" y="584"/>
                  </a:lnTo>
                  <a:lnTo>
                    <a:pt x="355" y="611"/>
                  </a:lnTo>
                  <a:lnTo>
                    <a:pt x="387" y="637"/>
                  </a:lnTo>
                  <a:lnTo>
                    <a:pt x="419" y="660"/>
                  </a:lnTo>
                  <a:lnTo>
                    <a:pt x="419" y="660"/>
                  </a:lnTo>
                  <a:lnTo>
                    <a:pt x="454" y="686"/>
                  </a:lnTo>
                  <a:lnTo>
                    <a:pt x="491" y="709"/>
                  </a:lnTo>
                  <a:lnTo>
                    <a:pt x="528" y="730"/>
                  </a:lnTo>
                  <a:lnTo>
                    <a:pt x="565" y="750"/>
                  </a:lnTo>
                  <a:lnTo>
                    <a:pt x="604" y="768"/>
                  </a:lnTo>
                  <a:lnTo>
                    <a:pt x="642" y="785"/>
                  </a:lnTo>
                  <a:lnTo>
                    <a:pt x="681" y="801"/>
                  </a:lnTo>
                  <a:lnTo>
                    <a:pt x="721" y="815"/>
                  </a:lnTo>
                  <a:lnTo>
                    <a:pt x="761" y="826"/>
                  </a:lnTo>
                  <a:lnTo>
                    <a:pt x="801" y="836"/>
                  </a:lnTo>
                  <a:lnTo>
                    <a:pt x="841" y="845"/>
                  </a:lnTo>
                  <a:lnTo>
                    <a:pt x="882" y="852"/>
                  </a:lnTo>
                  <a:lnTo>
                    <a:pt x="922" y="857"/>
                  </a:lnTo>
                  <a:lnTo>
                    <a:pt x="963" y="861"/>
                  </a:lnTo>
                  <a:lnTo>
                    <a:pt x="1003" y="863"/>
                  </a:lnTo>
                  <a:lnTo>
                    <a:pt x="1044" y="864"/>
                  </a:lnTo>
                  <a:lnTo>
                    <a:pt x="1044" y="864"/>
                  </a:lnTo>
                  <a:lnTo>
                    <a:pt x="1010" y="890"/>
                  </a:lnTo>
                  <a:lnTo>
                    <a:pt x="976" y="918"/>
                  </a:lnTo>
                  <a:lnTo>
                    <a:pt x="943" y="946"/>
                  </a:lnTo>
                  <a:lnTo>
                    <a:pt x="913" y="977"/>
                  </a:lnTo>
                  <a:lnTo>
                    <a:pt x="884" y="1007"/>
                  </a:lnTo>
                  <a:lnTo>
                    <a:pt x="857" y="1038"/>
                  </a:lnTo>
                  <a:lnTo>
                    <a:pt x="830" y="1071"/>
                  </a:lnTo>
                  <a:lnTo>
                    <a:pt x="805" y="1104"/>
                  </a:lnTo>
                  <a:lnTo>
                    <a:pt x="781" y="1139"/>
                  </a:lnTo>
                  <a:lnTo>
                    <a:pt x="759" y="1173"/>
                  </a:lnTo>
                  <a:lnTo>
                    <a:pt x="739" y="1208"/>
                  </a:lnTo>
                  <a:lnTo>
                    <a:pt x="720" y="1245"/>
                  </a:lnTo>
                  <a:lnTo>
                    <a:pt x="702" y="1281"/>
                  </a:lnTo>
                  <a:lnTo>
                    <a:pt x="686" y="1320"/>
                  </a:lnTo>
                  <a:lnTo>
                    <a:pt x="671" y="1358"/>
                  </a:lnTo>
                  <a:lnTo>
                    <a:pt x="658" y="1396"/>
                  </a:lnTo>
                  <a:lnTo>
                    <a:pt x="658" y="1396"/>
                  </a:lnTo>
                  <a:lnTo>
                    <a:pt x="645" y="1438"/>
                  </a:lnTo>
                  <a:lnTo>
                    <a:pt x="634" y="1479"/>
                  </a:lnTo>
                  <a:lnTo>
                    <a:pt x="625" y="1521"/>
                  </a:lnTo>
                  <a:lnTo>
                    <a:pt x="617" y="1564"/>
                  </a:lnTo>
                  <a:lnTo>
                    <a:pt x="612" y="1605"/>
                  </a:lnTo>
                  <a:lnTo>
                    <a:pt x="608" y="1647"/>
                  </a:lnTo>
                  <a:lnTo>
                    <a:pt x="606" y="1689"/>
                  </a:lnTo>
                  <a:lnTo>
                    <a:pt x="605" y="1730"/>
                  </a:lnTo>
                  <a:lnTo>
                    <a:pt x="606" y="1772"/>
                  </a:lnTo>
                  <a:lnTo>
                    <a:pt x="609" y="1814"/>
                  </a:lnTo>
                  <a:lnTo>
                    <a:pt x="614" y="1854"/>
                  </a:lnTo>
                  <a:lnTo>
                    <a:pt x="619" y="1895"/>
                  </a:lnTo>
                  <a:lnTo>
                    <a:pt x="626" y="1935"/>
                  </a:lnTo>
                  <a:lnTo>
                    <a:pt x="635" y="1974"/>
                  </a:lnTo>
                  <a:lnTo>
                    <a:pt x="645" y="2015"/>
                  </a:lnTo>
                  <a:lnTo>
                    <a:pt x="658" y="2053"/>
                  </a:lnTo>
                  <a:lnTo>
                    <a:pt x="658" y="2053"/>
                  </a:lnTo>
                  <a:lnTo>
                    <a:pt x="672" y="2095"/>
                  </a:lnTo>
                  <a:lnTo>
                    <a:pt x="688" y="2135"/>
                  </a:lnTo>
                  <a:lnTo>
                    <a:pt x="705" y="2174"/>
                  </a:lnTo>
                  <a:lnTo>
                    <a:pt x="724" y="2212"/>
                  </a:lnTo>
                  <a:lnTo>
                    <a:pt x="744" y="2249"/>
                  </a:lnTo>
                  <a:lnTo>
                    <a:pt x="766" y="2286"/>
                  </a:lnTo>
                  <a:lnTo>
                    <a:pt x="788" y="2321"/>
                  </a:lnTo>
                  <a:lnTo>
                    <a:pt x="812" y="2355"/>
                  </a:lnTo>
                  <a:lnTo>
                    <a:pt x="838" y="2387"/>
                  </a:lnTo>
                  <a:lnTo>
                    <a:pt x="864" y="2420"/>
                  </a:lnTo>
                  <a:lnTo>
                    <a:pt x="891" y="2450"/>
                  </a:lnTo>
                  <a:lnTo>
                    <a:pt x="920" y="2480"/>
                  </a:lnTo>
                  <a:lnTo>
                    <a:pt x="949" y="2508"/>
                  </a:lnTo>
                  <a:lnTo>
                    <a:pt x="979" y="2535"/>
                  </a:lnTo>
                  <a:lnTo>
                    <a:pt x="1012" y="2561"/>
                  </a:lnTo>
                  <a:lnTo>
                    <a:pt x="1044" y="2585"/>
                  </a:lnTo>
                  <a:lnTo>
                    <a:pt x="1044" y="2585"/>
                  </a:lnTo>
                  <a:lnTo>
                    <a:pt x="1044" y="2585"/>
                  </a:lnTo>
                  <a:lnTo>
                    <a:pt x="1044" y="2585"/>
                  </a:lnTo>
                  <a:lnTo>
                    <a:pt x="1261" y="2376"/>
                  </a:lnTo>
                  <a:lnTo>
                    <a:pt x="1255" y="0"/>
                  </a:lnTo>
                  <a:close/>
                  <a:moveTo>
                    <a:pt x="1044" y="864"/>
                  </a:moveTo>
                  <a:lnTo>
                    <a:pt x="1044" y="864"/>
                  </a:lnTo>
                  <a:lnTo>
                    <a:pt x="1044" y="864"/>
                  </a:lnTo>
                  <a:lnTo>
                    <a:pt x="1045" y="864"/>
                  </a:lnTo>
                  <a:lnTo>
                    <a:pt x="1044" y="864"/>
                  </a:lnTo>
                  <a:close/>
                </a:path>
              </a:pathLst>
            </a:custGeom>
            <a:solidFill>
              <a:schemeClr val="accent4">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4" name="Freeform 25"/>
            <p:cNvSpPr>
              <a:spLocks/>
            </p:cNvSpPr>
            <p:nvPr userDrawn="1"/>
          </p:nvSpPr>
          <p:spPr bwMode="auto">
            <a:xfrm>
              <a:off x="7877175" y="0"/>
              <a:ext cx="1266825" cy="4103688"/>
            </a:xfrm>
            <a:custGeom>
              <a:avLst/>
              <a:gdLst>
                <a:gd name="T0" fmla="*/ 0 w 798"/>
                <a:gd name="T1" fmla="*/ 0 h 2585"/>
                <a:gd name="T2" fmla="*/ 73 w 798"/>
                <a:gd name="T3" fmla="*/ 96 h 2585"/>
                <a:gd name="T4" fmla="*/ 142 w 798"/>
                <a:gd name="T5" fmla="*/ 196 h 2585"/>
                <a:gd name="T6" fmla="*/ 206 w 798"/>
                <a:gd name="T7" fmla="*/ 299 h 2585"/>
                <a:gd name="T8" fmla="*/ 267 w 798"/>
                <a:gd name="T9" fmla="*/ 405 h 2585"/>
                <a:gd name="T10" fmla="*/ 322 w 798"/>
                <a:gd name="T11" fmla="*/ 515 h 2585"/>
                <a:gd name="T12" fmla="*/ 374 w 798"/>
                <a:gd name="T13" fmla="*/ 629 h 2585"/>
                <a:gd name="T14" fmla="*/ 420 w 798"/>
                <a:gd name="T15" fmla="*/ 745 h 2585"/>
                <a:gd name="T16" fmla="*/ 462 w 798"/>
                <a:gd name="T17" fmla="*/ 864 h 2585"/>
                <a:gd name="T18" fmla="*/ 463 w 798"/>
                <a:gd name="T19" fmla="*/ 864 h 2585"/>
                <a:gd name="T20" fmla="*/ 462 w 798"/>
                <a:gd name="T21" fmla="*/ 864 h 2585"/>
                <a:gd name="T22" fmla="*/ 462 w 798"/>
                <a:gd name="T23" fmla="*/ 864 h 2585"/>
                <a:gd name="T24" fmla="*/ 478 w 798"/>
                <a:gd name="T25" fmla="*/ 915 h 2585"/>
                <a:gd name="T26" fmla="*/ 508 w 798"/>
                <a:gd name="T27" fmla="*/ 1017 h 2585"/>
                <a:gd name="T28" fmla="*/ 532 w 798"/>
                <a:gd name="T29" fmla="*/ 1122 h 2585"/>
                <a:gd name="T30" fmla="*/ 554 w 798"/>
                <a:gd name="T31" fmla="*/ 1226 h 2585"/>
                <a:gd name="T32" fmla="*/ 571 w 798"/>
                <a:gd name="T33" fmla="*/ 1332 h 2585"/>
                <a:gd name="T34" fmla="*/ 584 w 798"/>
                <a:gd name="T35" fmla="*/ 1439 h 2585"/>
                <a:gd name="T36" fmla="*/ 593 w 798"/>
                <a:gd name="T37" fmla="*/ 1547 h 2585"/>
                <a:gd name="T38" fmla="*/ 598 w 798"/>
                <a:gd name="T39" fmla="*/ 1655 h 2585"/>
                <a:gd name="T40" fmla="*/ 599 w 798"/>
                <a:gd name="T41" fmla="*/ 1763 h 2585"/>
                <a:gd name="T42" fmla="*/ 595 w 798"/>
                <a:gd name="T43" fmla="*/ 1873 h 2585"/>
                <a:gd name="T44" fmla="*/ 586 w 798"/>
                <a:gd name="T45" fmla="*/ 1982 h 2585"/>
                <a:gd name="T46" fmla="*/ 574 w 798"/>
                <a:gd name="T47" fmla="*/ 2091 h 2585"/>
                <a:gd name="T48" fmla="*/ 557 w 798"/>
                <a:gd name="T49" fmla="*/ 2202 h 2585"/>
                <a:gd name="T50" fmla="*/ 536 w 798"/>
                <a:gd name="T51" fmla="*/ 2312 h 2585"/>
                <a:gd name="T52" fmla="*/ 510 w 798"/>
                <a:gd name="T53" fmla="*/ 2421 h 2585"/>
                <a:gd name="T54" fmla="*/ 480 w 798"/>
                <a:gd name="T55" fmla="*/ 2530 h 2585"/>
                <a:gd name="T56" fmla="*/ 462 w 798"/>
                <a:gd name="T57" fmla="*/ 2585 h 2585"/>
                <a:gd name="T58" fmla="*/ 597 w 798"/>
                <a:gd name="T59" fmla="*/ 2529 h 2585"/>
                <a:gd name="T60" fmla="*/ 675 w 798"/>
                <a:gd name="T61" fmla="*/ 2492 h 2585"/>
                <a:gd name="T62" fmla="*/ 798 w 798"/>
                <a:gd name="T63" fmla="*/ 2430 h 2585"/>
                <a:gd name="T64" fmla="*/ 798 w 798"/>
                <a:gd name="T65" fmla="*/ 0 h 2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98" h="2585">
                  <a:moveTo>
                    <a:pt x="0" y="0"/>
                  </a:moveTo>
                  <a:lnTo>
                    <a:pt x="0" y="0"/>
                  </a:lnTo>
                  <a:lnTo>
                    <a:pt x="37" y="47"/>
                  </a:lnTo>
                  <a:lnTo>
                    <a:pt x="73" y="96"/>
                  </a:lnTo>
                  <a:lnTo>
                    <a:pt x="108" y="145"/>
                  </a:lnTo>
                  <a:lnTo>
                    <a:pt x="142" y="196"/>
                  </a:lnTo>
                  <a:lnTo>
                    <a:pt x="175" y="246"/>
                  </a:lnTo>
                  <a:lnTo>
                    <a:pt x="206" y="299"/>
                  </a:lnTo>
                  <a:lnTo>
                    <a:pt x="237" y="352"/>
                  </a:lnTo>
                  <a:lnTo>
                    <a:pt x="267" y="405"/>
                  </a:lnTo>
                  <a:lnTo>
                    <a:pt x="295" y="460"/>
                  </a:lnTo>
                  <a:lnTo>
                    <a:pt x="322" y="515"/>
                  </a:lnTo>
                  <a:lnTo>
                    <a:pt x="349" y="572"/>
                  </a:lnTo>
                  <a:lnTo>
                    <a:pt x="374" y="629"/>
                  </a:lnTo>
                  <a:lnTo>
                    <a:pt x="397" y="686"/>
                  </a:lnTo>
                  <a:lnTo>
                    <a:pt x="420" y="745"/>
                  </a:lnTo>
                  <a:lnTo>
                    <a:pt x="441" y="804"/>
                  </a:lnTo>
                  <a:lnTo>
                    <a:pt x="462" y="864"/>
                  </a:lnTo>
                  <a:lnTo>
                    <a:pt x="462" y="864"/>
                  </a:lnTo>
                  <a:lnTo>
                    <a:pt x="463" y="864"/>
                  </a:lnTo>
                  <a:lnTo>
                    <a:pt x="463" y="864"/>
                  </a:lnTo>
                  <a:lnTo>
                    <a:pt x="462" y="864"/>
                  </a:lnTo>
                  <a:lnTo>
                    <a:pt x="462" y="864"/>
                  </a:lnTo>
                  <a:lnTo>
                    <a:pt x="462" y="864"/>
                  </a:lnTo>
                  <a:lnTo>
                    <a:pt x="462" y="864"/>
                  </a:lnTo>
                  <a:lnTo>
                    <a:pt x="478" y="915"/>
                  </a:lnTo>
                  <a:lnTo>
                    <a:pt x="493" y="966"/>
                  </a:lnTo>
                  <a:lnTo>
                    <a:pt x="508" y="1017"/>
                  </a:lnTo>
                  <a:lnTo>
                    <a:pt x="520" y="1069"/>
                  </a:lnTo>
                  <a:lnTo>
                    <a:pt x="532" y="1122"/>
                  </a:lnTo>
                  <a:lnTo>
                    <a:pt x="544" y="1173"/>
                  </a:lnTo>
                  <a:lnTo>
                    <a:pt x="554" y="1226"/>
                  </a:lnTo>
                  <a:lnTo>
                    <a:pt x="563" y="1279"/>
                  </a:lnTo>
                  <a:lnTo>
                    <a:pt x="571" y="1332"/>
                  </a:lnTo>
                  <a:lnTo>
                    <a:pt x="579" y="1386"/>
                  </a:lnTo>
                  <a:lnTo>
                    <a:pt x="584" y="1439"/>
                  </a:lnTo>
                  <a:lnTo>
                    <a:pt x="590" y="1493"/>
                  </a:lnTo>
                  <a:lnTo>
                    <a:pt x="593" y="1547"/>
                  </a:lnTo>
                  <a:lnTo>
                    <a:pt x="597" y="1601"/>
                  </a:lnTo>
                  <a:lnTo>
                    <a:pt x="598" y="1655"/>
                  </a:lnTo>
                  <a:lnTo>
                    <a:pt x="599" y="1709"/>
                  </a:lnTo>
                  <a:lnTo>
                    <a:pt x="599" y="1763"/>
                  </a:lnTo>
                  <a:lnTo>
                    <a:pt x="598" y="1818"/>
                  </a:lnTo>
                  <a:lnTo>
                    <a:pt x="595" y="1873"/>
                  </a:lnTo>
                  <a:lnTo>
                    <a:pt x="592" y="1927"/>
                  </a:lnTo>
                  <a:lnTo>
                    <a:pt x="586" y="1982"/>
                  </a:lnTo>
                  <a:lnTo>
                    <a:pt x="581" y="2037"/>
                  </a:lnTo>
                  <a:lnTo>
                    <a:pt x="574" y="2091"/>
                  </a:lnTo>
                  <a:lnTo>
                    <a:pt x="566" y="2147"/>
                  </a:lnTo>
                  <a:lnTo>
                    <a:pt x="557" y="2202"/>
                  </a:lnTo>
                  <a:lnTo>
                    <a:pt x="547" y="2257"/>
                  </a:lnTo>
                  <a:lnTo>
                    <a:pt x="536" y="2312"/>
                  </a:lnTo>
                  <a:lnTo>
                    <a:pt x="523" y="2366"/>
                  </a:lnTo>
                  <a:lnTo>
                    <a:pt x="510" y="2421"/>
                  </a:lnTo>
                  <a:lnTo>
                    <a:pt x="495" y="2476"/>
                  </a:lnTo>
                  <a:lnTo>
                    <a:pt x="480" y="2530"/>
                  </a:lnTo>
                  <a:lnTo>
                    <a:pt x="462" y="2585"/>
                  </a:lnTo>
                  <a:lnTo>
                    <a:pt x="462" y="2585"/>
                  </a:lnTo>
                  <a:lnTo>
                    <a:pt x="555" y="2547"/>
                  </a:lnTo>
                  <a:lnTo>
                    <a:pt x="597" y="2529"/>
                  </a:lnTo>
                  <a:lnTo>
                    <a:pt x="637" y="2511"/>
                  </a:lnTo>
                  <a:lnTo>
                    <a:pt x="675" y="2492"/>
                  </a:lnTo>
                  <a:lnTo>
                    <a:pt x="715" y="2473"/>
                  </a:lnTo>
                  <a:lnTo>
                    <a:pt x="798" y="2430"/>
                  </a:lnTo>
                  <a:lnTo>
                    <a:pt x="798" y="701"/>
                  </a:lnTo>
                  <a:lnTo>
                    <a:pt x="798" y="0"/>
                  </a:lnTo>
                  <a:lnTo>
                    <a:pt x="0"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5" name="Freeform 26"/>
            <p:cNvSpPr>
              <a:spLocks/>
            </p:cNvSpPr>
            <p:nvPr userDrawn="1"/>
          </p:nvSpPr>
          <p:spPr bwMode="auto">
            <a:xfrm>
              <a:off x="8610600" y="1112838"/>
              <a:ext cx="533400" cy="258763"/>
            </a:xfrm>
            <a:custGeom>
              <a:avLst/>
              <a:gdLst>
                <a:gd name="T0" fmla="*/ 336 w 336"/>
                <a:gd name="T1" fmla="*/ 0 h 163"/>
                <a:gd name="T2" fmla="*/ 336 w 336"/>
                <a:gd name="T3" fmla="*/ 0 h 163"/>
                <a:gd name="T4" fmla="*/ 291 w 336"/>
                <a:gd name="T5" fmla="*/ 13 h 163"/>
                <a:gd name="T6" fmla="*/ 246 w 336"/>
                <a:gd name="T7" fmla="*/ 29 h 163"/>
                <a:gd name="T8" fmla="*/ 202 w 336"/>
                <a:gd name="T9" fmla="*/ 47 h 163"/>
                <a:gd name="T10" fmla="*/ 159 w 336"/>
                <a:gd name="T11" fmla="*/ 67 h 163"/>
                <a:gd name="T12" fmla="*/ 118 w 336"/>
                <a:gd name="T13" fmla="*/ 89 h 163"/>
                <a:gd name="T14" fmla="*/ 77 w 336"/>
                <a:gd name="T15" fmla="*/ 111 h 163"/>
                <a:gd name="T16" fmla="*/ 38 w 336"/>
                <a:gd name="T17" fmla="*/ 136 h 163"/>
                <a:gd name="T18" fmla="*/ 0 w 336"/>
                <a:gd name="T19" fmla="*/ 163 h 163"/>
                <a:gd name="T20" fmla="*/ 0 w 336"/>
                <a:gd name="T21" fmla="*/ 163 h 163"/>
                <a:gd name="T22" fmla="*/ 43 w 336"/>
                <a:gd name="T23" fmla="*/ 162 h 163"/>
                <a:gd name="T24" fmla="*/ 87 w 336"/>
                <a:gd name="T25" fmla="*/ 160 h 163"/>
                <a:gd name="T26" fmla="*/ 130 w 336"/>
                <a:gd name="T27" fmla="*/ 155 h 163"/>
                <a:gd name="T28" fmla="*/ 173 w 336"/>
                <a:gd name="T29" fmla="*/ 150 h 163"/>
                <a:gd name="T30" fmla="*/ 214 w 336"/>
                <a:gd name="T31" fmla="*/ 142 h 163"/>
                <a:gd name="T32" fmla="*/ 255 w 336"/>
                <a:gd name="T33" fmla="*/ 133 h 163"/>
                <a:gd name="T34" fmla="*/ 297 w 336"/>
                <a:gd name="T35" fmla="*/ 121 h 163"/>
                <a:gd name="T36" fmla="*/ 336 w 336"/>
                <a:gd name="T37" fmla="*/ 109 h 163"/>
                <a:gd name="T38" fmla="*/ 336 w 336"/>
                <a:gd name="T39"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6" h="163">
                  <a:moveTo>
                    <a:pt x="336" y="0"/>
                  </a:moveTo>
                  <a:lnTo>
                    <a:pt x="336" y="0"/>
                  </a:lnTo>
                  <a:lnTo>
                    <a:pt x="291" y="13"/>
                  </a:lnTo>
                  <a:lnTo>
                    <a:pt x="246" y="29"/>
                  </a:lnTo>
                  <a:lnTo>
                    <a:pt x="202" y="47"/>
                  </a:lnTo>
                  <a:lnTo>
                    <a:pt x="159" y="67"/>
                  </a:lnTo>
                  <a:lnTo>
                    <a:pt x="118" y="89"/>
                  </a:lnTo>
                  <a:lnTo>
                    <a:pt x="77" y="111"/>
                  </a:lnTo>
                  <a:lnTo>
                    <a:pt x="38" y="136"/>
                  </a:lnTo>
                  <a:lnTo>
                    <a:pt x="0" y="163"/>
                  </a:lnTo>
                  <a:lnTo>
                    <a:pt x="0" y="163"/>
                  </a:lnTo>
                  <a:lnTo>
                    <a:pt x="43" y="162"/>
                  </a:lnTo>
                  <a:lnTo>
                    <a:pt x="87" y="160"/>
                  </a:lnTo>
                  <a:lnTo>
                    <a:pt x="130" y="155"/>
                  </a:lnTo>
                  <a:lnTo>
                    <a:pt x="173" y="150"/>
                  </a:lnTo>
                  <a:lnTo>
                    <a:pt x="214" y="142"/>
                  </a:lnTo>
                  <a:lnTo>
                    <a:pt x="255" y="133"/>
                  </a:lnTo>
                  <a:lnTo>
                    <a:pt x="297" y="121"/>
                  </a:lnTo>
                  <a:lnTo>
                    <a:pt x="336" y="109"/>
                  </a:lnTo>
                  <a:lnTo>
                    <a:pt x="336" y="0"/>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6" name="Freeform 27"/>
            <p:cNvSpPr>
              <a:spLocks/>
            </p:cNvSpPr>
            <p:nvPr userDrawn="1"/>
          </p:nvSpPr>
          <p:spPr bwMode="auto">
            <a:xfrm>
              <a:off x="8610600" y="4103688"/>
              <a:ext cx="28575" cy="20638"/>
            </a:xfrm>
            <a:custGeom>
              <a:avLst/>
              <a:gdLst>
                <a:gd name="T0" fmla="*/ 18 w 18"/>
                <a:gd name="T1" fmla="*/ 13 h 13"/>
                <a:gd name="T2" fmla="*/ 18 w 18"/>
                <a:gd name="T3" fmla="*/ 13 h 13"/>
                <a:gd name="T4" fmla="*/ 0 w 18"/>
                <a:gd name="T5" fmla="*/ 0 h 13"/>
                <a:gd name="T6" fmla="*/ 0 w 18"/>
                <a:gd name="T7" fmla="*/ 0 h 13"/>
                <a:gd name="T8" fmla="*/ 18 w 18"/>
                <a:gd name="T9" fmla="*/ 13 h 13"/>
                <a:gd name="T10" fmla="*/ 18 w 18"/>
                <a:gd name="T11" fmla="*/ 13 h 13"/>
              </a:gdLst>
              <a:ahLst/>
              <a:cxnLst>
                <a:cxn ang="0">
                  <a:pos x="T0" y="T1"/>
                </a:cxn>
                <a:cxn ang="0">
                  <a:pos x="T2" y="T3"/>
                </a:cxn>
                <a:cxn ang="0">
                  <a:pos x="T4" y="T5"/>
                </a:cxn>
                <a:cxn ang="0">
                  <a:pos x="T6" y="T7"/>
                </a:cxn>
                <a:cxn ang="0">
                  <a:pos x="T8" y="T9"/>
                </a:cxn>
                <a:cxn ang="0">
                  <a:pos x="T10" y="T11"/>
                </a:cxn>
              </a:cxnLst>
              <a:rect l="0" t="0" r="r" b="b"/>
              <a:pathLst>
                <a:path w="18" h="13">
                  <a:moveTo>
                    <a:pt x="18" y="13"/>
                  </a:moveTo>
                  <a:lnTo>
                    <a:pt x="18" y="13"/>
                  </a:lnTo>
                  <a:lnTo>
                    <a:pt x="0" y="0"/>
                  </a:lnTo>
                  <a:lnTo>
                    <a:pt x="0" y="0"/>
                  </a:lnTo>
                  <a:lnTo>
                    <a:pt x="18" y="13"/>
                  </a:lnTo>
                  <a:lnTo>
                    <a:pt x="18" y="13"/>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7" name="Freeform 28"/>
            <p:cNvSpPr>
              <a:spLocks/>
            </p:cNvSpPr>
            <p:nvPr userDrawn="1"/>
          </p:nvSpPr>
          <p:spPr bwMode="auto">
            <a:xfrm>
              <a:off x="8639175" y="4124325"/>
              <a:ext cx="504825" cy="312738"/>
            </a:xfrm>
            <a:custGeom>
              <a:avLst/>
              <a:gdLst>
                <a:gd name="T0" fmla="*/ 318 w 318"/>
                <a:gd name="T1" fmla="*/ 150 h 197"/>
                <a:gd name="T2" fmla="*/ 318 w 318"/>
                <a:gd name="T3" fmla="*/ 150 h 197"/>
                <a:gd name="T4" fmla="*/ 276 w 318"/>
                <a:gd name="T5" fmla="*/ 138 h 197"/>
                <a:gd name="T6" fmla="*/ 236 w 318"/>
                <a:gd name="T7" fmla="*/ 123 h 197"/>
                <a:gd name="T8" fmla="*/ 195 w 318"/>
                <a:gd name="T9" fmla="*/ 108 h 197"/>
                <a:gd name="T10" fmla="*/ 155 w 318"/>
                <a:gd name="T11" fmla="*/ 90 h 197"/>
                <a:gd name="T12" fmla="*/ 115 w 318"/>
                <a:gd name="T13" fmla="*/ 69 h 197"/>
                <a:gd name="T14" fmla="*/ 76 w 318"/>
                <a:gd name="T15" fmla="*/ 48 h 197"/>
                <a:gd name="T16" fmla="*/ 38 w 318"/>
                <a:gd name="T17" fmla="*/ 24 h 197"/>
                <a:gd name="T18" fmla="*/ 0 w 318"/>
                <a:gd name="T19" fmla="*/ 0 h 197"/>
                <a:gd name="T20" fmla="*/ 0 w 318"/>
                <a:gd name="T21" fmla="*/ 0 h 197"/>
                <a:gd name="T22" fmla="*/ 39 w 318"/>
                <a:gd name="T23" fmla="*/ 27 h 197"/>
                <a:gd name="T24" fmla="*/ 77 w 318"/>
                <a:gd name="T25" fmla="*/ 54 h 197"/>
                <a:gd name="T26" fmla="*/ 117 w 318"/>
                <a:gd name="T27" fmla="*/ 80 h 197"/>
                <a:gd name="T28" fmla="*/ 157 w 318"/>
                <a:gd name="T29" fmla="*/ 104 h 197"/>
                <a:gd name="T30" fmla="*/ 196 w 318"/>
                <a:gd name="T31" fmla="*/ 128 h 197"/>
                <a:gd name="T32" fmla="*/ 237 w 318"/>
                <a:gd name="T33" fmla="*/ 152 h 197"/>
                <a:gd name="T34" fmla="*/ 277 w 318"/>
                <a:gd name="T35" fmla="*/ 174 h 197"/>
                <a:gd name="T36" fmla="*/ 318 w 318"/>
                <a:gd name="T37" fmla="*/ 197 h 197"/>
                <a:gd name="T38" fmla="*/ 318 w 318"/>
                <a:gd name="T39" fmla="*/ 15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8" h="197">
                  <a:moveTo>
                    <a:pt x="318" y="150"/>
                  </a:moveTo>
                  <a:lnTo>
                    <a:pt x="318" y="150"/>
                  </a:lnTo>
                  <a:lnTo>
                    <a:pt x="276" y="138"/>
                  </a:lnTo>
                  <a:lnTo>
                    <a:pt x="236" y="123"/>
                  </a:lnTo>
                  <a:lnTo>
                    <a:pt x="195" y="108"/>
                  </a:lnTo>
                  <a:lnTo>
                    <a:pt x="155" y="90"/>
                  </a:lnTo>
                  <a:lnTo>
                    <a:pt x="115" y="69"/>
                  </a:lnTo>
                  <a:lnTo>
                    <a:pt x="76" y="48"/>
                  </a:lnTo>
                  <a:lnTo>
                    <a:pt x="38" y="24"/>
                  </a:lnTo>
                  <a:lnTo>
                    <a:pt x="0" y="0"/>
                  </a:lnTo>
                  <a:lnTo>
                    <a:pt x="0" y="0"/>
                  </a:lnTo>
                  <a:lnTo>
                    <a:pt x="39" y="27"/>
                  </a:lnTo>
                  <a:lnTo>
                    <a:pt x="77" y="54"/>
                  </a:lnTo>
                  <a:lnTo>
                    <a:pt x="117" y="80"/>
                  </a:lnTo>
                  <a:lnTo>
                    <a:pt x="157" y="104"/>
                  </a:lnTo>
                  <a:lnTo>
                    <a:pt x="196" y="128"/>
                  </a:lnTo>
                  <a:lnTo>
                    <a:pt x="237" y="152"/>
                  </a:lnTo>
                  <a:lnTo>
                    <a:pt x="277" y="174"/>
                  </a:lnTo>
                  <a:lnTo>
                    <a:pt x="318" y="197"/>
                  </a:lnTo>
                  <a:lnTo>
                    <a:pt x="318" y="150"/>
                  </a:ln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8" name="Freeform 29"/>
            <p:cNvSpPr>
              <a:spLocks/>
            </p:cNvSpPr>
            <p:nvPr userDrawn="1"/>
          </p:nvSpPr>
          <p:spPr bwMode="auto">
            <a:xfrm>
              <a:off x="8585200" y="4084638"/>
              <a:ext cx="25400" cy="19050"/>
            </a:xfrm>
            <a:custGeom>
              <a:avLst/>
              <a:gdLst>
                <a:gd name="T0" fmla="*/ 0 w 16"/>
                <a:gd name="T1" fmla="*/ 0 h 12"/>
                <a:gd name="T2" fmla="*/ 0 w 16"/>
                <a:gd name="T3" fmla="*/ 0 h 12"/>
                <a:gd name="T4" fmla="*/ 16 w 16"/>
                <a:gd name="T5" fmla="*/ 12 h 12"/>
                <a:gd name="T6" fmla="*/ 16 w 16"/>
                <a:gd name="T7" fmla="*/ 12 h 12"/>
                <a:gd name="T8" fmla="*/ 0 w 16"/>
                <a:gd name="T9" fmla="*/ 0 h 12"/>
                <a:gd name="T10" fmla="*/ 0 w 16"/>
                <a:gd name="T11" fmla="*/ 0 h 12"/>
              </a:gdLst>
              <a:ahLst/>
              <a:cxnLst>
                <a:cxn ang="0">
                  <a:pos x="T0" y="T1"/>
                </a:cxn>
                <a:cxn ang="0">
                  <a:pos x="T2" y="T3"/>
                </a:cxn>
                <a:cxn ang="0">
                  <a:pos x="T4" y="T5"/>
                </a:cxn>
                <a:cxn ang="0">
                  <a:pos x="T6" y="T7"/>
                </a:cxn>
                <a:cxn ang="0">
                  <a:pos x="T8" y="T9"/>
                </a:cxn>
                <a:cxn ang="0">
                  <a:pos x="T10" y="T11"/>
                </a:cxn>
              </a:cxnLst>
              <a:rect l="0" t="0" r="r" b="b"/>
              <a:pathLst>
                <a:path w="16" h="12">
                  <a:moveTo>
                    <a:pt x="0" y="0"/>
                  </a:moveTo>
                  <a:lnTo>
                    <a:pt x="0" y="0"/>
                  </a:lnTo>
                  <a:lnTo>
                    <a:pt x="16" y="12"/>
                  </a:lnTo>
                  <a:lnTo>
                    <a:pt x="16" y="12"/>
                  </a:lnTo>
                  <a:lnTo>
                    <a:pt x="0" y="0"/>
                  </a:lnTo>
                  <a:lnTo>
                    <a:pt x="0" y="0"/>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9" name="Freeform 30"/>
            <p:cNvSpPr>
              <a:spLocks/>
            </p:cNvSpPr>
            <p:nvPr userDrawn="1"/>
          </p:nvSpPr>
          <p:spPr bwMode="auto">
            <a:xfrm>
              <a:off x="7588250" y="4103688"/>
              <a:ext cx="1022350" cy="1039813"/>
            </a:xfrm>
            <a:custGeom>
              <a:avLst/>
              <a:gdLst>
                <a:gd name="T0" fmla="*/ 0 w 644"/>
                <a:gd name="T1" fmla="*/ 655 h 655"/>
                <a:gd name="T2" fmla="*/ 332 w 644"/>
                <a:gd name="T3" fmla="*/ 655 h 655"/>
                <a:gd name="T4" fmla="*/ 332 w 644"/>
                <a:gd name="T5" fmla="*/ 655 h 655"/>
                <a:gd name="T6" fmla="*/ 357 w 644"/>
                <a:gd name="T7" fmla="*/ 617 h 655"/>
                <a:gd name="T8" fmla="*/ 381 w 644"/>
                <a:gd name="T9" fmla="*/ 577 h 655"/>
                <a:gd name="T10" fmla="*/ 404 w 644"/>
                <a:gd name="T11" fmla="*/ 538 h 655"/>
                <a:gd name="T12" fmla="*/ 426 w 644"/>
                <a:gd name="T13" fmla="*/ 499 h 655"/>
                <a:gd name="T14" fmla="*/ 449 w 644"/>
                <a:gd name="T15" fmla="*/ 458 h 655"/>
                <a:gd name="T16" fmla="*/ 470 w 644"/>
                <a:gd name="T17" fmla="*/ 418 h 655"/>
                <a:gd name="T18" fmla="*/ 491 w 644"/>
                <a:gd name="T19" fmla="*/ 377 h 655"/>
                <a:gd name="T20" fmla="*/ 511 w 644"/>
                <a:gd name="T21" fmla="*/ 337 h 655"/>
                <a:gd name="T22" fmla="*/ 530 w 644"/>
                <a:gd name="T23" fmla="*/ 295 h 655"/>
                <a:gd name="T24" fmla="*/ 548 w 644"/>
                <a:gd name="T25" fmla="*/ 253 h 655"/>
                <a:gd name="T26" fmla="*/ 566 w 644"/>
                <a:gd name="T27" fmla="*/ 212 h 655"/>
                <a:gd name="T28" fmla="*/ 583 w 644"/>
                <a:gd name="T29" fmla="*/ 170 h 655"/>
                <a:gd name="T30" fmla="*/ 600 w 644"/>
                <a:gd name="T31" fmla="*/ 129 h 655"/>
                <a:gd name="T32" fmla="*/ 614 w 644"/>
                <a:gd name="T33" fmla="*/ 86 h 655"/>
                <a:gd name="T34" fmla="*/ 630 w 644"/>
                <a:gd name="T35" fmla="*/ 43 h 655"/>
                <a:gd name="T36" fmla="*/ 644 w 644"/>
                <a:gd name="T37" fmla="*/ 0 h 655"/>
                <a:gd name="T38" fmla="*/ 644 w 644"/>
                <a:gd name="T39" fmla="*/ 0 h 655"/>
                <a:gd name="T40" fmla="*/ 644 w 644"/>
                <a:gd name="T41" fmla="*/ 0 h 655"/>
                <a:gd name="T42" fmla="*/ 596 w 644"/>
                <a:gd name="T43" fmla="*/ 35 h 655"/>
                <a:gd name="T44" fmla="*/ 550 w 644"/>
                <a:gd name="T45" fmla="*/ 72 h 655"/>
                <a:gd name="T46" fmla="*/ 504 w 644"/>
                <a:gd name="T47" fmla="*/ 108 h 655"/>
                <a:gd name="T48" fmla="*/ 459 w 644"/>
                <a:gd name="T49" fmla="*/ 147 h 655"/>
                <a:gd name="T50" fmla="*/ 415 w 644"/>
                <a:gd name="T51" fmla="*/ 185 h 655"/>
                <a:gd name="T52" fmla="*/ 372 w 644"/>
                <a:gd name="T53" fmla="*/ 224 h 655"/>
                <a:gd name="T54" fmla="*/ 331 w 644"/>
                <a:gd name="T55" fmla="*/ 265 h 655"/>
                <a:gd name="T56" fmla="*/ 290 w 644"/>
                <a:gd name="T57" fmla="*/ 305 h 655"/>
                <a:gd name="T58" fmla="*/ 250 w 644"/>
                <a:gd name="T59" fmla="*/ 347 h 655"/>
                <a:gd name="T60" fmla="*/ 212 w 644"/>
                <a:gd name="T61" fmla="*/ 388 h 655"/>
                <a:gd name="T62" fmla="*/ 173 w 644"/>
                <a:gd name="T63" fmla="*/ 431 h 655"/>
                <a:gd name="T64" fmla="*/ 137 w 644"/>
                <a:gd name="T65" fmla="*/ 475 h 655"/>
                <a:gd name="T66" fmla="*/ 101 w 644"/>
                <a:gd name="T67" fmla="*/ 519 h 655"/>
                <a:gd name="T68" fmla="*/ 66 w 644"/>
                <a:gd name="T69" fmla="*/ 564 h 655"/>
                <a:gd name="T70" fmla="*/ 33 w 644"/>
                <a:gd name="T71" fmla="*/ 609 h 655"/>
                <a:gd name="T72" fmla="*/ 0 w 644"/>
                <a:gd name="T73" fmla="*/ 655 h 655"/>
                <a:gd name="T74" fmla="*/ 0 w 644"/>
                <a:gd name="T75" fmla="*/ 655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44" h="655">
                  <a:moveTo>
                    <a:pt x="0" y="655"/>
                  </a:moveTo>
                  <a:lnTo>
                    <a:pt x="332" y="655"/>
                  </a:lnTo>
                  <a:lnTo>
                    <a:pt x="332" y="655"/>
                  </a:lnTo>
                  <a:lnTo>
                    <a:pt x="357" y="617"/>
                  </a:lnTo>
                  <a:lnTo>
                    <a:pt x="381" y="577"/>
                  </a:lnTo>
                  <a:lnTo>
                    <a:pt x="404" y="538"/>
                  </a:lnTo>
                  <a:lnTo>
                    <a:pt x="426" y="499"/>
                  </a:lnTo>
                  <a:lnTo>
                    <a:pt x="449" y="458"/>
                  </a:lnTo>
                  <a:lnTo>
                    <a:pt x="470" y="418"/>
                  </a:lnTo>
                  <a:lnTo>
                    <a:pt x="491" y="377"/>
                  </a:lnTo>
                  <a:lnTo>
                    <a:pt x="511" y="337"/>
                  </a:lnTo>
                  <a:lnTo>
                    <a:pt x="530" y="295"/>
                  </a:lnTo>
                  <a:lnTo>
                    <a:pt x="548" y="253"/>
                  </a:lnTo>
                  <a:lnTo>
                    <a:pt x="566" y="212"/>
                  </a:lnTo>
                  <a:lnTo>
                    <a:pt x="583" y="170"/>
                  </a:lnTo>
                  <a:lnTo>
                    <a:pt x="600" y="129"/>
                  </a:lnTo>
                  <a:lnTo>
                    <a:pt x="614" y="86"/>
                  </a:lnTo>
                  <a:lnTo>
                    <a:pt x="630" y="43"/>
                  </a:lnTo>
                  <a:lnTo>
                    <a:pt x="644" y="0"/>
                  </a:lnTo>
                  <a:lnTo>
                    <a:pt x="644" y="0"/>
                  </a:lnTo>
                  <a:lnTo>
                    <a:pt x="644" y="0"/>
                  </a:lnTo>
                  <a:lnTo>
                    <a:pt x="596" y="35"/>
                  </a:lnTo>
                  <a:lnTo>
                    <a:pt x="550" y="72"/>
                  </a:lnTo>
                  <a:lnTo>
                    <a:pt x="504" y="108"/>
                  </a:lnTo>
                  <a:lnTo>
                    <a:pt x="459" y="147"/>
                  </a:lnTo>
                  <a:lnTo>
                    <a:pt x="415" y="185"/>
                  </a:lnTo>
                  <a:lnTo>
                    <a:pt x="372" y="224"/>
                  </a:lnTo>
                  <a:lnTo>
                    <a:pt x="331" y="265"/>
                  </a:lnTo>
                  <a:lnTo>
                    <a:pt x="290" y="305"/>
                  </a:lnTo>
                  <a:lnTo>
                    <a:pt x="250" y="347"/>
                  </a:lnTo>
                  <a:lnTo>
                    <a:pt x="212" y="388"/>
                  </a:lnTo>
                  <a:lnTo>
                    <a:pt x="173" y="431"/>
                  </a:lnTo>
                  <a:lnTo>
                    <a:pt x="137" y="475"/>
                  </a:lnTo>
                  <a:lnTo>
                    <a:pt x="101" y="519"/>
                  </a:lnTo>
                  <a:lnTo>
                    <a:pt x="66" y="564"/>
                  </a:lnTo>
                  <a:lnTo>
                    <a:pt x="33" y="609"/>
                  </a:lnTo>
                  <a:lnTo>
                    <a:pt x="0" y="655"/>
                  </a:lnTo>
                  <a:lnTo>
                    <a:pt x="0" y="655"/>
                  </a:lnTo>
                  <a:close/>
                </a:path>
              </a:pathLst>
            </a:custGeom>
            <a:solidFill>
              <a:schemeClr val="tx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0" name="Freeform 31"/>
            <p:cNvSpPr>
              <a:spLocks/>
            </p:cNvSpPr>
            <p:nvPr userDrawn="1"/>
          </p:nvSpPr>
          <p:spPr bwMode="auto">
            <a:xfrm>
              <a:off x="8610600" y="3771900"/>
              <a:ext cx="533400" cy="619125"/>
            </a:xfrm>
            <a:custGeom>
              <a:avLst/>
              <a:gdLst>
                <a:gd name="T0" fmla="*/ 336 w 336"/>
                <a:gd name="T1" fmla="*/ 0 h 390"/>
                <a:gd name="T2" fmla="*/ 336 w 336"/>
                <a:gd name="T3" fmla="*/ 0 h 390"/>
                <a:gd name="T4" fmla="*/ 292 w 336"/>
                <a:gd name="T5" fmla="*/ 24 h 390"/>
                <a:gd name="T6" fmla="*/ 249 w 336"/>
                <a:gd name="T7" fmla="*/ 47 h 390"/>
                <a:gd name="T8" fmla="*/ 207 w 336"/>
                <a:gd name="T9" fmla="*/ 73 h 390"/>
                <a:gd name="T10" fmla="*/ 164 w 336"/>
                <a:gd name="T11" fmla="*/ 99 h 390"/>
                <a:gd name="T12" fmla="*/ 122 w 336"/>
                <a:gd name="T13" fmla="*/ 125 h 390"/>
                <a:gd name="T14" fmla="*/ 81 w 336"/>
                <a:gd name="T15" fmla="*/ 152 h 390"/>
                <a:gd name="T16" fmla="*/ 40 w 336"/>
                <a:gd name="T17" fmla="*/ 180 h 390"/>
                <a:gd name="T18" fmla="*/ 0 w 336"/>
                <a:gd name="T19" fmla="*/ 209 h 390"/>
                <a:gd name="T20" fmla="*/ 1 w 336"/>
                <a:gd name="T21" fmla="*/ 209 h 390"/>
                <a:gd name="T22" fmla="*/ 1 w 336"/>
                <a:gd name="T23" fmla="*/ 209 h 390"/>
                <a:gd name="T24" fmla="*/ 41 w 336"/>
                <a:gd name="T25" fmla="*/ 239 h 390"/>
                <a:gd name="T26" fmla="*/ 83 w 336"/>
                <a:gd name="T27" fmla="*/ 267 h 390"/>
                <a:gd name="T28" fmla="*/ 124 w 336"/>
                <a:gd name="T29" fmla="*/ 293 h 390"/>
                <a:gd name="T30" fmla="*/ 167 w 336"/>
                <a:gd name="T31" fmla="*/ 317 h 390"/>
                <a:gd name="T32" fmla="*/ 210 w 336"/>
                <a:gd name="T33" fmla="*/ 340 h 390"/>
                <a:gd name="T34" fmla="*/ 252 w 336"/>
                <a:gd name="T35" fmla="*/ 360 h 390"/>
                <a:gd name="T36" fmla="*/ 273 w 336"/>
                <a:gd name="T37" fmla="*/ 369 h 390"/>
                <a:gd name="T38" fmla="*/ 294 w 336"/>
                <a:gd name="T39" fmla="*/ 377 h 390"/>
                <a:gd name="T40" fmla="*/ 315 w 336"/>
                <a:gd name="T41" fmla="*/ 384 h 390"/>
                <a:gd name="T42" fmla="*/ 336 w 336"/>
                <a:gd name="T43" fmla="*/ 390 h 390"/>
                <a:gd name="T44" fmla="*/ 336 w 336"/>
                <a:gd name="T45" fmla="*/ 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6" h="390">
                  <a:moveTo>
                    <a:pt x="336" y="0"/>
                  </a:moveTo>
                  <a:lnTo>
                    <a:pt x="336" y="0"/>
                  </a:lnTo>
                  <a:lnTo>
                    <a:pt x="292" y="24"/>
                  </a:lnTo>
                  <a:lnTo>
                    <a:pt x="249" y="47"/>
                  </a:lnTo>
                  <a:lnTo>
                    <a:pt x="207" y="73"/>
                  </a:lnTo>
                  <a:lnTo>
                    <a:pt x="164" y="99"/>
                  </a:lnTo>
                  <a:lnTo>
                    <a:pt x="122" y="125"/>
                  </a:lnTo>
                  <a:lnTo>
                    <a:pt x="81" y="152"/>
                  </a:lnTo>
                  <a:lnTo>
                    <a:pt x="40" y="180"/>
                  </a:lnTo>
                  <a:lnTo>
                    <a:pt x="0" y="209"/>
                  </a:lnTo>
                  <a:lnTo>
                    <a:pt x="1" y="209"/>
                  </a:lnTo>
                  <a:lnTo>
                    <a:pt x="1" y="209"/>
                  </a:lnTo>
                  <a:lnTo>
                    <a:pt x="41" y="239"/>
                  </a:lnTo>
                  <a:lnTo>
                    <a:pt x="83" y="267"/>
                  </a:lnTo>
                  <a:lnTo>
                    <a:pt x="124" y="293"/>
                  </a:lnTo>
                  <a:lnTo>
                    <a:pt x="167" y="317"/>
                  </a:lnTo>
                  <a:lnTo>
                    <a:pt x="210" y="340"/>
                  </a:lnTo>
                  <a:lnTo>
                    <a:pt x="252" y="360"/>
                  </a:lnTo>
                  <a:lnTo>
                    <a:pt x="273" y="369"/>
                  </a:lnTo>
                  <a:lnTo>
                    <a:pt x="294" y="377"/>
                  </a:lnTo>
                  <a:lnTo>
                    <a:pt x="315" y="384"/>
                  </a:lnTo>
                  <a:lnTo>
                    <a:pt x="336" y="390"/>
                  </a:lnTo>
                  <a:lnTo>
                    <a:pt x="336"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grpSp>
      <p:sp>
        <p:nvSpPr>
          <p:cNvPr id="8" name="Otsikko 7"/>
          <p:cNvSpPr>
            <a:spLocks noGrp="1"/>
          </p:cNvSpPr>
          <p:nvPr>
            <p:ph type="title"/>
          </p:nvPr>
        </p:nvSpPr>
        <p:spPr>
          <a:xfrm>
            <a:off x="432785" y="235341"/>
            <a:ext cx="6587487" cy="974270"/>
          </a:xfrm>
        </p:spPr>
        <p:txBody>
          <a:bodyPr/>
          <a:lstStyle>
            <a:lvl1pPr>
              <a:defRPr>
                <a:solidFill>
                  <a:srgbClr val="595965"/>
                </a:solidFill>
              </a:defRPr>
            </a:lvl1pPr>
          </a:lstStyle>
          <a:p>
            <a:r>
              <a:rPr lang="en-US" dirty="0"/>
              <a:t>Click to edit Master title style</a:t>
            </a:r>
            <a:endParaRPr lang="fi-FI" dirty="0"/>
          </a:p>
        </p:txBody>
      </p:sp>
      <p:pic>
        <p:nvPicPr>
          <p:cNvPr id="16" name="Picture 15">
            <a:extLst>
              <a:ext uri="{FF2B5EF4-FFF2-40B4-BE49-F238E27FC236}">
                <a16:creationId xmlns:a16="http://schemas.microsoft.com/office/drawing/2014/main" id="{69A31FAB-93E6-9C47-A33D-8A717BF62E1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24329" y="4699761"/>
            <a:ext cx="1439764" cy="274350"/>
          </a:xfrm>
          <a:prstGeom prst="rect">
            <a:avLst/>
          </a:prstGeom>
        </p:spPr>
      </p:pic>
      <p:pic>
        <p:nvPicPr>
          <p:cNvPr id="17" name="Picture 16">
            <a:extLst>
              <a:ext uri="{FF2B5EF4-FFF2-40B4-BE49-F238E27FC236}">
                <a16:creationId xmlns:a16="http://schemas.microsoft.com/office/drawing/2014/main" id="{B2B30F64-7970-AA4F-A58E-1B0E2975A93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604449" y="235341"/>
            <a:ext cx="305495" cy="419486"/>
          </a:xfrm>
          <a:prstGeom prst="rect">
            <a:avLst/>
          </a:prstGeom>
        </p:spPr>
      </p:pic>
      <p:sp>
        <p:nvSpPr>
          <p:cNvPr id="18" name="Sisällön paikkamerkki 2"/>
          <p:cNvSpPr>
            <a:spLocks noGrp="1"/>
          </p:cNvSpPr>
          <p:nvPr>
            <p:ph idx="1"/>
          </p:nvPr>
        </p:nvSpPr>
        <p:spPr>
          <a:xfrm>
            <a:off x="432786" y="1317626"/>
            <a:ext cx="7523591" cy="3486373"/>
          </a:xfrm>
        </p:spPr>
        <p:txBody>
          <a:bodyPr/>
          <a:lstStyle>
            <a:lvl1pPr>
              <a:defRPr>
                <a:solidFill>
                  <a:srgbClr val="595965"/>
                </a:solidFill>
              </a:defRPr>
            </a:lvl1pPr>
            <a:lvl2pPr>
              <a:defRPr>
                <a:solidFill>
                  <a:srgbClr val="595965"/>
                </a:solidFill>
              </a:defRPr>
            </a:lvl2pPr>
            <a:lvl3pPr>
              <a:defRPr>
                <a:solidFill>
                  <a:srgbClr val="595965"/>
                </a:solidFill>
              </a:defRPr>
            </a:lvl3pPr>
            <a:lvl4pPr>
              <a:defRPr>
                <a:solidFill>
                  <a:srgbClr val="595965"/>
                </a:solidFill>
              </a:defRPr>
            </a:lvl4pPr>
            <a:lvl5pPr>
              <a:defRPr>
                <a:solidFill>
                  <a:srgbClr val="595965"/>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Tree>
    <p:extLst>
      <p:ext uri="{BB962C8B-B14F-4D97-AF65-F5344CB8AC3E}">
        <p14:creationId xmlns:p14="http://schemas.microsoft.com/office/powerpoint/2010/main" val="4181394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6_Otsikko ja sisältö tyhjä">
    <p:spTree>
      <p:nvGrpSpPr>
        <p:cNvPr id="1" name=""/>
        <p:cNvGrpSpPr/>
        <p:nvPr/>
      </p:nvGrpSpPr>
      <p:grpSpPr>
        <a:xfrm>
          <a:off x="0" y="0"/>
          <a:ext cx="0" cy="0"/>
          <a:chOff x="0" y="0"/>
          <a:chExt cx="0" cy="0"/>
        </a:xfrm>
      </p:grpSpPr>
      <p:sp>
        <p:nvSpPr>
          <p:cNvPr id="8" name="Otsikko 7"/>
          <p:cNvSpPr>
            <a:spLocks noGrp="1"/>
          </p:cNvSpPr>
          <p:nvPr>
            <p:ph type="title"/>
          </p:nvPr>
        </p:nvSpPr>
        <p:spPr>
          <a:xfrm>
            <a:off x="432786" y="235341"/>
            <a:ext cx="8224354" cy="974270"/>
          </a:xfrm>
        </p:spPr>
        <p:txBody>
          <a:bodyPr/>
          <a:lstStyle>
            <a:lvl1pPr>
              <a:defRPr>
                <a:solidFill>
                  <a:srgbClr val="595965"/>
                </a:solidFill>
              </a:defRPr>
            </a:lvl1pPr>
          </a:lstStyle>
          <a:p>
            <a:r>
              <a:rPr lang="en-US" dirty="0"/>
              <a:t>Click to edit Master title style</a:t>
            </a:r>
            <a:endParaRPr lang="fi-FI" dirty="0"/>
          </a:p>
        </p:txBody>
      </p:sp>
      <p:sp>
        <p:nvSpPr>
          <p:cNvPr id="4" name="Sisällön paikkamerkki 2"/>
          <p:cNvSpPr>
            <a:spLocks noGrp="1"/>
          </p:cNvSpPr>
          <p:nvPr>
            <p:ph idx="1"/>
          </p:nvPr>
        </p:nvSpPr>
        <p:spPr>
          <a:xfrm>
            <a:off x="432786" y="1317626"/>
            <a:ext cx="7523591" cy="3486373"/>
          </a:xfrm>
        </p:spPr>
        <p:txBody>
          <a:bodyPr/>
          <a:lstStyle>
            <a:lvl1pPr>
              <a:defRPr>
                <a:solidFill>
                  <a:srgbClr val="595965"/>
                </a:solidFill>
              </a:defRPr>
            </a:lvl1pPr>
            <a:lvl2pPr>
              <a:defRPr>
                <a:solidFill>
                  <a:srgbClr val="595965"/>
                </a:solidFill>
              </a:defRPr>
            </a:lvl2pPr>
            <a:lvl3pPr>
              <a:defRPr>
                <a:solidFill>
                  <a:srgbClr val="595965"/>
                </a:solidFill>
              </a:defRPr>
            </a:lvl3pPr>
            <a:lvl4pPr>
              <a:defRPr>
                <a:solidFill>
                  <a:srgbClr val="595965"/>
                </a:solidFill>
              </a:defRPr>
            </a:lvl4pPr>
            <a:lvl5pPr>
              <a:defRPr>
                <a:solidFill>
                  <a:srgbClr val="595965"/>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Tree>
    <p:extLst>
      <p:ext uri="{BB962C8B-B14F-4D97-AF65-F5344CB8AC3E}">
        <p14:creationId xmlns:p14="http://schemas.microsoft.com/office/powerpoint/2010/main" val="12821105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2_Lopetus Sote">
    <p:spTree>
      <p:nvGrpSpPr>
        <p:cNvPr id="1" name=""/>
        <p:cNvGrpSpPr/>
        <p:nvPr/>
      </p:nvGrpSpPr>
      <p:grpSpPr>
        <a:xfrm>
          <a:off x="0" y="0"/>
          <a:ext cx="0" cy="0"/>
          <a:chOff x="0" y="0"/>
          <a:chExt cx="0" cy="0"/>
        </a:xfrm>
      </p:grpSpPr>
      <p:sp>
        <p:nvSpPr>
          <p:cNvPr id="4" name="Suorakulmio 3"/>
          <p:cNvSpPr/>
          <p:nvPr userDrawn="1"/>
        </p:nvSpPr>
        <p:spPr>
          <a:xfrm>
            <a:off x="1" y="0"/>
            <a:ext cx="9140109" cy="51422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91" y="1226"/>
            <a:ext cx="9136219" cy="5141050"/>
          </a:xfrm>
          <a:prstGeom prst="rect">
            <a:avLst/>
          </a:prstGeom>
        </p:spPr>
      </p:pic>
      <p:sp>
        <p:nvSpPr>
          <p:cNvPr id="2" name="Otsikko 1"/>
          <p:cNvSpPr>
            <a:spLocks noGrp="1"/>
          </p:cNvSpPr>
          <p:nvPr>
            <p:ph type="ctrTitle" hasCustomPrompt="1"/>
          </p:nvPr>
        </p:nvSpPr>
        <p:spPr>
          <a:xfrm>
            <a:off x="812801" y="1923679"/>
            <a:ext cx="5855530" cy="1114418"/>
          </a:xfrm>
        </p:spPr>
        <p:txBody>
          <a:bodyPr anchor="b" anchorCtr="0"/>
          <a:lstStyle>
            <a:lvl1pPr algn="l">
              <a:defRPr>
                <a:solidFill>
                  <a:schemeClr val="accent4"/>
                </a:solidFill>
              </a:defRPr>
            </a:lvl1pPr>
          </a:lstStyle>
          <a:p>
            <a:r>
              <a:rPr lang="fi-FI" dirty="0"/>
              <a:t>Esityksen päättävä teksti</a:t>
            </a:r>
          </a:p>
        </p:txBody>
      </p:sp>
      <p:sp>
        <p:nvSpPr>
          <p:cNvPr id="3" name="Alaotsikko 2"/>
          <p:cNvSpPr>
            <a:spLocks noGrp="1"/>
          </p:cNvSpPr>
          <p:nvPr>
            <p:ph type="subTitle" idx="1"/>
          </p:nvPr>
        </p:nvSpPr>
        <p:spPr>
          <a:xfrm>
            <a:off x="812801" y="3147814"/>
            <a:ext cx="5855530" cy="1512168"/>
          </a:xfrm>
        </p:spPr>
        <p:txBody>
          <a:bodyPr>
            <a:normAutofit/>
          </a:bodyPr>
          <a:lstStyle>
            <a:lvl1pPr marL="0" indent="0" algn="l">
              <a:spcBef>
                <a:spcPts val="0"/>
              </a:spcBef>
              <a:buNone/>
              <a:defRPr sz="1800">
                <a:solidFill>
                  <a:srgbClr val="595965"/>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endParaRPr lang="fi-FI" dirty="0"/>
          </a:p>
        </p:txBody>
      </p:sp>
      <p:pic>
        <p:nvPicPr>
          <p:cNvPr id="6" name="Picture 5">
            <a:extLst>
              <a:ext uri="{FF2B5EF4-FFF2-40B4-BE49-F238E27FC236}">
                <a16:creationId xmlns:a16="http://schemas.microsoft.com/office/drawing/2014/main" id="{54CBBF4F-860A-6245-8AAB-382104654A3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24329" y="4699763"/>
            <a:ext cx="1439764" cy="274348"/>
          </a:xfrm>
          <a:prstGeom prst="rect">
            <a:avLst/>
          </a:prstGeom>
        </p:spPr>
      </p:pic>
      <p:pic>
        <p:nvPicPr>
          <p:cNvPr id="7" name="Picture 6">
            <a:extLst>
              <a:ext uri="{FF2B5EF4-FFF2-40B4-BE49-F238E27FC236}">
                <a16:creationId xmlns:a16="http://schemas.microsoft.com/office/drawing/2014/main" id="{3AEFC440-453E-0D42-BF52-3C7282112DB0}"/>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04449" y="235341"/>
            <a:ext cx="305495" cy="419486"/>
          </a:xfrm>
          <a:prstGeom prst="rect">
            <a:avLst/>
          </a:prstGeom>
        </p:spPr>
      </p:pic>
    </p:spTree>
    <p:extLst>
      <p:ext uri="{BB962C8B-B14F-4D97-AF65-F5344CB8AC3E}">
        <p14:creationId xmlns:p14="http://schemas.microsoft.com/office/powerpoint/2010/main" val="15090491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yhjä">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82559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Otsikkodia ihmisistä">
    <p:spTree>
      <p:nvGrpSpPr>
        <p:cNvPr id="1" name=""/>
        <p:cNvGrpSpPr/>
        <p:nvPr/>
      </p:nvGrpSpPr>
      <p:grpSpPr>
        <a:xfrm>
          <a:off x="0" y="0"/>
          <a:ext cx="0" cy="0"/>
          <a:chOff x="0" y="0"/>
          <a:chExt cx="0" cy="0"/>
        </a:xfrm>
      </p:grpSpPr>
      <p:pic>
        <p:nvPicPr>
          <p:cNvPr id="7" name="Kuva 6" descr="Sote-uudistus kansikuva."/>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914"/>
            <a:ext cx="9144000" cy="5142586"/>
          </a:xfrm>
          <a:prstGeom prst="rect">
            <a:avLst/>
          </a:prstGeom>
        </p:spPr>
      </p:pic>
      <p:sp>
        <p:nvSpPr>
          <p:cNvPr id="2" name="Otsikko 1"/>
          <p:cNvSpPr>
            <a:spLocks noGrp="1"/>
          </p:cNvSpPr>
          <p:nvPr>
            <p:ph type="ctrTitle"/>
          </p:nvPr>
        </p:nvSpPr>
        <p:spPr>
          <a:xfrm>
            <a:off x="179512" y="2499742"/>
            <a:ext cx="7128792" cy="1790700"/>
          </a:xfrm>
        </p:spPr>
        <p:txBody>
          <a:bodyPr anchor="b">
            <a:normAutofit/>
          </a:bodyPr>
          <a:lstStyle>
            <a:lvl1pPr algn="l">
              <a:defRPr sz="4800" b="1">
                <a:solidFill>
                  <a:schemeClr val="bg1"/>
                </a:solidFill>
                <a:latin typeface="Arial Narrow" panose="020B0606020202030204" pitchFamily="34" charset="0"/>
              </a:defRPr>
            </a:lvl1pPr>
          </a:lstStyle>
          <a:p>
            <a:r>
              <a:rPr lang="fi-FI" dirty="0" smtClean="0"/>
              <a:t>Muokkaa </a:t>
            </a:r>
            <a:r>
              <a:rPr lang="fi-FI" dirty="0" err="1" smtClean="0"/>
              <a:t>perustyyl</a:t>
            </a:r>
            <a:r>
              <a:rPr lang="fi-FI" dirty="0" smtClean="0"/>
              <a:t>. </a:t>
            </a:r>
            <a:r>
              <a:rPr lang="fi-FI" dirty="0" err="1" smtClean="0"/>
              <a:t>napsautt</a:t>
            </a:r>
            <a:r>
              <a:rPr lang="fi-FI" dirty="0" smtClean="0"/>
              <a:t>.</a:t>
            </a:r>
            <a:endParaRPr lang="fi-FI" dirty="0"/>
          </a:p>
        </p:txBody>
      </p:sp>
      <p:sp>
        <p:nvSpPr>
          <p:cNvPr id="3" name="Alaotsikko 2"/>
          <p:cNvSpPr>
            <a:spLocks noGrp="1"/>
          </p:cNvSpPr>
          <p:nvPr>
            <p:ph type="subTitle" idx="1"/>
          </p:nvPr>
        </p:nvSpPr>
        <p:spPr>
          <a:xfrm>
            <a:off x="186772" y="4443958"/>
            <a:ext cx="5688632" cy="449337"/>
          </a:xfrm>
        </p:spPr>
        <p:txBody>
          <a:bodyPr/>
          <a:lstStyle>
            <a:lvl1pPr marL="0" indent="0" algn="l">
              <a:buNone/>
              <a:defRPr sz="2400" b="1">
                <a:solidFill>
                  <a:schemeClr val="bg1"/>
                </a:solidFill>
                <a:latin typeface="Arial Narrow" panose="020B06060202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dirty="0" smtClean="0"/>
              <a:t>Muokkaa alaotsikon perustyyliä </a:t>
            </a:r>
            <a:r>
              <a:rPr lang="fi-FI" dirty="0" err="1" smtClean="0"/>
              <a:t>napsautt</a:t>
            </a:r>
            <a:r>
              <a:rPr lang="fi-FI" dirty="0" smtClean="0"/>
              <a:t>.</a:t>
            </a:r>
            <a:endParaRPr lang="fi-FI" dirty="0"/>
          </a:p>
        </p:txBody>
      </p:sp>
    </p:spTree>
    <p:extLst>
      <p:ext uri="{BB962C8B-B14F-4D97-AF65-F5344CB8AC3E}">
        <p14:creationId xmlns:p14="http://schemas.microsoft.com/office/powerpoint/2010/main" val="3535558585"/>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Otsikko ja sisältö">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smtClean="0"/>
              <a:t>Muokkaa perustyyl. napsautt.</a:t>
            </a:r>
            <a:endParaRPr lang="fi-FI"/>
          </a:p>
        </p:txBody>
      </p:sp>
      <p:sp>
        <p:nvSpPr>
          <p:cNvPr id="3" name="Sisällön paikkamerkki 2"/>
          <p:cNvSpPr>
            <a:spLocks noGrp="1"/>
          </p:cNvSpPr>
          <p:nvPr>
            <p:ph idx="1"/>
          </p:nvPr>
        </p:nvSpPr>
        <p:spPr/>
        <p:txBody>
          <a:bodyPr/>
          <a:lstStyle/>
          <a:p>
            <a:pPr lvl="0"/>
            <a:r>
              <a:rPr lang="fi-FI" smtClean="0"/>
              <a:t>Muokkaa tekstin perustyylejä</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4" name="Päivämäärän paikkamerkki 3"/>
          <p:cNvSpPr>
            <a:spLocks noGrp="1"/>
          </p:cNvSpPr>
          <p:nvPr>
            <p:ph type="dt" sz="half" idx="10"/>
          </p:nvPr>
        </p:nvSpPr>
        <p:spPr/>
        <p:txBody>
          <a:bodyPr/>
          <a:lstStyle/>
          <a:p>
            <a:fld id="{CFFBECAB-A849-4A14-8097-2FD7BDBFD006}" type="datetimeFigureOut">
              <a:rPr lang="fi-FI" smtClean="0"/>
              <a:t>12.11.2021</a:t>
            </a:fld>
            <a:endParaRPr lang="fi-FI"/>
          </a:p>
        </p:txBody>
      </p:sp>
      <p:sp>
        <p:nvSpPr>
          <p:cNvPr id="5" name="Alatunnisteen paikkamerkki 4"/>
          <p:cNvSpPr>
            <a:spLocks noGrp="1"/>
          </p:cNvSpPr>
          <p:nvPr>
            <p:ph type="ftr" sz="quarter" idx="11"/>
          </p:nvPr>
        </p:nvSpPr>
        <p:spPr/>
        <p:txBody>
          <a:bodyPr/>
          <a:lstStyle/>
          <a:p>
            <a:endParaRPr lang="fi-FI"/>
          </a:p>
        </p:txBody>
      </p:sp>
      <p:sp>
        <p:nvSpPr>
          <p:cNvPr id="6" name="Dian numeron paikkamerkki 5"/>
          <p:cNvSpPr>
            <a:spLocks noGrp="1"/>
          </p:cNvSpPr>
          <p:nvPr>
            <p:ph type="sldNum" sz="quarter" idx="12"/>
          </p:nvPr>
        </p:nvSpPr>
        <p:spPr/>
        <p:txBody>
          <a:bodyPr/>
          <a:lstStyle/>
          <a:p>
            <a:fld id="{2F5B733E-0713-4F8D-B698-4B137BE2502C}" type="slidenum">
              <a:rPr lang="fi-FI" smtClean="0"/>
              <a:t>‹#›</a:t>
            </a:fld>
            <a:endParaRPr lang="fi-FI"/>
          </a:p>
        </p:txBody>
      </p:sp>
    </p:spTree>
    <p:extLst>
      <p:ext uri="{BB962C8B-B14F-4D97-AF65-F5344CB8AC3E}">
        <p14:creationId xmlns:p14="http://schemas.microsoft.com/office/powerpoint/2010/main" val="8407361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Osan ylätunniste">
    <p:spTree>
      <p:nvGrpSpPr>
        <p:cNvPr id="1" name=""/>
        <p:cNvGrpSpPr/>
        <p:nvPr/>
      </p:nvGrpSpPr>
      <p:grpSpPr>
        <a:xfrm>
          <a:off x="0" y="0"/>
          <a:ext cx="0" cy="0"/>
          <a:chOff x="0" y="0"/>
          <a:chExt cx="0" cy="0"/>
        </a:xfrm>
      </p:grpSpPr>
      <p:sp>
        <p:nvSpPr>
          <p:cNvPr id="2" name="Otsikko 1"/>
          <p:cNvSpPr>
            <a:spLocks noGrp="1"/>
          </p:cNvSpPr>
          <p:nvPr>
            <p:ph type="title"/>
          </p:nvPr>
        </p:nvSpPr>
        <p:spPr>
          <a:xfrm>
            <a:off x="623888" y="1282700"/>
            <a:ext cx="7886700" cy="2139950"/>
          </a:xfrm>
        </p:spPr>
        <p:txBody>
          <a:bodyPr anchor="b"/>
          <a:lstStyle>
            <a:lvl1pPr>
              <a:defRPr sz="6000"/>
            </a:lvl1pPr>
          </a:lstStyle>
          <a:p>
            <a:r>
              <a:rPr lang="fi-FI" smtClean="0"/>
              <a:t>Muokkaa perustyyl. napsautt.</a:t>
            </a:r>
            <a:endParaRPr lang="fi-FI"/>
          </a:p>
        </p:txBody>
      </p:sp>
      <p:sp>
        <p:nvSpPr>
          <p:cNvPr id="3" name="Tekstin paikkamerkki 2"/>
          <p:cNvSpPr>
            <a:spLocks noGrp="1"/>
          </p:cNvSpPr>
          <p:nvPr>
            <p:ph type="body" idx="1"/>
          </p:nvPr>
        </p:nvSpPr>
        <p:spPr>
          <a:xfrm>
            <a:off x="623888" y="3441700"/>
            <a:ext cx="7886700" cy="1125538"/>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smtClean="0"/>
              <a:t>Muokkaa tekstin perustyylejä</a:t>
            </a:r>
          </a:p>
        </p:txBody>
      </p:sp>
      <p:sp>
        <p:nvSpPr>
          <p:cNvPr id="4" name="Päivämäärän paikkamerkki 3"/>
          <p:cNvSpPr>
            <a:spLocks noGrp="1"/>
          </p:cNvSpPr>
          <p:nvPr>
            <p:ph type="dt" sz="half" idx="10"/>
          </p:nvPr>
        </p:nvSpPr>
        <p:spPr/>
        <p:txBody>
          <a:bodyPr/>
          <a:lstStyle/>
          <a:p>
            <a:fld id="{CFFBECAB-A849-4A14-8097-2FD7BDBFD006}" type="datetimeFigureOut">
              <a:rPr lang="fi-FI" smtClean="0"/>
              <a:t>12.11.2021</a:t>
            </a:fld>
            <a:endParaRPr lang="fi-FI"/>
          </a:p>
        </p:txBody>
      </p:sp>
      <p:sp>
        <p:nvSpPr>
          <p:cNvPr id="5" name="Alatunnisteen paikkamerkki 4"/>
          <p:cNvSpPr>
            <a:spLocks noGrp="1"/>
          </p:cNvSpPr>
          <p:nvPr>
            <p:ph type="ftr" sz="quarter" idx="11"/>
          </p:nvPr>
        </p:nvSpPr>
        <p:spPr/>
        <p:txBody>
          <a:bodyPr/>
          <a:lstStyle/>
          <a:p>
            <a:endParaRPr lang="fi-FI"/>
          </a:p>
        </p:txBody>
      </p:sp>
      <p:sp>
        <p:nvSpPr>
          <p:cNvPr id="6" name="Dian numeron paikkamerkki 5"/>
          <p:cNvSpPr>
            <a:spLocks noGrp="1"/>
          </p:cNvSpPr>
          <p:nvPr>
            <p:ph type="sldNum" sz="quarter" idx="12"/>
          </p:nvPr>
        </p:nvSpPr>
        <p:spPr/>
        <p:txBody>
          <a:bodyPr/>
          <a:lstStyle/>
          <a:p>
            <a:fld id="{2F5B733E-0713-4F8D-B698-4B137BE2502C}" type="slidenum">
              <a:rPr lang="fi-FI" smtClean="0"/>
              <a:t>‹#›</a:t>
            </a:fld>
            <a:endParaRPr lang="fi-FI"/>
          </a:p>
        </p:txBody>
      </p:sp>
    </p:spTree>
    <p:extLst>
      <p:ext uri="{BB962C8B-B14F-4D97-AF65-F5344CB8AC3E}">
        <p14:creationId xmlns:p14="http://schemas.microsoft.com/office/powerpoint/2010/main" val="27835253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Kaksi sisältökohdetta">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smtClean="0"/>
              <a:t>Muokkaa perustyyl. napsautt.</a:t>
            </a:r>
            <a:endParaRPr lang="fi-FI"/>
          </a:p>
        </p:txBody>
      </p:sp>
      <p:sp>
        <p:nvSpPr>
          <p:cNvPr id="3" name="Sisällön paikkamerkki 2"/>
          <p:cNvSpPr>
            <a:spLocks noGrp="1"/>
          </p:cNvSpPr>
          <p:nvPr>
            <p:ph sz="half" idx="1"/>
          </p:nvPr>
        </p:nvSpPr>
        <p:spPr>
          <a:xfrm>
            <a:off x="628650" y="1370013"/>
            <a:ext cx="3867150" cy="3262312"/>
          </a:xfrm>
        </p:spPr>
        <p:txBody>
          <a:bodyPr/>
          <a:lstStyle/>
          <a:p>
            <a:pPr lvl="0"/>
            <a:r>
              <a:rPr lang="fi-FI" smtClean="0"/>
              <a:t>Muokkaa tekstin perustyylejä</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4" name="Sisällön paikkamerkki 3"/>
          <p:cNvSpPr>
            <a:spLocks noGrp="1"/>
          </p:cNvSpPr>
          <p:nvPr>
            <p:ph sz="half" idx="2"/>
          </p:nvPr>
        </p:nvSpPr>
        <p:spPr>
          <a:xfrm>
            <a:off x="4648200" y="1370013"/>
            <a:ext cx="3867150" cy="3262312"/>
          </a:xfrm>
        </p:spPr>
        <p:txBody>
          <a:bodyPr/>
          <a:lstStyle/>
          <a:p>
            <a:pPr lvl="0"/>
            <a:r>
              <a:rPr lang="fi-FI" smtClean="0"/>
              <a:t>Muokkaa tekstin perustyylejä</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5" name="Päivämäärän paikkamerkki 4"/>
          <p:cNvSpPr>
            <a:spLocks noGrp="1"/>
          </p:cNvSpPr>
          <p:nvPr>
            <p:ph type="dt" sz="half" idx="10"/>
          </p:nvPr>
        </p:nvSpPr>
        <p:spPr/>
        <p:txBody>
          <a:bodyPr/>
          <a:lstStyle/>
          <a:p>
            <a:fld id="{CFFBECAB-A849-4A14-8097-2FD7BDBFD006}" type="datetimeFigureOut">
              <a:rPr lang="fi-FI" smtClean="0"/>
              <a:t>12.11.2021</a:t>
            </a:fld>
            <a:endParaRPr lang="fi-FI"/>
          </a:p>
        </p:txBody>
      </p:sp>
      <p:sp>
        <p:nvSpPr>
          <p:cNvPr id="6" name="Alatunnisteen paikkamerkki 5"/>
          <p:cNvSpPr>
            <a:spLocks noGrp="1"/>
          </p:cNvSpPr>
          <p:nvPr>
            <p:ph type="ftr" sz="quarter" idx="11"/>
          </p:nvPr>
        </p:nvSpPr>
        <p:spPr/>
        <p:txBody>
          <a:bodyPr/>
          <a:lstStyle/>
          <a:p>
            <a:endParaRPr lang="fi-FI"/>
          </a:p>
        </p:txBody>
      </p:sp>
      <p:sp>
        <p:nvSpPr>
          <p:cNvPr id="7" name="Dian numeron paikkamerkki 6"/>
          <p:cNvSpPr>
            <a:spLocks noGrp="1"/>
          </p:cNvSpPr>
          <p:nvPr>
            <p:ph type="sldNum" sz="quarter" idx="12"/>
          </p:nvPr>
        </p:nvSpPr>
        <p:spPr/>
        <p:txBody>
          <a:bodyPr/>
          <a:lstStyle/>
          <a:p>
            <a:fld id="{2F5B733E-0713-4F8D-B698-4B137BE2502C}" type="slidenum">
              <a:rPr lang="fi-FI" smtClean="0"/>
              <a:t>‹#›</a:t>
            </a:fld>
            <a:endParaRPr lang="fi-FI"/>
          </a:p>
        </p:txBody>
      </p:sp>
    </p:spTree>
    <p:extLst>
      <p:ext uri="{BB962C8B-B14F-4D97-AF65-F5344CB8AC3E}">
        <p14:creationId xmlns:p14="http://schemas.microsoft.com/office/powerpoint/2010/main" val="25602642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Otsikko ja sisältö Sote-pieni">
    <p:spTree>
      <p:nvGrpSpPr>
        <p:cNvPr id="1" name=""/>
        <p:cNvGrpSpPr/>
        <p:nvPr/>
      </p:nvGrpSpPr>
      <p:grpSpPr>
        <a:xfrm>
          <a:off x="0" y="0"/>
          <a:ext cx="0" cy="0"/>
          <a:chOff x="0" y="0"/>
          <a:chExt cx="0" cy="0"/>
        </a:xfrm>
      </p:grpSpPr>
      <p:sp>
        <p:nvSpPr>
          <p:cNvPr id="10" name="Freeform 6"/>
          <p:cNvSpPr>
            <a:spLocks/>
          </p:cNvSpPr>
          <p:nvPr userDrawn="1"/>
        </p:nvSpPr>
        <p:spPr bwMode="auto">
          <a:xfrm>
            <a:off x="7975600" y="0"/>
            <a:ext cx="1168400" cy="1317625"/>
          </a:xfrm>
          <a:custGeom>
            <a:avLst/>
            <a:gdLst>
              <a:gd name="T0" fmla="*/ 548 w 736"/>
              <a:gd name="T1" fmla="*/ 713 h 830"/>
              <a:gd name="T2" fmla="*/ 548 w 736"/>
              <a:gd name="T3" fmla="*/ 713 h 830"/>
              <a:gd name="T4" fmla="*/ 594 w 736"/>
              <a:gd name="T5" fmla="*/ 745 h 830"/>
              <a:gd name="T6" fmla="*/ 640 w 736"/>
              <a:gd name="T7" fmla="*/ 775 h 830"/>
              <a:gd name="T8" fmla="*/ 688 w 736"/>
              <a:gd name="T9" fmla="*/ 803 h 830"/>
              <a:gd name="T10" fmla="*/ 736 w 736"/>
              <a:gd name="T11" fmla="*/ 830 h 830"/>
              <a:gd name="T12" fmla="*/ 736 w 736"/>
              <a:gd name="T13" fmla="*/ 0 h 830"/>
              <a:gd name="T14" fmla="*/ 0 w 736"/>
              <a:gd name="T15" fmla="*/ 0 h 830"/>
              <a:gd name="T16" fmla="*/ 0 w 736"/>
              <a:gd name="T17" fmla="*/ 0 h 830"/>
              <a:gd name="T18" fmla="*/ 22 w 736"/>
              <a:gd name="T19" fmla="*/ 55 h 830"/>
              <a:gd name="T20" fmla="*/ 46 w 736"/>
              <a:gd name="T21" fmla="*/ 108 h 830"/>
              <a:gd name="T22" fmla="*/ 72 w 736"/>
              <a:gd name="T23" fmla="*/ 161 h 830"/>
              <a:gd name="T24" fmla="*/ 100 w 736"/>
              <a:gd name="T25" fmla="*/ 211 h 830"/>
              <a:gd name="T26" fmla="*/ 129 w 736"/>
              <a:gd name="T27" fmla="*/ 261 h 830"/>
              <a:gd name="T28" fmla="*/ 160 w 736"/>
              <a:gd name="T29" fmla="*/ 309 h 830"/>
              <a:gd name="T30" fmla="*/ 192 w 736"/>
              <a:gd name="T31" fmla="*/ 357 h 830"/>
              <a:gd name="T32" fmla="*/ 226 w 736"/>
              <a:gd name="T33" fmla="*/ 402 h 830"/>
              <a:gd name="T34" fmla="*/ 262 w 736"/>
              <a:gd name="T35" fmla="*/ 445 h 830"/>
              <a:gd name="T36" fmla="*/ 298 w 736"/>
              <a:gd name="T37" fmla="*/ 488 h 830"/>
              <a:gd name="T38" fmla="*/ 338 w 736"/>
              <a:gd name="T39" fmla="*/ 530 h 830"/>
              <a:gd name="T40" fmla="*/ 377 w 736"/>
              <a:gd name="T41" fmla="*/ 569 h 830"/>
              <a:gd name="T42" fmla="*/ 418 w 736"/>
              <a:gd name="T43" fmla="*/ 607 h 830"/>
              <a:gd name="T44" fmla="*/ 460 w 736"/>
              <a:gd name="T45" fmla="*/ 645 h 830"/>
              <a:gd name="T46" fmla="*/ 503 w 736"/>
              <a:gd name="T47" fmla="*/ 679 h 830"/>
              <a:gd name="T48" fmla="*/ 548 w 736"/>
              <a:gd name="T49" fmla="*/ 713 h 830"/>
              <a:gd name="T50" fmla="*/ 548 w 736"/>
              <a:gd name="T51" fmla="*/ 713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830">
                <a:moveTo>
                  <a:pt x="548" y="713"/>
                </a:moveTo>
                <a:lnTo>
                  <a:pt x="548" y="713"/>
                </a:lnTo>
                <a:lnTo>
                  <a:pt x="594" y="745"/>
                </a:lnTo>
                <a:lnTo>
                  <a:pt x="640" y="775"/>
                </a:lnTo>
                <a:lnTo>
                  <a:pt x="688" y="803"/>
                </a:lnTo>
                <a:lnTo>
                  <a:pt x="736" y="830"/>
                </a:lnTo>
                <a:lnTo>
                  <a:pt x="736" y="0"/>
                </a:lnTo>
                <a:lnTo>
                  <a:pt x="0" y="0"/>
                </a:lnTo>
                <a:lnTo>
                  <a:pt x="0" y="0"/>
                </a:lnTo>
                <a:lnTo>
                  <a:pt x="22" y="55"/>
                </a:lnTo>
                <a:lnTo>
                  <a:pt x="46" y="108"/>
                </a:lnTo>
                <a:lnTo>
                  <a:pt x="72" y="161"/>
                </a:lnTo>
                <a:lnTo>
                  <a:pt x="100" y="211"/>
                </a:lnTo>
                <a:lnTo>
                  <a:pt x="129" y="261"/>
                </a:lnTo>
                <a:lnTo>
                  <a:pt x="160" y="309"/>
                </a:lnTo>
                <a:lnTo>
                  <a:pt x="192" y="357"/>
                </a:lnTo>
                <a:lnTo>
                  <a:pt x="226" y="402"/>
                </a:lnTo>
                <a:lnTo>
                  <a:pt x="262" y="445"/>
                </a:lnTo>
                <a:lnTo>
                  <a:pt x="298" y="488"/>
                </a:lnTo>
                <a:lnTo>
                  <a:pt x="338" y="530"/>
                </a:lnTo>
                <a:lnTo>
                  <a:pt x="377" y="569"/>
                </a:lnTo>
                <a:lnTo>
                  <a:pt x="418" y="607"/>
                </a:lnTo>
                <a:lnTo>
                  <a:pt x="460" y="645"/>
                </a:lnTo>
                <a:lnTo>
                  <a:pt x="503" y="679"/>
                </a:lnTo>
                <a:lnTo>
                  <a:pt x="548" y="713"/>
                </a:lnTo>
                <a:lnTo>
                  <a:pt x="548" y="713"/>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3" name="Sisällön paikkamerkki 2"/>
          <p:cNvSpPr>
            <a:spLocks noGrp="1"/>
          </p:cNvSpPr>
          <p:nvPr userDrawn="1">
            <p:ph idx="1"/>
          </p:nvPr>
        </p:nvSpPr>
        <p:spPr>
          <a:xfrm>
            <a:off x="432785" y="1317625"/>
            <a:ext cx="7523591" cy="3486373"/>
          </a:xfrm>
        </p:spPr>
        <p:txBody>
          <a:bodyPr/>
          <a:lstStyle>
            <a:lvl1pPr>
              <a:spcBef>
                <a:spcPts val="400"/>
              </a:spcBef>
              <a:defRPr/>
            </a:lvl1pPr>
            <a:lvl2pPr>
              <a:spcBef>
                <a:spcPts val="400"/>
              </a:spcBef>
              <a:defRPr/>
            </a:lvl2pPr>
            <a:lvl3pPr>
              <a:spcBef>
                <a:spcPts val="400"/>
              </a:spcBef>
              <a:defRPr/>
            </a:lvl3pPr>
            <a:lvl4pPr>
              <a:spcBef>
                <a:spcPts val="400"/>
              </a:spcBef>
              <a:defRPr/>
            </a:lvl4pPr>
            <a:lvl5pPr>
              <a:spcBef>
                <a:spcPts val="400"/>
              </a:spcBef>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8" name="Otsikko 7"/>
          <p:cNvSpPr>
            <a:spLocks noGrp="1"/>
          </p:cNvSpPr>
          <p:nvPr userDrawn="1">
            <p:ph type="title"/>
          </p:nvPr>
        </p:nvSpPr>
        <p:spPr>
          <a:xfrm>
            <a:off x="432785" y="235340"/>
            <a:ext cx="7523591" cy="974270"/>
          </a:xfrm>
        </p:spPr>
        <p:txBody>
          <a:bodyPr/>
          <a:lstStyle>
            <a:lvl1pPr>
              <a:defRPr>
                <a:solidFill>
                  <a:srgbClr val="595965"/>
                </a:solidFill>
              </a:defRPr>
            </a:lvl1pPr>
          </a:lstStyle>
          <a:p>
            <a:r>
              <a:rPr lang="en-US" dirty="0"/>
              <a:t>Click to edit Master title style</a:t>
            </a:r>
            <a:endParaRPr lang="fi-FI" dirty="0"/>
          </a:p>
        </p:txBody>
      </p:sp>
      <p:pic>
        <p:nvPicPr>
          <p:cNvPr id="5" name="Picture 4">
            <a:extLst>
              <a:ext uri="{FF2B5EF4-FFF2-40B4-BE49-F238E27FC236}">
                <a16:creationId xmlns:a16="http://schemas.microsoft.com/office/drawing/2014/main" id="{D7751274-4DD9-C549-B707-1280A51F7A5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24328" y="4699761"/>
            <a:ext cx="1439764" cy="274350"/>
          </a:xfrm>
          <a:prstGeom prst="rect">
            <a:avLst/>
          </a:prstGeom>
        </p:spPr>
      </p:pic>
      <p:pic>
        <p:nvPicPr>
          <p:cNvPr id="6" name="Picture 5">
            <a:extLst>
              <a:ext uri="{FF2B5EF4-FFF2-40B4-BE49-F238E27FC236}">
                <a16:creationId xmlns:a16="http://schemas.microsoft.com/office/drawing/2014/main" id="{4F591584-9FCE-5A4F-A985-77C337C3AB8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604448" y="235340"/>
            <a:ext cx="305495" cy="419486"/>
          </a:xfrm>
          <a:prstGeom prst="rect">
            <a:avLst/>
          </a:prstGeom>
        </p:spPr>
      </p:pic>
    </p:spTree>
    <p:extLst>
      <p:ext uri="{BB962C8B-B14F-4D97-AF65-F5344CB8AC3E}">
        <p14:creationId xmlns:p14="http://schemas.microsoft.com/office/powerpoint/2010/main" val="146359665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Vertailu">
    <p:spTree>
      <p:nvGrpSpPr>
        <p:cNvPr id="1" name=""/>
        <p:cNvGrpSpPr/>
        <p:nvPr/>
      </p:nvGrpSpPr>
      <p:grpSpPr>
        <a:xfrm>
          <a:off x="0" y="0"/>
          <a:ext cx="0" cy="0"/>
          <a:chOff x="0" y="0"/>
          <a:chExt cx="0" cy="0"/>
        </a:xfrm>
      </p:grpSpPr>
      <p:sp>
        <p:nvSpPr>
          <p:cNvPr id="2" name="Otsikko 1"/>
          <p:cNvSpPr>
            <a:spLocks noGrp="1"/>
          </p:cNvSpPr>
          <p:nvPr>
            <p:ph type="title"/>
          </p:nvPr>
        </p:nvSpPr>
        <p:spPr>
          <a:xfrm>
            <a:off x="630238" y="274638"/>
            <a:ext cx="7886700" cy="993775"/>
          </a:xfrm>
        </p:spPr>
        <p:txBody>
          <a:bodyPr/>
          <a:lstStyle/>
          <a:p>
            <a:r>
              <a:rPr lang="fi-FI" smtClean="0"/>
              <a:t>Muokkaa perustyyl. napsautt.</a:t>
            </a:r>
            <a:endParaRPr lang="fi-FI"/>
          </a:p>
        </p:txBody>
      </p:sp>
      <p:sp>
        <p:nvSpPr>
          <p:cNvPr id="3" name="Tekstin paikkamerkki 2"/>
          <p:cNvSpPr>
            <a:spLocks noGrp="1"/>
          </p:cNvSpPr>
          <p:nvPr>
            <p:ph type="body" idx="1"/>
          </p:nvPr>
        </p:nvSpPr>
        <p:spPr>
          <a:xfrm>
            <a:off x="630238" y="1260475"/>
            <a:ext cx="3868737" cy="6191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smtClean="0"/>
              <a:t>Muokkaa tekstin perustyylejä</a:t>
            </a:r>
          </a:p>
        </p:txBody>
      </p:sp>
      <p:sp>
        <p:nvSpPr>
          <p:cNvPr id="4" name="Sisällön paikkamerkki 3"/>
          <p:cNvSpPr>
            <a:spLocks noGrp="1"/>
          </p:cNvSpPr>
          <p:nvPr>
            <p:ph sz="half" idx="2"/>
          </p:nvPr>
        </p:nvSpPr>
        <p:spPr>
          <a:xfrm>
            <a:off x="630238" y="1879600"/>
            <a:ext cx="3868737" cy="2762250"/>
          </a:xfrm>
        </p:spPr>
        <p:txBody>
          <a:bodyPr/>
          <a:lstStyle/>
          <a:p>
            <a:pPr lvl="0"/>
            <a:r>
              <a:rPr lang="fi-FI" smtClean="0"/>
              <a:t>Muokkaa tekstin perustyylejä</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5" name="Tekstin paikkamerkki 4"/>
          <p:cNvSpPr>
            <a:spLocks noGrp="1"/>
          </p:cNvSpPr>
          <p:nvPr>
            <p:ph type="body" sz="quarter" idx="3"/>
          </p:nvPr>
        </p:nvSpPr>
        <p:spPr>
          <a:xfrm>
            <a:off x="4629150" y="1260475"/>
            <a:ext cx="3887788" cy="6191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smtClean="0"/>
              <a:t>Muokkaa tekstin perustyylejä</a:t>
            </a:r>
          </a:p>
        </p:txBody>
      </p:sp>
      <p:sp>
        <p:nvSpPr>
          <p:cNvPr id="6" name="Sisällön paikkamerkki 5"/>
          <p:cNvSpPr>
            <a:spLocks noGrp="1"/>
          </p:cNvSpPr>
          <p:nvPr>
            <p:ph sz="quarter" idx="4"/>
          </p:nvPr>
        </p:nvSpPr>
        <p:spPr>
          <a:xfrm>
            <a:off x="4629150" y="1879600"/>
            <a:ext cx="3887788" cy="2762250"/>
          </a:xfrm>
        </p:spPr>
        <p:txBody>
          <a:bodyPr/>
          <a:lstStyle/>
          <a:p>
            <a:pPr lvl="0"/>
            <a:r>
              <a:rPr lang="fi-FI" smtClean="0"/>
              <a:t>Muokkaa tekstin perustyylejä</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7" name="Päivämäärän paikkamerkki 6"/>
          <p:cNvSpPr>
            <a:spLocks noGrp="1"/>
          </p:cNvSpPr>
          <p:nvPr>
            <p:ph type="dt" sz="half" idx="10"/>
          </p:nvPr>
        </p:nvSpPr>
        <p:spPr/>
        <p:txBody>
          <a:bodyPr/>
          <a:lstStyle/>
          <a:p>
            <a:fld id="{CFFBECAB-A849-4A14-8097-2FD7BDBFD006}" type="datetimeFigureOut">
              <a:rPr lang="fi-FI" smtClean="0"/>
              <a:t>12.11.2021</a:t>
            </a:fld>
            <a:endParaRPr lang="fi-FI"/>
          </a:p>
        </p:txBody>
      </p:sp>
      <p:sp>
        <p:nvSpPr>
          <p:cNvPr id="8" name="Alatunnisteen paikkamerkki 7"/>
          <p:cNvSpPr>
            <a:spLocks noGrp="1"/>
          </p:cNvSpPr>
          <p:nvPr>
            <p:ph type="ftr" sz="quarter" idx="11"/>
          </p:nvPr>
        </p:nvSpPr>
        <p:spPr/>
        <p:txBody>
          <a:bodyPr/>
          <a:lstStyle/>
          <a:p>
            <a:endParaRPr lang="fi-FI"/>
          </a:p>
        </p:txBody>
      </p:sp>
      <p:sp>
        <p:nvSpPr>
          <p:cNvPr id="9" name="Dian numeron paikkamerkki 8"/>
          <p:cNvSpPr>
            <a:spLocks noGrp="1"/>
          </p:cNvSpPr>
          <p:nvPr>
            <p:ph type="sldNum" sz="quarter" idx="12"/>
          </p:nvPr>
        </p:nvSpPr>
        <p:spPr/>
        <p:txBody>
          <a:bodyPr/>
          <a:lstStyle/>
          <a:p>
            <a:fld id="{2F5B733E-0713-4F8D-B698-4B137BE2502C}" type="slidenum">
              <a:rPr lang="fi-FI" smtClean="0"/>
              <a:t>‹#›</a:t>
            </a:fld>
            <a:endParaRPr lang="fi-FI"/>
          </a:p>
        </p:txBody>
      </p:sp>
    </p:spTree>
    <p:extLst>
      <p:ext uri="{BB962C8B-B14F-4D97-AF65-F5344CB8AC3E}">
        <p14:creationId xmlns:p14="http://schemas.microsoft.com/office/powerpoint/2010/main" val="41060526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Vain otsikko">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smtClean="0"/>
              <a:t>Muokkaa perustyyl. napsautt.</a:t>
            </a:r>
            <a:endParaRPr lang="fi-FI"/>
          </a:p>
        </p:txBody>
      </p:sp>
      <p:sp>
        <p:nvSpPr>
          <p:cNvPr id="3" name="Päivämäärän paikkamerkki 2"/>
          <p:cNvSpPr>
            <a:spLocks noGrp="1"/>
          </p:cNvSpPr>
          <p:nvPr>
            <p:ph type="dt" sz="half" idx="10"/>
          </p:nvPr>
        </p:nvSpPr>
        <p:spPr/>
        <p:txBody>
          <a:bodyPr/>
          <a:lstStyle/>
          <a:p>
            <a:fld id="{CFFBECAB-A849-4A14-8097-2FD7BDBFD006}" type="datetimeFigureOut">
              <a:rPr lang="fi-FI" smtClean="0"/>
              <a:t>12.11.2021</a:t>
            </a:fld>
            <a:endParaRPr lang="fi-FI"/>
          </a:p>
        </p:txBody>
      </p:sp>
      <p:sp>
        <p:nvSpPr>
          <p:cNvPr id="4" name="Alatunnisteen paikkamerkki 3"/>
          <p:cNvSpPr>
            <a:spLocks noGrp="1"/>
          </p:cNvSpPr>
          <p:nvPr>
            <p:ph type="ftr" sz="quarter" idx="11"/>
          </p:nvPr>
        </p:nvSpPr>
        <p:spPr/>
        <p:txBody>
          <a:bodyPr/>
          <a:lstStyle/>
          <a:p>
            <a:endParaRPr lang="fi-FI"/>
          </a:p>
        </p:txBody>
      </p:sp>
      <p:sp>
        <p:nvSpPr>
          <p:cNvPr id="5" name="Dian numeron paikkamerkki 4"/>
          <p:cNvSpPr>
            <a:spLocks noGrp="1"/>
          </p:cNvSpPr>
          <p:nvPr>
            <p:ph type="sldNum" sz="quarter" idx="12"/>
          </p:nvPr>
        </p:nvSpPr>
        <p:spPr/>
        <p:txBody>
          <a:bodyPr/>
          <a:lstStyle/>
          <a:p>
            <a:fld id="{2F5B733E-0713-4F8D-B698-4B137BE2502C}" type="slidenum">
              <a:rPr lang="fi-FI" smtClean="0"/>
              <a:t>‹#›</a:t>
            </a:fld>
            <a:endParaRPr lang="fi-FI"/>
          </a:p>
        </p:txBody>
      </p:sp>
    </p:spTree>
    <p:extLst>
      <p:ext uri="{BB962C8B-B14F-4D97-AF65-F5344CB8AC3E}">
        <p14:creationId xmlns:p14="http://schemas.microsoft.com/office/powerpoint/2010/main" val="26690026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Tyhjä">
    <p:spTree>
      <p:nvGrpSpPr>
        <p:cNvPr id="1" name=""/>
        <p:cNvGrpSpPr/>
        <p:nvPr/>
      </p:nvGrpSpPr>
      <p:grpSpPr>
        <a:xfrm>
          <a:off x="0" y="0"/>
          <a:ext cx="0" cy="0"/>
          <a:chOff x="0" y="0"/>
          <a:chExt cx="0" cy="0"/>
        </a:xfrm>
      </p:grpSpPr>
      <p:sp>
        <p:nvSpPr>
          <p:cNvPr id="2" name="Päivämäärän paikkamerkki 1"/>
          <p:cNvSpPr>
            <a:spLocks noGrp="1"/>
          </p:cNvSpPr>
          <p:nvPr>
            <p:ph type="dt" sz="half" idx="10"/>
          </p:nvPr>
        </p:nvSpPr>
        <p:spPr/>
        <p:txBody>
          <a:bodyPr/>
          <a:lstStyle/>
          <a:p>
            <a:fld id="{CFFBECAB-A849-4A14-8097-2FD7BDBFD006}" type="datetimeFigureOut">
              <a:rPr lang="fi-FI" smtClean="0"/>
              <a:t>12.11.2021</a:t>
            </a:fld>
            <a:endParaRPr lang="fi-FI"/>
          </a:p>
        </p:txBody>
      </p:sp>
      <p:sp>
        <p:nvSpPr>
          <p:cNvPr id="3" name="Alatunnisteen paikkamerkki 2"/>
          <p:cNvSpPr>
            <a:spLocks noGrp="1"/>
          </p:cNvSpPr>
          <p:nvPr>
            <p:ph type="ftr" sz="quarter" idx="11"/>
          </p:nvPr>
        </p:nvSpPr>
        <p:spPr/>
        <p:txBody>
          <a:bodyPr/>
          <a:lstStyle/>
          <a:p>
            <a:endParaRPr lang="fi-FI"/>
          </a:p>
        </p:txBody>
      </p:sp>
      <p:sp>
        <p:nvSpPr>
          <p:cNvPr id="4" name="Dian numeron paikkamerkki 3"/>
          <p:cNvSpPr>
            <a:spLocks noGrp="1"/>
          </p:cNvSpPr>
          <p:nvPr>
            <p:ph type="sldNum" sz="quarter" idx="12"/>
          </p:nvPr>
        </p:nvSpPr>
        <p:spPr/>
        <p:txBody>
          <a:bodyPr/>
          <a:lstStyle/>
          <a:p>
            <a:fld id="{2F5B733E-0713-4F8D-B698-4B137BE2502C}" type="slidenum">
              <a:rPr lang="fi-FI" smtClean="0"/>
              <a:t>‹#›</a:t>
            </a:fld>
            <a:endParaRPr lang="fi-FI"/>
          </a:p>
        </p:txBody>
      </p:sp>
    </p:spTree>
    <p:extLst>
      <p:ext uri="{BB962C8B-B14F-4D97-AF65-F5344CB8AC3E}">
        <p14:creationId xmlns:p14="http://schemas.microsoft.com/office/powerpoint/2010/main" val="16568510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Otsikollinen sisältö">
    <p:spTree>
      <p:nvGrpSpPr>
        <p:cNvPr id="1" name=""/>
        <p:cNvGrpSpPr/>
        <p:nvPr/>
      </p:nvGrpSpPr>
      <p:grpSpPr>
        <a:xfrm>
          <a:off x="0" y="0"/>
          <a:ext cx="0" cy="0"/>
          <a:chOff x="0" y="0"/>
          <a:chExt cx="0" cy="0"/>
        </a:xfrm>
      </p:grpSpPr>
      <p:sp>
        <p:nvSpPr>
          <p:cNvPr id="2" name="Otsikko 1"/>
          <p:cNvSpPr>
            <a:spLocks noGrp="1"/>
          </p:cNvSpPr>
          <p:nvPr>
            <p:ph type="title"/>
          </p:nvPr>
        </p:nvSpPr>
        <p:spPr>
          <a:xfrm>
            <a:off x="630238" y="342900"/>
            <a:ext cx="2949575" cy="1200150"/>
          </a:xfrm>
        </p:spPr>
        <p:txBody>
          <a:bodyPr anchor="b"/>
          <a:lstStyle>
            <a:lvl1pPr>
              <a:defRPr sz="3200"/>
            </a:lvl1pPr>
          </a:lstStyle>
          <a:p>
            <a:r>
              <a:rPr lang="fi-FI" smtClean="0"/>
              <a:t>Muokkaa perustyyl. napsautt.</a:t>
            </a:r>
            <a:endParaRPr lang="fi-FI"/>
          </a:p>
        </p:txBody>
      </p:sp>
      <p:sp>
        <p:nvSpPr>
          <p:cNvPr id="3" name="Sisällön paikkamerkki 2"/>
          <p:cNvSpPr>
            <a:spLocks noGrp="1"/>
          </p:cNvSpPr>
          <p:nvPr>
            <p:ph idx="1"/>
          </p:nvPr>
        </p:nvSpPr>
        <p:spPr>
          <a:xfrm>
            <a:off x="3887788" y="74136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i-FI" smtClean="0"/>
              <a:t>Muokkaa tekstin perustyylejä</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4" name="Tekstin paikkamerkki 3"/>
          <p:cNvSpPr>
            <a:spLocks noGrp="1"/>
          </p:cNvSpPr>
          <p:nvPr>
            <p:ph type="body" sz="half" idx="2"/>
          </p:nvPr>
        </p:nvSpPr>
        <p:spPr>
          <a:xfrm>
            <a:off x="630238" y="1543050"/>
            <a:ext cx="2949575" cy="28590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smtClean="0"/>
              <a:t>Muokkaa tekstin perustyylejä</a:t>
            </a:r>
          </a:p>
        </p:txBody>
      </p:sp>
      <p:sp>
        <p:nvSpPr>
          <p:cNvPr id="5" name="Päivämäärän paikkamerkki 4"/>
          <p:cNvSpPr>
            <a:spLocks noGrp="1"/>
          </p:cNvSpPr>
          <p:nvPr>
            <p:ph type="dt" sz="half" idx="10"/>
          </p:nvPr>
        </p:nvSpPr>
        <p:spPr/>
        <p:txBody>
          <a:bodyPr/>
          <a:lstStyle/>
          <a:p>
            <a:fld id="{CFFBECAB-A849-4A14-8097-2FD7BDBFD006}" type="datetimeFigureOut">
              <a:rPr lang="fi-FI" smtClean="0"/>
              <a:t>12.11.2021</a:t>
            </a:fld>
            <a:endParaRPr lang="fi-FI"/>
          </a:p>
        </p:txBody>
      </p:sp>
      <p:sp>
        <p:nvSpPr>
          <p:cNvPr id="6" name="Alatunnisteen paikkamerkki 5"/>
          <p:cNvSpPr>
            <a:spLocks noGrp="1"/>
          </p:cNvSpPr>
          <p:nvPr>
            <p:ph type="ftr" sz="quarter" idx="11"/>
          </p:nvPr>
        </p:nvSpPr>
        <p:spPr/>
        <p:txBody>
          <a:bodyPr/>
          <a:lstStyle/>
          <a:p>
            <a:endParaRPr lang="fi-FI"/>
          </a:p>
        </p:txBody>
      </p:sp>
      <p:sp>
        <p:nvSpPr>
          <p:cNvPr id="7" name="Dian numeron paikkamerkki 6"/>
          <p:cNvSpPr>
            <a:spLocks noGrp="1"/>
          </p:cNvSpPr>
          <p:nvPr>
            <p:ph type="sldNum" sz="quarter" idx="12"/>
          </p:nvPr>
        </p:nvSpPr>
        <p:spPr/>
        <p:txBody>
          <a:bodyPr/>
          <a:lstStyle/>
          <a:p>
            <a:fld id="{2F5B733E-0713-4F8D-B698-4B137BE2502C}" type="slidenum">
              <a:rPr lang="fi-FI" smtClean="0"/>
              <a:t>‹#›</a:t>
            </a:fld>
            <a:endParaRPr lang="fi-FI"/>
          </a:p>
        </p:txBody>
      </p:sp>
    </p:spTree>
    <p:extLst>
      <p:ext uri="{BB962C8B-B14F-4D97-AF65-F5344CB8AC3E}">
        <p14:creationId xmlns:p14="http://schemas.microsoft.com/office/powerpoint/2010/main" val="21393795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Otsikollinen kuva">
    <p:spTree>
      <p:nvGrpSpPr>
        <p:cNvPr id="1" name=""/>
        <p:cNvGrpSpPr/>
        <p:nvPr/>
      </p:nvGrpSpPr>
      <p:grpSpPr>
        <a:xfrm>
          <a:off x="0" y="0"/>
          <a:ext cx="0" cy="0"/>
          <a:chOff x="0" y="0"/>
          <a:chExt cx="0" cy="0"/>
        </a:xfrm>
      </p:grpSpPr>
      <p:sp>
        <p:nvSpPr>
          <p:cNvPr id="2" name="Otsikko 1"/>
          <p:cNvSpPr>
            <a:spLocks noGrp="1"/>
          </p:cNvSpPr>
          <p:nvPr>
            <p:ph type="title"/>
          </p:nvPr>
        </p:nvSpPr>
        <p:spPr>
          <a:xfrm>
            <a:off x="630238" y="342900"/>
            <a:ext cx="2949575" cy="1200150"/>
          </a:xfrm>
        </p:spPr>
        <p:txBody>
          <a:bodyPr anchor="b"/>
          <a:lstStyle>
            <a:lvl1pPr>
              <a:defRPr sz="3200"/>
            </a:lvl1pPr>
          </a:lstStyle>
          <a:p>
            <a:r>
              <a:rPr lang="fi-FI" smtClean="0"/>
              <a:t>Muokkaa perustyyl. napsautt.</a:t>
            </a:r>
            <a:endParaRPr lang="fi-FI"/>
          </a:p>
        </p:txBody>
      </p:sp>
      <p:sp>
        <p:nvSpPr>
          <p:cNvPr id="3" name="Kuvan paikkamerkki 2"/>
          <p:cNvSpPr>
            <a:spLocks noGrp="1"/>
          </p:cNvSpPr>
          <p:nvPr>
            <p:ph type="pic" idx="1"/>
          </p:nvPr>
        </p:nvSpPr>
        <p:spPr>
          <a:xfrm>
            <a:off x="3887788" y="741363"/>
            <a:ext cx="4629150" cy="36544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i-FI"/>
          </a:p>
        </p:txBody>
      </p:sp>
      <p:sp>
        <p:nvSpPr>
          <p:cNvPr id="4" name="Tekstin paikkamerkki 3"/>
          <p:cNvSpPr>
            <a:spLocks noGrp="1"/>
          </p:cNvSpPr>
          <p:nvPr>
            <p:ph type="body" sz="half" idx="2"/>
          </p:nvPr>
        </p:nvSpPr>
        <p:spPr>
          <a:xfrm>
            <a:off x="630238" y="1543050"/>
            <a:ext cx="2949575" cy="28590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smtClean="0"/>
              <a:t>Muokkaa tekstin perustyylejä</a:t>
            </a:r>
          </a:p>
        </p:txBody>
      </p:sp>
      <p:sp>
        <p:nvSpPr>
          <p:cNvPr id="5" name="Päivämäärän paikkamerkki 4"/>
          <p:cNvSpPr>
            <a:spLocks noGrp="1"/>
          </p:cNvSpPr>
          <p:nvPr>
            <p:ph type="dt" sz="half" idx="10"/>
          </p:nvPr>
        </p:nvSpPr>
        <p:spPr/>
        <p:txBody>
          <a:bodyPr/>
          <a:lstStyle/>
          <a:p>
            <a:fld id="{CFFBECAB-A849-4A14-8097-2FD7BDBFD006}" type="datetimeFigureOut">
              <a:rPr lang="fi-FI" smtClean="0"/>
              <a:t>12.11.2021</a:t>
            </a:fld>
            <a:endParaRPr lang="fi-FI"/>
          </a:p>
        </p:txBody>
      </p:sp>
      <p:sp>
        <p:nvSpPr>
          <p:cNvPr id="6" name="Alatunnisteen paikkamerkki 5"/>
          <p:cNvSpPr>
            <a:spLocks noGrp="1"/>
          </p:cNvSpPr>
          <p:nvPr>
            <p:ph type="ftr" sz="quarter" idx="11"/>
          </p:nvPr>
        </p:nvSpPr>
        <p:spPr/>
        <p:txBody>
          <a:bodyPr/>
          <a:lstStyle/>
          <a:p>
            <a:endParaRPr lang="fi-FI"/>
          </a:p>
        </p:txBody>
      </p:sp>
      <p:sp>
        <p:nvSpPr>
          <p:cNvPr id="7" name="Dian numeron paikkamerkki 6"/>
          <p:cNvSpPr>
            <a:spLocks noGrp="1"/>
          </p:cNvSpPr>
          <p:nvPr>
            <p:ph type="sldNum" sz="quarter" idx="12"/>
          </p:nvPr>
        </p:nvSpPr>
        <p:spPr/>
        <p:txBody>
          <a:bodyPr/>
          <a:lstStyle/>
          <a:p>
            <a:fld id="{2F5B733E-0713-4F8D-B698-4B137BE2502C}" type="slidenum">
              <a:rPr lang="fi-FI" smtClean="0"/>
              <a:t>‹#›</a:t>
            </a:fld>
            <a:endParaRPr lang="fi-FI"/>
          </a:p>
        </p:txBody>
      </p:sp>
    </p:spTree>
    <p:extLst>
      <p:ext uri="{BB962C8B-B14F-4D97-AF65-F5344CB8AC3E}">
        <p14:creationId xmlns:p14="http://schemas.microsoft.com/office/powerpoint/2010/main" val="224117495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Otsikko ja pystysuora teksti">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smtClean="0"/>
              <a:t>Muokkaa perustyyl. napsautt.</a:t>
            </a:r>
            <a:endParaRPr lang="fi-FI"/>
          </a:p>
        </p:txBody>
      </p:sp>
      <p:sp>
        <p:nvSpPr>
          <p:cNvPr id="3" name="Pystysuoran tekstin paikkamerkki 2"/>
          <p:cNvSpPr>
            <a:spLocks noGrp="1"/>
          </p:cNvSpPr>
          <p:nvPr>
            <p:ph type="body" orient="vert" idx="1"/>
          </p:nvPr>
        </p:nvSpPr>
        <p:spPr/>
        <p:txBody>
          <a:bodyPr vert="eaVert"/>
          <a:lstStyle/>
          <a:p>
            <a:pPr lvl="0"/>
            <a:r>
              <a:rPr lang="fi-FI" smtClean="0"/>
              <a:t>Muokkaa tekstin perustyylejä</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4" name="Päivämäärän paikkamerkki 3"/>
          <p:cNvSpPr>
            <a:spLocks noGrp="1"/>
          </p:cNvSpPr>
          <p:nvPr>
            <p:ph type="dt" sz="half" idx="10"/>
          </p:nvPr>
        </p:nvSpPr>
        <p:spPr/>
        <p:txBody>
          <a:bodyPr/>
          <a:lstStyle/>
          <a:p>
            <a:fld id="{CFFBECAB-A849-4A14-8097-2FD7BDBFD006}" type="datetimeFigureOut">
              <a:rPr lang="fi-FI" smtClean="0"/>
              <a:t>12.11.2021</a:t>
            </a:fld>
            <a:endParaRPr lang="fi-FI"/>
          </a:p>
        </p:txBody>
      </p:sp>
      <p:sp>
        <p:nvSpPr>
          <p:cNvPr id="5" name="Alatunnisteen paikkamerkki 4"/>
          <p:cNvSpPr>
            <a:spLocks noGrp="1"/>
          </p:cNvSpPr>
          <p:nvPr>
            <p:ph type="ftr" sz="quarter" idx="11"/>
          </p:nvPr>
        </p:nvSpPr>
        <p:spPr/>
        <p:txBody>
          <a:bodyPr/>
          <a:lstStyle/>
          <a:p>
            <a:endParaRPr lang="fi-FI"/>
          </a:p>
        </p:txBody>
      </p:sp>
      <p:sp>
        <p:nvSpPr>
          <p:cNvPr id="6" name="Dian numeron paikkamerkki 5"/>
          <p:cNvSpPr>
            <a:spLocks noGrp="1"/>
          </p:cNvSpPr>
          <p:nvPr>
            <p:ph type="sldNum" sz="quarter" idx="12"/>
          </p:nvPr>
        </p:nvSpPr>
        <p:spPr/>
        <p:txBody>
          <a:bodyPr/>
          <a:lstStyle/>
          <a:p>
            <a:fld id="{2F5B733E-0713-4F8D-B698-4B137BE2502C}" type="slidenum">
              <a:rPr lang="fi-FI" smtClean="0"/>
              <a:t>‹#›</a:t>
            </a:fld>
            <a:endParaRPr lang="fi-FI"/>
          </a:p>
        </p:txBody>
      </p:sp>
    </p:spTree>
    <p:extLst>
      <p:ext uri="{BB962C8B-B14F-4D97-AF65-F5344CB8AC3E}">
        <p14:creationId xmlns:p14="http://schemas.microsoft.com/office/powerpoint/2010/main" val="108676096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Pystysuora otsikko ja teksti">
    <p:spTree>
      <p:nvGrpSpPr>
        <p:cNvPr id="1" name=""/>
        <p:cNvGrpSpPr/>
        <p:nvPr/>
      </p:nvGrpSpPr>
      <p:grpSpPr>
        <a:xfrm>
          <a:off x="0" y="0"/>
          <a:ext cx="0" cy="0"/>
          <a:chOff x="0" y="0"/>
          <a:chExt cx="0" cy="0"/>
        </a:xfrm>
      </p:grpSpPr>
      <p:sp>
        <p:nvSpPr>
          <p:cNvPr id="2" name="Pystysuora otsikko 1"/>
          <p:cNvSpPr>
            <a:spLocks noGrp="1"/>
          </p:cNvSpPr>
          <p:nvPr>
            <p:ph type="title" orient="vert"/>
          </p:nvPr>
        </p:nvSpPr>
        <p:spPr>
          <a:xfrm>
            <a:off x="6543675" y="274638"/>
            <a:ext cx="1971675" cy="4357687"/>
          </a:xfrm>
        </p:spPr>
        <p:txBody>
          <a:bodyPr vert="eaVert"/>
          <a:lstStyle/>
          <a:p>
            <a:r>
              <a:rPr lang="fi-FI" smtClean="0"/>
              <a:t>Muokkaa perustyyl. napsautt.</a:t>
            </a:r>
            <a:endParaRPr lang="fi-FI"/>
          </a:p>
        </p:txBody>
      </p:sp>
      <p:sp>
        <p:nvSpPr>
          <p:cNvPr id="3" name="Pystysuoran tekstin paikkamerkki 2"/>
          <p:cNvSpPr>
            <a:spLocks noGrp="1"/>
          </p:cNvSpPr>
          <p:nvPr>
            <p:ph type="body" orient="vert" idx="1"/>
          </p:nvPr>
        </p:nvSpPr>
        <p:spPr>
          <a:xfrm>
            <a:off x="628650" y="274638"/>
            <a:ext cx="5762625" cy="4357687"/>
          </a:xfrm>
        </p:spPr>
        <p:txBody>
          <a:bodyPr vert="eaVert"/>
          <a:lstStyle/>
          <a:p>
            <a:pPr lvl="0"/>
            <a:r>
              <a:rPr lang="fi-FI" smtClean="0"/>
              <a:t>Muokkaa tekstin perustyylejä</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4" name="Päivämäärän paikkamerkki 3"/>
          <p:cNvSpPr>
            <a:spLocks noGrp="1"/>
          </p:cNvSpPr>
          <p:nvPr>
            <p:ph type="dt" sz="half" idx="10"/>
          </p:nvPr>
        </p:nvSpPr>
        <p:spPr/>
        <p:txBody>
          <a:bodyPr/>
          <a:lstStyle/>
          <a:p>
            <a:fld id="{CFFBECAB-A849-4A14-8097-2FD7BDBFD006}" type="datetimeFigureOut">
              <a:rPr lang="fi-FI" smtClean="0"/>
              <a:t>12.11.2021</a:t>
            </a:fld>
            <a:endParaRPr lang="fi-FI"/>
          </a:p>
        </p:txBody>
      </p:sp>
      <p:sp>
        <p:nvSpPr>
          <p:cNvPr id="5" name="Alatunnisteen paikkamerkki 4"/>
          <p:cNvSpPr>
            <a:spLocks noGrp="1"/>
          </p:cNvSpPr>
          <p:nvPr>
            <p:ph type="ftr" sz="quarter" idx="11"/>
          </p:nvPr>
        </p:nvSpPr>
        <p:spPr/>
        <p:txBody>
          <a:bodyPr/>
          <a:lstStyle/>
          <a:p>
            <a:endParaRPr lang="fi-FI"/>
          </a:p>
        </p:txBody>
      </p:sp>
      <p:sp>
        <p:nvSpPr>
          <p:cNvPr id="6" name="Dian numeron paikkamerkki 5"/>
          <p:cNvSpPr>
            <a:spLocks noGrp="1"/>
          </p:cNvSpPr>
          <p:nvPr>
            <p:ph type="sldNum" sz="quarter" idx="12"/>
          </p:nvPr>
        </p:nvSpPr>
        <p:spPr/>
        <p:txBody>
          <a:bodyPr/>
          <a:lstStyle/>
          <a:p>
            <a:fld id="{2F5B733E-0713-4F8D-B698-4B137BE2502C}" type="slidenum">
              <a:rPr lang="fi-FI" smtClean="0"/>
              <a:t>‹#›</a:t>
            </a:fld>
            <a:endParaRPr lang="fi-FI"/>
          </a:p>
        </p:txBody>
      </p:sp>
    </p:spTree>
    <p:extLst>
      <p:ext uri="{BB962C8B-B14F-4D97-AF65-F5344CB8AC3E}">
        <p14:creationId xmlns:p14="http://schemas.microsoft.com/office/powerpoint/2010/main" val="15500752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Pääotsikko Sote">
    <p:spTree>
      <p:nvGrpSpPr>
        <p:cNvPr id="1" name=""/>
        <p:cNvGrpSpPr/>
        <p:nvPr/>
      </p:nvGrpSpPr>
      <p:grpSpPr>
        <a:xfrm>
          <a:off x="0" y="0"/>
          <a:ext cx="0" cy="0"/>
          <a:chOff x="0" y="0"/>
          <a:chExt cx="0" cy="0"/>
        </a:xfrm>
      </p:grpSpPr>
      <p:sp>
        <p:nvSpPr>
          <p:cNvPr id="7" name="Otsikko 1"/>
          <p:cNvSpPr>
            <a:spLocks noGrp="1"/>
          </p:cNvSpPr>
          <p:nvPr>
            <p:ph type="ctrTitle"/>
          </p:nvPr>
        </p:nvSpPr>
        <p:spPr>
          <a:xfrm>
            <a:off x="683568" y="1851670"/>
            <a:ext cx="5832648" cy="2095528"/>
          </a:xfrm>
        </p:spPr>
        <p:txBody>
          <a:bodyPr anchor="b" anchorCtr="0">
            <a:noAutofit/>
          </a:bodyPr>
          <a:lstStyle>
            <a:lvl1pPr algn="l">
              <a:defRPr sz="4000">
                <a:solidFill>
                  <a:srgbClr val="FFFFFF"/>
                </a:solidFill>
              </a:defRPr>
            </a:lvl1pPr>
          </a:lstStyle>
          <a:p>
            <a:r>
              <a:rPr lang="en-US" dirty="0"/>
              <a:t>Click to edit Master title style</a:t>
            </a:r>
            <a:endParaRPr lang="fi-FI" dirty="0"/>
          </a:p>
        </p:txBody>
      </p:sp>
      <p:sp>
        <p:nvSpPr>
          <p:cNvPr id="8" name="Alaotsikko 2"/>
          <p:cNvSpPr>
            <a:spLocks noGrp="1"/>
          </p:cNvSpPr>
          <p:nvPr>
            <p:ph type="subTitle" idx="1"/>
          </p:nvPr>
        </p:nvSpPr>
        <p:spPr>
          <a:xfrm>
            <a:off x="683568" y="4064577"/>
            <a:ext cx="5832648" cy="667413"/>
          </a:xfrm>
        </p:spPr>
        <p:txBody>
          <a:bodyPr>
            <a:normAutofit/>
          </a:bodyPr>
          <a:lstStyle>
            <a:lvl1pPr marL="0" indent="0" algn="l">
              <a:spcBef>
                <a:spcPts val="0"/>
              </a:spcBef>
              <a:buNone/>
              <a:defRPr sz="18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fi-FI" dirty="0"/>
          </a:p>
        </p:txBody>
      </p:sp>
      <p:pic>
        <p:nvPicPr>
          <p:cNvPr id="3" name="Picture 2">
            <a:extLst>
              <a:ext uri="{FF2B5EF4-FFF2-40B4-BE49-F238E27FC236}">
                <a16:creationId xmlns:a16="http://schemas.microsoft.com/office/drawing/2014/main" id="{DE92C5AF-A585-B247-8A1C-ABA6794D7A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512" y="0"/>
            <a:ext cx="9180512" cy="5164038"/>
          </a:xfrm>
          <a:prstGeom prst="rect">
            <a:avLst/>
          </a:prstGeom>
        </p:spPr>
      </p:pic>
      <p:pic>
        <p:nvPicPr>
          <p:cNvPr id="4" name="Picture 3">
            <a:extLst>
              <a:ext uri="{FF2B5EF4-FFF2-40B4-BE49-F238E27FC236}">
                <a16:creationId xmlns:a16="http://schemas.microsoft.com/office/drawing/2014/main" id="{F1689B57-8BAA-BF42-B648-10782572357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804248" y="4443958"/>
            <a:ext cx="2088034" cy="397877"/>
          </a:xfrm>
          <a:prstGeom prst="rect">
            <a:avLst/>
          </a:prstGeom>
        </p:spPr>
      </p:pic>
      <p:sp>
        <p:nvSpPr>
          <p:cNvPr id="53" name="Freeform 29">
            <a:extLst>
              <a:ext uri="{FF2B5EF4-FFF2-40B4-BE49-F238E27FC236}">
                <a16:creationId xmlns:a16="http://schemas.microsoft.com/office/drawing/2014/main" id="{72F12E7F-4413-244A-830A-CC060AC20C68}"/>
              </a:ext>
            </a:extLst>
          </p:cNvPr>
          <p:cNvSpPr>
            <a:spLocks noEditPoints="1"/>
          </p:cNvSpPr>
          <p:nvPr userDrawn="1"/>
        </p:nvSpPr>
        <p:spPr bwMode="auto">
          <a:xfrm>
            <a:off x="703263" y="627063"/>
            <a:ext cx="657225" cy="898525"/>
          </a:xfrm>
          <a:custGeom>
            <a:avLst/>
            <a:gdLst>
              <a:gd name="T0" fmla="*/ 3944 w 4973"/>
              <a:gd name="T1" fmla="*/ 6352 h 6792"/>
              <a:gd name="T2" fmla="*/ 1694 w 4973"/>
              <a:gd name="T3" fmla="*/ 6143 h 6792"/>
              <a:gd name="T4" fmla="*/ 2984 w 4973"/>
              <a:gd name="T5" fmla="*/ 3784 h 6792"/>
              <a:gd name="T6" fmla="*/ 2316 w 4973"/>
              <a:gd name="T7" fmla="*/ 4454 h 6792"/>
              <a:gd name="T8" fmla="*/ 1155 w 4973"/>
              <a:gd name="T9" fmla="*/ 4705 h 6792"/>
              <a:gd name="T10" fmla="*/ 1077 w 4973"/>
              <a:gd name="T11" fmla="*/ 4988 h 6792"/>
              <a:gd name="T12" fmla="*/ 910 w 4973"/>
              <a:gd name="T13" fmla="*/ 5245 h 6792"/>
              <a:gd name="T14" fmla="*/ 961 w 4973"/>
              <a:gd name="T15" fmla="*/ 5618 h 6792"/>
              <a:gd name="T16" fmla="*/ 1600 w 4973"/>
              <a:gd name="T17" fmla="*/ 5369 h 6792"/>
              <a:gd name="T18" fmla="*/ 1886 w 4973"/>
              <a:gd name="T19" fmla="*/ 5421 h 6792"/>
              <a:gd name="T20" fmla="*/ 2617 w 4973"/>
              <a:gd name="T21" fmla="*/ 5123 h 6792"/>
              <a:gd name="T22" fmla="*/ 2857 w 4973"/>
              <a:gd name="T23" fmla="*/ 4678 h 6792"/>
              <a:gd name="T24" fmla="*/ 489 w 4973"/>
              <a:gd name="T25" fmla="*/ 5877 h 6792"/>
              <a:gd name="T26" fmla="*/ 1233 w 4973"/>
              <a:gd name="T27" fmla="*/ 6668 h 6792"/>
              <a:gd name="T28" fmla="*/ 1527 w 4973"/>
              <a:gd name="T29" fmla="*/ 5749 h 6792"/>
              <a:gd name="T30" fmla="*/ 927 w 4973"/>
              <a:gd name="T31" fmla="*/ 5758 h 6792"/>
              <a:gd name="T32" fmla="*/ 429 w 4973"/>
              <a:gd name="T33" fmla="*/ 621 h 6792"/>
              <a:gd name="T34" fmla="*/ 914 w 4973"/>
              <a:gd name="T35" fmla="*/ 547 h 6792"/>
              <a:gd name="T36" fmla="*/ 829 w 4973"/>
              <a:gd name="T37" fmla="*/ 957 h 6792"/>
              <a:gd name="T38" fmla="*/ 1232 w 4973"/>
              <a:gd name="T39" fmla="*/ 762 h 6792"/>
              <a:gd name="T40" fmla="*/ 780 w 4973"/>
              <a:gd name="T41" fmla="*/ 1976 h 6792"/>
              <a:gd name="T42" fmla="*/ 1297 w 4973"/>
              <a:gd name="T43" fmla="*/ 319 h 6792"/>
              <a:gd name="T44" fmla="*/ 1481 w 4973"/>
              <a:gd name="T45" fmla="*/ 731 h 6792"/>
              <a:gd name="T46" fmla="*/ 3458 w 4973"/>
              <a:gd name="T47" fmla="*/ 480 h 6792"/>
              <a:gd name="T48" fmla="*/ 3084 w 4973"/>
              <a:gd name="T49" fmla="*/ 643 h 6792"/>
              <a:gd name="T50" fmla="*/ 2947 w 4973"/>
              <a:gd name="T51" fmla="*/ 214 h 6792"/>
              <a:gd name="T52" fmla="*/ 2541 w 4973"/>
              <a:gd name="T53" fmla="*/ 417 h 6792"/>
              <a:gd name="T54" fmla="*/ 2413 w 4973"/>
              <a:gd name="T55" fmla="*/ 28 h 6792"/>
              <a:gd name="T56" fmla="*/ 3900 w 4973"/>
              <a:gd name="T57" fmla="*/ 1991 h 6792"/>
              <a:gd name="T58" fmla="*/ 4172 w 4973"/>
              <a:gd name="T59" fmla="*/ 1335 h 6792"/>
              <a:gd name="T60" fmla="*/ 3970 w 4973"/>
              <a:gd name="T61" fmla="*/ 3382 h 6792"/>
              <a:gd name="T62" fmla="*/ 4830 w 4973"/>
              <a:gd name="T63" fmla="*/ 2682 h 6792"/>
              <a:gd name="T64" fmla="*/ 4551 w 4973"/>
              <a:gd name="T65" fmla="*/ 1246 h 6792"/>
              <a:gd name="T66" fmla="*/ 3641 w 4973"/>
              <a:gd name="T67" fmla="*/ 1994 h 6792"/>
              <a:gd name="T68" fmla="*/ 3910 w 4973"/>
              <a:gd name="T69" fmla="*/ 2958 h 6792"/>
              <a:gd name="T70" fmla="*/ 4286 w 4973"/>
              <a:gd name="T71" fmla="*/ 2402 h 6792"/>
              <a:gd name="T72" fmla="*/ 3965 w 4973"/>
              <a:gd name="T73" fmla="*/ 3379 h 6792"/>
              <a:gd name="T74" fmla="*/ 3169 w 4973"/>
              <a:gd name="T75" fmla="*/ 2142 h 6792"/>
              <a:gd name="T76" fmla="*/ 3399 w 4973"/>
              <a:gd name="T77" fmla="*/ 1285 h 6792"/>
              <a:gd name="T78" fmla="*/ 2604 w 4973"/>
              <a:gd name="T79" fmla="*/ 769 h 6792"/>
              <a:gd name="T80" fmla="*/ 2052 w 4973"/>
              <a:gd name="T81" fmla="*/ 1359 h 6792"/>
              <a:gd name="T82" fmla="*/ 1664 w 4973"/>
              <a:gd name="T83" fmla="*/ 1597 h 6792"/>
              <a:gd name="T84" fmla="*/ 2105 w 4973"/>
              <a:gd name="T85" fmla="*/ 1550 h 6792"/>
              <a:gd name="T86" fmla="*/ 1945 w 4973"/>
              <a:gd name="T87" fmla="*/ 1849 h 6792"/>
              <a:gd name="T88" fmla="*/ 1151 w 4973"/>
              <a:gd name="T89" fmla="*/ 2851 h 6792"/>
              <a:gd name="T90" fmla="*/ 331 w 4973"/>
              <a:gd name="T91" fmla="*/ 2774 h 6792"/>
              <a:gd name="T92" fmla="*/ 150 w 4973"/>
              <a:gd name="T93" fmla="*/ 2974 h 6792"/>
              <a:gd name="T94" fmla="*/ 554 w 4973"/>
              <a:gd name="T95" fmla="*/ 3191 h 6792"/>
              <a:gd name="T96" fmla="*/ 489 w 4973"/>
              <a:gd name="T97" fmla="*/ 3468 h 6792"/>
              <a:gd name="T98" fmla="*/ 935 w 4973"/>
              <a:gd name="T99" fmla="*/ 3451 h 6792"/>
              <a:gd name="T100" fmla="*/ 1725 w 4973"/>
              <a:gd name="T101" fmla="*/ 2972 h 6792"/>
              <a:gd name="T102" fmla="*/ 3397 w 4973"/>
              <a:gd name="T103" fmla="*/ 3673 h 6792"/>
              <a:gd name="T104" fmla="*/ 3711 w 4973"/>
              <a:gd name="T105" fmla="*/ 4812 h 6792"/>
              <a:gd name="T106" fmla="*/ 4356 w 4973"/>
              <a:gd name="T107" fmla="*/ 5526 h 6792"/>
              <a:gd name="T108" fmla="*/ 3835 w 4973"/>
              <a:gd name="T109" fmla="*/ 5815 h 6792"/>
              <a:gd name="T110" fmla="*/ 3750 w 4973"/>
              <a:gd name="T111" fmla="*/ 6147 h 6792"/>
              <a:gd name="T112" fmla="*/ 4262 w 4973"/>
              <a:gd name="T113" fmla="*/ 6036 h 6792"/>
              <a:gd name="T114" fmla="*/ 4324 w 4973"/>
              <a:gd name="T115" fmla="*/ 6374 h 6792"/>
              <a:gd name="T116" fmla="*/ 4692 w 4973"/>
              <a:gd name="T117" fmla="*/ 6210 h 6792"/>
              <a:gd name="T118" fmla="*/ 4659 w 4973"/>
              <a:gd name="T119" fmla="*/ 5487 h 6792"/>
              <a:gd name="T120" fmla="*/ 4786 w 4973"/>
              <a:gd name="T121" fmla="*/ 4785 h 6792"/>
              <a:gd name="T122" fmla="*/ 4362 w 4973"/>
              <a:gd name="T123" fmla="*/ 4115 h 6792"/>
              <a:gd name="T124" fmla="*/ 4803 w 4973"/>
              <a:gd name="T125" fmla="*/ 3237 h 6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973" h="6792">
                <a:moveTo>
                  <a:pt x="1358" y="6333"/>
                </a:moveTo>
                <a:lnTo>
                  <a:pt x="1358" y="6333"/>
                </a:lnTo>
                <a:lnTo>
                  <a:pt x="1445" y="6392"/>
                </a:lnTo>
                <a:lnTo>
                  <a:pt x="1485" y="6418"/>
                </a:lnTo>
                <a:lnTo>
                  <a:pt x="1524" y="6443"/>
                </a:lnTo>
                <a:lnTo>
                  <a:pt x="1561" y="6466"/>
                </a:lnTo>
                <a:lnTo>
                  <a:pt x="1599" y="6487"/>
                </a:lnTo>
                <a:lnTo>
                  <a:pt x="1638" y="6509"/>
                </a:lnTo>
                <a:lnTo>
                  <a:pt x="1677" y="6528"/>
                </a:lnTo>
                <a:lnTo>
                  <a:pt x="1677" y="6528"/>
                </a:lnTo>
                <a:lnTo>
                  <a:pt x="1730" y="6553"/>
                </a:lnTo>
                <a:lnTo>
                  <a:pt x="1788" y="6578"/>
                </a:lnTo>
                <a:lnTo>
                  <a:pt x="1853" y="6605"/>
                </a:lnTo>
                <a:lnTo>
                  <a:pt x="1923" y="6630"/>
                </a:lnTo>
                <a:lnTo>
                  <a:pt x="1961" y="6644"/>
                </a:lnTo>
                <a:lnTo>
                  <a:pt x="2000" y="6656"/>
                </a:lnTo>
                <a:lnTo>
                  <a:pt x="2040" y="6669"/>
                </a:lnTo>
                <a:lnTo>
                  <a:pt x="2082" y="6682"/>
                </a:lnTo>
                <a:lnTo>
                  <a:pt x="2125" y="6693"/>
                </a:lnTo>
                <a:lnTo>
                  <a:pt x="2169" y="6704"/>
                </a:lnTo>
                <a:lnTo>
                  <a:pt x="2215" y="6715"/>
                </a:lnTo>
                <a:lnTo>
                  <a:pt x="2261" y="6726"/>
                </a:lnTo>
                <a:lnTo>
                  <a:pt x="2310" y="6736"/>
                </a:lnTo>
                <a:lnTo>
                  <a:pt x="2359" y="6745"/>
                </a:lnTo>
                <a:lnTo>
                  <a:pt x="2410" y="6754"/>
                </a:lnTo>
                <a:lnTo>
                  <a:pt x="2462" y="6762"/>
                </a:lnTo>
                <a:lnTo>
                  <a:pt x="2515" y="6768"/>
                </a:lnTo>
                <a:lnTo>
                  <a:pt x="2570" y="6776"/>
                </a:lnTo>
                <a:lnTo>
                  <a:pt x="2625" y="6781"/>
                </a:lnTo>
                <a:lnTo>
                  <a:pt x="2682" y="6785"/>
                </a:lnTo>
                <a:lnTo>
                  <a:pt x="2740" y="6788"/>
                </a:lnTo>
                <a:lnTo>
                  <a:pt x="2800" y="6790"/>
                </a:lnTo>
                <a:lnTo>
                  <a:pt x="2860" y="6792"/>
                </a:lnTo>
                <a:lnTo>
                  <a:pt x="2921" y="6791"/>
                </a:lnTo>
                <a:lnTo>
                  <a:pt x="2984" y="6790"/>
                </a:lnTo>
                <a:lnTo>
                  <a:pt x="3047" y="6787"/>
                </a:lnTo>
                <a:lnTo>
                  <a:pt x="3112" y="6783"/>
                </a:lnTo>
                <a:lnTo>
                  <a:pt x="3177" y="6778"/>
                </a:lnTo>
                <a:lnTo>
                  <a:pt x="3177" y="6778"/>
                </a:lnTo>
                <a:lnTo>
                  <a:pt x="3239" y="6772"/>
                </a:lnTo>
                <a:lnTo>
                  <a:pt x="3299" y="6763"/>
                </a:lnTo>
                <a:lnTo>
                  <a:pt x="3357" y="6755"/>
                </a:lnTo>
                <a:lnTo>
                  <a:pt x="3412" y="6746"/>
                </a:lnTo>
                <a:lnTo>
                  <a:pt x="3466" y="6737"/>
                </a:lnTo>
                <a:lnTo>
                  <a:pt x="3517" y="6727"/>
                </a:lnTo>
                <a:lnTo>
                  <a:pt x="3567" y="6715"/>
                </a:lnTo>
                <a:lnTo>
                  <a:pt x="3615" y="6704"/>
                </a:lnTo>
                <a:lnTo>
                  <a:pt x="3660" y="6692"/>
                </a:lnTo>
                <a:lnTo>
                  <a:pt x="3704" y="6680"/>
                </a:lnTo>
                <a:lnTo>
                  <a:pt x="3745" y="6667"/>
                </a:lnTo>
                <a:lnTo>
                  <a:pt x="3784" y="6654"/>
                </a:lnTo>
                <a:lnTo>
                  <a:pt x="3822" y="6642"/>
                </a:lnTo>
                <a:lnTo>
                  <a:pt x="3858" y="6628"/>
                </a:lnTo>
                <a:lnTo>
                  <a:pt x="3891" y="6615"/>
                </a:lnTo>
                <a:lnTo>
                  <a:pt x="3922" y="6603"/>
                </a:lnTo>
                <a:lnTo>
                  <a:pt x="3980" y="6577"/>
                </a:lnTo>
                <a:lnTo>
                  <a:pt x="4030" y="6554"/>
                </a:lnTo>
                <a:lnTo>
                  <a:pt x="4071" y="6532"/>
                </a:lnTo>
                <a:lnTo>
                  <a:pt x="4105" y="6514"/>
                </a:lnTo>
                <a:lnTo>
                  <a:pt x="4131" y="6498"/>
                </a:lnTo>
                <a:lnTo>
                  <a:pt x="4150" y="6485"/>
                </a:lnTo>
                <a:lnTo>
                  <a:pt x="4165" y="6475"/>
                </a:lnTo>
                <a:lnTo>
                  <a:pt x="4165" y="6475"/>
                </a:lnTo>
                <a:lnTo>
                  <a:pt x="4144" y="6468"/>
                </a:lnTo>
                <a:lnTo>
                  <a:pt x="4124" y="6459"/>
                </a:lnTo>
                <a:lnTo>
                  <a:pt x="4103" y="6451"/>
                </a:lnTo>
                <a:lnTo>
                  <a:pt x="4084" y="6440"/>
                </a:lnTo>
                <a:lnTo>
                  <a:pt x="4064" y="6431"/>
                </a:lnTo>
                <a:lnTo>
                  <a:pt x="4046" y="6421"/>
                </a:lnTo>
                <a:lnTo>
                  <a:pt x="4009" y="6398"/>
                </a:lnTo>
                <a:lnTo>
                  <a:pt x="3976" y="6376"/>
                </a:lnTo>
                <a:lnTo>
                  <a:pt x="3944" y="6352"/>
                </a:lnTo>
                <a:lnTo>
                  <a:pt x="3914" y="6329"/>
                </a:lnTo>
                <a:lnTo>
                  <a:pt x="3887" y="6305"/>
                </a:lnTo>
                <a:lnTo>
                  <a:pt x="3887" y="6305"/>
                </a:lnTo>
                <a:lnTo>
                  <a:pt x="3882" y="6315"/>
                </a:lnTo>
                <a:lnTo>
                  <a:pt x="3879" y="6328"/>
                </a:lnTo>
                <a:lnTo>
                  <a:pt x="3876" y="6343"/>
                </a:lnTo>
                <a:lnTo>
                  <a:pt x="3873" y="6361"/>
                </a:lnTo>
                <a:lnTo>
                  <a:pt x="3873" y="6361"/>
                </a:lnTo>
                <a:lnTo>
                  <a:pt x="3865" y="6430"/>
                </a:lnTo>
                <a:lnTo>
                  <a:pt x="3861" y="6463"/>
                </a:lnTo>
                <a:lnTo>
                  <a:pt x="3861" y="6463"/>
                </a:lnTo>
                <a:lnTo>
                  <a:pt x="3857" y="6462"/>
                </a:lnTo>
                <a:lnTo>
                  <a:pt x="3847" y="6459"/>
                </a:lnTo>
                <a:lnTo>
                  <a:pt x="3828" y="6452"/>
                </a:lnTo>
                <a:lnTo>
                  <a:pt x="3801" y="6440"/>
                </a:lnTo>
                <a:lnTo>
                  <a:pt x="3801" y="6440"/>
                </a:lnTo>
                <a:lnTo>
                  <a:pt x="3791" y="6436"/>
                </a:lnTo>
                <a:lnTo>
                  <a:pt x="3781" y="6430"/>
                </a:lnTo>
                <a:lnTo>
                  <a:pt x="3771" y="6423"/>
                </a:lnTo>
                <a:lnTo>
                  <a:pt x="3761" y="6415"/>
                </a:lnTo>
                <a:lnTo>
                  <a:pt x="3750" y="6406"/>
                </a:lnTo>
                <a:lnTo>
                  <a:pt x="3739" y="6396"/>
                </a:lnTo>
                <a:lnTo>
                  <a:pt x="3729" y="6385"/>
                </a:lnTo>
                <a:lnTo>
                  <a:pt x="3719" y="6373"/>
                </a:lnTo>
                <a:lnTo>
                  <a:pt x="3709" y="6361"/>
                </a:lnTo>
                <a:lnTo>
                  <a:pt x="3700" y="6346"/>
                </a:lnTo>
                <a:lnTo>
                  <a:pt x="3692" y="6332"/>
                </a:lnTo>
                <a:lnTo>
                  <a:pt x="3684" y="6317"/>
                </a:lnTo>
                <a:lnTo>
                  <a:pt x="3678" y="6300"/>
                </a:lnTo>
                <a:lnTo>
                  <a:pt x="3674" y="6284"/>
                </a:lnTo>
                <a:lnTo>
                  <a:pt x="3670" y="6265"/>
                </a:lnTo>
                <a:lnTo>
                  <a:pt x="3668" y="6248"/>
                </a:lnTo>
                <a:lnTo>
                  <a:pt x="3668" y="6248"/>
                </a:lnTo>
                <a:lnTo>
                  <a:pt x="3667" y="6223"/>
                </a:lnTo>
                <a:lnTo>
                  <a:pt x="3667" y="6223"/>
                </a:lnTo>
                <a:lnTo>
                  <a:pt x="3610" y="6244"/>
                </a:lnTo>
                <a:lnTo>
                  <a:pt x="3544" y="6267"/>
                </a:lnTo>
                <a:lnTo>
                  <a:pt x="3507" y="6280"/>
                </a:lnTo>
                <a:lnTo>
                  <a:pt x="3468" y="6292"/>
                </a:lnTo>
                <a:lnTo>
                  <a:pt x="3427" y="6303"/>
                </a:lnTo>
                <a:lnTo>
                  <a:pt x="3386" y="6315"/>
                </a:lnTo>
                <a:lnTo>
                  <a:pt x="3342" y="6326"/>
                </a:lnTo>
                <a:lnTo>
                  <a:pt x="3296" y="6335"/>
                </a:lnTo>
                <a:lnTo>
                  <a:pt x="3250" y="6344"/>
                </a:lnTo>
                <a:lnTo>
                  <a:pt x="3201" y="6352"/>
                </a:lnTo>
                <a:lnTo>
                  <a:pt x="3153" y="6360"/>
                </a:lnTo>
                <a:lnTo>
                  <a:pt x="3104" y="6365"/>
                </a:lnTo>
                <a:lnTo>
                  <a:pt x="3055" y="6368"/>
                </a:lnTo>
                <a:lnTo>
                  <a:pt x="3005" y="6370"/>
                </a:lnTo>
                <a:lnTo>
                  <a:pt x="3005" y="6370"/>
                </a:lnTo>
                <a:lnTo>
                  <a:pt x="2916" y="6371"/>
                </a:lnTo>
                <a:lnTo>
                  <a:pt x="2828" y="6370"/>
                </a:lnTo>
                <a:lnTo>
                  <a:pt x="2740" y="6366"/>
                </a:lnTo>
                <a:lnTo>
                  <a:pt x="2651" y="6361"/>
                </a:lnTo>
                <a:lnTo>
                  <a:pt x="2563" y="6353"/>
                </a:lnTo>
                <a:lnTo>
                  <a:pt x="2476" y="6343"/>
                </a:lnTo>
                <a:lnTo>
                  <a:pt x="2388" y="6331"/>
                </a:lnTo>
                <a:lnTo>
                  <a:pt x="2301" y="6317"/>
                </a:lnTo>
                <a:lnTo>
                  <a:pt x="2257" y="6308"/>
                </a:lnTo>
                <a:lnTo>
                  <a:pt x="2213" y="6300"/>
                </a:lnTo>
                <a:lnTo>
                  <a:pt x="2170" y="6290"/>
                </a:lnTo>
                <a:lnTo>
                  <a:pt x="2126" y="6280"/>
                </a:lnTo>
                <a:lnTo>
                  <a:pt x="2083" y="6270"/>
                </a:lnTo>
                <a:lnTo>
                  <a:pt x="2039" y="6258"/>
                </a:lnTo>
                <a:lnTo>
                  <a:pt x="1996" y="6246"/>
                </a:lnTo>
                <a:lnTo>
                  <a:pt x="1952" y="6234"/>
                </a:lnTo>
                <a:lnTo>
                  <a:pt x="1909" y="6220"/>
                </a:lnTo>
                <a:lnTo>
                  <a:pt x="1866" y="6206"/>
                </a:lnTo>
                <a:lnTo>
                  <a:pt x="1823" y="6192"/>
                </a:lnTo>
                <a:lnTo>
                  <a:pt x="1780" y="6176"/>
                </a:lnTo>
                <a:lnTo>
                  <a:pt x="1737" y="6160"/>
                </a:lnTo>
                <a:lnTo>
                  <a:pt x="1694" y="6143"/>
                </a:lnTo>
                <a:lnTo>
                  <a:pt x="1652" y="6125"/>
                </a:lnTo>
                <a:lnTo>
                  <a:pt x="1609" y="6107"/>
                </a:lnTo>
                <a:lnTo>
                  <a:pt x="1609" y="6107"/>
                </a:lnTo>
                <a:lnTo>
                  <a:pt x="1523" y="6068"/>
                </a:lnTo>
                <a:lnTo>
                  <a:pt x="1480" y="6049"/>
                </a:lnTo>
                <a:lnTo>
                  <a:pt x="1480" y="6049"/>
                </a:lnTo>
                <a:lnTo>
                  <a:pt x="1479" y="6052"/>
                </a:lnTo>
                <a:lnTo>
                  <a:pt x="1477" y="6061"/>
                </a:lnTo>
                <a:lnTo>
                  <a:pt x="1477" y="6068"/>
                </a:lnTo>
                <a:lnTo>
                  <a:pt x="1477" y="6077"/>
                </a:lnTo>
                <a:lnTo>
                  <a:pt x="1477" y="6088"/>
                </a:lnTo>
                <a:lnTo>
                  <a:pt x="1479" y="6100"/>
                </a:lnTo>
                <a:lnTo>
                  <a:pt x="1483" y="6113"/>
                </a:lnTo>
                <a:lnTo>
                  <a:pt x="1487" y="6128"/>
                </a:lnTo>
                <a:lnTo>
                  <a:pt x="1494" y="6145"/>
                </a:lnTo>
                <a:lnTo>
                  <a:pt x="1503" y="6163"/>
                </a:lnTo>
                <a:lnTo>
                  <a:pt x="1514" y="6184"/>
                </a:lnTo>
                <a:lnTo>
                  <a:pt x="1529" y="6205"/>
                </a:lnTo>
                <a:lnTo>
                  <a:pt x="1545" y="6229"/>
                </a:lnTo>
                <a:lnTo>
                  <a:pt x="1565" y="6253"/>
                </a:lnTo>
                <a:lnTo>
                  <a:pt x="1565" y="6253"/>
                </a:lnTo>
                <a:lnTo>
                  <a:pt x="1547" y="6250"/>
                </a:lnTo>
                <a:lnTo>
                  <a:pt x="1528" y="6248"/>
                </a:lnTo>
                <a:lnTo>
                  <a:pt x="1509" y="6248"/>
                </a:lnTo>
                <a:lnTo>
                  <a:pt x="1490" y="6248"/>
                </a:lnTo>
                <a:lnTo>
                  <a:pt x="1472" y="6250"/>
                </a:lnTo>
                <a:lnTo>
                  <a:pt x="1456" y="6253"/>
                </a:lnTo>
                <a:lnTo>
                  <a:pt x="1441" y="6258"/>
                </a:lnTo>
                <a:lnTo>
                  <a:pt x="1427" y="6264"/>
                </a:lnTo>
                <a:lnTo>
                  <a:pt x="1427" y="6264"/>
                </a:lnTo>
                <a:lnTo>
                  <a:pt x="1413" y="6273"/>
                </a:lnTo>
                <a:lnTo>
                  <a:pt x="1400" y="6283"/>
                </a:lnTo>
                <a:lnTo>
                  <a:pt x="1390" y="6293"/>
                </a:lnTo>
                <a:lnTo>
                  <a:pt x="1379" y="6302"/>
                </a:lnTo>
                <a:lnTo>
                  <a:pt x="1371" y="6311"/>
                </a:lnTo>
                <a:lnTo>
                  <a:pt x="1365" y="6321"/>
                </a:lnTo>
                <a:lnTo>
                  <a:pt x="1358" y="6333"/>
                </a:lnTo>
                <a:close/>
                <a:moveTo>
                  <a:pt x="3487" y="3933"/>
                </a:moveTo>
                <a:lnTo>
                  <a:pt x="3487" y="3933"/>
                </a:lnTo>
                <a:lnTo>
                  <a:pt x="3470" y="3920"/>
                </a:lnTo>
                <a:lnTo>
                  <a:pt x="3453" y="3908"/>
                </a:lnTo>
                <a:lnTo>
                  <a:pt x="3436" y="3895"/>
                </a:lnTo>
                <a:lnTo>
                  <a:pt x="3418" y="3884"/>
                </a:lnTo>
                <a:lnTo>
                  <a:pt x="3383" y="3865"/>
                </a:lnTo>
                <a:lnTo>
                  <a:pt x="3349" y="3846"/>
                </a:lnTo>
                <a:lnTo>
                  <a:pt x="3314" y="3829"/>
                </a:lnTo>
                <a:lnTo>
                  <a:pt x="3281" y="3814"/>
                </a:lnTo>
                <a:lnTo>
                  <a:pt x="3250" y="3799"/>
                </a:lnTo>
                <a:lnTo>
                  <a:pt x="3219" y="3784"/>
                </a:lnTo>
                <a:lnTo>
                  <a:pt x="3219" y="3784"/>
                </a:lnTo>
                <a:lnTo>
                  <a:pt x="3235" y="3774"/>
                </a:lnTo>
                <a:lnTo>
                  <a:pt x="3251" y="3763"/>
                </a:lnTo>
                <a:lnTo>
                  <a:pt x="3268" y="3749"/>
                </a:lnTo>
                <a:lnTo>
                  <a:pt x="3284" y="3735"/>
                </a:lnTo>
                <a:lnTo>
                  <a:pt x="3298" y="3722"/>
                </a:lnTo>
                <a:lnTo>
                  <a:pt x="3302" y="3716"/>
                </a:lnTo>
                <a:lnTo>
                  <a:pt x="3305" y="3711"/>
                </a:lnTo>
                <a:lnTo>
                  <a:pt x="3305" y="3707"/>
                </a:lnTo>
                <a:lnTo>
                  <a:pt x="3305" y="3705"/>
                </a:lnTo>
                <a:lnTo>
                  <a:pt x="3303" y="3704"/>
                </a:lnTo>
                <a:lnTo>
                  <a:pt x="3303" y="3704"/>
                </a:lnTo>
                <a:lnTo>
                  <a:pt x="3290" y="3697"/>
                </a:lnTo>
                <a:lnTo>
                  <a:pt x="3278" y="3691"/>
                </a:lnTo>
                <a:lnTo>
                  <a:pt x="3266" y="3687"/>
                </a:lnTo>
                <a:lnTo>
                  <a:pt x="3255" y="3685"/>
                </a:lnTo>
                <a:lnTo>
                  <a:pt x="3236" y="3682"/>
                </a:lnTo>
                <a:lnTo>
                  <a:pt x="3229" y="3681"/>
                </a:lnTo>
                <a:lnTo>
                  <a:pt x="3229" y="3681"/>
                </a:lnTo>
                <a:lnTo>
                  <a:pt x="3168" y="3705"/>
                </a:lnTo>
                <a:lnTo>
                  <a:pt x="3105" y="3731"/>
                </a:lnTo>
                <a:lnTo>
                  <a:pt x="3045" y="3757"/>
                </a:lnTo>
                <a:lnTo>
                  <a:pt x="2984" y="3784"/>
                </a:lnTo>
                <a:lnTo>
                  <a:pt x="2924" y="3813"/>
                </a:lnTo>
                <a:lnTo>
                  <a:pt x="2866" y="3841"/>
                </a:lnTo>
                <a:lnTo>
                  <a:pt x="2809" y="3870"/>
                </a:lnTo>
                <a:lnTo>
                  <a:pt x="2754" y="3900"/>
                </a:lnTo>
                <a:lnTo>
                  <a:pt x="2700" y="3928"/>
                </a:lnTo>
                <a:lnTo>
                  <a:pt x="2649" y="3957"/>
                </a:lnTo>
                <a:lnTo>
                  <a:pt x="2600" y="3984"/>
                </a:lnTo>
                <a:lnTo>
                  <a:pt x="2553" y="4012"/>
                </a:lnTo>
                <a:lnTo>
                  <a:pt x="2510" y="4039"/>
                </a:lnTo>
                <a:lnTo>
                  <a:pt x="2469" y="4064"/>
                </a:lnTo>
                <a:lnTo>
                  <a:pt x="2433" y="4088"/>
                </a:lnTo>
                <a:lnTo>
                  <a:pt x="2399" y="4110"/>
                </a:lnTo>
                <a:lnTo>
                  <a:pt x="2399" y="4110"/>
                </a:lnTo>
                <a:lnTo>
                  <a:pt x="2394" y="4113"/>
                </a:lnTo>
                <a:lnTo>
                  <a:pt x="2394" y="4113"/>
                </a:lnTo>
                <a:lnTo>
                  <a:pt x="2382" y="4120"/>
                </a:lnTo>
                <a:lnTo>
                  <a:pt x="2371" y="4127"/>
                </a:lnTo>
                <a:lnTo>
                  <a:pt x="2360" y="4132"/>
                </a:lnTo>
                <a:lnTo>
                  <a:pt x="2348" y="4136"/>
                </a:lnTo>
                <a:lnTo>
                  <a:pt x="2336" y="4139"/>
                </a:lnTo>
                <a:lnTo>
                  <a:pt x="2325" y="4142"/>
                </a:lnTo>
                <a:lnTo>
                  <a:pt x="2313" y="4143"/>
                </a:lnTo>
                <a:lnTo>
                  <a:pt x="2302" y="4144"/>
                </a:lnTo>
                <a:lnTo>
                  <a:pt x="2278" y="4145"/>
                </a:lnTo>
                <a:lnTo>
                  <a:pt x="2256" y="4143"/>
                </a:lnTo>
                <a:lnTo>
                  <a:pt x="2233" y="4140"/>
                </a:lnTo>
                <a:lnTo>
                  <a:pt x="2213" y="4135"/>
                </a:lnTo>
                <a:lnTo>
                  <a:pt x="2193" y="4130"/>
                </a:lnTo>
                <a:lnTo>
                  <a:pt x="2176" y="4123"/>
                </a:lnTo>
                <a:lnTo>
                  <a:pt x="2161" y="4117"/>
                </a:lnTo>
                <a:lnTo>
                  <a:pt x="2146" y="4111"/>
                </a:lnTo>
                <a:lnTo>
                  <a:pt x="2127" y="4101"/>
                </a:lnTo>
                <a:lnTo>
                  <a:pt x="2121" y="4097"/>
                </a:lnTo>
                <a:lnTo>
                  <a:pt x="2100" y="4225"/>
                </a:lnTo>
                <a:lnTo>
                  <a:pt x="2100" y="4225"/>
                </a:lnTo>
                <a:lnTo>
                  <a:pt x="2123" y="4238"/>
                </a:lnTo>
                <a:lnTo>
                  <a:pt x="2144" y="4249"/>
                </a:lnTo>
                <a:lnTo>
                  <a:pt x="2165" y="4258"/>
                </a:lnTo>
                <a:lnTo>
                  <a:pt x="2182" y="4267"/>
                </a:lnTo>
                <a:lnTo>
                  <a:pt x="2198" y="4273"/>
                </a:lnTo>
                <a:lnTo>
                  <a:pt x="2214" y="4277"/>
                </a:lnTo>
                <a:lnTo>
                  <a:pt x="2227" y="4281"/>
                </a:lnTo>
                <a:lnTo>
                  <a:pt x="2238" y="4283"/>
                </a:lnTo>
                <a:lnTo>
                  <a:pt x="2238" y="4283"/>
                </a:lnTo>
                <a:lnTo>
                  <a:pt x="2219" y="4287"/>
                </a:lnTo>
                <a:lnTo>
                  <a:pt x="2198" y="4292"/>
                </a:lnTo>
                <a:lnTo>
                  <a:pt x="2178" y="4298"/>
                </a:lnTo>
                <a:lnTo>
                  <a:pt x="2156" y="4306"/>
                </a:lnTo>
                <a:lnTo>
                  <a:pt x="2137" y="4315"/>
                </a:lnTo>
                <a:lnTo>
                  <a:pt x="2119" y="4326"/>
                </a:lnTo>
                <a:lnTo>
                  <a:pt x="2109" y="4331"/>
                </a:lnTo>
                <a:lnTo>
                  <a:pt x="2101" y="4337"/>
                </a:lnTo>
                <a:lnTo>
                  <a:pt x="2094" y="4344"/>
                </a:lnTo>
                <a:lnTo>
                  <a:pt x="2088" y="4351"/>
                </a:lnTo>
                <a:lnTo>
                  <a:pt x="2132" y="4469"/>
                </a:lnTo>
                <a:lnTo>
                  <a:pt x="2132" y="4469"/>
                </a:lnTo>
                <a:lnTo>
                  <a:pt x="2144" y="4460"/>
                </a:lnTo>
                <a:lnTo>
                  <a:pt x="2160" y="4451"/>
                </a:lnTo>
                <a:lnTo>
                  <a:pt x="2181" y="4439"/>
                </a:lnTo>
                <a:lnTo>
                  <a:pt x="2193" y="4434"/>
                </a:lnTo>
                <a:lnTo>
                  <a:pt x="2207" y="4429"/>
                </a:lnTo>
                <a:lnTo>
                  <a:pt x="2222" y="4424"/>
                </a:lnTo>
                <a:lnTo>
                  <a:pt x="2237" y="4419"/>
                </a:lnTo>
                <a:lnTo>
                  <a:pt x="2255" y="4415"/>
                </a:lnTo>
                <a:lnTo>
                  <a:pt x="2273" y="4412"/>
                </a:lnTo>
                <a:lnTo>
                  <a:pt x="2292" y="4410"/>
                </a:lnTo>
                <a:lnTo>
                  <a:pt x="2313" y="4409"/>
                </a:lnTo>
                <a:lnTo>
                  <a:pt x="2313" y="4409"/>
                </a:lnTo>
                <a:lnTo>
                  <a:pt x="2316" y="4425"/>
                </a:lnTo>
                <a:lnTo>
                  <a:pt x="2316" y="4425"/>
                </a:lnTo>
                <a:lnTo>
                  <a:pt x="2316" y="4439"/>
                </a:lnTo>
                <a:lnTo>
                  <a:pt x="2316" y="4454"/>
                </a:lnTo>
                <a:lnTo>
                  <a:pt x="2314" y="4468"/>
                </a:lnTo>
                <a:lnTo>
                  <a:pt x="2311" y="4483"/>
                </a:lnTo>
                <a:lnTo>
                  <a:pt x="2306" y="4499"/>
                </a:lnTo>
                <a:lnTo>
                  <a:pt x="2301" y="4514"/>
                </a:lnTo>
                <a:lnTo>
                  <a:pt x="2293" y="4529"/>
                </a:lnTo>
                <a:lnTo>
                  <a:pt x="2285" y="4545"/>
                </a:lnTo>
                <a:lnTo>
                  <a:pt x="2277" y="4561"/>
                </a:lnTo>
                <a:lnTo>
                  <a:pt x="2267" y="4576"/>
                </a:lnTo>
                <a:lnTo>
                  <a:pt x="2256" y="4593"/>
                </a:lnTo>
                <a:lnTo>
                  <a:pt x="2244" y="4608"/>
                </a:lnTo>
                <a:lnTo>
                  <a:pt x="2231" y="4624"/>
                </a:lnTo>
                <a:lnTo>
                  <a:pt x="2218" y="4640"/>
                </a:lnTo>
                <a:lnTo>
                  <a:pt x="2204" y="4655"/>
                </a:lnTo>
                <a:lnTo>
                  <a:pt x="2189" y="4670"/>
                </a:lnTo>
                <a:lnTo>
                  <a:pt x="2157" y="4701"/>
                </a:lnTo>
                <a:lnTo>
                  <a:pt x="2124" y="4730"/>
                </a:lnTo>
                <a:lnTo>
                  <a:pt x="2088" y="4757"/>
                </a:lnTo>
                <a:lnTo>
                  <a:pt x="2051" y="4783"/>
                </a:lnTo>
                <a:lnTo>
                  <a:pt x="2013" y="4807"/>
                </a:lnTo>
                <a:lnTo>
                  <a:pt x="1975" y="4829"/>
                </a:lnTo>
                <a:lnTo>
                  <a:pt x="1937" y="4848"/>
                </a:lnTo>
                <a:lnTo>
                  <a:pt x="1917" y="4858"/>
                </a:lnTo>
                <a:lnTo>
                  <a:pt x="1899" y="4866"/>
                </a:lnTo>
                <a:lnTo>
                  <a:pt x="1899" y="4866"/>
                </a:lnTo>
                <a:lnTo>
                  <a:pt x="1861" y="4880"/>
                </a:lnTo>
                <a:lnTo>
                  <a:pt x="1823" y="4892"/>
                </a:lnTo>
                <a:lnTo>
                  <a:pt x="1788" y="4904"/>
                </a:lnTo>
                <a:lnTo>
                  <a:pt x="1754" y="4913"/>
                </a:lnTo>
                <a:lnTo>
                  <a:pt x="1721" y="4921"/>
                </a:lnTo>
                <a:lnTo>
                  <a:pt x="1690" y="4927"/>
                </a:lnTo>
                <a:lnTo>
                  <a:pt x="1661" y="4931"/>
                </a:lnTo>
                <a:lnTo>
                  <a:pt x="1633" y="4935"/>
                </a:lnTo>
                <a:lnTo>
                  <a:pt x="1607" y="4937"/>
                </a:lnTo>
                <a:lnTo>
                  <a:pt x="1584" y="4938"/>
                </a:lnTo>
                <a:lnTo>
                  <a:pt x="1562" y="4938"/>
                </a:lnTo>
                <a:lnTo>
                  <a:pt x="1543" y="4937"/>
                </a:lnTo>
                <a:lnTo>
                  <a:pt x="1527" y="4935"/>
                </a:lnTo>
                <a:lnTo>
                  <a:pt x="1513" y="4932"/>
                </a:lnTo>
                <a:lnTo>
                  <a:pt x="1502" y="4928"/>
                </a:lnTo>
                <a:lnTo>
                  <a:pt x="1493" y="4924"/>
                </a:lnTo>
                <a:lnTo>
                  <a:pt x="1493" y="4924"/>
                </a:lnTo>
                <a:lnTo>
                  <a:pt x="1469" y="4908"/>
                </a:lnTo>
                <a:lnTo>
                  <a:pt x="1448" y="4890"/>
                </a:lnTo>
                <a:lnTo>
                  <a:pt x="1429" y="4872"/>
                </a:lnTo>
                <a:lnTo>
                  <a:pt x="1413" y="4853"/>
                </a:lnTo>
                <a:lnTo>
                  <a:pt x="1398" y="4836"/>
                </a:lnTo>
                <a:lnTo>
                  <a:pt x="1384" y="4818"/>
                </a:lnTo>
                <a:lnTo>
                  <a:pt x="1373" y="4800"/>
                </a:lnTo>
                <a:lnTo>
                  <a:pt x="1362" y="4783"/>
                </a:lnTo>
                <a:lnTo>
                  <a:pt x="1343" y="4752"/>
                </a:lnTo>
                <a:lnTo>
                  <a:pt x="1333" y="4738"/>
                </a:lnTo>
                <a:lnTo>
                  <a:pt x="1324" y="4726"/>
                </a:lnTo>
                <a:lnTo>
                  <a:pt x="1315" y="4714"/>
                </a:lnTo>
                <a:lnTo>
                  <a:pt x="1305" y="4706"/>
                </a:lnTo>
                <a:lnTo>
                  <a:pt x="1293" y="4699"/>
                </a:lnTo>
                <a:lnTo>
                  <a:pt x="1287" y="4696"/>
                </a:lnTo>
                <a:lnTo>
                  <a:pt x="1281" y="4694"/>
                </a:lnTo>
                <a:lnTo>
                  <a:pt x="1281" y="4694"/>
                </a:lnTo>
                <a:lnTo>
                  <a:pt x="1277" y="4694"/>
                </a:lnTo>
                <a:lnTo>
                  <a:pt x="1274" y="4694"/>
                </a:lnTo>
                <a:lnTo>
                  <a:pt x="1267" y="4696"/>
                </a:lnTo>
                <a:lnTo>
                  <a:pt x="1260" y="4699"/>
                </a:lnTo>
                <a:lnTo>
                  <a:pt x="1252" y="4703"/>
                </a:lnTo>
                <a:lnTo>
                  <a:pt x="1244" y="4707"/>
                </a:lnTo>
                <a:lnTo>
                  <a:pt x="1235" y="4710"/>
                </a:lnTo>
                <a:lnTo>
                  <a:pt x="1227" y="4712"/>
                </a:lnTo>
                <a:lnTo>
                  <a:pt x="1222" y="4712"/>
                </a:lnTo>
                <a:lnTo>
                  <a:pt x="1217" y="4712"/>
                </a:lnTo>
                <a:lnTo>
                  <a:pt x="1217" y="4712"/>
                </a:lnTo>
                <a:lnTo>
                  <a:pt x="1196" y="4709"/>
                </a:lnTo>
                <a:lnTo>
                  <a:pt x="1176" y="4706"/>
                </a:lnTo>
                <a:lnTo>
                  <a:pt x="1155" y="4705"/>
                </a:lnTo>
                <a:lnTo>
                  <a:pt x="1134" y="4704"/>
                </a:lnTo>
                <a:lnTo>
                  <a:pt x="1114" y="4704"/>
                </a:lnTo>
                <a:lnTo>
                  <a:pt x="1094" y="4706"/>
                </a:lnTo>
                <a:lnTo>
                  <a:pt x="1075" y="4708"/>
                </a:lnTo>
                <a:lnTo>
                  <a:pt x="1055" y="4712"/>
                </a:lnTo>
                <a:lnTo>
                  <a:pt x="1037" y="4716"/>
                </a:lnTo>
                <a:lnTo>
                  <a:pt x="1020" y="4724"/>
                </a:lnTo>
                <a:lnTo>
                  <a:pt x="1004" y="4731"/>
                </a:lnTo>
                <a:lnTo>
                  <a:pt x="990" y="4740"/>
                </a:lnTo>
                <a:lnTo>
                  <a:pt x="976" y="4751"/>
                </a:lnTo>
                <a:lnTo>
                  <a:pt x="970" y="4757"/>
                </a:lnTo>
                <a:lnTo>
                  <a:pt x="964" y="4763"/>
                </a:lnTo>
                <a:lnTo>
                  <a:pt x="959" y="4771"/>
                </a:lnTo>
                <a:lnTo>
                  <a:pt x="955" y="4779"/>
                </a:lnTo>
                <a:lnTo>
                  <a:pt x="951" y="4786"/>
                </a:lnTo>
                <a:lnTo>
                  <a:pt x="947" y="4795"/>
                </a:lnTo>
                <a:lnTo>
                  <a:pt x="947" y="4795"/>
                </a:lnTo>
                <a:lnTo>
                  <a:pt x="985" y="4793"/>
                </a:lnTo>
                <a:lnTo>
                  <a:pt x="1020" y="4792"/>
                </a:lnTo>
                <a:lnTo>
                  <a:pt x="1040" y="4792"/>
                </a:lnTo>
                <a:lnTo>
                  <a:pt x="1059" y="4793"/>
                </a:lnTo>
                <a:lnTo>
                  <a:pt x="1077" y="4794"/>
                </a:lnTo>
                <a:lnTo>
                  <a:pt x="1092" y="4797"/>
                </a:lnTo>
                <a:lnTo>
                  <a:pt x="1105" y="4800"/>
                </a:lnTo>
                <a:lnTo>
                  <a:pt x="1110" y="4802"/>
                </a:lnTo>
                <a:lnTo>
                  <a:pt x="1115" y="4804"/>
                </a:lnTo>
                <a:lnTo>
                  <a:pt x="1117" y="4807"/>
                </a:lnTo>
                <a:lnTo>
                  <a:pt x="1119" y="4811"/>
                </a:lnTo>
                <a:lnTo>
                  <a:pt x="1119" y="4814"/>
                </a:lnTo>
                <a:lnTo>
                  <a:pt x="1117" y="4818"/>
                </a:lnTo>
                <a:lnTo>
                  <a:pt x="1114" y="4822"/>
                </a:lnTo>
                <a:lnTo>
                  <a:pt x="1109" y="4827"/>
                </a:lnTo>
                <a:lnTo>
                  <a:pt x="1102" y="4832"/>
                </a:lnTo>
                <a:lnTo>
                  <a:pt x="1094" y="4837"/>
                </a:lnTo>
                <a:lnTo>
                  <a:pt x="1094" y="4837"/>
                </a:lnTo>
                <a:lnTo>
                  <a:pt x="1085" y="4843"/>
                </a:lnTo>
                <a:lnTo>
                  <a:pt x="1079" y="4849"/>
                </a:lnTo>
                <a:lnTo>
                  <a:pt x="1074" y="4856"/>
                </a:lnTo>
                <a:lnTo>
                  <a:pt x="1072" y="4863"/>
                </a:lnTo>
                <a:lnTo>
                  <a:pt x="1071" y="4870"/>
                </a:lnTo>
                <a:lnTo>
                  <a:pt x="1072" y="4876"/>
                </a:lnTo>
                <a:lnTo>
                  <a:pt x="1074" y="4883"/>
                </a:lnTo>
                <a:lnTo>
                  <a:pt x="1077" y="4890"/>
                </a:lnTo>
                <a:lnTo>
                  <a:pt x="1082" y="4898"/>
                </a:lnTo>
                <a:lnTo>
                  <a:pt x="1088" y="4906"/>
                </a:lnTo>
                <a:lnTo>
                  <a:pt x="1096" y="4913"/>
                </a:lnTo>
                <a:lnTo>
                  <a:pt x="1104" y="4920"/>
                </a:lnTo>
                <a:lnTo>
                  <a:pt x="1124" y="4935"/>
                </a:lnTo>
                <a:lnTo>
                  <a:pt x="1146" y="4951"/>
                </a:lnTo>
                <a:lnTo>
                  <a:pt x="1170" y="4966"/>
                </a:lnTo>
                <a:lnTo>
                  <a:pt x="1195" y="4980"/>
                </a:lnTo>
                <a:lnTo>
                  <a:pt x="1247" y="5008"/>
                </a:lnTo>
                <a:lnTo>
                  <a:pt x="1293" y="5031"/>
                </a:lnTo>
                <a:lnTo>
                  <a:pt x="1313" y="5042"/>
                </a:lnTo>
                <a:lnTo>
                  <a:pt x="1329" y="5051"/>
                </a:lnTo>
                <a:lnTo>
                  <a:pt x="1329" y="5051"/>
                </a:lnTo>
                <a:lnTo>
                  <a:pt x="1336" y="5056"/>
                </a:lnTo>
                <a:lnTo>
                  <a:pt x="1339" y="5060"/>
                </a:lnTo>
                <a:lnTo>
                  <a:pt x="1341" y="5063"/>
                </a:lnTo>
                <a:lnTo>
                  <a:pt x="1339" y="5066"/>
                </a:lnTo>
                <a:lnTo>
                  <a:pt x="1336" y="5068"/>
                </a:lnTo>
                <a:lnTo>
                  <a:pt x="1332" y="5070"/>
                </a:lnTo>
                <a:lnTo>
                  <a:pt x="1326" y="5071"/>
                </a:lnTo>
                <a:lnTo>
                  <a:pt x="1326" y="5071"/>
                </a:lnTo>
                <a:lnTo>
                  <a:pt x="1316" y="5071"/>
                </a:lnTo>
                <a:lnTo>
                  <a:pt x="1304" y="5069"/>
                </a:lnTo>
                <a:lnTo>
                  <a:pt x="1289" y="5066"/>
                </a:lnTo>
                <a:lnTo>
                  <a:pt x="1273" y="5061"/>
                </a:lnTo>
                <a:lnTo>
                  <a:pt x="1237" y="5050"/>
                </a:lnTo>
                <a:lnTo>
                  <a:pt x="1197" y="5035"/>
                </a:lnTo>
                <a:lnTo>
                  <a:pt x="1115" y="5004"/>
                </a:lnTo>
                <a:lnTo>
                  <a:pt x="1077" y="4988"/>
                </a:lnTo>
                <a:lnTo>
                  <a:pt x="1042" y="4977"/>
                </a:lnTo>
                <a:lnTo>
                  <a:pt x="1042" y="4977"/>
                </a:lnTo>
                <a:lnTo>
                  <a:pt x="1031" y="4974"/>
                </a:lnTo>
                <a:lnTo>
                  <a:pt x="1020" y="4972"/>
                </a:lnTo>
                <a:lnTo>
                  <a:pt x="1011" y="4972"/>
                </a:lnTo>
                <a:lnTo>
                  <a:pt x="1003" y="4973"/>
                </a:lnTo>
                <a:lnTo>
                  <a:pt x="996" y="4975"/>
                </a:lnTo>
                <a:lnTo>
                  <a:pt x="990" y="4978"/>
                </a:lnTo>
                <a:lnTo>
                  <a:pt x="985" y="4981"/>
                </a:lnTo>
                <a:lnTo>
                  <a:pt x="981" y="4984"/>
                </a:lnTo>
                <a:lnTo>
                  <a:pt x="972" y="4993"/>
                </a:lnTo>
                <a:lnTo>
                  <a:pt x="966" y="5000"/>
                </a:lnTo>
                <a:lnTo>
                  <a:pt x="962" y="5005"/>
                </a:lnTo>
                <a:lnTo>
                  <a:pt x="959" y="5006"/>
                </a:lnTo>
                <a:lnTo>
                  <a:pt x="957" y="5007"/>
                </a:lnTo>
                <a:lnTo>
                  <a:pt x="957" y="5007"/>
                </a:lnTo>
                <a:lnTo>
                  <a:pt x="948" y="5006"/>
                </a:lnTo>
                <a:lnTo>
                  <a:pt x="938" y="5005"/>
                </a:lnTo>
                <a:lnTo>
                  <a:pt x="926" y="5006"/>
                </a:lnTo>
                <a:lnTo>
                  <a:pt x="916" y="5006"/>
                </a:lnTo>
                <a:lnTo>
                  <a:pt x="894" y="5010"/>
                </a:lnTo>
                <a:lnTo>
                  <a:pt x="871" y="5016"/>
                </a:lnTo>
                <a:lnTo>
                  <a:pt x="849" y="5024"/>
                </a:lnTo>
                <a:lnTo>
                  <a:pt x="826" y="5034"/>
                </a:lnTo>
                <a:lnTo>
                  <a:pt x="805" y="5048"/>
                </a:lnTo>
                <a:lnTo>
                  <a:pt x="794" y="5055"/>
                </a:lnTo>
                <a:lnTo>
                  <a:pt x="785" y="5062"/>
                </a:lnTo>
                <a:lnTo>
                  <a:pt x="776" y="5070"/>
                </a:lnTo>
                <a:lnTo>
                  <a:pt x="768" y="5078"/>
                </a:lnTo>
                <a:lnTo>
                  <a:pt x="760" y="5088"/>
                </a:lnTo>
                <a:lnTo>
                  <a:pt x="753" y="5097"/>
                </a:lnTo>
                <a:lnTo>
                  <a:pt x="746" y="5107"/>
                </a:lnTo>
                <a:lnTo>
                  <a:pt x="740" y="5116"/>
                </a:lnTo>
                <a:lnTo>
                  <a:pt x="736" y="5127"/>
                </a:lnTo>
                <a:lnTo>
                  <a:pt x="732" y="5139"/>
                </a:lnTo>
                <a:lnTo>
                  <a:pt x="730" y="5150"/>
                </a:lnTo>
                <a:lnTo>
                  <a:pt x="728" y="5161"/>
                </a:lnTo>
                <a:lnTo>
                  <a:pt x="728" y="5173"/>
                </a:lnTo>
                <a:lnTo>
                  <a:pt x="728" y="5186"/>
                </a:lnTo>
                <a:lnTo>
                  <a:pt x="731" y="5199"/>
                </a:lnTo>
                <a:lnTo>
                  <a:pt x="734" y="5211"/>
                </a:lnTo>
                <a:lnTo>
                  <a:pt x="739" y="5225"/>
                </a:lnTo>
                <a:lnTo>
                  <a:pt x="745" y="5239"/>
                </a:lnTo>
                <a:lnTo>
                  <a:pt x="745" y="5239"/>
                </a:lnTo>
                <a:lnTo>
                  <a:pt x="748" y="5234"/>
                </a:lnTo>
                <a:lnTo>
                  <a:pt x="758" y="5221"/>
                </a:lnTo>
                <a:lnTo>
                  <a:pt x="773" y="5202"/>
                </a:lnTo>
                <a:lnTo>
                  <a:pt x="781" y="5192"/>
                </a:lnTo>
                <a:lnTo>
                  <a:pt x="791" y="5182"/>
                </a:lnTo>
                <a:lnTo>
                  <a:pt x="803" y="5171"/>
                </a:lnTo>
                <a:lnTo>
                  <a:pt x="814" y="5162"/>
                </a:lnTo>
                <a:lnTo>
                  <a:pt x="826" y="5154"/>
                </a:lnTo>
                <a:lnTo>
                  <a:pt x="839" y="5147"/>
                </a:lnTo>
                <a:lnTo>
                  <a:pt x="853" y="5142"/>
                </a:lnTo>
                <a:lnTo>
                  <a:pt x="859" y="5140"/>
                </a:lnTo>
                <a:lnTo>
                  <a:pt x="866" y="5139"/>
                </a:lnTo>
                <a:lnTo>
                  <a:pt x="873" y="5139"/>
                </a:lnTo>
                <a:lnTo>
                  <a:pt x="879" y="5139"/>
                </a:lnTo>
                <a:lnTo>
                  <a:pt x="887" y="5140"/>
                </a:lnTo>
                <a:lnTo>
                  <a:pt x="894" y="5142"/>
                </a:lnTo>
                <a:lnTo>
                  <a:pt x="894" y="5142"/>
                </a:lnTo>
                <a:lnTo>
                  <a:pt x="899" y="5144"/>
                </a:lnTo>
                <a:lnTo>
                  <a:pt x="902" y="5148"/>
                </a:lnTo>
                <a:lnTo>
                  <a:pt x="903" y="5154"/>
                </a:lnTo>
                <a:lnTo>
                  <a:pt x="904" y="5160"/>
                </a:lnTo>
                <a:lnTo>
                  <a:pt x="904" y="5177"/>
                </a:lnTo>
                <a:lnTo>
                  <a:pt x="902" y="5195"/>
                </a:lnTo>
                <a:lnTo>
                  <a:pt x="902" y="5205"/>
                </a:lnTo>
                <a:lnTo>
                  <a:pt x="902" y="5215"/>
                </a:lnTo>
                <a:lnTo>
                  <a:pt x="904" y="5226"/>
                </a:lnTo>
                <a:lnTo>
                  <a:pt x="906" y="5235"/>
                </a:lnTo>
                <a:lnTo>
                  <a:pt x="910" y="5245"/>
                </a:lnTo>
                <a:lnTo>
                  <a:pt x="915" y="5254"/>
                </a:lnTo>
                <a:lnTo>
                  <a:pt x="923" y="5262"/>
                </a:lnTo>
                <a:lnTo>
                  <a:pt x="933" y="5270"/>
                </a:lnTo>
                <a:lnTo>
                  <a:pt x="933" y="5270"/>
                </a:lnTo>
                <a:lnTo>
                  <a:pt x="941" y="5274"/>
                </a:lnTo>
                <a:lnTo>
                  <a:pt x="949" y="5277"/>
                </a:lnTo>
                <a:lnTo>
                  <a:pt x="959" y="5280"/>
                </a:lnTo>
                <a:lnTo>
                  <a:pt x="970" y="5281"/>
                </a:lnTo>
                <a:lnTo>
                  <a:pt x="982" y="5283"/>
                </a:lnTo>
                <a:lnTo>
                  <a:pt x="995" y="5283"/>
                </a:lnTo>
                <a:lnTo>
                  <a:pt x="1021" y="5283"/>
                </a:lnTo>
                <a:lnTo>
                  <a:pt x="1051" y="5281"/>
                </a:lnTo>
                <a:lnTo>
                  <a:pt x="1082" y="5278"/>
                </a:lnTo>
                <a:lnTo>
                  <a:pt x="1146" y="5270"/>
                </a:lnTo>
                <a:lnTo>
                  <a:pt x="1209" y="5261"/>
                </a:lnTo>
                <a:lnTo>
                  <a:pt x="1238" y="5257"/>
                </a:lnTo>
                <a:lnTo>
                  <a:pt x="1266" y="5255"/>
                </a:lnTo>
                <a:lnTo>
                  <a:pt x="1290" y="5254"/>
                </a:lnTo>
                <a:lnTo>
                  <a:pt x="1311" y="5255"/>
                </a:lnTo>
                <a:lnTo>
                  <a:pt x="1320" y="5256"/>
                </a:lnTo>
                <a:lnTo>
                  <a:pt x="1328" y="5258"/>
                </a:lnTo>
                <a:lnTo>
                  <a:pt x="1335" y="5261"/>
                </a:lnTo>
                <a:lnTo>
                  <a:pt x="1341" y="5266"/>
                </a:lnTo>
                <a:lnTo>
                  <a:pt x="1341" y="5266"/>
                </a:lnTo>
                <a:lnTo>
                  <a:pt x="1344" y="5269"/>
                </a:lnTo>
                <a:lnTo>
                  <a:pt x="1345" y="5272"/>
                </a:lnTo>
                <a:lnTo>
                  <a:pt x="1344" y="5274"/>
                </a:lnTo>
                <a:lnTo>
                  <a:pt x="1339" y="5277"/>
                </a:lnTo>
                <a:lnTo>
                  <a:pt x="1335" y="5279"/>
                </a:lnTo>
                <a:lnTo>
                  <a:pt x="1328" y="5282"/>
                </a:lnTo>
                <a:lnTo>
                  <a:pt x="1311" y="5286"/>
                </a:lnTo>
                <a:lnTo>
                  <a:pt x="1288" y="5290"/>
                </a:lnTo>
                <a:lnTo>
                  <a:pt x="1263" y="5293"/>
                </a:lnTo>
                <a:lnTo>
                  <a:pt x="1202" y="5301"/>
                </a:lnTo>
                <a:lnTo>
                  <a:pt x="1171" y="5305"/>
                </a:lnTo>
                <a:lnTo>
                  <a:pt x="1140" y="5310"/>
                </a:lnTo>
                <a:lnTo>
                  <a:pt x="1110" y="5317"/>
                </a:lnTo>
                <a:lnTo>
                  <a:pt x="1084" y="5323"/>
                </a:lnTo>
                <a:lnTo>
                  <a:pt x="1072" y="5327"/>
                </a:lnTo>
                <a:lnTo>
                  <a:pt x="1060" y="5331"/>
                </a:lnTo>
                <a:lnTo>
                  <a:pt x="1050" y="5335"/>
                </a:lnTo>
                <a:lnTo>
                  <a:pt x="1042" y="5340"/>
                </a:lnTo>
                <a:lnTo>
                  <a:pt x="1035" y="5345"/>
                </a:lnTo>
                <a:lnTo>
                  <a:pt x="1030" y="5350"/>
                </a:lnTo>
                <a:lnTo>
                  <a:pt x="1026" y="5357"/>
                </a:lnTo>
                <a:lnTo>
                  <a:pt x="1024" y="5363"/>
                </a:lnTo>
                <a:lnTo>
                  <a:pt x="1024" y="5363"/>
                </a:lnTo>
                <a:lnTo>
                  <a:pt x="1023" y="5368"/>
                </a:lnTo>
                <a:lnTo>
                  <a:pt x="1023" y="5377"/>
                </a:lnTo>
                <a:lnTo>
                  <a:pt x="1024" y="5388"/>
                </a:lnTo>
                <a:lnTo>
                  <a:pt x="1026" y="5394"/>
                </a:lnTo>
                <a:lnTo>
                  <a:pt x="1028" y="5399"/>
                </a:lnTo>
                <a:lnTo>
                  <a:pt x="1028" y="5399"/>
                </a:lnTo>
                <a:lnTo>
                  <a:pt x="1029" y="5406"/>
                </a:lnTo>
                <a:lnTo>
                  <a:pt x="1029" y="5412"/>
                </a:lnTo>
                <a:lnTo>
                  <a:pt x="1026" y="5418"/>
                </a:lnTo>
                <a:lnTo>
                  <a:pt x="1021" y="5424"/>
                </a:lnTo>
                <a:lnTo>
                  <a:pt x="1011" y="5438"/>
                </a:lnTo>
                <a:lnTo>
                  <a:pt x="997" y="5456"/>
                </a:lnTo>
                <a:lnTo>
                  <a:pt x="989" y="5466"/>
                </a:lnTo>
                <a:lnTo>
                  <a:pt x="982" y="5476"/>
                </a:lnTo>
                <a:lnTo>
                  <a:pt x="974" y="5488"/>
                </a:lnTo>
                <a:lnTo>
                  <a:pt x="968" y="5501"/>
                </a:lnTo>
                <a:lnTo>
                  <a:pt x="962" y="5515"/>
                </a:lnTo>
                <a:lnTo>
                  <a:pt x="958" y="5530"/>
                </a:lnTo>
                <a:lnTo>
                  <a:pt x="954" y="5547"/>
                </a:lnTo>
                <a:lnTo>
                  <a:pt x="953" y="5565"/>
                </a:lnTo>
                <a:lnTo>
                  <a:pt x="953" y="5565"/>
                </a:lnTo>
                <a:lnTo>
                  <a:pt x="953" y="5574"/>
                </a:lnTo>
                <a:lnTo>
                  <a:pt x="953" y="5583"/>
                </a:lnTo>
                <a:lnTo>
                  <a:pt x="956" y="5601"/>
                </a:lnTo>
                <a:lnTo>
                  <a:pt x="961" y="5618"/>
                </a:lnTo>
                <a:lnTo>
                  <a:pt x="967" y="5634"/>
                </a:lnTo>
                <a:lnTo>
                  <a:pt x="975" y="5649"/>
                </a:lnTo>
                <a:lnTo>
                  <a:pt x="985" y="5663"/>
                </a:lnTo>
                <a:lnTo>
                  <a:pt x="995" y="5676"/>
                </a:lnTo>
                <a:lnTo>
                  <a:pt x="1005" y="5688"/>
                </a:lnTo>
                <a:lnTo>
                  <a:pt x="1015" y="5698"/>
                </a:lnTo>
                <a:lnTo>
                  <a:pt x="1026" y="5707"/>
                </a:lnTo>
                <a:lnTo>
                  <a:pt x="1043" y="5723"/>
                </a:lnTo>
                <a:lnTo>
                  <a:pt x="1055" y="5731"/>
                </a:lnTo>
                <a:lnTo>
                  <a:pt x="1060" y="5735"/>
                </a:lnTo>
                <a:lnTo>
                  <a:pt x="1060" y="5735"/>
                </a:lnTo>
                <a:lnTo>
                  <a:pt x="1062" y="5731"/>
                </a:lnTo>
                <a:lnTo>
                  <a:pt x="1063" y="5726"/>
                </a:lnTo>
                <a:lnTo>
                  <a:pt x="1063" y="5717"/>
                </a:lnTo>
                <a:lnTo>
                  <a:pt x="1062" y="5708"/>
                </a:lnTo>
                <a:lnTo>
                  <a:pt x="1059" y="5687"/>
                </a:lnTo>
                <a:lnTo>
                  <a:pt x="1056" y="5661"/>
                </a:lnTo>
                <a:lnTo>
                  <a:pt x="1055" y="5649"/>
                </a:lnTo>
                <a:lnTo>
                  <a:pt x="1054" y="5636"/>
                </a:lnTo>
                <a:lnTo>
                  <a:pt x="1054" y="5624"/>
                </a:lnTo>
                <a:lnTo>
                  <a:pt x="1056" y="5613"/>
                </a:lnTo>
                <a:lnTo>
                  <a:pt x="1058" y="5603"/>
                </a:lnTo>
                <a:lnTo>
                  <a:pt x="1062" y="5594"/>
                </a:lnTo>
                <a:lnTo>
                  <a:pt x="1065" y="5591"/>
                </a:lnTo>
                <a:lnTo>
                  <a:pt x="1069" y="5587"/>
                </a:lnTo>
                <a:lnTo>
                  <a:pt x="1072" y="5585"/>
                </a:lnTo>
                <a:lnTo>
                  <a:pt x="1076" y="5582"/>
                </a:lnTo>
                <a:lnTo>
                  <a:pt x="1076" y="5582"/>
                </a:lnTo>
                <a:lnTo>
                  <a:pt x="1081" y="5581"/>
                </a:lnTo>
                <a:lnTo>
                  <a:pt x="1085" y="5581"/>
                </a:lnTo>
                <a:lnTo>
                  <a:pt x="1090" y="5582"/>
                </a:lnTo>
                <a:lnTo>
                  <a:pt x="1094" y="5586"/>
                </a:lnTo>
                <a:lnTo>
                  <a:pt x="1103" y="5593"/>
                </a:lnTo>
                <a:lnTo>
                  <a:pt x="1114" y="5602"/>
                </a:lnTo>
                <a:lnTo>
                  <a:pt x="1125" y="5613"/>
                </a:lnTo>
                <a:lnTo>
                  <a:pt x="1138" y="5622"/>
                </a:lnTo>
                <a:lnTo>
                  <a:pt x="1145" y="5627"/>
                </a:lnTo>
                <a:lnTo>
                  <a:pt x="1152" y="5631"/>
                </a:lnTo>
                <a:lnTo>
                  <a:pt x="1162" y="5634"/>
                </a:lnTo>
                <a:lnTo>
                  <a:pt x="1170" y="5636"/>
                </a:lnTo>
                <a:lnTo>
                  <a:pt x="1170" y="5636"/>
                </a:lnTo>
                <a:lnTo>
                  <a:pt x="1179" y="5636"/>
                </a:lnTo>
                <a:lnTo>
                  <a:pt x="1188" y="5636"/>
                </a:lnTo>
                <a:lnTo>
                  <a:pt x="1196" y="5635"/>
                </a:lnTo>
                <a:lnTo>
                  <a:pt x="1206" y="5633"/>
                </a:lnTo>
                <a:lnTo>
                  <a:pt x="1214" y="5629"/>
                </a:lnTo>
                <a:lnTo>
                  <a:pt x="1222" y="5625"/>
                </a:lnTo>
                <a:lnTo>
                  <a:pt x="1229" y="5621"/>
                </a:lnTo>
                <a:lnTo>
                  <a:pt x="1237" y="5616"/>
                </a:lnTo>
                <a:lnTo>
                  <a:pt x="1253" y="5604"/>
                </a:lnTo>
                <a:lnTo>
                  <a:pt x="1267" y="5590"/>
                </a:lnTo>
                <a:lnTo>
                  <a:pt x="1282" y="5573"/>
                </a:lnTo>
                <a:lnTo>
                  <a:pt x="1299" y="5556"/>
                </a:lnTo>
                <a:lnTo>
                  <a:pt x="1332" y="5517"/>
                </a:lnTo>
                <a:lnTo>
                  <a:pt x="1352" y="5498"/>
                </a:lnTo>
                <a:lnTo>
                  <a:pt x="1372" y="5478"/>
                </a:lnTo>
                <a:lnTo>
                  <a:pt x="1395" y="5458"/>
                </a:lnTo>
                <a:lnTo>
                  <a:pt x="1419" y="5439"/>
                </a:lnTo>
                <a:lnTo>
                  <a:pt x="1433" y="5430"/>
                </a:lnTo>
                <a:lnTo>
                  <a:pt x="1446" y="5422"/>
                </a:lnTo>
                <a:lnTo>
                  <a:pt x="1460" y="5414"/>
                </a:lnTo>
                <a:lnTo>
                  <a:pt x="1475" y="5406"/>
                </a:lnTo>
                <a:lnTo>
                  <a:pt x="1475" y="5406"/>
                </a:lnTo>
                <a:lnTo>
                  <a:pt x="1515" y="5387"/>
                </a:lnTo>
                <a:lnTo>
                  <a:pt x="1547" y="5375"/>
                </a:lnTo>
                <a:lnTo>
                  <a:pt x="1559" y="5370"/>
                </a:lnTo>
                <a:lnTo>
                  <a:pt x="1571" y="5367"/>
                </a:lnTo>
                <a:lnTo>
                  <a:pt x="1580" y="5366"/>
                </a:lnTo>
                <a:lnTo>
                  <a:pt x="1587" y="5365"/>
                </a:lnTo>
                <a:lnTo>
                  <a:pt x="1593" y="5365"/>
                </a:lnTo>
                <a:lnTo>
                  <a:pt x="1597" y="5367"/>
                </a:lnTo>
                <a:lnTo>
                  <a:pt x="1600" y="5369"/>
                </a:lnTo>
                <a:lnTo>
                  <a:pt x="1602" y="5372"/>
                </a:lnTo>
                <a:lnTo>
                  <a:pt x="1604" y="5375"/>
                </a:lnTo>
                <a:lnTo>
                  <a:pt x="1604" y="5379"/>
                </a:lnTo>
                <a:lnTo>
                  <a:pt x="1603" y="5389"/>
                </a:lnTo>
                <a:lnTo>
                  <a:pt x="1600" y="5401"/>
                </a:lnTo>
                <a:lnTo>
                  <a:pt x="1596" y="5415"/>
                </a:lnTo>
                <a:lnTo>
                  <a:pt x="1593" y="5428"/>
                </a:lnTo>
                <a:lnTo>
                  <a:pt x="1591" y="5440"/>
                </a:lnTo>
                <a:lnTo>
                  <a:pt x="1591" y="5446"/>
                </a:lnTo>
                <a:lnTo>
                  <a:pt x="1591" y="5453"/>
                </a:lnTo>
                <a:lnTo>
                  <a:pt x="1593" y="5458"/>
                </a:lnTo>
                <a:lnTo>
                  <a:pt x="1595" y="5463"/>
                </a:lnTo>
                <a:lnTo>
                  <a:pt x="1598" y="5467"/>
                </a:lnTo>
                <a:lnTo>
                  <a:pt x="1603" y="5471"/>
                </a:lnTo>
                <a:lnTo>
                  <a:pt x="1609" y="5474"/>
                </a:lnTo>
                <a:lnTo>
                  <a:pt x="1617" y="5476"/>
                </a:lnTo>
                <a:lnTo>
                  <a:pt x="1617" y="5476"/>
                </a:lnTo>
                <a:lnTo>
                  <a:pt x="1629" y="5480"/>
                </a:lnTo>
                <a:lnTo>
                  <a:pt x="1640" y="5483"/>
                </a:lnTo>
                <a:lnTo>
                  <a:pt x="1649" y="5488"/>
                </a:lnTo>
                <a:lnTo>
                  <a:pt x="1656" y="5492"/>
                </a:lnTo>
                <a:lnTo>
                  <a:pt x="1663" y="5498"/>
                </a:lnTo>
                <a:lnTo>
                  <a:pt x="1668" y="5503"/>
                </a:lnTo>
                <a:lnTo>
                  <a:pt x="1671" y="5509"/>
                </a:lnTo>
                <a:lnTo>
                  <a:pt x="1673" y="5515"/>
                </a:lnTo>
                <a:lnTo>
                  <a:pt x="1675" y="5521"/>
                </a:lnTo>
                <a:lnTo>
                  <a:pt x="1675" y="5527"/>
                </a:lnTo>
                <a:lnTo>
                  <a:pt x="1674" y="5534"/>
                </a:lnTo>
                <a:lnTo>
                  <a:pt x="1673" y="5541"/>
                </a:lnTo>
                <a:lnTo>
                  <a:pt x="1671" y="5548"/>
                </a:lnTo>
                <a:lnTo>
                  <a:pt x="1668" y="5555"/>
                </a:lnTo>
                <a:lnTo>
                  <a:pt x="1660" y="5568"/>
                </a:lnTo>
                <a:lnTo>
                  <a:pt x="1650" y="5581"/>
                </a:lnTo>
                <a:lnTo>
                  <a:pt x="1640" y="5594"/>
                </a:lnTo>
                <a:lnTo>
                  <a:pt x="1630" y="5605"/>
                </a:lnTo>
                <a:lnTo>
                  <a:pt x="1620" y="5615"/>
                </a:lnTo>
                <a:lnTo>
                  <a:pt x="1603" y="5629"/>
                </a:lnTo>
                <a:lnTo>
                  <a:pt x="1597" y="5636"/>
                </a:lnTo>
                <a:lnTo>
                  <a:pt x="1597" y="5636"/>
                </a:lnTo>
                <a:lnTo>
                  <a:pt x="1605" y="5640"/>
                </a:lnTo>
                <a:lnTo>
                  <a:pt x="1616" y="5642"/>
                </a:lnTo>
                <a:lnTo>
                  <a:pt x="1627" y="5643"/>
                </a:lnTo>
                <a:lnTo>
                  <a:pt x="1640" y="5642"/>
                </a:lnTo>
                <a:lnTo>
                  <a:pt x="1654" y="5639"/>
                </a:lnTo>
                <a:lnTo>
                  <a:pt x="1669" y="5635"/>
                </a:lnTo>
                <a:lnTo>
                  <a:pt x="1685" y="5628"/>
                </a:lnTo>
                <a:lnTo>
                  <a:pt x="1700" y="5620"/>
                </a:lnTo>
                <a:lnTo>
                  <a:pt x="1717" y="5611"/>
                </a:lnTo>
                <a:lnTo>
                  <a:pt x="1732" y="5600"/>
                </a:lnTo>
                <a:lnTo>
                  <a:pt x="1747" y="5587"/>
                </a:lnTo>
                <a:lnTo>
                  <a:pt x="1763" y="5572"/>
                </a:lnTo>
                <a:lnTo>
                  <a:pt x="1776" y="5555"/>
                </a:lnTo>
                <a:lnTo>
                  <a:pt x="1789" y="5536"/>
                </a:lnTo>
                <a:lnTo>
                  <a:pt x="1801" y="5516"/>
                </a:lnTo>
                <a:lnTo>
                  <a:pt x="1811" y="5495"/>
                </a:lnTo>
                <a:lnTo>
                  <a:pt x="1811" y="5495"/>
                </a:lnTo>
                <a:lnTo>
                  <a:pt x="1814" y="5486"/>
                </a:lnTo>
                <a:lnTo>
                  <a:pt x="1817" y="5480"/>
                </a:lnTo>
                <a:lnTo>
                  <a:pt x="1820" y="5475"/>
                </a:lnTo>
                <a:lnTo>
                  <a:pt x="1824" y="5471"/>
                </a:lnTo>
                <a:lnTo>
                  <a:pt x="1828" y="5468"/>
                </a:lnTo>
                <a:lnTo>
                  <a:pt x="1831" y="5465"/>
                </a:lnTo>
                <a:lnTo>
                  <a:pt x="1839" y="5462"/>
                </a:lnTo>
                <a:lnTo>
                  <a:pt x="1848" y="5459"/>
                </a:lnTo>
                <a:lnTo>
                  <a:pt x="1857" y="5455"/>
                </a:lnTo>
                <a:lnTo>
                  <a:pt x="1866" y="5449"/>
                </a:lnTo>
                <a:lnTo>
                  <a:pt x="1871" y="5444"/>
                </a:lnTo>
                <a:lnTo>
                  <a:pt x="1876" y="5439"/>
                </a:lnTo>
                <a:lnTo>
                  <a:pt x="1876" y="5439"/>
                </a:lnTo>
                <a:lnTo>
                  <a:pt x="1879" y="5433"/>
                </a:lnTo>
                <a:lnTo>
                  <a:pt x="1882" y="5427"/>
                </a:lnTo>
                <a:lnTo>
                  <a:pt x="1886" y="5421"/>
                </a:lnTo>
                <a:lnTo>
                  <a:pt x="1887" y="5415"/>
                </a:lnTo>
                <a:lnTo>
                  <a:pt x="1888" y="5400"/>
                </a:lnTo>
                <a:lnTo>
                  <a:pt x="1888" y="5386"/>
                </a:lnTo>
                <a:lnTo>
                  <a:pt x="1888" y="5371"/>
                </a:lnTo>
                <a:lnTo>
                  <a:pt x="1888" y="5357"/>
                </a:lnTo>
                <a:lnTo>
                  <a:pt x="1890" y="5342"/>
                </a:lnTo>
                <a:lnTo>
                  <a:pt x="1892" y="5336"/>
                </a:lnTo>
                <a:lnTo>
                  <a:pt x="1894" y="5330"/>
                </a:lnTo>
                <a:lnTo>
                  <a:pt x="1894" y="5330"/>
                </a:lnTo>
                <a:lnTo>
                  <a:pt x="1898" y="5324"/>
                </a:lnTo>
                <a:lnTo>
                  <a:pt x="1902" y="5319"/>
                </a:lnTo>
                <a:lnTo>
                  <a:pt x="1906" y="5314"/>
                </a:lnTo>
                <a:lnTo>
                  <a:pt x="1911" y="5309"/>
                </a:lnTo>
                <a:lnTo>
                  <a:pt x="1923" y="5301"/>
                </a:lnTo>
                <a:lnTo>
                  <a:pt x="1937" y="5295"/>
                </a:lnTo>
                <a:lnTo>
                  <a:pt x="1951" y="5290"/>
                </a:lnTo>
                <a:lnTo>
                  <a:pt x="1965" y="5286"/>
                </a:lnTo>
                <a:lnTo>
                  <a:pt x="1996" y="5278"/>
                </a:lnTo>
                <a:lnTo>
                  <a:pt x="2026" y="5272"/>
                </a:lnTo>
                <a:lnTo>
                  <a:pt x="2038" y="5268"/>
                </a:lnTo>
                <a:lnTo>
                  <a:pt x="2049" y="5262"/>
                </a:lnTo>
                <a:lnTo>
                  <a:pt x="2057" y="5256"/>
                </a:lnTo>
                <a:lnTo>
                  <a:pt x="2061" y="5253"/>
                </a:lnTo>
                <a:lnTo>
                  <a:pt x="2063" y="5249"/>
                </a:lnTo>
                <a:lnTo>
                  <a:pt x="2066" y="5245"/>
                </a:lnTo>
                <a:lnTo>
                  <a:pt x="2068" y="5240"/>
                </a:lnTo>
                <a:lnTo>
                  <a:pt x="2068" y="5235"/>
                </a:lnTo>
                <a:lnTo>
                  <a:pt x="2068" y="5230"/>
                </a:lnTo>
                <a:lnTo>
                  <a:pt x="2068" y="5230"/>
                </a:lnTo>
                <a:lnTo>
                  <a:pt x="2066" y="5215"/>
                </a:lnTo>
                <a:lnTo>
                  <a:pt x="2066" y="5202"/>
                </a:lnTo>
                <a:lnTo>
                  <a:pt x="2069" y="5190"/>
                </a:lnTo>
                <a:lnTo>
                  <a:pt x="2073" y="5180"/>
                </a:lnTo>
                <a:lnTo>
                  <a:pt x="2078" y="5169"/>
                </a:lnTo>
                <a:lnTo>
                  <a:pt x="2083" y="5161"/>
                </a:lnTo>
                <a:lnTo>
                  <a:pt x="2090" y="5153"/>
                </a:lnTo>
                <a:lnTo>
                  <a:pt x="2098" y="5146"/>
                </a:lnTo>
                <a:lnTo>
                  <a:pt x="2106" y="5140"/>
                </a:lnTo>
                <a:lnTo>
                  <a:pt x="2116" y="5134"/>
                </a:lnTo>
                <a:lnTo>
                  <a:pt x="2134" y="5124"/>
                </a:lnTo>
                <a:lnTo>
                  <a:pt x="2152" y="5116"/>
                </a:lnTo>
                <a:lnTo>
                  <a:pt x="2169" y="5109"/>
                </a:lnTo>
                <a:lnTo>
                  <a:pt x="2169" y="5109"/>
                </a:lnTo>
                <a:lnTo>
                  <a:pt x="2171" y="5109"/>
                </a:lnTo>
                <a:lnTo>
                  <a:pt x="2172" y="5110"/>
                </a:lnTo>
                <a:lnTo>
                  <a:pt x="2175" y="5112"/>
                </a:lnTo>
                <a:lnTo>
                  <a:pt x="2177" y="5117"/>
                </a:lnTo>
                <a:lnTo>
                  <a:pt x="2181" y="5124"/>
                </a:lnTo>
                <a:lnTo>
                  <a:pt x="2189" y="5143"/>
                </a:lnTo>
                <a:lnTo>
                  <a:pt x="2195" y="5154"/>
                </a:lnTo>
                <a:lnTo>
                  <a:pt x="2202" y="5166"/>
                </a:lnTo>
                <a:lnTo>
                  <a:pt x="2212" y="5179"/>
                </a:lnTo>
                <a:lnTo>
                  <a:pt x="2222" y="5192"/>
                </a:lnTo>
                <a:lnTo>
                  <a:pt x="2234" y="5206"/>
                </a:lnTo>
                <a:lnTo>
                  <a:pt x="2250" y="5220"/>
                </a:lnTo>
                <a:lnTo>
                  <a:pt x="2267" y="5233"/>
                </a:lnTo>
                <a:lnTo>
                  <a:pt x="2287" y="5245"/>
                </a:lnTo>
                <a:lnTo>
                  <a:pt x="2311" y="5257"/>
                </a:lnTo>
                <a:lnTo>
                  <a:pt x="2337" y="5268"/>
                </a:lnTo>
                <a:lnTo>
                  <a:pt x="2337" y="5268"/>
                </a:lnTo>
                <a:lnTo>
                  <a:pt x="2412" y="5237"/>
                </a:lnTo>
                <a:lnTo>
                  <a:pt x="2458" y="5215"/>
                </a:lnTo>
                <a:lnTo>
                  <a:pt x="2485" y="5202"/>
                </a:lnTo>
                <a:lnTo>
                  <a:pt x="2514" y="5187"/>
                </a:lnTo>
                <a:lnTo>
                  <a:pt x="2514" y="5187"/>
                </a:lnTo>
                <a:lnTo>
                  <a:pt x="2546" y="5170"/>
                </a:lnTo>
                <a:lnTo>
                  <a:pt x="2576" y="5153"/>
                </a:lnTo>
                <a:lnTo>
                  <a:pt x="2588" y="5145"/>
                </a:lnTo>
                <a:lnTo>
                  <a:pt x="2599" y="5138"/>
                </a:lnTo>
                <a:lnTo>
                  <a:pt x="2609" y="5130"/>
                </a:lnTo>
                <a:lnTo>
                  <a:pt x="2617" y="5123"/>
                </a:lnTo>
                <a:lnTo>
                  <a:pt x="2617" y="5123"/>
                </a:lnTo>
                <a:lnTo>
                  <a:pt x="2616" y="5121"/>
                </a:lnTo>
                <a:lnTo>
                  <a:pt x="2615" y="5119"/>
                </a:lnTo>
                <a:lnTo>
                  <a:pt x="2607" y="5112"/>
                </a:lnTo>
                <a:lnTo>
                  <a:pt x="2596" y="5101"/>
                </a:lnTo>
                <a:lnTo>
                  <a:pt x="2583" y="5087"/>
                </a:lnTo>
                <a:lnTo>
                  <a:pt x="2568" y="5069"/>
                </a:lnTo>
                <a:lnTo>
                  <a:pt x="2553" y="5050"/>
                </a:lnTo>
                <a:lnTo>
                  <a:pt x="2546" y="5039"/>
                </a:lnTo>
                <a:lnTo>
                  <a:pt x="2540" y="5026"/>
                </a:lnTo>
                <a:lnTo>
                  <a:pt x="2535" y="5015"/>
                </a:lnTo>
                <a:lnTo>
                  <a:pt x="2530" y="5002"/>
                </a:lnTo>
                <a:lnTo>
                  <a:pt x="2530" y="5002"/>
                </a:lnTo>
                <a:lnTo>
                  <a:pt x="2527" y="4989"/>
                </a:lnTo>
                <a:lnTo>
                  <a:pt x="2524" y="4978"/>
                </a:lnTo>
                <a:lnTo>
                  <a:pt x="2522" y="4969"/>
                </a:lnTo>
                <a:lnTo>
                  <a:pt x="2522" y="4960"/>
                </a:lnTo>
                <a:lnTo>
                  <a:pt x="2522" y="4953"/>
                </a:lnTo>
                <a:lnTo>
                  <a:pt x="2522" y="4948"/>
                </a:lnTo>
                <a:lnTo>
                  <a:pt x="2523" y="4944"/>
                </a:lnTo>
                <a:lnTo>
                  <a:pt x="2524" y="4942"/>
                </a:lnTo>
                <a:lnTo>
                  <a:pt x="2524" y="4942"/>
                </a:lnTo>
                <a:lnTo>
                  <a:pt x="2537" y="4959"/>
                </a:lnTo>
                <a:lnTo>
                  <a:pt x="2552" y="4976"/>
                </a:lnTo>
                <a:lnTo>
                  <a:pt x="2573" y="4997"/>
                </a:lnTo>
                <a:lnTo>
                  <a:pt x="2585" y="5008"/>
                </a:lnTo>
                <a:lnTo>
                  <a:pt x="2597" y="5019"/>
                </a:lnTo>
                <a:lnTo>
                  <a:pt x="2611" y="5030"/>
                </a:lnTo>
                <a:lnTo>
                  <a:pt x="2627" y="5042"/>
                </a:lnTo>
                <a:lnTo>
                  <a:pt x="2643" y="5053"/>
                </a:lnTo>
                <a:lnTo>
                  <a:pt x="2660" y="5062"/>
                </a:lnTo>
                <a:lnTo>
                  <a:pt x="2677" y="5071"/>
                </a:lnTo>
                <a:lnTo>
                  <a:pt x="2695" y="5079"/>
                </a:lnTo>
                <a:lnTo>
                  <a:pt x="2695" y="5079"/>
                </a:lnTo>
                <a:lnTo>
                  <a:pt x="2749" y="5051"/>
                </a:lnTo>
                <a:lnTo>
                  <a:pt x="2803" y="5021"/>
                </a:lnTo>
                <a:lnTo>
                  <a:pt x="2857" y="4988"/>
                </a:lnTo>
                <a:lnTo>
                  <a:pt x="2911" y="4954"/>
                </a:lnTo>
                <a:lnTo>
                  <a:pt x="2911" y="4954"/>
                </a:lnTo>
                <a:lnTo>
                  <a:pt x="2946" y="4930"/>
                </a:lnTo>
                <a:lnTo>
                  <a:pt x="2946" y="4930"/>
                </a:lnTo>
                <a:lnTo>
                  <a:pt x="2947" y="4929"/>
                </a:lnTo>
                <a:lnTo>
                  <a:pt x="2947" y="4929"/>
                </a:lnTo>
                <a:lnTo>
                  <a:pt x="2948" y="4927"/>
                </a:lnTo>
                <a:lnTo>
                  <a:pt x="2947" y="4925"/>
                </a:lnTo>
                <a:lnTo>
                  <a:pt x="2943" y="4918"/>
                </a:lnTo>
                <a:lnTo>
                  <a:pt x="2935" y="4909"/>
                </a:lnTo>
                <a:lnTo>
                  <a:pt x="2924" y="4898"/>
                </a:lnTo>
                <a:lnTo>
                  <a:pt x="2899" y="4874"/>
                </a:lnTo>
                <a:lnTo>
                  <a:pt x="2870" y="4845"/>
                </a:lnTo>
                <a:lnTo>
                  <a:pt x="2857" y="4831"/>
                </a:lnTo>
                <a:lnTo>
                  <a:pt x="2846" y="4817"/>
                </a:lnTo>
                <a:lnTo>
                  <a:pt x="2836" y="4802"/>
                </a:lnTo>
                <a:lnTo>
                  <a:pt x="2832" y="4795"/>
                </a:lnTo>
                <a:lnTo>
                  <a:pt x="2829" y="4789"/>
                </a:lnTo>
                <a:lnTo>
                  <a:pt x="2828" y="4782"/>
                </a:lnTo>
                <a:lnTo>
                  <a:pt x="2827" y="4776"/>
                </a:lnTo>
                <a:lnTo>
                  <a:pt x="2827" y="4770"/>
                </a:lnTo>
                <a:lnTo>
                  <a:pt x="2828" y="4765"/>
                </a:lnTo>
                <a:lnTo>
                  <a:pt x="2830" y="4759"/>
                </a:lnTo>
                <a:lnTo>
                  <a:pt x="2834" y="4754"/>
                </a:lnTo>
                <a:lnTo>
                  <a:pt x="2840" y="4750"/>
                </a:lnTo>
                <a:lnTo>
                  <a:pt x="2847" y="4746"/>
                </a:lnTo>
                <a:lnTo>
                  <a:pt x="2847" y="4746"/>
                </a:lnTo>
                <a:lnTo>
                  <a:pt x="2853" y="4742"/>
                </a:lnTo>
                <a:lnTo>
                  <a:pt x="2858" y="4737"/>
                </a:lnTo>
                <a:lnTo>
                  <a:pt x="2861" y="4732"/>
                </a:lnTo>
                <a:lnTo>
                  <a:pt x="2863" y="4726"/>
                </a:lnTo>
                <a:lnTo>
                  <a:pt x="2864" y="4720"/>
                </a:lnTo>
                <a:lnTo>
                  <a:pt x="2864" y="4711"/>
                </a:lnTo>
                <a:lnTo>
                  <a:pt x="2864" y="4704"/>
                </a:lnTo>
                <a:lnTo>
                  <a:pt x="2862" y="4695"/>
                </a:lnTo>
                <a:lnTo>
                  <a:pt x="2857" y="4678"/>
                </a:lnTo>
                <a:lnTo>
                  <a:pt x="2849" y="4658"/>
                </a:lnTo>
                <a:lnTo>
                  <a:pt x="2830" y="4616"/>
                </a:lnTo>
                <a:lnTo>
                  <a:pt x="2821" y="4595"/>
                </a:lnTo>
                <a:lnTo>
                  <a:pt x="2813" y="4574"/>
                </a:lnTo>
                <a:lnTo>
                  <a:pt x="2806" y="4554"/>
                </a:lnTo>
                <a:lnTo>
                  <a:pt x="2804" y="4544"/>
                </a:lnTo>
                <a:lnTo>
                  <a:pt x="2802" y="4534"/>
                </a:lnTo>
                <a:lnTo>
                  <a:pt x="2802" y="4525"/>
                </a:lnTo>
                <a:lnTo>
                  <a:pt x="2802" y="4517"/>
                </a:lnTo>
                <a:lnTo>
                  <a:pt x="2803" y="4509"/>
                </a:lnTo>
                <a:lnTo>
                  <a:pt x="2805" y="4502"/>
                </a:lnTo>
                <a:lnTo>
                  <a:pt x="2808" y="4495"/>
                </a:lnTo>
                <a:lnTo>
                  <a:pt x="2813" y="4488"/>
                </a:lnTo>
                <a:lnTo>
                  <a:pt x="2819" y="4482"/>
                </a:lnTo>
                <a:lnTo>
                  <a:pt x="2827" y="4478"/>
                </a:lnTo>
                <a:lnTo>
                  <a:pt x="2827" y="4478"/>
                </a:lnTo>
                <a:lnTo>
                  <a:pt x="2928" y="4425"/>
                </a:lnTo>
                <a:lnTo>
                  <a:pt x="3034" y="4374"/>
                </a:lnTo>
                <a:lnTo>
                  <a:pt x="3138" y="4323"/>
                </a:lnTo>
                <a:lnTo>
                  <a:pt x="3241" y="4273"/>
                </a:lnTo>
                <a:lnTo>
                  <a:pt x="3433" y="4182"/>
                </a:lnTo>
                <a:lnTo>
                  <a:pt x="3516" y="4142"/>
                </a:lnTo>
                <a:lnTo>
                  <a:pt x="3591" y="4105"/>
                </a:lnTo>
                <a:lnTo>
                  <a:pt x="3591" y="4105"/>
                </a:lnTo>
                <a:lnTo>
                  <a:pt x="3587" y="4089"/>
                </a:lnTo>
                <a:lnTo>
                  <a:pt x="3581" y="4070"/>
                </a:lnTo>
                <a:lnTo>
                  <a:pt x="3571" y="4047"/>
                </a:lnTo>
                <a:lnTo>
                  <a:pt x="3564" y="4035"/>
                </a:lnTo>
                <a:lnTo>
                  <a:pt x="3557" y="4020"/>
                </a:lnTo>
                <a:lnTo>
                  <a:pt x="3549" y="4006"/>
                </a:lnTo>
                <a:lnTo>
                  <a:pt x="3540" y="3992"/>
                </a:lnTo>
                <a:lnTo>
                  <a:pt x="3529" y="3977"/>
                </a:lnTo>
                <a:lnTo>
                  <a:pt x="3516" y="3962"/>
                </a:lnTo>
                <a:lnTo>
                  <a:pt x="3502" y="3948"/>
                </a:lnTo>
                <a:lnTo>
                  <a:pt x="3487" y="3933"/>
                </a:lnTo>
                <a:close/>
                <a:moveTo>
                  <a:pt x="322" y="5867"/>
                </a:moveTo>
                <a:lnTo>
                  <a:pt x="322" y="5867"/>
                </a:lnTo>
                <a:lnTo>
                  <a:pt x="321" y="5881"/>
                </a:lnTo>
                <a:lnTo>
                  <a:pt x="321" y="5892"/>
                </a:lnTo>
                <a:lnTo>
                  <a:pt x="323" y="5908"/>
                </a:lnTo>
                <a:lnTo>
                  <a:pt x="326" y="5923"/>
                </a:lnTo>
                <a:lnTo>
                  <a:pt x="329" y="5931"/>
                </a:lnTo>
                <a:lnTo>
                  <a:pt x="332" y="5939"/>
                </a:lnTo>
                <a:lnTo>
                  <a:pt x="337" y="5947"/>
                </a:lnTo>
                <a:lnTo>
                  <a:pt x="343" y="5956"/>
                </a:lnTo>
                <a:lnTo>
                  <a:pt x="349" y="5964"/>
                </a:lnTo>
                <a:lnTo>
                  <a:pt x="357" y="5971"/>
                </a:lnTo>
                <a:lnTo>
                  <a:pt x="357" y="5971"/>
                </a:lnTo>
                <a:lnTo>
                  <a:pt x="369" y="5980"/>
                </a:lnTo>
                <a:lnTo>
                  <a:pt x="382" y="5988"/>
                </a:lnTo>
                <a:lnTo>
                  <a:pt x="397" y="5995"/>
                </a:lnTo>
                <a:lnTo>
                  <a:pt x="412" y="6000"/>
                </a:lnTo>
                <a:lnTo>
                  <a:pt x="426" y="6002"/>
                </a:lnTo>
                <a:lnTo>
                  <a:pt x="434" y="6002"/>
                </a:lnTo>
                <a:lnTo>
                  <a:pt x="441" y="6001"/>
                </a:lnTo>
                <a:lnTo>
                  <a:pt x="447" y="6000"/>
                </a:lnTo>
                <a:lnTo>
                  <a:pt x="453" y="5998"/>
                </a:lnTo>
                <a:lnTo>
                  <a:pt x="458" y="5995"/>
                </a:lnTo>
                <a:lnTo>
                  <a:pt x="463" y="5991"/>
                </a:lnTo>
                <a:lnTo>
                  <a:pt x="463" y="5991"/>
                </a:lnTo>
                <a:lnTo>
                  <a:pt x="468" y="5986"/>
                </a:lnTo>
                <a:lnTo>
                  <a:pt x="473" y="5979"/>
                </a:lnTo>
                <a:lnTo>
                  <a:pt x="476" y="5973"/>
                </a:lnTo>
                <a:lnTo>
                  <a:pt x="479" y="5966"/>
                </a:lnTo>
                <a:lnTo>
                  <a:pt x="481" y="5958"/>
                </a:lnTo>
                <a:lnTo>
                  <a:pt x="482" y="5950"/>
                </a:lnTo>
                <a:lnTo>
                  <a:pt x="483" y="5933"/>
                </a:lnTo>
                <a:lnTo>
                  <a:pt x="483" y="5917"/>
                </a:lnTo>
                <a:lnTo>
                  <a:pt x="484" y="5900"/>
                </a:lnTo>
                <a:lnTo>
                  <a:pt x="485" y="5892"/>
                </a:lnTo>
                <a:lnTo>
                  <a:pt x="487" y="5884"/>
                </a:lnTo>
                <a:lnTo>
                  <a:pt x="489" y="5877"/>
                </a:lnTo>
                <a:lnTo>
                  <a:pt x="493" y="5869"/>
                </a:lnTo>
                <a:lnTo>
                  <a:pt x="493" y="5869"/>
                </a:lnTo>
                <a:lnTo>
                  <a:pt x="495" y="5866"/>
                </a:lnTo>
                <a:lnTo>
                  <a:pt x="499" y="5863"/>
                </a:lnTo>
                <a:lnTo>
                  <a:pt x="508" y="5857"/>
                </a:lnTo>
                <a:lnTo>
                  <a:pt x="516" y="5854"/>
                </a:lnTo>
                <a:lnTo>
                  <a:pt x="519" y="5853"/>
                </a:lnTo>
                <a:lnTo>
                  <a:pt x="519" y="5853"/>
                </a:lnTo>
                <a:lnTo>
                  <a:pt x="526" y="5851"/>
                </a:lnTo>
                <a:lnTo>
                  <a:pt x="532" y="5848"/>
                </a:lnTo>
                <a:lnTo>
                  <a:pt x="538" y="5845"/>
                </a:lnTo>
                <a:lnTo>
                  <a:pt x="544" y="5840"/>
                </a:lnTo>
                <a:lnTo>
                  <a:pt x="544" y="5840"/>
                </a:lnTo>
                <a:lnTo>
                  <a:pt x="585" y="5859"/>
                </a:lnTo>
                <a:lnTo>
                  <a:pt x="626" y="5877"/>
                </a:lnTo>
                <a:lnTo>
                  <a:pt x="668" y="5896"/>
                </a:lnTo>
                <a:lnTo>
                  <a:pt x="709" y="5917"/>
                </a:lnTo>
                <a:lnTo>
                  <a:pt x="748" y="5938"/>
                </a:lnTo>
                <a:lnTo>
                  <a:pt x="789" y="5961"/>
                </a:lnTo>
                <a:lnTo>
                  <a:pt x="830" y="5983"/>
                </a:lnTo>
                <a:lnTo>
                  <a:pt x="870" y="6007"/>
                </a:lnTo>
                <a:lnTo>
                  <a:pt x="910" y="6031"/>
                </a:lnTo>
                <a:lnTo>
                  <a:pt x="949" y="6056"/>
                </a:lnTo>
                <a:lnTo>
                  <a:pt x="1027" y="6106"/>
                </a:lnTo>
                <a:lnTo>
                  <a:pt x="1103" y="6158"/>
                </a:lnTo>
                <a:lnTo>
                  <a:pt x="1178" y="6211"/>
                </a:lnTo>
                <a:lnTo>
                  <a:pt x="1178" y="6211"/>
                </a:lnTo>
                <a:lnTo>
                  <a:pt x="1197" y="6225"/>
                </a:lnTo>
                <a:lnTo>
                  <a:pt x="1215" y="6236"/>
                </a:lnTo>
                <a:lnTo>
                  <a:pt x="1215" y="6236"/>
                </a:lnTo>
                <a:lnTo>
                  <a:pt x="1208" y="6258"/>
                </a:lnTo>
                <a:lnTo>
                  <a:pt x="1199" y="6281"/>
                </a:lnTo>
                <a:lnTo>
                  <a:pt x="1189" y="6305"/>
                </a:lnTo>
                <a:lnTo>
                  <a:pt x="1177" y="6331"/>
                </a:lnTo>
                <a:lnTo>
                  <a:pt x="1177" y="6331"/>
                </a:lnTo>
                <a:lnTo>
                  <a:pt x="1137" y="6407"/>
                </a:lnTo>
                <a:lnTo>
                  <a:pt x="1118" y="6443"/>
                </a:lnTo>
                <a:lnTo>
                  <a:pt x="1100" y="6479"/>
                </a:lnTo>
                <a:lnTo>
                  <a:pt x="1093" y="6497"/>
                </a:lnTo>
                <a:lnTo>
                  <a:pt x="1087" y="6514"/>
                </a:lnTo>
                <a:lnTo>
                  <a:pt x="1081" y="6530"/>
                </a:lnTo>
                <a:lnTo>
                  <a:pt x="1077" y="6547"/>
                </a:lnTo>
                <a:lnTo>
                  <a:pt x="1074" y="6562"/>
                </a:lnTo>
                <a:lnTo>
                  <a:pt x="1072" y="6576"/>
                </a:lnTo>
                <a:lnTo>
                  <a:pt x="1072" y="6591"/>
                </a:lnTo>
                <a:lnTo>
                  <a:pt x="1073" y="6603"/>
                </a:lnTo>
                <a:lnTo>
                  <a:pt x="1073" y="6603"/>
                </a:lnTo>
                <a:lnTo>
                  <a:pt x="1075" y="6612"/>
                </a:lnTo>
                <a:lnTo>
                  <a:pt x="1077" y="6621"/>
                </a:lnTo>
                <a:lnTo>
                  <a:pt x="1080" y="6629"/>
                </a:lnTo>
                <a:lnTo>
                  <a:pt x="1083" y="6638"/>
                </a:lnTo>
                <a:lnTo>
                  <a:pt x="1087" y="6645"/>
                </a:lnTo>
                <a:lnTo>
                  <a:pt x="1092" y="6652"/>
                </a:lnTo>
                <a:lnTo>
                  <a:pt x="1097" y="6658"/>
                </a:lnTo>
                <a:lnTo>
                  <a:pt x="1102" y="6664"/>
                </a:lnTo>
                <a:lnTo>
                  <a:pt x="1108" y="6669"/>
                </a:lnTo>
                <a:lnTo>
                  <a:pt x="1115" y="6674"/>
                </a:lnTo>
                <a:lnTo>
                  <a:pt x="1122" y="6679"/>
                </a:lnTo>
                <a:lnTo>
                  <a:pt x="1129" y="6682"/>
                </a:lnTo>
                <a:lnTo>
                  <a:pt x="1137" y="6685"/>
                </a:lnTo>
                <a:lnTo>
                  <a:pt x="1145" y="6687"/>
                </a:lnTo>
                <a:lnTo>
                  <a:pt x="1154" y="6689"/>
                </a:lnTo>
                <a:lnTo>
                  <a:pt x="1163" y="6690"/>
                </a:lnTo>
                <a:lnTo>
                  <a:pt x="1163" y="6690"/>
                </a:lnTo>
                <a:lnTo>
                  <a:pt x="1173" y="6690"/>
                </a:lnTo>
                <a:lnTo>
                  <a:pt x="1183" y="6689"/>
                </a:lnTo>
                <a:lnTo>
                  <a:pt x="1192" y="6687"/>
                </a:lnTo>
                <a:lnTo>
                  <a:pt x="1201" y="6685"/>
                </a:lnTo>
                <a:lnTo>
                  <a:pt x="1210" y="6682"/>
                </a:lnTo>
                <a:lnTo>
                  <a:pt x="1218" y="6677"/>
                </a:lnTo>
                <a:lnTo>
                  <a:pt x="1226" y="6673"/>
                </a:lnTo>
                <a:lnTo>
                  <a:pt x="1233" y="6668"/>
                </a:lnTo>
                <a:lnTo>
                  <a:pt x="1240" y="6662"/>
                </a:lnTo>
                <a:lnTo>
                  <a:pt x="1246" y="6657"/>
                </a:lnTo>
                <a:lnTo>
                  <a:pt x="1252" y="6651"/>
                </a:lnTo>
                <a:lnTo>
                  <a:pt x="1257" y="6644"/>
                </a:lnTo>
                <a:lnTo>
                  <a:pt x="1261" y="6637"/>
                </a:lnTo>
                <a:lnTo>
                  <a:pt x="1265" y="6629"/>
                </a:lnTo>
                <a:lnTo>
                  <a:pt x="1268" y="6622"/>
                </a:lnTo>
                <a:lnTo>
                  <a:pt x="1270" y="6614"/>
                </a:lnTo>
                <a:lnTo>
                  <a:pt x="1270" y="6614"/>
                </a:lnTo>
                <a:lnTo>
                  <a:pt x="1272" y="6598"/>
                </a:lnTo>
                <a:lnTo>
                  <a:pt x="1273" y="6582"/>
                </a:lnTo>
                <a:lnTo>
                  <a:pt x="1271" y="6570"/>
                </a:lnTo>
                <a:lnTo>
                  <a:pt x="1268" y="6558"/>
                </a:lnTo>
                <a:lnTo>
                  <a:pt x="1263" y="6549"/>
                </a:lnTo>
                <a:lnTo>
                  <a:pt x="1258" y="6539"/>
                </a:lnTo>
                <a:lnTo>
                  <a:pt x="1251" y="6532"/>
                </a:lnTo>
                <a:lnTo>
                  <a:pt x="1243" y="6527"/>
                </a:lnTo>
                <a:lnTo>
                  <a:pt x="1236" y="6522"/>
                </a:lnTo>
                <a:lnTo>
                  <a:pt x="1229" y="6518"/>
                </a:lnTo>
                <a:lnTo>
                  <a:pt x="1215" y="6513"/>
                </a:lnTo>
                <a:lnTo>
                  <a:pt x="1206" y="6511"/>
                </a:lnTo>
                <a:lnTo>
                  <a:pt x="1201" y="6511"/>
                </a:lnTo>
                <a:lnTo>
                  <a:pt x="1201" y="6511"/>
                </a:lnTo>
                <a:lnTo>
                  <a:pt x="1217" y="6466"/>
                </a:lnTo>
                <a:lnTo>
                  <a:pt x="1229" y="6430"/>
                </a:lnTo>
                <a:lnTo>
                  <a:pt x="1240" y="6401"/>
                </a:lnTo>
                <a:lnTo>
                  <a:pt x="1240" y="6401"/>
                </a:lnTo>
                <a:lnTo>
                  <a:pt x="1248" y="6381"/>
                </a:lnTo>
                <a:lnTo>
                  <a:pt x="1258" y="6363"/>
                </a:lnTo>
                <a:lnTo>
                  <a:pt x="1266" y="6345"/>
                </a:lnTo>
                <a:lnTo>
                  <a:pt x="1275" y="6329"/>
                </a:lnTo>
                <a:lnTo>
                  <a:pt x="1283" y="6314"/>
                </a:lnTo>
                <a:lnTo>
                  <a:pt x="1292" y="6299"/>
                </a:lnTo>
                <a:lnTo>
                  <a:pt x="1310" y="6275"/>
                </a:lnTo>
                <a:lnTo>
                  <a:pt x="1327" y="6254"/>
                </a:lnTo>
                <a:lnTo>
                  <a:pt x="1345" y="6237"/>
                </a:lnTo>
                <a:lnTo>
                  <a:pt x="1361" y="6224"/>
                </a:lnTo>
                <a:lnTo>
                  <a:pt x="1376" y="6212"/>
                </a:lnTo>
                <a:lnTo>
                  <a:pt x="1391" y="6205"/>
                </a:lnTo>
                <a:lnTo>
                  <a:pt x="1404" y="6199"/>
                </a:lnTo>
                <a:lnTo>
                  <a:pt x="1416" y="6195"/>
                </a:lnTo>
                <a:lnTo>
                  <a:pt x="1426" y="6193"/>
                </a:lnTo>
                <a:lnTo>
                  <a:pt x="1435" y="6192"/>
                </a:lnTo>
                <a:lnTo>
                  <a:pt x="1441" y="6192"/>
                </a:lnTo>
                <a:lnTo>
                  <a:pt x="1446" y="6192"/>
                </a:lnTo>
                <a:lnTo>
                  <a:pt x="1446" y="6192"/>
                </a:lnTo>
                <a:lnTo>
                  <a:pt x="1442" y="6188"/>
                </a:lnTo>
                <a:lnTo>
                  <a:pt x="1437" y="6183"/>
                </a:lnTo>
                <a:lnTo>
                  <a:pt x="1432" y="6175"/>
                </a:lnTo>
                <a:lnTo>
                  <a:pt x="1425" y="6166"/>
                </a:lnTo>
                <a:lnTo>
                  <a:pt x="1420" y="6155"/>
                </a:lnTo>
                <a:lnTo>
                  <a:pt x="1414" y="6142"/>
                </a:lnTo>
                <a:lnTo>
                  <a:pt x="1409" y="6125"/>
                </a:lnTo>
                <a:lnTo>
                  <a:pt x="1406" y="6108"/>
                </a:lnTo>
                <a:lnTo>
                  <a:pt x="1404" y="6088"/>
                </a:lnTo>
                <a:lnTo>
                  <a:pt x="1404" y="6065"/>
                </a:lnTo>
                <a:lnTo>
                  <a:pt x="1405" y="6053"/>
                </a:lnTo>
                <a:lnTo>
                  <a:pt x="1407" y="6041"/>
                </a:lnTo>
                <a:lnTo>
                  <a:pt x="1409" y="6027"/>
                </a:lnTo>
                <a:lnTo>
                  <a:pt x="1413" y="6013"/>
                </a:lnTo>
                <a:lnTo>
                  <a:pt x="1417" y="5999"/>
                </a:lnTo>
                <a:lnTo>
                  <a:pt x="1422" y="5983"/>
                </a:lnTo>
                <a:lnTo>
                  <a:pt x="1428" y="5968"/>
                </a:lnTo>
                <a:lnTo>
                  <a:pt x="1436" y="5952"/>
                </a:lnTo>
                <a:lnTo>
                  <a:pt x="1444" y="5934"/>
                </a:lnTo>
                <a:lnTo>
                  <a:pt x="1453" y="5917"/>
                </a:lnTo>
                <a:lnTo>
                  <a:pt x="1453" y="5917"/>
                </a:lnTo>
                <a:lnTo>
                  <a:pt x="1473" y="5880"/>
                </a:lnTo>
                <a:lnTo>
                  <a:pt x="1490" y="5844"/>
                </a:lnTo>
                <a:lnTo>
                  <a:pt x="1505" y="5811"/>
                </a:lnTo>
                <a:lnTo>
                  <a:pt x="1516" y="5780"/>
                </a:lnTo>
                <a:lnTo>
                  <a:pt x="1527" y="5749"/>
                </a:lnTo>
                <a:lnTo>
                  <a:pt x="1535" y="5719"/>
                </a:lnTo>
                <a:lnTo>
                  <a:pt x="1541" y="5691"/>
                </a:lnTo>
                <a:lnTo>
                  <a:pt x="1546" y="5663"/>
                </a:lnTo>
                <a:lnTo>
                  <a:pt x="1546" y="5663"/>
                </a:lnTo>
                <a:lnTo>
                  <a:pt x="1547" y="5654"/>
                </a:lnTo>
                <a:lnTo>
                  <a:pt x="1546" y="5645"/>
                </a:lnTo>
                <a:lnTo>
                  <a:pt x="1545" y="5636"/>
                </a:lnTo>
                <a:lnTo>
                  <a:pt x="1542" y="5626"/>
                </a:lnTo>
                <a:lnTo>
                  <a:pt x="1538" y="5617"/>
                </a:lnTo>
                <a:lnTo>
                  <a:pt x="1534" y="5609"/>
                </a:lnTo>
                <a:lnTo>
                  <a:pt x="1529" y="5600"/>
                </a:lnTo>
                <a:lnTo>
                  <a:pt x="1523" y="5592"/>
                </a:lnTo>
                <a:lnTo>
                  <a:pt x="1515" y="5585"/>
                </a:lnTo>
                <a:lnTo>
                  <a:pt x="1508" y="5577"/>
                </a:lnTo>
                <a:lnTo>
                  <a:pt x="1500" y="5571"/>
                </a:lnTo>
                <a:lnTo>
                  <a:pt x="1492" y="5566"/>
                </a:lnTo>
                <a:lnTo>
                  <a:pt x="1484" y="5561"/>
                </a:lnTo>
                <a:lnTo>
                  <a:pt x="1474" y="5558"/>
                </a:lnTo>
                <a:lnTo>
                  <a:pt x="1465" y="5556"/>
                </a:lnTo>
                <a:lnTo>
                  <a:pt x="1455" y="5554"/>
                </a:lnTo>
                <a:lnTo>
                  <a:pt x="1455" y="5554"/>
                </a:lnTo>
                <a:lnTo>
                  <a:pt x="1445" y="5554"/>
                </a:lnTo>
                <a:lnTo>
                  <a:pt x="1436" y="5555"/>
                </a:lnTo>
                <a:lnTo>
                  <a:pt x="1425" y="5557"/>
                </a:lnTo>
                <a:lnTo>
                  <a:pt x="1416" y="5560"/>
                </a:lnTo>
                <a:lnTo>
                  <a:pt x="1407" y="5564"/>
                </a:lnTo>
                <a:lnTo>
                  <a:pt x="1399" y="5568"/>
                </a:lnTo>
                <a:lnTo>
                  <a:pt x="1391" y="5574"/>
                </a:lnTo>
                <a:lnTo>
                  <a:pt x="1382" y="5579"/>
                </a:lnTo>
                <a:lnTo>
                  <a:pt x="1375" y="5587"/>
                </a:lnTo>
                <a:lnTo>
                  <a:pt x="1369" y="5593"/>
                </a:lnTo>
                <a:lnTo>
                  <a:pt x="1363" y="5600"/>
                </a:lnTo>
                <a:lnTo>
                  <a:pt x="1358" y="5608"/>
                </a:lnTo>
                <a:lnTo>
                  <a:pt x="1354" y="5616"/>
                </a:lnTo>
                <a:lnTo>
                  <a:pt x="1350" y="5624"/>
                </a:lnTo>
                <a:lnTo>
                  <a:pt x="1348" y="5633"/>
                </a:lnTo>
                <a:lnTo>
                  <a:pt x="1347" y="5641"/>
                </a:lnTo>
                <a:lnTo>
                  <a:pt x="1347" y="5641"/>
                </a:lnTo>
                <a:lnTo>
                  <a:pt x="1346" y="5661"/>
                </a:lnTo>
                <a:lnTo>
                  <a:pt x="1347" y="5680"/>
                </a:lnTo>
                <a:lnTo>
                  <a:pt x="1351" y="5695"/>
                </a:lnTo>
                <a:lnTo>
                  <a:pt x="1356" y="5707"/>
                </a:lnTo>
                <a:lnTo>
                  <a:pt x="1362" y="5717"/>
                </a:lnTo>
                <a:lnTo>
                  <a:pt x="1369" y="5727"/>
                </a:lnTo>
                <a:lnTo>
                  <a:pt x="1377" y="5734"/>
                </a:lnTo>
                <a:lnTo>
                  <a:pt x="1386" y="5739"/>
                </a:lnTo>
                <a:lnTo>
                  <a:pt x="1394" y="5743"/>
                </a:lnTo>
                <a:lnTo>
                  <a:pt x="1402" y="5747"/>
                </a:lnTo>
                <a:lnTo>
                  <a:pt x="1416" y="5752"/>
                </a:lnTo>
                <a:lnTo>
                  <a:pt x="1422" y="5754"/>
                </a:lnTo>
                <a:lnTo>
                  <a:pt x="1425" y="5756"/>
                </a:lnTo>
                <a:lnTo>
                  <a:pt x="1428" y="5759"/>
                </a:lnTo>
                <a:lnTo>
                  <a:pt x="1428" y="5762"/>
                </a:lnTo>
                <a:lnTo>
                  <a:pt x="1428" y="5762"/>
                </a:lnTo>
                <a:lnTo>
                  <a:pt x="1417" y="5798"/>
                </a:lnTo>
                <a:lnTo>
                  <a:pt x="1405" y="5831"/>
                </a:lnTo>
                <a:lnTo>
                  <a:pt x="1392" y="5861"/>
                </a:lnTo>
                <a:lnTo>
                  <a:pt x="1378" y="5887"/>
                </a:lnTo>
                <a:lnTo>
                  <a:pt x="1365" y="5912"/>
                </a:lnTo>
                <a:lnTo>
                  <a:pt x="1352" y="5933"/>
                </a:lnTo>
                <a:lnTo>
                  <a:pt x="1337" y="5953"/>
                </a:lnTo>
                <a:lnTo>
                  <a:pt x="1323" y="5969"/>
                </a:lnTo>
                <a:lnTo>
                  <a:pt x="1323" y="5969"/>
                </a:lnTo>
                <a:lnTo>
                  <a:pt x="1296" y="5953"/>
                </a:lnTo>
                <a:lnTo>
                  <a:pt x="1263" y="5933"/>
                </a:lnTo>
                <a:lnTo>
                  <a:pt x="1263" y="5933"/>
                </a:lnTo>
                <a:lnTo>
                  <a:pt x="1186" y="5891"/>
                </a:lnTo>
                <a:lnTo>
                  <a:pt x="1111" y="5850"/>
                </a:lnTo>
                <a:lnTo>
                  <a:pt x="1038" y="5811"/>
                </a:lnTo>
                <a:lnTo>
                  <a:pt x="1001" y="5793"/>
                </a:lnTo>
                <a:lnTo>
                  <a:pt x="964" y="5776"/>
                </a:lnTo>
                <a:lnTo>
                  <a:pt x="927" y="5758"/>
                </a:lnTo>
                <a:lnTo>
                  <a:pt x="889" y="5743"/>
                </a:lnTo>
                <a:lnTo>
                  <a:pt x="850" y="5727"/>
                </a:lnTo>
                <a:lnTo>
                  <a:pt x="810" y="5712"/>
                </a:lnTo>
                <a:lnTo>
                  <a:pt x="769" y="5698"/>
                </a:lnTo>
                <a:lnTo>
                  <a:pt x="727" y="5686"/>
                </a:lnTo>
                <a:lnTo>
                  <a:pt x="683" y="5673"/>
                </a:lnTo>
                <a:lnTo>
                  <a:pt x="638" y="5662"/>
                </a:lnTo>
                <a:lnTo>
                  <a:pt x="638" y="5662"/>
                </a:lnTo>
                <a:lnTo>
                  <a:pt x="655" y="5629"/>
                </a:lnTo>
                <a:lnTo>
                  <a:pt x="655" y="5629"/>
                </a:lnTo>
                <a:lnTo>
                  <a:pt x="681" y="5585"/>
                </a:lnTo>
                <a:lnTo>
                  <a:pt x="699" y="5553"/>
                </a:lnTo>
                <a:lnTo>
                  <a:pt x="706" y="5542"/>
                </a:lnTo>
                <a:lnTo>
                  <a:pt x="710" y="5532"/>
                </a:lnTo>
                <a:lnTo>
                  <a:pt x="712" y="5526"/>
                </a:lnTo>
                <a:lnTo>
                  <a:pt x="711" y="5524"/>
                </a:lnTo>
                <a:lnTo>
                  <a:pt x="710" y="5522"/>
                </a:lnTo>
                <a:lnTo>
                  <a:pt x="710" y="5522"/>
                </a:lnTo>
                <a:lnTo>
                  <a:pt x="709" y="5522"/>
                </a:lnTo>
                <a:lnTo>
                  <a:pt x="708" y="5522"/>
                </a:lnTo>
                <a:lnTo>
                  <a:pt x="702" y="5523"/>
                </a:lnTo>
                <a:lnTo>
                  <a:pt x="688" y="5532"/>
                </a:lnTo>
                <a:lnTo>
                  <a:pt x="664" y="5548"/>
                </a:lnTo>
                <a:lnTo>
                  <a:pt x="647" y="5557"/>
                </a:lnTo>
                <a:lnTo>
                  <a:pt x="628" y="5568"/>
                </a:lnTo>
                <a:lnTo>
                  <a:pt x="628" y="5568"/>
                </a:lnTo>
                <a:lnTo>
                  <a:pt x="606" y="5579"/>
                </a:lnTo>
                <a:lnTo>
                  <a:pt x="588" y="5589"/>
                </a:lnTo>
                <a:lnTo>
                  <a:pt x="573" y="5595"/>
                </a:lnTo>
                <a:lnTo>
                  <a:pt x="558" y="5600"/>
                </a:lnTo>
                <a:lnTo>
                  <a:pt x="545" y="5604"/>
                </a:lnTo>
                <a:lnTo>
                  <a:pt x="532" y="5607"/>
                </a:lnTo>
                <a:lnTo>
                  <a:pt x="504" y="5611"/>
                </a:lnTo>
                <a:lnTo>
                  <a:pt x="504" y="5611"/>
                </a:lnTo>
                <a:lnTo>
                  <a:pt x="495" y="5611"/>
                </a:lnTo>
                <a:lnTo>
                  <a:pt x="486" y="5610"/>
                </a:lnTo>
                <a:lnTo>
                  <a:pt x="468" y="5607"/>
                </a:lnTo>
                <a:lnTo>
                  <a:pt x="453" y="5603"/>
                </a:lnTo>
                <a:lnTo>
                  <a:pt x="446" y="5603"/>
                </a:lnTo>
                <a:lnTo>
                  <a:pt x="441" y="5604"/>
                </a:lnTo>
                <a:lnTo>
                  <a:pt x="441" y="5604"/>
                </a:lnTo>
                <a:lnTo>
                  <a:pt x="435" y="5607"/>
                </a:lnTo>
                <a:lnTo>
                  <a:pt x="428" y="5613"/>
                </a:lnTo>
                <a:lnTo>
                  <a:pt x="423" y="5620"/>
                </a:lnTo>
                <a:lnTo>
                  <a:pt x="418" y="5629"/>
                </a:lnTo>
                <a:lnTo>
                  <a:pt x="413" y="5642"/>
                </a:lnTo>
                <a:lnTo>
                  <a:pt x="408" y="5656"/>
                </a:lnTo>
                <a:lnTo>
                  <a:pt x="395" y="5693"/>
                </a:lnTo>
                <a:lnTo>
                  <a:pt x="395" y="5693"/>
                </a:lnTo>
                <a:lnTo>
                  <a:pt x="370" y="5764"/>
                </a:lnTo>
                <a:lnTo>
                  <a:pt x="363" y="5783"/>
                </a:lnTo>
                <a:lnTo>
                  <a:pt x="363" y="5783"/>
                </a:lnTo>
                <a:lnTo>
                  <a:pt x="355" y="5801"/>
                </a:lnTo>
                <a:lnTo>
                  <a:pt x="348" y="5815"/>
                </a:lnTo>
                <a:lnTo>
                  <a:pt x="335" y="5834"/>
                </a:lnTo>
                <a:lnTo>
                  <a:pt x="331" y="5842"/>
                </a:lnTo>
                <a:lnTo>
                  <a:pt x="327" y="5849"/>
                </a:lnTo>
                <a:lnTo>
                  <a:pt x="324" y="5857"/>
                </a:lnTo>
                <a:lnTo>
                  <a:pt x="322" y="5867"/>
                </a:lnTo>
                <a:close/>
                <a:moveTo>
                  <a:pt x="390" y="969"/>
                </a:moveTo>
                <a:lnTo>
                  <a:pt x="390" y="969"/>
                </a:lnTo>
                <a:lnTo>
                  <a:pt x="419" y="968"/>
                </a:lnTo>
                <a:lnTo>
                  <a:pt x="451" y="965"/>
                </a:lnTo>
                <a:lnTo>
                  <a:pt x="483" y="962"/>
                </a:lnTo>
                <a:lnTo>
                  <a:pt x="513" y="958"/>
                </a:lnTo>
                <a:lnTo>
                  <a:pt x="563" y="952"/>
                </a:lnTo>
                <a:lnTo>
                  <a:pt x="583" y="948"/>
                </a:lnTo>
                <a:lnTo>
                  <a:pt x="580" y="644"/>
                </a:lnTo>
                <a:lnTo>
                  <a:pt x="580" y="644"/>
                </a:lnTo>
                <a:lnTo>
                  <a:pt x="531" y="637"/>
                </a:lnTo>
                <a:lnTo>
                  <a:pt x="429" y="621"/>
                </a:lnTo>
                <a:lnTo>
                  <a:pt x="429" y="621"/>
                </a:lnTo>
                <a:lnTo>
                  <a:pt x="416" y="620"/>
                </a:lnTo>
                <a:lnTo>
                  <a:pt x="404" y="619"/>
                </a:lnTo>
                <a:lnTo>
                  <a:pt x="392" y="619"/>
                </a:lnTo>
                <a:lnTo>
                  <a:pt x="381" y="620"/>
                </a:lnTo>
                <a:lnTo>
                  <a:pt x="371" y="622"/>
                </a:lnTo>
                <a:lnTo>
                  <a:pt x="362" y="625"/>
                </a:lnTo>
                <a:lnTo>
                  <a:pt x="353" y="628"/>
                </a:lnTo>
                <a:lnTo>
                  <a:pt x="346" y="632"/>
                </a:lnTo>
                <a:lnTo>
                  <a:pt x="338" y="636"/>
                </a:lnTo>
                <a:lnTo>
                  <a:pt x="331" y="641"/>
                </a:lnTo>
                <a:lnTo>
                  <a:pt x="325" y="646"/>
                </a:lnTo>
                <a:lnTo>
                  <a:pt x="320" y="651"/>
                </a:lnTo>
                <a:lnTo>
                  <a:pt x="311" y="664"/>
                </a:lnTo>
                <a:lnTo>
                  <a:pt x="304" y="676"/>
                </a:lnTo>
                <a:lnTo>
                  <a:pt x="298" y="689"/>
                </a:lnTo>
                <a:lnTo>
                  <a:pt x="293" y="702"/>
                </a:lnTo>
                <a:lnTo>
                  <a:pt x="290" y="715"/>
                </a:lnTo>
                <a:lnTo>
                  <a:pt x="288" y="725"/>
                </a:lnTo>
                <a:lnTo>
                  <a:pt x="287" y="742"/>
                </a:lnTo>
                <a:lnTo>
                  <a:pt x="287" y="748"/>
                </a:lnTo>
                <a:lnTo>
                  <a:pt x="291" y="832"/>
                </a:lnTo>
                <a:lnTo>
                  <a:pt x="291" y="832"/>
                </a:lnTo>
                <a:lnTo>
                  <a:pt x="291" y="838"/>
                </a:lnTo>
                <a:lnTo>
                  <a:pt x="293" y="854"/>
                </a:lnTo>
                <a:lnTo>
                  <a:pt x="298" y="875"/>
                </a:lnTo>
                <a:lnTo>
                  <a:pt x="302" y="887"/>
                </a:lnTo>
                <a:lnTo>
                  <a:pt x="306" y="901"/>
                </a:lnTo>
                <a:lnTo>
                  <a:pt x="311" y="913"/>
                </a:lnTo>
                <a:lnTo>
                  <a:pt x="318" y="925"/>
                </a:lnTo>
                <a:lnTo>
                  <a:pt x="326" y="938"/>
                </a:lnTo>
                <a:lnTo>
                  <a:pt x="335" y="948"/>
                </a:lnTo>
                <a:lnTo>
                  <a:pt x="340" y="952"/>
                </a:lnTo>
                <a:lnTo>
                  <a:pt x="347" y="956"/>
                </a:lnTo>
                <a:lnTo>
                  <a:pt x="353" y="960"/>
                </a:lnTo>
                <a:lnTo>
                  <a:pt x="359" y="963"/>
                </a:lnTo>
                <a:lnTo>
                  <a:pt x="366" y="965"/>
                </a:lnTo>
                <a:lnTo>
                  <a:pt x="373" y="967"/>
                </a:lnTo>
                <a:lnTo>
                  <a:pt x="381" y="968"/>
                </a:lnTo>
                <a:lnTo>
                  <a:pt x="390" y="969"/>
                </a:lnTo>
                <a:close/>
                <a:moveTo>
                  <a:pt x="1101" y="856"/>
                </a:moveTo>
                <a:lnTo>
                  <a:pt x="1101" y="856"/>
                </a:lnTo>
                <a:lnTo>
                  <a:pt x="1103" y="835"/>
                </a:lnTo>
                <a:lnTo>
                  <a:pt x="1103" y="813"/>
                </a:lnTo>
                <a:lnTo>
                  <a:pt x="1103" y="770"/>
                </a:lnTo>
                <a:lnTo>
                  <a:pt x="1103" y="770"/>
                </a:lnTo>
                <a:lnTo>
                  <a:pt x="1102" y="609"/>
                </a:lnTo>
                <a:lnTo>
                  <a:pt x="1102" y="609"/>
                </a:lnTo>
                <a:lnTo>
                  <a:pt x="1102" y="599"/>
                </a:lnTo>
                <a:lnTo>
                  <a:pt x="1101" y="589"/>
                </a:lnTo>
                <a:lnTo>
                  <a:pt x="1100" y="578"/>
                </a:lnTo>
                <a:lnTo>
                  <a:pt x="1097" y="565"/>
                </a:lnTo>
                <a:lnTo>
                  <a:pt x="1094" y="555"/>
                </a:lnTo>
                <a:lnTo>
                  <a:pt x="1092" y="551"/>
                </a:lnTo>
                <a:lnTo>
                  <a:pt x="1089" y="548"/>
                </a:lnTo>
                <a:lnTo>
                  <a:pt x="1086" y="546"/>
                </a:lnTo>
                <a:lnTo>
                  <a:pt x="1082" y="545"/>
                </a:lnTo>
                <a:lnTo>
                  <a:pt x="1082" y="545"/>
                </a:lnTo>
                <a:lnTo>
                  <a:pt x="1049" y="545"/>
                </a:lnTo>
                <a:lnTo>
                  <a:pt x="1031" y="546"/>
                </a:lnTo>
                <a:lnTo>
                  <a:pt x="1020" y="547"/>
                </a:lnTo>
                <a:lnTo>
                  <a:pt x="1020" y="547"/>
                </a:lnTo>
                <a:lnTo>
                  <a:pt x="1017" y="552"/>
                </a:lnTo>
                <a:lnTo>
                  <a:pt x="1015" y="559"/>
                </a:lnTo>
                <a:lnTo>
                  <a:pt x="1009" y="578"/>
                </a:lnTo>
                <a:lnTo>
                  <a:pt x="1003" y="597"/>
                </a:lnTo>
                <a:lnTo>
                  <a:pt x="1000" y="604"/>
                </a:lnTo>
                <a:lnTo>
                  <a:pt x="998" y="609"/>
                </a:lnTo>
                <a:lnTo>
                  <a:pt x="978" y="547"/>
                </a:lnTo>
                <a:lnTo>
                  <a:pt x="978" y="547"/>
                </a:lnTo>
                <a:lnTo>
                  <a:pt x="962" y="546"/>
                </a:lnTo>
                <a:lnTo>
                  <a:pt x="939" y="546"/>
                </a:lnTo>
                <a:lnTo>
                  <a:pt x="914" y="547"/>
                </a:lnTo>
                <a:lnTo>
                  <a:pt x="900" y="549"/>
                </a:lnTo>
                <a:lnTo>
                  <a:pt x="900" y="549"/>
                </a:lnTo>
                <a:lnTo>
                  <a:pt x="895" y="561"/>
                </a:lnTo>
                <a:lnTo>
                  <a:pt x="889" y="579"/>
                </a:lnTo>
                <a:lnTo>
                  <a:pt x="882" y="597"/>
                </a:lnTo>
                <a:lnTo>
                  <a:pt x="877" y="609"/>
                </a:lnTo>
                <a:lnTo>
                  <a:pt x="858" y="550"/>
                </a:lnTo>
                <a:lnTo>
                  <a:pt x="858" y="550"/>
                </a:lnTo>
                <a:lnTo>
                  <a:pt x="845" y="549"/>
                </a:lnTo>
                <a:lnTo>
                  <a:pt x="821" y="549"/>
                </a:lnTo>
                <a:lnTo>
                  <a:pt x="797" y="550"/>
                </a:lnTo>
                <a:lnTo>
                  <a:pt x="788" y="551"/>
                </a:lnTo>
                <a:lnTo>
                  <a:pt x="784" y="551"/>
                </a:lnTo>
                <a:lnTo>
                  <a:pt x="784" y="551"/>
                </a:lnTo>
                <a:lnTo>
                  <a:pt x="780" y="556"/>
                </a:lnTo>
                <a:lnTo>
                  <a:pt x="777" y="563"/>
                </a:lnTo>
                <a:lnTo>
                  <a:pt x="770" y="581"/>
                </a:lnTo>
                <a:lnTo>
                  <a:pt x="763" y="598"/>
                </a:lnTo>
                <a:lnTo>
                  <a:pt x="758" y="609"/>
                </a:lnTo>
                <a:lnTo>
                  <a:pt x="739" y="551"/>
                </a:lnTo>
                <a:lnTo>
                  <a:pt x="739" y="551"/>
                </a:lnTo>
                <a:lnTo>
                  <a:pt x="722" y="551"/>
                </a:lnTo>
                <a:lnTo>
                  <a:pt x="691" y="551"/>
                </a:lnTo>
                <a:lnTo>
                  <a:pt x="691" y="551"/>
                </a:lnTo>
                <a:lnTo>
                  <a:pt x="686" y="552"/>
                </a:lnTo>
                <a:lnTo>
                  <a:pt x="682" y="553"/>
                </a:lnTo>
                <a:lnTo>
                  <a:pt x="678" y="555"/>
                </a:lnTo>
                <a:lnTo>
                  <a:pt x="674" y="557"/>
                </a:lnTo>
                <a:lnTo>
                  <a:pt x="668" y="564"/>
                </a:lnTo>
                <a:lnTo>
                  <a:pt x="663" y="573"/>
                </a:lnTo>
                <a:lnTo>
                  <a:pt x="658" y="581"/>
                </a:lnTo>
                <a:lnTo>
                  <a:pt x="655" y="591"/>
                </a:lnTo>
                <a:lnTo>
                  <a:pt x="654" y="600"/>
                </a:lnTo>
                <a:lnTo>
                  <a:pt x="653" y="608"/>
                </a:lnTo>
                <a:lnTo>
                  <a:pt x="653" y="608"/>
                </a:lnTo>
                <a:lnTo>
                  <a:pt x="654" y="686"/>
                </a:lnTo>
                <a:lnTo>
                  <a:pt x="655" y="765"/>
                </a:lnTo>
                <a:lnTo>
                  <a:pt x="655" y="765"/>
                </a:lnTo>
                <a:lnTo>
                  <a:pt x="658" y="869"/>
                </a:lnTo>
                <a:lnTo>
                  <a:pt x="661" y="947"/>
                </a:lnTo>
                <a:lnTo>
                  <a:pt x="661" y="947"/>
                </a:lnTo>
                <a:lnTo>
                  <a:pt x="680" y="946"/>
                </a:lnTo>
                <a:lnTo>
                  <a:pt x="690" y="944"/>
                </a:lnTo>
                <a:lnTo>
                  <a:pt x="698" y="943"/>
                </a:lnTo>
                <a:lnTo>
                  <a:pt x="707" y="941"/>
                </a:lnTo>
                <a:lnTo>
                  <a:pt x="715" y="938"/>
                </a:lnTo>
                <a:lnTo>
                  <a:pt x="721" y="933"/>
                </a:lnTo>
                <a:lnTo>
                  <a:pt x="727" y="929"/>
                </a:lnTo>
                <a:lnTo>
                  <a:pt x="727" y="929"/>
                </a:lnTo>
                <a:lnTo>
                  <a:pt x="732" y="924"/>
                </a:lnTo>
                <a:lnTo>
                  <a:pt x="736" y="919"/>
                </a:lnTo>
                <a:lnTo>
                  <a:pt x="743" y="908"/>
                </a:lnTo>
                <a:lnTo>
                  <a:pt x="748" y="897"/>
                </a:lnTo>
                <a:lnTo>
                  <a:pt x="753" y="886"/>
                </a:lnTo>
                <a:lnTo>
                  <a:pt x="756" y="876"/>
                </a:lnTo>
                <a:lnTo>
                  <a:pt x="757" y="869"/>
                </a:lnTo>
                <a:lnTo>
                  <a:pt x="758" y="862"/>
                </a:lnTo>
                <a:lnTo>
                  <a:pt x="758" y="862"/>
                </a:lnTo>
                <a:lnTo>
                  <a:pt x="758" y="882"/>
                </a:lnTo>
                <a:lnTo>
                  <a:pt x="758" y="912"/>
                </a:lnTo>
                <a:lnTo>
                  <a:pt x="759" y="942"/>
                </a:lnTo>
                <a:lnTo>
                  <a:pt x="761" y="965"/>
                </a:lnTo>
                <a:lnTo>
                  <a:pt x="761" y="965"/>
                </a:lnTo>
                <a:lnTo>
                  <a:pt x="761" y="966"/>
                </a:lnTo>
                <a:lnTo>
                  <a:pt x="763" y="967"/>
                </a:lnTo>
                <a:lnTo>
                  <a:pt x="769" y="969"/>
                </a:lnTo>
                <a:lnTo>
                  <a:pt x="778" y="970"/>
                </a:lnTo>
                <a:lnTo>
                  <a:pt x="789" y="970"/>
                </a:lnTo>
                <a:lnTo>
                  <a:pt x="803" y="968"/>
                </a:lnTo>
                <a:lnTo>
                  <a:pt x="816" y="963"/>
                </a:lnTo>
                <a:lnTo>
                  <a:pt x="822" y="960"/>
                </a:lnTo>
                <a:lnTo>
                  <a:pt x="829" y="957"/>
                </a:lnTo>
                <a:lnTo>
                  <a:pt x="835" y="952"/>
                </a:lnTo>
                <a:lnTo>
                  <a:pt x="842" y="947"/>
                </a:lnTo>
                <a:lnTo>
                  <a:pt x="842" y="947"/>
                </a:lnTo>
                <a:lnTo>
                  <a:pt x="850" y="937"/>
                </a:lnTo>
                <a:lnTo>
                  <a:pt x="857" y="925"/>
                </a:lnTo>
                <a:lnTo>
                  <a:pt x="862" y="913"/>
                </a:lnTo>
                <a:lnTo>
                  <a:pt x="866" y="901"/>
                </a:lnTo>
                <a:lnTo>
                  <a:pt x="873" y="878"/>
                </a:lnTo>
                <a:lnTo>
                  <a:pt x="877" y="862"/>
                </a:lnTo>
                <a:lnTo>
                  <a:pt x="877" y="862"/>
                </a:lnTo>
                <a:lnTo>
                  <a:pt x="877" y="893"/>
                </a:lnTo>
                <a:lnTo>
                  <a:pt x="878" y="926"/>
                </a:lnTo>
                <a:lnTo>
                  <a:pt x="880" y="953"/>
                </a:lnTo>
                <a:lnTo>
                  <a:pt x="881" y="962"/>
                </a:lnTo>
                <a:lnTo>
                  <a:pt x="882" y="964"/>
                </a:lnTo>
                <a:lnTo>
                  <a:pt x="883" y="965"/>
                </a:lnTo>
                <a:lnTo>
                  <a:pt x="883" y="965"/>
                </a:lnTo>
                <a:lnTo>
                  <a:pt x="890" y="966"/>
                </a:lnTo>
                <a:lnTo>
                  <a:pt x="898" y="966"/>
                </a:lnTo>
                <a:lnTo>
                  <a:pt x="908" y="965"/>
                </a:lnTo>
                <a:lnTo>
                  <a:pt x="919" y="963"/>
                </a:lnTo>
                <a:lnTo>
                  <a:pt x="930" y="960"/>
                </a:lnTo>
                <a:lnTo>
                  <a:pt x="942" y="956"/>
                </a:lnTo>
                <a:lnTo>
                  <a:pt x="953" y="950"/>
                </a:lnTo>
                <a:lnTo>
                  <a:pt x="958" y="946"/>
                </a:lnTo>
                <a:lnTo>
                  <a:pt x="962" y="942"/>
                </a:lnTo>
                <a:lnTo>
                  <a:pt x="962" y="942"/>
                </a:lnTo>
                <a:lnTo>
                  <a:pt x="970" y="932"/>
                </a:lnTo>
                <a:lnTo>
                  <a:pt x="978" y="922"/>
                </a:lnTo>
                <a:lnTo>
                  <a:pt x="984" y="912"/>
                </a:lnTo>
                <a:lnTo>
                  <a:pt x="989" y="901"/>
                </a:lnTo>
                <a:lnTo>
                  <a:pt x="992" y="890"/>
                </a:lnTo>
                <a:lnTo>
                  <a:pt x="995" y="879"/>
                </a:lnTo>
                <a:lnTo>
                  <a:pt x="998" y="862"/>
                </a:lnTo>
                <a:lnTo>
                  <a:pt x="998" y="862"/>
                </a:lnTo>
                <a:lnTo>
                  <a:pt x="998" y="891"/>
                </a:lnTo>
                <a:lnTo>
                  <a:pt x="999" y="915"/>
                </a:lnTo>
                <a:lnTo>
                  <a:pt x="1001" y="936"/>
                </a:lnTo>
                <a:lnTo>
                  <a:pt x="1001" y="936"/>
                </a:lnTo>
                <a:lnTo>
                  <a:pt x="1015" y="935"/>
                </a:lnTo>
                <a:lnTo>
                  <a:pt x="1024" y="933"/>
                </a:lnTo>
                <a:lnTo>
                  <a:pt x="1032" y="931"/>
                </a:lnTo>
                <a:lnTo>
                  <a:pt x="1032" y="931"/>
                </a:lnTo>
                <a:lnTo>
                  <a:pt x="1046" y="925"/>
                </a:lnTo>
                <a:lnTo>
                  <a:pt x="1057" y="920"/>
                </a:lnTo>
                <a:lnTo>
                  <a:pt x="1068" y="913"/>
                </a:lnTo>
                <a:lnTo>
                  <a:pt x="1068" y="913"/>
                </a:lnTo>
                <a:lnTo>
                  <a:pt x="1078" y="905"/>
                </a:lnTo>
                <a:lnTo>
                  <a:pt x="1083" y="900"/>
                </a:lnTo>
                <a:lnTo>
                  <a:pt x="1088" y="894"/>
                </a:lnTo>
                <a:lnTo>
                  <a:pt x="1092" y="887"/>
                </a:lnTo>
                <a:lnTo>
                  <a:pt x="1096" y="878"/>
                </a:lnTo>
                <a:lnTo>
                  <a:pt x="1099" y="868"/>
                </a:lnTo>
                <a:lnTo>
                  <a:pt x="1101" y="856"/>
                </a:lnTo>
                <a:close/>
                <a:moveTo>
                  <a:pt x="1266" y="1010"/>
                </a:moveTo>
                <a:lnTo>
                  <a:pt x="1266" y="916"/>
                </a:lnTo>
                <a:lnTo>
                  <a:pt x="1266" y="916"/>
                </a:lnTo>
                <a:lnTo>
                  <a:pt x="1261" y="910"/>
                </a:lnTo>
                <a:lnTo>
                  <a:pt x="1255" y="902"/>
                </a:lnTo>
                <a:lnTo>
                  <a:pt x="1247" y="891"/>
                </a:lnTo>
                <a:lnTo>
                  <a:pt x="1240" y="875"/>
                </a:lnTo>
                <a:lnTo>
                  <a:pt x="1237" y="866"/>
                </a:lnTo>
                <a:lnTo>
                  <a:pt x="1234" y="856"/>
                </a:lnTo>
                <a:lnTo>
                  <a:pt x="1232" y="845"/>
                </a:lnTo>
                <a:lnTo>
                  <a:pt x="1229" y="831"/>
                </a:lnTo>
                <a:lnTo>
                  <a:pt x="1228" y="818"/>
                </a:lnTo>
                <a:lnTo>
                  <a:pt x="1227" y="803"/>
                </a:lnTo>
                <a:lnTo>
                  <a:pt x="1227" y="803"/>
                </a:lnTo>
                <a:lnTo>
                  <a:pt x="1227" y="792"/>
                </a:lnTo>
                <a:lnTo>
                  <a:pt x="1228" y="782"/>
                </a:lnTo>
                <a:lnTo>
                  <a:pt x="1229" y="772"/>
                </a:lnTo>
                <a:lnTo>
                  <a:pt x="1232" y="762"/>
                </a:lnTo>
                <a:lnTo>
                  <a:pt x="1238" y="743"/>
                </a:lnTo>
                <a:lnTo>
                  <a:pt x="1244" y="727"/>
                </a:lnTo>
                <a:lnTo>
                  <a:pt x="1252" y="714"/>
                </a:lnTo>
                <a:lnTo>
                  <a:pt x="1258" y="702"/>
                </a:lnTo>
                <a:lnTo>
                  <a:pt x="1264" y="693"/>
                </a:lnTo>
                <a:lnTo>
                  <a:pt x="1263" y="603"/>
                </a:lnTo>
                <a:lnTo>
                  <a:pt x="1263" y="603"/>
                </a:lnTo>
                <a:lnTo>
                  <a:pt x="1254" y="596"/>
                </a:lnTo>
                <a:lnTo>
                  <a:pt x="1230" y="581"/>
                </a:lnTo>
                <a:lnTo>
                  <a:pt x="1216" y="573"/>
                </a:lnTo>
                <a:lnTo>
                  <a:pt x="1201" y="565"/>
                </a:lnTo>
                <a:lnTo>
                  <a:pt x="1194" y="562"/>
                </a:lnTo>
                <a:lnTo>
                  <a:pt x="1188" y="561"/>
                </a:lnTo>
                <a:lnTo>
                  <a:pt x="1182" y="560"/>
                </a:lnTo>
                <a:lnTo>
                  <a:pt x="1176" y="560"/>
                </a:lnTo>
                <a:lnTo>
                  <a:pt x="1177" y="887"/>
                </a:lnTo>
                <a:lnTo>
                  <a:pt x="1177" y="887"/>
                </a:lnTo>
                <a:lnTo>
                  <a:pt x="1177" y="899"/>
                </a:lnTo>
                <a:lnTo>
                  <a:pt x="1174" y="909"/>
                </a:lnTo>
                <a:lnTo>
                  <a:pt x="1170" y="920"/>
                </a:lnTo>
                <a:lnTo>
                  <a:pt x="1164" y="930"/>
                </a:lnTo>
                <a:lnTo>
                  <a:pt x="1156" y="942"/>
                </a:lnTo>
                <a:lnTo>
                  <a:pt x="1148" y="952"/>
                </a:lnTo>
                <a:lnTo>
                  <a:pt x="1138" y="962"/>
                </a:lnTo>
                <a:lnTo>
                  <a:pt x="1128" y="971"/>
                </a:lnTo>
                <a:lnTo>
                  <a:pt x="1117" y="981"/>
                </a:lnTo>
                <a:lnTo>
                  <a:pt x="1104" y="989"/>
                </a:lnTo>
                <a:lnTo>
                  <a:pt x="1092" y="997"/>
                </a:lnTo>
                <a:lnTo>
                  <a:pt x="1079" y="1003"/>
                </a:lnTo>
                <a:lnTo>
                  <a:pt x="1065" y="1009"/>
                </a:lnTo>
                <a:lnTo>
                  <a:pt x="1052" y="1014"/>
                </a:lnTo>
                <a:lnTo>
                  <a:pt x="1039" y="1018"/>
                </a:lnTo>
                <a:lnTo>
                  <a:pt x="1026" y="1021"/>
                </a:lnTo>
                <a:lnTo>
                  <a:pt x="1026" y="1021"/>
                </a:lnTo>
                <a:lnTo>
                  <a:pt x="996" y="1027"/>
                </a:lnTo>
                <a:lnTo>
                  <a:pt x="967" y="1031"/>
                </a:lnTo>
                <a:lnTo>
                  <a:pt x="939" y="1034"/>
                </a:lnTo>
                <a:lnTo>
                  <a:pt x="911" y="1037"/>
                </a:lnTo>
                <a:lnTo>
                  <a:pt x="858" y="1040"/>
                </a:lnTo>
                <a:lnTo>
                  <a:pt x="810" y="1042"/>
                </a:lnTo>
                <a:lnTo>
                  <a:pt x="770" y="1042"/>
                </a:lnTo>
                <a:lnTo>
                  <a:pt x="739" y="1042"/>
                </a:lnTo>
                <a:lnTo>
                  <a:pt x="712" y="1041"/>
                </a:lnTo>
                <a:lnTo>
                  <a:pt x="712" y="1041"/>
                </a:lnTo>
                <a:lnTo>
                  <a:pt x="713" y="1048"/>
                </a:lnTo>
                <a:lnTo>
                  <a:pt x="716" y="1068"/>
                </a:lnTo>
                <a:lnTo>
                  <a:pt x="722" y="1095"/>
                </a:lnTo>
                <a:lnTo>
                  <a:pt x="725" y="1110"/>
                </a:lnTo>
                <a:lnTo>
                  <a:pt x="730" y="1126"/>
                </a:lnTo>
                <a:lnTo>
                  <a:pt x="730" y="1126"/>
                </a:lnTo>
                <a:lnTo>
                  <a:pt x="735" y="1136"/>
                </a:lnTo>
                <a:lnTo>
                  <a:pt x="741" y="1146"/>
                </a:lnTo>
                <a:lnTo>
                  <a:pt x="748" y="1155"/>
                </a:lnTo>
                <a:lnTo>
                  <a:pt x="756" y="1164"/>
                </a:lnTo>
                <a:lnTo>
                  <a:pt x="769" y="1176"/>
                </a:lnTo>
                <a:lnTo>
                  <a:pt x="774" y="1180"/>
                </a:lnTo>
                <a:lnTo>
                  <a:pt x="1163" y="1180"/>
                </a:lnTo>
                <a:lnTo>
                  <a:pt x="1266" y="1010"/>
                </a:lnTo>
                <a:close/>
                <a:moveTo>
                  <a:pt x="773" y="1398"/>
                </a:moveTo>
                <a:lnTo>
                  <a:pt x="1164" y="1398"/>
                </a:lnTo>
                <a:lnTo>
                  <a:pt x="1164" y="1398"/>
                </a:lnTo>
                <a:lnTo>
                  <a:pt x="1175" y="1365"/>
                </a:lnTo>
                <a:lnTo>
                  <a:pt x="1183" y="1339"/>
                </a:lnTo>
                <a:lnTo>
                  <a:pt x="1186" y="1328"/>
                </a:lnTo>
                <a:lnTo>
                  <a:pt x="1188" y="1319"/>
                </a:lnTo>
                <a:lnTo>
                  <a:pt x="1170" y="1256"/>
                </a:lnTo>
                <a:lnTo>
                  <a:pt x="775" y="1256"/>
                </a:lnTo>
                <a:lnTo>
                  <a:pt x="753" y="1321"/>
                </a:lnTo>
                <a:lnTo>
                  <a:pt x="773" y="1398"/>
                </a:lnTo>
                <a:close/>
                <a:moveTo>
                  <a:pt x="1164" y="1471"/>
                </a:moveTo>
                <a:lnTo>
                  <a:pt x="782" y="1471"/>
                </a:lnTo>
                <a:lnTo>
                  <a:pt x="780" y="1976"/>
                </a:lnTo>
                <a:lnTo>
                  <a:pt x="1111" y="1985"/>
                </a:lnTo>
                <a:lnTo>
                  <a:pt x="1216" y="1902"/>
                </a:lnTo>
                <a:lnTo>
                  <a:pt x="1164" y="1471"/>
                </a:lnTo>
                <a:close/>
                <a:moveTo>
                  <a:pt x="1343" y="2103"/>
                </a:moveTo>
                <a:lnTo>
                  <a:pt x="1343" y="2103"/>
                </a:lnTo>
                <a:lnTo>
                  <a:pt x="1309" y="2079"/>
                </a:lnTo>
                <a:lnTo>
                  <a:pt x="1284" y="2061"/>
                </a:lnTo>
                <a:lnTo>
                  <a:pt x="1276" y="2054"/>
                </a:lnTo>
                <a:lnTo>
                  <a:pt x="1271" y="2049"/>
                </a:lnTo>
                <a:lnTo>
                  <a:pt x="1271" y="2049"/>
                </a:lnTo>
                <a:lnTo>
                  <a:pt x="1269" y="2043"/>
                </a:lnTo>
                <a:lnTo>
                  <a:pt x="1267" y="2033"/>
                </a:lnTo>
                <a:lnTo>
                  <a:pt x="1263" y="2004"/>
                </a:lnTo>
                <a:lnTo>
                  <a:pt x="1260" y="1964"/>
                </a:lnTo>
                <a:lnTo>
                  <a:pt x="1138" y="2062"/>
                </a:lnTo>
                <a:lnTo>
                  <a:pt x="765" y="2061"/>
                </a:lnTo>
                <a:lnTo>
                  <a:pt x="765" y="2061"/>
                </a:lnTo>
                <a:lnTo>
                  <a:pt x="765" y="2062"/>
                </a:lnTo>
                <a:lnTo>
                  <a:pt x="764" y="2064"/>
                </a:lnTo>
                <a:lnTo>
                  <a:pt x="762" y="2072"/>
                </a:lnTo>
                <a:lnTo>
                  <a:pt x="760" y="2103"/>
                </a:lnTo>
                <a:lnTo>
                  <a:pt x="759" y="2147"/>
                </a:lnTo>
                <a:lnTo>
                  <a:pt x="758" y="2197"/>
                </a:lnTo>
                <a:lnTo>
                  <a:pt x="757" y="2291"/>
                </a:lnTo>
                <a:lnTo>
                  <a:pt x="757" y="2333"/>
                </a:lnTo>
                <a:lnTo>
                  <a:pt x="757" y="2333"/>
                </a:lnTo>
                <a:lnTo>
                  <a:pt x="786" y="2359"/>
                </a:lnTo>
                <a:lnTo>
                  <a:pt x="852" y="2412"/>
                </a:lnTo>
                <a:lnTo>
                  <a:pt x="888" y="2441"/>
                </a:lnTo>
                <a:lnTo>
                  <a:pt x="919" y="2465"/>
                </a:lnTo>
                <a:lnTo>
                  <a:pt x="943" y="2481"/>
                </a:lnTo>
                <a:lnTo>
                  <a:pt x="950" y="2486"/>
                </a:lnTo>
                <a:lnTo>
                  <a:pt x="952" y="2487"/>
                </a:lnTo>
                <a:lnTo>
                  <a:pt x="954" y="2487"/>
                </a:lnTo>
                <a:lnTo>
                  <a:pt x="1205" y="2170"/>
                </a:lnTo>
                <a:lnTo>
                  <a:pt x="1343" y="2103"/>
                </a:lnTo>
                <a:close/>
                <a:moveTo>
                  <a:pt x="1259" y="2225"/>
                </a:moveTo>
                <a:lnTo>
                  <a:pt x="1033" y="2515"/>
                </a:lnTo>
                <a:lnTo>
                  <a:pt x="1402" y="2669"/>
                </a:lnTo>
                <a:lnTo>
                  <a:pt x="1402" y="2669"/>
                </a:lnTo>
                <a:lnTo>
                  <a:pt x="1442" y="2647"/>
                </a:lnTo>
                <a:lnTo>
                  <a:pt x="1485" y="2624"/>
                </a:lnTo>
                <a:lnTo>
                  <a:pt x="1528" y="2599"/>
                </a:lnTo>
                <a:lnTo>
                  <a:pt x="1571" y="2573"/>
                </a:lnTo>
                <a:lnTo>
                  <a:pt x="1656" y="2521"/>
                </a:lnTo>
                <a:lnTo>
                  <a:pt x="1736" y="2471"/>
                </a:lnTo>
                <a:lnTo>
                  <a:pt x="1806" y="2426"/>
                </a:lnTo>
                <a:lnTo>
                  <a:pt x="1862" y="2389"/>
                </a:lnTo>
                <a:lnTo>
                  <a:pt x="1912" y="2356"/>
                </a:lnTo>
                <a:lnTo>
                  <a:pt x="1392" y="2160"/>
                </a:lnTo>
                <a:lnTo>
                  <a:pt x="1259" y="2225"/>
                </a:lnTo>
                <a:close/>
                <a:moveTo>
                  <a:pt x="1462" y="703"/>
                </a:moveTo>
                <a:lnTo>
                  <a:pt x="1462" y="703"/>
                </a:lnTo>
                <a:lnTo>
                  <a:pt x="1461" y="553"/>
                </a:lnTo>
                <a:lnTo>
                  <a:pt x="1461" y="448"/>
                </a:lnTo>
                <a:lnTo>
                  <a:pt x="1462" y="411"/>
                </a:lnTo>
                <a:lnTo>
                  <a:pt x="1463" y="399"/>
                </a:lnTo>
                <a:lnTo>
                  <a:pt x="1464" y="394"/>
                </a:lnTo>
                <a:lnTo>
                  <a:pt x="1464" y="394"/>
                </a:lnTo>
                <a:lnTo>
                  <a:pt x="1469" y="386"/>
                </a:lnTo>
                <a:lnTo>
                  <a:pt x="1474" y="379"/>
                </a:lnTo>
                <a:lnTo>
                  <a:pt x="1480" y="368"/>
                </a:lnTo>
                <a:lnTo>
                  <a:pt x="1480" y="368"/>
                </a:lnTo>
                <a:lnTo>
                  <a:pt x="1483" y="360"/>
                </a:lnTo>
                <a:lnTo>
                  <a:pt x="1484" y="351"/>
                </a:lnTo>
                <a:lnTo>
                  <a:pt x="1484" y="343"/>
                </a:lnTo>
                <a:lnTo>
                  <a:pt x="1483" y="333"/>
                </a:lnTo>
                <a:lnTo>
                  <a:pt x="1481" y="320"/>
                </a:lnTo>
                <a:lnTo>
                  <a:pt x="1480" y="315"/>
                </a:lnTo>
                <a:lnTo>
                  <a:pt x="1298" y="315"/>
                </a:lnTo>
                <a:lnTo>
                  <a:pt x="1298" y="315"/>
                </a:lnTo>
                <a:lnTo>
                  <a:pt x="1297" y="319"/>
                </a:lnTo>
                <a:lnTo>
                  <a:pt x="1296" y="323"/>
                </a:lnTo>
                <a:lnTo>
                  <a:pt x="1296" y="335"/>
                </a:lnTo>
                <a:lnTo>
                  <a:pt x="1297" y="348"/>
                </a:lnTo>
                <a:lnTo>
                  <a:pt x="1299" y="358"/>
                </a:lnTo>
                <a:lnTo>
                  <a:pt x="1299" y="358"/>
                </a:lnTo>
                <a:lnTo>
                  <a:pt x="1303" y="369"/>
                </a:lnTo>
                <a:lnTo>
                  <a:pt x="1309" y="380"/>
                </a:lnTo>
                <a:lnTo>
                  <a:pt x="1316" y="391"/>
                </a:lnTo>
                <a:lnTo>
                  <a:pt x="1320" y="395"/>
                </a:lnTo>
                <a:lnTo>
                  <a:pt x="1325" y="398"/>
                </a:lnTo>
                <a:lnTo>
                  <a:pt x="1325" y="703"/>
                </a:lnTo>
                <a:lnTo>
                  <a:pt x="1325" y="703"/>
                </a:lnTo>
                <a:lnTo>
                  <a:pt x="1321" y="710"/>
                </a:lnTo>
                <a:lnTo>
                  <a:pt x="1316" y="717"/>
                </a:lnTo>
                <a:lnTo>
                  <a:pt x="1311" y="727"/>
                </a:lnTo>
                <a:lnTo>
                  <a:pt x="1306" y="741"/>
                </a:lnTo>
                <a:lnTo>
                  <a:pt x="1301" y="758"/>
                </a:lnTo>
                <a:lnTo>
                  <a:pt x="1296" y="778"/>
                </a:lnTo>
                <a:lnTo>
                  <a:pt x="1292" y="802"/>
                </a:lnTo>
                <a:lnTo>
                  <a:pt x="1292" y="802"/>
                </a:lnTo>
                <a:lnTo>
                  <a:pt x="1292" y="813"/>
                </a:lnTo>
                <a:lnTo>
                  <a:pt x="1292" y="823"/>
                </a:lnTo>
                <a:lnTo>
                  <a:pt x="1293" y="833"/>
                </a:lnTo>
                <a:lnTo>
                  <a:pt x="1296" y="844"/>
                </a:lnTo>
                <a:lnTo>
                  <a:pt x="1302" y="861"/>
                </a:lnTo>
                <a:lnTo>
                  <a:pt x="1308" y="877"/>
                </a:lnTo>
                <a:lnTo>
                  <a:pt x="1315" y="891"/>
                </a:lnTo>
                <a:lnTo>
                  <a:pt x="1321" y="900"/>
                </a:lnTo>
                <a:lnTo>
                  <a:pt x="1327" y="909"/>
                </a:lnTo>
                <a:lnTo>
                  <a:pt x="1323" y="1165"/>
                </a:lnTo>
                <a:lnTo>
                  <a:pt x="1323" y="1165"/>
                </a:lnTo>
                <a:lnTo>
                  <a:pt x="1321" y="1167"/>
                </a:lnTo>
                <a:lnTo>
                  <a:pt x="1315" y="1174"/>
                </a:lnTo>
                <a:lnTo>
                  <a:pt x="1312" y="1179"/>
                </a:lnTo>
                <a:lnTo>
                  <a:pt x="1310" y="1186"/>
                </a:lnTo>
                <a:lnTo>
                  <a:pt x="1307" y="1194"/>
                </a:lnTo>
                <a:lnTo>
                  <a:pt x="1306" y="1203"/>
                </a:lnTo>
                <a:lnTo>
                  <a:pt x="1306" y="1203"/>
                </a:lnTo>
                <a:lnTo>
                  <a:pt x="1306" y="1213"/>
                </a:lnTo>
                <a:lnTo>
                  <a:pt x="1306" y="1221"/>
                </a:lnTo>
                <a:lnTo>
                  <a:pt x="1307" y="1234"/>
                </a:lnTo>
                <a:lnTo>
                  <a:pt x="1309" y="1241"/>
                </a:lnTo>
                <a:lnTo>
                  <a:pt x="1310" y="1243"/>
                </a:lnTo>
                <a:lnTo>
                  <a:pt x="1480" y="1243"/>
                </a:lnTo>
                <a:lnTo>
                  <a:pt x="1480" y="1243"/>
                </a:lnTo>
                <a:lnTo>
                  <a:pt x="1482" y="1235"/>
                </a:lnTo>
                <a:lnTo>
                  <a:pt x="1483" y="1221"/>
                </a:lnTo>
                <a:lnTo>
                  <a:pt x="1482" y="1204"/>
                </a:lnTo>
                <a:lnTo>
                  <a:pt x="1482" y="1196"/>
                </a:lnTo>
                <a:lnTo>
                  <a:pt x="1480" y="1188"/>
                </a:lnTo>
                <a:lnTo>
                  <a:pt x="1480" y="1188"/>
                </a:lnTo>
                <a:lnTo>
                  <a:pt x="1477" y="1179"/>
                </a:lnTo>
                <a:lnTo>
                  <a:pt x="1471" y="1172"/>
                </a:lnTo>
                <a:lnTo>
                  <a:pt x="1466" y="1166"/>
                </a:lnTo>
                <a:lnTo>
                  <a:pt x="1461" y="1161"/>
                </a:lnTo>
                <a:lnTo>
                  <a:pt x="1460" y="909"/>
                </a:lnTo>
                <a:lnTo>
                  <a:pt x="1460" y="909"/>
                </a:lnTo>
                <a:lnTo>
                  <a:pt x="1473" y="888"/>
                </a:lnTo>
                <a:lnTo>
                  <a:pt x="1482" y="876"/>
                </a:lnTo>
                <a:lnTo>
                  <a:pt x="1488" y="865"/>
                </a:lnTo>
                <a:lnTo>
                  <a:pt x="1494" y="852"/>
                </a:lnTo>
                <a:lnTo>
                  <a:pt x="1499" y="837"/>
                </a:lnTo>
                <a:lnTo>
                  <a:pt x="1502" y="822"/>
                </a:lnTo>
                <a:lnTo>
                  <a:pt x="1503" y="814"/>
                </a:lnTo>
                <a:lnTo>
                  <a:pt x="1503" y="806"/>
                </a:lnTo>
                <a:lnTo>
                  <a:pt x="1503" y="806"/>
                </a:lnTo>
                <a:lnTo>
                  <a:pt x="1503" y="797"/>
                </a:lnTo>
                <a:lnTo>
                  <a:pt x="1502" y="788"/>
                </a:lnTo>
                <a:lnTo>
                  <a:pt x="1498" y="773"/>
                </a:lnTo>
                <a:lnTo>
                  <a:pt x="1493" y="758"/>
                </a:lnTo>
                <a:lnTo>
                  <a:pt x="1487" y="743"/>
                </a:lnTo>
                <a:lnTo>
                  <a:pt x="1481" y="731"/>
                </a:lnTo>
                <a:lnTo>
                  <a:pt x="1473" y="720"/>
                </a:lnTo>
                <a:lnTo>
                  <a:pt x="1462" y="703"/>
                </a:lnTo>
                <a:close/>
                <a:moveTo>
                  <a:pt x="1843" y="953"/>
                </a:moveTo>
                <a:lnTo>
                  <a:pt x="2130" y="663"/>
                </a:lnTo>
                <a:lnTo>
                  <a:pt x="2130" y="663"/>
                </a:lnTo>
                <a:lnTo>
                  <a:pt x="1946" y="660"/>
                </a:lnTo>
                <a:lnTo>
                  <a:pt x="1837" y="659"/>
                </a:lnTo>
                <a:lnTo>
                  <a:pt x="1715" y="658"/>
                </a:lnTo>
                <a:lnTo>
                  <a:pt x="1715" y="658"/>
                </a:lnTo>
                <a:lnTo>
                  <a:pt x="1708" y="657"/>
                </a:lnTo>
                <a:lnTo>
                  <a:pt x="1698" y="655"/>
                </a:lnTo>
                <a:lnTo>
                  <a:pt x="1687" y="651"/>
                </a:lnTo>
                <a:lnTo>
                  <a:pt x="1676" y="646"/>
                </a:lnTo>
                <a:lnTo>
                  <a:pt x="1650" y="634"/>
                </a:lnTo>
                <a:lnTo>
                  <a:pt x="1623" y="620"/>
                </a:lnTo>
                <a:lnTo>
                  <a:pt x="1597" y="606"/>
                </a:lnTo>
                <a:lnTo>
                  <a:pt x="1576" y="596"/>
                </a:lnTo>
                <a:lnTo>
                  <a:pt x="1566" y="592"/>
                </a:lnTo>
                <a:lnTo>
                  <a:pt x="1558" y="591"/>
                </a:lnTo>
                <a:lnTo>
                  <a:pt x="1553" y="590"/>
                </a:lnTo>
                <a:lnTo>
                  <a:pt x="1551" y="591"/>
                </a:lnTo>
                <a:lnTo>
                  <a:pt x="1550" y="592"/>
                </a:lnTo>
                <a:lnTo>
                  <a:pt x="1550" y="592"/>
                </a:lnTo>
                <a:lnTo>
                  <a:pt x="1535" y="628"/>
                </a:lnTo>
                <a:lnTo>
                  <a:pt x="1514" y="681"/>
                </a:lnTo>
                <a:lnTo>
                  <a:pt x="1514" y="681"/>
                </a:lnTo>
                <a:lnTo>
                  <a:pt x="1523" y="691"/>
                </a:lnTo>
                <a:lnTo>
                  <a:pt x="1532" y="703"/>
                </a:lnTo>
                <a:lnTo>
                  <a:pt x="1542" y="719"/>
                </a:lnTo>
                <a:lnTo>
                  <a:pt x="1551" y="737"/>
                </a:lnTo>
                <a:lnTo>
                  <a:pt x="1556" y="747"/>
                </a:lnTo>
                <a:lnTo>
                  <a:pt x="1560" y="759"/>
                </a:lnTo>
                <a:lnTo>
                  <a:pt x="1563" y="770"/>
                </a:lnTo>
                <a:lnTo>
                  <a:pt x="1565" y="781"/>
                </a:lnTo>
                <a:lnTo>
                  <a:pt x="1568" y="793"/>
                </a:lnTo>
                <a:lnTo>
                  <a:pt x="1568" y="806"/>
                </a:lnTo>
                <a:lnTo>
                  <a:pt x="1568" y="806"/>
                </a:lnTo>
                <a:lnTo>
                  <a:pt x="1566" y="825"/>
                </a:lnTo>
                <a:lnTo>
                  <a:pt x="1564" y="838"/>
                </a:lnTo>
                <a:lnTo>
                  <a:pt x="1561" y="855"/>
                </a:lnTo>
                <a:lnTo>
                  <a:pt x="1558" y="864"/>
                </a:lnTo>
                <a:lnTo>
                  <a:pt x="1555" y="873"/>
                </a:lnTo>
                <a:lnTo>
                  <a:pt x="1551" y="883"/>
                </a:lnTo>
                <a:lnTo>
                  <a:pt x="1545" y="894"/>
                </a:lnTo>
                <a:lnTo>
                  <a:pt x="1539" y="903"/>
                </a:lnTo>
                <a:lnTo>
                  <a:pt x="1532" y="914"/>
                </a:lnTo>
                <a:lnTo>
                  <a:pt x="1524" y="924"/>
                </a:lnTo>
                <a:lnTo>
                  <a:pt x="1513" y="935"/>
                </a:lnTo>
                <a:lnTo>
                  <a:pt x="1513" y="935"/>
                </a:lnTo>
                <a:lnTo>
                  <a:pt x="1536" y="981"/>
                </a:lnTo>
                <a:lnTo>
                  <a:pt x="1553" y="1013"/>
                </a:lnTo>
                <a:lnTo>
                  <a:pt x="1560" y="1025"/>
                </a:lnTo>
                <a:lnTo>
                  <a:pt x="1565" y="1032"/>
                </a:lnTo>
                <a:lnTo>
                  <a:pt x="1565" y="1032"/>
                </a:lnTo>
                <a:lnTo>
                  <a:pt x="1580" y="1023"/>
                </a:lnTo>
                <a:lnTo>
                  <a:pt x="1597" y="1013"/>
                </a:lnTo>
                <a:lnTo>
                  <a:pt x="1618" y="1002"/>
                </a:lnTo>
                <a:lnTo>
                  <a:pt x="1642" y="990"/>
                </a:lnTo>
                <a:lnTo>
                  <a:pt x="1669" y="978"/>
                </a:lnTo>
                <a:lnTo>
                  <a:pt x="1696" y="968"/>
                </a:lnTo>
                <a:lnTo>
                  <a:pt x="1711" y="964"/>
                </a:lnTo>
                <a:lnTo>
                  <a:pt x="1724" y="961"/>
                </a:lnTo>
                <a:lnTo>
                  <a:pt x="1724" y="961"/>
                </a:lnTo>
                <a:lnTo>
                  <a:pt x="1737" y="959"/>
                </a:lnTo>
                <a:lnTo>
                  <a:pt x="1761" y="957"/>
                </a:lnTo>
                <a:lnTo>
                  <a:pt x="1843" y="953"/>
                </a:lnTo>
                <a:close/>
                <a:moveTo>
                  <a:pt x="3120" y="962"/>
                </a:moveTo>
                <a:lnTo>
                  <a:pt x="3486" y="484"/>
                </a:lnTo>
                <a:lnTo>
                  <a:pt x="3486" y="484"/>
                </a:lnTo>
                <a:lnTo>
                  <a:pt x="3479" y="482"/>
                </a:lnTo>
                <a:lnTo>
                  <a:pt x="3469" y="481"/>
                </a:lnTo>
                <a:lnTo>
                  <a:pt x="3458" y="480"/>
                </a:lnTo>
                <a:lnTo>
                  <a:pt x="3445" y="480"/>
                </a:lnTo>
                <a:lnTo>
                  <a:pt x="3428" y="483"/>
                </a:lnTo>
                <a:lnTo>
                  <a:pt x="3420" y="485"/>
                </a:lnTo>
                <a:lnTo>
                  <a:pt x="3412" y="488"/>
                </a:lnTo>
                <a:lnTo>
                  <a:pt x="3403" y="492"/>
                </a:lnTo>
                <a:lnTo>
                  <a:pt x="3394" y="496"/>
                </a:lnTo>
                <a:lnTo>
                  <a:pt x="3394" y="496"/>
                </a:lnTo>
                <a:lnTo>
                  <a:pt x="3385" y="502"/>
                </a:lnTo>
                <a:lnTo>
                  <a:pt x="3376" y="508"/>
                </a:lnTo>
                <a:lnTo>
                  <a:pt x="3369" y="515"/>
                </a:lnTo>
                <a:lnTo>
                  <a:pt x="3363" y="523"/>
                </a:lnTo>
                <a:lnTo>
                  <a:pt x="3358" y="532"/>
                </a:lnTo>
                <a:lnTo>
                  <a:pt x="3353" y="540"/>
                </a:lnTo>
                <a:lnTo>
                  <a:pt x="3349" y="548"/>
                </a:lnTo>
                <a:lnTo>
                  <a:pt x="3346" y="557"/>
                </a:lnTo>
                <a:lnTo>
                  <a:pt x="3341" y="574"/>
                </a:lnTo>
                <a:lnTo>
                  <a:pt x="3337" y="589"/>
                </a:lnTo>
                <a:lnTo>
                  <a:pt x="3336" y="600"/>
                </a:lnTo>
                <a:lnTo>
                  <a:pt x="3337" y="605"/>
                </a:lnTo>
                <a:lnTo>
                  <a:pt x="3338" y="608"/>
                </a:lnTo>
                <a:lnTo>
                  <a:pt x="3338" y="608"/>
                </a:lnTo>
                <a:lnTo>
                  <a:pt x="3334" y="599"/>
                </a:lnTo>
                <a:lnTo>
                  <a:pt x="3330" y="592"/>
                </a:lnTo>
                <a:lnTo>
                  <a:pt x="3325" y="585"/>
                </a:lnTo>
                <a:lnTo>
                  <a:pt x="3320" y="579"/>
                </a:lnTo>
                <a:lnTo>
                  <a:pt x="3315" y="574"/>
                </a:lnTo>
                <a:lnTo>
                  <a:pt x="3310" y="568"/>
                </a:lnTo>
                <a:lnTo>
                  <a:pt x="3304" y="564"/>
                </a:lnTo>
                <a:lnTo>
                  <a:pt x="3299" y="561"/>
                </a:lnTo>
                <a:lnTo>
                  <a:pt x="3286" y="556"/>
                </a:lnTo>
                <a:lnTo>
                  <a:pt x="3273" y="554"/>
                </a:lnTo>
                <a:lnTo>
                  <a:pt x="3261" y="553"/>
                </a:lnTo>
                <a:lnTo>
                  <a:pt x="3249" y="554"/>
                </a:lnTo>
                <a:lnTo>
                  <a:pt x="3236" y="556"/>
                </a:lnTo>
                <a:lnTo>
                  <a:pt x="3225" y="558"/>
                </a:lnTo>
                <a:lnTo>
                  <a:pt x="3214" y="562"/>
                </a:lnTo>
                <a:lnTo>
                  <a:pt x="3206" y="565"/>
                </a:lnTo>
                <a:lnTo>
                  <a:pt x="3192" y="572"/>
                </a:lnTo>
                <a:lnTo>
                  <a:pt x="3187" y="574"/>
                </a:lnTo>
                <a:lnTo>
                  <a:pt x="3187" y="574"/>
                </a:lnTo>
                <a:lnTo>
                  <a:pt x="3199" y="594"/>
                </a:lnTo>
                <a:lnTo>
                  <a:pt x="3209" y="613"/>
                </a:lnTo>
                <a:lnTo>
                  <a:pt x="3215" y="632"/>
                </a:lnTo>
                <a:lnTo>
                  <a:pt x="3219" y="647"/>
                </a:lnTo>
                <a:lnTo>
                  <a:pt x="3220" y="663"/>
                </a:lnTo>
                <a:lnTo>
                  <a:pt x="3220" y="675"/>
                </a:lnTo>
                <a:lnTo>
                  <a:pt x="3218" y="687"/>
                </a:lnTo>
                <a:lnTo>
                  <a:pt x="3214" y="696"/>
                </a:lnTo>
                <a:lnTo>
                  <a:pt x="3209" y="705"/>
                </a:lnTo>
                <a:lnTo>
                  <a:pt x="3203" y="712"/>
                </a:lnTo>
                <a:lnTo>
                  <a:pt x="3194" y="718"/>
                </a:lnTo>
                <a:lnTo>
                  <a:pt x="3186" y="722"/>
                </a:lnTo>
                <a:lnTo>
                  <a:pt x="3178" y="724"/>
                </a:lnTo>
                <a:lnTo>
                  <a:pt x="3169" y="725"/>
                </a:lnTo>
                <a:lnTo>
                  <a:pt x="3160" y="725"/>
                </a:lnTo>
                <a:lnTo>
                  <a:pt x="3150" y="724"/>
                </a:lnTo>
                <a:lnTo>
                  <a:pt x="3150" y="724"/>
                </a:lnTo>
                <a:lnTo>
                  <a:pt x="3138" y="720"/>
                </a:lnTo>
                <a:lnTo>
                  <a:pt x="3129" y="715"/>
                </a:lnTo>
                <a:lnTo>
                  <a:pt x="3121" y="709"/>
                </a:lnTo>
                <a:lnTo>
                  <a:pt x="3114" y="702"/>
                </a:lnTo>
                <a:lnTo>
                  <a:pt x="3108" y="695"/>
                </a:lnTo>
                <a:lnTo>
                  <a:pt x="3104" y="688"/>
                </a:lnTo>
                <a:lnTo>
                  <a:pt x="3100" y="680"/>
                </a:lnTo>
                <a:lnTo>
                  <a:pt x="3098" y="673"/>
                </a:lnTo>
                <a:lnTo>
                  <a:pt x="3095" y="658"/>
                </a:lnTo>
                <a:lnTo>
                  <a:pt x="3095" y="646"/>
                </a:lnTo>
                <a:lnTo>
                  <a:pt x="3095" y="638"/>
                </a:lnTo>
                <a:lnTo>
                  <a:pt x="3095" y="635"/>
                </a:lnTo>
                <a:lnTo>
                  <a:pt x="3095" y="635"/>
                </a:lnTo>
                <a:lnTo>
                  <a:pt x="3092" y="637"/>
                </a:lnTo>
                <a:lnTo>
                  <a:pt x="3084" y="643"/>
                </a:lnTo>
                <a:lnTo>
                  <a:pt x="3072" y="650"/>
                </a:lnTo>
                <a:lnTo>
                  <a:pt x="3064" y="653"/>
                </a:lnTo>
                <a:lnTo>
                  <a:pt x="3056" y="656"/>
                </a:lnTo>
                <a:lnTo>
                  <a:pt x="3047" y="658"/>
                </a:lnTo>
                <a:lnTo>
                  <a:pt x="3038" y="659"/>
                </a:lnTo>
                <a:lnTo>
                  <a:pt x="3028" y="659"/>
                </a:lnTo>
                <a:lnTo>
                  <a:pt x="3018" y="658"/>
                </a:lnTo>
                <a:lnTo>
                  <a:pt x="3008" y="655"/>
                </a:lnTo>
                <a:lnTo>
                  <a:pt x="2999" y="650"/>
                </a:lnTo>
                <a:lnTo>
                  <a:pt x="2989" y="643"/>
                </a:lnTo>
                <a:lnTo>
                  <a:pt x="2980" y="634"/>
                </a:lnTo>
                <a:lnTo>
                  <a:pt x="2980" y="634"/>
                </a:lnTo>
                <a:lnTo>
                  <a:pt x="2973" y="625"/>
                </a:lnTo>
                <a:lnTo>
                  <a:pt x="2969" y="616"/>
                </a:lnTo>
                <a:lnTo>
                  <a:pt x="2967" y="607"/>
                </a:lnTo>
                <a:lnTo>
                  <a:pt x="2968" y="598"/>
                </a:lnTo>
                <a:lnTo>
                  <a:pt x="2969" y="589"/>
                </a:lnTo>
                <a:lnTo>
                  <a:pt x="2973" y="581"/>
                </a:lnTo>
                <a:lnTo>
                  <a:pt x="2980" y="572"/>
                </a:lnTo>
                <a:lnTo>
                  <a:pt x="2987" y="564"/>
                </a:lnTo>
                <a:lnTo>
                  <a:pt x="2996" y="557"/>
                </a:lnTo>
                <a:lnTo>
                  <a:pt x="3006" y="550"/>
                </a:lnTo>
                <a:lnTo>
                  <a:pt x="3019" y="544"/>
                </a:lnTo>
                <a:lnTo>
                  <a:pt x="3033" y="540"/>
                </a:lnTo>
                <a:lnTo>
                  <a:pt x="3048" y="536"/>
                </a:lnTo>
                <a:lnTo>
                  <a:pt x="3065" y="533"/>
                </a:lnTo>
                <a:lnTo>
                  <a:pt x="3083" y="532"/>
                </a:lnTo>
                <a:lnTo>
                  <a:pt x="3102" y="531"/>
                </a:lnTo>
                <a:lnTo>
                  <a:pt x="3102" y="531"/>
                </a:lnTo>
                <a:lnTo>
                  <a:pt x="3103" y="520"/>
                </a:lnTo>
                <a:lnTo>
                  <a:pt x="3102" y="509"/>
                </a:lnTo>
                <a:lnTo>
                  <a:pt x="3099" y="494"/>
                </a:lnTo>
                <a:lnTo>
                  <a:pt x="3096" y="486"/>
                </a:lnTo>
                <a:lnTo>
                  <a:pt x="3093" y="477"/>
                </a:lnTo>
                <a:lnTo>
                  <a:pt x="3089" y="469"/>
                </a:lnTo>
                <a:lnTo>
                  <a:pt x="3084" y="460"/>
                </a:lnTo>
                <a:lnTo>
                  <a:pt x="3078" y="451"/>
                </a:lnTo>
                <a:lnTo>
                  <a:pt x="3071" y="443"/>
                </a:lnTo>
                <a:lnTo>
                  <a:pt x="3061" y="435"/>
                </a:lnTo>
                <a:lnTo>
                  <a:pt x="3051" y="426"/>
                </a:lnTo>
                <a:lnTo>
                  <a:pt x="3051" y="426"/>
                </a:lnTo>
                <a:lnTo>
                  <a:pt x="3043" y="421"/>
                </a:lnTo>
                <a:lnTo>
                  <a:pt x="3034" y="417"/>
                </a:lnTo>
                <a:lnTo>
                  <a:pt x="3024" y="415"/>
                </a:lnTo>
                <a:lnTo>
                  <a:pt x="3014" y="413"/>
                </a:lnTo>
                <a:lnTo>
                  <a:pt x="3004" y="412"/>
                </a:lnTo>
                <a:lnTo>
                  <a:pt x="2995" y="412"/>
                </a:lnTo>
                <a:lnTo>
                  <a:pt x="2977" y="414"/>
                </a:lnTo>
                <a:lnTo>
                  <a:pt x="2960" y="418"/>
                </a:lnTo>
                <a:lnTo>
                  <a:pt x="2947" y="421"/>
                </a:lnTo>
                <a:lnTo>
                  <a:pt x="2936" y="425"/>
                </a:lnTo>
                <a:lnTo>
                  <a:pt x="2936" y="425"/>
                </a:lnTo>
                <a:lnTo>
                  <a:pt x="2943" y="421"/>
                </a:lnTo>
                <a:lnTo>
                  <a:pt x="2951" y="415"/>
                </a:lnTo>
                <a:lnTo>
                  <a:pt x="2960" y="408"/>
                </a:lnTo>
                <a:lnTo>
                  <a:pt x="2970" y="397"/>
                </a:lnTo>
                <a:lnTo>
                  <a:pt x="2980" y="384"/>
                </a:lnTo>
                <a:lnTo>
                  <a:pt x="2984" y="376"/>
                </a:lnTo>
                <a:lnTo>
                  <a:pt x="2988" y="369"/>
                </a:lnTo>
                <a:lnTo>
                  <a:pt x="2991" y="360"/>
                </a:lnTo>
                <a:lnTo>
                  <a:pt x="2993" y="351"/>
                </a:lnTo>
                <a:lnTo>
                  <a:pt x="2993" y="351"/>
                </a:lnTo>
                <a:lnTo>
                  <a:pt x="2995" y="336"/>
                </a:lnTo>
                <a:lnTo>
                  <a:pt x="2994" y="320"/>
                </a:lnTo>
                <a:lnTo>
                  <a:pt x="2992" y="303"/>
                </a:lnTo>
                <a:lnTo>
                  <a:pt x="2988" y="285"/>
                </a:lnTo>
                <a:lnTo>
                  <a:pt x="2981" y="267"/>
                </a:lnTo>
                <a:lnTo>
                  <a:pt x="2972" y="249"/>
                </a:lnTo>
                <a:lnTo>
                  <a:pt x="2961" y="232"/>
                </a:lnTo>
                <a:lnTo>
                  <a:pt x="2955" y="223"/>
                </a:lnTo>
                <a:lnTo>
                  <a:pt x="2948" y="216"/>
                </a:lnTo>
                <a:lnTo>
                  <a:pt x="2947" y="214"/>
                </a:lnTo>
                <a:lnTo>
                  <a:pt x="2944" y="214"/>
                </a:lnTo>
                <a:lnTo>
                  <a:pt x="2944" y="214"/>
                </a:lnTo>
                <a:lnTo>
                  <a:pt x="2934" y="214"/>
                </a:lnTo>
                <a:lnTo>
                  <a:pt x="2923" y="215"/>
                </a:lnTo>
                <a:lnTo>
                  <a:pt x="2903" y="219"/>
                </a:lnTo>
                <a:lnTo>
                  <a:pt x="2885" y="224"/>
                </a:lnTo>
                <a:lnTo>
                  <a:pt x="2866" y="232"/>
                </a:lnTo>
                <a:lnTo>
                  <a:pt x="2851" y="240"/>
                </a:lnTo>
                <a:lnTo>
                  <a:pt x="2836" y="250"/>
                </a:lnTo>
                <a:lnTo>
                  <a:pt x="2824" y="261"/>
                </a:lnTo>
                <a:lnTo>
                  <a:pt x="2814" y="272"/>
                </a:lnTo>
                <a:lnTo>
                  <a:pt x="2814" y="272"/>
                </a:lnTo>
                <a:lnTo>
                  <a:pt x="2809" y="280"/>
                </a:lnTo>
                <a:lnTo>
                  <a:pt x="2805" y="288"/>
                </a:lnTo>
                <a:lnTo>
                  <a:pt x="2802" y="297"/>
                </a:lnTo>
                <a:lnTo>
                  <a:pt x="2799" y="305"/>
                </a:lnTo>
                <a:lnTo>
                  <a:pt x="2796" y="320"/>
                </a:lnTo>
                <a:lnTo>
                  <a:pt x="2795" y="334"/>
                </a:lnTo>
                <a:lnTo>
                  <a:pt x="2795" y="347"/>
                </a:lnTo>
                <a:lnTo>
                  <a:pt x="2796" y="357"/>
                </a:lnTo>
                <a:lnTo>
                  <a:pt x="2798" y="365"/>
                </a:lnTo>
                <a:lnTo>
                  <a:pt x="2798" y="365"/>
                </a:lnTo>
                <a:lnTo>
                  <a:pt x="2792" y="354"/>
                </a:lnTo>
                <a:lnTo>
                  <a:pt x="2787" y="341"/>
                </a:lnTo>
                <a:lnTo>
                  <a:pt x="2778" y="327"/>
                </a:lnTo>
                <a:lnTo>
                  <a:pt x="2767" y="313"/>
                </a:lnTo>
                <a:lnTo>
                  <a:pt x="2761" y="306"/>
                </a:lnTo>
                <a:lnTo>
                  <a:pt x="2754" y="299"/>
                </a:lnTo>
                <a:lnTo>
                  <a:pt x="2746" y="292"/>
                </a:lnTo>
                <a:lnTo>
                  <a:pt x="2737" y="287"/>
                </a:lnTo>
                <a:lnTo>
                  <a:pt x="2729" y="283"/>
                </a:lnTo>
                <a:lnTo>
                  <a:pt x="2719" y="281"/>
                </a:lnTo>
                <a:lnTo>
                  <a:pt x="2719" y="281"/>
                </a:lnTo>
                <a:lnTo>
                  <a:pt x="2707" y="278"/>
                </a:lnTo>
                <a:lnTo>
                  <a:pt x="2694" y="278"/>
                </a:lnTo>
                <a:lnTo>
                  <a:pt x="2683" y="278"/>
                </a:lnTo>
                <a:lnTo>
                  <a:pt x="2672" y="279"/>
                </a:lnTo>
                <a:lnTo>
                  <a:pt x="2663" y="281"/>
                </a:lnTo>
                <a:lnTo>
                  <a:pt x="2653" y="284"/>
                </a:lnTo>
                <a:lnTo>
                  <a:pt x="2644" y="287"/>
                </a:lnTo>
                <a:lnTo>
                  <a:pt x="2637" y="291"/>
                </a:lnTo>
                <a:lnTo>
                  <a:pt x="2624" y="300"/>
                </a:lnTo>
                <a:lnTo>
                  <a:pt x="2615" y="307"/>
                </a:lnTo>
                <a:lnTo>
                  <a:pt x="2607" y="314"/>
                </a:lnTo>
                <a:lnTo>
                  <a:pt x="2607" y="314"/>
                </a:lnTo>
                <a:lnTo>
                  <a:pt x="2621" y="328"/>
                </a:lnTo>
                <a:lnTo>
                  <a:pt x="2632" y="343"/>
                </a:lnTo>
                <a:lnTo>
                  <a:pt x="2641" y="357"/>
                </a:lnTo>
                <a:lnTo>
                  <a:pt x="2648" y="371"/>
                </a:lnTo>
                <a:lnTo>
                  <a:pt x="2654" y="384"/>
                </a:lnTo>
                <a:lnTo>
                  <a:pt x="2659" y="398"/>
                </a:lnTo>
                <a:lnTo>
                  <a:pt x="2661" y="410"/>
                </a:lnTo>
                <a:lnTo>
                  <a:pt x="2662" y="421"/>
                </a:lnTo>
                <a:lnTo>
                  <a:pt x="2661" y="432"/>
                </a:lnTo>
                <a:lnTo>
                  <a:pt x="2659" y="442"/>
                </a:lnTo>
                <a:lnTo>
                  <a:pt x="2654" y="451"/>
                </a:lnTo>
                <a:lnTo>
                  <a:pt x="2649" y="458"/>
                </a:lnTo>
                <a:lnTo>
                  <a:pt x="2642" y="464"/>
                </a:lnTo>
                <a:lnTo>
                  <a:pt x="2635" y="469"/>
                </a:lnTo>
                <a:lnTo>
                  <a:pt x="2626" y="472"/>
                </a:lnTo>
                <a:lnTo>
                  <a:pt x="2616" y="473"/>
                </a:lnTo>
                <a:lnTo>
                  <a:pt x="2616" y="473"/>
                </a:lnTo>
                <a:lnTo>
                  <a:pt x="2601" y="473"/>
                </a:lnTo>
                <a:lnTo>
                  <a:pt x="2590" y="471"/>
                </a:lnTo>
                <a:lnTo>
                  <a:pt x="2580" y="467"/>
                </a:lnTo>
                <a:lnTo>
                  <a:pt x="2571" y="462"/>
                </a:lnTo>
                <a:lnTo>
                  <a:pt x="2562" y="456"/>
                </a:lnTo>
                <a:lnTo>
                  <a:pt x="2556" y="449"/>
                </a:lnTo>
                <a:lnTo>
                  <a:pt x="2551" y="441"/>
                </a:lnTo>
                <a:lnTo>
                  <a:pt x="2547" y="432"/>
                </a:lnTo>
                <a:lnTo>
                  <a:pt x="2543" y="424"/>
                </a:lnTo>
                <a:lnTo>
                  <a:pt x="2541" y="417"/>
                </a:lnTo>
                <a:lnTo>
                  <a:pt x="2538" y="403"/>
                </a:lnTo>
                <a:lnTo>
                  <a:pt x="2536" y="393"/>
                </a:lnTo>
                <a:lnTo>
                  <a:pt x="2536" y="390"/>
                </a:lnTo>
                <a:lnTo>
                  <a:pt x="2536" y="390"/>
                </a:lnTo>
                <a:lnTo>
                  <a:pt x="2534" y="392"/>
                </a:lnTo>
                <a:lnTo>
                  <a:pt x="2528" y="398"/>
                </a:lnTo>
                <a:lnTo>
                  <a:pt x="2518" y="405"/>
                </a:lnTo>
                <a:lnTo>
                  <a:pt x="2506" y="413"/>
                </a:lnTo>
                <a:lnTo>
                  <a:pt x="2499" y="416"/>
                </a:lnTo>
                <a:lnTo>
                  <a:pt x="2491" y="419"/>
                </a:lnTo>
                <a:lnTo>
                  <a:pt x="2483" y="420"/>
                </a:lnTo>
                <a:lnTo>
                  <a:pt x="2473" y="421"/>
                </a:lnTo>
                <a:lnTo>
                  <a:pt x="2464" y="421"/>
                </a:lnTo>
                <a:lnTo>
                  <a:pt x="2454" y="419"/>
                </a:lnTo>
                <a:lnTo>
                  <a:pt x="2444" y="415"/>
                </a:lnTo>
                <a:lnTo>
                  <a:pt x="2434" y="409"/>
                </a:lnTo>
                <a:lnTo>
                  <a:pt x="2434" y="409"/>
                </a:lnTo>
                <a:lnTo>
                  <a:pt x="2426" y="404"/>
                </a:lnTo>
                <a:lnTo>
                  <a:pt x="2419" y="397"/>
                </a:lnTo>
                <a:lnTo>
                  <a:pt x="2414" y="390"/>
                </a:lnTo>
                <a:lnTo>
                  <a:pt x="2410" y="381"/>
                </a:lnTo>
                <a:lnTo>
                  <a:pt x="2408" y="372"/>
                </a:lnTo>
                <a:lnTo>
                  <a:pt x="2407" y="363"/>
                </a:lnTo>
                <a:lnTo>
                  <a:pt x="2407" y="354"/>
                </a:lnTo>
                <a:lnTo>
                  <a:pt x="2410" y="345"/>
                </a:lnTo>
                <a:lnTo>
                  <a:pt x="2415" y="334"/>
                </a:lnTo>
                <a:lnTo>
                  <a:pt x="2421" y="325"/>
                </a:lnTo>
                <a:lnTo>
                  <a:pt x="2432" y="316"/>
                </a:lnTo>
                <a:lnTo>
                  <a:pt x="2443" y="308"/>
                </a:lnTo>
                <a:lnTo>
                  <a:pt x="2457" y="300"/>
                </a:lnTo>
                <a:lnTo>
                  <a:pt x="2474" y="292"/>
                </a:lnTo>
                <a:lnTo>
                  <a:pt x="2495" y="286"/>
                </a:lnTo>
                <a:lnTo>
                  <a:pt x="2518" y="280"/>
                </a:lnTo>
                <a:lnTo>
                  <a:pt x="2518" y="280"/>
                </a:lnTo>
                <a:lnTo>
                  <a:pt x="2517" y="275"/>
                </a:lnTo>
                <a:lnTo>
                  <a:pt x="2512" y="262"/>
                </a:lnTo>
                <a:lnTo>
                  <a:pt x="2509" y="253"/>
                </a:lnTo>
                <a:lnTo>
                  <a:pt x="2504" y="242"/>
                </a:lnTo>
                <a:lnTo>
                  <a:pt x="2499" y="232"/>
                </a:lnTo>
                <a:lnTo>
                  <a:pt x="2492" y="222"/>
                </a:lnTo>
                <a:lnTo>
                  <a:pt x="2484" y="213"/>
                </a:lnTo>
                <a:lnTo>
                  <a:pt x="2474" y="203"/>
                </a:lnTo>
                <a:lnTo>
                  <a:pt x="2464" y="196"/>
                </a:lnTo>
                <a:lnTo>
                  <a:pt x="2452" y="190"/>
                </a:lnTo>
                <a:lnTo>
                  <a:pt x="2446" y="188"/>
                </a:lnTo>
                <a:lnTo>
                  <a:pt x="2440" y="187"/>
                </a:lnTo>
                <a:lnTo>
                  <a:pt x="2433" y="186"/>
                </a:lnTo>
                <a:lnTo>
                  <a:pt x="2424" y="185"/>
                </a:lnTo>
                <a:lnTo>
                  <a:pt x="2417" y="186"/>
                </a:lnTo>
                <a:lnTo>
                  <a:pt x="2408" y="187"/>
                </a:lnTo>
                <a:lnTo>
                  <a:pt x="2400" y="190"/>
                </a:lnTo>
                <a:lnTo>
                  <a:pt x="2391" y="193"/>
                </a:lnTo>
                <a:lnTo>
                  <a:pt x="2391" y="193"/>
                </a:lnTo>
                <a:lnTo>
                  <a:pt x="2394" y="191"/>
                </a:lnTo>
                <a:lnTo>
                  <a:pt x="2398" y="188"/>
                </a:lnTo>
                <a:lnTo>
                  <a:pt x="2406" y="180"/>
                </a:lnTo>
                <a:lnTo>
                  <a:pt x="2415" y="168"/>
                </a:lnTo>
                <a:lnTo>
                  <a:pt x="2423" y="153"/>
                </a:lnTo>
                <a:lnTo>
                  <a:pt x="2427" y="144"/>
                </a:lnTo>
                <a:lnTo>
                  <a:pt x="2432" y="136"/>
                </a:lnTo>
                <a:lnTo>
                  <a:pt x="2435" y="127"/>
                </a:lnTo>
                <a:lnTo>
                  <a:pt x="2437" y="117"/>
                </a:lnTo>
                <a:lnTo>
                  <a:pt x="2438" y="106"/>
                </a:lnTo>
                <a:lnTo>
                  <a:pt x="2439" y="97"/>
                </a:lnTo>
                <a:lnTo>
                  <a:pt x="2438" y="86"/>
                </a:lnTo>
                <a:lnTo>
                  <a:pt x="2436" y="76"/>
                </a:lnTo>
                <a:lnTo>
                  <a:pt x="2436" y="76"/>
                </a:lnTo>
                <a:lnTo>
                  <a:pt x="2434" y="66"/>
                </a:lnTo>
                <a:lnTo>
                  <a:pt x="2429" y="57"/>
                </a:lnTo>
                <a:lnTo>
                  <a:pt x="2426" y="49"/>
                </a:lnTo>
                <a:lnTo>
                  <a:pt x="2422" y="41"/>
                </a:lnTo>
                <a:lnTo>
                  <a:pt x="2413" y="28"/>
                </a:lnTo>
                <a:lnTo>
                  <a:pt x="2404" y="17"/>
                </a:lnTo>
                <a:lnTo>
                  <a:pt x="2396" y="9"/>
                </a:lnTo>
                <a:lnTo>
                  <a:pt x="2389" y="4"/>
                </a:lnTo>
                <a:lnTo>
                  <a:pt x="2382" y="0"/>
                </a:lnTo>
                <a:lnTo>
                  <a:pt x="2279" y="593"/>
                </a:lnTo>
                <a:lnTo>
                  <a:pt x="2548" y="712"/>
                </a:lnTo>
                <a:lnTo>
                  <a:pt x="2548" y="712"/>
                </a:lnTo>
                <a:lnTo>
                  <a:pt x="2572" y="693"/>
                </a:lnTo>
                <a:lnTo>
                  <a:pt x="2594" y="677"/>
                </a:lnTo>
                <a:lnTo>
                  <a:pt x="2615" y="665"/>
                </a:lnTo>
                <a:lnTo>
                  <a:pt x="2633" y="656"/>
                </a:lnTo>
                <a:lnTo>
                  <a:pt x="2633" y="656"/>
                </a:lnTo>
                <a:lnTo>
                  <a:pt x="2646" y="650"/>
                </a:lnTo>
                <a:lnTo>
                  <a:pt x="2661" y="646"/>
                </a:lnTo>
                <a:lnTo>
                  <a:pt x="2675" y="642"/>
                </a:lnTo>
                <a:lnTo>
                  <a:pt x="2688" y="639"/>
                </a:lnTo>
                <a:lnTo>
                  <a:pt x="2702" y="637"/>
                </a:lnTo>
                <a:lnTo>
                  <a:pt x="2716" y="636"/>
                </a:lnTo>
                <a:lnTo>
                  <a:pt x="2729" y="635"/>
                </a:lnTo>
                <a:lnTo>
                  <a:pt x="2743" y="635"/>
                </a:lnTo>
                <a:lnTo>
                  <a:pt x="2757" y="636"/>
                </a:lnTo>
                <a:lnTo>
                  <a:pt x="2770" y="638"/>
                </a:lnTo>
                <a:lnTo>
                  <a:pt x="2783" y="640"/>
                </a:lnTo>
                <a:lnTo>
                  <a:pt x="2796" y="643"/>
                </a:lnTo>
                <a:lnTo>
                  <a:pt x="2821" y="650"/>
                </a:lnTo>
                <a:lnTo>
                  <a:pt x="2845" y="658"/>
                </a:lnTo>
                <a:lnTo>
                  <a:pt x="2845" y="658"/>
                </a:lnTo>
                <a:lnTo>
                  <a:pt x="2861" y="667"/>
                </a:lnTo>
                <a:lnTo>
                  <a:pt x="2875" y="675"/>
                </a:lnTo>
                <a:lnTo>
                  <a:pt x="2889" y="683"/>
                </a:lnTo>
                <a:lnTo>
                  <a:pt x="2900" y="691"/>
                </a:lnTo>
                <a:lnTo>
                  <a:pt x="2910" y="699"/>
                </a:lnTo>
                <a:lnTo>
                  <a:pt x="2918" y="709"/>
                </a:lnTo>
                <a:lnTo>
                  <a:pt x="2925" y="717"/>
                </a:lnTo>
                <a:lnTo>
                  <a:pt x="2932" y="726"/>
                </a:lnTo>
                <a:lnTo>
                  <a:pt x="2937" y="735"/>
                </a:lnTo>
                <a:lnTo>
                  <a:pt x="2941" y="743"/>
                </a:lnTo>
                <a:lnTo>
                  <a:pt x="2944" y="753"/>
                </a:lnTo>
                <a:lnTo>
                  <a:pt x="2947" y="761"/>
                </a:lnTo>
                <a:lnTo>
                  <a:pt x="2950" y="778"/>
                </a:lnTo>
                <a:lnTo>
                  <a:pt x="2952" y="793"/>
                </a:lnTo>
                <a:lnTo>
                  <a:pt x="2952" y="793"/>
                </a:lnTo>
                <a:lnTo>
                  <a:pt x="2951" y="804"/>
                </a:lnTo>
                <a:lnTo>
                  <a:pt x="2949" y="815"/>
                </a:lnTo>
                <a:lnTo>
                  <a:pt x="2946" y="827"/>
                </a:lnTo>
                <a:lnTo>
                  <a:pt x="2942" y="839"/>
                </a:lnTo>
                <a:lnTo>
                  <a:pt x="2933" y="863"/>
                </a:lnTo>
                <a:lnTo>
                  <a:pt x="2925" y="877"/>
                </a:lnTo>
                <a:lnTo>
                  <a:pt x="3120" y="962"/>
                </a:lnTo>
                <a:close/>
                <a:moveTo>
                  <a:pt x="4480" y="887"/>
                </a:moveTo>
                <a:lnTo>
                  <a:pt x="4715" y="773"/>
                </a:lnTo>
                <a:lnTo>
                  <a:pt x="4477" y="674"/>
                </a:lnTo>
                <a:lnTo>
                  <a:pt x="4477" y="674"/>
                </a:lnTo>
                <a:lnTo>
                  <a:pt x="4404" y="675"/>
                </a:lnTo>
                <a:lnTo>
                  <a:pt x="4312" y="676"/>
                </a:lnTo>
                <a:lnTo>
                  <a:pt x="4201" y="675"/>
                </a:lnTo>
                <a:lnTo>
                  <a:pt x="4076" y="673"/>
                </a:lnTo>
                <a:lnTo>
                  <a:pt x="3783" y="667"/>
                </a:lnTo>
                <a:lnTo>
                  <a:pt x="3449" y="660"/>
                </a:lnTo>
                <a:lnTo>
                  <a:pt x="3252" y="916"/>
                </a:lnTo>
                <a:lnTo>
                  <a:pt x="3252" y="916"/>
                </a:lnTo>
                <a:lnTo>
                  <a:pt x="3986" y="900"/>
                </a:lnTo>
                <a:lnTo>
                  <a:pt x="4276" y="894"/>
                </a:lnTo>
                <a:lnTo>
                  <a:pt x="4480" y="887"/>
                </a:lnTo>
                <a:close/>
                <a:moveTo>
                  <a:pt x="4171" y="2139"/>
                </a:moveTo>
                <a:lnTo>
                  <a:pt x="4171" y="2139"/>
                </a:lnTo>
                <a:lnTo>
                  <a:pt x="4105" y="2106"/>
                </a:lnTo>
                <a:lnTo>
                  <a:pt x="4042" y="2073"/>
                </a:lnTo>
                <a:lnTo>
                  <a:pt x="3983" y="2042"/>
                </a:lnTo>
                <a:lnTo>
                  <a:pt x="3954" y="2025"/>
                </a:lnTo>
                <a:lnTo>
                  <a:pt x="3926" y="2008"/>
                </a:lnTo>
                <a:lnTo>
                  <a:pt x="3900" y="1991"/>
                </a:lnTo>
                <a:lnTo>
                  <a:pt x="3875" y="1973"/>
                </a:lnTo>
                <a:lnTo>
                  <a:pt x="3852" y="1954"/>
                </a:lnTo>
                <a:lnTo>
                  <a:pt x="3829" y="1934"/>
                </a:lnTo>
                <a:lnTo>
                  <a:pt x="3809" y="1914"/>
                </a:lnTo>
                <a:lnTo>
                  <a:pt x="3789" y="1893"/>
                </a:lnTo>
                <a:lnTo>
                  <a:pt x="3772" y="1869"/>
                </a:lnTo>
                <a:lnTo>
                  <a:pt x="3756" y="1845"/>
                </a:lnTo>
                <a:lnTo>
                  <a:pt x="3756" y="1845"/>
                </a:lnTo>
                <a:lnTo>
                  <a:pt x="3750" y="1832"/>
                </a:lnTo>
                <a:lnTo>
                  <a:pt x="3743" y="1819"/>
                </a:lnTo>
                <a:lnTo>
                  <a:pt x="3738" y="1805"/>
                </a:lnTo>
                <a:lnTo>
                  <a:pt x="3733" y="1790"/>
                </a:lnTo>
                <a:lnTo>
                  <a:pt x="3729" y="1775"/>
                </a:lnTo>
                <a:lnTo>
                  <a:pt x="3726" y="1760"/>
                </a:lnTo>
                <a:lnTo>
                  <a:pt x="3723" y="1743"/>
                </a:lnTo>
                <a:lnTo>
                  <a:pt x="3721" y="1727"/>
                </a:lnTo>
                <a:lnTo>
                  <a:pt x="3720" y="1711"/>
                </a:lnTo>
                <a:lnTo>
                  <a:pt x="3719" y="1693"/>
                </a:lnTo>
                <a:lnTo>
                  <a:pt x="3719" y="1677"/>
                </a:lnTo>
                <a:lnTo>
                  <a:pt x="3720" y="1659"/>
                </a:lnTo>
                <a:lnTo>
                  <a:pt x="3721" y="1641"/>
                </a:lnTo>
                <a:lnTo>
                  <a:pt x="3724" y="1624"/>
                </a:lnTo>
                <a:lnTo>
                  <a:pt x="3726" y="1606"/>
                </a:lnTo>
                <a:lnTo>
                  <a:pt x="3730" y="1589"/>
                </a:lnTo>
                <a:lnTo>
                  <a:pt x="3734" y="1571"/>
                </a:lnTo>
                <a:lnTo>
                  <a:pt x="3740" y="1554"/>
                </a:lnTo>
                <a:lnTo>
                  <a:pt x="3745" y="1537"/>
                </a:lnTo>
                <a:lnTo>
                  <a:pt x="3753" y="1519"/>
                </a:lnTo>
                <a:lnTo>
                  <a:pt x="3761" y="1503"/>
                </a:lnTo>
                <a:lnTo>
                  <a:pt x="3769" y="1487"/>
                </a:lnTo>
                <a:lnTo>
                  <a:pt x="3778" y="1470"/>
                </a:lnTo>
                <a:lnTo>
                  <a:pt x="3788" y="1454"/>
                </a:lnTo>
                <a:lnTo>
                  <a:pt x="3800" y="1439"/>
                </a:lnTo>
                <a:lnTo>
                  <a:pt x="3812" y="1424"/>
                </a:lnTo>
                <a:lnTo>
                  <a:pt x="3824" y="1410"/>
                </a:lnTo>
                <a:lnTo>
                  <a:pt x="3839" y="1396"/>
                </a:lnTo>
                <a:lnTo>
                  <a:pt x="3853" y="1382"/>
                </a:lnTo>
                <a:lnTo>
                  <a:pt x="3868" y="1370"/>
                </a:lnTo>
                <a:lnTo>
                  <a:pt x="3885" y="1358"/>
                </a:lnTo>
                <a:lnTo>
                  <a:pt x="3902" y="1347"/>
                </a:lnTo>
                <a:lnTo>
                  <a:pt x="3902" y="1347"/>
                </a:lnTo>
                <a:lnTo>
                  <a:pt x="3910" y="1355"/>
                </a:lnTo>
                <a:lnTo>
                  <a:pt x="3917" y="1363"/>
                </a:lnTo>
                <a:lnTo>
                  <a:pt x="3922" y="1370"/>
                </a:lnTo>
                <a:lnTo>
                  <a:pt x="3927" y="1378"/>
                </a:lnTo>
                <a:lnTo>
                  <a:pt x="3936" y="1394"/>
                </a:lnTo>
                <a:lnTo>
                  <a:pt x="3941" y="1408"/>
                </a:lnTo>
                <a:lnTo>
                  <a:pt x="3944" y="1420"/>
                </a:lnTo>
                <a:lnTo>
                  <a:pt x="3946" y="1429"/>
                </a:lnTo>
                <a:lnTo>
                  <a:pt x="3946" y="1438"/>
                </a:lnTo>
                <a:lnTo>
                  <a:pt x="3946" y="1438"/>
                </a:lnTo>
                <a:lnTo>
                  <a:pt x="3966" y="1438"/>
                </a:lnTo>
                <a:lnTo>
                  <a:pt x="3991" y="1438"/>
                </a:lnTo>
                <a:lnTo>
                  <a:pt x="4044" y="1434"/>
                </a:lnTo>
                <a:lnTo>
                  <a:pt x="4098" y="1432"/>
                </a:lnTo>
                <a:lnTo>
                  <a:pt x="4123" y="1431"/>
                </a:lnTo>
                <a:lnTo>
                  <a:pt x="4143" y="1431"/>
                </a:lnTo>
                <a:lnTo>
                  <a:pt x="4143" y="1431"/>
                </a:lnTo>
                <a:lnTo>
                  <a:pt x="4144" y="1417"/>
                </a:lnTo>
                <a:lnTo>
                  <a:pt x="4144" y="1400"/>
                </a:lnTo>
                <a:lnTo>
                  <a:pt x="4143" y="1382"/>
                </a:lnTo>
                <a:lnTo>
                  <a:pt x="4141" y="1364"/>
                </a:lnTo>
                <a:lnTo>
                  <a:pt x="4138" y="1344"/>
                </a:lnTo>
                <a:lnTo>
                  <a:pt x="4133" y="1325"/>
                </a:lnTo>
                <a:lnTo>
                  <a:pt x="4126" y="1307"/>
                </a:lnTo>
                <a:lnTo>
                  <a:pt x="4121" y="1297"/>
                </a:lnTo>
                <a:lnTo>
                  <a:pt x="4116" y="1288"/>
                </a:lnTo>
                <a:lnTo>
                  <a:pt x="4116" y="1288"/>
                </a:lnTo>
                <a:lnTo>
                  <a:pt x="4134" y="1302"/>
                </a:lnTo>
                <a:lnTo>
                  <a:pt x="4150" y="1315"/>
                </a:lnTo>
                <a:lnTo>
                  <a:pt x="4165" y="1328"/>
                </a:lnTo>
                <a:lnTo>
                  <a:pt x="4172" y="1335"/>
                </a:lnTo>
                <a:lnTo>
                  <a:pt x="4178" y="1343"/>
                </a:lnTo>
                <a:lnTo>
                  <a:pt x="4184" y="1352"/>
                </a:lnTo>
                <a:lnTo>
                  <a:pt x="4189" y="1361"/>
                </a:lnTo>
                <a:lnTo>
                  <a:pt x="4194" y="1370"/>
                </a:lnTo>
                <a:lnTo>
                  <a:pt x="4198" y="1380"/>
                </a:lnTo>
                <a:lnTo>
                  <a:pt x="4203" y="1392"/>
                </a:lnTo>
                <a:lnTo>
                  <a:pt x="4206" y="1404"/>
                </a:lnTo>
                <a:lnTo>
                  <a:pt x="4209" y="1417"/>
                </a:lnTo>
                <a:lnTo>
                  <a:pt x="4212" y="1431"/>
                </a:lnTo>
                <a:lnTo>
                  <a:pt x="4212" y="1431"/>
                </a:lnTo>
                <a:lnTo>
                  <a:pt x="4390" y="1438"/>
                </a:lnTo>
                <a:lnTo>
                  <a:pt x="4390" y="1438"/>
                </a:lnTo>
                <a:lnTo>
                  <a:pt x="4390" y="1421"/>
                </a:lnTo>
                <a:lnTo>
                  <a:pt x="4389" y="1406"/>
                </a:lnTo>
                <a:lnTo>
                  <a:pt x="4386" y="1391"/>
                </a:lnTo>
                <a:lnTo>
                  <a:pt x="4381" y="1376"/>
                </a:lnTo>
                <a:lnTo>
                  <a:pt x="4376" y="1363"/>
                </a:lnTo>
                <a:lnTo>
                  <a:pt x="4370" y="1350"/>
                </a:lnTo>
                <a:lnTo>
                  <a:pt x="4362" y="1338"/>
                </a:lnTo>
                <a:lnTo>
                  <a:pt x="4353" y="1326"/>
                </a:lnTo>
                <a:lnTo>
                  <a:pt x="4353" y="1326"/>
                </a:lnTo>
                <a:lnTo>
                  <a:pt x="4370" y="1334"/>
                </a:lnTo>
                <a:lnTo>
                  <a:pt x="4388" y="1342"/>
                </a:lnTo>
                <a:lnTo>
                  <a:pt x="4403" y="1352"/>
                </a:lnTo>
                <a:lnTo>
                  <a:pt x="4418" y="1361"/>
                </a:lnTo>
                <a:lnTo>
                  <a:pt x="4433" y="1371"/>
                </a:lnTo>
                <a:lnTo>
                  <a:pt x="4447" y="1381"/>
                </a:lnTo>
                <a:lnTo>
                  <a:pt x="4459" y="1392"/>
                </a:lnTo>
                <a:lnTo>
                  <a:pt x="4471" y="1403"/>
                </a:lnTo>
                <a:lnTo>
                  <a:pt x="4483" y="1414"/>
                </a:lnTo>
                <a:lnTo>
                  <a:pt x="4494" y="1426"/>
                </a:lnTo>
                <a:lnTo>
                  <a:pt x="4504" y="1439"/>
                </a:lnTo>
                <a:lnTo>
                  <a:pt x="4513" y="1451"/>
                </a:lnTo>
                <a:lnTo>
                  <a:pt x="4522" y="1463"/>
                </a:lnTo>
                <a:lnTo>
                  <a:pt x="4530" y="1475"/>
                </a:lnTo>
                <a:lnTo>
                  <a:pt x="4544" y="1501"/>
                </a:lnTo>
                <a:lnTo>
                  <a:pt x="4556" y="1526"/>
                </a:lnTo>
                <a:lnTo>
                  <a:pt x="4567" y="1551"/>
                </a:lnTo>
                <a:lnTo>
                  <a:pt x="4574" y="1577"/>
                </a:lnTo>
                <a:lnTo>
                  <a:pt x="4580" y="1600"/>
                </a:lnTo>
                <a:lnTo>
                  <a:pt x="4584" y="1624"/>
                </a:lnTo>
                <a:lnTo>
                  <a:pt x="4587" y="1646"/>
                </a:lnTo>
                <a:lnTo>
                  <a:pt x="4588" y="1667"/>
                </a:lnTo>
                <a:lnTo>
                  <a:pt x="4588" y="1685"/>
                </a:lnTo>
                <a:lnTo>
                  <a:pt x="4588" y="1685"/>
                </a:lnTo>
                <a:lnTo>
                  <a:pt x="4588" y="1711"/>
                </a:lnTo>
                <a:lnTo>
                  <a:pt x="4587" y="1737"/>
                </a:lnTo>
                <a:lnTo>
                  <a:pt x="4583" y="1762"/>
                </a:lnTo>
                <a:lnTo>
                  <a:pt x="4578" y="1787"/>
                </a:lnTo>
                <a:lnTo>
                  <a:pt x="4571" y="1811"/>
                </a:lnTo>
                <a:lnTo>
                  <a:pt x="4562" y="1834"/>
                </a:lnTo>
                <a:lnTo>
                  <a:pt x="4553" y="1857"/>
                </a:lnTo>
                <a:lnTo>
                  <a:pt x="4542" y="1878"/>
                </a:lnTo>
                <a:lnTo>
                  <a:pt x="4530" y="1900"/>
                </a:lnTo>
                <a:lnTo>
                  <a:pt x="4515" y="1919"/>
                </a:lnTo>
                <a:lnTo>
                  <a:pt x="4501" y="1939"/>
                </a:lnTo>
                <a:lnTo>
                  <a:pt x="4485" y="1956"/>
                </a:lnTo>
                <a:lnTo>
                  <a:pt x="4468" y="1972"/>
                </a:lnTo>
                <a:lnTo>
                  <a:pt x="4450" y="1988"/>
                </a:lnTo>
                <a:lnTo>
                  <a:pt x="4432" y="2002"/>
                </a:lnTo>
                <a:lnTo>
                  <a:pt x="4412" y="2015"/>
                </a:lnTo>
                <a:lnTo>
                  <a:pt x="4412" y="2015"/>
                </a:lnTo>
                <a:lnTo>
                  <a:pt x="4377" y="2036"/>
                </a:lnTo>
                <a:lnTo>
                  <a:pt x="4345" y="2054"/>
                </a:lnTo>
                <a:lnTo>
                  <a:pt x="4313" y="2071"/>
                </a:lnTo>
                <a:lnTo>
                  <a:pt x="4282" y="2087"/>
                </a:lnTo>
                <a:lnTo>
                  <a:pt x="4225" y="2114"/>
                </a:lnTo>
                <a:lnTo>
                  <a:pt x="4171" y="2139"/>
                </a:lnTo>
                <a:close/>
                <a:moveTo>
                  <a:pt x="3989" y="3389"/>
                </a:moveTo>
                <a:lnTo>
                  <a:pt x="3989" y="3389"/>
                </a:lnTo>
                <a:lnTo>
                  <a:pt x="3970" y="3382"/>
                </a:lnTo>
                <a:lnTo>
                  <a:pt x="3970" y="3382"/>
                </a:lnTo>
                <a:lnTo>
                  <a:pt x="3967" y="3380"/>
                </a:lnTo>
                <a:lnTo>
                  <a:pt x="3967" y="3380"/>
                </a:lnTo>
                <a:lnTo>
                  <a:pt x="3989" y="3389"/>
                </a:lnTo>
                <a:close/>
                <a:moveTo>
                  <a:pt x="2262" y="1056"/>
                </a:moveTo>
                <a:lnTo>
                  <a:pt x="2262" y="1056"/>
                </a:lnTo>
                <a:lnTo>
                  <a:pt x="2262" y="1057"/>
                </a:lnTo>
                <a:lnTo>
                  <a:pt x="2261" y="1059"/>
                </a:lnTo>
                <a:lnTo>
                  <a:pt x="2257" y="1061"/>
                </a:lnTo>
                <a:lnTo>
                  <a:pt x="2251" y="1064"/>
                </a:lnTo>
                <a:lnTo>
                  <a:pt x="2241" y="1066"/>
                </a:lnTo>
                <a:lnTo>
                  <a:pt x="2219" y="1072"/>
                </a:lnTo>
                <a:lnTo>
                  <a:pt x="2191" y="1077"/>
                </a:lnTo>
                <a:lnTo>
                  <a:pt x="2164" y="1081"/>
                </a:lnTo>
                <a:lnTo>
                  <a:pt x="2138" y="1083"/>
                </a:lnTo>
                <a:lnTo>
                  <a:pt x="2120" y="1083"/>
                </a:lnTo>
                <a:lnTo>
                  <a:pt x="2113" y="1082"/>
                </a:lnTo>
                <a:lnTo>
                  <a:pt x="2109" y="1081"/>
                </a:lnTo>
                <a:lnTo>
                  <a:pt x="2109" y="1081"/>
                </a:lnTo>
                <a:lnTo>
                  <a:pt x="2106" y="1079"/>
                </a:lnTo>
                <a:lnTo>
                  <a:pt x="2104" y="1075"/>
                </a:lnTo>
                <a:lnTo>
                  <a:pt x="2101" y="1064"/>
                </a:lnTo>
                <a:lnTo>
                  <a:pt x="2098" y="1052"/>
                </a:lnTo>
                <a:lnTo>
                  <a:pt x="2096" y="1038"/>
                </a:lnTo>
                <a:lnTo>
                  <a:pt x="2096" y="1023"/>
                </a:lnTo>
                <a:lnTo>
                  <a:pt x="2096" y="1010"/>
                </a:lnTo>
                <a:lnTo>
                  <a:pt x="2097" y="1000"/>
                </a:lnTo>
                <a:lnTo>
                  <a:pt x="2098" y="995"/>
                </a:lnTo>
                <a:lnTo>
                  <a:pt x="2100" y="992"/>
                </a:lnTo>
                <a:lnTo>
                  <a:pt x="2100" y="992"/>
                </a:lnTo>
                <a:lnTo>
                  <a:pt x="2101" y="991"/>
                </a:lnTo>
                <a:lnTo>
                  <a:pt x="2103" y="989"/>
                </a:lnTo>
                <a:lnTo>
                  <a:pt x="2109" y="988"/>
                </a:lnTo>
                <a:lnTo>
                  <a:pt x="2118" y="987"/>
                </a:lnTo>
                <a:lnTo>
                  <a:pt x="2128" y="987"/>
                </a:lnTo>
                <a:lnTo>
                  <a:pt x="2139" y="988"/>
                </a:lnTo>
                <a:lnTo>
                  <a:pt x="2151" y="990"/>
                </a:lnTo>
                <a:lnTo>
                  <a:pt x="2165" y="993"/>
                </a:lnTo>
                <a:lnTo>
                  <a:pt x="2179" y="997"/>
                </a:lnTo>
                <a:lnTo>
                  <a:pt x="2192" y="1002"/>
                </a:lnTo>
                <a:lnTo>
                  <a:pt x="2206" y="1007"/>
                </a:lnTo>
                <a:lnTo>
                  <a:pt x="2219" y="1014"/>
                </a:lnTo>
                <a:lnTo>
                  <a:pt x="2231" y="1021"/>
                </a:lnTo>
                <a:lnTo>
                  <a:pt x="2241" y="1029"/>
                </a:lnTo>
                <a:lnTo>
                  <a:pt x="2251" y="1038"/>
                </a:lnTo>
                <a:lnTo>
                  <a:pt x="2258" y="1047"/>
                </a:lnTo>
                <a:lnTo>
                  <a:pt x="2260" y="1051"/>
                </a:lnTo>
                <a:lnTo>
                  <a:pt x="2262" y="1056"/>
                </a:lnTo>
                <a:close/>
                <a:moveTo>
                  <a:pt x="4842" y="2915"/>
                </a:moveTo>
                <a:lnTo>
                  <a:pt x="4842" y="2915"/>
                </a:lnTo>
                <a:lnTo>
                  <a:pt x="4862" y="2919"/>
                </a:lnTo>
                <a:lnTo>
                  <a:pt x="4881" y="2921"/>
                </a:lnTo>
                <a:lnTo>
                  <a:pt x="4900" y="2922"/>
                </a:lnTo>
                <a:lnTo>
                  <a:pt x="4916" y="2921"/>
                </a:lnTo>
                <a:lnTo>
                  <a:pt x="4932" y="2919"/>
                </a:lnTo>
                <a:lnTo>
                  <a:pt x="4946" y="2916"/>
                </a:lnTo>
                <a:lnTo>
                  <a:pt x="4958" y="2911"/>
                </a:lnTo>
                <a:lnTo>
                  <a:pt x="4969" y="2905"/>
                </a:lnTo>
                <a:lnTo>
                  <a:pt x="4969" y="2905"/>
                </a:lnTo>
                <a:lnTo>
                  <a:pt x="4967" y="2879"/>
                </a:lnTo>
                <a:lnTo>
                  <a:pt x="4960" y="2819"/>
                </a:lnTo>
                <a:lnTo>
                  <a:pt x="4951" y="2746"/>
                </a:lnTo>
                <a:lnTo>
                  <a:pt x="4946" y="2714"/>
                </a:lnTo>
                <a:lnTo>
                  <a:pt x="4940" y="2686"/>
                </a:lnTo>
                <a:lnTo>
                  <a:pt x="4940" y="2686"/>
                </a:lnTo>
                <a:lnTo>
                  <a:pt x="4922" y="2689"/>
                </a:lnTo>
                <a:lnTo>
                  <a:pt x="4902" y="2692"/>
                </a:lnTo>
                <a:lnTo>
                  <a:pt x="4891" y="2692"/>
                </a:lnTo>
                <a:lnTo>
                  <a:pt x="4879" y="2692"/>
                </a:lnTo>
                <a:lnTo>
                  <a:pt x="4867" y="2691"/>
                </a:lnTo>
                <a:lnTo>
                  <a:pt x="4855" y="2689"/>
                </a:lnTo>
                <a:lnTo>
                  <a:pt x="4843" y="2686"/>
                </a:lnTo>
                <a:lnTo>
                  <a:pt x="4830" y="2682"/>
                </a:lnTo>
                <a:lnTo>
                  <a:pt x="4818" y="2677"/>
                </a:lnTo>
                <a:lnTo>
                  <a:pt x="4806" y="2670"/>
                </a:lnTo>
                <a:lnTo>
                  <a:pt x="4794" y="2660"/>
                </a:lnTo>
                <a:lnTo>
                  <a:pt x="4782" y="2650"/>
                </a:lnTo>
                <a:lnTo>
                  <a:pt x="4771" y="2638"/>
                </a:lnTo>
                <a:lnTo>
                  <a:pt x="4761" y="2624"/>
                </a:lnTo>
                <a:lnTo>
                  <a:pt x="4761" y="2624"/>
                </a:lnTo>
                <a:lnTo>
                  <a:pt x="4743" y="2595"/>
                </a:lnTo>
                <a:lnTo>
                  <a:pt x="4724" y="2567"/>
                </a:lnTo>
                <a:lnTo>
                  <a:pt x="4724" y="2567"/>
                </a:lnTo>
                <a:lnTo>
                  <a:pt x="4703" y="2539"/>
                </a:lnTo>
                <a:lnTo>
                  <a:pt x="4680" y="2511"/>
                </a:lnTo>
                <a:lnTo>
                  <a:pt x="4658" y="2485"/>
                </a:lnTo>
                <a:lnTo>
                  <a:pt x="4634" y="2459"/>
                </a:lnTo>
                <a:lnTo>
                  <a:pt x="4611" y="2435"/>
                </a:lnTo>
                <a:lnTo>
                  <a:pt x="4586" y="2412"/>
                </a:lnTo>
                <a:lnTo>
                  <a:pt x="4562" y="2389"/>
                </a:lnTo>
                <a:lnTo>
                  <a:pt x="4538" y="2369"/>
                </a:lnTo>
                <a:lnTo>
                  <a:pt x="4513" y="2349"/>
                </a:lnTo>
                <a:lnTo>
                  <a:pt x="4489" y="2329"/>
                </a:lnTo>
                <a:lnTo>
                  <a:pt x="4463" y="2311"/>
                </a:lnTo>
                <a:lnTo>
                  <a:pt x="4439" y="2292"/>
                </a:lnTo>
                <a:lnTo>
                  <a:pt x="4413" y="2276"/>
                </a:lnTo>
                <a:lnTo>
                  <a:pt x="4389" y="2260"/>
                </a:lnTo>
                <a:lnTo>
                  <a:pt x="4337" y="2228"/>
                </a:lnTo>
                <a:lnTo>
                  <a:pt x="4337" y="2228"/>
                </a:lnTo>
                <a:lnTo>
                  <a:pt x="4381" y="2205"/>
                </a:lnTo>
                <a:lnTo>
                  <a:pt x="4422" y="2183"/>
                </a:lnTo>
                <a:lnTo>
                  <a:pt x="4459" y="2160"/>
                </a:lnTo>
                <a:lnTo>
                  <a:pt x="4492" y="2139"/>
                </a:lnTo>
                <a:lnTo>
                  <a:pt x="4523" y="2117"/>
                </a:lnTo>
                <a:lnTo>
                  <a:pt x="4549" y="2096"/>
                </a:lnTo>
                <a:lnTo>
                  <a:pt x="4574" y="2076"/>
                </a:lnTo>
                <a:lnTo>
                  <a:pt x="4595" y="2055"/>
                </a:lnTo>
                <a:lnTo>
                  <a:pt x="4615" y="2036"/>
                </a:lnTo>
                <a:lnTo>
                  <a:pt x="4632" y="2017"/>
                </a:lnTo>
                <a:lnTo>
                  <a:pt x="4647" y="1999"/>
                </a:lnTo>
                <a:lnTo>
                  <a:pt x="4661" y="1981"/>
                </a:lnTo>
                <a:lnTo>
                  <a:pt x="4673" y="1965"/>
                </a:lnTo>
                <a:lnTo>
                  <a:pt x="4683" y="1950"/>
                </a:lnTo>
                <a:lnTo>
                  <a:pt x="4700" y="1922"/>
                </a:lnTo>
                <a:lnTo>
                  <a:pt x="4700" y="1922"/>
                </a:lnTo>
                <a:lnTo>
                  <a:pt x="4708" y="1910"/>
                </a:lnTo>
                <a:lnTo>
                  <a:pt x="4714" y="1896"/>
                </a:lnTo>
                <a:lnTo>
                  <a:pt x="4721" y="1880"/>
                </a:lnTo>
                <a:lnTo>
                  <a:pt x="4727" y="1864"/>
                </a:lnTo>
                <a:lnTo>
                  <a:pt x="4733" y="1845"/>
                </a:lnTo>
                <a:lnTo>
                  <a:pt x="4739" y="1826"/>
                </a:lnTo>
                <a:lnTo>
                  <a:pt x="4743" y="1806"/>
                </a:lnTo>
                <a:lnTo>
                  <a:pt x="4749" y="1785"/>
                </a:lnTo>
                <a:lnTo>
                  <a:pt x="4753" y="1763"/>
                </a:lnTo>
                <a:lnTo>
                  <a:pt x="4756" y="1740"/>
                </a:lnTo>
                <a:lnTo>
                  <a:pt x="4758" y="1716"/>
                </a:lnTo>
                <a:lnTo>
                  <a:pt x="4759" y="1692"/>
                </a:lnTo>
                <a:lnTo>
                  <a:pt x="4760" y="1667"/>
                </a:lnTo>
                <a:lnTo>
                  <a:pt x="4759" y="1642"/>
                </a:lnTo>
                <a:lnTo>
                  <a:pt x="4758" y="1616"/>
                </a:lnTo>
                <a:lnTo>
                  <a:pt x="4755" y="1590"/>
                </a:lnTo>
                <a:lnTo>
                  <a:pt x="4751" y="1564"/>
                </a:lnTo>
                <a:lnTo>
                  <a:pt x="4745" y="1538"/>
                </a:lnTo>
                <a:lnTo>
                  <a:pt x="4738" y="1511"/>
                </a:lnTo>
                <a:lnTo>
                  <a:pt x="4730" y="1486"/>
                </a:lnTo>
                <a:lnTo>
                  <a:pt x="4720" y="1459"/>
                </a:lnTo>
                <a:lnTo>
                  <a:pt x="4709" y="1433"/>
                </a:lnTo>
                <a:lnTo>
                  <a:pt x="4695" y="1408"/>
                </a:lnTo>
                <a:lnTo>
                  <a:pt x="4681" y="1383"/>
                </a:lnTo>
                <a:lnTo>
                  <a:pt x="4665" y="1359"/>
                </a:lnTo>
                <a:lnTo>
                  <a:pt x="4646" y="1334"/>
                </a:lnTo>
                <a:lnTo>
                  <a:pt x="4625" y="1311"/>
                </a:lnTo>
                <a:lnTo>
                  <a:pt x="4602" y="1288"/>
                </a:lnTo>
                <a:lnTo>
                  <a:pt x="4578" y="1267"/>
                </a:lnTo>
                <a:lnTo>
                  <a:pt x="4551" y="1246"/>
                </a:lnTo>
                <a:lnTo>
                  <a:pt x="4522" y="1227"/>
                </a:lnTo>
                <a:lnTo>
                  <a:pt x="4490" y="1207"/>
                </a:lnTo>
                <a:lnTo>
                  <a:pt x="4490" y="1207"/>
                </a:lnTo>
                <a:lnTo>
                  <a:pt x="4466" y="1195"/>
                </a:lnTo>
                <a:lnTo>
                  <a:pt x="4443" y="1184"/>
                </a:lnTo>
                <a:lnTo>
                  <a:pt x="4419" y="1174"/>
                </a:lnTo>
                <a:lnTo>
                  <a:pt x="4396" y="1165"/>
                </a:lnTo>
                <a:lnTo>
                  <a:pt x="4372" y="1156"/>
                </a:lnTo>
                <a:lnTo>
                  <a:pt x="4348" y="1149"/>
                </a:lnTo>
                <a:lnTo>
                  <a:pt x="4325" y="1143"/>
                </a:lnTo>
                <a:lnTo>
                  <a:pt x="4302" y="1138"/>
                </a:lnTo>
                <a:lnTo>
                  <a:pt x="4278" y="1133"/>
                </a:lnTo>
                <a:lnTo>
                  <a:pt x="4256" y="1130"/>
                </a:lnTo>
                <a:lnTo>
                  <a:pt x="4233" y="1127"/>
                </a:lnTo>
                <a:lnTo>
                  <a:pt x="4211" y="1125"/>
                </a:lnTo>
                <a:lnTo>
                  <a:pt x="4188" y="1123"/>
                </a:lnTo>
                <a:lnTo>
                  <a:pt x="4167" y="1123"/>
                </a:lnTo>
                <a:lnTo>
                  <a:pt x="4145" y="1123"/>
                </a:lnTo>
                <a:lnTo>
                  <a:pt x="4124" y="1123"/>
                </a:lnTo>
                <a:lnTo>
                  <a:pt x="4083" y="1126"/>
                </a:lnTo>
                <a:lnTo>
                  <a:pt x="4044" y="1130"/>
                </a:lnTo>
                <a:lnTo>
                  <a:pt x="4007" y="1136"/>
                </a:lnTo>
                <a:lnTo>
                  <a:pt x="3973" y="1144"/>
                </a:lnTo>
                <a:lnTo>
                  <a:pt x="3941" y="1152"/>
                </a:lnTo>
                <a:lnTo>
                  <a:pt x="3912" y="1161"/>
                </a:lnTo>
                <a:lnTo>
                  <a:pt x="3887" y="1172"/>
                </a:lnTo>
                <a:lnTo>
                  <a:pt x="3864" y="1181"/>
                </a:lnTo>
                <a:lnTo>
                  <a:pt x="3864" y="1181"/>
                </a:lnTo>
                <a:lnTo>
                  <a:pt x="3844" y="1191"/>
                </a:lnTo>
                <a:lnTo>
                  <a:pt x="3824" y="1201"/>
                </a:lnTo>
                <a:lnTo>
                  <a:pt x="3806" y="1213"/>
                </a:lnTo>
                <a:lnTo>
                  <a:pt x="3787" y="1224"/>
                </a:lnTo>
                <a:lnTo>
                  <a:pt x="3769" y="1237"/>
                </a:lnTo>
                <a:lnTo>
                  <a:pt x="3752" y="1249"/>
                </a:lnTo>
                <a:lnTo>
                  <a:pt x="3735" y="1264"/>
                </a:lnTo>
                <a:lnTo>
                  <a:pt x="3719" y="1278"/>
                </a:lnTo>
                <a:lnTo>
                  <a:pt x="3703" y="1293"/>
                </a:lnTo>
                <a:lnTo>
                  <a:pt x="3687" y="1309"/>
                </a:lnTo>
                <a:lnTo>
                  <a:pt x="3673" y="1325"/>
                </a:lnTo>
                <a:lnTo>
                  <a:pt x="3659" y="1341"/>
                </a:lnTo>
                <a:lnTo>
                  <a:pt x="3645" y="1359"/>
                </a:lnTo>
                <a:lnTo>
                  <a:pt x="3633" y="1377"/>
                </a:lnTo>
                <a:lnTo>
                  <a:pt x="3621" y="1396"/>
                </a:lnTo>
                <a:lnTo>
                  <a:pt x="3609" y="1415"/>
                </a:lnTo>
                <a:lnTo>
                  <a:pt x="3599" y="1434"/>
                </a:lnTo>
                <a:lnTo>
                  <a:pt x="3589" y="1455"/>
                </a:lnTo>
                <a:lnTo>
                  <a:pt x="3581" y="1475"/>
                </a:lnTo>
                <a:lnTo>
                  <a:pt x="3573" y="1497"/>
                </a:lnTo>
                <a:lnTo>
                  <a:pt x="3565" y="1518"/>
                </a:lnTo>
                <a:lnTo>
                  <a:pt x="3559" y="1541"/>
                </a:lnTo>
                <a:lnTo>
                  <a:pt x="3554" y="1563"/>
                </a:lnTo>
                <a:lnTo>
                  <a:pt x="3550" y="1586"/>
                </a:lnTo>
                <a:lnTo>
                  <a:pt x="3547" y="1609"/>
                </a:lnTo>
                <a:lnTo>
                  <a:pt x="3545" y="1634"/>
                </a:lnTo>
                <a:lnTo>
                  <a:pt x="3544" y="1658"/>
                </a:lnTo>
                <a:lnTo>
                  <a:pt x="3543" y="1683"/>
                </a:lnTo>
                <a:lnTo>
                  <a:pt x="3544" y="1708"/>
                </a:lnTo>
                <a:lnTo>
                  <a:pt x="3546" y="1734"/>
                </a:lnTo>
                <a:lnTo>
                  <a:pt x="3550" y="1760"/>
                </a:lnTo>
                <a:lnTo>
                  <a:pt x="3554" y="1786"/>
                </a:lnTo>
                <a:lnTo>
                  <a:pt x="3554" y="1786"/>
                </a:lnTo>
                <a:lnTo>
                  <a:pt x="3559" y="1810"/>
                </a:lnTo>
                <a:lnTo>
                  <a:pt x="3564" y="1831"/>
                </a:lnTo>
                <a:lnTo>
                  <a:pt x="3571" y="1853"/>
                </a:lnTo>
                <a:lnTo>
                  <a:pt x="3577" y="1873"/>
                </a:lnTo>
                <a:lnTo>
                  <a:pt x="3585" y="1893"/>
                </a:lnTo>
                <a:lnTo>
                  <a:pt x="3592" y="1911"/>
                </a:lnTo>
                <a:lnTo>
                  <a:pt x="3601" y="1929"/>
                </a:lnTo>
                <a:lnTo>
                  <a:pt x="3610" y="1947"/>
                </a:lnTo>
                <a:lnTo>
                  <a:pt x="3620" y="1963"/>
                </a:lnTo>
                <a:lnTo>
                  <a:pt x="3631" y="1978"/>
                </a:lnTo>
                <a:lnTo>
                  <a:pt x="3641" y="1994"/>
                </a:lnTo>
                <a:lnTo>
                  <a:pt x="3652" y="2009"/>
                </a:lnTo>
                <a:lnTo>
                  <a:pt x="3665" y="2023"/>
                </a:lnTo>
                <a:lnTo>
                  <a:pt x="3677" y="2037"/>
                </a:lnTo>
                <a:lnTo>
                  <a:pt x="3690" y="2050"/>
                </a:lnTo>
                <a:lnTo>
                  <a:pt x="3704" y="2062"/>
                </a:lnTo>
                <a:lnTo>
                  <a:pt x="3732" y="2087"/>
                </a:lnTo>
                <a:lnTo>
                  <a:pt x="3763" y="2109"/>
                </a:lnTo>
                <a:lnTo>
                  <a:pt x="3795" y="2131"/>
                </a:lnTo>
                <a:lnTo>
                  <a:pt x="3828" y="2151"/>
                </a:lnTo>
                <a:lnTo>
                  <a:pt x="3863" y="2172"/>
                </a:lnTo>
                <a:lnTo>
                  <a:pt x="3899" y="2191"/>
                </a:lnTo>
                <a:lnTo>
                  <a:pt x="3976" y="2229"/>
                </a:lnTo>
                <a:lnTo>
                  <a:pt x="3976" y="2229"/>
                </a:lnTo>
                <a:lnTo>
                  <a:pt x="3945" y="2246"/>
                </a:lnTo>
                <a:lnTo>
                  <a:pt x="3916" y="2263"/>
                </a:lnTo>
                <a:lnTo>
                  <a:pt x="3890" y="2280"/>
                </a:lnTo>
                <a:lnTo>
                  <a:pt x="3864" y="2298"/>
                </a:lnTo>
                <a:lnTo>
                  <a:pt x="3840" y="2318"/>
                </a:lnTo>
                <a:lnTo>
                  <a:pt x="3817" y="2337"/>
                </a:lnTo>
                <a:lnTo>
                  <a:pt x="3797" y="2358"/>
                </a:lnTo>
                <a:lnTo>
                  <a:pt x="3778" y="2379"/>
                </a:lnTo>
                <a:lnTo>
                  <a:pt x="3761" y="2403"/>
                </a:lnTo>
                <a:lnTo>
                  <a:pt x="3754" y="2415"/>
                </a:lnTo>
                <a:lnTo>
                  <a:pt x="3746" y="2427"/>
                </a:lnTo>
                <a:lnTo>
                  <a:pt x="3739" y="2440"/>
                </a:lnTo>
                <a:lnTo>
                  <a:pt x="3733" y="2453"/>
                </a:lnTo>
                <a:lnTo>
                  <a:pt x="3728" y="2466"/>
                </a:lnTo>
                <a:lnTo>
                  <a:pt x="3723" y="2480"/>
                </a:lnTo>
                <a:lnTo>
                  <a:pt x="3718" y="2495"/>
                </a:lnTo>
                <a:lnTo>
                  <a:pt x="3714" y="2510"/>
                </a:lnTo>
                <a:lnTo>
                  <a:pt x="3711" y="2525"/>
                </a:lnTo>
                <a:lnTo>
                  <a:pt x="3708" y="2541"/>
                </a:lnTo>
                <a:lnTo>
                  <a:pt x="3706" y="2557"/>
                </a:lnTo>
                <a:lnTo>
                  <a:pt x="3705" y="2574"/>
                </a:lnTo>
                <a:lnTo>
                  <a:pt x="3704" y="2592"/>
                </a:lnTo>
                <a:lnTo>
                  <a:pt x="3703" y="2609"/>
                </a:lnTo>
                <a:lnTo>
                  <a:pt x="3703" y="2609"/>
                </a:lnTo>
                <a:lnTo>
                  <a:pt x="3704" y="2632"/>
                </a:lnTo>
                <a:lnTo>
                  <a:pt x="3707" y="2655"/>
                </a:lnTo>
                <a:lnTo>
                  <a:pt x="3711" y="2678"/>
                </a:lnTo>
                <a:lnTo>
                  <a:pt x="3716" y="2701"/>
                </a:lnTo>
                <a:lnTo>
                  <a:pt x="3729" y="2749"/>
                </a:lnTo>
                <a:lnTo>
                  <a:pt x="3736" y="2775"/>
                </a:lnTo>
                <a:lnTo>
                  <a:pt x="3742" y="2801"/>
                </a:lnTo>
                <a:lnTo>
                  <a:pt x="3749" y="2830"/>
                </a:lnTo>
                <a:lnTo>
                  <a:pt x="3753" y="2859"/>
                </a:lnTo>
                <a:lnTo>
                  <a:pt x="3757" y="2889"/>
                </a:lnTo>
                <a:lnTo>
                  <a:pt x="3758" y="2922"/>
                </a:lnTo>
                <a:lnTo>
                  <a:pt x="3758" y="2957"/>
                </a:lnTo>
                <a:lnTo>
                  <a:pt x="3757" y="2975"/>
                </a:lnTo>
                <a:lnTo>
                  <a:pt x="3755" y="2994"/>
                </a:lnTo>
                <a:lnTo>
                  <a:pt x="3753" y="3012"/>
                </a:lnTo>
                <a:lnTo>
                  <a:pt x="3750" y="3033"/>
                </a:lnTo>
                <a:lnTo>
                  <a:pt x="3745" y="3053"/>
                </a:lnTo>
                <a:lnTo>
                  <a:pt x="3741" y="3073"/>
                </a:lnTo>
                <a:lnTo>
                  <a:pt x="3741" y="3073"/>
                </a:lnTo>
                <a:lnTo>
                  <a:pt x="3741" y="3075"/>
                </a:lnTo>
                <a:lnTo>
                  <a:pt x="3741" y="3076"/>
                </a:lnTo>
                <a:lnTo>
                  <a:pt x="3743" y="3076"/>
                </a:lnTo>
                <a:lnTo>
                  <a:pt x="3745" y="3078"/>
                </a:lnTo>
                <a:lnTo>
                  <a:pt x="3753" y="3075"/>
                </a:lnTo>
                <a:lnTo>
                  <a:pt x="3762" y="3073"/>
                </a:lnTo>
                <a:lnTo>
                  <a:pt x="3785" y="3063"/>
                </a:lnTo>
                <a:lnTo>
                  <a:pt x="3814" y="3051"/>
                </a:lnTo>
                <a:lnTo>
                  <a:pt x="3842" y="3036"/>
                </a:lnTo>
                <a:lnTo>
                  <a:pt x="3867" y="3022"/>
                </a:lnTo>
                <a:lnTo>
                  <a:pt x="3886" y="3011"/>
                </a:lnTo>
                <a:lnTo>
                  <a:pt x="3891" y="3007"/>
                </a:lnTo>
                <a:lnTo>
                  <a:pt x="3894" y="3005"/>
                </a:lnTo>
                <a:lnTo>
                  <a:pt x="3894" y="3005"/>
                </a:lnTo>
                <a:lnTo>
                  <a:pt x="3903" y="2981"/>
                </a:lnTo>
                <a:lnTo>
                  <a:pt x="3910" y="2958"/>
                </a:lnTo>
                <a:lnTo>
                  <a:pt x="3916" y="2934"/>
                </a:lnTo>
                <a:lnTo>
                  <a:pt x="3921" y="2910"/>
                </a:lnTo>
                <a:lnTo>
                  <a:pt x="3925" y="2886"/>
                </a:lnTo>
                <a:lnTo>
                  <a:pt x="3928" y="2863"/>
                </a:lnTo>
                <a:lnTo>
                  <a:pt x="3930" y="2840"/>
                </a:lnTo>
                <a:lnTo>
                  <a:pt x="3932" y="2818"/>
                </a:lnTo>
                <a:lnTo>
                  <a:pt x="3932" y="2779"/>
                </a:lnTo>
                <a:lnTo>
                  <a:pt x="3931" y="2748"/>
                </a:lnTo>
                <a:lnTo>
                  <a:pt x="3928" y="2721"/>
                </a:lnTo>
                <a:lnTo>
                  <a:pt x="3928" y="2721"/>
                </a:lnTo>
                <a:lnTo>
                  <a:pt x="3939" y="2730"/>
                </a:lnTo>
                <a:lnTo>
                  <a:pt x="3947" y="2741"/>
                </a:lnTo>
                <a:lnTo>
                  <a:pt x="3954" y="2753"/>
                </a:lnTo>
                <a:lnTo>
                  <a:pt x="3960" y="2767"/>
                </a:lnTo>
                <a:lnTo>
                  <a:pt x="3964" y="2782"/>
                </a:lnTo>
                <a:lnTo>
                  <a:pt x="3968" y="2797"/>
                </a:lnTo>
                <a:lnTo>
                  <a:pt x="3971" y="2814"/>
                </a:lnTo>
                <a:lnTo>
                  <a:pt x="3973" y="2830"/>
                </a:lnTo>
                <a:lnTo>
                  <a:pt x="3975" y="2847"/>
                </a:lnTo>
                <a:lnTo>
                  <a:pt x="3976" y="2865"/>
                </a:lnTo>
                <a:lnTo>
                  <a:pt x="3976" y="2881"/>
                </a:lnTo>
                <a:lnTo>
                  <a:pt x="3975" y="2899"/>
                </a:lnTo>
                <a:lnTo>
                  <a:pt x="3971" y="2930"/>
                </a:lnTo>
                <a:lnTo>
                  <a:pt x="3965" y="2959"/>
                </a:lnTo>
                <a:lnTo>
                  <a:pt x="3965" y="2959"/>
                </a:lnTo>
                <a:lnTo>
                  <a:pt x="3982" y="2950"/>
                </a:lnTo>
                <a:lnTo>
                  <a:pt x="3998" y="2938"/>
                </a:lnTo>
                <a:lnTo>
                  <a:pt x="4016" y="2925"/>
                </a:lnTo>
                <a:lnTo>
                  <a:pt x="4036" y="2911"/>
                </a:lnTo>
                <a:lnTo>
                  <a:pt x="4053" y="2896"/>
                </a:lnTo>
                <a:lnTo>
                  <a:pt x="4061" y="2888"/>
                </a:lnTo>
                <a:lnTo>
                  <a:pt x="4068" y="2881"/>
                </a:lnTo>
                <a:lnTo>
                  <a:pt x="4072" y="2874"/>
                </a:lnTo>
                <a:lnTo>
                  <a:pt x="4075" y="2868"/>
                </a:lnTo>
                <a:lnTo>
                  <a:pt x="4075" y="2868"/>
                </a:lnTo>
                <a:lnTo>
                  <a:pt x="4083" y="2838"/>
                </a:lnTo>
                <a:lnTo>
                  <a:pt x="4090" y="2810"/>
                </a:lnTo>
                <a:lnTo>
                  <a:pt x="4094" y="2783"/>
                </a:lnTo>
                <a:lnTo>
                  <a:pt x="4096" y="2757"/>
                </a:lnTo>
                <a:lnTo>
                  <a:pt x="4096" y="2733"/>
                </a:lnTo>
                <a:lnTo>
                  <a:pt x="4095" y="2709"/>
                </a:lnTo>
                <a:lnTo>
                  <a:pt x="4093" y="2687"/>
                </a:lnTo>
                <a:lnTo>
                  <a:pt x="4090" y="2665"/>
                </a:lnTo>
                <a:lnTo>
                  <a:pt x="4085" y="2645"/>
                </a:lnTo>
                <a:lnTo>
                  <a:pt x="4080" y="2626"/>
                </a:lnTo>
                <a:lnTo>
                  <a:pt x="4075" y="2607"/>
                </a:lnTo>
                <a:lnTo>
                  <a:pt x="4069" y="2590"/>
                </a:lnTo>
                <a:lnTo>
                  <a:pt x="4055" y="2556"/>
                </a:lnTo>
                <a:lnTo>
                  <a:pt x="4043" y="2524"/>
                </a:lnTo>
                <a:lnTo>
                  <a:pt x="4043" y="2524"/>
                </a:lnTo>
                <a:lnTo>
                  <a:pt x="4038" y="2509"/>
                </a:lnTo>
                <a:lnTo>
                  <a:pt x="4035" y="2494"/>
                </a:lnTo>
                <a:lnTo>
                  <a:pt x="4034" y="2479"/>
                </a:lnTo>
                <a:lnTo>
                  <a:pt x="4035" y="2464"/>
                </a:lnTo>
                <a:lnTo>
                  <a:pt x="4037" y="2450"/>
                </a:lnTo>
                <a:lnTo>
                  <a:pt x="4041" y="2435"/>
                </a:lnTo>
                <a:lnTo>
                  <a:pt x="4046" y="2421"/>
                </a:lnTo>
                <a:lnTo>
                  <a:pt x="4053" y="2408"/>
                </a:lnTo>
                <a:lnTo>
                  <a:pt x="4061" y="2395"/>
                </a:lnTo>
                <a:lnTo>
                  <a:pt x="4071" y="2381"/>
                </a:lnTo>
                <a:lnTo>
                  <a:pt x="4081" y="2369"/>
                </a:lnTo>
                <a:lnTo>
                  <a:pt x="4092" y="2358"/>
                </a:lnTo>
                <a:lnTo>
                  <a:pt x="4103" y="2346"/>
                </a:lnTo>
                <a:lnTo>
                  <a:pt x="4117" y="2335"/>
                </a:lnTo>
                <a:lnTo>
                  <a:pt x="4130" y="2326"/>
                </a:lnTo>
                <a:lnTo>
                  <a:pt x="4145" y="2317"/>
                </a:lnTo>
                <a:lnTo>
                  <a:pt x="4145" y="2317"/>
                </a:lnTo>
                <a:lnTo>
                  <a:pt x="4180" y="2336"/>
                </a:lnTo>
                <a:lnTo>
                  <a:pt x="4215" y="2357"/>
                </a:lnTo>
                <a:lnTo>
                  <a:pt x="4251" y="2378"/>
                </a:lnTo>
                <a:lnTo>
                  <a:pt x="4286" y="2402"/>
                </a:lnTo>
                <a:lnTo>
                  <a:pt x="4286" y="2402"/>
                </a:lnTo>
                <a:lnTo>
                  <a:pt x="4307" y="2416"/>
                </a:lnTo>
                <a:lnTo>
                  <a:pt x="4341" y="2441"/>
                </a:lnTo>
                <a:lnTo>
                  <a:pt x="4361" y="2456"/>
                </a:lnTo>
                <a:lnTo>
                  <a:pt x="4382" y="2474"/>
                </a:lnTo>
                <a:lnTo>
                  <a:pt x="4405" y="2494"/>
                </a:lnTo>
                <a:lnTo>
                  <a:pt x="4430" y="2515"/>
                </a:lnTo>
                <a:lnTo>
                  <a:pt x="4453" y="2539"/>
                </a:lnTo>
                <a:lnTo>
                  <a:pt x="4478" y="2563"/>
                </a:lnTo>
                <a:lnTo>
                  <a:pt x="4501" y="2590"/>
                </a:lnTo>
                <a:lnTo>
                  <a:pt x="4524" y="2618"/>
                </a:lnTo>
                <a:lnTo>
                  <a:pt x="4545" y="2647"/>
                </a:lnTo>
                <a:lnTo>
                  <a:pt x="4564" y="2678"/>
                </a:lnTo>
                <a:lnTo>
                  <a:pt x="4574" y="2693"/>
                </a:lnTo>
                <a:lnTo>
                  <a:pt x="4582" y="2709"/>
                </a:lnTo>
                <a:lnTo>
                  <a:pt x="4590" y="2726"/>
                </a:lnTo>
                <a:lnTo>
                  <a:pt x="4596" y="2742"/>
                </a:lnTo>
                <a:lnTo>
                  <a:pt x="4596" y="2742"/>
                </a:lnTo>
                <a:lnTo>
                  <a:pt x="4606" y="2768"/>
                </a:lnTo>
                <a:lnTo>
                  <a:pt x="4616" y="2792"/>
                </a:lnTo>
                <a:lnTo>
                  <a:pt x="4624" y="2817"/>
                </a:lnTo>
                <a:lnTo>
                  <a:pt x="4630" y="2840"/>
                </a:lnTo>
                <a:lnTo>
                  <a:pt x="4636" y="2864"/>
                </a:lnTo>
                <a:lnTo>
                  <a:pt x="4641" y="2886"/>
                </a:lnTo>
                <a:lnTo>
                  <a:pt x="4645" y="2908"/>
                </a:lnTo>
                <a:lnTo>
                  <a:pt x="4649" y="2928"/>
                </a:lnTo>
                <a:lnTo>
                  <a:pt x="4651" y="2949"/>
                </a:lnTo>
                <a:lnTo>
                  <a:pt x="4653" y="2968"/>
                </a:lnTo>
                <a:lnTo>
                  <a:pt x="4654" y="2987"/>
                </a:lnTo>
                <a:lnTo>
                  <a:pt x="4655" y="3005"/>
                </a:lnTo>
                <a:lnTo>
                  <a:pt x="4654" y="3039"/>
                </a:lnTo>
                <a:lnTo>
                  <a:pt x="4652" y="3070"/>
                </a:lnTo>
                <a:lnTo>
                  <a:pt x="4648" y="3099"/>
                </a:lnTo>
                <a:lnTo>
                  <a:pt x="4642" y="3126"/>
                </a:lnTo>
                <a:lnTo>
                  <a:pt x="4635" y="3149"/>
                </a:lnTo>
                <a:lnTo>
                  <a:pt x="4628" y="3171"/>
                </a:lnTo>
                <a:lnTo>
                  <a:pt x="4620" y="3189"/>
                </a:lnTo>
                <a:lnTo>
                  <a:pt x="4612" y="3206"/>
                </a:lnTo>
                <a:lnTo>
                  <a:pt x="4603" y="3221"/>
                </a:lnTo>
                <a:lnTo>
                  <a:pt x="4596" y="3232"/>
                </a:lnTo>
                <a:lnTo>
                  <a:pt x="4596" y="3232"/>
                </a:lnTo>
                <a:lnTo>
                  <a:pt x="4582" y="3252"/>
                </a:lnTo>
                <a:lnTo>
                  <a:pt x="4568" y="3273"/>
                </a:lnTo>
                <a:lnTo>
                  <a:pt x="4553" y="3291"/>
                </a:lnTo>
                <a:lnTo>
                  <a:pt x="4538" y="3310"/>
                </a:lnTo>
                <a:lnTo>
                  <a:pt x="4522" y="3327"/>
                </a:lnTo>
                <a:lnTo>
                  <a:pt x="4505" y="3343"/>
                </a:lnTo>
                <a:lnTo>
                  <a:pt x="4487" y="3359"/>
                </a:lnTo>
                <a:lnTo>
                  <a:pt x="4469" y="3373"/>
                </a:lnTo>
                <a:lnTo>
                  <a:pt x="4450" y="3386"/>
                </a:lnTo>
                <a:lnTo>
                  <a:pt x="4430" y="3398"/>
                </a:lnTo>
                <a:lnTo>
                  <a:pt x="4409" y="3409"/>
                </a:lnTo>
                <a:lnTo>
                  <a:pt x="4388" y="3418"/>
                </a:lnTo>
                <a:lnTo>
                  <a:pt x="4364" y="3426"/>
                </a:lnTo>
                <a:lnTo>
                  <a:pt x="4341" y="3433"/>
                </a:lnTo>
                <a:lnTo>
                  <a:pt x="4316" y="3438"/>
                </a:lnTo>
                <a:lnTo>
                  <a:pt x="4290" y="3441"/>
                </a:lnTo>
                <a:lnTo>
                  <a:pt x="4290" y="3441"/>
                </a:lnTo>
                <a:lnTo>
                  <a:pt x="4283" y="3440"/>
                </a:lnTo>
                <a:lnTo>
                  <a:pt x="4275" y="3440"/>
                </a:lnTo>
                <a:lnTo>
                  <a:pt x="4275" y="3440"/>
                </a:lnTo>
                <a:lnTo>
                  <a:pt x="4242" y="3441"/>
                </a:lnTo>
                <a:lnTo>
                  <a:pt x="4213" y="3441"/>
                </a:lnTo>
                <a:lnTo>
                  <a:pt x="4185" y="3440"/>
                </a:lnTo>
                <a:lnTo>
                  <a:pt x="4159" y="3437"/>
                </a:lnTo>
                <a:lnTo>
                  <a:pt x="4159" y="3437"/>
                </a:lnTo>
                <a:lnTo>
                  <a:pt x="4131" y="3432"/>
                </a:lnTo>
                <a:lnTo>
                  <a:pt x="4103" y="3427"/>
                </a:lnTo>
                <a:lnTo>
                  <a:pt x="4077" y="3420"/>
                </a:lnTo>
                <a:lnTo>
                  <a:pt x="4052" y="3413"/>
                </a:lnTo>
                <a:lnTo>
                  <a:pt x="4052" y="3413"/>
                </a:lnTo>
                <a:lnTo>
                  <a:pt x="4009" y="3398"/>
                </a:lnTo>
                <a:lnTo>
                  <a:pt x="3965" y="3379"/>
                </a:lnTo>
                <a:lnTo>
                  <a:pt x="3965" y="3379"/>
                </a:lnTo>
                <a:lnTo>
                  <a:pt x="3925" y="3359"/>
                </a:lnTo>
                <a:lnTo>
                  <a:pt x="3874" y="3331"/>
                </a:lnTo>
                <a:lnTo>
                  <a:pt x="3846" y="3314"/>
                </a:lnTo>
                <a:lnTo>
                  <a:pt x="3815" y="3294"/>
                </a:lnTo>
                <a:lnTo>
                  <a:pt x="3782" y="3274"/>
                </a:lnTo>
                <a:lnTo>
                  <a:pt x="3748" y="3250"/>
                </a:lnTo>
                <a:lnTo>
                  <a:pt x="3712" y="3226"/>
                </a:lnTo>
                <a:lnTo>
                  <a:pt x="3676" y="3198"/>
                </a:lnTo>
                <a:lnTo>
                  <a:pt x="3638" y="3170"/>
                </a:lnTo>
                <a:lnTo>
                  <a:pt x="3601" y="3139"/>
                </a:lnTo>
                <a:lnTo>
                  <a:pt x="3563" y="3106"/>
                </a:lnTo>
                <a:lnTo>
                  <a:pt x="3526" y="3071"/>
                </a:lnTo>
                <a:lnTo>
                  <a:pt x="3488" y="3035"/>
                </a:lnTo>
                <a:lnTo>
                  <a:pt x="3451" y="2997"/>
                </a:lnTo>
                <a:lnTo>
                  <a:pt x="3451" y="2997"/>
                </a:lnTo>
                <a:lnTo>
                  <a:pt x="3394" y="2933"/>
                </a:lnTo>
                <a:lnTo>
                  <a:pt x="3342" y="2874"/>
                </a:lnTo>
                <a:lnTo>
                  <a:pt x="3295" y="2819"/>
                </a:lnTo>
                <a:lnTo>
                  <a:pt x="3253" y="2769"/>
                </a:lnTo>
                <a:lnTo>
                  <a:pt x="3215" y="2722"/>
                </a:lnTo>
                <a:lnTo>
                  <a:pt x="3180" y="2679"/>
                </a:lnTo>
                <a:lnTo>
                  <a:pt x="3120" y="2602"/>
                </a:lnTo>
                <a:lnTo>
                  <a:pt x="3120" y="2602"/>
                </a:lnTo>
                <a:lnTo>
                  <a:pt x="3138" y="2609"/>
                </a:lnTo>
                <a:lnTo>
                  <a:pt x="3156" y="2615"/>
                </a:lnTo>
                <a:lnTo>
                  <a:pt x="3175" y="2620"/>
                </a:lnTo>
                <a:lnTo>
                  <a:pt x="3193" y="2625"/>
                </a:lnTo>
                <a:lnTo>
                  <a:pt x="3211" y="2628"/>
                </a:lnTo>
                <a:lnTo>
                  <a:pt x="3229" y="2630"/>
                </a:lnTo>
                <a:lnTo>
                  <a:pt x="3262" y="2633"/>
                </a:lnTo>
                <a:lnTo>
                  <a:pt x="3289" y="2633"/>
                </a:lnTo>
                <a:lnTo>
                  <a:pt x="3312" y="2632"/>
                </a:lnTo>
                <a:lnTo>
                  <a:pt x="3332" y="2630"/>
                </a:lnTo>
                <a:lnTo>
                  <a:pt x="3332" y="2630"/>
                </a:lnTo>
                <a:lnTo>
                  <a:pt x="3336" y="2580"/>
                </a:lnTo>
                <a:lnTo>
                  <a:pt x="3338" y="2535"/>
                </a:lnTo>
                <a:lnTo>
                  <a:pt x="3340" y="2495"/>
                </a:lnTo>
                <a:lnTo>
                  <a:pt x="3346" y="2360"/>
                </a:lnTo>
                <a:lnTo>
                  <a:pt x="3346" y="2360"/>
                </a:lnTo>
                <a:lnTo>
                  <a:pt x="3349" y="2323"/>
                </a:lnTo>
                <a:lnTo>
                  <a:pt x="3351" y="2288"/>
                </a:lnTo>
                <a:lnTo>
                  <a:pt x="3352" y="2251"/>
                </a:lnTo>
                <a:lnTo>
                  <a:pt x="3352" y="2251"/>
                </a:lnTo>
                <a:lnTo>
                  <a:pt x="3340" y="2250"/>
                </a:lnTo>
                <a:lnTo>
                  <a:pt x="3307" y="2246"/>
                </a:lnTo>
                <a:lnTo>
                  <a:pt x="3285" y="2243"/>
                </a:lnTo>
                <a:lnTo>
                  <a:pt x="3260" y="2238"/>
                </a:lnTo>
                <a:lnTo>
                  <a:pt x="3233" y="2233"/>
                </a:lnTo>
                <a:lnTo>
                  <a:pt x="3206" y="2226"/>
                </a:lnTo>
                <a:lnTo>
                  <a:pt x="3176" y="2217"/>
                </a:lnTo>
                <a:lnTo>
                  <a:pt x="3147" y="2206"/>
                </a:lnTo>
                <a:lnTo>
                  <a:pt x="3120" y="2194"/>
                </a:lnTo>
                <a:lnTo>
                  <a:pt x="3106" y="2188"/>
                </a:lnTo>
                <a:lnTo>
                  <a:pt x="3093" y="2181"/>
                </a:lnTo>
                <a:lnTo>
                  <a:pt x="3081" y="2173"/>
                </a:lnTo>
                <a:lnTo>
                  <a:pt x="3070" y="2164"/>
                </a:lnTo>
                <a:lnTo>
                  <a:pt x="3058" y="2155"/>
                </a:lnTo>
                <a:lnTo>
                  <a:pt x="3049" y="2146"/>
                </a:lnTo>
                <a:lnTo>
                  <a:pt x="3040" y="2136"/>
                </a:lnTo>
                <a:lnTo>
                  <a:pt x="3032" y="2125"/>
                </a:lnTo>
                <a:lnTo>
                  <a:pt x="3025" y="2113"/>
                </a:lnTo>
                <a:lnTo>
                  <a:pt x="3019" y="2101"/>
                </a:lnTo>
                <a:lnTo>
                  <a:pt x="3019" y="2101"/>
                </a:lnTo>
                <a:lnTo>
                  <a:pt x="3030" y="2107"/>
                </a:lnTo>
                <a:lnTo>
                  <a:pt x="3042" y="2112"/>
                </a:lnTo>
                <a:lnTo>
                  <a:pt x="3059" y="2119"/>
                </a:lnTo>
                <a:lnTo>
                  <a:pt x="3081" y="2127"/>
                </a:lnTo>
                <a:lnTo>
                  <a:pt x="3106" y="2134"/>
                </a:lnTo>
                <a:lnTo>
                  <a:pt x="3136" y="2139"/>
                </a:lnTo>
                <a:lnTo>
                  <a:pt x="3152" y="2141"/>
                </a:lnTo>
                <a:lnTo>
                  <a:pt x="3169" y="2142"/>
                </a:lnTo>
                <a:lnTo>
                  <a:pt x="3169" y="2142"/>
                </a:lnTo>
                <a:lnTo>
                  <a:pt x="3201" y="2143"/>
                </a:lnTo>
                <a:lnTo>
                  <a:pt x="3234" y="2143"/>
                </a:lnTo>
                <a:lnTo>
                  <a:pt x="3266" y="2141"/>
                </a:lnTo>
                <a:lnTo>
                  <a:pt x="3295" y="2139"/>
                </a:lnTo>
                <a:lnTo>
                  <a:pt x="3340" y="2133"/>
                </a:lnTo>
                <a:lnTo>
                  <a:pt x="3357" y="2131"/>
                </a:lnTo>
                <a:lnTo>
                  <a:pt x="3357" y="2131"/>
                </a:lnTo>
                <a:lnTo>
                  <a:pt x="3359" y="2125"/>
                </a:lnTo>
                <a:lnTo>
                  <a:pt x="3361" y="2113"/>
                </a:lnTo>
                <a:lnTo>
                  <a:pt x="3364" y="2083"/>
                </a:lnTo>
                <a:lnTo>
                  <a:pt x="3367" y="2043"/>
                </a:lnTo>
                <a:lnTo>
                  <a:pt x="3369" y="1999"/>
                </a:lnTo>
                <a:lnTo>
                  <a:pt x="3373" y="1919"/>
                </a:lnTo>
                <a:lnTo>
                  <a:pt x="3375" y="1884"/>
                </a:lnTo>
                <a:lnTo>
                  <a:pt x="3375" y="1884"/>
                </a:lnTo>
                <a:lnTo>
                  <a:pt x="3376" y="1856"/>
                </a:lnTo>
                <a:lnTo>
                  <a:pt x="3377" y="1816"/>
                </a:lnTo>
                <a:lnTo>
                  <a:pt x="3377" y="1767"/>
                </a:lnTo>
                <a:lnTo>
                  <a:pt x="3377" y="1767"/>
                </a:lnTo>
                <a:lnTo>
                  <a:pt x="3369" y="1769"/>
                </a:lnTo>
                <a:lnTo>
                  <a:pt x="3359" y="1770"/>
                </a:lnTo>
                <a:lnTo>
                  <a:pt x="3338" y="1772"/>
                </a:lnTo>
                <a:lnTo>
                  <a:pt x="3315" y="1771"/>
                </a:lnTo>
                <a:lnTo>
                  <a:pt x="3290" y="1769"/>
                </a:lnTo>
                <a:lnTo>
                  <a:pt x="3264" y="1766"/>
                </a:lnTo>
                <a:lnTo>
                  <a:pt x="3236" y="1762"/>
                </a:lnTo>
                <a:lnTo>
                  <a:pt x="3208" y="1756"/>
                </a:lnTo>
                <a:lnTo>
                  <a:pt x="3178" y="1748"/>
                </a:lnTo>
                <a:lnTo>
                  <a:pt x="3178" y="1748"/>
                </a:lnTo>
                <a:lnTo>
                  <a:pt x="3158" y="1742"/>
                </a:lnTo>
                <a:lnTo>
                  <a:pt x="3135" y="1733"/>
                </a:lnTo>
                <a:lnTo>
                  <a:pt x="3112" y="1721"/>
                </a:lnTo>
                <a:lnTo>
                  <a:pt x="3088" y="1706"/>
                </a:lnTo>
                <a:lnTo>
                  <a:pt x="3064" y="1690"/>
                </a:lnTo>
                <a:lnTo>
                  <a:pt x="3053" y="1681"/>
                </a:lnTo>
                <a:lnTo>
                  <a:pt x="3043" y="1672"/>
                </a:lnTo>
                <a:lnTo>
                  <a:pt x="3034" y="1661"/>
                </a:lnTo>
                <a:lnTo>
                  <a:pt x="3025" y="1652"/>
                </a:lnTo>
                <a:lnTo>
                  <a:pt x="3017" y="1642"/>
                </a:lnTo>
                <a:lnTo>
                  <a:pt x="3010" y="1631"/>
                </a:lnTo>
                <a:lnTo>
                  <a:pt x="3010" y="1631"/>
                </a:lnTo>
                <a:lnTo>
                  <a:pt x="3022" y="1636"/>
                </a:lnTo>
                <a:lnTo>
                  <a:pt x="3035" y="1640"/>
                </a:lnTo>
                <a:lnTo>
                  <a:pt x="3052" y="1646"/>
                </a:lnTo>
                <a:lnTo>
                  <a:pt x="3075" y="1652"/>
                </a:lnTo>
                <a:lnTo>
                  <a:pt x="3101" y="1658"/>
                </a:lnTo>
                <a:lnTo>
                  <a:pt x="3132" y="1665"/>
                </a:lnTo>
                <a:lnTo>
                  <a:pt x="3167" y="1670"/>
                </a:lnTo>
                <a:lnTo>
                  <a:pt x="3167" y="1670"/>
                </a:lnTo>
                <a:lnTo>
                  <a:pt x="3187" y="1672"/>
                </a:lnTo>
                <a:lnTo>
                  <a:pt x="3207" y="1673"/>
                </a:lnTo>
                <a:lnTo>
                  <a:pt x="3226" y="1674"/>
                </a:lnTo>
                <a:lnTo>
                  <a:pt x="3245" y="1674"/>
                </a:lnTo>
                <a:lnTo>
                  <a:pt x="3283" y="1672"/>
                </a:lnTo>
                <a:lnTo>
                  <a:pt x="3317" y="1669"/>
                </a:lnTo>
                <a:lnTo>
                  <a:pt x="3346" y="1663"/>
                </a:lnTo>
                <a:lnTo>
                  <a:pt x="3369" y="1658"/>
                </a:lnTo>
                <a:lnTo>
                  <a:pt x="3377" y="1655"/>
                </a:lnTo>
                <a:lnTo>
                  <a:pt x="3383" y="1653"/>
                </a:lnTo>
                <a:lnTo>
                  <a:pt x="3388" y="1650"/>
                </a:lnTo>
                <a:lnTo>
                  <a:pt x="3390" y="1647"/>
                </a:lnTo>
                <a:lnTo>
                  <a:pt x="3390" y="1647"/>
                </a:lnTo>
                <a:lnTo>
                  <a:pt x="3392" y="1621"/>
                </a:lnTo>
                <a:lnTo>
                  <a:pt x="3393" y="1587"/>
                </a:lnTo>
                <a:lnTo>
                  <a:pt x="3394" y="1510"/>
                </a:lnTo>
                <a:lnTo>
                  <a:pt x="3394" y="1412"/>
                </a:lnTo>
                <a:lnTo>
                  <a:pt x="3394" y="1412"/>
                </a:lnTo>
                <a:lnTo>
                  <a:pt x="3399" y="1348"/>
                </a:lnTo>
                <a:lnTo>
                  <a:pt x="3400" y="1304"/>
                </a:lnTo>
                <a:lnTo>
                  <a:pt x="3400" y="1289"/>
                </a:lnTo>
                <a:lnTo>
                  <a:pt x="3399" y="1285"/>
                </a:lnTo>
                <a:lnTo>
                  <a:pt x="3398" y="1284"/>
                </a:lnTo>
                <a:lnTo>
                  <a:pt x="3398" y="1284"/>
                </a:lnTo>
                <a:lnTo>
                  <a:pt x="3392" y="1284"/>
                </a:lnTo>
                <a:lnTo>
                  <a:pt x="3381" y="1285"/>
                </a:lnTo>
                <a:lnTo>
                  <a:pt x="3368" y="1285"/>
                </a:lnTo>
                <a:lnTo>
                  <a:pt x="3354" y="1284"/>
                </a:lnTo>
                <a:lnTo>
                  <a:pt x="3336" y="1282"/>
                </a:lnTo>
                <a:lnTo>
                  <a:pt x="3317" y="1279"/>
                </a:lnTo>
                <a:lnTo>
                  <a:pt x="3297" y="1274"/>
                </a:lnTo>
                <a:lnTo>
                  <a:pt x="3274" y="1269"/>
                </a:lnTo>
                <a:lnTo>
                  <a:pt x="3251" y="1261"/>
                </a:lnTo>
                <a:lnTo>
                  <a:pt x="3226" y="1251"/>
                </a:lnTo>
                <a:lnTo>
                  <a:pt x="3200" y="1240"/>
                </a:lnTo>
                <a:lnTo>
                  <a:pt x="3175" y="1226"/>
                </a:lnTo>
                <a:lnTo>
                  <a:pt x="3149" y="1210"/>
                </a:lnTo>
                <a:lnTo>
                  <a:pt x="3123" y="1191"/>
                </a:lnTo>
                <a:lnTo>
                  <a:pt x="3110" y="1181"/>
                </a:lnTo>
                <a:lnTo>
                  <a:pt x="3097" y="1170"/>
                </a:lnTo>
                <a:lnTo>
                  <a:pt x="3085" y="1157"/>
                </a:lnTo>
                <a:lnTo>
                  <a:pt x="3073" y="1145"/>
                </a:lnTo>
                <a:lnTo>
                  <a:pt x="3073" y="1145"/>
                </a:lnTo>
                <a:lnTo>
                  <a:pt x="3071" y="1143"/>
                </a:lnTo>
                <a:lnTo>
                  <a:pt x="3065" y="1138"/>
                </a:lnTo>
                <a:lnTo>
                  <a:pt x="3059" y="1129"/>
                </a:lnTo>
                <a:lnTo>
                  <a:pt x="3056" y="1123"/>
                </a:lnTo>
                <a:lnTo>
                  <a:pt x="3053" y="1116"/>
                </a:lnTo>
                <a:lnTo>
                  <a:pt x="3051" y="1109"/>
                </a:lnTo>
                <a:lnTo>
                  <a:pt x="3050" y="1101"/>
                </a:lnTo>
                <a:lnTo>
                  <a:pt x="3049" y="1092"/>
                </a:lnTo>
                <a:lnTo>
                  <a:pt x="3050" y="1082"/>
                </a:lnTo>
                <a:lnTo>
                  <a:pt x="3053" y="1072"/>
                </a:lnTo>
                <a:lnTo>
                  <a:pt x="3056" y="1060"/>
                </a:lnTo>
                <a:lnTo>
                  <a:pt x="3062" y="1048"/>
                </a:lnTo>
                <a:lnTo>
                  <a:pt x="3071" y="1035"/>
                </a:lnTo>
                <a:lnTo>
                  <a:pt x="3071" y="1035"/>
                </a:lnTo>
                <a:lnTo>
                  <a:pt x="2806" y="916"/>
                </a:lnTo>
                <a:lnTo>
                  <a:pt x="2806" y="916"/>
                </a:lnTo>
                <a:lnTo>
                  <a:pt x="2815" y="907"/>
                </a:lnTo>
                <a:lnTo>
                  <a:pt x="2824" y="896"/>
                </a:lnTo>
                <a:lnTo>
                  <a:pt x="2834" y="881"/>
                </a:lnTo>
                <a:lnTo>
                  <a:pt x="2845" y="865"/>
                </a:lnTo>
                <a:lnTo>
                  <a:pt x="2850" y="856"/>
                </a:lnTo>
                <a:lnTo>
                  <a:pt x="2854" y="847"/>
                </a:lnTo>
                <a:lnTo>
                  <a:pt x="2858" y="836"/>
                </a:lnTo>
                <a:lnTo>
                  <a:pt x="2861" y="826"/>
                </a:lnTo>
                <a:lnTo>
                  <a:pt x="2863" y="816"/>
                </a:lnTo>
                <a:lnTo>
                  <a:pt x="2863" y="806"/>
                </a:lnTo>
                <a:lnTo>
                  <a:pt x="2863" y="806"/>
                </a:lnTo>
                <a:lnTo>
                  <a:pt x="2863" y="794"/>
                </a:lnTo>
                <a:lnTo>
                  <a:pt x="2860" y="784"/>
                </a:lnTo>
                <a:lnTo>
                  <a:pt x="2855" y="774"/>
                </a:lnTo>
                <a:lnTo>
                  <a:pt x="2849" y="765"/>
                </a:lnTo>
                <a:lnTo>
                  <a:pt x="2841" y="756"/>
                </a:lnTo>
                <a:lnTo>
                  <a:pt x="2830" y="748"/>
                </a:lnTo>
                <a:lnTo>
                  <a:pt x="2820" y="741"/>
                </a:lnTo>
                <a:lnTo>
                  <a:pt x="2808" y="735"/>
                </a:lnTo>
                <a:lnTo>
                  <a:pt x="2795" y="730"/>
                </a:lnTo>
                <a:lnTo>
                  <a:pt x="2781" y="726"/>
                </a:lnTo>
                <a:lnTo>
                  <a:pt x="2767" y="722"/>
                </a:lnTo>
                <a:lnTo>
                  <a:pt x="2753" y="720"/>
                </a:lnTo>
                <a:lnTo>
                  <a:pt x="2738" y="718"/>
                </a:lnTo>
                <a:lnTo>
                  <a:pt x="2723" y="718"/>
                </a:lnTo>
                <a:lnTo>
                  <a:pt x="2709" y="719"/>
                </a:lnTo>
                <a:lnTo>
                  <a:pt x="2694" y="721"/>
                </a:lnTo>
                <a:lnTo>
                  <a:pt x="2694" y="721"/>
                </a:lnTo>
                <a:lnTo>
                  <a:pt x="2681" y="724"/>
                </a:lnTo>
                <a:lnTo>
                  <a:pt x="2669" y="728"/>
                </a:lnTo>
                <a:lnTo>
                  <a:pt x="2656" y="733"/>
                </a:lnTo>
                <a:lnTo>
                  <a:pt x="2644" y="739"/>
                </a:lnTo>
                <a:lnTo>
                  <a:pt x="2634" y="746"/>
                </a:lnTo>
                <a:lnTo>
                  <a:pt x="2623" y="754"/>
                </a:lnTo>
                <a:lnTo>
                  <a:pt x="2604" y="769"/>
                </a:lnTo>
                <a:lnTo>
                  <a:pt x="2589" y="784"/>
                </a:lnTo>
                <a:lnTo>
                  <a:pt x="2578" y="796"/>
                </a:lnTo>
                <a:lnTo>
                  <a:pt x="2569" y="809"/>
                </a:lnTo>
                <a:lnTo>
                  <a:pt x="2238" y="662"/>
                </a:lnTo>
                <a:lnTo>
                  <a:pt x="1977" y="925"/>
                </a:lnTo>
                <a:lnTo>
                  <a:pt x="1977" y="925"/>
                </a:lnTo>
                <a:lnTo>
                  <a:pt x="1972" y="930"/>
                </a:lnTo>
                <a:lnTo>
                  <a:pt x="1966" y="942"/>
                </a:lnTo>
                <a:lnTo>
                  <a:pt x="1963" y="949"/>
                </a:lnTo>
                <a:lnTo>
                  <a:pt x="1961" y="957"/>
                </a:lnTo>
                <a:lnTo>
                  <a:pt x="1960" y="966"/>
                </a:lnTo>
                <a:lnTo>
                  <a:pt x="1960" y="975"/>
                </a:lnTo>
                <a:lnTo>
                  <a:pt x="1964" y="999"/>
                </a:lnTo>
                <a:lnTo>
                  <a:pt x="1964" y="999"/>
                </a:lnTo>
                <a:lnTo>
                  <a:pt x="1964" y="1005"/>
                </a:lnTo>
                <a:lnTo>
                  <a:pt x="1963" y="1011"/>
                </a:lnTo>
                <a:lnTo>
                  <a:pt x="1962" y="1016"/>
                </a:lnTo>
                <a:lnTo>
                  <a:pt x="1961" y="1020"/>
                </a:lnTo>
                <a:lnTo>
                  <a:pt x="1957" y="1028"/>
                </a:lnTo>
                <a:lnTo>
                  <a:pt x="1955" y="1032"/>
                </a:lnTo>
                <a:lnTo>
                  <a:pt x="1955" y="1032"/>
                </a:lnTo>
                <a:lnTo>
                  <a:pt x="1936" y="1054"/>
                </a:lnTo>
                <a:lnTo>
                  <a:pt x="1916" y="1078"/>
                </a:lnTo>
                <a:lnTo>
                  <a:pt x="1896" y="1100"/>
                </a:lnTo>
                <a:lnTo>
                  <a:pt x="1876" y="1123"/>
                </a:lnTo>
                <a:lnTo>
                  <a:pt x="1876" y="1123"/>
                </a:lnTo>
                <a:lnTo>
                  <a:pt x="1847" y="1161"/>
                </a:lnTo>
                <a:lnTo>
                  <a:pt x="1836" y="1177"/>
                </a:lnTo>
                <a:lnTo>
                  <a:pt x="1828" y="1189"/>
                </a:lnTo>
                <a:lnTo>
                  <a:pt x="1828" y="1189"/>
                </a:lnTo>
                <a:lnTo>
                  <a:pt x="1819" y="1204"/>
                </a:lnTo>
                <a:lnTo>
                  <a:pt x="1811" y="1220"/>
                </a:lnTo>
                <a:lnTo>
                  <a:pt x="1799" y="1245"/>
                </a:lnTo>
                <a:lnTo>
                  <a:pt x="1789" y="1269"/>
                </a:lnTo>
                <a:lnTo>
                  <a:pt x="1781" y="1290"/>
                </a:lnTo>
                <a:lnTo>
                  <a:pt x="1781" y="1290"/>
                </a:lnTo>
                <a:lnTo>
                  <a:pt x="1780" y="1293"/>
                </a:lnTo>
                <a:lnTo>
                  <a:pt x="1778" y="1304"/>
                </a:lnTo>
                <a:lnTo>
                  <a:pt x="1778" y="1311"/>
                </a:lnTo>
                <a:lnTo>
                  <a:pt x="1777" y="1319"/>
                </a:lnTo>
                <a:lnTo>
                  <a:pt x="1778" y="1328"/>
                </a:lnTo>
                <a:lnTo>
                  <a:pt x="1780" y="1339"/>
                </a:lnTo>
                <a:lnTo>
                  <a:pt x="1784" y="1352"/>
                </a:lnTo>
                <a:lnTo>
                  <a:pt x="1789" y="1365"/>
                </a:lnTo>
                <a:lnTo>
                  <a:pt x="1797" y="1378"/>
                </a:lnTo>
                <a:lnTo>
                  <a:pt x="1807" y="1394"/>
                </a:lnTo>
                <a:lnTo>
                  <a:pt x="1819" y="1410"/>
                </a:lnTo>
                <a:lnTo>
                  <a:pt x="1833" y="1426"/>
                </a:lnTo>
                <a:lnTo>
                  <a:pt x="1852" y="1444"/>
                </a:lnTo>
                <a:lnTo>
                  <a:pt x="1874" y="1462"/>
                </a:lnTo>
                <a:lnTo>
                  <a:pt x="1881" y="1468"/>
                </a:lnTo>
                <a:lnTo>
                  <a:pt x="1881" y="1468"/>
                </a:lnTo>
                <a:lnTo>
                  <a:pt x="1894" y="1451"/>
                </a:lnTo>
                <a:lnTo>
                  <a:pt x="1905" y="1462"/>
                </a:lnTo>
                <a:lnTo>
                  <a:pt x="1905" y="1462"/>
                </a:lnTo>
                <a:lnTo>
                  <a:pt x="1914" y="1471"/>
                </a:lnTo>
                <a:lnTo>
                  <a:pt x="1926" y="1482"/>
                </a:lnTo>
                <a:lnTo>
                  <a:pt x="1941" y="1494"/>
                </a:lnTo>
                <a:lnTo>
                  <a:pt x="1957" y="1504"/>
                </a:lnTo>
                <a:lnTo>
                  <a:pt x="1957" y="1504"/>
                </a:lnTo>
                <a:lnTo>
                  <a:pt x="1959" y="1497"/>
                </a:lnTo>
                <a:lnTo>
                  <a:pt x="1964" y="1477"/>
                </a:lnTo>
                <a:lnTo>
                  <a:pt x="1969" y="1464"/>
                </a:lnTo>
                <a:lnTo>
                  <a:pt x="1975" y="1451"/>
                </a:lnTo>
                <a:lnTo>
                  <a:pt x="1983" y="1437"/>
                </a:lnTo>
                <a:lnTo>
                  <a:pt x="1991" y="1422"/>
                </a:lnTo>
                <a:lnTo>
                  <a:pt x="1991" y="1422"/>
                </a:lnTo>
                <a:lnTo>
                  <a:pt x="2000" y="1410"/>
                </a:lnTo>
                <a:lnTo>
                  <a:pt x="2011" y="1398"/>
                </a:lnTo>
                <a:lnTo>
                  <a:pt x="2025" y="1384"/>
                </a:lnTo>
                <a:lnTo>
                  <a:pt x="2038" y="1371"/>
                </a:lnTo>
                <a:lnTo>
                  <a:pt x="2052" y="1359"/>
                </a:lnTo>
                <a:lnTo>
                  <a:pt x="2065" y="1348"/>
                </a:lnTo>
                <a:lnTo>
                  <a:pt x="2080" y="1337"/>
                </a:lnTo>
                <a:lnTo>
                  <a:pt x="2092" y="1329"/>
                </a:lnTo>
                <a:lnTo>
                  <a:pt x="2092" y="1329"/>
                </a:lnTo>
                <a:lnTo>
                  <a:pt x="2107" y="1320"/>
                </a:lnTo>
                <a:lnTo>
                  <a:pt x="2123" y="1312"/>
                </a:lnTo>
                <a:lnTo>
                  <a:pt x="2138" y="1305"/>
                </a:lnTo>
                <a:lnTo>
                  <a:pt x="2154" y="1298"/>
                </a:lnTo>
                <a:lnTo>
                  <a:pt x="2170" y="1294"/>
                </a:lnTo>
                <a:lnTo>
                  <a:pt x="2186" y="1291"/>
                </a:lnTo>
                <a:lnTo>
                  <a:pt x="2202" y="1288"/>
                </a:lnTo>
                <a:lnTo>
                  <a:pt x="2220" y="1287"/>
                </a:lnTo>
                <a:lnTo>
                  <a:pt x="2220" y="1287"/>
                </a:lnTo>
                <a:lnTo>
                  <a:pt x="2234" y="1288"/>
                </a:lnTo>
                <a:lnTo>
                  <a:pt x="2247" y="1289"/>
                </a:lnTo>
                <a:lnTo>
                  <a:pt x="2261" y="1292"/>
                </a:lnTo>
                <a:lnTo>
                  <a:pt x="2272" y="1297"/>
                </a:lnTo>
                <a:lnTo>
                  <a:pt x="2283" y="1304"/>
                </a:lnTo>
                <a:lnTo>
                  <a:pt x="2295" y="1311"/>
                </a:lnTo>
                <a:lnTo>
                  <a:pt x="2305" y="1320"/>
                </a:lnTo>
                <a:lnTo>
                  <a:pt x="2316" y="1330"/>
                </a:lnTo>
                <a:lnTo>
                  <a:pt x="2316" y="1330"/>
                </a:lnTo>
                <a:lnTo>
                  <a:pt x="2323" y="1338"/>
                </a:lnTo>
                <a:lnTo>
                  <a:pt x="2330" y="1349"/>
                </a:lnTo>
                <a:lnTo>
                  <a:pt x="2336" y="1360"/>
                </a:lnTo>
                <a:lnTo>
                  <a:pt x="2342" y="1372"/>
                </a:lnTo>
                <a:lnTo>
                  <a:pt x="2347" y="1384"/>
                </a:lnTo>
                <a:lnTo>
                  <a:pt x="2351" y="1398"/>
                </a:lnTo>
                <a:lnTo>
                  <a:pt x="2355" y="1412"/>
                </a:lnTo>
                <a:lnTo>
                  <a:pt x="2358" y="1426"/>
                </a:lnTo>
                <a:lnTo>
                  <a:pt x="2360" y="1440"/>
                </a:lnTo>
                <a:lnTo>
                  <a:pt x="2362" y="1454"/>
                </a:lnTo>
                <a:lnTo>
                  <a:pt x="2363" y="1467"/>
                </a:lnTo>
                <a:lnTo>
                  <a:pt x="2364" y="1480"/>
                </a:lnTo>
                <a:lnTo>
                  <a:pt x="2364" y="1493"/>
                </a:lnTo>
                <a:lnTo>
                  <a:pt x="2363" y="1504"/>
                </a:lnTo>
                <a:lnTo>
                  <a:pt x="2361" y="1514"/>
                </a:lnTo>
                <a:lnTo>
                  <a:pt x="2359" y="1523"/>
                </a:lnTo>
                <a:lnTo>
                  <a:pt x="2359" y="1523"/>
                </a:lnTo>
                <a:lnTo>
                  <a:pt x="2330" y="1505"/>
                </a:lnTo>
                <a:lnTo>
                  <a:pt x="2330" y="1505"/>
                </a:lnTo>
                <a:lnTo>
                  <a:pt x="2309" y="1494"/>
                </a:lnTo>
                <a:lnTo>
                  <a:pt x="2281" y="1484"/>
                </a:lnTo>
                <a:lnTo>
                  <a:pt x="2266" y="1477"/>
                </a:lnTo>
                <a:lnTo>
                  <a:pt x="2251" y="1473"/>
                </a:lnTo>
                <a:lnTo>
                  <a:pt x="2233" y="1469"/>
                </a:lnTo>
                <a:lnTo>
                  <a:pt x="2215" y="1465"/>
                </a:lnTo>
                <a:lnTo>
                  <a:pt x="2195" y="1463"/>
                </a:lnTo>
                <a:lnTo>
                  <a:pt x="2175" y="1462"/>
                </a:lnTo>
                <a:lnTo>
                  <a:pt x="2154" y="1462"/>
                </a:lnTo>
                <a:lnTo>
                  <a:pt x="2132" y="1464"/>
                </a:lnTo>
                <a:lnTo>
                  <a:pt x="2109" y="1467"/>
                </a:lnTo>
                <a:lnTo>
                  <a:pt x="2086" y="1472"/>
                </a:lnTo>
                <a:lnTo>
                  <a:pt x="2062" y="1480"/>
                </a:lnTo>
                <a:lnTo>
                  <a:pt x="2037" y="1491"/>
                </a:lnTo>
                <a:lnTo>
                  <a:pt x="2037" y="1491"/>
                </a:lnTo>
                <a:lnTo>
                  <a:pt x="1995" y="1509"/>
                </a:lnTo>
                <a:lnTo>
                  <a:pt x="1967" y="1521"/>
                </a:lnTo>
                <a:lnTo>
                  <a:pt x="1936" y="1534"/>
                </a:lnTo>
                <a:lnTo>
                  <a:pt x="1900" y="1548"/>
                </a:lnTo>
                <a:lnTo>
                  <a:pt x="1860" y="1562"/>
                </a:lnTo>
                <a:lnTo>
                  <a:pt x="1814" y="1578"/>
                </a:lnTo>
                <a:lnTo>
                  <a:pt x="1764" y="1593"/>
                </a:lnTo>
                <a:lnTo>
                  <a:pt x="1764" y="1593"/>
                </a:lnTo>
                <a:lnTo>
                  <a:pt x="1737" y="1600"/>
                </a:lnTo>
                <a:lnTo>
                  <a:pt x="1725" y="1602"/>
                </a:lnTo>
                <a:lnTo>
                  <a:pt x="1713" y="1603"/>
                </a:lnTo>
                <a:lnTo>
                  <a:pt x="1701" y="1603"/>
                </a:lnTo>
                <a:lnTo>
                  <a:pt x="1691" y="1603"/>
                </a:lnTo>
                <a:lnTo>
                  <a:pt x="1681" y="1602"/>
                </a:lnTo>
                <a:lnTo>
                  <a:pt x="1672" y="1600"/>
                </a:lnTo>
                <a:lnTo>
                  <a:pt x="1664" y="1597"/>
                </a:lnTo>
                <a:lnTo>
                  <a:pt x="1655" y="1592"/>
                </a:lnTo>
                <a:lnTo>
                  <a:pt x="1649" y="1587"/>
                </a:lnTo>
                <a:lnTo>
                  <a:pt x="1642" y="1581"/>
                </a:lnTo>
                <a:lnTo>
                  <a:pt x="1637" y="1574"/>
                </a:lnTo>
                <a:lnTo>
                  <a:pt x="1633" y="1564"/>
                </a:lnTo>
                <a:lnTo>
                  <a:pt x="1629" y="1554"/>
                </a:lnTo>
                <a:lnTo>
                  <a:pt x="1626" y="1543"/>
                </a:lnTo>
                <a:lnTo>
                  <a:pt x="1626" y="1543"/>
                </a:lnTo>
                <a:lnTo>
                  <a:pt x="1624" y="1533"/>
                </a:lnTo>
                <a:lnTo>
                  <a:pt x="1623" y="1522"/>
                </a:lnTo>
                <a:lnTo>
                  <a:pt x="1623" y="1513"/>
                </a:lnTo>
                <a:lnTo>
                  <a:pt x="1623" y="1504"/>
                </a:lnTo>
                <a:lnTo>
                  <a:pt x="1625" y="1488"/>
                </a:lnTo>
                <a:lnTo>
                  <a:pt x="1629" y="1473"/>
                </a:lnTo>
                <a:lnTo>
                  <a:pt x="1633" y="1462"/>
                </a:lnTo>
                <a:lnTo>
                  <a:pt x="1636" y="1454"/>
                </a:lnTo>
                <a:lnTo>
                  <a:pt x="1640" y="1446"/>
                </a:lnTo>
                <a:lnTo>
                  <a:pt x="1640" y="1446"/>
                </a:lnTo>
                <a:lnTo>
                  <a:pt x="1636" y="1447"/>
                </a:lnTo>
                <a:lnTo>
                  <a:pt x="1626" y="1450"/>
                </a:lnTo>
                <a:lnTo>
                  <a:pt x="1610" y="1456"/>
                </a:lnTo>
                <a:lnTo>
                  <a:pt x="1601" y="1459"/>
                </a:lnTo>
                <a:lnTo>
                  <a:pt x="1592" y="1464"/>
                </a:lnTo>
                <a:lnTo>
                  <a:pt x="1582" y="1470"/>
                </a:lnTo>
                <a:lnTo>
                  <a:pt x="1573" y="1476"/>
                </a:lnTo>
                <a:lnTo>
                  <a:pt x="1563" y="1485"/>
                </a:lnTo>
                <a:lnTo>
                  <a:pt x="1554" y="1494"/>
                </a:lnTo>
                <a:lnTo>
                  <a:pt x="1546" y="1504"/>
                </a:lnTo>
                <a:lnTo>
                  <a:pt x="1539" y="1515"/>
                </a:lnTo>
                <a:lnTo>
                  <a:pt x="1533" y="1529"/>
                </a:lnTo>
                <a:lnTo>
                  <a:pt x="1528" y="1543"/>
                </a:lnTo>
                <a:lnTo>
                  <a:pt x="1528" y="1543"/>
                </a:lnTo>
                <a:lnTo>
                  <a:pt x="1525" y="1558"/>
                </a:lnTo>
                <a:lnTo>
                  <a:pt x="1523" y="1574"/>
                </a:lnTo>
                <a:lnTo>
                  <a:pt x="1523" y="1589"/>
                </a:lnTo>
                <a:lnTo>
                  <a:pt x="1523" y="1603"/>
                </a:lnTo>
                <a:lnTo>
                  <a:pt x="1524" y="1616"/>
                </a:lnTo>
                <a:lnTo>
                  <a:pt x="1527" y="1631"/>
                </a:lnTo>
                <a:lnTo>
                  <a:pt x="1531" y="1643"/>
                </a:lnTo>
                <a:lnTo>
                  <a:pt x="1536" y="1655"/>
                </a:lnTo>
                <a:lnTo>
                  <a:pt x="1542" y="1668"/>
                </a:lnTo>
                <a:lnTo>
                  <a:pt x="1549" y="1678"/>
                </a:lnTo>
                <a:lnTo>
                  <a:pt x="1557" y="1688"/>
                </a:lnTo>
                <a:lnTo>
                  <a:pt x="1568" y="1696"/>
                </a:lnTo>
                <a:lnTo>
                  <a:pt x="1578" y="1704"/>
                </a:lnTo>
                <a:lnTo>
                  <a:pt x="1590" y="1711"/>
                </a:lnTo>
                <a:lnTo>
                  <a:pt x="1602" y="1717"/>
                </a:lnTo>
                <a:lnTo>
                  <a:pt x="1617" y="1721"/>
                </a:lnTo>
                <a:lnTo>
                  <a:pt x="1617" y="1721"/>
                </a:lnTo>
                <a:lnTo>
                  <a:pt x="1630" y="1724"/>
                </a:lnTo>
                <a:lnTo>
                  <a:pt x="1644" y="1725"/>
                </a:lnTo>
                <a:lnTo>
                  <a:pt x="1660" y="1724"/>
                </a:lnTo>
                <a:lnTo>
                  <a:pt x="1676" y="1722"/>
                </a:lnTo>
                <a:lnTo>
                  <a:pt x="1692" y="1720"/>
                </a:lnTo>
                <a:lnTo>
                  <a:pt x="1710" y="1716"/>
                </a:lnTo>
                <a:lnTo>
                  <a:pt x="1727" y="1711"/>
                </a:lnTo>
                <a:lnTo>
                  <a:pt x="1744" y="1705"/>
                </a:lnTo>
                <a:lnTo>
                  <a:pt x="1779" y="1691"/>
                </a:lnTo>
                <a:lnTo>
                  <a:pt x="1815" y="1676"/>
                </a:lnTo>
                <a:lnTo>
                  <a:pt x="1849" y="1659"/>
                </a:lnTo>
                <a:lnTo>
                  <a:pt x="1880" y="1643"/>
                </a:lnTo>
                <a:lnTo>
                  <a:pt x="1880" y="1643"/>
                </a:lnTo>
                <a:lnTo>
                  <a:pt x="1942" y="1611"/>
                </a:lnTo>
                <a:lnTo>
                  <a:pt x="1979" y="1593"/>
                </a:lnTo>
                <a:lnTo>
                  <a:pt x="2013" y="1577"/>
                </a:lnTo>
                <a:lnTo>
                  <a:pt x="2013" y="1577"/>
                </a:lnTo>
                <a:lnTo>
                  <a:pt x="2041" y="1565"/>
                </a:lnTo>
                <a:lnTo>
                  <a:pt x="2054" y="1561"/>
                </a:lnTo>
                <a:lnTo>
                  <a:pt x="2068" y="1557"/>
                </a:lnTo>
                <a:lnTo>
                  <a:pt x="2081" y="1554"/>
                </a:lnTo>
                <a:lnTo>
                  <a:pt x="2093" y="1552"/>
                </a:lnTo>
                <a:lnTo>
                  <a:pt x="2105" y="1550"/>
                </a:lnTo>
                <a:lnTo>
                  <a:pt x="2119" y="1550"/>
                </a:lnTo>
                <a:lnTo>
                  <a:pt x="2131" y="1550"/>
                </a:lnTo>
                <a:lnTo>
                  <a:pt x="2143" y="1551"/>
                </a:lnTo>
                <a:lnTo>
                  <a:pt x="2156" y="1553"/>
                </a:lnTo>
                <a:lnTo>
                  <a:pt x="2170" y="1555"/>
                </a:lnTo>
                <a:lnTo>
                  <a:pt x="2183" y="1559"/>
                </a:lnTo>
                <a:lnTo>
                  <a:pt x="2196" y="1563"/>
                </a:lnTo>
                <a:lnTo>
                  <a:pt x="2211" y="1569"/>
                </a:lnTo>
                <a:lnTo>
                  <a:pt x="2226" y="1576"/>
                </a:lnTo>
                <a:lnTo>
                  <a:pt x="2226" y="1576"/>
                </a:lnTo>
                <a:lnTo>
                  <a:pt x="2246" y="1586"/>
                </a:lnTo>
                <a:lnTo>
                  <a:pt x="2265" y="1596"/>
                </a:lnTo>
                <a:lnTo>
                  <a:pt x="2281" y="1607"/>
                </a:lnTo>
                <a:lnTo>
                  <a:pt x="2295" y="1616"/>
                </a:lnTo>
                <a:lnTo>
                  <a:pt x="2305" y="1626"/>
                </a:lnTo>
                <a:lnTo>
                  <a:pt x="2312" y="1633"/>
                </a:lnTo>
                <a:lnTo>
                  <a:pt x="2319" y="1639"/>
                </a:lnTo>
                <a:lnTo>
                  <a:pt x="2319" y="1639"/>
                </a:lnTo>
                <a:lnTo>
                  <a:pt x="2317" y="1642"/>
                </a:lnTo>
                <a:lnTo>
                  <a:pt x="2313" y="1649"/>
                </a:lnTo>
                <a:lnTo>
                  <a:pt x="2305" y="1660"/>
                </a:lnTo>
                <a:lnTo>
                  <a:pt x="2300" y="1667"/>
                </a:lnTo>
                <a:lnTo>
                  <a:pt x="2293" y="1674"/>
                </a:lnTo>
                <a:lnTo>
                  <a:pt x="2285" y="1680"/>
                </a:lnTo>
                <a:lnTo>
                  <a:pt x="2276" y="1687"/>
                </a:lnTo>
                <a:lnTo>
                  <a:pt x="2267" y="1693"/>
                </a:lnTo>
                <a:lnTo>
                  <a:pt x="2255" y="1698"/>
                </a:lnTo>
                <a:lnTo>
                  <a:pt x="2242" y="1703"/>
                </a:lnTo>
                <a:lnTo>
                  <a:pt x="2228" y="1707"/>
                </a:lnTo>
                <a:lnTo>
                  <a:pt x="2212" y="1711"/>
                </a:lnTo>
                <a:lnTo>
                  <a:pt x="2194" y="1712"/>
                </a:lnTo>
                <a:lnTo>
                  <a:pt x="2194" y="1712"/>
                </a:lnTo>
                <a:lnTo>
                  <a:pt x="2180" y="1713"/>
                </a:lnTo>
                <a:lnTo>
                  <a:pt x="2166" y="1712"/>
                </a:lnTo>
                <a:lnTo>
                  <a:pt x="2152" y="1710"/>
                </a:lnTo>
                <a:lnTo>
                  <a:pt x="2139" y="1706"/>
                </a:lnTo>
                <a:lnTo>
                  <a:pt x="2127" y="1703"/>
                </a:lnTo>
                <a:lnTo>
                  <a:pt x="2115" y="1699"/>
                </a:lnTo>
                <a:lnTo>
                  <a:pt x="2103" y="1695"/>
                </a:lnTo>
                <a:lnTo>
                  <a:pt x="2092" y="1689"/>
                </a:lnTo>
                <a:lnTo>
                  <a:pt x="2082" y="1684"/>
                </a:lnTo>
                <a:lnTo>
                  <a:pt x="2073" y="1678"/>
                </a:lnTo>
                <a:lnTo>
                  <a:pt x="2064" y="1672"/>
                </a:lnTo>
                <a:lnTo>
                  <a:pt x="2056" y="1665"/>
                </a:lnTo>
                <a:lnTo>
                  <a:pt x="2048" y="1657"/>
                </a:lnTo>
                <a:lnTo>
                  <a:pt x="2042" y="1650"/>
                </a:lnTo>
                <a:lnTo>
                  <a:pt x="2036" y="1643"/>
                </a:lnTo>
                <a:lnTo>
                  <a:pt x="2031" y="1636"/>
                </a:lnTo>
                <a:lnTo>
                  <a:pt x="2031" y="1636"/>
                </a:lnTo>
                <a:lnTo>
                  <a:pt x="2022" y="1658"/>
                </a:lnTo>
                <a:lnTo>
                  <a:pt x="2013" y="1676"/>
                </a:lnTo>
                <a:lnTo>
                  <a:pt x="2007" y="1689"/>
                </a:lnTo>
                <a:lnTo>
                  <a:pt x="2007" y="1689"/>
                </a:lnTo>
                <a:lnTo>
                  <a:pt x="2003" y="1697"/>
                </a:lnTo>
                <a:lnTo>
                  <a:pt x="2000" y="1704"/>
                </a:lnTo>
                <a:lnTo>
                  <a:pt x="1998" y="1713"/>
                </a:lnTo>
                <a:lnTo>
                  <a:pt x="1997" y="1719"/>
                </a:lnTo>
                <a:lnTo>
                  <a:pt x="1997" y="1726"/>
                </a:lnTo>
                <a:lnTo>
                  <a:pt x="1997" y="1732"/>
                </a:lnTo>
                <a:lnTo>
                  <a:pt x="1999" y="1744"/>
                </a:lnTo>
                <a:lnTo>
                  <a:pt x="2001" y="1756"/>
                </a:lnTo>
                <a:lnTo>
                  <a:pt x="2003" y="1766"/>
                </a:lnTo>
                <a:lnTo>
                  <a:pt x="2004" y="1777"/>
                </a:lnTo>
                <a:lnTo>
                  <a:pt x="2003" y="1783"/>
                </a:lnTo>
                <a:lnTo>
                  <a:pt x="2001" y="1788"/>
                </a:lnTo>
                <a:lnTo>
                  <a:pt x="2001" y="1788"/>
                </a:lnTo>
                <a:lnTo>
                  <a:pt x="1999" y="1794"/>
                </a:lnTo>
                <a:lnTo>
                  <a:pt x="1995" y="1800"/>
                </a:lnTo>
                <a:lnTo>
                  <a:pt x="1986" y="1813"/>
                </a:lnTo>
                <a:lnTo>
                  <a:pt x="1973" y="1825"/>
                </a:lnTo>
                <a:lnTo>
                  <a:pt x="1960" y="1837"/>
                </a:lnTo>
                <a:lnTo>
                  <a:pt x="1945" y="1849"/>
                </a:lnTo>
                <a:lnTo>
                  <a:pt x="1931" y="1860"/>
                </a:lnTo>
                <a:lnTo>
                  <a:pt x="1904" y="1878"/>
                </a:lnTo>
                <a:lnTo>
                  <a:pt x="1904" y="1878"/>
                </a:lnTo>
                <a:lnTo>
                  <a:pt x="1886" y="1889"/>
                </a:lnTo>
                <a:lnTo>
                  <a:pt x="1864" y="1901"/>
                </a:lnTo>
                <a:lnTo>
                  <a:pt x="1842" y="1911"/>
                </a:lnTo>
                <a:lnTo>
                  <a:pt x="1819" y="1919"/>
                </a:lnTo>
                <a:lnTo>
                  <a:pt x="1798" y="1926"/>
                </a:lnTo>
                <a:lnTo>
                  <a:pt x="1779" y="1932"/>
                </a:lnTo>
                <a:lnTo>
                  <a:pt x="1754" y="1940"/>
                </a:lnTo>
                <a:lnTo>
                  <a:pt x="1754" y="1940"/>
                </a:lnTo>
                <a:lnTo>
                  <a:pt x="1779" y="1998"/>
                </a:lnTo>
                <a:lnTo>
                  <a:pt x="1811" y="2066"/>
                </a:lnTo>
                <a:lnTo>
                  <a:pt x="1811" y="2066"/>
                </a:lnTo>
                <a:lnTo>
                  <a:pt x="1833" y="2111"/>
                </a:lnTo>
                <a:lnTo>
                  <a:pt x="1862" y="2166"/>
                </a:lnTo>
                <a:lnTo>
                  <a:pt x="1877" y="2193"/>
                </a:lnTo>
                <a:lnTo>
                  <a:pt x="1893" y="2219"/>
                </a:lnTo>
                <a:lnTo>
                  <a:pt x="1909" y="2240"/>
                </a:lnTo>
                <a:lnTo>
                  <a:pt x="1916" y="2250"/>
                </a:lnTo>
                <a:lnTo>
                  <a:pt x="1924" y="2259"/>
                </a:lnTo>
                <a:lnTo>
                  <a:pt x="1924" y="2259"/>
                </a:lnTo>
                <a:lnTo>
                  <a:pt x="1940" y="2254"/>
                </a:lnTo>
                <a:lnTo>
                  <a:pt x="1957" y="2249"/>
                </a:lnTo>
                <a:lnTo>
                  <a:pt x="1980" y="2243"/>
                </a:lnTo>
                <a:lnTo>
                  <a:pt x="2004" y="2235"/>
                </a:lnTo>
                <a:lnTo>
                  <a:pt x="2031" y="2225"/>
                </a:lnTo>
                <a:lnTo>
                  <a:pt x="2057" y="2213"/>
                </a:lnTo>
                <a:lnTo>
                  <a:pt x="2071" y="2206"/>
                </a:lnTo>
                <a:lnTo>
                  <a:pt x="2083" y="2199"/>
                </a:lnTo>
                <a:lnTo>
                  <a:pt x="2083" y="2199"/>
                </a:lnTo>
                <a:lnTo>
                  <a:pt x="2105" y="2186"/>
                </a:lnTo>
                <a:lnTo>
                  <a:pt x="2126" y="2172"/>
                </a:lnTo>
                <a:lnTo>
                  <a:pt x="2145" y="2157"/>
                </a:lnTo>
                <a:lnTo>
                  <a:pt x="2162" y="2142"/>
                </a:lnTo>
                <a:lnTo>
                  <a:pt x="2177" y="2128"/>
                </a:lnTo>
                <a:lnTo>
                  <a:pt x="2189" y="2113"/>
                </a:lnTo>
                <a:lnTo>
                  <a:pt x="2199" y="2099"/>
                </a:lnTo>
                <a:lnTo>
                  <a:pt x="2207" y="2086"/>
                </a:lnTo>
                <a:lnTo>
                  <a:pt x="2207" y="2086"/>
                </a:lnTo>
                <a:lnTo>
                  <a:pt x="2190" y="2122"/>
                </a:lnTo>
                <a:lnTo>
                  <a:pt x="2175" y="2155"/>
                </a:lnTo>
                <a:lnTo>
                  <a:pt x="2161" y="2185"/>
                </a:lnTo>
                <a:lnTo>
                  <a:pt x="2146" y="2213"/>
                </a:lnTo>
                <a:lnTo>
                  <a:pt x="2132" y="2238"/>
                </a:lnTo>
                <a:lnTo>
                  <a:pt x="2119" y="2261"/>
                </a:lnTo>
                <a:lnTo>
                  <a:pt x="2105" y="2281"/>
                </a:lnTo>
                <a:lnTo>
                  <a:pt x="2092" y="2299"/>
                </a:lnTo>
                <a:lnTo>
                  <a:pt x="2080" y="2317"/>
                </a:lnTo>
                <a:lnTo>
                  <a:pt x="2068" y="2331"/>
                </a:lnTo>
                <a:lnTo>
                  <a:pt x="2055" y="2344"/>
                </a:lnTo>
                <a:lnTo>
                  <a:pt x="2044" y="2356"/>
                </a:lnTo>
                <a:lnTo>
                  <a:pt x="2033" y="2367"/>
                </a:lnTo>
                <a:lnTo>
                  <a:pt x="2022" y="2376"/>
                </a:lnTo>
                <a:lnTo>
                  <a:pt x="2011" y="2383"/>
                </a:lnTo>
                <a:lnTo>
                  <a:pt x="2000" y="2391"/>
                </a:lnTo>
                <a:lnTo>
                  <a:pt x="2000" y="2391"/>
                </a:lnTo>
                <a:lnTo>
                  <a:pt x="1907" y="2452"/>
                </a:lnTo>
                <a:lnTo>
                  <a:pt x="1797" y="2524"/>
                </a:lnTo>
                <a:lnTo>
                  <a:pt x="1735" y="2563"/>
                </a:lnTo>
                <a:lnTo>
                  <a:pt x="1671" y="2602"/>
                </a:lnTo>
                <a:lnTo>
                  <a:pt x="1602" y="2642"/>
                </a:lnTo>
                <a:lnTo>
                  <a:pt x="1532" y="2682"/>
                </a:lnTo>
                <a:lnTo>
                  <a:pt x="1459" y="2720"/>
                </a:lnTo>
                <a:lnTo>
                  <a:pt x="1422" y="2739"/>
                </a:lnTo>
                <a:lnTo>
                  <a:pt x="1384" y="2756"/>
                </a:lnTo>
                <a:lnTo>
                  <a:pt x="1347" y="2774"/>
                </a:lnTo>
                <a:lnTo>
                  <a:pt x="1308" y="2791"/>
                </a:lnTo>
                <a:lnTo>
                  <a:pt x="1269" y="2808"/>
                </a:lnTo>
                <a:lnTo>
                  <a:pt x="1230" y="2823"/>
                </a:lnTo>
                <a:lnTo>
                  <a:pt x="1190" y="2837"/>
                </a:lnTo>
                <a:lnTo>
                  <a:pt x="1151" y="2851"/>
                </a:lnTo>
                <a:lnTo>
                  <a:pt x="1111" y="2864"/>
                </a:lnTo>
                <a:lnTo>
                  <a:pt x="1072" y="2875"/>
                </a:lnTo>
                <a:lnTo>
                  <a:pt x="1032" y="2885"/>
                </a:lnTo>
                <a:lnTo>
                  <a:pt x="992" y="2893"/>
                </a:lnTo>
                <a:lnTo>
                  <a:pt x="952" y="2902"/>
                </a:lnTo>
                <a:lnTo>
                  <a:pt x="913" y="2908"/>
                </a:lnTo>
                <a:lnTo>
                  <a:pt x="913" y="2908"/>
                </a:lnTo>
                <a:lnTo>
                  <a:pt x="901" y="2908"/>
                </a:lnTo>
                <a:lnTo>
                  <a:pt x="889" y="2907"/>
                </a:lnTo>
                <a:lnTo>
                  <a:pt x="876" y="2904"/>
                </a:lnTo>
                <a:lnTo>
                  <a:pt x="863" y="2901"/>
                </a:lnTo>
                <a:lnTo>
                  <a:pt x="850" y="2898"/>
                </a:lnTo>
                <a:lnTo>
                  <a:pt x="836" y="2892"/>
                </a:lnTo>
                <a:lnTo>
                  <a:pt x="809" y="2880"/>
                </a:lnTo>
                <a:lnTo>
                  <a:pt x="781" y="2866"/>
                </a:lnTo>
                <a:lnTo>
                  <a:pt x="754" y="2850"/>
                </a:lnTo>
                <a:lnTo>
                  <a:pt x="726" y="2832"/>
                </a:lnTo>
                <a:lnTo>
                  <a:pt x="698" y="2813"/>
                </a:lnTo>
                <a:lnTo>
                  <a:pt x="672" y="2792"/>
                </a:lnTo>
                <a:lnTo>
                  <a:pt x="646" y="2772"/>
                </a:lnTo>
                <a:lnTo>
                  <a:pt x="623" y="2751"/>
                </a:lnTo>
                <a:lnTo>
                  <a:pt x="600" y="2731"/>
                </a:lnTo>
                <a:lnTo>
                  <a:pt x="581" y="2711"/>
                </a:lnTo>
                <a:lnTo>
                  <a:pt x="563" y="2694"/>
                </a:lnTo>
                <a:lnTo>
                  <a:pt x="548" y="2679"/>
                </a:lnTo>
                <a:lnTo>
                  <a:pt x="537" y="2665"/>
                </a:lnTo>
                <a:lnTo>
                  <a:pt x="537" y="2665"/>
                </a:lnTo>
                <a:lnTo>
                  <a:pt x="533" y="2661"/>
                </a:lnTo>
                <a:lnTo>
                  <a:pt x="530" y="2657"/>
                </a:lnTo>
                <a:lnTo>
                  <a:pt x="520" y="2652"/>
                </a:lnTo>
                <a:lnTo>
                  <a:pt x="512" y="2650"/>
                </a:lnTo>
                <a:lnTo>
                  <a:pt x="502" y="2649"/>
                </a:lnTo>
                <a:lnTo>
                  <a:pt x="493" y="2649"/>
                </a:lnTo>
                <a:lnTo>
                  <a:pt x="483" y="2651"/>
                </a:lnTo>
                <a:lnTo>
                  <a:pt x="473" y="2654"/>
                </a:lnTo>
                <a:lnTo>
                  <a:pt x="464" y="2658"/>
                </a:lnTo>
                <a:lnTo>
                  <a:pt x="447" y="2666"/>
                </a:lnTo>
                <a:lnTo>
                  <a:pt x="433" y="2676"/>
                </a:lnTo>
                <a:lnTo>
                  <a:pt x="419" y="2686"/>
                </a:lnTo>
                <a:lnTo>
                  <a:pt x="419" y="2686"/>
                </a:lnTo>
                <a:lnTo>
                  <a:pt x="412" y="2685"/>
                </a:lnTo>
                <a:lnTo>
                  <a:pt x="393" y="2683"/>
                </a:lnTo>
                <a:lnTo>
                  <a:pt x="379" y="2683"/>
                </a:lnTo>
                <a:lnTo>
                  <a:pt x="364" y="2683"/>
                </a:lnTo>
                <a:lnTo>
                  <a:pt x="348" y="2684"/>
                </a:lnTo>
                <a:lnTo>
                  <a:pt x="329" y="2686"/>
                </a:lnTo>
                <a:lnTo>
                  <a:pt x="310" y="2689"/>
                </a:lnTo>
                <a:lnTo>
                  <a:pt x="290" y="2694"/>
                </a:lnTo>
                <a:lnTo>
                  <a:pt x="271" y="2700"/>
                </a:lnTo>
                <a:lnTo>
                  <a:pt x="252" y="2709"/>
                </a:lnTo>
                <a:lnTo>
                  <a:pt x="242" y="2715"/>
                </a:lnTo>
                <a:lnTo>
                  <a:pt x="233" y="2720"/>
                </a:lnTo>
                <a:lnTo>
                  <a:pt x="224" y="2726"/>
                </a:lnTo>
                <a:lnTo>
                  <a:pt x="216" y="2733"/>
                </a:lnTo>
                <a:lnTo>
                  <a:pt x="207" y="2741"/>
                </a:lnTo>
                <a:lnTo>
                  <a:pt x="199" y="2749"/>
                </a:lnTo>
                <a:lnTo>
                  <a:pt x="191" y="2759"/>
                </a:lnTo>
                <a:lnTo>
                  <a:pt x="184" y="2768"/>
                </a:lnTo>
                <a:lnTo>
                  <a:pt x="184" y="2768"/>
                </a:lnTo>
                <a:lnTo>
                  <a:pt x="183" y="2771"/>
                </a:lnTo>
                <a:lnTo>
                  <a:pt x="185" y="2773"/>
                </a:lnTo>
                <a:lnTo>
                  <a:pt x="188" y="2774"/>
                </a:lnTo>
                <a:lnTo>
                  <a:pt x="193" y="2774"/>
                </a:lnTo>
                <a:lnTo>
                  <a:pt x="210" y="2772"/>
                </a:lnTo>
                <a:lnTo>
                  <a:pt x="230" y="2770"/>
                </a:lnTo>
                <a:lnTo>
                  <a:pt x="255" y="2768"/>
                </a:lnTo>
                <a:lnTo>
                  <a:pt x="280" y="2767"/>
                </a:lnTo>
                <a:lnTo>
                  <a:pt x="293" y="2768"/>
                </a:lnTo>
                <a:lnTo>
                  <a:pt x="307" y="2769"/>
                </a:lnTo>
                <a:lnTo>
                  <a:pt x="319" y="2771"/>
                </a:lnTo>
                <a:lnTo>
                  <a:pt x="331" y="2774"/>
                </a:lnTo>
                <a:lnTo>
                  <a:pt x="331" y="2774"/>
                </a:lnTo>
                <a:lnTo>
                  <a:pt x="338" y="2777"/>
                </a:lnTo>
                <a:lnTo>
                  <a:pt x="343" y="2780"/>
                </a:lnTo>
                <a:lnTo>
                  <a:pt x="346" y="2783"/>
                </a:lnTo>
                <a:lnTo>
                  <a:pt x="347" y="2786"/>
                </a:lnTo>
                <a:lnTo>
                  <a:pt x="347" y="2789"/>
                </a:lnTo>
                <a:lnTo>
                  <a:pt x="345" y="2793"/>
                </a:lnTo>
                <a:lnTo>
                  <a:pt x="339" y="2801"/>
                </a:lnTo>
                <a:lnTo>
                  <a:pt x="332" y="2811"/>
                </a:lnTo>
                <a:lnTo>
                  <a:pt x="325" y="2822"/>
                </a:lnTo>
                <a:lnTo>
                  <a:pt x="321" y="2828"/>
                </a:lnTo>
                <a:lnTo>
                  <a:pt x="319" y="2834"/>
                </a:lnTo>
                <a:lnTo>
                  <a:pt x="317" y="2840"/>
                </a:lnTo>
                <a:lnTo>
                  <a:pt x="317" y="2847"/>
                </a:lnTo>
                <a:lnTo>
                  <a:pt x="317" y="2847"/>
                </a:lnTo>
                <a:lnTo>
                  <a:pt x="317" y="2853"/>
                </a:lnTo>
                <a:lnTo>
                  <a:pt x="319" y="2859"/>
                </a:lnTo>
                <a:lnTo>
                  <a:pt x="321" y="2864"/>
                </a:lnTo>
                <a:lnTo>
                  <a:pt x="324" y="2869"/>
                </a:lnTo>
                <a:lnTo>
                  <a:pt x="328" y="2874"/>
                </a:lnTo>
                <a:lnTo>
                  <a:pt x="333" y="2879"/>
                </a:lnTo>
                <a:lnTo>
                  <a:pt x="346" y="2889"/>
                </a:lnTo>
                <a:lnTo>
                  <a:pt x="361" y="2899"/>
                </a:lnTo>
                <a:lnTo>
                  <a:pt x="377" y="2908"/>
                </a:lnTo>
                <a:lnTo>
                  <a:pt x="397" y="2917"/>
                </a:lnTo>
                <a:lnTo>
                  <a:pt x="416" y="2925"/>
                </a:lnTo>
                <a:lnTo>
                  <a:pt x="458" y="2941"/>
                </a:lnTo>
                <a:lnTo>
                  <a:pt x="500" y="2955"/>
                </a:lnTo>
                <a:lnTo>
                  <a:pt x="571" y="2976"/>
                </a:lnTo>
                <a:lnTo>
                  <a:pt x="571" y="2976"/>
                </a:lnTo>
                <a:lnTo>
                  <a:pt x="579" y="2980"/>
                </a:lnTo>
                <a:lnTo>
                  <a:pt x="585" y="2984"/>
                </a:lnTo>
                <a:lnTo>
                  <a:pt x="588" y="2990"/>
                </a:lnTo>
                <a:lnTo>
                  <a:pt x="590" y="2995"/>
                </a:lnTo>
                <a:lnTo>
                  <a:pt x="590" y="2999"/>
                </a:lnTo>
                <a:lnTo>
                  <a:pt x="588" y="3003"/>
                </a:lnTo>
                <a:lnTo>
                  <a:pt x="585" y="3005"/>
                </a:lnTo>
                <a:lnTo>
                  <a:pt x="581" y="3006"/>
                </a:lnTo>
                <a:lnTo>
                  <a:pt x="581" y="3006"/>
                </a:lnTo>
                <a:lnTo>
                  <a:pt x="556" y="3005"/>
                </a:lnTo>
                <a:lnTo>
                  <a:pt x="532" y="3002"/>
                </a:lnTo>
                <a:lnTo>
                  <a:pt x="509" y="2999"/>
                </a:lnTo>
                <a:lnTo>
                  <a:pt x="488" y="2994"/>
                </a:lnTo>
                <a:lnTo>
                  <a:pt x="467" y="2989"/>
                </a:lnTo>
                <a:lnTo>
                  <a:pt x="448" y="2982"/>
                </a:lnTo>
                <a:lnTo>
                  <a:pt x="429" y="2976"/>
                </a:lnTo>
                <a:lnTo>
                  <a:pt x="412" y="2970"/>
                </a:lnTo>
                <a:lnTo>
                  <a:pt x="380" y="2957"/>
                </a:lnTo>
                <a:lnTo>
                  <a:pt x="352" y="2945"/>
                </a:lnTo>
                <a:lnTo>
                  <a:pt x="327" y="2933"/>
                </a:lnTo>
                <a:lnTo>
                  <a:pt x="316" y="2929"/>
                </a:lnTo>
                <a:lnTo>
                  <a:pt x="305" y="2925"/>
                </a:lnTo>
                <a:lnTo>
                  <a:pt x="305" y="2925"/>
                </a:lnTo>
                <a:lnTo>
                  <a:pt x="286" y="2920"/>
                </a:lnTo>
                <a:lnTo>
                  <a:pt x="268" y="2916"/>
                </a:lnTo>
                <a:lnTo>
                  <a:pt x="253" y="2913"/>
                </a:lnTo>
                <a:lnTo>
                  <a:pt x="237" y="2911"/>
                </a:lnTo>
                <a:lnTo>
                  <a:pt x="224" y="2910"/>
                </a:lnTo>
                <a:lnTo>
                  <a:pt x="213" y="2911"/>
                </a:lnTo>
                <a:lnTo>
                  <a:pt x="202" y="2912"/>
                </a:lnTo>
                <a:lnTo>
                  <a:pt x="192" y="2914"/>
                </a:lnTo>
                <a:lnTo>
                  <a:pt x="185" y="2918"/>
                </a:lnTo>
                <a:lnTo>
                  <a:pt x="178" y="2922"/>
                </a:lnTo>
                <a:lnTo>
                  <a:pt x="172" y="2927"/>
                </a:lnTo>
                <a:lnTo>
                  <a:pt x="167" y="2933"/>
                </a:lnTo>
                <a:lnTo>
                  <a:pt x="163" y="2939"/>
                </a:lnTo>
                <a:lnTo>
                  <a:pt x="160" y="2948"/>
                </a:lnTo>
                <a:lnTo>
                  <a:pt x="156" y="2956"/>
                </a:lnTo>
                <a:lnTo>
                  <a:pt x="155" y="2965"/>
                </a:lnTo>
                <a:lnTo>
                  <a:pt x="155" y="2965"/>
                </a:lnTo>
                <a:lnTo>
                  <a:pt x="154" y="2968"/>
                </a:lnTo>
                <a:lnTo>
                  <a:pt x="152" y="2971"/>
                </a:lnTo>
                <a:lnTo>
                  <a:pt x="150" y="2974"/>
                </a:lnTo>
                <a:lnTo>
                  <a:pt x="147" y="2976"/>
                </a:lnTo>
                <a:lnTo>
                  <a:pt x="140" y="2980"/>
                </a:lnTo>
                <a:lnTo>
                  <a:pt x="132" y="2985"/>
                </a:lnTo>
                <a:lnTo>
                  <a:pt x="109" y="2995"/>
                </a:lnTo>
                <a:lnTo>
                  <a:pt x="97" y="3001"/>
                </a:lnTo>
                <a:lnTo>
                  <a:pt x="84" y="3009"/>
                </a:lnTo>
                <a:lnTo>
                  <a:pt x="71" y="3019"/>
                </a:lnTo>
                <a:lnTo>
                  <a:pt x="57" y="3033"/>
                </a:lnTo>
                <a:lnTo>
                  <a:pt x="51" y="3040"/>
                </a:lnTo>
                <a:lnTo>
                  <a:pt x="45" y="3048"/>
                </a:lnTo>
                <a:lnTo>
                  <a:pt x="39" y="3058"/>
                </a:lnTo>
                <a:lnTo>
                  <a:pt x="33" y="3068"/>
                </a:lnTo>
                <a:lnTo>
                  <a:pt x="28" y="3080"/>
                </a:lnTo>
                <a:lnTo>
                  <a:pt x="22" y="3092"/>
                </a:lnTo>
                <a:lnTo>
                  <a:pt x="17" y="3106"/>
                </a:lnTo>
                <a:lnTo>
                  <a:pt x="13" y="3120"/>
                </a:lnTo>
                <a:lnTo>
                  <a:pt x="9" y="3137"/>
                </a:lnTo>
                <a:lnTo>
                  <a:pt x="6" y="3154"/>
                </a:lnTo>
                <a:lnTo>
                  <a:pt x="3" y="3174"/>
                </a:lnTo>
                <a:lnTo>
                  <a:pt x="0" y="3194"/>
                </a:lnTo>
                <a:lnTo>
                  <a:pt x="0" y="3194"/>
                </a:lnTo>
                <a:lnTo>
                  <a:pt x="1" y="3195"/>
                </a:lnTo>
                <a:lnTo>
                  <a:pt x="2" y="3196"/>
                </a:lnTo>
                <a:lnTo>
                  <a:pt x="6" y="3194"/>
                </a:lnTo>
                <a:lnTo>
                  <a:pt x="12" y="3189"/>
                </a:lnTo>
                <a:lnTo>
                  <a:pt x="20" y="3181"/>
                </a:lnTo>
                <a:lnTo>
                  <a:pt x="43" y="3158"/>
                </a:lnTo>
                <a:lnTo>
                  <a:pt x="69" y="3134"/>
                </a:lnTo>
                <a:lnTo>
                  <a:pt x="82" y="3121"/>
                </a:lnTo>
                <a:lnTo>
                  <a:pt x="95" y="3110"/>
                </a:lnTo>
                <a:lnTo>
                  <a:pt x="107" y="3101"/>
                </a:lnTo>
                <a:lnTo>
                  <a:pt x="119" y="3094"/>
                </a:lnTo>
                <a:lnTo>
                  <a:pt x="124" y="3091"/>
                </a:lnTo>
                <a:lnTo>
                  <a:pt x="129" y="3090"/>
                </a:lnTo>
                <a:lnTo>
                  <a:pt x="133" y="3089"/>
                </a:lnTo>
                <a:lnTo>
                  <a:pt x="137" y="3089"/>
                </a:lnTo>
                <a:lnTo>
                  <a:pt x="140" y="3091"/>
                </a:lnTo>
                <a:lnTo>
                  <a:pt x="143" y="3093"/>
                </a:lnTo>
                <a:lnTo>
                  <a:pt x="144" y="3097"/>
                </a:lnTo>
                <a:lnTo>
                  <a:pt x="146" y="3101"/>
                </a:lnTo>
                <a:lnTo>
                  <a:pt x="146" y="3101"/>
                </a:lnTo>
                <a:lnTo>
                  <a:pt x="149" y="3117"/>
                </a:lnTo>
                <a:lnTo>
                  <a:pt x="154" y="3132"/>
                </a:lnTo>
                <a:lnTo>
                  <a:pt x="162" y="3145"/>
                </a:lnTo>
                <a:lnTo>
                  <a:pt x="170" y="3155"/>
                </a:lnTo>
                <a:lnTo>
                  <a:pt x="179" y="3165"/>
                </a:lnTo>
                <a:lnTo>
                  <a:pt x="189" y="3173"/>
                </a:lnTo>
                <a:lnTo>
                  <a:pt x="200" y="3180"/>
                </a:lnTo>
                <a:lnTo>
                  <a:pt x="214" y="3185"/>
                </a:lnTo>
                <a:lnTo>
                  <a:pt x="227" y="3189"/>
                </a:lnTo>
                <a:lnTo>
                  <a:pt x="241" y="3191"/>
                </a:lnTo>
                <a:lnTo>
                  <a:pt x="256" y="3193"/>
                </a:lnTo>
                <a:lnTo>
                  <a:pt x="271" y="3194"/>
                </a:lnTo>
                <a:lnTo>
                  <a:pt x="287" y="3195"/>
                </a:lnTo>
                <a:lnTo>
                  <a:pt x="304" y="3194"/>
                </a:lnTo>
                <a:lnTo>
                  <a:pt x="337" y="3192"/>
                </a:lnTo>
                <a:lnTo>
                  <a:pt x="371" y="3188"/>
                </a:lnTo>
                <a:lnTo>
                  <a:pt x="405" y="3183"/>
                </a:lnTo>
                <a:lnTo>
                  <a:pt x="438" y="3178"/>
                </a:lnTo>
                <a:lnTo>
                  <a:pt x="468" y="3174"/>
                </a:lnTo>
                <a:lnTo>
                  <a:pt x="496" y="3172"/>
                </a:lnTo>
                <a:lnTo>
                  <a:pt x="509" y="3171"/>
                </a:lnTo>
                <a:lnTo>
                  <a:pt x="520" y="3171"/>
                </a:lnTo>
                <a:lnTo>
                  <a:pt x="531" y="3172"/>
                </a:lnTo>
                <a:lnTo>
                  <a:pt x="541" y="3174"/>
                </a:lnTo>
                <a:lnTo>
                  <a:pt x="549" y="3177"/>
                </a:lnTo>
                <a:lnTo>
                  <a:pt x="555" y="3181"/>
                </a:lnTo>
                <a:lnTo>
                  <a:pt x="555" y="3181"/>
                </a:lnTo>
                <a:lnTo>
                  <a:pt x="558" y="3184"/>
                </a:lnTo>
                <a:lnTo>
                  <a:pt x="559" y="3186"/>
                </a:lnTo>
                <a:lnTo>
                  <a:pt x="557" y="3189"/>
                </a:lnTo>
                <a:lnTo>
                  <a:pt x="554" y="3191"/>
                </a:lnTo>
                <a:lnTo>
                  <a:pt x="549" y="3194"/>
                </a:lnTo>
                <a:lnTo>
                  <a:pt x="542" y="3196"/>
                </a:lnTo>
                <a:lnTo>
                  <a:pt x="525" y="3200"/>
                </a:lnTo>
                <a:lnTo>
                  <a:pt x="475" y="3209"/>
                </a:lnTo>
                <a:lnTo>
                  <a:pt x="447" y="3215"/>
                </a:lnTo>
                <a:lnTo>
                  <a:pt x="417" y="3221"/>
                </a:lnTo>
                <a:lnTo>
                  <a:pt x="388" y="3228"/>
                </a:lnTo>
                <a:lnTo>
                  <a:pt x="359" y="3236"/>
                </a:lnTo>
                <a:lnTo>
                  <a:pt x="346" y="3240"/>
                </a:lnTo>
                <a:lnTo>
                  <a:pt x="333" y="3245"/>
                </a:lnTo>
                <a:lnTo>
                  <a:pt x="322" y="3250"/>
                </a:lnTo>
                <a:lnTo>
                  <a:pt x="312" y="3256"/>
                </a:lnTo>
                <a:lnTo>
                  <a:pt x="303" y="3263"/>
                </a:lnTo>
                <a:lnTo>
                  <a:pt x="294" y="3269"/>
                </a:lnTo>
                <a:lnTo>
                  <a:pt x="288" y="3276"/>
                </a:lnTo>
                <a:lnTo>
                  <a:pt x="284" y="3284"/>
                </a:lnTo>
                <a:lnTo>
                  <a:pt x="282" y="3292"/>
                </a:lnTo>
                <a:lnTo>
                  <a:pt x="281" y="3300"/>
                </a:lnTo>
                <a:lnTo>
                  <a:pt x="283" y="3311"/>
                </a:lnTo>
                <a:lnTo>
                  <a:pt x="287" y="3321"/>
                </a:lnTo>
                <a:lnTo>
                  <a:pt x="287" y="3321"/>
                </a:lnTo>
                <a:lnTo>
                  <a:pt x="287" y="3322"/>
                </a:lnTo>
                <a:lnTo>
                  <a:pt x="286" y="3325"/>
                </a:lnTo>
                <a:lnTo>
                  <a:pt x="283" y="3331"/>
                </a:lnTo>
                <a:lnTo>
                  <a:pt x="268" y="3348"/>
                </a:lnTo>
                <a:lnTo>
                  <a:pt x="258" y="3361"/>
                </a:lnTo>
                <a:lnTo>
                  <a:pt x="247" y="3374"/>
                </a:lnTo>
                <a:lnTo>
                  <a:pt x="237" y="3389"/>
                </a:lnTo>
                <a:lnTo>
                  <a:pt x="228" y="3406"/>
                </a:lnTo>
                <a:lnTo>
                  <a:pt x="220" y="3423"/>
                </a:lnTo>
                <a:lnTo>
                  <a:pt x="217" y="3432"/>
                </a:lnTo>
                <a:lnTo>
                  <a:pt x="214" y="3443"/>
                </a:lnTo>
                <a:lnTo>
                  <a:pt x="213" y="3452"/>
                </a:lnTo>
                <a:lnTo>
                  <a:pt x="212" y="3463"/>
                </a:lnTo>
                <a:lnTo>
                  <a:pt x="212" y="3473"/>
                </a:lnTo>
                <a:lnTo>
                  <a:pt x="213" y="3483"/>
                </a:lnTo>
                <a:lnTo>
                  <a:pt x="215" y="3495"/>
                </a:lnTo>
                <a:lnTo>
                  <a:pt x="219" y="3506"/>
                </a:lnTo>
                <a:lnTo>
                  <a:pt x="223" y="3518"/>
                </a:lnTo>
                <a:lnTo>
                  <a:pt x="229" y="3529"/>
                </a:lnTo>
                <a:lnTo>
                  <a:pt x="237" y="3542"/>
                </a:lnTo>
                <a:lnTo>
                  <a:pt x="246" y="3554"/>
                </a:lnTo>
                <a:lnTo>
                  <a:pt x="257" y="3566"/>
                </a:lnTo>
                <a:lnTo>
                  <a:pt x="270" y="3579"/>
                </a:lnTo>
                <a:lnTo>
                  <a:pt x="270" y="3579"/>
                </a:lnTo>
                <a:lnTo>
                  <a:pt x="270" y="3572"/>
                </a:lnTo>
                <a:lnTo>
                  <a:pt x="272" y="3555"/>
                </a:lnTo>
                <a:lnTo>
                  <a:pt x="277" y="3530"/>
                </a:lnTo>
                <a:lnTo>
                  <a:pt x="281" y="3517"/>
                </a:lnTo>
                <a:lnTo>
                  <a:pt x="285" y="3503"/>
                </a:lnTo>
                <a:lnTo>
                  <a:pt x="291" y="3490"/>
                </a:lnTo>
                <a:lnTo>
                  <a:pt x="298" y="3476"/>
                </a:lnTo>
                <a:lnTo>
                  <a:pt x="306" y="3463"/>
                </a:lnTo>
                <a:lnTo>
                  <a:pt x="315" y="3453"/>
                </a:lnTo>
                <a:lnTo>
                  <a:pt x="321" y="3448"/>
                </a:lnTo>
                <a:lnTo>
                  <a:pt x="326" y="3444"/>
                </a:lnTo>
                <a:lnTo>
                  <a:pt x="332" y="3439"/>
                </a:lnTo>
                <a:lnTo>
                  <a:pt x="339" y="3436"/>
                </a:lnTo>
                <a:lnTo>
                  <a:pt x="346" y="3434"/>
                </a:lnTo>
                <a:lnTo>
                  <a:pt x="354" y="3432"/>
                </a:lnTo>
                <a:lnTo>
                  <a:pt x="361" y="3432"/>
                </a:lnTo>
                <a:lnTo>
                  <a:pt x="369" y="3432"/>
                </a:lnTo>
                <a:lnTo>
                  <a:pt x="369" y="3432"/>
                </a:lnTo>
                <a:lnTo>
                  <a:pt x="383" y="3433"/>
                </a:lnTo>
                <a:lnTo>
                  <a:pt x="396" y="3436"/>
                </a:lnTo>
                <a:lnTo>
                  <a:pt x="408" y="3440"/>
                </a:lnTo>
                <a:lnTo>
                  <a:pt x="420" y="3445"/>
                </a:lnTo>
                <a:lnTo>
                  <a:pt x="443" y="3455"/>
                </a:lnTo>
                <a:lnTo>
                  <a:pt x="454" y="3459"/>
                </a:lnTo>
                <a:lnTo>
                  <a:pt x="465" y="3463"/>
                </a:lnTo>
                <a:lnTo>
                  <a:pt x="476" y="3466"/>
                </a:lnTo>
                <a:lnTo>
                  <a:pt x="489" y="3468"/>
                </a:lnTo>
                <a:lnTo>
                  <a:pt x="501" y="3469"/>
                </a:lnTo>
                <a:lnTo>
                  <a:pt x="514" y="3467"/>
                </a:lnTo>
                <a:lnTo>
                  <a:pt x="528" y="3464"/>
                </a:lnTo>
                <a:lnTo>
                  <a:pt x="542" y="3458"/>
                </a:lnTo>
                <a:lnTo>
                  <a:pt x="558" y="3450"/>
                </a:lnTo>
                <a:lnTo>
                  <a:pt x="575" y="3437"/>
                </a:lnTo>
                <a:lnTo>
                  <a:pt x="575" y="3437"/>
                </a:lnTo>
                <a:lnTo>
                  <a:pt x="588" y="3428"/>
                </a:lnTo>
                <a:lnTo>
                  <a:pt x="600" y="3417"/>
                </a:lnTo>
                <a:lnTo>
                  <a:pt x="614" y="3405"/>
                </a:lnTo>
                <a:lnTo>
                  <a:pt x="630" y="3392"/>
                </a:lnTo>
                <a:lnTo>
                  <a:pt x="651" y="3380"/>
                </a:lnTo>
                <a:lnTo>
                  <a:pt x="664" y="3373"/>
                </a:lnTo>
                <a:lnTo>
                  <a:pt x="678" y="3367"/>
                </a:lnTo>
                <a:lnTo>
                  <a:pt x="693" y="3360"/>
                </a:lnTo>
                <a:lnTo>
                  <a:pt x="712" y="3354"/>
                </a:lnTo>
                <a:lnTo>
                  <a:pt x="732" y="3346"/>
                </a:lnTo>
                <a:lnTo>
                  <a:pt x="754" y="3339"/>
                </a:lnTo>
                <a:lnTo>
                  <a:pt x="754" y="3339"/>
                </a:lnTo>
                <a:lnTo>
                  <a:pt x="756" y="3339"/>
                </a:lnTo>
                <a:lnTo>
                  <a:pt x="757" y="3340"/>
                </a:lnTo>
                <a:lnTo>
                  <a:pt x="760" y="3345"/>
                </a:lnTo>
                <a:lnTo>
                  <a:pt x="762" y="3354"/>
                </a:lnTo>
                <a:lnTo>
                  <a:pt x="765" y="3363"/>
                </a:lnTo>
                <a:lnTo>
                  <a:pt x="768" y="3375"/>
                </a:lnTo>
                <a:lnTo>
                  <a:pt x="772" y="3387"/>
                </a:lnTo>
                <a:lnTo>
                  <a:pt x="777" y="3400"/>
                </a:lnTo>
                <a:lnTo>
                  <a:pt x="783" y="3412"/>
                </a:lnTo>
                <a:lnTo>
                  <a:pt x="783" y="3412"/>
                </a:lnTo>
                <a:lnTo>
                  <a:pt x="786" y="3415"/>
                </a:lnTo>
                <a:lnTo>
                  <a:pt x="789" y="3417"/>
                </a:lnTo>
                <a:lnTo>
                  <a:pt x="797" y="3422"/>
                </a:lnTo>
                <a:lnTo>
                  <a:pt x="805" y="3425"/>
                </a:lnTo>
                <a:lnTo>
                  <a:pt x="813" y="3429"/>
                </a:lnTo>
                <a:lnTo>
                  <a:pt x="821" y="3432"/>
                </a:lnTo>
                <a:lnTo>
                  <a:pt x="827" y="3435"/>
                </a:lnTo>
                <a:lnTo>
                  <a:pt x="830" y="3437"/>
                </a:lnTo>
                <a:lnTo>
                  <a:pt x="831" y="3439"/>
                </a:lnTo>
                <a:lnTo>
                  <a:pt x="833" y="3443"/>
                </a:lnTo>
                <a:lnTo>
                  <a:pt x="833" y="3446"/>
                </a:lnTo>
                <a:lnTo>
                  <a:pt x="833" y="3446"/>
                </a:lnTo>
                <a:lnTo>
                  <a:pt x="832" y="3456"/>
                </a:lnTo>
                <a:lnTo>
                  <a:pt x="830" y="3467"/>
                </a:lnTo>
                <a:lnTo>
                  <a:pt x="826" y="3477"/>
                </a:lnTo>
                <a:lnTo>
                  <a:pt x="822" y="3486"/>
                </a:lnTo>
                <a:lnTo>
                  <a:pt x="817" y="3496"/>
                </a:lnTo>
                <a:lnTo>
                  <a:pt x="811" y="3505"/>
                </a:lnTo>
                <a:lnTo>
                  <a:pt x="798" y="3521"/>
                </a:lnTo>
                <a:lnTo>
                  <a:pt x="784" y="3535"/>
                </a:lnTo>
                <a:lnTo>
                  <a:pt x="773" y="3546"/>
                </a:lnTo>
                <a:lnTo>
                  <a:pt x="765" y="3552"/>
                </a:lnTo>
                <a:lnTo>
                  <a:pt x="763" y="3555"/>
                </a:lnTo>
                <a:lnTo>
                  <a:pt x="763" y="3555"/>
                </a:lnTo>
                <a:lnTo>
                  <a:pt x="767" y="3558"/>
                </a:lnTo>
                <a:lnTo>
                  <a:pt x="778" y="3561"/>
                </a:lnTo>
                <a:lnTo>
                  <a:pt x="785" y="3562"/>
                </a:lnTo>
                <a:lnTo>
                  <a:pt x="794" y="3563"/>
                </a:lnTo>
                <a:lnTo>
                  <a:pt x="804" y="3563"/>
                </a:lnTo>
                <a:lnTo>
                  <a:pt x="815" y="3561"/>
                </a:lnTo>
                <a:lnTo>
                  <a:pt x="826" y="3558"/>
                </a:lnTo>
                <a:lnTo>
                  <a:pt x="839" y="3553"/>
                </a:lnTo>
                <a:lnTo>
                  <a:pt x="852" y="3546"/>
                </a:lnTo>
                <a:lnTo>
                  <a:pt x="865" y="3536"/>
                </a:lnTo>
                <a:lnTo>
                  <a:pt x="879" y="3522"/>
                </a:lnTo>
                <a:lnTo>
                  <a:pt x="894" y="3506"/>
                </a:lnTo>
                <a:lnTo>
                  <a:pt x="907" y="3486"/>
                </a:lnTo>
                <a:lnTo>
                  <a:pt x="921" y="3463"/>
                </a:lnTo>
                <a:lnTo>
                  <a:pt x="921" y="3463"/>
                </a:lnTo>
                <a:lnTo>
                  <a:pt x="924" y="3459"/>
                </a:lnTo>
                <a:lnTo>
                  <a:pt x="927" y="3455"/>
                </a:lnTo>
                <a:lnTo>
                  <a:pt x="930" y="3453"/>
                </a:lnTo>
                <a:lnTo>
                  <a:pt x="935" y="3451"/>
                </a:lnTo>
                <a:lnTo>
                  <a:pt x="939" y="3450"/>
                </a:lnTo>
                <a:lnTo>
                  <a:pt x="943" y="3450"/>
                </a:lnTo>
                <a:lnTo>
                  <a:pt x="951" y="3450"/>
                </a:lnTo>
                <a:lnTo>
                  <a:pt x="970" y="3452"/>
                </a:lnTo>
                <a:lnTo>
                  <a:pt x="982" y="3452"/>
                </a:lnTo>
                <a:lnTo>
                  <a:pt x="987" y="3451"/>
                </a:lnTo>
                <a:lnTo>
                  <a:pt x="992" y="3450"/>
                </a:lnTo>
                <a:lnTo>
                  <a:pt x="992" y="3450"/>
                </a:lnTo>
                <a:lnTo>
                  <a:pt x="1010" y="3444"/>
                </a:lnTo>
                <a:lnTo>
                  <a:pt x="1017" y="3439"/>
                </a:lnTo>
                <a:lnTo>
                  <a:pt x="1024" y="3435"/>
                </a:lnTo>
                <a:lnTo>
                  <a:pt x="1029" y="3432"/>
                </a:lnTo>
                <a:lnTo>
                  <a:pt x="1033" y="3428"/>
                </a:lnTo>
                <a:lnTo>
                  <a:pt x="1036" y="3424"/>
                </a:lnTo>
                <a:lnTo>
                  <a:pt x="1039" y="3419"/>
                </a:lnTo>
                <a:lnTo>
                  <a:pt x="1041" y="3415"/>
                </a:lnTo>
                <a:lnTo>
                  <a:pt x="1042" y="3410"/>
                </a:lnTo>
                <a:lnTo>
                  <a:pt x="1043" y="3401"/>
                </a:lnTo>
                <a:lnTo>
                  <a:pt x="1042" y="3390"/>
                </a:lnTo>
                <a:lnTo>
                  <a:pt x="1040" y="3380"/>
                </a:lnTo>
                <a:lnTo>
                  <a:pt x="1035" y="3358"/>
                </a:lnTo>
                <a:lnTo>
                  <a:pt x="1034" y="3347"/>
                </a:lnTo>
                <a:lnTo>
                  <a:pt x="1033" y="3335"/>
                </a:lnTo>
                <a:lnTo>
                  <a:pt x="1034" y="3324"/>
                </a:lnTo>
                <a:lnTo>
                  <a:pt x="1036" y="3319"/>
                </a:lnTo>
                <a:lnTo>
                  <a:pt x="1038" y="3313"/>
                </a:lnTo>
                <a:lnTo>
                  <a:pt x="1040" y="3308"/>
                </a:lnTo>
                <a:lnTo>
                  <a:pt x="1044" y="3302"/>
                </a:lnTo>
                <a:lnTo>
                  <a:pt x="1048" y="3296"/>
                </a:lnTo>
                <a:lnTo>
                  <a:pt x="1054" y="3291"/>
                </a:lnTo>
                <a:lnTo>
                  <a:pt x="1054" y="3291"/>
                </a:lnTo>
                <a:lnTo>
                  <a:pt x="1069" y="3278"/>
                </a:lnTo>
                <a:lnTo>
                  <a:pt x="1084" y="3265"/>
                </a:lnTo>
                <a:lnTo>
                  <a:pt x="1099" y="3253"/>
                </a:lnTo>
                <a:lnTo>
                  <a:pt x="1115" y="3241"/>
                </a:lnTo>
                <a:lnTo>
                  <a:pt x="1146" y="3221"/>
                </a:lnTo>
                <a:lnTo>
                  <a:pt x="1178" y="3202"/>
                </a:lnTo>
                <a:lnTo>
                  <a:pt x="1210" y="3186"/>
                </a:lnTo>
                <a:lnTo>
                  <a:pt x="1241" y="3171"/>
                </a:lnTo>
                <a:lnTo>
                  <a:pt x="1273" y="3156"/>
                </a:lnTo>
                <a:lnTo>
                  <a:pt x="1304" y="3144"/>
                </a:lnTo>
                <a:lnTo>
                  <a:pt x="1304" y="3144"/>
                </a:lnTo>
                <a:lnTo>
                  <a:pt x="1303" y="3148"/>
                </a:lnTo>
                <a:lnTo>
                  <a:pt x="1299" y="3160"/>
                </a:lnTo>
                <a:lnTo>
                  <a:pt x="1294" y="3180"/>
                </a:lnTo>
                <a:lnTo>
                  <a:pt x="1291" y="3203"/>
                </a:lnTo>
                <a:lnTo>
                  <a:pt x="1290" y="3218"/>
                </a:lnTo>
                <a:lnTo>
                  <a:pt x="1290" y="3232"/>
                </a:lnTo>
                <a:lnTo>
                  <a:pt x="1291" y="3247"/>
                </a:lnTo>
                <a:lnTo>
                  <a:pt x="1292" y="3264"/>
                </a:lnTo>
                <a:lnTo>
                  <a:pt x="1296" y="3280"/>
                </a:lnTo>
                <a:lnTo>
                  <a:pt x="1301" y="3296"/>
                </a:lnTo>
                <a:lnTo>
                  <a:pt x="1306" y="3314"/>
                </a:lnTo>
                <a:lnTo>
                  <a:pt x="1314" y="3331"/>
                </a:lnTo>
                <a:lnTo>
                  <a:pt x="1640" y="3247"/>
                </a:lnTo>
                <a:lnTo>
                  <a:pt x="1640" y="3247"/>
                </a:lnTo>
                <a:lnTo>
                  <a:pt x="1634" y="3231"/>
                </a:lnTo>
                <a:lnTo>
                  <a:pt x="1631" y="3215"/>
                </a:lnTo>
                <a:lnTo>
                  <a:pt x="1629" y="3197"/>
                </a:lnTo>
                <a:lnTo>
                  <a:pt x="1629" y="3180"/>
                </a:lnTo>
                <a:lnTo>
                  <a:pt x="1631" y="3162"/>
                </a:lnTo>
                <a:lnTo>
                  <a:pt x="1634" y="3145"/>
                </a:lnTo>
                <a:lnTo>
                  <a:pt x="1638" y="3128"/>
                </a:lnTo>
                <a:lnTo>
                  <a:pt x="1644" y="3109"/>
                </a:lnTo>
                <a:lnTo>
                  <a:pt x="1651" y="3092"/>
                </a:lnTo>
                <a:lnTo>
                  <a:pt x="1660" y="3073"/>
                </a:lnTo>
                <a:lnTo>
                  <a:pt x="1669" y="3056"/>
                </a:lnTo>
                <a:lnTo>
                  <a:pt x="1679" y="3039"/>
                </a:lnTo>
                <a:lnTo>
                  <a:pt x="1689" y="3021"/>
                </a:lnTo>
                <a:lnTo>
                  <a:pt x="1701" y="3004"/>
                </a:lnTo>
                <a:lnTo>
                  <a:pt x="1725" y="2972"/>
                </a:lnTo>
                <a:lnTo>
                  <a:pt x="1725" y="2972"/>
                </a:lnTo>
                <a:lnTo>
                  <a:pt x="1726" y="2971"/>
                </a:lnTo>
                <a:lnTo>
                  <a:pt x="1727" y="2971"/>
                </a:lnTo>
                <a:lnTo>
                  <a:pt x="1728" y="2975"/>
                </a:lnTo>
                <a:lnTo>
                  <a:pt x="1725" y="2997"/>
                </a:lnTo>
                <a:lnTo>
                  <a:pt x="1721" y="3030"/>
                </a:lnTo>
                <a:lnTo>
                  <a:pt x="1715" y="3072"/>
                </a:lnTo>
                <a:lnTo>
                  <a:pt x="1713" y="3095"/>
                </a:lnTo>
                <a:lnTo>
                  <a:pt x="1711" y="3118"/>
                </a:lnTo>
                <a:lnTo>
                  <a:pt x="1711" y="3140"/>
                </a:lnTo>
                <a:lnTo>
                  <a:pt x="1711" y="3161"/>
                </a:lnTo>
                <a:lnTo>
                  <a:pt x="1713" y="3181"/>
                </a:lnTo>
                <a:lnTo>
                  <a:pt x="1716" y="3198"/>
                </a:lnTo>
                <a:lnTo>
                  <a:pt x="1719" y="3206"/>
                </a:lnTo>
                <a:lnTo>
                  <a:pt x="1722" y="3213"/>
                </a:lnTo>
                <a:lnTo>
                  <a:pt x="1726" y="3219"/>
                </a:lnTo>
                <a:lnTo>
                  <a:pt x="1730" y="3224"/>
                </a:lnTo>
                <a:lnTo>
                  <a:pt x="2050" y="3141"/>
                </a:lnTo>
                <a:lnTo>
                  <a:pt x="2050" y="3141"/>
                </a:lnTo>
                <a:lnTo>
                  <a:pt x="2046" y="3131"/>
                </a:lnTo>
                <a:lnTo>
                  <a:pt x="2043" y="3119"/>
                </a:lnTo>
                <a:lnTo>
                  <a:pt x="2041" y="3108"/>
                </a:lnTo>
                <a:lnTo>
                  <a:pt x="2039" y="3096"/>
                </a:lnTo>
                <a:lnTo>
                  <a:pt x="2038" y="3084"/>
                </a:lnTo>
                <a:lnTo>
                  <a:pt x="2038" y="3071"/>
                </a:lnTo>
                <a:lnTo>
                  <a:pt x="2039" y="3045"/>
                </a:lnTo>
                <a:lnTo>
                  <a:pt x="2043" y="3018"/>
                </a:lnTo>
                <a:lnTo>
                  <a:pt x="2048" y="2992"/>
                </a:lnTo>
                <a:lnTo>
                  <a:pt x="2055" y="2965"/>
                </a:lnTo>
                <a:lnTo>
                  <a:pt x="2064" y="2941"/>
                </a:lnTo>
                <a:lnTo>
                  <a:pt x="2064" y="2941"/>
                </a:lnTo>
                <a:lnTo>
                  <a:pt x="2072" y="2968"/>
                </a:lnTo>
                <a:lnTo>
                  <a:pt x="2079" y="2997"/>
                </a:lnTo>
                <a:lnTo>
                  <a:pt x="2088" y="3024"/>
                </a:lnTo>
                <a:lnTo>
                  <a:pt x="2098" y="3052"/>
                </a:lnTo>
                <a:lnTo>
                  <a:pt x="2108" y="3079"/>
                </a:lnTo>
                <a:lnTo>
                  <a:pt x="2121" y="3105"/>
                </a:lnTo>
                <a:lnTo>
                  <a:pt x="2135" y="3131"/>
                </a:lnTo>
                <a:lnTo>
                  <a:pt x="2149" y="3156"/>
                </a:lnTo>
                <a:lnTo>
                  <a:pt x="2166" y="3181"/>
                </a:lnTo>
                <a:lnTo>
                  <a:pt x="2183" y="3203"/>
                </a:lnTo>
                <a:lnTo>
                  <a:pt x="2201" y="3225"/>
                </a:lnTo>
                <a:lnTo>
                  <a:pt x="2222" y="3245"/>
                </a:lnTo>
                <a:lnTo>
                  <a:pt x="2244" y="3265"/>
                </a:lnTo>
                <a:lnTo>
                  <a:pt x="2268" y="3281"/>
                </a:lnTo>
                <a:lnTo>
                  <a:pt x="2280" y="3289"/>
                </a:lnTo>
                <a:lnTo>
                  <a:pt x="2292" y="3296"/>
                </a:lnTo>
                <a:lnTo>
                  <a:pt x="2306" y="3303"/>
                </a:lnTo>
                <a:lnTo>
                  <a:pt x="2320" y="3310"/>
                </a:lnTo>
                <a:lnTo>
                  <a:pt x="2320" y="3310"/>
                </a:lnTo>
                <a:lnTo>
                  <a:pt x="2365" y="3329"/>
                </a:lnTo>
                <a:lnTo>
                  <a:pt x="2410" y="3347"/>
                </a:lnTo>
                <a:lnTo>
                  <a:pt x="2454" y="3364"/>
                </a:lnTo>
                <a:lnTo>
                  <a:pt x="2499" y="3380"/>
                </a:lnTo>
                <a:lnTo>
                  <a:pt x="2544" y="3395"/>
                </a:lnTo>
                <a:lnTo>
                  <a:pt x="2589" y="3411"/>
                </a:lnTo>
                <a:lnTo>
                  <a:pt x="2683" y="3440"/>
                </a:lnTo>
                <a:lnTo>
                  <a:pt x="2782" y="3469"/>
                </a:lnTo>
                <a:lnTo>
                  <a:pt x="2889" y="3500"/>
                </a:lnTo>
                <a:lnTo>
                  <a:pt x="3005" y="3534"/>
                </a:lnTo>
                <a:lnTo>
                  <a:pt x="3133" y="3570"/>
                </a:lnTo>
                <a:lnTo>
                  <a:pt x="3133" y="3570"/>
                </a:lnTo>
                <a:lnTo>
                  <a:pt x="3205" y="3593"/>
                </a:lnTo>
                <a:lnTo>
                  <a:pt x="3273" y="3616"/>
                </a:lnTo>
                <a:lnTo>
                  <a:pt x="3305" y="3628"/>
                </a:lnTo>
                <a:lnTo>
                  <a:pt x="3333" y="3639"/>
                </a:lnTo>
                <a:lnTo>
                  <a:pt x="3358" y="3649"/>
                </a:lnTo>
                <a:lnTo>
                  <a:pt x="3377" y="3658"/>
                </a:lnTo>
                <a:lnTo>
                  <a:pt x="3377" y="3658"/>
                </a:lnTo>
                <a:lnTo>
                  <a:pt x="3383" y="3661"/>
                </a:lnTo>
                <a:lnTo>
                  <a:pt x="3389" y="3665"/>
                </a:lnTo>
                <a:lnTo>
                  <a:pt x="3393" y="3668"/>
                </a:lnTo>
                <a:lnTo>
                  <a:pt x="3397" y="3673"/>
                </a:lnTo>
                <a:lnTo>
                  <a:pt x="3399" y="3677"/>
                </a:lnTo>
                <a:lnTo>
                  <a:pt x="3401" y="3682"/>
                </a:lnTo>
                <a:lnTo>
                  <a:pt x="3402" y="3686"/>
                </a:lnTo>
                <a:lnTo>
                  <a:pt x="3402" y="3690"/>
                </a:lnTo>
                <a:lnTo>
                  <a:pt x="3401" y="3699"/>
                </a:lnTo>
                <a:lnTo>
                  <a:pt x="3397" y="3708"/>
                </a:lnTo>
                <a:lnTo>
                  <a:pt x="3392" y="3717"/>
                </a:lnTo>
                <a:lnTo>
                  <a:pt x="3386" y="3726"/>
                </a:lnTo>
                <a:lnTo>
                  <a:pt x="3378" y="3734"/>
                </a:lnTo>
                <a:lnTo>
                  <a:pt x="3371" y="3742"/>
                </a:lnTo>
                <a:lnTo>
                  <a:pt x="3357" y="3754"/>
                </a:lnTo>
                <a:lnTo>
                  <a:pt x="3346" y="3764"/>
                </a:lnTo>
                <a:lnTo>
                  <a:pt x="3341" y="3767"/>
                </a:lnTo>
                <a:lnTo>
                  <a:pt x="3341" y="3767"/>
                </a:lnTo>
                <a:lnTo>
                  <a:pt x="3355" y="3775"/>
                </a:lnTo>
                <a:lnTo>
                  <a:pt x="3371" y="3783"/>
                </a:lnTo>
                <a:lnTo>
                  <a:pt x="3411" y="3801"/>
                </a:lnTo>
                <a:lnTo>
                  <a:pt x="3435" y="3814"/>
                </a:lnTo>
                <a:lnTo>
                  <a:pt x="3461" y="3829"/>
                </a:lnTo>
                <a:lnTo>
                  <a:pt x="3492" y="3848"/>
                </a:lnTo>
                <a:lnTo>
                  <a:pt x="3527" y="3873"/>
                </a:lnTo>
                <a:lnTo>
                  <a:pt x="3527" y="3873"/>
                </a:lnTo>
                <a:lnTo>
                  <a:pt x="3545" y="3888"/>
                </a:lnTo>
                <a:lnTo>
                  <a:pt x="3563" y="3906"/>
                </a:lnTo>
                <a:lnTo>
                  <a:pt x="3580" y="3925"/>
                </a:lnTo>
                <a:lnTo>
                  <a:pt x="3595" y="3946"/>
                </a:lnTo>
                <a:lnTo>
                  <a:pt x="3608" y="3967"/>
                </a:lnTo>
                <a:lnTo>
                  <a:pt x="3622" y="3991"/>
                </a:lnTo>
                <a:lnTo>
                  <a:pt x="3634" y="4014"/>
                </a:lnTo>
                <a:lnTo>
                  <a:pt x="3645" y="4040"/>
                </a:lnTo>
                <a:lnTo>
                  <a:pt x="3655" y="4066"/>
                </a:lnTo>
                <a:lnTo>
                  <a:pt x="3665" y="4094"/>
                </a:lnTo>
                <a:lnTo>
                  <a:pt x="3674" y="4122"/>
                </a:lnTo>
                <a:lnTo>
                  <a:pt x="3682" y="4151"/>
                </a:lnTo>
                <a:lnTo>
                  <a:pt x="3698" y="4211"/>
                </a:lnTo>
                <a:lnTo>
                  <a:pt x="3714" y="4274"/>
                </a:lnTo>
                <a:lnTo>
                  <a:pt x="3714" y="4274"/>
                </a:lnTo>
                <a:lnTo>
                  <a:pt x="3725" y="4324"/>
                </a:lnTo>
                <a:lnTo>
                  <a:pt x="3734" y="4377"/>
                </a:lnTo>
                <a:lnTo>
                  <a:pt x="3742" y="4430"/>
                </a:lnTo>
                <a:lnTo>
                  <a:pt x="3744" y="4457"/>
                </a:lnTo>
                <a:lnTo>
                  <a:pt x="3746" y="4481"/>
                </a:lnTo>
                <a:lnTo>
                  <a:pt x="3748" y="4506"/>
                </a:lnTo>
                <a:lnTo>
                  <a:pt x="3749" y="4529"/>
                </a:lnTo>
                <a:lnTo>
                  <a:pt x="3748" y="4551"/>
                </a:lnTo>
                <a:lnTo>
                  <a:pt x="3745" y="4571"/>
                </a:lnTo>
                <a:lnTo>
                  <a:pt x="3742" y="4590"/>
                </a:lnTo>
                <a:lnTo>
                  <a:pt x="3737" y="4606"/>
                </a:lnTo>
                <a:lnTo>
                  <a:pt x="3731" y="4619"/>
                </a:lnTo>
                <a:lnTo>
                  <a:pt x="3728" y="4625"/>
                </a:lnTo>
                <a:lnTo>
                  <a:pt x="3724" y="4631"/>
                </a:lnTo>
                <a:lnTo>
                  <a:pt x="3724" y="4631"/>
                </a:lnTo>
                <a:lnTo>
                  <a:pt x="3715" y="4641"/>
                </a:lnTo>
                <a:lnTo>
                  <a:pt x="3705" y="4651"/>
                </a:lnTo>
                <a:lnTo>
                  <a:pt x="3691" y="4660"/>
                </a:lnTo>
                <a:lnTo>
                  <a:pt x="3683" y="4665"/>
                </a:lnTo>
                <a:lnTo>
                  <a:pt x="3673" y="4670"/>
                </a:lnTo>
                <a:lnTo>
                  <a:pt x="3663" y="4676"/>
                </a:lnTo>
                <a:lnTo>
                  <a:pt x="3650" y="4681"/>
                </a:lnTo>
                <a:lnTo>
                  <a:pt x="3621" y="4690"/>
                </a:lnTo>
                <a:lnTo>
                  <a:pt x="3582" y="4700"/>
                </a:lnTo>
                <a:lnTo>
                  <a:pt x="3535" y="4710"/>
                </a:lnTo>
                <a:lnTo>
                  <a:pt x="3560" y="4833"/>
                </a:lnTo>
                <a:lnTo>
                  <a:pt x="3560" y="4833"/>
                </a:lnTo>
                <a:lnTo>
                  <a:pt x="3579" y="4834"/>
                </a:lnTo>
                <a:lnTo>
                  <a:pt x="3597" y="4834"/>
                </a:lnTo>
                <a:lnTo>
                  <a:pt x="3615" y="4833"/>
                </a:lnTo>
                <a:lnTo>
                  <a:pt x="3631" y="4831"/>
                </a:lnTo>
                <a:lnTo>
                  <a:pt x="3646" y="4829"/>
                </a:lnTo>
                <a:lnTo>
                  <a:pt x="3662" y="4826"/>
                </a:lnTo>
                <a:lnTo>
                  <a:pt x="3688" y="4819"/>
                </a:lnTo>
                <a:lnTo>
                  <a:pt x="3711" y="4812"/>
                </a:lnTo>
                <a:lnTo>
                  <a:pt x="3728" y="4805"/>
                </a:lnTo>
                <a:lnTo>
                  <a:pt x="3742" y="4799"/>
                </a:lnTo>
                <a:lnTo>
                  <a:pt x="3742" y="4799"/>
                </a:lnTo>
                <a:lnTo>
                  <a:pt x="3736" y="4805"/>
                </a:lnTo>
                <a:lnTo>
                  <a:pt x="3730" y="4813"/>
                </a:lnTo>
                <a:lnTo>
                  <a:pt x="3722" y="4823"/>
                </a:lnTo>
                <a:lnTo>
                  <a:pt x="3722" y="4823"/>
                </a:lnTo>
                <a:lnTo>
                  <a:pt x="3711" y="4839"/>
                </a:lnTo>
                <a:lnTo>
                  <a:pt x="3700" y="4856"/>
                </a:lnTo>
                <a:lnTo>
                  <a:pt x="3692" y="4871"/>
                </a:lnTo>
                <a:lnTo>
                  <a:pt x="3685" y="4886"/>
                </a:lnTo>
                <a:lnTo>
                  <a:pt x="3680" y="4902"/>
                </a:lnTo>
                <a:lnTo>
                  <a:pt x="3675" y="4919"/>
                </a:lnTo>
                <a:lnTo>
                  <a:pt x="3672" y="4936"/>
                </a:lnTo>
                <a:lnTo>
                  <a:pt x="3669" y="4957"/>
                </a:lnTo>
                <a:lnTo>
                  <a:pt x="3799" y="5041"/>
                </a:lnTo>
                <a:lnTo>
                  <a:pt x="3799" y="5041"/>
                </a:lnTo>
                <a:lnTo>
                  <a:pt x="3812" y="5000"/>
                </a:lnTo>
                <a:lnTo>
                  <a:pt x="3826" y="4960"/>
                </a:lnTo>
                <a:lnTo>
                  <a:pt x="3841" y="4924"/>
                </a:lnTo>
                <a:lnTo>
                  <a:pt x="3855" y="4891"/>
                </a:lnTo>
                <a:lnTo>
                  <a:pt x="3870" y="4864"/>
                </a:lnTo>
                <a:lnTo>
                  <a:pt x="3877" y="4851"/>
                </a:lnTo>
                <a:lnTo>
                  <a:pt x="3885" y="4841"/>
                </a:lnTo>
                <a:lnTo>
                  <a:pt x="3892" y="4832"/>
                </a:lnTo>
                <a:lnTo>
                  <a:pt x="3899" y="4825"/>
                </a:lnTo>
                <a:lnTo>
                  <a:pt x="3906" y="4820"/>
                </a:lnTo>
                <a:lnTo>
                  <a:pt x="3913" y="4816"/>
                </a:lnTo>
                <a:lnTo>
                  <a:pt x="3913" y="4816"/>
                </a:lnTo>
                <a:lnTo>
                  <a:pt x="3919" y="4814"/>
                </a:lnTo>
                <a:lnTo>
                  <a:pt x="3926" y="4814"/>
                </a:lnTo>
                <a:lnTo>
                  <a:pt x="3935" y="4814"/>
                </a:lnTo>
                <a:lnTo>
                  <a:pt x="3944" y="4815"/>
                </a:lnTo>
                <a:lnTo>
                  <a:pt x="3954" y="4817"/>
                </a:lnTo>
                <a:lnTo>
                  <a:pt x="3965" y="4819"/>
                </a:lnTo>
                <a:lnTo>
                  <a:pt x="3990" y="4828"/>
                </a:lnTo>
                <a:lnTo>
                  <a:pt x="4017" y="4839"/>
                </a:lnTo>
                <a:lnTo>
                  <a:pt x="4047" y="4854"/>
                </a:lnTo>
                <a:lnTo>
                  <a:pt x="4078" y="4874"/>
                </a:lnTo>
                <a:lnTo>
                  <a:pt x="4110" y="4895"/>
                </a:lnTo>
                <a:lnTo>
                  <a:pt x="4127" y="4908"/>
                </a:lnTo>
                <a:lnTo>
                  <a:pt x="4143" y="4921"/>
                </a:lnTo>
                <a:lnTo>
                  <a:pt x="4160" y="4935"/>
                </a:lnTo>
                <a:lnTo>
                  <a:pt x="4176" y="4950"/>
                </a:lnTo>
                <a:lnTo>
                  <a:pt x="4192" y="4965"/>
                </a:lnTo>
                <a:lnTo>
                  <a:pt x="4208" y="4981"/>
                </a:lnTo>
                <a:lnTo>
                  <a:pt x="4224" y="4999"/>
                </a:lnTo>
                <a:lnTo>
                  <a:pt x="4239" y="5017"/>
                </a:lnTo>
                <a:lnTo>
                  <a:pt x="4254" y="5035"/>
                </a:lnTo>
                <a:lnTo>
                  <a:pt x="4268" y="5055"/>
                </a:lnTo>
                <a:lnTo>
                  <a:pt x="4282" y="5075"/>
                </a:lnTo>
                <a:lnTo>
                  <a:pt x="4296" y="5097"/>
                </a:lnTo>
                <a:lnTo>
                  <a:pt x="4308" y="5118"/>
                </a:lnTo>
                <a:lnTo>
                  <a:pt x="4320" y="5141"/>
                </a:lnTo>
                <a:lnTo>
                  <a:pt x="4331" y="5164"/>
                </a:lnTo>
                <a:lnTo>
                  <a:pt x="4342" y="5189"/>
                </a:lnTo>
                <a:lnTo>
                  <a:pt x="4342" y="5189"/>
                </a:lnTo>
                <a:lnTo>
                  <a:pt x="4347" y="5203"/>
                </a:lnTo>
                <a:lnTo>
                  <a:pt x="4352" y="5220"/>
                </a:lnTo>
                <a:lnTo>
                  <a:pt x="4356" y="5236"/>
                </a:lnTo>
                <a:lnTo>
                  <a:pt x="4360" y="5253"/>
                </a:lnTo>
                <a:lnTo>
                  <a:pt x="4363" y="5272"/>
                </a:lnTo>
                <a:lnTo>
                  <a:pt x="4366" y="5290"/>
                </a:lnTo>
                <a:lnTo>
                  <a:pt x="4370" y="5329"/>
                </a:lnTo>
                <a:lnTo>
                  <a:pt x="4372" y="5368"/>
                </a:lnTo>
                <a:lnTo>
                  <a:pt x="4371" y="5409"/>
                </a:lnTo>
                <a:lnTo>
                  <a:pt x="4370" y="5429"/>
                </a:lnTo>
                <a:lnTo>
                  <a:pt x="4369" y="5449"/>
                </a:lnTo>
                <a:lnTo>
                  <a:pt x="4366" y="5469"/>
                </a:lnTo>
                <a:lnTo>
                  <a:pt x="4363" y="5488"/>
                </a:lnTo>
                <a:lnTo>
                  <a:pt x="4360" y="5508"/>
                </a:lnTo>
                <a:lnTo>
                  <a:pt x="4356" y="5526"/>
                </a:lnTo>
                <a:lnTo>
                  <a:pt x="4351" y="5545"/>
                </a:lnTo>
                <a:lnTo>
                  <a:pt x="4345" y="5562"/>
                </a:lnTo>
                <a:lnTo>
                  <a:pt x="4339" y="5579"/>
                </a:lnTo>
                <a:lnTo>
                  <a:pt x="4332" y="5595"/>
                </a:lnTo>
                <a:lnTo>
                  <a:pt x="4324" y="5610"/>
                </a:lnTo>
                <a:lnTo>
                  <a:pt x="4316" y="5624"/>
                </a:lnTo>
                <a:lnTo>
                  <a:pt x="4307" y="5638"/>
                </a:lnTo>
                <a:lnTo>
                  <a:pt x="4298" y="5650"/>
                </a:lnTo>
                <a:lnTo>
                  <a:pt x="4287" y="5661"/>
                </a:lnTo>
                <a:lnTo>
                  <a:pt x="4276" y="5670"/>
                </a:lnTo>
                <a:lnTo>
                  <a:pt x="4264" y="5679"/>
                </a:lnTo>
                <a:lnTo>
                  <a:pt x="4252" y="5686"/>
                </a:lnTo>
                <a:lnTo>
                  <a:pt x="4238" y="5691"/>
                </a:lnTo>
                <a:lnTo>
                  <a:pt x="4224" y="5694"/>
                </a:lnTo>
                <a:lnTo>
                  <a:pt x="4224" y="5694"/>
                </a:lnTo>
                <a:lnTo>
                  <a:pt x="4216" y="5695"/>
                </a:lnTo>
                <a:lnTo>
                  <a:pt x="4208" y="5695"/>
                </a:lnTo>
                <a:lnTo>
                  <a:pt x="4198" y="5694"/>
                </a:lnTo>
                <a:lnTo>
                  <a:pt x="4188" y="5692"/>
                </a:lnTo>
                <a:lnTo>
                  <a:pt x="4168" y="5687"/>
                </a:lnTo>
                <a:lnTo>
                  <a:pt x="4145" y="5679"/>
                </a:lnTo>
                <a:lnTo>
                  <a:pt x="4123" y="5668"/>
                </a:lnTo>
                <a:lnTo>
                  <a:pt x="4099" y="5657"/>
                </a:lnTo>
                <a:lnTo>
                  <a:pt x="4051" y="5635"/>
                </a:lnTo>
                <a:lnTo>
                  <a:pt x="4028" y="5623"/>
                </a:lnTo>
                <a:lnTo>
                  <a:pt x="4005" y="5614"/>
                </a:lnTo>
                <a:lnTo>
                  <a:pt x="3984" y="5607"/>
                </a:lnTo>
                <a:lnTo>
                  <a:pt x="3964" y="5602"/>
                </a:lnTo>
                <a:lnTo>
                  <a:pt x="3955" y="5601"/>
                </a:lnTo>
                <a:lnTo>
                  <a:pt x="3947" y="5600"/>
                </a:lnTo>
                <a:lnTo>
                  <a:pt x="3939" y="5601"/>
                </a:lnTo>
                <a:lnTo>
                  <a:pt x="3932" y="5602"/>
                </a:lnTo>
                <a:lnTo>
                  <a:pt x="3924" y="5605"/>
                </a:lnTo>
                <a:lnTo>
                  <a:pt x="3919" y="5609"/>
                </a:lnTo>
                <a:lnTo>
                  <a:pt x="3914" y="5614"/>
                </a:lnTo>
                <a:lnTo>
                  <a:pt x="3909" y="5620"/>
                </a:lnTo>
                <a:lnTo>
                  <a:pt x="3909" y="5620"/>
                </a:lnTo>
                <a:lnTo>
                  <a:pt x="3905" y="5627"/>
                </a:lnTo>
                <a:lnTo>
                  <a:pt x="3900" y="5635"/>
                </a:lnTo>
                <a:lnTo>
                  <a:pt x="3893" y="5641"/>
                </a:lnTo>
                <a:lnTo>
                  <a:pt x="3886" y="5647"/>
                </a:lnTo>
                <a:lnTo>
                  <a:pt x="3869" y="5658"/>
                </a:lnTo>
                <a:lnTo>
                  <a:pt x="3851" y="5668"/>
                </a:lnTo>
                <a:lnTo>
                  <a:pt x="3810" y="5690"/>
                </a:lnTo>
                <a:lnTo>
                  <a:pt x="3789" y="5701"/>
                </a:lnTo>
                <a:lnTo>
                  <a:pt x="3770" y="5714"/>
                </a:lnTo>
                <a:lnTo>
                  <a:pt x="3761" y="5720"/>
                </a:lnTo>
                <a:lnTo>
                  <a:pt x="3752" y="5729"/>
                </a:lnTo>
                <a:lnTo>
                  <a:pt x="3743" y="5736"/>
                </a:lnTo>
                <a:lnTo>
                  <a:pt x="3735" y="5745"/>
                </a:lnTo>
                <a:lnTo>
                  <a:pt x="3728" y="5754"/>
                </a:lnTo>
                <a:lnTo>
                  <a:pt x="3722" y="5764"/>
                </a:lnTo>
                <a:lnTo>
                  <a:pt x="3717" y="5775"/>
                </a:lnTo>
                <a:lnTo>
                  <a:pt x="3713" y="5787"/>
                </a:lnTo>
                <a:lnTo>
                  <a:pt x="3710" y="5799"/>
                </a:lnTo>
                <a:lnTo>
                  <a:pt x="3708" y="5813"/>
                </a:lnTo>
                <a:lnTo>
                  <a:pt x="3707" y="5827"/>
                </a:lnTo>
                <a:lnTo>
                  <a:pt x="3707" y="5843"/>
                </a:lnTo>
                <a:lnTo>
                  <a:pt x="3709" y="5860"/>
                </a:lnTo>
                <a:lnTo>
                  <a:pt x="3713" y="5877"/>
                </a:lnTo>
                <a:lnTo>
                  <a:pt x="3718" y="5896"/>
                </a:lnTo>
                <a:lnTo>
                  <a:pt x="3724" y="5917"/>
                </a:lnTo>
                <a:lnTo>
                  <a:pt x="3724" y="5917"/>
                </a:lnTo>
                <a:lnTo>
                  <a:pt x="3741" y="5896"/>
                </a:lnTo>
                <a:lnTo>
                  <a:pt x="3759" y="5875"/>
                </a:lnTo>
                <a:lnTo>
                  <a:pt x="3776" y="5856"/>
                </a:lnTo>
                <a:lnTo>
                  <a:pt x="3794" y="5840"/>
                </a:lnTo>
                <a:lnTo>
                  <a:pt x="3802" y="5833"/>
                </a:lnTo>
                <a:lnTo>
                  <a:pt x="3811" y="5827"/>
                </a:lnTo>
                <a:lnTo>
                  <a:pt x="3819" y="5821"/>
                </a:lnTo>
                <a:lnTo>
                  <a:pt x="3827" y="5817"/>
                </a:lnTo>
                <a:lnTo>
                  <a:pt x="3835" y="5815"/>
                </a:lnTo>
                <a:lnTo>
                  <a:pt x="3843" y="5813"/>
                </a:lnTo>
                <a:lnTo>
                  <a:pt x="3850" y="5813"/>
                </a:lnTo>
                <a:lnTo>
                  <a:pt x="3857" y="5815"/>
                </a:lnTo>
                <a:lnTo>
                  <a:pt x="3857" y="5815"/>
                </a:lnTo>
                <a:lnTo>
                  <a:pt x="3861" y="5817"/>
                </a:lnTo>
                <a:lnTo>
                  <a:pt x="3864" y="5819"/>
                </a:lnTo>
                <a:lnTo>
                  <a:pt x="3870" y="5825"/>
                </a:lnTo>
                <a:lnTo>
                  <a:pt x="3875" y="5833"/>
                </a:lnTo>
                <a:lnTo>
                  <a:pt x="3879" y="5841"/>
                </a:lnTo>
                <a:lnTo>
                  <a:pt x="3888" y="5862"/>
                </a:lnTo>
                <a:lnTo>
                  <a:pt x="3894" y="5872"/>
                </a:lnTo>
                <a:lnTo>
                  <a:pt x="3901" y="5882"/>
                </a:lnTo>
                <a:lnTo>
                  <a:pt x="3901" y="5882"/>
                </a:lnTo>
                <a:lnTo>
                  <a:pt x="3904" y="5885"/>
                </a:lnTo>
                <a:lnTo>
                  <a:pt x="3908" y="5887"/>
                </a:lnTo>
                <a:lnTo>
                  <a:pt x="3913" y="5889"/>
                </a:lnTo>
                <a:lnTo>
                  <a:pt x="3919" y="5890"/>
                </a:lnTo>
                <a:lnTo>
                  <a:pt x="3934" y="5892"/>
                </a:lnTo>
                <a:lnTo>
                  <a:pt x="3950" y="5892"/>
                </a:lnTo>
                <a:lnTo>
                  <a:pt x="3968" y="5891"/>
                </a:lnTo>
                <a:lnTo>
                  <a:pt x="3989" y="5889"/>
                </a:lnTo>
                <a:lnTo>
                  <a:pt x="4032" y="5885"/>
                </a:lnTo>
                <a:lnTo>
                  <a:pt x="4074" y="5881"/>
                </a:lnTo>
                <a:lnTo>
                  <a:pt x="4093" y="5879"/>
                </a:lnTo>
                <a:lnTo>
                  <a:pt x="4110" y="5879"/>
                </a:lnTo>
                <a:lnTo>
                  <a:pt x="4126" y="5879"/>
                </a:lnTo>
                <a:lnTo>
                  <a:pt x="4137" y="5881"/>
                </a:lnTo>
                <a:lnTo>
                  <a:pt x="4142" y="5883"/>
                </a:lnTo>
                <a:lnTo>
                  <a:pt x="4146" y="5885"/>
                </a:lnTo>
                <a:lnTo>
                  <a:pt x="4148" y="5887"/>
                </a:lnTo>
                <a:lnTo>
                  <a:pt x="4150" y="5890"/>
                </a:lnTo>
                <a:lnTo>
                  <a:pt x="4150" y="5890"/>
                </a:lnTo>
                <a:lnTo>
                  <a:pt x="4151" y="5893"/>
                </a:lnTo>
                <a:lnTo>
                  <a:pt x="4150" y="5896"/>
                </a:lnTo>
                <a:lnTo>
                  <a:pt x="4149" y="5898"/>
                </a:lnTo>
                <a:lnTo>
                  <a:pt x="4148" y="5900"/>
                </a:lnTo>
                <a:lnTo>
                  <a:pt x="4143" y="5904"/>
                </a:lnTo>
                <a:lnTo>
                  <a:pt x="4136" y="5905"/>
                </a:lnTo>
                <a:lnTo>
                  <a:pt x="4118" y="5908"/>
                </a:lnTo>
                <a:lnTo>
                  <a:pt x="4100" y="5910"/>
                </a:lnTo>
                <a:lnTo>
                  <a:pt x="4100" y="5910"/>
                </a:lnTo>
                <a:lnTo>
                  <a:pt x="4021" y="5924"/>
                </a:lnTo>
                <a:lnTo>
                  <a:pt x="3981" y="5931"/>
                </a:lnTo>
                <a:lnTo>
                  <a:pt x="3943" y="5939"/>
                </a:lnTo>
                <a:lnTo>
                  <a:pt x="3925" y="5944"/>
                </a:lnTo>
                <a:lnTo>
                  <a:pt x="3909" y="5950"/>
                </a:lnTo>
                <a:lnTo>
                  <a:pt x="3894" y="5956"/>
                </a:lnTo>
                <a:lnTo>
                  <a:pt x="3881" y="5962"/>
                </a:lnTo>
                <a:lnTo>
                  <a:pt x="3869" y="5968"/>
                </a:lnTo>
                <a:lnTo>
                  <a:pt x="3860" y="5976"/>
                </a:lnTo>
                <a:lnTo>
                  <a:pt x="3853" y="5984"/>
                </a:lnTo>
                <a:lnTo>
                  <a:pt x="3850" y="5988"/>
                </a:lnTo>
                <a:lnTo>
                  <a:pt x="3848" y="5993"/>
                </a:lnTo>
                <a:lnTo>
                  <a:pt x="3848" y="5993"/>
                </a:lnTo>
                <a:lnTo>
                  <a:pt x="3846" y="6000"/>
                </a:lnTo>
                <a:lnTo>
                  <a:pt x="3846" y="6004"/>
                </a:lnTo>
                <a:lnTo>
                  <a:pt x="3847" y="6014"/>
                </a:lnTo>
                <a:lnTo>
                  <a:pt x="3847" y="6019"/>
                </a:lnTo>
                <a:lnTo>
                  <a:pt x="3846" y="6025"/>
                </a:lnTo>
                <a:lnTo>
                  <a:pt x="3845" y="6033"/>
                </a:lnTo>
                <a:lnTo>
                  <a:pt x="3842" y="6044"/>
                </a:lnTo>
                <a:lnTo>
                  <a:pt x="3842" y="6044"/>
                </a:lnTo>
                <a:lnTo>
                  <a:pt x="3837" y="6055"/>
                </a:lnTo>
                <a:lnTo>
                  <a:pt x="3831" y="6064"/>
                </a:lnTo>
                <a:lnTo>
                  <a:pt x="3823" y="6072"/>
                </a:lnTo>
                <a:lnTo>
                  <a:pt x="3815" y="6080"/>
                </a:lnTo>
                <a:lnTo>
                  <a:pt x="3796" y="6096"/>
                </a:lnTo>
                <a:lnTo>
                  <a:pt x="3786" y="6104"/>
                </a:lnTo>
                <a:lnTo>
                  <a:pt x="3776" y="6113"/>
                </a:lnTo>
                <a:lnTo>
                  <a:pt x="3767" y="6122"/>
                </a:lnTo>
                <a:lnTo>
                  <a:pt x="3758" y="6134"/>
                </a:lnTo>
                <a:lnTo>
                  <a:pt x="3750" y="6147"/>
                </a:lnTo>
                <a:lnTo>
                  <a:pt x="3742" y="6161"/>
                </a:lnTo>
                <a:lnTo>
                  <a:pt x="3736" y="6179"/>
                </a:lnTo>
                <a:lnTo>
                  <a:pt x="3732" y="6198"/>
                </a:lnTo>
                <a:lnTo>
                  <a:pt x="3730" y="6220"/>
                </a:lnTo>
                <a:lnTo>
                  <a:pt x="3730" y="6246"/>
                </a:lnTo>
                <a:lnTo>
                  <a:pt x="3730" y="6246"/>
                </a:lnTo>
                <a:lnTo>
                  <a:pt x="3732" y="6259"/>
                </a:lnTo>
                <a:lnTo>
                  <a:pt x="3735" y="6272"/>
                </a:lnTo>
                <a:lnTo>
                  <a:pt x="3739" y="6284"/>
                </a:lnTo>
                <a:lnTo>
                  <a:pt x="3744" y="6296"/>
                </a:lnTo>
                <a:lnTo>
                  <a:pt x="3751" y="6306"/>
                </a:lnTo>
                <a:lnTo>
                  <a:pt x="3757" y="6318"/>
                </a:lnTo>
                <a:lnTo>
                  <a:pt x="3763" y="6327"/>
                </a:lnTo>
                <a:lnTo>
                  <a:pt x="3770" y="6336"/>
                </a:lnTo>
                <a:lnTo>
                  <a:pt x="3784" y="6351"/>
                </a:lnTo>
                <a:lnTo>
                  <a:pt x="3797" y="6363"/>
                </a:lnTo>
                <a:lnTo>
                  <a:pt x="3807" y="6370"/>
                </a:lnTo>
                <a:lnTo>
                  <a:pt x="3810" y="6372"/>
                </a:lnTo>
                <a:lnTo>
                  <a:pt x="3813" y="6373"/>
                </a:lnTo>
                <a:lnTo>
                  <a:pt x="3813" y="6373"/>
                </a:lnTo>
                <a:lnTo>
                  <a:pt x="3814" y="6372"/>
                </a:lnTo>
                <a:lnTo>
                  <a:pt x="3815" y="6371"/>
                </a:lnTo>
                <a:lnTo>
                  <a:pt x="3816" y="6366"/>
                </a:lnTo>
                <a:lnTo>
                  <a:pt x="3818" y="6358"/>
                </a:lnTo>
                <a:lnTo>
                  <a:pt x="3818" y="6348"/>
                </a:lnTo>
                <a:lnTo>
                  <a:pt x="3820" y="6324"/>
                </a:lnTo>
                <a:lnTo>
                  <a:pt x="3823" y="6295"/>
                </a:lnTo>
                <a:lnTo>
                  <a:pt x="3825" y="6281"/>
                </a:lnTo>
                <a:lnTo>
                  <a:pt x="3828" y="6265"/>
                </a:lnTo>
                <a:lnTo>
                  <a:pt x="3831" y="6252"/>
                </a:lnTo>
                <a:lnTo>
                  <a:pt x="3836" y="6239"/>
                </a:lnTo>
                <a:lnTo>
                  <a:pt x="3843" y="6228"/>
                </a:lnTo>
                <a:lnTo>
                  <a:pt x="3847" y="6224"/>
                </a:lnTo>
                <a:lnTo>
                  <a:pt x="3851" y="6218"/>
                </a:lnTo>
                <a:lnTo>
                  <a:pt x="3855" y="6215"/>
                </a:lnTo>
                <a:lnTo>
                  <a:pt x="3860" y="6212"/>
                </a:lnTo>
                <a:lnTo>
                  <a:pt x="3865" y="6209"/>
                </a:lnTo>
                <a:lnTo>
                  <a:pt x="3871" y="6208"/>
                </a:lnTo>
                <a:lnTo>
                  <a:pt x="3871" y="6208"/>
                </a:lnTo>
                <a:lnTo>
                  <a:pt x="3877" y="6207"/>
                </a:lnTo>
                <a:lnTo>
                  <a:pt x="3882" y="6208"/>
                </a:lnTo>
                <a:lnTo>
                  <a:pt x="3888" y="6210"/>
                </a:lnTo>
                <a:lnTo>
                  <a:pt x="3892" y="6214"/>
                </a:lnTo>
                <a:lnTo>
                  <a:pt x="3902" y="6223"/>
                </a:lnTo>
                <a:lnTo>
                  <a:pt x="3911" y="6233"/>
                </a:lnTo>
                <a:lnTo>
                  <a:pt x="3921" y="6243"/>
                </a:lnTo>
                <a:lnTo>
                  <a:pt x="3926" y="6248"/>
                </a:lnTo>
                <a:lnTo>
                  <a:pt x="3933" y="6252"/>
                </a:lnTo>
                <a:lnTo>
                  <a:pt x="3940" y="6256"/>
                </a:lnTo>
                <a:lnTo>
                  <a:pt x="3946" y="6259"/>
                </a:lnTo>
                <a:lnTo>
                  <a:pt x="3954" y="6260"/>
                </a:lnTo>
                <a:lnTo>
                  <a:pt x="3962" y="6261"/>
                </a:lnTo>
                <a:lnTo>
                  <a:pt x="3962" y="6261"/>
                </a:lnTo>
                <a:lnTo>
                  <a:pt x="3970" y="6260"/>
                </a:lnTo>
                <a:lnTo>
                  <a:pt x="3979" y="6257"/>
                </a:lnTo>
                <a:lnTo>
                  <a:pt x="3987" y="6254"/>
                </a:lnTo>
                <a:lnTo>
                  <a:pt x="3996" y="6250"/>
                </a:lnTo>
                <a:lnTo>
                  <a:pt x="4005" y="6244"/>
                </a:lnTo>
                <a:lnTo>
                  <a:pt x="4014" y="6238"/>
                </a:lnTo>
                <a:lnTo>
                  <a:pt x="4035" y="6221"/>
                </a:lnTo>
                <a:lnTo>
                  <a:pt x="4055" y="6204"/>
                </a:lnTo>
                <a:lnTo>
                  <a:pt x="4077" y="6184"/>
                </a:lnTo>
                <a:lnTo>
                  <a:pt x="4122" y="6141"/>
                </a:lnTo>
                <a:lnTo>
                  <a:pt x="4144" y="6119"/>
                </a:lnTo>
                <a:lnTo>
                  <a:pt x="4166" y="6099"/>
                </a:lnTo>
                <a:lnTo>
                  <a:pt x="4187" y="6079"/>
                </a:lnTo>
                <a:lnTo>
                  <a:pt x="4208" y="6064"/>
                </a:lnTo>
                <a:lnTo>
                  <a:pt x="4227" y="6051"/>
                </a:lnTo>
                <a:lnTo>
                  <a:pt x="4236" y="6046"/>
                </a:lnTo>
                <a:lnTo>
                  <a:pt x="4245" y="6042"/>
                </a:lnTo>
                <a:lnTo>
                  <a:pt x="4254" y="6038"/>
                </a:lnTo>
                <a:lnTo>
                  <a:pt x="4262" y="6036"/>
                </a:lnTo>
                <a:lnTo>
                  <a:pt x="4270" y="6036"/>
                </a:lnTo>
                <a:lnTo>
                  <a:pt x="4277" y="6037"/>
                </a:lnTo>
                <a:lnTo>
                  <a:pt x="4277" y="6037"/>
                </a:lnTo>
                <a:lnTo>
                  <a:pt x="4278" y="6038"/>
                </a:lnTo>
                <a:lnTo>
                  <a:pt x="4279" y="6041"/>
                </a:lnTo>
                <a:lnTo>
                  <a:pt x="4278" y="6044"/>
                </a:lnTo>
                <a:lnTo>
                  <a:pt x="4277" y="6046"/>
                </a:lnTo>
                <a:lnTo>
                  <a:pt x="4272" y="6053"/>
                </a:lnTo>
                <a:lnTo>
                  <a:pt x="4264" y="6061"/>
                </a:lnTo>
                <a:lnTo>
                  <a:pt x="4241" y="6082"/>
                </a:lnTo>
                <a:lnTo>
                  <a:pt x="4212" y="6109"/>
                </a:lnTo>
                <a:lnTo>
                  <a:pt x="4181" y="6139"/>
                </a:lnTo>
                <a:lnTo>
                  <a:pt x="4167" y="6154"/>
                </a:lnTo>
                <a:lnTo>
                  <a:pt x="4152" y="6170"/>
                </a:lnTo>
                <a:lnTo>
                  <a:pt x="4140" y="6187"/>
                </a:lnTo>
                <a:lnTo>
                  <a:pt x="4129" y="6204"/>
                </a:lnTo>
                <a:lnTo>
                  <a:pt x="4121" y="6220"/>
                </a:lnTo>
                <a:lnTo>
                  <a:pt x="4118" y="6229"/>
                </a:lnTo>
                <a:lnTo>
                  <a:pt x="4116" y="6238"/>
                </a:lnTo>
                <a:lnTo>
                  <a:pt x="4116" y="6238"/>
                </a:lnTo>
                <a:lnTo>
                  <a:pt x="4114" y="6250"/>
                </a:lnTo>
                <a:lnTo>
                  <a:pt x="4114" y="6261"/>
                </a:lnTo>
                <a:lnTo>
                  <a:pt x="4115" y="6273"/>
                </a:lnTo>
                <a:lnTo>
                  <a:pt x="4119" y="6282"/>
                </a:lnTo>
                <a:lnTo>
                  <a:pt x="4123" y="6290"/>
                </a:lnTo>
                <a:lnTo>
                  <a:pt x="4129" y="6298"/>
                </a:lnTo>
                <a:lnTo>
                  <a:pt x="4135" y="6305"/>
                </a:lnTo>
                <a:lnTo>
                  <a:pt x="4142" y="6311"/>
                </a:lnTo>
                <a:lnTo>
                  <a:pt x="4157" y="6325"/>
                </a:lnTo>
                <a:lnTo>
                  <a:pt x="4163" y="6331"/>
                </a:lnTo>
                <a:lnTo>
                  <a:pt x="4169" y="6338"/>
                </a:lnTo>
                <a:lnTo>
                  <a:pt x="4175" y="6345"/>
                </a:lnTo>
                <a:lnTo>
                  <a:pt x="4179" y="6352"/>
                </a:lnTo>
                <a:lnTo>
                  <a:pt x="4182" y="6361"/>
                </a:lnTo>
                <a:lnTo>
                  <a:pt x="4183" y="6370"/>
                </a:lnTo>
                <a:lnTo>
                  <a:pt x="4183" y="6370"/>
                </a:lnTo>
                <a:lnTo>
                  <a:pt x="4184" y="6380"/>
                </a:lnTo>
                <a:lnTo>
                  <a:pt x="4186" y="6391"/>
                </a:lnTo>
                <a:lnTo>
                  <a:pt x="4189" y="6400"/>
                </a:lnTo>
                <a:lnTo>
                  <a:pt x="4193" y="6411"/>
                </a:lnTo>
                <a:lnTo>
                  <a:pt x="4198" y="6420"/>
                </a:lnTo>
                <a:lnTo>
                  <a:pt x="4205" y="6429"/>
                </a:lnTo>
                <a:lnTo>
                  <a:pt x="4212" y="6437"/>
                </a:lnTo>
                <a:lnTo>
                  <a:pt x="4220" y="6445"/>
                </a:lnTo>
                <a:lnTo>
                  <a:pt x="4228" y="6454"/>
                </a:lnTo>
                <a:lnTo>
                  <a:pt x="4237" y="6461"/>
                </a:lnTo>
                <a:lnTo>
                  <a:pt x="4257" y="6474"/>
                </a:lnTo>
                <a:lnTo>
                  <a:pt x="4278" y="6486"/>
                </a:lnTo>
                <a:lnTo>
                  <a:pt x="4300" y="6497"/>
                </a:lnTo>
                <a:lnTo>
                  <a:pt x="4322" y="6506"/>
                </a:lnTo>
                <a:lnTo>
                  <a:pt x="4344" y="6514"/>
                </a:lnTo>
                <a:lnTo>
                  <a:pt x="4364" y="6519"/>
                </a:lnTo>
                <a:lnTo>
                  <a:pt x="4382" y="6524"/>
                </a:lnTo>
                <a:lnTo>
                  <a:pt x="4399" y="6526"/>
                </a:lnTo>
                <a:lnTo>
                  <a:pt x="4412" y="6527"/>
                </a:lnTo>
                <a:lnTo>
                  <a:pt x="4421" y="6527"/>
                </a:lnTo>
                <a:lnTo>
                  <a:pt x="4424" y="6526"/>
                </a:lnTo>
                <a:lnTo>
                  <a:pt x="4426" y="6525"/>
                </a:lnTo>
                <a:lnTo>
                  <a:pt x="4426" y="6525"/>
                </a:lnTo>
                <a:lnTo>
                  <a:pt x="4427" y="6523"/>
                </a:lnTo>
                <a:lnTo>
                  <a:pt x="4427" y="6521"/>
                </a:lnTo>
                <a:lnTo>
                  <a:pt x="4425" y="6515"/>
                </a:lnTo>
                <a:lnTo>
                  <a:pt x="4420" y="6508"/>
                </a:lnTo>
                <a:lnTo>
                  <a:pt x="4412" y="6498"/>
                </a:lnTo>
                <a:lnTo>
                  <a:pt x="4393" y="6475"/>
                </a:lnTo>
                <a:lnTo>
                  <a:pt x="4369" y="6448"/>
                </a:lnTo>
                <a:lnTo>
                  <a:pt x="4358" y="6435"/>
                </a:lnTo>
                <a:lnTo>
                  <a:pt x="4348" y="6421"/>
                </a:lnTo>
                <a:lnTo>
                  <a:pt x="4339" y="6407"/>
                </a:lnTo>
                <a:lnTo>
                  <a:pt x="4330" y="6393"/>
                </a:lnTo>
                <a:lnTo>
                  <a:pt x="4325" y="6380"/>
                </a:lnTo>
                <a:lnTo>
                  <a:pt x="4324" y="6374"/>
                </a:lnTo>
                <a:lnTo>
                  <a:pt x="4323" y="6368"/>
                </a:lnTo>
                <a:lnTo>
                  <a:pt x="4323" y="6362"/>
                </a:lnTo>
                <a:lnTo>
                  <a:pt x="4324" y="6356"/>
                </a:lnTo>
                <a:lnTo>
                  <a:pt x="4326" y="6351"/>
                </a:lnTo>
                <a:lnTo>
                  <a:pt x="4329" y="6346"/>
                </a:lnTo>
                <a:lnTo>
                  <a:pt x="4329" y="6346"/>
                </a:lnTo>
                <a:lnTo>
                  <a:pt x="4333" y="6342"/>
                </a:lnTo>
                <a:lnTo>
                  <a:pt x="4337" y="6339"/>
                </a:lnTo>
                <a:lnTo>
                  <a:pt x="4343" y="6338"/>
                </a:lnTo>
                <a:lnTo>
                  <a:pt x="4347" y="6337"/>
                </a:lnTo>
                <a:lnTo>
                  <a:pt x="4352" y="6337"/>
                </a:lnTo>
                <a:lnTo>
                  <a:pt x="4358" y="6338"/>
                </a:lnTo>
                <a:lnTo>
                  <a:pt x="4370" y="6340"/>
                </a:lnTo>
                <a:lnTo>
                  <a:pt x="4384" y="6343"/>
                </a:lnTo>
                <a:lnTo>
                  <a:pt x="4392" y="6344"/>
                </a:lnTo>
                <a:lnTo>
                  <a:pt x="4399" y="6344"/>
                </a:lnTo>
                <a:lnTo>
                  <a:pt x="4408" y="6344"/>
                </a:lnTo>
                <a:lnTo>
                  <a:pt x="4416" y="6343"/>
                </a:lnTo>
                <a:lnTo>
                  <a:pt x="4425" y="6341"/>
                </a:lnTo>
                <a:lnTo>
                  <a:pt x="4436" y="6337"/>
                </a:lnTo>
                <a:lnTo>
                  <a:pt x="4436" y="6337"/>
                </a:lnTo>
                <a:lnTo>
                  <a:pt x="4437" y="6335"/>
                </a:lnTo>
                <a:lnTo>
                  <a:pt x="4438" y="6332"/>
                </a:lnTo>
                <a:lnTo>
                  <a:pt x="4438" y="6325"/>
                </a:lnTo>
                <a:lnTo>
                  <a:pt x="4436" y="6314"/>
                </a:lnTo>
                <a:lnTo>
                  <a:pt x="4434" y="6299"/>
                </a:lnTo>
                <a:lnTo>
                  <a:pt x="4431" y="6283"/>
                </a:lnTo>
                <a:lnTo>
                  <a:pt x="4428" y="6264"/>
                </a:lnTo>
                <a:lnTo>
                  <a:pt x="4426" y="6243"/>
                </a:lnTo>
                <a:lnTo>
                  <a:pt x="4426" y="6219"/>
                </a:lnTo>
                <a:lnTo>
                  <a:pt x="4428" y="6195"/>
                </a:lnTo>
                <a:lnTo>
                  <a:pt x="4431" y="6182"/>
                </a:lnTo>
                <a:lnTo>
                  <a:pt x="4434" y="6167"/>
                </a:lnTo>
                <a:lnTo>
                  <a:pt x="4437" y="6154"/>
                </a:lnTo>
                <a:lnTo>
                  <a:pt x="4441" y="6139"/>
                </a:lnTo>
                <a:lnTo>
                  <a:pt x="4446" y="6124"/>
                </a:lnTo>
                <a:lnTo>
                  <a:pt x="4453" y="6109"/>
                </a:lnTo>
                <a:lnTo>
                  <a:pt x="4460" y="6094"/>
                </a:lnTo>
                <a:lnTo>
                  <a:pt x="4469" y="6078"/>
                </a:lnTo>
                <a:lnTo>
                  <a:pt x="4479" y="6062"/>
                </a:lnTo>
                <a:lnTo>
                  <a:pt x="4490" y="6046"/>
                </a:lnTo>
                <a:lnTo>
                  <a:pt x="4503" y="6029"/>
                </a:lnTo>
                <a:lnTo>
                  <a:pt x="4516" y="6013"/>
                </a:lnTo>
                <a:lnTo>
                  <a:pt x="4533" y="5996"/>
                </a:lnTo>
                <a:lnTo>
                  <a:pt x="4550" y="5979"/>
                </a:lnTo>
                <a:lnTo>
                  <a:pt x="4550" y="5979"/>
                </a:lnTo>
                <a:lnTo>
                  <a:pt x="4557" y="5990"/>
                </a:lnTo>
                <a:lnTo>
                  <a:pt x="4566" y="6002"/>
                </a:lnTo>
                <a:lnTo>
                  <a:pt x="4578" y="6015"/>
                </a:lnTo>
                <a:lnTo>
                  <a:pt x="4586" y="6022"/>
                </a:lnTo>
                <a:lnTo>
                  <a:pt x="4594" y="6029"/>
                </a:lnTo>
                <a:lnTo>
                  <a:pt x="4603" y="6035"/>
                </a:lnTo>
                <a:lnTo>
                  <a:pt x="4614" y="6043"/>
                </a:lnTo>
                <a:lnTo>
                  <a:pt x="4624" y="6048"/>
                </a:lnTo>
                <a:lnTo>
                  <a:pt x="4636" y="6052"/>
                </a:lnTo>
                <a:lnTo>
                  <a:pt x="4648" y="6056"/>
                </a:lnTo>
                <a:lnTo>
                  <a:pt x="4662" y="6058"/>
                </a:lnTo>
                <a:lnTo>
                  <a:pt x="4662" y="6058"/>
                </a:lnTo>
                <a:lnTo>
                  <a:pt x="4668" y="6059"/>
                </a:lnTo>
                <a:lnTo>
                  <a:pt x="4673" y="6061"/>
                </a:lnTo>
                <a:lnTo>
                  <a:pt x="4677" y="6064"/>
                </a:lnTo>
                <a:lnTo>
                  <a:pt x="4681" y="6067"/>
                </a:lnTo>
                <a:lnTo>
                  <a:pt x="4685" y="6071"/>
                </a:lnTo>
                <a:lnTo>
                  <a:pt x="4688" y="6075"/>
                </a:lnTo>
                <a:lnTo>
                  <a:pt x="4692" y="6087"/>
                </a:lnTo>
                <a:lnTo>
                  <a:pt x="4696" y="6099"/>
                </a:lnTo>
                <a:lnTo>
                  <a:pt x="4698" y="6112"/>
                </a:lnTo>
                <a:lnTo>
                  <a:pt x="4698" y="6125"/>
                </a:lnTo>
                <a:lnTo>
                  <a:pt x="4698" y="6140"/>
                </a:lnTo>
                <a:lnTo>
                  <a:pt x="4696" y="6168"/>
                </a:lnTo>
                <a:lnTo>
                  <a:pt x="4694" y="6193"/>
                </a:lnTo>
                <a:lnTo>
                  <a:pt x="4692" y="6210"/>
                </a:lnTo>
                <a:lnTo>
                  <a:pt x="4692" y="6215"/>
                </a:lnTo>
                <a:lnTo>
                  <a:pt x="4693" y="6216"/>
                </a:lnTo>
                <a:lnTo>
                  <a:pt x="4694" y="6216"/>
                </a:lnTo>
                <a:lnTo>
                  <a:pt x="4694" y="6216"/>
                </a:lnTo>
                <a:lnTo>
                  <a:pt x="4697" y="6215"/>
                </a:lnTo>
                <a:lnTo>
                  <a:pt x="4702" y="6212"/>
                </a:lnTo>
                <a:lnTo>
                  <a:pt x="4708" y="6207"/>
                </a:lnTo>
                <a:lnTo>
                  <a:pt x="4714" y="6200"/>
                </a:lnTo>
                <a:lnTo>
                  <a:pt x="4721" y="6191"/>
                </a:lnTo>
                <a:lnTo>
                  <a:pt x="4729" y="6181"/>
                </a:lnTo>
                <a:lnTo>
                  <a:pt x="4736" y="6167"/>
                </a:lnTo>
                <a:lnTo>
                  <a:pt x="4743" y="6154"/>
                </a:lnTo>
                <a:lnTo>
                  <a:pt x="4751" y="6139"/>
                </a:lnTo>
                <a:lnTo>
                  <a:pt x="4758" y="6121"/>
                </a:lnTo>
                <a:lnTo>
                  <a:pt x="4763" y="6104"/>
                </a:lnTo>
                <a:lnTo>
                  <a:pt x="4768" y="6084"/>
                </a:lnTo>
                <a:lnTo>
                  <a:pt x="4771" y="6064"/>
                </a:lnTo>
                <a:lnTo>
                  <a:pt x="4773" y="6044"/>
                </a:lnTo>
                <a:lnTo>
                  <a:pt x="4772" y="6022"/>
                </a:lnTo>
                <a:lnTo>
                  <a:pt x="4770" y="6000"/>
                </a:lnTo>
                <a:lnTo>
                  <a:pt x="4770" y="6000"/>
                </a:lnTo>
                <a:lnTo>
                  <a:pt x="4778" y="5992"/>
                </a:lnTo>
                <a:lnTo>
                  <a:pt x="4798" y="5975"/>
                </a:lnTo>
                <a:lnTo>
                  <a:pt x="4809" y="5964"/>
                </a:lnTo>
                <a:lnTo>
                  <a:pt x="4819" y="5952"/>
                </a:lnTo>
                <a:lnTo>
                  <a:pt x="4827" y="5938"/>
                </a:lnTo>
                <a:lnTo>
                  <a:pt x="4830" y="5932"/>
                </a:lnTo>
                <a:lnTo>
                  <a:pt x="4832" y="5926"/>
                </a:lnTo>
                <a:lnTo>
                  <a:pt x="4832" y="5926"/>
                </a:lnTo>
                <a:lnTo>
                  <a:pt x="4834" y="5917"/>
                </a:lnTo>
                <a:lnTo>
                  <a:pt x="4835" y="5908"/>
                </a:lnTo>
                <a:lnTo>
                  <a:pt x="4836" y="5899"/>
                </a:lnTo>
                <a:lnTo>
                  <a:pt x="4835" y="5892"/>
                </a:lnTo>
                <a:lnTo>
                  <a:pt x="4834" y="5886"/>
                </a:lnTo>
                <a:lnTo>
                  <a:pt x="4832" y="5880"/>
                </a:lnTo>
                <a:lnTo>
                  <a:pt x="4830" y="5875"/>
                </a:lnTo>
                <a:lnTo>
                  <a:pt x="4827" y="5870"/>
                </a:lnTo>
                <a:lnTo>
                  <a:pt x="4819" y="5861"/>
                </a:lnTo>
                <a:lnTo>
                  <a:pt x="4810" y="5851"/>
                </a:lnTo>
                <a:lnTo>
                  <a:pt x="4800" y="5842"/>
                </a:lnTo>
                <a:lnTo>
                  <a:pt x="4789" y="5831"/>
                </a:lnTo>
                <a:lnTo>
                  <a:pt x="4778" y="5818"/>
                </a:lnTo>
                <a:lnTo>
                  <a:pt x="4772" y="5810"/>
                </a:lnTo>
                <a:lnTo>
                  <a:pt x="4767" y="5801"/>
                </a:lnTo>
                <a:lnTo>
                  <a:pt x="4762" y="5792"/>
                </a:lnTo>
                <a:lnTo>
                  <a:pt x="4757" y="5782"/>
                </a:lnTo>
                <a:lnTo>
                  <a:pt x="4753" y="5770"/>
                </a:lnTo>
                <a:lnTo>
                  <a:pt x="4749" y="5757"/>
                </a:lnTo>
                <a:lnTo>
                  <a:pt x="4744" y="5743"/>
                </a:lnTo>
                <a:lnTo>
                  <a:pt x="4741" y="5727"/>
                </a:lnTo>
                <a:lnTo>
                  <a:pt x="4738" y="5710"/>
                </a:lnTo>
                <a:lnTo>
                  <a:pt x="4736" y="5691"/>
                </a:lnTo>
                <a:lnTo>
                  <a:pt x="4735" y="5670"/>
                </a:lnTo>
                <a:lnTo>
                  <a:pt x="4734" y="5648"/>
                </a:lnTo>
                <a:lnTo>
                  <a:pt x="4734" y="5623"/>
                </a:lnTo>
                <a:lnTo>
                  <a:pt x="4735" y="5597"/>
                </a:lnTo>
                <a:lnTo>
                  <a:pt x="4735" y="5597"/>
                </a:lnTo>
                <a:lnTo>
                  <a:pt x="4735" y="5579"/>
                </a:lnTo>
                <a:lnTo>
                  <a:pt x="4734" y="5573"/>
                </a:lnTo>
                <a:lnTo>
                  <a:pt x="4733" y="5568"/>
                </a:lnTo>
                <a:lnTo>
                  <a:pt x="4731" y="5563"/>
                </a:lnTo>
                <a:lnTo>
                  <a:pt x="4729" y="5559"/>
                </a:lnTo>
                <a:lnTo>
                  <a:pt x="4727" y="5556"/>
                </a:lnTo>
                <a:lnTo>
                  <a:pt x="4724" y="5553"/>
                </a:lnTo>
                <a:lnTo>
                  <a:pt x="4716" y="5547"/>
                </a:lnTo>
                <a:lnTo>
                  <a:pt x="4706" y="5540"/>
                </a:lnTo>
                <a:lnTo>
                  <a:pt x="4693" y="5530"/>
                </a:lnTo>
                <a:lnTo>
                  <a:pt x="4679" y="5518"/>
                </a:lnTo>
                <a:lnTo>
                  <a:pt x="4679" y="5518"/>
                </a:lnTo>
                <a:lnTo>
                  <a:pt x="4671" y="5508"/>
                </a:lnTo>
                <a:lnTo>
                  <a:pt x="4664" y="5498"/>
                </a:lnTo>
                <a:lnTo>
                  <a:pt x="4659" y="5487"/>
                </a:lnTo>
                <a:lnTo>
                  <a:pt x="4655" y="5477"/>
                </a:lnTo>
                <a:lnTo>
                  <a:pt x="4654" y="5469"/>
                </a:lnTo>
                <a:lnTo>
                  <a:pt x="4654" y="5466"/>
                </a:lnTo>
                <a:lnTo>
                  <a:pt x="4654" y="5464"/>
                </a:lnTo>
                <a:lnTo>
                  <a:pt x="4657" y="5462"/>
                </a:lnTo>
                <a:lnTo>
                  <a:pt x="4659" y="5461"/>
                </a:lnTo>
                <a:lnTo>
                  <a:pt x="4661" y="5461"/>
                </a:lnTo>
                <a:lnTo>
                  <a:pt x="4665" y="5462"/>
                </a:lnTo>
                <a:lnTo>
                  <a:pt x="4665" y="5462"/>
                </a:lnTo>
                <a:lnTo>
                  <a:pt x="4679" y="5468"/>
                </a:lnTo>
                <a:lnTo>
                  <a:pt x="4693" y="5472"/>
                </a:lnTo>
                <a:lnTo>
                  <a:pt x="4708" y="5475"/>
                </a:lnTo>
                <a:lnTo>
                  <a:pt x="4723" y="5476"/>
                </a:lnTo>
                <a:lnTo>
                  <a:pt x="4737" y="5477"/>
                </a:lnTo>
                <a:lnTo>
                  <a:pt x="4752" y="5478"/>
                </a:lnTo>
                <a:lnTo>
                  <a:pt x="4765" y="5477"/>
                </a:lnTo>
                <a:lnTo>
                  <a:pt x="4778" y="5476"/>
                </a:lnTo>
                <a:lnTo>
                  <a:pt x="4802" y="5473"/>
                </a:lnTo>
                <a:lnTo>
                  <a:pt x="4819" y="5469"/>
                </a:lnTo>
                <a:lnTo>
                  <a:pt x="4835" y="5465"/>
                </a:lnTo>
                <a:lnTo>
                  <a:pt x="4835" y="5465"/>
                </a:lnTo>
                <a:lnTo>
                  <a:pt x="4844" y="5369"/>
                </a:lnTo>
                <a:lnTo>
                  <a:pt x="4849" y="5294"/>
                </a:lnTo>
                <a:lnTo>
                  <a:pt x="4851" y="5239"/>
                </a:lnTo>
                <a:lnTo>
                  <a:pt x="4851" y="5201"/>
                </a:lnTo>
                <a:lnTo>
                  <a:pt x="4849" y="5176"/>
                </a:lnTo>
                <a:lnTo>
                  <a:pt x="4847" y="5161"/>
                </a:lnTo>
                <a:lnTo>
                  <a:pt x="4845" y="5155"/>
                </a:lnTo>
                <a:lnTo>
                  <a:pt x="4844" y="5153"/>
                </a:lnTo>
                <a:lnTo>
                  <a:pt x="4844" y="5153"/>
                </a:lnTo>
                <a:lnTo>
                  <a:pt x="4825" y="5154"/>
                </a:lnTo>
                <a:lnTo>
                  <a:pt x="4808" y="5153"/>
                </a:lnTo>
                <a:lnTo>
                  <a:pt x="4791" y="5152"/>
                </a:lnTo>
                <a:lnTo>
                  <a:pt x="4776" y="5151"/>
                </a:lnTo>
                <a:lnTo>
                  <a:pt x="4763" y="5149"/>
                </a:lnTo>
                <a:lnTo>
                  <a:pt x="4750" y="5146"/>
                </a:lnTo>
                <a:lnTo>
                  <a:pt x="4737" y="5143"/>
                </a:lnTo>
                <a:lnTo>
                  <a:pt x="4726" y="5139"/>
                </a:lnTo>
                <a:lnTo>
                  <a:pt x="4716" y="5135"/>
                </a:lnTo>
                <a:lnTo>
                  <a:pt x="4707" y="5131"/>
                </a:lnTo>
                <a:lnTo>
                  <a:pt x="4698" y="5125"/>
                </a:lnTo>
                <a:lnTo>
                  <a:pt x="4690" y="5120"/>
                </a:lnTo>
                <a:lnTo>
                  <a:pt x="4683" y="5114"/>
                </a:lnTo>
                <a:lnTo>
                  <a:pt x="4676" y="5109"/>
                </a:lnTo>
                <a:lnTo>
                  <a:pt x="4665" y="5096"/>
                </a:lnTo>
                <a:lnTo>
                  <a:pt x="4665" y="5096"/>
                </a:lnTo>
                <a:lnTo>
                  <a:pt x="4677" y="5099"/>
                </a:lnTo>
                <a:lnTo>
                  <a:pt x="4690" y="5101"/>
                </a:lnTo>
                <a:lnTo>
                  <a:pt x="4717" y="5103"/>
                </a:lnTo>
                <a:lnTo>
                  <a:pt x="4742" y="5103"/>
                </a:lnTo>
                <a:lnTo>
                  <a:pt x="4768" y="5101"/>
                </a:lnTo>
                <a:lnTo>
                  <a:pt x="4790" y="5097"/>
                </a:lnTo>
                <a:lnTo>
                  <a:pt x="4812" y="5091"/>
                </a:lnTo>
                <a:lnTo>
                  <a:pt x="4821" y="5088"/>
                </a:lnTo>
                <a:lnTo>
                  <a:pt x="4829" y="5084"/>
                </a:lnTo>
                <a:lnTo>
                  <a:pt x="4838" y="5078"/>
                </a:lnTo>
                <a:lnTo>
                  <a:pt x="4844" y="5074"/>
                </a:lnTo>
                <a:lnTo>
                  <a:pt x="4844" y="5074"/>
                </a:lnTo>
                <a:lnTo>
                  <a:pt x="4843" y="5026"/>
                </a:lnTo>
                <a:lnTo>
                  <a:pt x="4841" y="4978"/>
                </a:lnTo>
                <a:lnTo>
                  <a:pt x="4838" y="4923"/>
                </a:lnTo>
                <a:lnTo>
                  <a:pt x="4833" y="4868"/>
                </a:lnTo>
                <a:lnTo>
                  <a:pt x="4831" y="4843"/>
                </a:lnTo>
                <a:lnTo>
                  <a:pt x="4828" y="4821"/>
                </a:lnTo>
                <a:lnTo>
                  <a:pt x="4825" y="4802"/>
                </a:lnTo>
                <a:lnTo>
                  <a:pt x="4822" y="4788"/>
                </a:lnTo>
                <a:lnTo>
                  <a:pt x="4820" y="4783"/>
                </a:lnTo>
                <a:lnTo>
                  <a:pt x="4818" y="4780"/>
                </a:lnTo>
                <a:lnTo>
                  <a:pt x="4816" y="4778"/>
                </a:lnTo>
                <a:lnTo>
                  <a:pt x="4814" y="4778"/>
                </a:lnTo>
                <a:lnTo>
                  <a:pt x="4814" y="4778"/>
                </a:lnTo>
                <a:lnTo>
                  <a:pt x="4786" y="4785"/>
                </a:lnTo>
                <a:lnTo>
                  <a:pt x="4760" y="4790"/>
                </a:lnTo>
                <a:lnTo>
                  <a:pt x="4746" y="4791"/>
                </a:lnTo>
                <a:lnTo>
                  <a:pt x="4734" y="4792"/>
                </a:lnTo>
                <a:lnTo>
                  <a:pt x="4722" y="4792"/>
                </a:lnTo>
                <a:lnTo>
                  <a:pt x="4711" y="4791"/>
                </a:lnTo>
                <a:lnTo>
                  <a:pt x="4698" y="4789"/>
                </a:lnTo>
                <a:lnTo>
                  <a:pt x="4687" y="4787"/>
                </a:lnTo>
                <a:lnTo>
                  <a:pt x="4675" y="4784"/>
                </a:lnTo>
                <a:lnTo>
                  <a:pt x="4664" y="4780"/>
                </a:lnTo>
                <a:lnTo>
                  <a:pt x="4652" y="4775"/>
                </a:lnTo>
                <a:lnTo>
                  <a:pt x="4640" y="4770"/>
                </a:lnTo>
                <a:lnTo>
                  <a:pt x="4629" y="4762"/>
                </a:lnTo>
                <a:lnTo>
                  <a:pt x="4618" y="4755"/>
                </a:lnTo>
                <a:lnTo>
                  <a:pt x="4618" y="4755"/>
                </a:lnTo>
                <a:lnTo>
                  <a:pt x="4613" y="4752"/>
                </a:lnTo>
                <a:lnTo>
                  <a:pt x="4608" y="4748"/>
                </a:lnTo>
                <a:lnTo>
                  <a:pt x="4602" y="4740"/>
                </a:lnTo>
                <a:lnTo>
                  <a:pt x="4597" y="4731"/>
                </a:lnTo>
                <a:lnTo>
                  <a:pt x="4594" y="4721"/>
                </a:lnTo>
                <a:lnTo>
                  <a:pt x="4592" y="4709"/>
                </a:lnTo>
                <a:lnTo>
                  <a:pt x="4591" y="4699"/>
                </a:lnTo>
                <a:lnTo>
                  <a:pt x="4590" y="4677"/>
                </a:lnTo>
                <a:lnTo>
                  <a:pt x="4589" y="4655"/>
                </a:lnTo>
                <a:lnTo>
                  <a:pt x="4587" y="4646"/>
                </a:lnTo>
                <a:lnTo>
                  <a:pt x="4585" y="4638"/>
                </a:lnTo>
                <a:lnTo>
                  <a:pt x="4581" y="4631"/>
                </a:lnTo>
                <a:lnTo>
                  <a:pt x="4575" y="4624"/>
                </a:lnTo>
                <a:lnTo>
                  <a:pt x="4571" y="4621"/>
                </a:lnTo>
                <a:lnTo>
                  <a:pt x="4567" y="4619"/>
                </a:lnTo>
                <a:lnTo>
                  <a:pt x="4561" y="4618"/>
                </a:lnTo>
                <a:lnTo>
                  <a:pt x="4556" y="4617"/>
                </a:lnTo>
                <a:lnTo>
                  <a:pt x="4556" y="4617"/>
                </a:lnTo>
                <a:lnTo>
                  <a:pt x="4534" y="4610"/>
                </a:lnTo>
                <a:lnTo>
                  <a:pt x="4511" y="4603"/>
                </a:lnTo>
                <a:lnTo>
                  <a:pt x="4489" y="4595"/>
                </a:lnTo>
                <a:lnTo>
                  <a:pt x="4468" y="4585"/>
                </a:lnTo>
                <a:lnTo>
                  <a:pt x="4448" y="4575"/>
                </a:lnTo>
                <a:lnTo>
                  <a:pt x="4428" y="4564"/>
                </a:lnTo>
                <a:lnTo>
                  <a:pt x="4410" y="4554"/>
                </a:lnTo>
                <a:lnTo>
                  <a:pt x="4394" y="4543"/>
                </a:lnTo>
                <a:lnTo>
                  <a:pt x="4377" y="4531"/>
                </a:lnTo>
                <a:lnTo>
                  <a:pt x="4363" y="4521"/>
                </a:lnTo>
                <a:lnTo>
                  <a:pt x="4337" y="4501"/>
                </a:lnTo>
                <a:lnTo>
                  <a:pt x="4318" y="4482"/>
                </a:lnTo>
                <a:lnTo>
                  <a:pt x="4306" y="4467"/>
                </a:lnTo>
                <a:lnTo>
                  <a:pt x="4306" y="4467"/>
                </a:lnTo>
                <a:lnTo>
                  <a:pt x="4297" y="4455"/>
                </a:lnTo>
                <a:lnTo>
                  <a:pt x="4288" y="4442"/>
                </a:lnTo>
                <a:lnTo>
                  <a:pt x="4282" y="4431"/>
                </a:lnTo>
                <a:lnTo>
                  <a:pt x="4277" y="4420"/>
                </a:lnTo>
                <a:lnTo>
                  <a:pt x="4273" y="4410"/>
                </a:lnTo>
                <a:lnTo>
                  <a:pt x="4270" y="4401"/>
                </a:lnTo>
                <a:lnTo>
                  <a:pt x="4266" y="4384"/>
                </a:lnTo>
                <a:lnTo>
                  <a:pt x="4265" y="4371"/>
                </a:lnTo>
                <a:lnTo>
                  <a:pt x="4265" y="4361"/>
                </a:lnTo>
                <a:lnTo>
                  <a:pt x="4266" y="4352"/>
                </a:lnTo>
                <a:lnTo>
                  <a:pt x="4266" y="4352"/>
                </a:lnTo>
                <a:lnTo>
                  <a:pt x="4284" y="4362"/>
                </a:lnTo>
                <a:lnTo>
                  <a:pt x="4302" y="4368"/>
                </a:lnTo>
                <a:lnTo>
                  <a:pt x="4321" y="4373"/>
                </a:lnTo>
                <a:lnTo>
                  <a:pt x="4340" y="4376"/>
                </a:lnTo>
                <a:lnTo>
                  <a:pt x="4358" y="4378"/>
                </a:lnTo>
                <a:lnTo>
                  <a:pt x="4377" y="4377"/>
                </a:lnTo>
                <a:lnTo>
                  <a:pt x="4396" y="4374"/>
                </a:lnTo>
                <a:lnTo>
                  <a:pt x="4414" y="4370"/>
                </a:lnTo>
                <a:lnTo>
                  <a:pt x="4434" y="4130"/>
                </a:lnTo>
                <a:lnTo>
                  <a:pt x="4434" y="4130"/>
                </a:lnTo>
                <a:lnTo>
                  <a:pt x="4425" y="4129"/>
                </a:lnTo>
                <a:lnTo>
                  <a:pt x="4405" y="4126"/>
                </a:lnTo>
                <a:lnTo>
                  <a:pt x="4392" y="4123"/>
                </a:lnTo>
                <a:lnTo>
                  <a:pt x="4377" y="4119"/>
                </a:lnTo>
                <a:lnTo>
                  <a:pt x="4362" y="4115"/>
                </a:lnTo>
                <a:lnTo>
                  <a:pt x="4348" y="4109"/>
                </a:lnTo>
                <a:lnTo>
                  <a:pt x="4348" y="4109"/>
                </a:lnTo>
                <a:lnTo>
                  <a:pt x="4339" y="4105"/>
                </a:lnTo>
                <a:lnTo>
                  <a:pt x="4331" y="4100"/>
                </a:lnTo>
                <a:lnTo>
                  <a:pt x="4323" y="4094"/>
                </a:lnTo>
                <a:lnTo>
                  <a:pt x="4316" y="4088"/>
                </a:lnTo>
                <a:lnTo>
                  <a:pt x="4302" y="4074"/>
                </a:lnTo>
                <a:lnTo>
                  <a:pt x="4289" y="4061"/>
                </a:lnTo>
                <a:lnTo>
                  <a:pt x="4280" y="4048"/>
                </a:lnTo>
                <a:lnTo>
                  <a:pt x="4273" y="4038"/>
                </a:lnTo>
                <a:lnTo>
                  <a:pt x="4267" y="4028"/>
                </a:lnTo>
                <a:lnTo>
                  <a:pt x="4267" y="4028"/>
                </a:lnTo>
                <a:lnTo>
                  <a:pt x="4274" y="4031"/>
                </a:lnTo>
                <a:lnTo>
                  <a:pt x="4293" y="4039"/>
                </a:lnTo>
                <a:lnTo>
                  <a:pt x="4321" y="4047"/>
                </a:lnTo>
                <a:lnTo>
                  <a:pt x="4339" y="4051"/>
                </a:lnTo>
                <a:lnTo>
                  <a:pt x="4356" y="4054"/>
                </a:lnTo>
                <a:lnTo>
                  <a:pt x="4356" y="4054"/>
                </a:lnTo>
                <a:lnTo>
                  <a:pt x="4375" y="4056"/>
                </a:lnTo>
                <a:lnTo>
                  <a:pt x="4392" y="4057"/>
                </a:lnTo>
                <a:lnTo>
                  <a:pt x="4407" y="4055"/>
                </a:lnTo>
                <a:lnTo>
                  <a:pt x="4419" y="4053"/>
                </a:lnTo>
                <a:lnTo>
                  <a:pt x="4430" y="4051"/>
                </a:lnTo>
                <a:lnTo>
                  <a:pt x="4438" y="4049"/>
                </a:lnTo>
                <a:lnTo>
                  <a:pt x="4444" y="4046"/>
                </a:lnTo>
                <a:lnTo>
                  <a:pt x="4477" y="3775"/>
                </a:lnTo>
                <a:lnTo>
                  <a:pt x="4477" y="3775"/>
                </a:lnTo>
                <a:lnTo>
                  <a:pt x="4451" y="3776"/>
                </a:lnTo>
                <a:lnTo>
                  <a:pt x="4427" y="3775"/>
                </a:lnTo>
                <a:lnTo>
                  <a:pt x="4408" y="3773"/>
                </a:lnTo>
                <a:lnTo>
                  <a:pt x="4392" y="3768"/>
                </a:lnTo>
                <a:lnTo>
                  <a:pt x="4377" y="3762"/>
                </a:lnTo>
                <a:lnTo>
                  <a:pt x="4365" y="3755"/>
                </a:lnTo>
                <a:lnTo>
                  <a:pt x="4356" y="3747"/>
                </a:lnTo>
                <a:lnTo>
                  <a:pt x="4348" y="3739"/>
                </a:lnTo>
                <a:lnTo>
                  <a:pt x="4343" y="3731"/>
                </a:lnTo>
                <a:lnTo>
                  <a:pt x="4337" y="3722"/>
                </a:lnTo>
                <a:lnTo>
                  <a:pt x="4335" y="3713"/>
                </a:lnTo>
                <a:lnTo>
                  <a:pt x="4333" y="3705"/>
                </a:lnTo>
                <a:lnTo>
                  <a:pt x="4332" y="3697"/>
                </a:lnTo>
                <a:lnTo>
                  <a:pt x="4331" y="3691"/>
                </a:lnTo>
                <a:lnTo>
                  <a:pt x="4332" y="3682"/>
                </a:lnTo>
                <a:lnTo>
                  <a:pt x="4332" y="3682"/>
                </a:lnTo>
                <a:lnTo>
                  <a:pt x="4357" y="3677"/>
                </a:lnTo>
                <a:lnTo>
                  <a:pt x="4381" y="3671"/>
                </a:lnTo>
                <a:lnTo>
                  <a:pt x="4405" y="3663"/>
                </a:lnTo>
                <a:lnTo>
                  <a:pt x="4428" y="3656"/>
                </a:lnTo>
                <a:lnTo>
                  <a:pt x="4451" y="3647"/>
                </a:lnTo>
                <a:lnTo>
                  <a:pt x="4473" y="3637"/>
                </a:lnTo>
                <a:lnTo>
                  <a:pt x="4495" y="3626"/>
                </a:lnTo>
                <a:lnTo>
                  <a:pt x="4515" y="3613"/>
                </a:lnTo>
                <a:lnTo>
                  <a:pt x="4536" y="3601"/>
                </a:lnTo>
                <a:lnTo>
                  <a:pt x="4555" y="3588"/>
                </a:lnTo>
                <a:lnTo>
                  <a:pt x="4574" y="3573"/>
                </a:lnTo>
                <a:lnTo>
                  <a:pt x="4592" y="3558"/>
                </a:lnTo>
                <a:lnTo>
                  <a:pt x="4609" y="3543"/>
                </a:lnTo>
                <a:lnTo>
                  <a:pt x="4627" y="3526"/>
                </a:lnTo>
                <a:lnTo>
                  <a:pt x="4642" y="3510"/>
                </a:lnTo>
                <a:lnTo>
                  <a:pt x="4659" y="3493"/>
                </a:lnTo>
                <a:lnTo>
                  <a:pt x="4673" y="3474"/>
                </a:lnTo>
                <a:lnTo>
                  <a:pt x="4688" y="3456"/>
                </a:lnTo>
                <a:lnTo>
                  <a:pt x="4702" y="3437"/>
                </a:lnTo>
                <a:lnTo>
                  <a:pt x="4715" y="3418"/>
                </a:lnTo>
                <a:lnTo>
                  <a:pt x="4727" y="3399"/>
                </a:lnTo>
                <a:lnTo>
                  <a:pt x="4738" y="3379"/>
                </a:lnTo>
                <a:lnTo>
                  <a:pt x="4750" y="3360"/>
                </a:lnTo>
                <a:lnTo>
                  <a:pt x="4760" y="3339"/>
                </a:lnTo>
                <a:lnTo>
                  <a:pt x="4770" y="3319"/>
                </a:lnTo>
                <a:lnTo>
                  <a:pt x="4779" y="3298"/>
                </a:lnTo>
                <a:lnTo>
                  <a:pt x="4787" y="3278"/>
                </a:lnTo>
                <a:lnTo>
                  <a:pt x="4796" y="3257"/>
                </a:lnTo>
                <a:lnTo>
                  <a:pt x="4803" y="3237"/>
                </a:lnTo>
                <a:lnTo>
                  <a:pt x="4809" y="3217"/>
                </a:lnTo>
                <a:lnTo>
                  <a:pt x="4815" y="3196"/>
                </a:lnTo>
                <a:lnTo>
                  <a:pt x="4820" y="3177"/>
                </a:lnTo>
                <a:lnTo>
                  <a:pt x="4820" y="3177"/>
                </a:lnTo>
                <a:lnTo>
                  <a:pt x="4831" y="3183"/>
                </a:lnTo>
                <a:lnTo>
                  <a:pt x="4847" y="3189"/>
                </a:lnTo>
                <a:lnTo>
                  <a:pt x="4864" y="3195"/>
                </a:lnTo>
                <a:lnTo>
                  <a:pt x="4882" y="3200"/>
                </a:lnTo>
                <a:lnTo>
                  <a:pt x="4903" y="3203"/>
                </a:lnTo>
                <a:lnTo>
                  <a:pt x="4913" y="3204"/>
                </a:lnTo>
                <a:lnTo>
                  <a:pt x="4923" y="3205"/>
                </a:lnTo>
                <a:lnTo>
                  <a:pt x="4935" y="3204"/>
                </a:lnTo>
                <a:lnTo>
                  <a:pt x="4945" y="3203"/>
                </a:lnTo>
                <a:lnTo>
                  <a:pt x="4955" y="3201"/>
                </a:lnTo>
                <a:lnTo>
                  <a:pt x="4965" y="3198"/>
                </a:lnTo>
                <a:lnTo>
                  <a:pt x="4965" y="3198"/>
                </a:lnTo>
                <a:lnTo>
                  <a:pt x="4967" y="3170"/>
                </a:lnTo>
                <a:lnTo>
                  <a:pt x="4970" y="3103"/>
                </a:lnTo>
                <a:lnTo>
                  <a:pt x="4972" y="3067"/>
                </a:lnTo>
                <a:lnTo>
                  <a:pt x="4973" y="3033"/>
                </a:lnTo>
                <a:lnTo>
                  <a:pt x="4972" y="3005"/>
                </a:lnTo>
                <a:lnTo>
                  <a:pt x="4972" y="2995"/>
                </a:lnTo>
                <a:lnTo>
                  <a:pt x="4970" y="2989"/>
                </a:lnTo>
                <a:lnTo>
                  <a:pt x="4970" y="2989"/>
                </a:lnTo>
                <a:lnTo>
                  <a:pt x="4955" y="2987"/>
                </a:lnTo>
                <a:lnTo>
                  <a:pt x="4938" y="2984"/>
                </a:lnTo>
                <a:lnTo>
                  <a:pt x="4919" y="2979"/>
                </a:lnTo>
                <a:lnTo>
                  <a:pt x="4911" y="2976"/>
                </a:lnTo>
                <a:lnTo>
                  <a:pt x="4902" y="2973"/>
                </a:lnTo>
                <a:lnTo>
                  <a:pt x="4893" y="2968"/>
                </a:lnTo>
                <a:lnTo>
                  <a:pt x="4885" y="2964"/>
                </a:lnTo>
                <a:lnTo>
                  <a:pt x="4876" y="2958"/>
                </a:lnTo>
                <a:lnTo>
                  <a:pt x="4868" y="2951"/>
                </a:lnTo>
                <a:lnTo>
                  <a:pt x="4861" y="2944"/>
                </a:lnTo>
                <a:lnTo>
                  <a:pt x="4854" y="2935"/>
                </a:lnTo>
                <a:lnTo>
                  <a:pt x="4848" y="2926"/>
                </a:lnTo>
                <a:lnTo>
                  <a:pt x="4842" y="2915"/>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54" name="Freeform 5">
            <a:extLst>
              <a:ext uri="{FF2B5EF4-FFF2-40B4-BE49-F238E27FC236}">
                <a16:creationId xmlns:a16="http://schemas.microsoft.com/office/drawing/2014/main" id="{E518FEDE-29E1-4148-9DBF-C17BDBF2CB4F}"/>
              </a:ext>
            </a:extLst>
          </p:cNvPr>
          <p:cNvSpPr>
            <a:spLocks/>
          </p:cNvSpPr>
          <p:nvPr userDrawn="1"/>
        </p:nvSpPr>
        <p:spPr bwMode="auto">
          <a:xfrm>
            <a:off x="1528763" y="893763"/>
            <a:ext cx="160338" cy="141288"/>
          </a:xfrm>
          <a:custGeom>
            <a:avLst/>
            <a:gdLst>
              <a:gd name="T0" fmla="*/ 623 w 1210"/>
              <a:gd name="T1" fmla="*/ 1065 h 1065"/>
              <a:gd name="T2" fmla="*/ 211 w 1210"/>
              <a:gd name="T3" fmla="*/ 202 h 1065"/>
              <a:gd name="T4" fmla="*/ 194 w 1210"/>
              <a:gd name="T5" fmla="*/ 163 h 1065"/>
              <a:gd name="T6" fmla="*/ 177 w 1210"/>
              <a:gd name="T7" fmla="*/ 131 h 1065"/>
              <a:gd name="T8" fmla="*/ 160 w 1210"/>
              <a:gd name="T9" fmla="*/ 105 h 1065"/>
              <a:gd name="T10" fmla="*/ 139 w 1210"/>
              <a:gd name="T11" fmla="*/ 84 h 1065"/>
              <a:gd name="T12" fmla="*/ 115 w 1210"/>
              <a:gd name="T13" fmla="*/ 69 h 1065"/>
              <a:gd name="T14" fmla="*/ 84 w 1210"/>
              <a:gd name="T15" fmla="*/ 59 h 1065"/>
              <a:gd name="T16" fmla="*/ 47 w 1210"/>
              <a:gd name="T17" fmla="*/ 52 h 1065"/>
              <a:gd name="T18" fmla="*/ 0 w 1210"/>
              <a:gd name="T19" fmla="*/ 50 h 1065"/>
              <a:gd name="T20" fmla="*/ 566 w 1210"/>
              <a:gd name="T21" fmla="*/ 0 h 1065"/>
              <a:gd name="T22" fmla="*/ 566 w 1210"/>
              <a:gd name="T23" fmla="*/ 50 h 1065"/>
              <a:gd name="T24" fmla="*/ 516 w 1210"/>
              <a:gd name="T25" fmla="*/ 52 h 1065"/>
              <a:gd name="T26" fmla="*/ 477 w 1210"/>
              <a:gd name="T27" fmla="*/ 58 h 1065"/>
              <a:gd name="T28" fmla="*/ 448 w 1210"/>
              <a:gd name="T29" fmla="*/ 68 h 1065"/>
              <a:gd name="T30" fmla="*/ 430 w 1210"/>
              <a:gd name="T31" fmla="*/ 81 h 1065"/>
              <a:gd name="T32" fmla="*/ 421 w 1210"/>
              <a:gd name="T33" fmla="*/ 99 h 1065"/>
              <a:gd name="T34" fmla="*/ 419 w 1210"/>
              <a:gd name="T35" fmla="*/ 122 h 1065"/>
              <a:gd name="T36" fmla="*/ 425 w 1210"/>
              <a:gd name="T37" fmla="*/ 150 h 1065"/>
              <a:gd name="T38" fmla="*/ 437 w 1210"/>
              <a:gd name="T39" fmla="*/ 181 h 1065"/>
              <a:gd name="T40" fmla="*/ 922 w 1210"/>
              <a:gd name="T41" fmla="*/ 181 h 1065"/>
              <a:gd name="T42" fmla="*/ 928 w 1210"/>
              <a:gd name="T43" fmla="*/ 165 h 1065"/>
              <a:gd name="T44" fmla="*/ 937 w 1210"/>
              <a:gd name="T45" fmla="*/ 134 h 1065"/>
              <a:gd name="T46" fmla="*/ 938 w 1210"/>
              <a:gd name="T47" fmla="*/ 110 h 1065"/>
              <a:gd name="T48" fmla="*/ 932 w 1210"/>
              <a:gd name="T49" fmla="*/ 89 h 1065"/>
              <a:gd name="T50" fmla="*/ 918 w 1210"/>
              <a:gd name="T51" fmla="*/ 74 h 1065"/>
              <a:gd name="T52" fmla="*/ 894 w 1210"/>
              <a:gd name="T53" fmla="*/ 62 h 1065"/>
              <a:gd name="T54" fmla="*/ 860 w 1210"/>
              <a:gd name="T55" fmla="*/ 54 h 1065"/>
              <a:gd name="T56" fmla="*/ 817 w 1210"/>
              <a:gd name="T57" fmla="*/ 50 h 1065"/>
              <a:gd name="T58" fmla="*/ 792 w 1210"/>
              <a:gd name="T59" fmla="*/ 0 h 1065"/>
              <a:gd name="T60" fmla="*/ 1210 w 1210"/>
              <a:gd name="T61" fmla="*/ 50 h 1065"/>
              <a:gd name="T62" fmla="*/ 1189 w 1210"/>
              <a:gd name="T63" fmla="*/ 50 h 1065"/>
              <a:gd name="T64" fmla="*/ 1151 w 1210"/>
              <a:gd name="T65" fmla="*/ 53 h 1065"/>
              <a:gd name="T66" fmla="*/ 1119 w 1210"/>
              <a:gd name="T67" fmla="*/ 61 h 1065"/>
              <a:gd name="T68" fmla="*/ 1091 w 1210"/>
              <a:gd name="T69" fmla="*/ 73 h 1065"/>
              <a:gd name="T70" fmla="*/ 1068 w 1210"/>
              <a:gd name="T71" fmla="*/ 89 h 1065"/>
              <a:gd name="T72" fmla="*/ 1046 w 1210"/>
              <a:gd name="T73" fmla="*/ 113 h 1065"/>
              <a:gd name="T74" fmla="*/ 1027 w 1210"/>
              <a:gd name="T75" fmla="*/ 142 h 1065"/>
              <a:gd name="T76" fmla="*/ 1008 w 1210"/>
              <a:gd name="T77" fmla="*/ 180 h 1065"/>
              <a:gd name="T78" fmla="*/ 997 w 1210"/>
              <a:gd name="T79" fmla="*/ 202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10" h="1065">
                <a:moveTo>
                  <a:pt x="997" y="202"/>
                </a:moveTo>
                <a:lnTo>
                  <a:pt x="623" y="1065"/>
                </a:lnTo>
                <a:lnTo>
                  <a:pt x="587" y="1065"/>
                </a:lnTo>
                <a:lnTo>
                  <a:pt x="211" y="202"/>
                </a:lnTo>
                <a:lnTo>
                  <a:pt x="211" y="202"/>
                </a:lnTo>
                <a:lnTo>
                  <a:pt x="194" y="163"/>
                </a:lnTo>
                <a:lnTo>
                  <a:pt x="185" y="146"/>
                </a:lnTo>
                <a:lnTo>
                  <a:pt x="177" y="131"/>
                </a:lnTo>
                <a:lnTo>
                  <a:pt x="168" y="117"/>
                </a:lnTo>
                <a:lnTo>
                  <a:pt x="160" y="105"/>
                </a:lnTo>
                <a:lnTo>
                  <a:pt x="150" y="93"/>
                </a:lnTo>
                <a:lnTo>
                  <a:pt x="139" y="84"/>
                </a:lnTo>
                <a:lnTo>
                  <a:pt x="128" y="76"/>
                </a:lnTo>
                <a:lnTo>
                  <a:pt x="115" y="69"/>
                </a:lnTo>
                <a:lnTo>
                  <a:pt x="101" y="63"/>
                </a:lnTo>
                <a:lnTo>
                  <a:pt x="84" y="59"/>
                </a:lnTo>
                <a:lnTo>
                  <a:pt x="67" y="54"/>
                </a:lnTo>
                <a:lnTo>
                  <a:pt x="47" y="52"/>
                </a:lnTo>
                <a:lnTo>
                  <a:pt x="25" y="50"/>
                </a:lnTo>
                <a:lnTo>
                  <a:pt x="0" y="50"/>
                </a:lnTo>
                <a:lnTo>
                  <a:pt x="0" y="0"/>
                </a:lnTo>
                <a:lnTo>
                  <a:pt x="566" y="0"/>
                </a:lnTo>
                <a:lnTo>
                  <a:pt x="566" y="50"/>
                </a:lnTo>
                <a:lnTo>
                  <a:pt x="566" y="50"/>
                </a:lnTo>
                <a:lnTo>
                  <a:pt x="539" y="50"/>
                </a:lnTo>
                <a:lnTo>
                  <a:pt x="516" y="52"/>
                </a:lnTo>
                <a:lnTo>
                  <a:pt x="494" y="54"/>
                </a:lnTo>
                <a:lnTo>
                  <a:pt x="477" y="58"/>
                </a:lnTo>
                <a:lnTo>
                  <a:pt x="460" y="63"/>
                </a:lnTo>
                <a:lnTo>
                  <a:pt x="448" y="68"/>
                </a:lnTo>
                <a:lnTo>
                  <a:pt x="438" y="74"/>
                </a:lnTo>
                <a:lnTo>
                  <a:pt x="430" y="81"/>
                </a:lnTo>
                <a:lnTo>
                  <a:pt x="424" y="90"/>
                </a:lnTo>
                <a:lnTo>
                  <a:pt x="421" y="99"/>
                </a:lnTo>
                <a:lnTo>
                  <a:pt x="419" y="111"/>
                </a:lnTo>
                <a:lnTo>
                  <a:pt x="419" y="122"/>
                </a:lnTo>
                <a:lnTo>
                  <a:pt x="421" y="135"/>
                </a:lnTo>
                <a:lnTo>
                  <a:pt x="425" y="150"/>
                </a:lnTo>
                <a:lnTo>
                  <a:pt x="430" y="165"/>
                </a:lnTo>
                <a:lnTo>
                  <a:pt x="437" y="181"/>
                </a:lnTo>
                <a:lnTo>
                  <a:pt x="678" y="742"/>
                </a:lnTo>
                <a:lnTo>
                  <a:pt x="922" y="181"/>
                </a:lnTo>
                <a:lnTo>
                  <a:pt x="922" y="181"/>
                </a:lnTo>
                <a:lnTo>
                  <a:pt x="928" y="165"/>
                </a:lnTo>
                <a:lnTo>
                  <a:pt x="933" y="149"/>
                </a:lnTo>
                <a:lnTo>
                  <a:pt x="937" y="134"/>
                </a:lnTo>
                <a:lnTo>
                  <a:pt x="938" y="122"/>
                </a:lnTo>
                <a:lnTo>
                  <a:pt x="938" y="110"/>
                </a:lnTo>
                <a:lnTo>
                  <a:pt x="936" y="98"/>
                </a:lnTo>
                <a:lnTo>
                  <a:pt x="932" y="89"/>
                </a:lnTo>
                <a:lnTo>
                  <a:pt x="926" y="81"/>
                </a:lnTo>
                <a:lnTo>
                  <a:pt x="918" y="74"/>
                </a:lnTo>
                <a:lnTo>
                  <a:pt x="906" y="67"/>
                </a:lnTo>
                <a:lnTo>
                  <a:pt x="894" y="62"/>
                </a:lnTo>
                <a:lnTo>
                  <a:pt x="879" y="58"/>
                </a:lnTo>
                <a:lnTo>
                  <a:pt x="860" y="54"/>
                </a:lnTo>
                <a:lnTo>
                  <a:pt x="841" y="52"/>
                </a:lnTo>
                <a:lnTo>
                  <a:pt x="817" y="50"/>
                </a:lnTo>
                <a:lnTo>
                  <a:pt x="792" y="50"/>
                </a:lnTo>
                <a:lnTo>
                  <a:pt x="792" y="0"/>
                </a:lnTo>
                <a:lnTo>
                  <a:pt x="1210" y="0"/>
                </a:lnTo>
                <a:lnTo>
                  <a:pt x="1210" y="50"/>
                </a:lnTo>
                <a:lnTo>
                  <a:pt x="1210" y="50"/>
                </a:lnTo>
                <a:lnTo>
                  <a:pt x="1189" y="50"/>
                </a:lnTo>
                <a:lnTo>
                  <a:pt x="1169" y="51"/>
                </a:lnTo>
                <a:lnTo>
                  <a:pt x="1151" y="53"/>
                </a:lnTo>
                <a:lnTo>
                  <a:pt x="1134" y="57"/>
                </a:lnTo>
                <a:lnTo>
                  <a:pt x="1119" y="61"/>
                </a:lnTo>
                <a:lnTo>
                  <a:pt x="1105" y="66"/>
                </a:lnTo>
                <a:lnTo>
                  <a:pt x="1091" y="73"/>
                </a:lnTo>
                <a:lnTo>
                  <a:pt x="1079" y="80"/>
                </a:lnTo>
                <a:lnTo>
                  <a:pt x="1068" y="89"/>
                </a:lnTo>
                <a:lnTo>
                  <a:pt x="1057" y="100"/>
                </a:lnTo>
                <a:lnTo>
                  <a:pt x="1046" y="113"/>
                </a:lnTo>
                <a:lnTo>
                  <a:pt x="1036" y="127"/>
                </a:lnTo>
                <a:lnTo>
                  <a:pt x="1027" y="142"/>
                </a:lnTo>
                <a:lnTo>
                  <a:pt x="1017" y="161"/>
                </a:lnTo>
                <a:lnTo>
                  <a:pt x="1008" y="180"/>
                </a:lnTo>
                <a:lnTo>
                  <a:pt x="997" y="202"/>
                </a:lnTo>
                <a:lnTo>
                  <a:pt x="997" y="202"/>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55" name="Freeform 6">
            <a:extLst>
              <a:ext uri="{FF2B5EF4-FFF2-40B4-BE49-F238E27FC236}">
                <a16:creationId xmlns:a16="http://schemas.microsoft.com/office/drawing/2014/main" id="{9CE8211D-F405-5B46-8655-DE27EA85F16F}"/>
              </a:ext>
            </a:extLst>
          </p:cNvPr>
          <p:cNvSpPr>
            <a:spLocks noEditPoints="1"/>
          </p:cNvSpPr>
          <p:nvPr userDrawn="1"/>
        </p:nvSpPr>
        <p:spPr bwMode="auto">
          <a:xfrm>
            <a:off x="1671638" y="890588"/>
            <a:ext cx="160338" cy="139700"/>
          </a:xfrm>
          <a:custGeom>
            <a:avLst/>
            <a:gdLst>
              <a:gd name="T0" fmla="*/ 289 w 1210"/>
              <a:gd name="T1" fmla="*/ 883 h 1064"/>
              <a:gd name="T2" fmla="*/ 276 w 1210"/>
              <a:gd name="T3" fmla="*/ 916 h 1064"/>
              <a:gd name="T4" fmla="*/ 271 w 1210"/>
              <a:gd name="T5" fmla="*/ 943 h 1064"/>
              <a:gd name="T6" fmla="*/ 274 w 1210"/>
              <a:gd name="T7" fmla="*/ 966 h 1064"/>
              <a:gd name="T8" fmla="*/ 284 w 1210"/>
              <a:gd name="T9" fmla="*/ 983 h 1064"/>
              <a:gd name="T10" fmla="*/ 303 w 1210"/>
              <a:gd name="T11" fmla="*/ 998 h 1064"/>
              <a:gd name="T12" fmla="*/ 331 w 1210"/>
              <a:gd name="T13" fmla="*/ 1007 h 1064"/>
              <a:gd name="T14" fmla="*/ 369 w 1210"/>
              <a:gd name="T15" fmla="*/ 1013 h 1064"/>
              <a:gd name="T16" fmla="*/ 417 w 1210"/>
              <a:gd name="T17" fmla="*/ 1014 h 1064"/>
              <a:gd name="T18" fmla="*/ 0 w 1210"/>
              <a:gd name="T19" fmla="*/ 1064 h 1064"/>
              <a:gd name="T20" fmla="*/ 0 w 1210"/>
              <a:gd name="T21" fmla="*/ 1014 h 1064"/>
              <a:gd name="T22" fmla="*/ 41 w 1210"/>
              <a:gd name="T23" fmla="*/ 1013 h 1064"/>
              <a:gd name="T24" fmla="*/ 76 w 1210"/>
              <a:gd name="T25" fmla="*/ 1008 h 1064"/>
              <a:gd name="T26" fmla="*/ 106 w 1210"/>
              <a:gd name="T27" fmla="*/ 999 h 1064"/>
              <a:gd name="T28" fmla="*/ 131 w 1210"/>
              <a:gd name="T29" fmla="*/ 984 h 1064"/>
              <a:gd name="T30" fmla="*/ 153 w 1210"/>
              <a:gd name="T31" fmla="*/ 964 h 1064"/>
              <a:gd name="T32" fmla="*/ 173 w 1210"/>
              <a:gd name="T33" fmla="*/ 938 h 1064"/>
              <a:gd name="T34" fmla="*/ 192 w 1210"/>
              <a:gd name="T35" fmla="*/ 904 h 1064"/>
              <a:gd name="T36" fmla="*/ 212 w 1210"/>
              <a:gd name="T37" fmla="*/ 863 h 1064"/>
              <a:gd name="T38" fmla="*/ 623 w 1210"/>
              <a:gd name="T39" fmla="*/ 0 h 1064"/>
              <a:gd name="T40" fmla="*/ 999 w 1210"/>
              <a:gd name="T41" fmla="*/ 863 h 1064"/>
              <a:gd name="T42" fmla="*/ 1025 w 1210"/>
              <a:gd name="T43" fmla="*/ 918 h 1064"/>
              <a:gd name="T44" fmla="*/ 1041 w 1210"/>
              <a:gd name="T45" fmla="*/ 946 h 1064"/>
              <a:gd name="T46" fmla="*/ 1060 w 1210"/>
              <a:gd name="T47" fmla="*/ 970 h 1064"/>
              <a:gd name="T48" fmla="*/ 1082 w 1210"/>
              <a:gd name="T49" fmla="*/ 988 h 1064"/>
              <a:gd name="T50" fmla="*/ 1110 w 1210"/>
              <a:gd name="T51" fmla="*/ 1002 h 1064"/>
              <a:gd name="T52" fmla="*/ 1142 w 1210"/>
              <a:gd name="T53" fmla="*/ 1010 h 1064"/>
              <a:gd name="T54" fmla="*/ 1185 w 1210"/>
              <a:gd name="T55" fmla="*/ 1014 h 1064"/>
              <a:gd name="T56" fmla="*/ 1210 w 1210"/>
              <a:gd name="T57" fmla="*/ 1064 h 1064"/>
              <a:gd name="T58" fmla="*/ 647 w 1210"/>
              <a:gd name="T59" fmla="*/ 1014 h 1064"/>
              <a:gd name="T60" fmla="*/ 674 w 1210"/>
              <a:gd name="T61" fmla="*/ 1014 h 1064"/>
              <a:gd name="T62" fmla="*/ 719 w 1210"/>
              <a:gd name="T63" fmla="*/ 1010 h 1064"/>
              <a:gd name="T64" fmla="*/ 752 w 1210"/>
              <a:gd name="T65" fmla="*/ 1003 h 1064"/>
              <a:gd name="T66" fmla="*/ 775 w 1210"/>
              <a:gd name="T67" fmla="*/ 990 h 1064"/>
              <a:gd name="T68" fmla="*/ 790 w 1210"/>
              <a:gd name="T69" fmla="*/ 974 h 1064"/>
              <a:gd name="T70" fmla="*/ 795 w 1210"/>
              <a:gd name="T71" fmla="*/ 954 h 1064"/>
              <a:gd name="T72" fmla="*/ 793 w 1210"/>
              <a:gd name="T73" fmla="*/ 929 h 1064"/>
              <a:gd name="T74" fmla="*/ 783 w 1210"/>
              <a:gd name="T75" fmla="*/ 899 h 1064"/>
              <a:gd name="T76" fmla="*/ 704 w 1210"/>
              <a:gd name="T77" fmla="*/ 719 h 1064"/>
              <a:gd name="T78" fmla="*/ 289 w 1210"/>
              <a:gd name="T79" fmla="*/ 883 h 1064"/>
              <a:gd name="T80" fmla="*/ 394 w 1210"/>
              <a:gd name="T81" fmla="*/ 642 h 1064"/>
              <a:gd name="T82" fmla="*/ 533 w 1210"/>
              <a:gd name="T83" fmla="*/ 318 h 1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10" h="1064">
                <a:moveTo>
                  <a:pt x="289" y="883"/>
                </a:moveTo>
                <a:lnTo>
                  <a:pt x="289" y="883"/>
                </a:lnTo>
                <a:lnTo>
                  <a:pt x="281" y="900"/>
                </a:lnTo>
                <a:lnTo>
                  <a:pt x="276" y="916"/>
                </a:lnTo>
                <a:lnTo>
                  <a:pt x="273" y="930"/>
                </a:lnTo>
                <a:lnTo>
                  <a:pt x="271" y="943"/>
                </a:lnTo>
                <a:lnTo>
                  <a:pt x="272" y="955"/>
                </a:lnTo>
                <a:lnTo>
                  <a:pt x="274" y="966"/>
                </a:lnTo>
                <a:lnTo>
                  <a:pt x="278" y="975"/>
                </a:lnTo>
                <a:lnTo>
                  <a:pt x="284" y="983"/>
                </a:lnTo>
                <a:lnTo>
                  <a:pt x="293" y="991"/>
                </a:lnTo>
                <a:lnTo>
                  <a:pt x="303" y="998"/>
                </a:lnTo>
                <a:lnTo>
                  <a:pt x="316" y="1003"/>
                </a:lnTo>
                <a:lnTo>
                  <a:pt x="331" y="1007"/>
                </a:lnTo>
                <a:lnTo>
                  <a:pt x="349" y="1010"/>
                </a:lnTo>
                <a:lnTo>
                  <a:pt x="369" y="1013"/>
                </a:lnTo>
                <a:lnTo>
                  <a:pt x="392" y="1014"/>
                </a:lnTo>
                <a:lnTo>
                  <a:pt x="417" y="1014"/>
                </a:lnTo>
                <a:lnTo>
                  <a:pt x="417" y="1064"/>
                </a:lnTo>
                <a:lnTo>
                  <a:pt x="0" y="1064"/>
                </a:lnTo>
                <a:lnTo>
                  <a:pt x="0" y="1014"/>
                </a:lnTo>
                <a:lnTo>
                  <a:pt x="0" y="1014"/>
                </a:lnTo>
                <a:lnTo>
                  <a:pt x="22" y="1014"/>
                </a:lnTo>
                <a:lnTo>
                  <a:pt x="41" y="1013"/>
                </a:lnTo>
                <a:lnTo>
                  <a:pt x="59" y="1011"/>
                </a:lnTo>
                <a:lnTo>
                  <a:pt x="76" y="1008"/>
                </a:lnTo>
                <a:lnTo>
                  <a:pt x="91" y="1004"/>
                </a:lnTo>
                <a:lnTo>
                  <a:pt x="106" y="999"/>
                </a:lnTo>
                <a:lnTo>
                  <a:pt x="119" y="992"/>
                </a:lnTo>
                <a:lnTo>
                  <a:pt x="131" y="984"/>
                </a:lnTo>
                <a:lnTo>
                  <a:pt x="142" y="975"/>
                </a:lnTo>
                <a:lnTo>
                  <a:pt x="153" y="964"/>
                </a:lnTo>
                <a:lnTo>
                  <a:pt x="164" y="952"/>
                </a:lnTo>
                <a:lnTo>
                  <a:pt x="173" y="938"/>
                </a:lnTo>
                <a:lnTo>
                  <a:pt x="183" y="922"/>
                </a:lnTo>
                <a:lnTo>
                  <a:pt x="192" y="904"/>
                </a:lnTo>
                <a:lnTo>
                  <a:pt x="203" y="884"/>
                </a:lnTo>
                <a:lnTo>
                  <a:pt x="212" y="863"/>
                </a:lnTo>
                <a:lnTo>
                  <a:pt x="586" y="0"/>
                </a:lnTo>
                <a:lnTo>
                  <a:pt x="623" y="0"/>
                </a:lnTo>
                <a:lnTo>
                  <a:pt x="999" y="863"/>
                </a:lnTo>
                <a:lnTo>
                  <a:pt x="999" y="863"/>
                </a:lnTo>
                <a:lnTo>
                  <a:pt x="1017" y="900"/>
                </a:lnTo>
                <a:lnTo>
                  <a:pt x="1025" y="918"/>
                </a:lnTo>
                <a:lnTo>
                  <a:pt x="1033" y="933"/>
                </a:lnTo>
                <a:lnTo>
                  <a:pt x="1041" y="946"/>
                </a:lnTo>
                <a:lnTo>
                  <a:pt x="1050" y="959"/>
                </a:lnTo>
                <a:lnTo>
                  <a:pt x="1060" y="970"/>
                </a:lnTo>
                <a:lnTo>
                  <a:pt x="1071" y="980"/>
                </a:lnTo>
                <a:lnTo>
                  <a:pt x="1082" y="988"/>
                </a:lnTo>
                <a:lnTo>
                  <a:pt x="1095" y="995"/>
                </a:lnTo>
                <a:lnTo>
                  <a:pt x="1110" y="1002"/>
                </a:lnTo>
                <a:lnTo>
                  <a:pt x="1125" y="1006"/>
                </a:lnTo>
                <a:lnTo>
                  <a:pt x="1142" y="1010"/>
                </a:lnTo>
                <a:lnTo>
                  <a:pt x="1163" y="1012"/>
                </a:lnTo>
                <a:lnTo>
                  <a:pt x="1185" y="1014"/>
                </a:lnTo>
                <a:lnTo>
                  <a:pt x="1210" y="1014"/>
                </a:lnTo>
                <a:lnTo>
                  <a:pt x="1210" y="1064"/>
                </a:lnTo>
                <a:lnTo>
                  <a:pt x="647" y="1064"/>
                </a:lnTo>
                <a:lnTo>
                  <a:pt x="647" y="1014"/>
                </a:lnTo>
                <a:lnTo>
                  <a:pt x="647" y="1014"/>
                </a:lnTo>
                <a:lnTo>
                  <a:pt x="674" y="1014"/>
                </a:lnTo>
                <a:lnTo>
                  <a:pt x="698" y="1012"/>
                </a:lnTo>
                <a:lnTo>
                  <a:pt x="719" y="1010"/>
                </a:lnTo>
                <a:lnTo>
                  <a:pt x="736" y="1007"/>
                </a:lnTo>
                <a:lnTo>
                  <a:pt x="752" y="1003"/>
                </a:lnTo>
                <a:lnTo>
                  <a:pt x="765" y="996"/>
                </a:lnTo>
                <a:lnTo>
                  <a:pt x="775" y="990"/>
                </a:lnTo>
                <a:lnTo>
                  <a:pt x="783" y="983"/>
                </a:lnTo>
                <a:lnTo>
                  <a:pt x="790" y="974"/>
                </a:lnTo>
                <a:lnTo>
                  <a:pt x="793" y="965"/>
                </a:lnTo>
                <a:lnTo>
                  <a:pt x="795" y="954"/>
                </a:lnTo>
                <a:lnTo>
                  <a:pt x="795" y="942"/>
                </a:lnTo>
                <a:lnTo>
                  <a:pt x="793" y="929"/>
                </a:lnTo>
                <a:lnTo>
                  <a:pt x="789" y="915"/>
                </a:lnTo>
                <a:lnTo>
                  <a:pt x="783" y="899"/>
                </a:lnTo>
                <a:lnTo>
                  <a:pt x="776" y="883"/>
                </a:lnTo>
                <a:lnTo>
                  <a:pt x="704" y="719"/>
                </a:lnTo>
                <a:lnTo>
                  <a:pt x="359" y="719"/>
                </a:lnTo>
                <a:lnTo>
                  <a:pt x="289" y="883"/>
                </a:lnTo>
                <a:close/>
                <a:moveTo>
                  <a:pt x="533" y="318"/>
                </a:moveTo>
                <a:lnTo>
                  <a:pt x="394" y="642"/>
                </a:lnTo>
                <a:lnTo>
                  <a:pt x="671" y="642"/>
                </a:lnTo>
                <a:lnTo>
                  <a:pt x="533" y="318"/>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56" name="Freeform 7">
            <a:extLst>
              <a:ext uri="{FF2B5EF4-FFF2-40B4-BE49-F238E27FC236}">
                <a16:creationId xmlns:a16="http://schemas.microsoft.com/office/drawing/2014/main" id="{D9067B2B-2829-7444-8B91-CC44818880A8}"/>
              </a:ext>
            </a:extLst>
          </p:cNvPr>
          <p:cNvSpPr>
            <a:spLocks/>
          </p:cNvSpPr>
          <p:nvPr userDrawn="1"/>
        </p:nvSpPr>
        <p:spPr bwMode="auto">
          <a:xfrm>
            <a:off x="1849438" y="893763"/>
            <a:ext cx="131763" cy="136525"/>
          </a:xfrm>
          <a:custGeom>
            <a:avLst/>
            <a:gdLst>
              <a:gd name="T0" fmla="*/ 0 w 1002"/>
              <a:gd name="T1" fmla="*/ 0 h 1035"/>
              <a:gd name="T2" fmla="*/ 545 w 1002"/>
              <a:gd name="T3" fmla="*/ 50 h 1035"/>
              <a:gd name="T4" fmla="*/ 519 w 1002"/>
              <a:gd name="T5" fmla="*/ 50 h 1035"/>
              <a:gd name="T6" fmla="*/ 476 w 1002"/>
              <a:gd name="T7" fmla="*/ 54 h 1035"/>
              <a:gd name="T8" fmla="*/ 443 w 1002"/>
              <a:gd name="T9" fmla="*/ 63 h 1035"/>
              <a:gd name="T10" fmla="*/ 424 w 1002"/>
              <a:gd name="T11" fmla="*/ 73 h 1035"/>
              <a:gd name="T12" fmla="*/ 413 w 1002"/>
              <a:gd name="T13" fmla="*/ 81 h 1035"/>
              <a:gd name="T14" fmla="*/ 405 w 1002"/>
              <a:gd name="T15" fmla="*/ 92 h 1035"/>
              <a:gd name="T16" fmla="*/ 394 w 1002"/>
              <a:gd name="T17" fmla="*/ 113 h 1035"/>
              <a:gd name="T18" fmla="*/ 385 w 1002"/>
              <a:gd name="T19" fmla="*/ 148 h 1035"/>
              <a:gd name="T20" fmla="*/ 380 w 1002"/>
              <a:gd name="T21" fmla="*/ 194 h 1035"/>
              <a:gd name="T22" fmla="*/ 379 w 1002"/>
              <a:gd name="T23" fmla="*/ 252 h 1035"/>
              <a:gd name="T24" fmla="*/ 379 w 1002"/>
              <a:gd name="T25" fmla="*/ 756 h 1035"/>
              <a:gd name="T26" fmla="*/ 380 w 1002"/>
              <a:gd name="T27" fmla="*/ 814 h 1035"/>
              <a:gd name="T28" fmla="*/ 385 w 1002"/>
              <a:gd name="T29" fmla="*/ 860 h 1035"/>
              <a:gd name="T30" fmla="*/ 394 w 1002"/>
              <a:gd name="T31" fmla="*/ 896 h 1035"/>
              <a:gd name="T32" fmla="*/ 405 w 1002"/>
              <a:gd name="T33" fmla="*/ 915 h 1035"/>
              <a:gd name="T34" fmla="*/ 413 w 1002"/>
              <a:gd name="T35" fmla="*/ 927 h 1035"/>
              <a:gd name="T36" fmla="*/ 424 w 1002"/>
              <a:gd name="T37" fmla="*/ 936 h 1035"/>
              <a:gd name="T38" fmla="*/ 443 w 1002"/>
              <a:gd name="T39" fmla="*/ 946 h 1035"/>
              <a:gd name="T40" fmla="*/ 476 w 1002"/>
              <a:gd name="T41" fmla="*/ 954 h 1035"/>
              <a:gd name="T42" fmla="*/ 519 w 1002"/>
              <a:gd name="T43" fmla="*/ 957 h 1035"/>
              <a:gd name="T44" fmla="*/ 743 w 1002"/>
              <a:gd name="T45" fmla="*/ 957 h 1035"/>
              <a:gd name="T46" fmla="*/ 772 w 1002"/>
              <a:gd name="T47" fmla="*/ 957 h 1035"/>
              <a:gd name="T48" fmla="*/ 819 w 1002"/>
              <a:gd name="T49" fmla="*/ 953 h 1035"/>
              <a:gd name="T50" fmla="*/ 855 w 1002"/>
              <a:gd name="T51" fmla="*/ 946 h 1035"/>
              <a:gd name="T52" fmla="*/ 883 w 1002"/>
              <a:gd name="T53" fmla="*/ 934 h 1035"/>
              <a:gd name="T54" fmla="*/ 904 w 1002"/>
              <a:gd name="T55" fmla="*/ 917 h 1035"/>
              <a:gd name="T56" fmla="*/ 919 w 1002"/>
              <a:gd name="T57" fmla="*/ 897 h 1035"/>
              <a:gd name="T58" fmla="*/ 930 w 1002"/>
              <a:gd name="T59" fmla="*/ 872 h 1035"/>
              <a:gd name="T60" fmla="*/ 943 w 1002"/>
              <a:gd name="T61" fmla="*/ 826 h 1035"/>
              <a:gd name="T62" fmla="*/ 1002 w 1002"/>
              <a:gd name="T63" fmla="*/ 792 h 1035"/>
              <a:gd name="T64" fmla="*/ 0 w 1002"/>
              <a:gd name="T65" fmla="*/ 1035 h 1035"/>
              <a:gd name="T66" fmla="*/ 0 w 1002"/>
              <a:gd name="T67" fmla="*/ 985 h 1035"/>
              <a:gd name="T68" fmla="*/ 48 w 1002"/>
              <a:gd name="T69" fmla="*/ 984 h 1035"/>
              <a:gd name="T70" fmla="*/ 86 w 1002"/>
              <a:gd name="T71" fmla="*/ 978 h 1035"/>
              <a:gd name="T72" fmla="*/ 114 w 1002"/>
              <a:gd name="T73" fmla="*/ 966 h 1035"/>
              <a:gd name="T74" fmla="*/ 125 w 1002"/>
              <a:gd name="T75" fmla="*/ 958 h 1035"/>
              <a:gd name="T76" fmla="*/ 136 w 1002"/>
              <a:gd name="T77" fmla="*/ 949 h 1035"/>
              <a:gd name="T78" fmla="*/ 143 w 1002"/>
              <a:gd name="T79" fmla="*/ 937 h 1035"/>
              <a:gd name="T80" fmla="*/ 154 w 1002"/>
              <a:gd name="T81" fmla="*/ 906 h 1035"/>
              <a:gd name="T82" fmla="*/ 161 w 1002"/>
              <a:gd name="T83" fmla="*/ 866 h 1035"/>
              <a:gd name="T84" fmla="*/ 163 w 1002"/>
              <a:gd name="T85" fmla="*/ 814 h 1035"/>
              <a:gd name="T86" fmla="*/ 163 w 1002"/>
              <a:gd name="T87" fmla="*/ 252 h 1035"/>
              <a:gd name="T88" fmla="*/ 163 w 1002"/>
              <a:gd name="T89" fmla="*/ 221 h 1035"/>
              <a:gd name="T90" fmla="*/ 161 w 1002"/>
              <a:gd name="T91" fmla="*/ 169 h 1035"/>
              <a:gd name="T92" fmla="*/ 154 w 1002"/>
              <a:gd name="T93" fmla="*/ 129 h 1035"/>
              <a:gd name="T94" fmla="*/ 143 w 1002"/>
              <a:gd name="T95" fmla="*/ 98 h 1035"/>
              <a:gd name="T96" fmla="*/ 136 w 1002"/>
              <a:gd name="T97" fmla="*/ 86 h 1035"/>
              <a:gd name="T98" fmla="*/ 125 w 1002"/>
              <a:gd name="T99" fmla="*/ 77 h 1035"/>
              <a:gd name="T100" fmla="*/ 114 w 1002"/>
              <a:gd name="T101" fmla="*/ 69 h 1035"/>
              <a:gd name="T102" fmla="*/ 86 w 1002"/>
              <a:gd name="T103" fmla="*/ 58 h 1035"/>
              <a:gd name="T104" fmla="*/ 48 w 1002"/>
              <a:gd name="T105" fmla="*/ 51 h 1035"/>
              <a:gd name="T106" fmla="*/ 0 w 1002"/>
              <a:gd name="T107" fmla="*/ 50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02" h="1035">
                <a:moveTo>
                  <a:pt x="0" y="50"/>
                </a:moveTo>
                <a:lnTo>
                  <a:pt x="0" y="0"/>
                </a:lnTo>
                <a:lnTo>
                  <a:pt x="545" y="0"/>
                </a:lnTo>
                <a:lnTo>
                  <a:pt x="545" y="50"/>
                </a:lnTo>
                <a:lnTo>
                  <a:pt x="545" y="50"/>
                </a:lnTo>
                <a:lnTo>
                  <a:pt x="519" y="50"/>
                </a:lnTo>
                <a:lnTo>
                  <a:pt x="497" y="51"/>
                </a:lnTo>
                <a:lnTo>
                  <a:pt x="476" y="54"/>
                </a:lnTo>
                <a:lnTo>
                  <a:pt x="459" y="58"/>
                </a:lnTo>
                <a:lnTo>
                  <a:pt x="443" y="63"/>
                </a:lnTo>
                <a:lnTo>
                  <a:pt x="429" y="69"/>
                </a:lnTo>
                <a:lnTo>
                  <a:pt x="424" y="73"/>
                </a:lnTo>
                <a:lnTo>
                  <a:pt x="418" y="77"/>
                </a:lnTo>
                <a:lnTo>
                  <a:pt x="413" y="81"/>
                </a:lnTo>
                <a:lnTo>
                  <a:pt x="409" y="86"/>
                </a:lnTo>
                <a:lnTo>
                  <a:pt x="405" y="92"/>
                </a:lnTo>
                <a:lnTo>
                  <a:pt x="400" y="98"/>
                </a:lnTo>
                <a:lnTo>
                  <a:pt x="394" y="113"/>
                </a:lnTo>
                <a:lnTo>
                  <a:pt x="389" y="129"/>
                </a:lnTo>
                <a:lnTo>
                  <a:pt x="385" y="148"/>
                </a:lnTo>
                <a:lnTo>
                  <a:pt x="382" y="169"/>
                </a:lnTo>
                <a:lnTo>
                  <a:pt x="380" y="194"/>
                </a:lnTo>
                <a:lnTo>
                  <a:pt x="379" y="221"/>
                </a:lnTo>
                <a:lnTo>
                  <a:pt x="379" y="252"/>
                </a:lnTo>
                <a:lnTo>
                  <a:pt x="379" y="756"/>
                </a:lnTo>
                <a:lnTo>
                  <a:pt x="379" y="756"/>
                </a:lnTo>
                <a:lnTo>
                  <a:pt x="379" y="787"/>
                </a:lnTo>
                <a:lnTo>
                  <a:pt x="380" y="814"/>
                </a:lnTo>
                <a:lnTo>
                  <a:pt x="382" y="839"/>
                </a:lnTo>
                <a:lnTo>
                  <a:pt x="385" y="860"/>
                </a:lnTo>
                <a:lnTo>
                  <a:pt x="389" y="879"/>
                </a:lnTo>
                <a:lnTo>
                  <a:pt x="394" y="896"/>
                </a:lnTo>
                <a:lnTo>
                  <a:pt x="400" y="909"/>
                </a:lnTo>
                <a:lnTo>
                  <a:pt x="405" y="915"/>
                </a:lnTo>
                <a:lnTo>
                  <a:pt x="409" y="921"/>
                </a:lnTo>
                <a:lnTo>
                  <a:pt x="413" y="927"/>
                </a:lnTo>
                <a:lnTo>
                  <a:pt x="418" y="932"/>
                </a:lnTo>
                <a:lnTo>
                  <a:pt x="424" y="936"/>
                </a:lnTo>
                <a:lnTo>
                  <a:pt x="429" y="939"/>
                </a:lnTo>
                <a:lnTo>
                  <a:pt x="443" y="946"/>
                </a:lnTo>
                <a:lnTo>
                  <a:pt x="459" y="950"/>
                </a:lnTo>
                <a:lnTo>
                  <a:pt x="476" y="954"/>
                </a:lnTo>
                <a:lnTo>
                  <a:pt x="497" y="956"/>
                </a:lnTo>
                <a:lnTo>
                  <a:pt x="519" y="957"/>
                </a:lnTo>
                <a:lnTo>
                  <a:pt x="545" y="957"/>
                </a:lnTo>
                <a:lnTo>
                  <a:pt x="743" y="957"/>
                </a:lnTo>
                <a:lnTo>
                  <a:pt x="743" y="957"/>
                </a:lnTo>
                <a:lnTo>
                  <a:pt x="772" y="957"/>
                </a:lnTo>
                <a:lnTo>
                  <a:pt x="796" y="955"/>
                </a:lnTo>
                <a:lnTo>
                  <a:pt x="819" y="953"/>
                </a:lnTo>
                <a:lnTo>
                  <a:pt x="838" y="950"/>
                </a:lnTo>
                <a:lnTo>
                  <a:pt x="855" y="946"/>
                </a:lnTo>
                <a:lnTo>
                  <a:pt x="871" y="940"/>
                </a:lnTo>
                <a:lnTo>
                  <a:pt x="883" y="934"/>
                </a:lnTo>
                <a:lnTo>
                  <a:pt x="894" y="927"/>
                </a:lnTo>
                <a:lnTo>
                  <a:pt x="904" y="917"/>
                </a:lnTo>
                <a:lnTo>
                  <a:pt x="912" y="908"/>
                </a:lnTo>
                <a:lnTo>
                  <a:pt x="919" y="897"/>
                </a:lnTo>
                <a:lnTo>
                  <a:pt x="925" y="886"/>
                </a:lnTo>
                <a:lnTo>
                  <a:pt x="930" y="872"/>
                </a:lnTo>
                <a:lnTo>
                  <a:pt x="935" y="858"/>
                </a:lnTo>
                <a:lnTo>
                  <a:pt x="943" y="826"/>
                </a:lnTo>
                <a:lnTo>
                  <a:pt x="952" y="792"/>
                </a:lnTo>
                <a:lnTo>
                  <a:pt x="1002" y="792"/>
                </a:lnTo>
                <a:lnTo>
                  <a:pt x="988" y="1035"/>
                </a:lnTo>
                <a:lnTo>
                  <a:pt x="0" y="1035"/>
                </a:lnTo>
                <a:lnTo>
                  <a:pt x="0" y="985"/>
                </a:lnTo>
                <a:lnTo>
                  <a:pt x="0" y="985"/>
                </a:lnTo>
                <a:lnTo>
                  <a:pt x="25" y="985"/>
                </a:lnTo>
                <a:lnTo>
                  <a:pt x="48" y="984"/>
                </a:lnTo>
                <a:lnTo>
                  <a:pt x="68" y="982"/>
                </a:lnTo>
                <a:lnTo>
                  <a:pt x="86" y="978"/>
                </a:lnTo>
                <a:lnTo>
                  <a:pt x="101" y="973"/>
                </a:lnTo>
                <a:lnTo>
                  <a:pt x="114" y="966"/>
                </a:lnTo>
                <a:lnTo>
                  <a:pt x="120" y="963"/>
                </a:lnTo>
                <a:lnTo>
                  <a:pt x="125" y="958"/>
                </a:lnTo>
                <a:lnTo>
                  <a:pt x="131" y="954"/>
                </a:lnTo>
                <a:lnTo>
                  <a:pt x="136" y="949"/>
                </a:lnTo>
                <a:lnTo>
                  <a:pt x="140" y="943"/>
                </a:lnTo>
                <a:lnTo>
                  <a:pt x="143" y="937"/>
                </a:lnTo>
                <a:lnTo>
                  <a:pt x="150" y="923"/>
                </a:lnTo>
                <a:lnTo>
                  <a:pt x="154" y="906"/>
                </a:lnTo>
                <a:lnTo>
                  <a:pt x="158" y="888"/>
                </a:lnTo>
                <a:lnTo>
                  <a:pt x="161" y="866"/>
                </a:lnTo>
                <a:lnTo>
                  <a:pt x="162" y="842"/>
                </a:lnTo>
                <a:lnTo>
                  <a:pt x="163" y="814"/>
                </a:lnTo>
                <a:lnTo>
                  <a:pt x="163" y="783"/>
                </a:lnTo>
                <a:lnTo>
                  <a:pt x="163" y="252"/>
                </a:lnTo>
                <a:lnTo>
                  <a:pt x="163" y="252"/>
                </a:lnTo>
                <a:lnTo>
                  <a:pt x="163" y="221"/>
                </a:lnTo>
                <a:lnTo>
                  <a:pt x="162" y="194"/>
                </a:lnTo>
                <a:lnTo>
                  <a:pt x="161" y="169"/>
                </a:lnTo>
                <a:lnTo>
                  <a:pt x="158" y="148"/>
                </a:lnTo>
                <a:lnTo>
                  <a:pt x="154" y="129"/>
                </a:lnTo>
                <a:lnTo>
                  <a:pt x="150" y="113"/>
                </a:lnTo>
                <a:lnTo>
                  <a:pt x="143" y="98"/>
                </a:lnTo>
                <a:lnTo>
                  <a:pt x="140" y="92"/>
                </a:lnTo>
                <a:lnTo>
                  <a:pt x="136" y="86"/>
                </a:lnTo>
                <a:lnTo>
                  <a:pt x="131" y="81"/>
                </a:lnTo>
                <a:lnTo>
                  <a:pt x="125" y="77"/>
                </a:lnTo>
                <a:lnTo>
                  <a:pt x="120" y="73"/>
                </a:lnTo>
                <a:lnTo>
                  <a:pt x="114" y="69"/>
                </a:lnTo>
                <a:lnTo>
                  <a:pt x="101" y="63"/>
                </a:lnTo>
                <a:lnTo>
                  <a:pt x="86" y="58"/>
                </a:lnTo>
                <a:lnTo>
                  <a:pt x="68" y="54"/>
                </a:lnTo>
                <a:lnTo>
                  <a:pt x="48" y="51"/>
                </a:lnTo>
                <a:lnTo>
                  <a:pt x="25" y="50"/>
                </a:lnTo>
                <a:lnTo>
                  <a:pt x="0" y="50"/>
                </a:lnTo>
                <a:lnTo>
                  <a:pt x="0" y="50"/>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57" name="Freeform 8">
            <a:extLst>
              <a:ext uri="{FF2B5EF4-FFF2-40B4-BE49-F238E27FC236}">
                <a16:creationId xmlns:a16="http://schemas.microsoft.com/office/drawing/2014/main" id="{1D2160BE-DEA1-534A-A109-C55F9A86EF32}"/>
              </a:ext>
            </a:extLst>
          </p:cNvPr>
          <p:cNvSpPr>
            <a:spLocks/>
          </p:cNvSpPr>
          <p:nvPr userDrawn="1"/>
        </p:nvSpPr>
        <p:spPr bwMode="auto">
          <a:xfrm>
            <a:off x="1982788" y="893763"/>
            <a:ext cx="142875" cy="136525"/>
          </a:xfrm>
          <a:custGeom>
            <a:avLst/>
            <a:gdLst>
              <a:gd name="T0" fmla="*/ 1028 w 1078"/>
              <a:gd name="T1" fmla="*/ 244 h 1035"/>
              <a:gd name="T2" fmla="*/ 1019 w 1078"/>
              <a:gd name="T3" fmla="*/ 209 h 1035"/>
              <a:gd name="T4" fmla="*/ 1006 w 1078"/>
              <a:gd name="T5" fmla="*/ 163 h 1035"/>
              <a:gd name="T6" fmla="*/ 995 w 1078"/>
              <a:gd name="T7" fmla="*/ 138 h 1035"/>
              <a:gd name="T8" fmla="*/ 979 w 1078"/>
              <a:gd name="T9" fmla="*/ 118 h 1035"/>
              <a:gd name="T10" fmla="*/ 959 w 1078"/>
              <a:gd name="T11" fmla="*/ 101 h 1035"/>
              <a:gd name="T12" fmla="*/ 931 w 1078"/>
              <a:gd name="T13" fmla="*/ 90 h 1035"/>
              <a:gd name="T14" fmla="*/ 895 w 1078"/>
              <a:gd name="T15" fmla="*/ 82 h 1035"/>
              <a:gd name="T16" fmla="*/ 848 w 1078"/>
              <a:gd name="T17" fmla="*/ 78 h 1035"/>
              <a:gd name="T18" fmla="*/ 646 w 1078"/>
              <a:gd name="T19" fmla="*/ 78 h 1035"/>
              <a:gd name="T20" fmla="*/ 646 w 1078"/>
              <a:gd name="T21" fmla="*/ 783 h 1035"/>
              <a:gd name="T22" fmla="*/ 648 w 1078"/>
              <a:gd name="T23" fmla="*/ 842 h 1035"/>
              <a:gd name="T24" fmla="*/ 652 w 1078"/>
              <a:gd name="T25" fmla="*/ 888 h 1035"/>
              <a:gd name="T26" fmla="*/ 661 w 1078"/>
              <a:gd name="T27" fmla="*/ 923 h 1035"/>
              <a:gd name="T28" fmla="*/ 672 w 1078"/>
              <a:gd name="T29" fmla="*/ 943 h 1035"/>
              <a:gd name="T30" fmla="*/ 680 w 1078"/>
              <a:gd name="T31" fmla="*/ 954 h 1035"/>
              <a:gd name="T32" fmla="*/ 691 w 1078"/>
              <a:gd name="T33" fmla="*/ 963 h 1035"/>
              <a:gd name="T34" fmla="*/ 711 w 1078"/>
              <a:gd name="T35" fmla="*/ 973 h 1035"/>
              <a:gd name="T36" fmla="*/ 743 w 1078"/>
              <a:gd name="T37" fmla="*/ 982 h 1035"/>
              <a:gd name="T38" fmla="*/ 786 w 1078"/>
              <a:gd name="T39" fmla="*/ 985 h 1035"/>
              <a:gd name="T40" fmla="*/ 812 w 1078"/>
              <a:gd name="T41" fmla="*/ 1035 h 1035"/>
              <a:gd name="T42" fmla="*/ 267 w 1078"/>
              <a:gd name="T43" fmla="*/ 985 h 1035"/>
              <a:gd name="T44" fmla="*/ 292 w 1078"/>
              <a:gd name="T45" fmla="*/ 985 h 1035"/>
              <a:gd name="T46" fmla="*/ 335 w 1078"/>
              <a:gd name="T47" fmla="*/ 982 h 1035"/>
              <a:gd name="T48" fmla="*/ 368 w 1078"/>
              <a:gd name="T49" fmla="*/ 973 h 1035"/>
              <a:gd name="T50" fmla="*/ 387 w 1078"/>
              <a:gd name="T51" fmla="*/ 963 h 1035"/>
              <a:gd name="T52" fmla="*/ 398 w 1078"/>
              <a:gd name="T53" fmla="*/ 954 h 1035"/>
              <a:gd name="T54" fmla="*/ 407 w 1078"/>
              <a:gd name="T55" fmla="*/ 943 h 1035"/>
              <a:gd name="T56" fmla="*/ 417 w 1078"/>
              <a:gd name="T57" fmla="*/ 923 h 1035"/>
              <a:gd name="T58" fmla="*/ 425 w 1078"/>
              <a:gd name="T59" fmla="*/ 888 h 1035"/>
              <a:gd name="T60" fmla="*/ 429 w 1078"/>
              <a:gd name="T61" fmla="*/ 842 h 1035"/>
              <a:gd name="T62" fmla="*/ 431 w 1078"/>
              <a:gd name="T63" fmla="*/ 783 h 1035"/>
              <a:gd name="T64" fmla="*/ 259 w 1078"/>
              <a:gd name="T65" fmla="*/ 78 h 1035"/>
              <a:gd name="T66" fmla="*/ 231 w 1078"/>
              <a:gd name="T67" fmla="*/ 78 h 1035"/>
              <a:gd name="T68" fmla="*/ 184 w 1078"/>
              <a:gd name="T69" fmla="*/ 82 h 1035"/>
              <a:gd name="T70" fmla="*/ 147 w 1078"/>
              <a:gd name="T71" fmla="*/ 90 h 1035"/>
              <a:gd name="T72" fmla="*/ 120 w 1078"/>
              <a:gd name="T73" fmla="*/ 101 h 1035"/>
              <a:gd name="T74" fmla="*/ 99 w 1078"/>
              <a:gd name="T75" fmla="*/ 118 h 1035"/>
              <a:gd name="T76" fmla="*/ 85 w 1078"/>
              <a:gd name="T77" fmla="*/ 138 h 1035"/>
              <a:gd name="T78" fmla="*/ 74 w 1078"/>
              <a:gd name="T79" fmla="*/ 163 h 1035"/>
              <a:gd name="T80" fmla="*/ 60 w 1078"/>
              <a:gd name="T81" fmla="*/ 209 h 1035"/>
              <a:gd name="T82" fmla="*/ 0 w 1078"/>
              <a:gd name="T83" fmla="*/ 244 h 1035"/>
              <a:gd name="T84" fmla="*/ 1064 w 1078"/>
              <a:gd name="T85" fmla="*/ 0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8" h="1035">
                <a:moveTo>
                  <a:pt x="1078" y="244"/>
                </a:moveTo>
                <a:lnTo>
                  <a:pt x="1028" y="244"/>
                </a:lnTo>
                <a:lnTo>
                  <a:pt x="1019" y="209"/>
                </a:lnTo>
                <a:lnTo>
                  <a:pt x="1019" y="209"/>
                </a:lnTo>
                <a:lnTo>
                  <a:pt x="1011" y="177"/>
                </a:lnTo>
                <a:lnTo>
                  <a:pt x="1006" y="163"/>
                </a:lnTo>
                <a:lnTo>
                  <a:pt x="1001" y="150"/>
                </a:lnTo>
                <a:lnTo>
                  <a:pt x="995" y="138"/>
                </a:lnTo>
                <a:lnTo>
                  <a:pt x="988" y="127"/>
                </a:lnTo>
                <a:lnTo>
                  <a:pt x="979" y="118"/>
                </a:lnTo>
                <a:lnTo>
                  <a:pt x="970" y="109"/>
                </a:lnTo>
                <a:lnTo>
                  <a:pt x="959" y="101"/>
                </a:lnTo>
                <a:lnTo>
                  <a:pt x="946" y="95"/>
                </a:lnTo>
                <a:lnTo>
                  <a:pt x="931" y="90"/>
                </a:lnTo>
                <a:lnTo>
                  <a:pt x="914" y="85"/>
                </a:lnTo>
                <a:lnTo>
                  <a:pt x="895" y="82"/>
                </a:lnTo>
                <a:lnTo>
                  <a:pt x="872" y="80"/>
                </a:lnTo>
                <a:lnTo>
                  <a:pt x="848" y="78"/>
                </a:lnTo>
                <a:lnTo>
                  <a:pt x="819" y="78"/>
                </a:lnTo>
                <a:lnTo>
                  <a:pt x="646" y="78"/>
                </a:lnTo>
                <a:lnTo>
                  <a:pt x="646" y="783"/>
                </a:lnTo>
                <a:lnTo>
                  <a:pt x="646" y="783"/>
                </a:lnTo>
                <a:lnTo>
                  <a:pt x="647" y="814"/>
                </a:lnTo>
                <a:lnTo>
                  <a:pt x="648" y="842"/>
                </a:lnTo>
                <a:lnTo>
                  <a:pt x="649" y="866"/>
                </a:lnTo>
                <a:lnTo>
                  <a:pt x="652" y="888"/>
                </a:lnTo>
                <a:lnTo>
                  <a:pt x="656" y="906"/>
                </a:lnTo>
                <a:lnTo>
                  <a:pt x="661" y="923"/>
                </a:lnTo>
                <a:lnTo>
                  <a:pt x="668" y="937"/>
                </a:lnTo>
                <a:lnTo>
                  <a:pt x="672" y="943"/>
                </a:lnTo>
                <a:lnTo>
                  <a:pt x="676" y="949"/>
                </a:lnTo>
                <a:lnTo>
                  <a:pt x="680" y="954"/>
                </a:lnTo>
                <a:lnTo>
                  <a:pt x="685" y="958"/>
                </a:lnTo>
                <a:lnTo>
                  <a:pt x="691" y="963"/>
                </a:lnTo>
                <a:lnTo>
                  <a:pt x="697" y="966"/>
                </a:lnTo>
                <a:lnTo>
                  <a:pt x="711" y="973"/>
                </a:lnTo>
                <a:lnTo>
                  <a:pt x="726" y="978"/>
                </a:lnTo>
                <a:lnTo>
                  <a:pt x="743" y="982"/>
                </a:lnTo>
                <a:lnTo>
                  <a:pt x="764" y="984"/>
                </a:lnTo>
                <a:lnTo>
                  <a:pt x="786" y="985"/>
                </a:lnTo>
                <a:lnTo>
                  <a:pt x="812" y="985"/>
                </a:lnTo>
                <a:lnTo>
                  <a:pt x="812" y="1035"/>
                </a:lnTo>
                <a:lnTo>
                  <a:pt x="267" y="1035"/>
                </a:lnTo>
                <a:lnTo>
                  <a:pt x="267" y="985"/>
                </a:lnTo>
                <a:lnTo>
                  <a:pt x="267" y="985"/>
                </a:lnTo>
                <a:lnTo>
                  <a:pt x="292" y="985"/>
                </a:lnTo>
                <a:lnTo>
                  <a:pt x="315" y="984"/>
                </a:lnTo>
                <a:lnTo>
                  <a:pt x="335" y="982"/>
                </a:lnTo>
                <a:lnTo>
                  <a:pt x="353" y="978"/>
                </a:lnTo>
                <a:lnTo>
                  <a:pt x="368" y="973"/>
                </a:lnTo>
                <a:lnTo>
                  <a:pt x="381" y="966"/>
                </a:lnTo>
                <a:lnTo>
                  <a:pt x="387" y="963"/>
                </a:lnTo>
                <a:lnTo>
                  <a:pt x="394" y="958"/>
                </a:lnTo>
                <a:lnTo>
                  <a:pt x="398" y="954"/>
                </a:lnTo>
                <a:lnTo>
                  <a:pt x="403" y="949"/>
                </a:lnTo>
                <a:lnTo>
                  <a:pt x="407" y="943"/>
                </a:lnTo>
                <a:lnTo>
                  <a:pt x="411" y="937"/>
                </a:lnTo>
                <a:lnTo>
                  <a:pt x="417" y="923"/>
                </a:lnTo>
                <a:lnTo>
                  <a:pt x="422" y="906"/>
                </a:lnTo>
                <a:lnTo>
                  <a:pt x="425" y="888"/>
                </a:lnTo>
                <a:lnTo>
                  <a:pt x="428" y="866"/>
                </a:lnTo>
                <a:lnTo>
                  <a:pt x="429" y="842"/>
                </a:lnTo>
                <a:lnTo>
                  <a:pt x="430" y="814"/>
                </a:lnTo>
                <a:lnTo>
                  <a:pt x="431" y="783"/>
                </a:lnTo>
                <a:lnTo>
                  <a:pt x="431" y="78"/>
                </a:lnTo>
                <a:lnTo>
                  <a:pt x="259" y="78"/>
                </a:lnTo>
                <a:lnTo>
                  <a:pt x="259" y="78"/>
                </a:lnTo>
                <a:lnTo>
                  <a:pt x="231" y="78"/>
                </a:lnTo>
                <a:lnTo>
                  <a:pt x="205" y="80"/>
                </a:lnTo>
                <a:lnTo>
                  <a:pt x="184" y="82"/>
                </a:lnTo>
                <a:lnTo>
                  <a:pt x="165" y="85"/>
                </a:lnTo>
                <a:lnTo>
                  <a:pt x="147" y="90"/>
                </a:lnTo>
                <a:lnTo>
                  <a:pt x="133" y="95"/>
                </a:lnTo>
                <a:lnTo>
                  <a:pt x="120" y="101"/>
                </a:lnTo>
                <a:lnTo>
                  <a:pt x="108" y="109"/>
                </a:lnTo>
                <a:lnTo>
                  <a:pt x="99" y="118"/>
                </a:lnTo>
                <a:lnTo>
                  <a:pt x="91" y="127"/>
                </a:lnTo>
                <a:lnTo>
                  <a:pt x="85" y="138"/>
                </a:lnTo>
                <a:lnTo>
                  <a:pt x="79" y="150"/>
                </a:lnTo>
                <a:lnTo>
                  <a:pt x="74" y="163"/>
                </a:lnTo>
                <a:lnTo>
                  <a:pt x="68" y="177"/>
                </a:lnTo>
                <a:lnTo>
                  <a:pt x="60" y="209"/>
                </a:lnTo>
                <a:lnTo>
                  <a:pt x="51" y="244"/>
                </a:lnTo>
                <a:lnTo>
                  <a:pt x="0" y="244"/>
                </a:lnTo>
                <a:lnTo>
                  <a:pt x="15" y="0"/>
                </a:lnTo>
                <a:lnTo>
                  <a:pt x="1064" y="0"/>
                </a:lnTo>
                <a:lnTo>
                  <a:pt x="1078" y="244"/>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58" name="Freeform 9">
            <a:extLst>
              <a:ext uri="{FF2B5EF4-FFF2-40B4-BE49-F238E27FC236}">
                <a16:creationId xmlns:a16="http://schemas.microsoft.com/office/drawing/2014/main" id="{7DCC9B10-BD4A-BD4C-B031-9A4754EF4F53}"/>
              </a:ext>
            </a:extLst>
          </p:cNvPr>
          <p:cNvSpPr>
            <a:spLocks/>
          </p:cNvSpPr>
          <p:nvPr userDrawn="1"/>
        </p:nvSpPr>
        <p:spPr bwMode="auto">
          <a:xfrm>
            <a:off x="2152651" y="893763"/>
            <a:ext cx="73025" cy="136525"/>
          </a:xfrm>
          <a:custGeom>
            <a:avLst/>
            <a:gdLst>
              <a:gd name="T0" fmla="*/ 0 w 545"/>
              <a:gd name="T1" fmla="*/ 985 h 1035"/>
              <a:gd name="T2" fmla="*/ 26 w 545"/>
              <a:gd name="T3" fmla="*/ 985 h 1035"/>
              <a:gd name="T4" fmla="*/ 69 w 545"/>
              <a:gd name="T5" fmla="*/ 982 h 1035"/>
              <a:gd name="T6" fmla="*/ 102 w 545"/>
              <a:gd name="T7" fmla="*/ 973 h 1035"/>
              <a:gd name="T8" fmla="*/ 121 w 545"/>
              <a:gd name="T9" fmla="*/ 963 h 1035"/>
              <a:gd name="T10" fmla="*/ 131 w 545"/>
              <a:gd name="T11" fmla="*/ 954 h 1035"/>
              <a:gd name="T12" fmla="*/ 140 w 545"/>
              <a:gd name="T13" fmla="*/ 943 h 1035"/>
              <a:gd name="T14" fmla="*/ 151 w 545"/>
              <a:gd name="T15" fmla="*/ 923 h 1035"/>
              <a:gd name="T16" fmla="*/ 159 w 545"/>
              <a:gd name="T17" fmla="*/ 888 h 1035"/>
              <a:gd name="T18" fmla="*/ 163 w 545"/>
              <a:gd name="T19" fmla="*/ 842 h 1035"/>
              <a:gd name="T20" fmla="*/ 164 w 545"/>
              <a:gd name="T21" fmla="*/ 783 h 1035"/>
              <a:gd name="T22" fmla="*/ 164 w 545"/>
              <a:gd name="T23" fmla="*/ 252 h 1035"/>
              <a:gd name="T24" fmla="*/ 163 w 545"/>
              <a:gd name="T25" fmla="*/ 194 h 1035"/>
              <a:gd name="T26" fmla="*/ 159 w 545"/>
              <a:gd name="T27" fmla="*/ 148 h 1035"/>
              <a:gd name="T28" fmla="*/ 151 w 545"/>
              <a:gd name="T29" fmla="*/ 113 h 1035"/>
              <a:gd name="T30" fmla="*/ 140 w 545"/>
              <a:gd name="T31" fmla="*/ 92 h 1035"/>
              <a:gd name="T32" fmla="*/ 131 w 545"/>
              <a:gd name="T33" fmla="*/ 81 h 1035"/>
              <a:gd name="T34" fmla="*/ 121 w 545"/>
              <a:gd name="T35" fmla="*/ 73 h 1035"/>
              <a:gd name="T36" fmla="*/ 102 w 545"/>
              <a:gd name="T37" fmla="*/ 63 h 1035"/>
              <a:gd name="T38" fmla="*/ 69 w 545"/>
              <a:gd name="T39" fmla="*/ 54 h 1035"/>
              <a:gd name="T40" fmla="*/ 26 w 545"/>
              <a:gd name="T41" fmla="*/ 50 h 1035"/>
              <a:gd name="T42" fmla="*/ 0 w 545"/>
              <a:gd name="T43" fmla="*/ 0 h 1035"/>
              <a:gd name="T44" fmla="*/ 545 w 545"/>
              <a:gd name="T45" fmla="*/ 50 h 1035"/>
              <a:gd name="T46" fmla="*/ 520 w 545"/>
              <a:gd name="T47" fmla="*/ 50 h 1035"/>
              <a:gd name="T48" fmla="*/ 477 w 545"/>
              <a:gd name="T49" fmla="*/ 54 h 1035"/>
              <a:gd name="T50" fmla="*/ 444 w 545"/>
              <a:gd name="T51" fmla="*/ 63 h 1035"/>
              <a:gd name="T52" fmla="*/ 425 w 545"/>
              <a:gd name="T53" fmla="*/ 73 h 1035"/>
              <a:gd name="T54" fmla="*/ 413 w 545"/>
              <a:gd name="T55" fmla="*/ 81 h 1035"/>
              <a:gd name="T56" fmla="*/ 405 w 545"/>
              <a:gd name="T57" fmla="*/ 92 h 1035"/>
              <a:gd name="T58" fmla="*/ 395 w 545"/>
              <a:gd name="T59" fmla="*/ 113 h 1035"/>
              <a:gd name="T60" fmla="*/ 386 w 545"/>
              <a:gd name="T61" fmla="*/ 148 h 1035"/>
              <a:gd name="T62" fmla="*/ 381 w 545"/>
              <a:gd name="T63" fmla="*/ 194 h 1035"/>
              <a:gd name="T64" fmla="*/ 380 w 545"/>
              <a:gd name="T65" fmla="*/ 252 h 1035"/>
              <a:gd name="T66" fmla="*/ 380 w 545"/>
              <a:gd name="T67" fmla="*/ 783 h 1035"/>
              <a:gd name="T68" fmla="*/ 381 w 545"/>
              <a:gd name="T69" fmla="*/ 842 h 1035"/>
              <a:gd name="T70" fmla="*/ 386 w 545"/>
              <a:gd name="T71" fmla="*/ 888 h 1035"/>
              <a:gd name="T72" fmla="*/ 395 w 545"/>
              <a:gd name="T73" fmla="*/ 923 h 1035"/>
              <a:gd name="T74" fmla="*/ 405 w 545"/>
              <a:gd name="T75" fmla="*/ 943 h 1035"/>
              <a:gd name="T76" fmla="*/ 413 w 545"/>
              <a:gd name="T77" fmla="*/ 954 h 1035"/>
              <a:gd name="T78" fmla="*/ 425 w 545"/>
              <a:gd name="T79" fmla="*/ 963 h 1035"/>
              <a:gd name="T80" fmla="*/ 444 w 545"/>
              <a:gd name="T81" fmla="*/ 973 h 1035"/>
              <a:gd name="T82" fmla="*/ 477 w 545"/>
              <a:gd name="T83" fmla="*/ 982 h 1035"/>
              <a:gd name="T84" fmla="*/ 520 w 545"/>
              <a:gd name="T85" fmla="*/ 985 h 1035"/>
              <a:gd name="T86" fmla="*/ 545 w 545"/>
              <a:gd name="T87" fmla="*/ 1035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5" h="1035">
                <a:moveTo>
                  <a:pt x="0" y="1035"/>
                </a:moveTo>
                <a:lnTo>
                  <a:pt x="0" y="985"/>
                </a:lnTo>
                <a:lnTo>
                  <a:pt x="0" y="985"/>
                </a:lnTo>
                <a:lnTo>
                  <a:pt x="26" y="985"/>
                </a:lnTo>
                <a:lnTo>
                  <a:pt x="48" y="984"/>
                </a:lnTo>
                <a:lnTo>
                  <a:pt x="69" y="982"/>
                </a:lnTo>
                <a:lnTo>
                  <a:pt x="86" y="978"/>
                </a:lnTo>
                <a:lnTo>
                  <a:pt x="102" y="973"/>
                </a:lnTo>
                <a:lnTo>
                  <a:pt x="115" y="966"/>
                </a:lnTo>
                <a:lnTo>
                  <a:pt x="121" y="963"/>
                </a:lnTo>
                <a:lnTo>
                  <a:pt x="126" y="958"/>
                </a:lnTo>
                <a:lnTo>
                  <a:pt x="131" y="954"/>
                </a:lnTo>
                <a:lnTo>
                  <a:pt x="136" y="949"/>
                </a:lnTo>
                <a:lnTo>
                  <a:pt x="140" y="943"/>
                </a:lnTo>
                <a:lnTo>
                  <a:pt x="143" y="937"/>
                </a:lnTo>
                <a:lnTo>
                  <a:pt x="151" y="923"/>
                </a:lnTo>
                <a:lnTo>
                  <a:pt x="155" y="906"/>
                </a:lnTo>
                <a:lnTo>
                  <a:pt x="159" y="888"/>
                </a:lnTo>
                <a:lnTo>
                  <a:pt x="162" y="866"/>
                </a:lnTo>
                <a:lnTo>
                  <a:pt x="163" y="842"/>
                </a:lnTo>
                <a:lnTo>
                  <a:pt x="164" y="814"/>
                </a:lnTo>
                <a:lnTo>
                  <a:pt x="164" y="783"/>
                </a:lnTo>
                <a:lnTo>
                  <a:pt x="164" y="252"/>
                </a:lnTo>
                <a:lnTo>
                  <a:pt x="164" y="252"/>
                </a:lnTo>
                <a:lnTo>
                  <a:pt x="164" y="221"/>
                </a:lnTo>
                <a:lnTo>
                  <a:pt x="163" y="194"/>
                </a:lnTo>
                <a:lnTo>
                  <a:pt x="162" y="169"/>
                </a:lnTo>
                <a:lnTo>
                  <a:pt x="159" y="148"/>
                </a:lnTo>
                <a:lnTo>
                  <a:pt x="155" y="129"/>
                </a:lnTo>
                <a:lnTo>
                  <a:pt x="151" y="113"/>
                </a:lnTo>
                <a:lnTo>
                  <a:pt x="143" y="98"/>
                </a:lnTo>
                <a:lnTo>
                  <a:pt x="140" y="92"/>
                </a:lnTo>
                <a:lnTo>
                  <a:pt x="136" y="86"/>
                </a:lnTo>
                <a:lnTo>
                  <a:pt x="131" y="81"/>
                </a:lnTo>
                <a:lnTo>
                  <a:pt x="126" y="77"/>
                </a:lnTo>
                <a:lnTo>
                  <a:pt x="121" y="73"/>
                </a:lnTo>
                <a:lnTo>
                  <a:pt x="115" y="69"/>
                </a:lnTo>
                <a:lnTo>
                  <a:pt x="102" y="63"/>
                </a:lnTo>
                <a:lnTo>
                  <a:pt x="86" y="58"/>
                </a:lnTo>
                <a:lnTo>
                  <a:pt x="69" y="54"/>
                </a:lnTo>
                <a:lnTo>
                  <a:pt x="48" y="51"/>
                </a:lnTo>
                <a:lnTo>
                  <a:pt x="26" y="50"/>
                </a:lnTo>
                <a:lnTo>
                  <a:pt x="0" y="50"/>
                </a:lnTo>
                <a:lnTo>
                  <a:pt x="0" y="0"/>
                </a:lnTo>
                <a:lnTo>
                  <a:pt x="545" y="0"/>
                </a:lnTo>
                <a:lnTo>
                  <a:pt x="545" y="50"/>
                </a:lnTo>
                <a:lnTo>
                  <a:pt x="545" y="50"/>
                </a:lnTo>
                <a:lnTo>
                  <a:pt x="520" y="50"/>
                </a:lnTo>
                <a:lnTo>
                  <a:pt x="497" y="51"/>
                </a:lnTo>
                <a:lnTo>
                  <a:pt x="477" y="54"/>
                </a:lnTo>
                <a:lnTo>
                  <a:pt x="459" y="58"/>
                </a:lnTo>
                <a:lnTo>
                  <a:pt x="444" y="63"/>
                </a:lnTo>
                <a:lnTo>
                  <a:pt x="430" y="69"/>
                </a:lnTo>
                <a:lnTo>
                  <a:pt x="425" y="73"/>
                </a:lnTo>
                <a:lnTo>
                  <a:pt x="418" y="77"/>
                </a:lnTo>
                <a:lnTo>
                  <a:pt x="413" y="81"/>
                </a:lnTo>
                <a:lnTo>
                  <a:pt x="409" y="86"/>
                </a:lnTo>
                <a:lnTo>
                  <a:pt x="405" y="92"/>
                </a:lnTo>
                <a:lnTo>
                  <a:pt x="401" y="98"/>
                </a:lnTo>
                <a:lnTo>
                  <a:pt x="395" y="113"/>
                </a:lnTo>
                <a:lnTo>
                  <a:pt x="390" y="129"/>
                </a:lnTo>
                <a:lnTo>
                  <a:pt x="386" y="148"/>
                </a:lnTo>
                <a:lnTo>
                  <a:pt x="383" y="169"/>
                </a:lnTo>
                <a:lnTo>
                  <a:pt x="381" y="194"/>
                </a:lnTo>
                <a:lnTo>
                  <a:pt x="380" y="221"/>
                </a:lnTo>
                <a:lnTo>
                  <a:pt x="380" y="252"/>
                </a:lnTo>
                <a:lnTo>
                  <a:pt x="380" y="783"/>
                </a:lnTo>
                <a:lnTo>
                  <a:pt x="380" y="783"/>
                </a:lnTo>
                <a:lnTo>
                  <a:pt x="380" y="814"/>
                </a:lnTo>
                <a:lnTo>
                  <a:pt x="381" y="842"/>
                </a:lnTo>
                <a:lnTo>
                  <a:pt x="383" y="866"/>
                </a:lnTo>
                <a:lnTo>
                  <a:pt x="386" y="888"/>
                </a:lnTo>
                <a:lnTo>
                  <a:pt x="390" y="906"/>
                </a:lnTo>
                <a:lnTo>
                  <a:pt x="395" y="923"/>
                </a:lnTo>
                <a:lnTo>
                  <a:pt x="401" y="937"/>
                </a:lnTo>
                <a:lnTo>
                  <a:pt x="405" y="943"/>
                </a:lnTo>
                <a:lnTo>
                  <a:pt x="409" y="949"/>
                </a:lnTo>
                <a:lnTo>
                  <a:pt x="413" y="954"/>
                </a:lnTo>
                <a:lnTo>
                  <a:pt x="418" y="958"/>
                </a:lnTo>
                <a:lnTo>
                  <a:pt x="425" y="963"/>
                </a:lnTo>
                <a:lnTo>
                  <a:pt x="430" y="966"/>
                </a:lnTo>
                <a:lnTo>
                  <a:pt x="444" y="973"/>
                </a:lnTo>
                <a:lnTo>
                  <a:pt x="459" y="978"/>
                </a:lnTo>
                <a:lnTo>
                  <a:pt x="477" y="982"/>
                </a:lnTo>
                <a:lnTo>
                  <a:pt x="497" y="984"/>
                </a:lnTo>
                <a:lnTo>
                  <a:pt x="520" y="985"/>
                </a:lnTo>
                <a:lnTo>
                  <a:pt x="545" y="985"/>
                </a:lnTo>
                <a:lnTo>
                  <a:pt x="545" y="1035"/>
                </a:lnTo>
                <a:lnTo>
                  <a:pt x="0" y="1035"/>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59" name="Freeform 10">
            <a:extLst>
              <a:ext uri="{FF2B5EF4-FFF2-40B4-BE49-F238E27FC236}">
                <a16:creationId xmlns:a16="http://schemas.microsoft.com/office/drawing/2014/main" id="{3D333A13-76A2-BF4F-8FFB-06086F336512}"/>
              </a:ext>
            </a:extLst>
          </p:cNvPr>
          <p:cNvSpPr>
            <a:spLocks noEditPoints="1"/>
          </p:cNvSpPr>
          <p:nvPr userDrawn="1"/>
        </p:nvSpPr>
        <p:spPr bwMode="auto">
          <a:xfrm>
            <a:off x="2260601" y="890588"/>
            <a:ext cx="152400" cy="144463"/>
          </a:xfrm>
          <a:custGeom>
            <a:avLst/>
            <a:gdLst>
              <a:gd name="T0" fmla="*/ 489 w 1152"/>
              <a:gd name="T1" fmla="*/ 1087 h 1094"/>
              <a:gd name="T2" fmla="*/ 353 w 1152"/>
              <a:gd name="T3" fmla="*/ 1051 h 1094"/>
              <a:gd name="T4" fmla="*/ 232 w 1152"/>
              <a:gd name="T5" fmla="*/ 984 h 1094"/>
              <a:gd name="T6" fmla="*/ 132 w 1152"/>
              <a:gd name="T7" fmla="*/ 894 h 1094"/>
              <a:gd name="T8" fmla="*/ 57 w 1152"/>
              <a:gd name="T9" fmla="*/ 783 h 1094"/>
              <a:gd name="T10" fmla="*/ 12 w 1152"/>
              <a:gd name="T11" fmla="*/ 656 h 1094"/>
              <a:gd name="T12" fmla="*/ 0 w 1152"/>
              <a:gd name="T13" fmla="*/ 547 h 1094"/>
              <a:gd name="T14" fmla="*/ 19 w 1152"/>
              <a:gd name="T15" fmla="*/ 411 h 1094"/>
              <a:gd name="T16" fmla="*/ 70 w 1152"/>
              <a:gd name="T17" fmla="*/ 287 h 1094"/>
              <a:gd name="T18" fmla="*/ 151 w 1152"/>
              <a:gd name="T19" fmla="*/ 180 h 1094"/>
              <a:gd name="T20" fmla="*/ 255 w 1152"/>
              <a:gd name="T21" fmla="*/ 94 h 1094"/>
              <a:gd name="T22" fmla="*/ 379 w 1152"/>
              <a:gd name="T23" fmla="*/ 33 h 1094"/>
              <a:gd name="T24" fmla="*/ 518 w 1152"/>
              <a:gd name="T25" fmla="*/ 3 h 1094"/>
              <a:gd name="T26" fmla="*/ 635 w 1152"/>
              <a:gd name="T27" fmla="*/ 3 h 1094"/>
              <a:gd name="T28" fmla="*/ 773 w 1152"/>
              <a:gd name="T29" fmla="*/ 33 h 1094"/>
              <a:gd name="T30" fmla="*/ 897 w 1152"/>
              <a:gd name="T31" fmla="*/ 94 h 1094"/>
              <a:gd name="T32" fmla="*/ 1001 w 1152"/>
              <a:gd name="T33" fmla="*/ 180 h 1094"/>
              <a:gd name="T34" fmla="*/ 1082 w 1152"/>
              <a:gd name="T35" fmla="*/ 287 h 1094"/>
              <a:gd name="T36" fmla="*/ 1133 w 1152"/>
              <a:gd name="T37" fmla="*/ 411 h 1094"/>
              <a:gd name="T38" fmla="*/ 1152 w 1152"/>
              <a:gd name="T39" fmla="*/ 547 h 1094"/>
              <a:gd name="T40" fmla="*/ 1139 w 1152"/>
              <a:gd name="T41" fmla="*/ 656 h 1094"/>
              <a:gd name="T42" fmla="*/ 1094 w 1152"/>
              <a:gd name="T43" fmla="*/ 783 h 1094"/>
              <a:gd name="T44" fmla="*/ 1020 w 1152"/>
              <a:gd name="T45" fmla="*/ 894 h 1094"/>
              <a:gd name="T46" fmla="*/ 919 w 1152"/>
              <a:gd name="T47" fmla="*/ 984 h 1094"/>
              <a:gd name="T48" fmla="*/ 800 w 1152"/>
              <a:gd name="T49" fmla="*/ 1051 h 1094"/>
              <a:gd name="T50" fmla="*/ 664 w 1152"/>
              <a:gd name="T51" fmla="*/ 1087 h 1094"/>
              <a:gd name="T52" fmla="*/ 577 w 1152"/>
              <a:gd name="T53" fmla="*/ 82 h 1094"/>
              <a:gd name="T54" fmla="*/ 492 w 1152"/>
              <a:gd name="T55" fmla="*/ 94 h 1094"/>
              <a:gd name="T56" fmla="*/ 404 w 1152"/>
              <a:gd name="T57" fmla="*/ 137 h 1094"/>
              <a:gd name="T58" fmla="*/ 336 w 1152"/>
              <a:gd name="T59" fmla="*/ 204 h 1094"/>
              <a:gd name="T60" fmla="*/ 285 w 1152"/>
              <a:gd name="T61" fmla="*/ 290 h 1094"/>
              <a:gd name="T62" fmla="*/ 253 w 1152"/>
              <a:gd name="T63" fmla="*/ 386 h 1094"/>
              <a:gd name="T64" fmla="*/ 234 w 1152"/>
              <a:gd name="T65" fmla="*/ 507 h 1094"/>
              <a:gd name="T66" fmla="*/ 240 w 1152"/>
              <a:gd name="T67" fmla="*/ 647 h 1094"/>
              <a:gd name="T68" fmla="*/ 264 w 1152"/>
              <a:gd name="T69" fmla="*/ 747 h 1094"/>
              <a:gd name="T70" fmla="*/ 303 w 1152"/>
              <a:gd name="T71" fmla="*/ 840 h 1094"/>
              <a:gd name="T72" fmla="*/ 360 w 1152"/>
              <a:gd name="T73" fmla="*/ 919 h 1094"/>
              <a:gd name="T74" fmla="*/ 437 w 1152"/>
              <a:gd name="T75" fmla="*/ 977 h 1094"/>
              <a:gd name="T76" fmla="*/ 533 w 1152"/>
              <a:gd name="T77" fmla="*/ 1008 h 1094"/>
              <a:gd name="T78" fmla="*/ 621 w 1152"/>
              <a:gd name="T79" fmla="*/ 1008 h 1094"/>
              <a:gd name="T80" fmla="*/ 716 w 1152"/>
              <a:gd name="T81" fmla="*/ 977 h 1094"/>
              <a:gd name="T82" fmla="*/ 793 w 1152"/>
              <a:gd name="T83" fmla="*/ 919 h 1094"/>
              <a:gd name="T84" fmla="*/ 850 w 1152"/>
              <a:gd name="T85" fmla="*/ 840 h 1094"/>
              <a:gd name="T86" fmla="*/ 890 w 1152"/>
              <a:gd name="T87" fmla="*/ 747 h 1094"/>
              <a:gd name="T88" fmla="*/ 912 w 1152"/>
              <a:gd name="T89" fmla="*/ 647 h 1094"/>
              <a:gd name="T90" fmla="*/ 918 w 1152"/>
              <a:gd name="T91" fmla="*/ 507 h 1094"/>
              <a:gd name="T92" fmla="*/ 901 w 1152"/>
              <a:gd name="T93" fmla="*/ 386 h 1094"/>
              <a:gd name="T94" fmla="*/ 867 w 1152"/>
              <a:gd name="T95" fmla="*/ 290 h 1094"/>
              <a:gd name="T96" fmla="*/ 817 w 1152"/>
              <a:gd name="T97" fmla="*/ 204 h 1094"/>
              <a:gd name="T98" fmla="*/ 749 w 1152"/>
              <a:gd name="T99" fmla="*/ 137 h 1094"/>
              <a:gd name="T100" fmla="*/ 662 w 1152"/>
              <a:gd name="T101" fmla="*/ 94 h 1094"/>
              <a:gd name="T102" fmla="*/ 577 w 1152"/>
              <a:gd name="T103" fmla="*/ 82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52" h="1094">
                <a:moveTo>
                  <a:pt x="577" y="1094"/>
                </a:moveTo>
                <a:lnTo>
                  <a:pt x="577" y="1094"/>
                </a:lnTo>
                <a:lnTo>
                  <a:pt x="547" y="1093"/>
                </a:lnTo>
                <a:lnTo>
                  <a:pt x="518" y="1091"/>
                </a:lnTo>
                <a:lnTo>
                  <a:pt x="489" y="1087"/>
                </a:lnTo>
                <a:lnTo>
                  <a:pt x="460" y="1082"/>
                </a:lnTo>
                <a:lnTo>
                  <a:pt x="433" y="1076"/>
                </a:lnTo>
                <a:lnTo>
                  <a:pt x="406" y="1069"/>
                </a:lnTo>
                <a:lnTo>
                  <a:pt x="379" y="1060"/>
                </a:lnTo>
                <a:lnTo>
                  <a:pt x="353" y="1051"/>
                </a:lnTo>
                <a:lnTo>
                  <a:pt x="327" y="1039"/>
                </a:lnTo>
                <a:lnTo>
                  <a:pt x="303" y="1027"/>
                </a:lnTo>
                <a:lnTo>
                  <a:pt x="278" y="1014"/>
                </a:lnTo>
                <a:lnTo>
                  <a:pt x="255" y="1000"/>
                </a:lnTo>
                <a:lnTo>
                  <a:pt x="232" y="984"/>
                </a:lnTo>
                <a:lnTo>
                  <a:pt x="211" y="968"/>
                </a:lnTo>
                <a:lnTo>
                  <a:pt x="189" y="950"/>
                </a:lnTo>
                <a:lnTo>
                  <a:pt x="170" y="933"/>
                </a:lnTo>
                <a:lnTo>
                  <a:pt x="151" y="914"/>
                </a:lnTo>
                <a:lnTo>
                  <a:pt x="132" y="894"/>
                </a:lnTo>
                <a:lnTo>
                  <a:pt x="115" y="873"/>
                </a:lnTo>
                <a:lnTo>
                  <a:pt x="99" y="851"/>
                </a:lnTo>
                <a:lnTo>
                  <a:pt x="84" y="830"/>
                </a:lnTo>
                <a:lnTo>
                  <a:pt x="70" y="806"/>
                </a:lnTo>
                <a:lnTo>
                  <a:pt x="57" y="783"/>
                </a:lnTo>
                <a:lnTo>
                  <a:pt x="46" y="758"/>
                </a:lnTo>
                <a:lnTo>
                  <a:pt x="36" y="734"/>
                </a:lnTo>
                <a:lnTo>
                  <a:pt x="27" y="708"/>
                </a:lnTo>
                <a:lnTo>
                  <a:pt x="19" y="683"/>
                </a:lnTo>
                <a:lnTo>
                  <a:pt x="12" y="656"/>
                </a:lnTo>
                <a:lnTo>
                  <a:pt x="7" y="629"/>
                </a:lnTo>
                <a:lnTo>
                  <a:pt x="3" y="602"/>
                </a:lnTo>
                <a:lnTo>
                  <a:pt x="1" y="574"/>
                </a:lnTo>
                <a:lnTo>
                  <a:pt x="0" y="547"/>
                </a:lnTo>
                <a:lnTo>
                  <a:pt x="0" y="547"/>
                </a:lnTo>
                <a:lnTo>
                  <a:pt x="1" y="519"/>
                </a:lnTo>
                <a:lnTo>
                  <a:pt x="3" y="491"/>
                </a:lnTo>
                <a:lnTo>
                  <a:pt x="7" y="464"/>
                </a:lnTo>
                <a:lnTo>
                  <a:pt x="12" y="437"/>
                </a:lnTo>
                <a:lnTo>
                  <a:pt x="19" y="411"/>
                </a:lnTo>
                <a:lnTo>
                  <a:pt x="27" y="385"/>
                </a:lnTo>
                <a:lnTo>
                  <a:pt x="36" y="360"/>
                </a:lnTo>
                <a:lnTo>
                  <a:pt x="46" y="335"/>
                </a:lnTo>
                <a:lnTo>
                  <a:pt x="57" y="310"/>
                </a:lnTo>
                <a:lnTo>
                  <a:pt x="70" y="287"/>
                </a:lnTo>
                <a:lnTo>
                  <a:pt x="84" y="264"/>
                </a:lnTo>
                <a:lnTo>
                  <a:pt x="99" y="242"/>
                </a:lnTo>
                <a:lnTo>
                  <a:pt x="115" y="220"/>
                </a:lnTo>
                <a:lnTo>
                  <a:pt x="132" y="200"/>
                </a:lnTo>
                <a:lnTo>
                  <a:pt x="151" y="180"/>
                </a:lnTo>
                <a:lnTo>
                  <a:pt x="170" y="161"/>
                </a:lnTo>
                <a:lnTo>
                  <a:pt x="189" y="143"/>
                </a:lnTo>
                <a:lnTo>
                  <a:pt x="211" y="125"/>
                </a:lnTo>
                <a:lnTo>
                  <a:pt x="232" y="109"/>
                </a:lnTo>
                <a:lnTo>
                  <a:pt x="255" y="94"/>
                </a:lnTo>
                <a:lnTo>
                  <a:pt x="278" y="79"/>
                </a:lnTo>
                <a:lnTo>
                  <a:pt x="303" y="66"/>
                </a:lnTo>
                <a:lnTo>
                  <a:pt x="327" y="54"/>
                </a:lnTo>
                <a:lnTo>
                  <a:pt x="353" y="44"/>
                </a:lnTo>
                <a:lnTo>
                  <a:pt x="379" y="33"/>
                </a:lnTo>
                <a:lnTo>
                  <a:pt x="406" y="24"/>
                </a:lnTo>
                <a:lnTo>
                  <a:pt x="433" y="17"/>
                </a:lnTo>
                <a:lnTo>
                  <a:pt x="460" y="11"/>
                </a:lnTo>
                <a:lnTo>
                  <a:pt x="489" y="6"/>
                </a:lnTo>
                <a:lnTo>
                  <a:pt x="518" y="3"/>
                </a:lnTo>
                <a:lnTo>
                  <a:pt x="547" y="1"/>
                </a:lnTo>
                <a:lnTo>
                  <a:pt x="577" y="0"/>
                </a:lnTo>
                <a:lnTo>
                  <a:pt x="577" y="0"/>
                </a:lnTo>
                <a:lnTo>
                  <a:pt x="607" y="1"/>
                </a:lnTo>
                <a:lnTo>
                  <a:pt x="635" y="3"/>
                </a:lnTo>
                <a:lnTo>
                  <a:pt x="664" y="6"/>
                </a:lnTo>
                <a:lnTo>
                  <a:pt x="692" y="11"/>
                </a:lnTo>
                <a:lnTo>
                  <a:pt x="720" y="17"/>
                </a:lnTo>
                <a:lnTo>
                  <a:pt x="747" y="24"/>
                </a:lnTo>
                <a:lnTo>
                  <a:pt x="773" y="33"/>
                </a:lnTo>
                <a:lnTo>
                  <a:pt x="800" y="44"/>
                </a:lnTo>
                <a:lnTo>
                  <a:pt x="825" y="54"/>
                </a:lnTo>
                <a:lnTo>
                  <a:pt x="850" y="66"/>
                </a:lnTo>
                <a:lnTo>
                  <a:pt x="873" y="79"/>
                </a:lnTo>
                <a:lnTo>
                  <a:pt x="897" y="94"/>
                </a:lnTo>
                <a:lnTo>
                  <a:pt x="919" y="109"/>
                </a:lnTo>
                <a:lnTo>
                  <a:pt x="942" y="125"/>
                </a:lnTo>
                <a:lnTo>
                  <a:pt x="962" y="143"/>
                </a:lnTo>
                <a:lnTo>
                  <a:pt x="983" y="161"/>
                </a:lnTo>
                <a:lnTo>
                  <a:pt x="1001" y="180"/>
                </a:lnTo>
                <a:lnTo>
                  <a:pt x="1020" y="200"/>
                </a:lnTo>
                <a:lnTo>
                  <a:pt x="1037" y="220"/>
                </a:lnTo>
                <a:lnTo>
                  <a:pt x="1052" y="242"/>
                </a:lnTo>
                <a:lnTo>
                  <a:pt x="1068" y="264"/>
                </a:lnTo>
                <a:lnTo>
                  <a:pt x="1082" y="287"/>
                </a:lnTo>
                <a:lnTo>
                  <a:pt x="1094" y="310"/>
                </a:lnTo>
                <a:lnTo>
                  <a:pt x="1106" y="335"/>
                </a:lnTo>
                <a:lnTo>
                  <a:pt x="1116" y="360"/>
                </a:lnTo>
                <a:lnTo>
                  <a:pt x="1125" y="385"/>
                </a:lnTo>
                <a:lnTo>
                  <a:pt x="1133" y="411"/>
                </a:lnTo>
                <a:lnTo>
                  <a:pt x="1139" y="437"/>
                </a:lnTo>
                <a:lnTo>
                  <a:pt x="1144" y="464"/>
                </a:lnTo>
                <a:lnTo>
                  <a:pt x="1148" y="491"/>
                </a:lnTo>
                <a:lnTo>
                  <a:pt x="1151" y="519"/>
                </a:lnTo>
                <a:lnTo>
                  <a:pt x="1152" y="547"/>
                </a:lnTo>
                <a:lnTo>
                  <a:pt x="1152" y="547"/>
                </a:lnTo>
                <a:lnTo>
                  <a:pt x="1151" y="574"/>
                </a:lnTo>
                <a:lnTo>
                  <a:pt x="1148" y="602"/>
                </a:lnTo>
                <a:lnTo>
                  <a:pt x="1144" y="629"/>
                </a:lnTo>
                <a:lnTo>
                  <a:pt x="1139" y="656"/>
                </a:lnTo>
                <a:lnTo>
                  <a:pt x="1133" y="683"/>
                </a:lnTo>
                <a:lnTo>
                  <a:pt x="1125" y="708"/>
                </a:lnTo>
                <a:lnTo>
                  <a:pt x="1116" y="734"/>
                </a:lnTo>
                <a:lnTo>
                  <a:pt x="1106" y="758"/>
                </a:lnTo>
                <a:lnTo>
                  <a:pt x="1094" y="783"/>
                </a:lnTo>
                <a:lnTo>
                  <a:pt x="1082" y="806"/>
                </a:lnTo>
                <a:lnTo>
                  <a:pt x="1068" y="830"/>
                </a:lnTo>
                <a:lnTo>
                  <a:pt x="1052" y="851"/>
                </a:lnTo>
                <a:lnTo>
                  <a:pt x="1037" y="873"/>
                </a:lnTo>
                <a:lnTo>
                  <a:pt x="1020" y="894"/>
                </a:lnTo>
                <a:lnTo>
                  <a:pt x="1001" y="914"/>
                </a:lnTo>
                <a:lnTo>
                  <a:pt x="983" y="933"/>
                </a:lnTo>
                <a:lnTo>
                  <a:pt x="962" y="950"/>
                </a:lnTo>
                <a:lnTo>
                  <a:pt x="942" y="968"/>
                </a:lnTo>
                <a:lnTo>
                  <a:pt x="919" y="984"/>
                </a:lnTo>
                <a:lnTo>
                  <a:pt x="897" y="1000"/>
                </a:lnTo>
                <a:lnTo>
                  <a:pt x="873" y="1014"/>
                </a:lnTo>
                <a:lnTo>
                  <a:pt x="850" y="1027"/>
                </a:lnTo>
                <a:lnTo>
                  <a:pt x="825" y="1039"/>
                </a:lnTo>
                <a:lnTo>
                  <a:pt x="800" y="1051"/>
                </a:lnTo>
                <a:lnTo>
                  <a:pt x="773" y="1060"/>
                </a:lnTo>
                <a:lnTo>
                  <a:pt x="747" y="1069"/>
                </a:lnTo>
                <a:lnTo>
                  <a:pt x="720" y="1076"/>
                </a:lnTo>
                <a:lnTo>
                  <a:pt x="692" y="1082"/>
                </a:lnTo>
                <a:lnTo>
                  <a:pt x="664" y="1087"/>
                </a:lnTo>
                <a:lnTo>
                  <a:pt x="635" y="1091"/>
                </a:lnTo>
                <a:lnTo>
                  <a:pt x="607" y="1093"/>
                </a:lnTo>
                <a:lnTo>
                  <a:pt x="577" y="1094"/>
                </a:lnTo>
                <a:lnTo>
                  <a:pt x="577" y="1094"/>
                </a:lnTo>
                <a:close/>
                <a:moveTo>
                  <a:pt x="577" y="82"/>
                </a:moveTo>
                <a:lnTo>
                  <a:pt x="577" y="82"/>
                </a:lnTo>
                <a:lnTo>
                  <a:pt x="554" y="83"/>
                </a:lnTo>
                <a:lnTo>
                  <a:pt x="533" y="86"/>
                </a:lnTo>
                <a:lnTo>
                  <a:pt x="511" y="90"/>
                </a:lnTo>
                <a:lnTo>
                  <a:pt x="492" y="94"/>
                </a:lnTo>
                <a:lnTo>
                  <a:pt x="473" y="100"/>
                </a:lnTo>
                <a:lnTo>
                  <a:pt x="454" y="108"/>
                </a:lnTo>
                <a:lnTo>
                  <a:pt x="437" y="116"/>
                </a:lnTo>
                <a:lnTo>
                  <a:pt x="419" y="125"/>
                </a:lnTo>
                <a:lnTo>
                  <a:pt x="404" y="137"/>
                </a:lnTo>
                <a:lnTo>
                  <a:pt x="389" y="148"/>
                </a:lnTo>
                <a:lnTo>
                  <a:pt x="374" y="161"/>
                </a:lnTo>
                <a:lnTo>
                  <a:pt x="360" y="174"/>
                </a:lnTo>
                <a:lnTo>
                  <a:pt x="348" y="189"/>
                </a:lnTo>
                <a:lnTo>
                  <a:pt x="336" y="204"/>
                </a:lnTo>
                <a:lnTo>
                  <a:pt x="324" y="219"/>
                </a:lnTo>
                <a:lnTo>
                  <a:pt x="313" y="237"/>
                </a:lnTo>
                <a:lnTo>
                  <a:pt x="303" y="253"/>
                </a:lnTo>
                <a:lnTo>
                  <a:pt x="294" y="272"/>
                </a:lnTo>
                <a:lnTo>
                  <a:pt x="285" y="290"/>
                </a:lnTo>
                <a:lnTo>
                  <a:pt x="277" y="308"/>
                </a:lnTo>
                <a:lnTo>
                  <a:pt x="270" y="327"/>
                </a:lnTo>
                <a:lnTo>
                  <a:pt x="264" y="346"/>
                </a:lnTo>
                <a:lnTo>
                  <a:pt x="258" y="367"/>
                </a:lnTo>
                <a:lnTo>
                  <a:pt x="253" y="386"/>
                </a:lnTo>
                <a:lnTo>
                  <a:pt x="248" y="407"/>
                </a:lnTo>
                <a:lnTo>
                  <a:pt x="245" y="426"/>
                </a:lnTo>
                <a:lnTo>
                  <a:pt x="240" y="446"/>
                </a:lnTo>
                <a:lnTo>
                  <a:pt x="238" y="467"/>
                </a:lnTo>
                <a:lnTo>
                  <a:pt x="234" y="507"/>
                </a:lnTo>
                <a:lnTo>
                  <a:pt x="233" y="547"/>
                </a:lnTo>
                <a:lnTo>
                  <a:pt x="233" y="547"/>
                </a:lnTo>
                <a:lnTo>
                  <a:pt x="234" y="587"/>
                </a:lnTo>
                <a:lnTo>
                  <a:pt x="238" y="626"/>
                </a:lnTo>
                <a:lnTo>
                  <a:pt x="240" y="647"/>
                </a:lnTo>
                <a:lnTo>
                  <a:pt x="245" y="667"/>
                </a:lnTo>
                <a:lnTo>
                  <a:pt x="248" y="687"/>
                </a:lnTo>
                <a:lnTo>
                  <a:pt x="253" y="707"/>
                </a:lnTo>
                <a:lnTo>
                  <a:pt x="258" y="728"/>
                </a:lnTo>
                <a:lnTo>
                  <a:pt x="264" y="747"/>
                </a:lnTo>
                <a:lnTo>
                  <a:pt x="270" y="766"/>
                </a:lnTo>
                <a:lnTo>
                  <a:pt x="277" y="785"/>
                </a:lnTo>
                <a:lnTo>
                  <a:pt x="285" y="804"/>
                </a:lnTo>
                <a:lnTo>
                  <a:pt x="294" y="822"/>
                </a:lnTo>
                <a:lnTo>
                  <a:pt x="303" y="840"/>
                </a:lnTo>
                <a:lnTo>
                  <a:pt x="313" y="857"/>
                </a:lnTo>
                <a:lnTo>
                  <a:pt x="324" y="874"/>
                </a:lnTo>
                <a:lnTo>
                  <a:pt x="336" y="889"/>
                </a:lnTo>
                <a:lnTo>
                  <a:pt x="348" y="904"/>
                </a:lnTo>
                <a:lnTo>
                  <a:pt x="360" y="919"/>
                </a:lnTo>
                <a:lnTo>
                  <a:pt x="374" y="932"/>
                </a:lnTo>
                <a:lnTo>
                  <a:pt x="389" y="945"/>
                </a:lnTo>
                <a:lnTo>
                  <a:pt x="404" y="957"/>
                </a:lnTo>
                <a:lnTo>
                  <a:pt x="419" y="968"/>
                </a:lnTo>
                <a:lnTo>
                  <a:pt x="437" y="977"/>
                </a:lnTo>
                <a:lnTo>
                  <a:pt x="454" y="986"/>
                </a:lnTo>
                <a:lnTo>
                  <a:pt x="473" y="993"/>
                </a:lnTo>
                <a:lnTo>
                  <a:pt x="492" y="1000"/>
                </a:lnTo>
                <a:lnTo>
                  <a:pt x="511" y="1005"/>
                </a:lnTo>
                <a:lnTo>
                  <a:pt x="533" y="1008"/>
                </a:lnTo>
                <a:lnTo>
                  <a:pt x="554" y="1010"/>
                </a:lnTo>
                <a:lnTo>
                  <a:pt x="577" y="1011"/>
                </a:lnTo>
                <a:lnTo>
                  <a:pt x="577" y="1011"/>
                </a:lnTo>
                <a:lnTo>
                  <a:pt x="599" y="1010"/>
                </a:lnTo>
                <a:lnTo>
                  <a:pt x="621" y="1008"/>
                </a:lnTo>
                <a:lnTo>
                  <a:pt x="641" y="1005"/>
                </a:lnTo>
                <a:lnTo>
                  <a:pt x="662" y="1000"/>
                </a:lnTo>
                <a:lnTo>
                  <a:pt x="680" y="993"/>
                </a:lnTo>
                <a:lnTo>
                  <a:pt x="699" y="986"/>
                </a:lnTo>
                <a:lnTo>
                  <a:pt x="716" y="977"/>
                </a:lnTo>
                <a:lnTo>
                  <a:pt x="733" y="968"/>
                </a:lnTo>
                <a:lnTo>
                  <a:pt x="749" y="957"/>
                </a:lnTo>
                <a:lnTo>
                  <a:pt x="764" y="945"/>
                </a:lnTo>
                <a:lnTo>
                  <a:pt x="778" y="932"/>
                </a:lnTo>
                <a:lnTo>
                  <a:pt x="793" y="919"/>
                </a:lnTo>
                <a:lnTo>
                  <a:pt x="805" y="904"/>
                </a:lnTo>
                <a:lnTo>
                  <a:pt x="817" y="889"/>
                </a:lnTo>
                <a:lnTo>
                  <a:pt x="828" y="874"/>
                </a:lnTo>
                <a:lnTo>
                  <a:pt x="840" y="857"/>
                </a:lnTo>
                <a:lnTo>
                  <a:pt x="850" y="840"/>
                </a:lnTo>
                <a:lnTo>
                  <a:pt x="859" y="822"/>
                </a:lnTo>
                <a:lnTo>
                  <a:pt x="867" y="804"/>
                </a:lnTo>
                <a:lnTo>
                  <a:pt x="875" y="785"/>
                </a:lnTo>
                <a:lnTo>
                  <a:pt x="883" y="766"/>
                </a:lnTo>
                <a:lnTo>
                  <a:pt x="890" y="747"/>
                </a:lnTo>
                <a:lnTo>
                  <a:pt x="895" y="728"/>
                </a:lnTo>
                <a:lnTo>
                  <a:pt x="901" y="707"/>
                </a:lnTo>
                <a:lnTo>
                  <a:pt x="905" y="687"/>
                </a:lnTo>
                <a:lnTo>
                  <a:pt x="909" y="667"/>
                </a:lnTo>
                <a:lnTo>
                  <a:pt x="912" y="647"/>
                </a:lnTo>
                <a:lnTo>
                  <a:pt x="915" y="626"/>
                </a:lnTo>
                <a:lnTo>
                  <a:pt x="918" y="587"/>
                </a:lnTo>
                <a:lnTo>
                  <a:pt x="920" y="547"/>
                </a:lnTo>
                <a:lnTo>
                  <a:pt x="920" y="547"/>
                </a:lnTo>
                <a:lnTo>
                  <a:pt x="918" y="507"/>
                </a:lnTo>
                <a:lnTo>
                  <a:pt x="915" y="467"/>
                </a:lnTo>
                <a:lnTo>
                  <a:pt x="912" y="446"/>
                </a:lnTo>
                <a:lnTo>
                  <a:pt x="909" y="426"/>
                </a:lnTo>
                <a:lnTo>
                  <a:pt x="905" y="407"/>
                </a:lnTo>
                <a:lnTo>
                  <a:pt x="901" y="386"/>
                </a:lnTo>
                <a:lnTo>
                  <a:pt x="895" y="367"/>
                </a:lnTo>
                <a:lnTo>
                  <a:pt x="890" y="346"/>
                </a:lnTo>
                <a:lnTo>
                  <a:pt x="883" y="327"/>
                </a:lnTo>
                <a:lnTo>
                  <a:pt x="875" y="308"/>
                </a:lnTo>
                <a:lnTo>
                  <a:pt x="867" y="290"/>
                </a:lnTo>
                <a:lnTo>
                  <a:pt x="859" y="272"/>
                </a:lnTo>
                <a:lnTo>
                  <a:pt x="850" y="253"/>
                </a:lnTo>
                <a:lnTo>
                  <a:pt x="840" y="237"/>
                </a:lnTo>
                <a:lnTo>
                  <a:pt x="828" y="219"/>
                </a:lnTo>
                <a:lnTo>
                  <a:pt x="817" y="204"/>
                </a:lnTo>
                <a:lnTo>
                  <a:pt x="805" y="189"/>
                </a:lnTo>
                <a:lnTo>
                  <a:pt x="793" y="174"/>
                </a:lnTo>
                <a:lnTo>
                  <a:pt x="778" y="161"/>
                </a:lnTo>
                <a:lnTo>
                  <a:pt x="764" y="148"/>
                </a:lnTo>
                <a:lnTo>
                  <a:pt x="749" y="137"/>
                </a:lnTo>
                <a:lnTo>
                  <a:pt x="733" y="125"/>
                </a:lnTo>
                <a:lnTo>
                  <a:pt x="716" y="116"/>
                </a:lnTo>
                <a:lnTo>
                  <a:pt x="699" y="108"/>
                </a:lnTo>
                <a:lnTo>
                  <a:pt x="680" y="100"/>
                </a:lnTo>
                <a:lnTo>
                  <a:pt x="662" y="94"/>
                </a:lnTo>
                <a:lnTo>
                  <a:pt x="641" y="90"/>
                </a:lnTo>
                <a:lnTo>
                  <a:pt x="621" y="86"/>
                </a:lnTo>
                <a:lnTo>
                  <a:pt x="599" y="83"/>
                </a:lnTo>
                <a:lnTo>
                  <a:pt x="577" y="82"/>
                </a:lnTo>
                <a:lnTo>
                  <a:pt x="577" y="82"/>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60" name="Freeform 11">
            <a:extLst>
              <a:ext uri="{FF2B5EF4-FFF2-40B4-BE49-F238E27FC236}">
                <a16:creationId xmlns:a16="http://schemas.microsoft.com/office/drawing/2014/main" id="{005AF851-6FDD-2A46-B43C-A5A3736B10A1}"/>
              </a:ext>
            </a:extLst>
          </p:cNvPr>
          <p:cNvSpPr>
            <a:spLocks/>
          </p:cNvSpPr>
          <p:nvPr userDrawn="1"/>
        </p:nvSpPr>
        <p:spPr bwMode="auto">
          <a:xfrm>
            <a:off x="2447926" y="893763"/>
            <a:ext cx="155575" cy="141288"/>
          </a:xfrm>
          <a:custGeom>
            <a:avLst/>
            <a:gdLst>
              <a:gd name="T0" fmla="*/ 922 w 1165"/>
              <a:gd name="T1" fmla="*/ 252 h 1065"/>
              <a:gd name="T2" fmla="*/ 921 w 1165"/>
              <a:gd name="T3" fmla="*/ 194 h 1065"/>
              <a:gd name="T4" fmla="*/ 916 w 1165"/>
              <a:gd name="T5" fmla="*/ 148 h 1065"/>
              <a:gd name="T6" fmla="*/ 906 w 1165"/>
              <a:gd name="T7" fmla="*/ 113 h 1065"/>
              <a:gd name="T8" fmla="*/ 896 w 1165"/>
              <a:gd name="T9" fmla="*/ 92 h 1065"/>
              <a:gd name="T10" fmla="*/ 888 w 1165"/>
              <a:gd name="T11" fmla="*/ 81 h 1065"/>
              <a:gd name="T12" fmla="*/ 877 w 1165"/>
              <a:gd name="T13" fmla="*/ 73 h 1065"/>
              <a:gd name="T14" fmla="*/ 857 w 1165"/>
              <a:gd name="T15" fmla="*/ 63 h 1065"/>
              <a:gd name="T16" fmla="*/ 825 w 1165"/>
              <a:gd name="T17" fmla="*/ 54 h 1065"/>
              <a:gd name="T18" fmla="*/ 782 w 1165"/>
              <a:gd name="T19" fmla="*/ 50 h 1065"/>
              <a:gd name="T20" fmla="*/ 756 w 1165"/>
              <a:gd name="T21" fmla="*/ 0 h 1065"/>
              <a:gd name="T22" fmla="*/ 1165 w 1165"/>
              <a:gd name="T23" fmla="*/ 50 h 1065"/>
              <a:gd name="T24" fmla="*/ 1139 w 1165"/>
              <a:gd name="T25" fmla="*/ 50 h 1065"/>
              <a:gd name="T26" fmla="*/ 1096 w 1165"/>
              <a:gd name="T27" fmla="*/ 54 h 1065"/>
              <a:gd name="T28" fmla="*/ 1062 w 1165"/>
              <a:gd name="T29" fmla="*/ 63 h 1065"/>
              <a:gd name="T30" fmla="*/ 1042 w 1165"/>
              <a:gd name="T31" fmla="*/ 73 h 1065"/>
              <a:gd name="T32" fmla="*/ 1032 w 1165"/>
              <a:gd name="T33" fmla="*/ 81 h 1065"/>
              <a:gd name="T34" fmla="*/ 1023 w 1165"/>
              <a:gd name="T35" fmla="*/ 92 h 1065"/>
              <a:gd name="T36" fmla="*/ 1014 w 1165"/>
              <a:gd name="T37" fmla="*/ 113 h 1065"/>
              <a:gd name="T38" fmla="*/ 1005 w 1165"/>
              <a:gd name="T39" fmla="*/ 148 h 1065"/>
              <a:gd name="T40" fmla="*/ 1000 w 1165"/>
              <a:gd name="T41" fmla="*/ 194 h 1065"/>
              <a:gd name="T42" fmla="*/ 999 w 1165"/>
              <a:gd name="T43" fmla="*/ 252 h 1065"/>
              <a:gd name="T44" fmla="*/ 955 w 1165"/>
              <a:gd name="T45" fmla="*/ 1065 h 1065"/>
              <a:gd name="T46" fmla="*/ 242 w 1165"/>
              <a:gd name="T47" fmla="*/ 783 h 1065"/>
              <a:gd name="T48" fmla="*/ 242 w 1165"/>
              <a:gd name="T49" fmla="*/ 814 h 1065"/>
              <a:gd name="T50" fmla="*/ 245 w 1165"/>
              <a:gd name="T51" fmla="*/ 866 h 1065"/>
              <a:gd name="T52" fmla="*/ 251 w 1165"/>
              <a:gd name="T53" fmla="*/ 906 h 1065"/>
              <a:gd name="T54" fmla="*/ 263 w 1165"/>
              <a:gd name="T55" fmla="*/ 937 h 1065"/>
              <a:gd name="T56" fmla="*/ 271 w 1165"/>
              <a:gd name="T57" fmla="*/ 949 h 1065"/>
              <a:gd name="T58" fmla="*/ 281 w 1165"/>
              <a:gd name="T59" fmla="*/ 958 h 1065"/>
              <a:gd name="T60" fmla="*/ 292 w 1165"/>
              <a:gd name="T61" fmla="*/ 966 h 1065"/>
              <a:gd name="T62" fmla="*/ 322 w 1165"/>
              <a:gd name="T63" fmla="*/ 978 h 1065"/>
              <a:gd name="T64" fmla="*/ 359 w 1165"/>
              <a:gd name="T65" fmla="*/ 984 h 1065"/>
              <a:gd name="T66" fmla="*/ 407 w 1165"/>
              <a:gd name="T67" fmla="*/ 985 h 1065"/>
              <a:gd name="T68" fmla="*/ 0 w 1165"/>
              <a:gd name="T69" fmla="*/ 1035 h 1065"/>
              <a:gd name="T70" fmla="*/ 0 w 1165"/>
              <a:gd name="T71" fmla="*/ 985 h 1065"/>
              <a:gd name="T72" fmla="*/ 49 w 1165"/>
              <a:gd name="T73" fmla="*/ 984 h 1065"/>
              <a:gd name="T74" fmla="*/ 86 w 1165"/>
              <a:gd name="T75" fmla="*/ 978 h 1065"/>
              <a:gd name="T76" fmla="*/ 115 w 1165"/>
              <a:gd name="T77" fmla="*/ 966 h 1065"/>
              <a:gd name="T78" fmla="*/ 126 w 1165"/>
              <a:gd name="T79" fmla="*/ 958 h 1065"/>
              <a:gd name="T80" fmla="*/ 135 w 1165"/>
              <a:gd name="T81" fmla="*/ 949 h 1065"/>
              <a:gd name="T82" fmla="*/ 144 w 1165"/>
              <a:gd name="T83" fmla="*/ 937 h 1065"/>
              <a:gd name="T84" fmla="*/ 155 w 1165"/>
              <a:gd name="T85" fmla="*/ 906 h 1065"/>
              <a:gd name="T86" fmla="*/ 161 w 1165"/>
              <a:gd name="T87" fmla="*/ 866 h 1065"/>
              <a:gd name="T88" fmla="*/ 164 w 1165"/>
              <a:gd name="T89" fmla="*/ 814 h 1065"/>
              <a:gd name="T90" fmla="*/ 164 w 1165"/>
              <a:gd name="T91" fmla="*/ 252 h 1065"/>
              <a:gd name="T92" fmla="*/ 164 w 1165"/>
              <a:gd name="T93" fmla="*/ 221 h 1065"/>
              <a:gd name="T94" fmla="*/ 161 w 1165"/>
              <a:gd name="T95" fmla="*/ 169 h 1065"/>
              <a:gd name="T96" fmla="*/ 155 w 1165"/>
              <a:gd name="T97" fmla="*/ 129 h 1065"/>
              <a:gd name="T98" fmla="*/ 144 w 1165"/>
              <a:gd name="T99" fmla="*/ 98 h 1065"/>
              <a:gd name="T100" fmla="*/ 135 w 1165"/>
              <a:gd name="T101" fmla="*/ 86 h 1065"/>
              <a:gd name="T102" fmla="*/ 126 w 1165"/>
              <a:gd name="T103" fmla="*/ 77 h 1065"/>
              <a:gd name="T104" fmla="*/ 115 w 1165"/>
              <a:gd name="T105" fmla="*/ 69 h 1065"/>
              <a:gd name="T106" fmla="*/ 86 w 1165"/>
              <a:gd name="T107" fmla="*/ 58 h 1065"/>
              <a:gd name="T108" fmla="*/ 49 w 1165"/>
              <a:gd name="T109" fmla="*/ 51 h 1065"/>
              <a:gd name="T110" fmla="*/ 0 w 1165"/>
              <a:gd name="T111" fmla="*/ 50 h 1065"/>
              <a:gd name="T112" fmla="*/ 345 w 1165"/>
              <a:gd name="T113" fmla="*/ 0 h 1065"/>
              <a:gd name="T114" fmla="*/ 922 w 1165"/>
              <a:gd name="T115" fmla="*/ 252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65" h="1065">
                <a:moveTo>
                  <a:pt x="922" y="252"/>
                </a:moveTo>
                <a:lnTo>
                  <a:pt x="922" y="252"/>
                </a:lnTo>
                <a:lnTo>
                  <a:pt x="921" y="221"/>
                </a:lnTo>
                <a:lnTo>
                  <a:pt x="921" y="194"/>
                </a:lnTo>
                <a:lnTo>
                  <a:pt x="919" y="169"/>
                </a:lnTo>
                <a:lnTo>
                  <a:pt x="916" y="148"/>
                </a:lnTo>
                <a:lnTo>
                  <a:pt x="912" y="129"/>
                </a:lnTo>
                <a:lnTo>
                  <a:pt x="906" y="113"/>
                </a:lnTo>
                <a:lnTo>
                  <a:pt x="900" y="98"/>
                </a:lnTo>
                <a:lnTo>
                  <a:pt x="896" y="92"/>
                </a:lnTo>
                <a:lnTo>
                  <a:pt x="892" y="86"/>
                </a:lnTo>
                <a:lnTo>
                  <a:pt x="888" y="81"/>
                </a:lnTo>
                <a:lnTo>
                  <a:pt x="883" y="77"/>
                </a:lnTo>
                <a:lnTo>
                  <a:pt x="877" y="73"/>
                </a:lnTo>
                <a:lnTo>
                  <a:pt x="872" y="69"/>
                </a:lnTo>
                <a:lnTo>
                  <a:pt x="857" y="63"/>
                </a:lnTo>
                <a:lnTo>
                  <a:pt x="842" y="58"/>
                </a:lnTo>
                <a:lnTo>
                  <a:pt x="825" y="54"/>
                </a:lnTo>
                <a:lnTo>
                  <a:pt x="804" y="51"/>
                </a:lnTo>
                <a:lnTo>
                  <a:pt x="782" y="50"/>
                </a:lnTo>
                <a:lnTo>
                  <a:pt x="756" y="50"/>
                </a:lnTo>
                <a:lnTo>
                  <a:pt x="756" y="0"/>
                </a:lnTo>
                <a:lnTo>
                  <a:pt x="1165" y="0"/>
                </a:lnTo>
                <a:lnTo>
                  <a:pt x="1165" y="50"/>
                </a:lnTo>
                <a:lnTo>
                  <a:pt x="1165" y="50"/>
                </a:lnTo>
                <a:lnTo>
                  <a:pt x="1139" y="50"/>
                </a:lnTo>
                <a:lnTo>
                  <a:pt x="1116" y="51"/>
                </a:lnTo>
                <a:lnTo>
                  <a:pt x="1096" y="54"/>
                </a:lnTo>
                <a:lnTo>
                  <a:pt x="1078" y="58"/>
                </a:lnTo>
                <a:lnTo>
                  <a:pt x="1062" y="63"/>
                </a:lnTo>
                <a:lnTo>
                  <a:pt x="1049" y="69"/>
                </a:lnTo>
                <a:lnTo>
                  <a:pt x="1042" y="73"/>
                </a:lnTo>
                <a:lnTo>
                  <a:pt x="1037" y="77"/>
                </a:lnTo>
                <a:lnTo>
                  <a:pt x="1032" y="81"/>
                </a:lnTo>
                <a:lnTo>
                  <a:pt x="1028" y="86"/>
                </a:lnTo>
                <a:lnTo>
                  <a:pt x="1023" y="92"/>
                </a:lnTo>
                <a:lnTo>
                  <a:pt x="1020" y="98"/>
                </a:lnTo>
                <a:lnTo>
                  <a:pt x="1014" y="113"/>
                </a:lnTo>
                <a:lnTo>
                  <a:pt x="1009" y="129"/>
                </a:lnTo>
                <a:lnTo>
                  <a:pt x="1005" y="148"/>
                </a:lnTo>
                <a:lnTo>
                  <a:pt x="1002" y="169"/>
                </a:lnTo>
                <a:lnTo>
                  <a:pt x="1000" y="194"/>
                </a:lnTo>
                <a:lnTo>
                  <a:pt x="999" y="221"/>
                </a:lnTo>
                <a:lnTo>
                  <a:pt x="999" y="252"/>
                </a:lnTo>
                <a:lnTo>
                  <a:pt x="999" y="1065"/>
                </a:lnTo>
                <a:lnTo>
                  <a:pt x="955" y="1065"/>
                </a:lnTo>
                <a:lnTo>
                  <a:pt x="242" y="212"/>
                </a:lnTo>
                <a:lnTo>
                  <a:pt x="242" y="783"/>
                </a:lnTo>
                <a:lnTo>
                  <a:pt x="242" y="783"/>
                </a:lnTo>
                <a:lnTo>
                  <a:pt x="242" y="814"/>
                </a:lnTo>
                <a:lnTo>
                  <a:pt x="243" y="842"/>
                </a:lnTo>
                <a:lnTo>
                  <a:pt x="245" y="866"/>
                </a:lnTo>
                <a:lnTo>
                  <a:pt x="248" y="888"/>
                </a:lnTo>
                <a:lnTo>
                  <a:pt x="251" y="906"/>
                </a:lnTo>
                <a:lnTo>
                  <a:pt x="256" y="923"/>
                </a:lnTo>
                <a:lnTo>
                  <a:pt x="263" y="937"/>
                </a:lnTo>
                <a:lnTo>
                  <a:pt x="266" y="943"/>
                </a:lnTo>
                <a:lnTo>
                  <a:pt x="271" y="949"/>
                </a:lnTo>
                <a:lnTo>
                  <a:pt x="276" y="954"/>
                </a:lnTo>
                <a:lnTo>
                  <a:pt x="281" y="958"/>
                </a:lnTo>
                <a:lnTo>
                  <a:pt x="286" y="963"/>
                </a:lnTo>
                <a:lnTo>
                  <a:pt x="292" y="966"/>
                </a:lnTo>
                <a:lnTo>
                  <a:pt x="305" y="973"/>
                </a:lnTo>
                <a:lnTo>
                  <a:pt x="322" y="978"/>
                </a:lnTo>
                <a:lnTo>
                  <a:pt x="339" y="982"/>
                </a:lnTo>
                <a:lnTo>
                  <a:pt x="359" y="984"/>
                </a:lnTo>
                <a:lnTo>
                  <a:pt x="382" y="985"/>
                </a:lnTo>
                <a:lnTo>
                  <a:pt x="407" y="985"/>
                </a:lnTo>
                <a:lnTo>
                  <a:pt x="407" y="1035"/>
                </a:lnTo>
                <a:lnTo>
                  <a:pt x="0" y="1035"/>
                </a:lnTo>
                <a:lnTo>
                  <a:pt x="0" y="985"/>
                </a:lnTo>
                <a:lnTo>
                  <a:pt x="0" y="985"/>
                </a:lnTo>
                <a:lnTo>
                  <a:pt x="26" y="985"/>
                </a:lnTo>
                <a:lnTo>
                  <a:pt x="49" y="984"/>
                </a:lnTo>
                <a:lnTo>
                  <a:pt x="69" y="982"/>
                </a:lnTo>
                <a:lnTo>
                  <a:pt x="86" y="978"/>
                </a:lnTo>
                <a:lnTo>
                  <a:pt x="102" y="973"/>
                </a:lnTo>
                <a:lnTo>
                  <a:pt x="115" y="966"/>
                </a:lnTo>
                <a:lnTo>
                  <a:pt x="121" y="963"/>
                </a:lnTo>
                <a:lnTo>
                  <a:pt x="126" y="958"/>
                </a:lnTo>
                <a:lnTo>
                  <a:pt x="131" y="954"/>
                </a:lnTo>
                <a:lnTo>
                  <a:pt x="135" y="949"/>
                </a:lnTo>
                <a:lnTo>
                  <a:pt x="141" y="943"/>
                </a:lnTo>
                <a:lnTo>
                  <a:pt x="144" y="937"/>
                </a:lnTo>
                <a:lnTo>
                  <a:pt x="150" y="923"/>
                </a:lnTo>
                <a:lnTo>
                  <a:pt x="155" y="906"/>
                </a:lnTo>
                <a:lnTo>
                  <a:pt x="159" y="888"/>
                </a:lnTo>
                <a:lnTo>
                  <a:pt x="161" y="866"/>
                </a:lnTo>
                <a:lnTo>
                  <a:pt x="163" y="842"/>
                </a:lnTo>
                <a:lnTo>
                  <a:pt x="164" y="814"/>
                </a:lnTo>
                <a:lnTo>
                  <a:pt x="164" y="783"/>
                </a:lnTo>
                <a:lnTo>
                  <a:pt x="164" y="252"/>
                </a:lnTo>
                <a:lnTo>
                  <a:pt x="164" y="252"/>
                </a:lnTo>
                <a:lnTo>
                  <a:pt x="164" y="221"/>
                </a:lnTo>
                <a:lnTo>
                  <a:pt x="163" y="194"/>
                </a:lnTo>
                <a:lnTo>
                  <a:pt x="161" y="169"/>
                </a:lnTo>
                <a:lnTo>
                  <a:pt x="159" y="148"/>
                </a:lnTo>
                <a:lnTo>
                  <a:pt x="155" y="129"/>
                </a:lnTo>
                <a:lnTo>
                  <a:pt x="150" y="113"/>
                </a:lnTo>
                <a:lnTo>
                  <a:pt x="144" y="98"/>
                </a:lnTo>
                <a:lnTo>
                  <a:pt x="141" y="92"/>
                </a:lnTo>
                <a:lnTo>
                  <a:pt x="135" y="86"/>
                </a:lnTo>
                <a:lnTo>
                  <a:pt x="131" y="81"/>
                </a:lnTo>
                <a:lnTo>
                  <a:pt x="126" y="77"/>
                </a:lnTo>
                <a:lnTo>
                  <a:pt x="121" y="73"/>
                </a:lnTo>
                <a:lnTo>
                  <a:pt x="115" y="69"/>
                </a:lnTo>
                <a:lnTo>
                  <a:pt x="102" y="63"/>
                </a:lnTo>
                <a:lnTo>
                  <a:pt x="86" y="58"/>
                </a:lnTo>
                <a:lnTo>
                  <a:pt x="69" y="54"/>
                </a:lnTo>
                <a:lnTo>
                  <a:pt x="49" y="51"/>
                </a:lnTo>
                <a:lnTo>
                  <a:pt x="26" y="50"/>
                </a:lnTo>
                <a:lnTo>
                  <a:pt x="0" y="50"/>
                </a:lnTo>
                <a:lnTo>
                  <a:pt x="0" y="0"/>
                </a:lnTo>
                <a:lnTo>
                  <a:pt x="345" y="0"/>
                </a:lnTo>
                <a:lnTo>
                  <a:pt x="922" y="686"/>
                </a:lnTo>
                <a:lnTo>
                  <a:pt x="922" y="252"/>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61" name="Freeform 12">
            <a:extLst>
              <a:ext uri="{FF2B5EF4-FFF2-40B4-BE49-F238E27FC236}">
                <a16:creationId xmlns:a16="http://schemas.microsoft.com/office/drawing/2014/main" id="{C4E87749-D64C-2547-9F7D-FD3F337B06D0}"/>
              </a:ext>
            </a:extLst>
          </p:cNvPr>
          <p:cNvSpPr>
            <a:spLocks/>
          </p:cNvSpPr>
          <p:nvPr userDrawn="1"/>
        </p:nvSpPr>
        <p:spPr bwMode="auto">
          <a:xfrm>
            <a:off x="2636838" y="893763"/>
            <a:ext cx="127000" cy="136525"/>
          </a:xfrm>
          <a:custGeom>
            <a:avLst/>
            <a:gdLst>
              <a:gd name="T0" fmla="*/ 25 w 959"/>
              <a:gd name="T1" fmla="*/ 985 h 1035"/>
              <a:gd name="T2" fmla="*/ 86 w 959"/>
              <a:gd name="T3" fmla="*/ 978 h 1035"/>
              <a:gd name="T4" fmla="*/ 120 w 959"/>
              <a:gd name="T5" fmla="*/ 963 h 1035"/>
              <a:gd name="T6" fmla="*/ 136 w 959"/>
              <a:gd name="T7" fmla="*/ 949 h 1035"/>
              <a:gd name="T8" fmla="*/ 150 w 959"/>
              <a:gd name="T9" fmla="*/ 923 h 1035"/>
              <a:gd name="T10" fmla="*/ 161 w 959"/>
              <a:gd name="T11" fmla="*/ 866 h 1035"/>
              <a:gd name="T12" fmla="*/ 163 w 959"/>
              <a:gd name="T13" fmla="*/ 783 h 1035"/>
              <a:gd name="T14" fmla="*/ 163 w 959"/>
              <a:gd name="T15" fmla="*/ 221 h 1035"/>
              <a:gd name="T16" fmla="*/ 158 w 959"/>
              <a:gd name="T17" fmla="*/ 148 h 1035"/>
              <a:gd name="T18" fmla="*/ 143 w 959"/>
              <a:gd name="T19" fmla="*/ 98 h 1035"/>
              <a:gd name="T20" fmla="*/ 131 w 959"/>
              <a:gd name="T21" fmla="*/ 81 h 1035"/>
              <a:gd name="T22" fmla="*/ 114 w 959"/>
              <a:gd name="T23" fmla="*/ 69 h 1035"/>
              <a:gd name="T24" fmla="*/ 68 w 959"/>
              <a:gd name="T25" fmla="*/ 54 h 1035"/>
              <a:gd name="T26" fmla="*/ 0 w 959"/>
              <a:gd name="T27" fmla="*/ 50 h 1035"/>
              <a:gd name="T28" fmla="*/ 902 w 959"/>
              <a:gd name="T29" fmla="*/ 244 h 1035"/>
              <a:gd name="T30" fmla="*/ 843 w 959"/>
              <a:gd name="T31" fmla="*/ 209 h 1035"/>
              <a:gd name="T32" fmla="*/ 824 w 959"/>
              <a:gd name="T33" fmla="*/ 150 h 1035"/>
              <a:gd name="T34" fmla="*/ 803 w 959"/>
              <a:gd name="T35" fmla="*/ 118 h 1035"/>
              <a:gd name="T36" fmla="*/ 770 w 959"/>
              <a:gd name="T37" fmla="*/ 95 h 1035"/>
              <a:gd name="T38" fmla="*/ 719 w 959"/>
              <a:gd name="T39" fmla="*/ 82 h 1035"/>
              <a:gd name="T40" fmla="*/ 643 w 959"/>
              <a:gd name="T41" fmla="*/ 78 h 1035"/>
              <a:gd name="T42" fmla="*/ 474 w 959"/>
              <a:gd name="T43" fmla="*/ 449 h 1035"/>
              <a:gd name="T44" fmla="*/ 532 w 959"/>
              <a:gd name="T45" fmla="*/ 447 h 1035"/>
              <a:gd name="T46" fmla="*/ 597 w 959"/>
              <a:gd name="T47" fmla="*/ 439 h 1035"/>
              <a:gd name="T48" fmla="*/ 634 w 959"/>
              <a:gd name="T49" fmla="*/ 424 h 1035"/>
              <a:gd name="T50" fmla="*/ 649 w 959"/>
              <a:gd name="T51" fmla="*/ 410 h 1035"/>
              <a:gd name="T52" fmla="*/ 662 w 959"/>
              <a:gd name="T53" fmla="*/ 385 h 1035"/>
              <a:gd name="T54" fmla="*/ 673 w 959"/>
              <a:gd name="T55" fmla="*/ 332 h 1035"/>
              <a:gd name="T56" fmla="*/ 725 w 959"/>
              <a:gd name="T57" fmla="*/ 283 h 1035"/>
              <a:gd name="T58" fmla="*/ 675 w 959"/>
              <a:gd name="T59" fmla="*/ 691 h 1035"/>
              <a:gd name="T60" fmla="*/ 671 w 959"/>
              <a:gd name="T61" fmla="*/ 623 h 1035"/>
              <a:gd name="T62" fmla="*/ 656 w 959"/>
              <a:gd name="T63" fmla="*/ 576 h 1035"/>
              <a:gd name="T64" fmla="*/ 644 w 959"/>
              <a:gd name="T65" fmla="*/ 560 h 1035"/>
              <a:gd name="T66" fmla="*/ 628 w 959"/>
              <a:gd name="T67" fmla="*/ 547 h 1035"/>
              <a:gd name="T68" fmla="*/ 578 w 959"/>
              <a:gd name="T69" fmla="*/ 532 h 1035"/>
              <a:gd name="T70" fmla="*/ 505 w 959"/>
              <a:gd name="T71" fmla="*/ 527 h 1035"/>
              <a:gd name="T72" fmla="*/ 379 w 959"/>
              <a:gd name="T73" fmla="*/ 756 h 1035"/>
              <a:gd name="T74" fmla="*/ 380 w 959"/>
              <a:gd name="T75" fmla="*/ 814 h 1035"/>
              <a:gd name="T76" fmla="*/ 389 w 959"/>
              <a:gd name="T77" fmla="*/ 879 h 1035"/>
              <a:gd name="T78" fmla="*/ 405 w 959"/>
              <a:gd name="T79" fmla="*/ 915 h 1035"/>
              <a:gd name="T80" fmla="*/ 418 w 959"/>
              <a:gd name="T81" fmla="*/ 932 h 1035"/>
              <a:gd name="T82" fmla="*/ 444 w 959"/>
              <a:gd name="T83" fmla="*/ 946 h 1035"/>
              <a:gd name="T84" fmla="*/ 497 w 959"/>
              <a:gd name="T85" fmla="*/ 956 h 1035"/>
              <a:gd name="T86" fmla="*/ 700 w 959"/>
              <a:gd name="T87" fmla="*/ 957 h 1035"/>
              <a:gd name="T88" fmla="*/ 753 w 959"/>
              <a:gd name="T89" fmla="*/ 955 h 1035"/>
              <a:gd name="T90" fmla="*/ 813 w 959"/>
              <a:gd name="T91" fmla="*/ 946 h 1035"/>
              <a:gd name="T92" fmla="*/ 852 w 959"/>
              <a:gd name="T93" fmla="*/ 927 h 1035"/>
              <a:gd name="T94" fmla="*/ 876 w 959"/>
              <a:gd name="T95" fmla="*/ 897 h 1035"/>
              <a:gd name="T96" fmla="*/ 891 w 959"/>
              <a:gd name="T97" fmla="*/ 858 h 1035"/>
              <a:gd name="T98" fmla="*/ 959 w 959"/>
              <a:gd name="T99" fmla="*/ 792 h 1035"/>
              <a:gd name="T100" fmla="*/ 0 w 959"/>
              <a:gd name="T101" fmla="*/ 985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59" h="1035">
                <a:moveTo>
                  <a:pt x="0" y="985"/>
                </a:moveTo>
                <a:lnTo>
                  <a:pt x="0" y="985"/>
                </a:lnTo>
                <a:lnTo>
                  <a:pt x="25" y="985"/>
                </a:lnTo>
                <a:lnTo>
                  <a:pt x="48" y="984"/>
                </a:lnTo>
                <a:lnTo>
                  <a:pt x="68" y="982"/>
                </a:lnTo>
                <a:lnTo>
                  <a:pt x="86" y="978"/>
                </a:lnTo>
                <a:lnTo>
                  <a:pt x="101" y="973"/>
                </a:lnTo>
                <a:lnTo>
                  <a:pt x="114" y="966"/>
                </a:lnTo>
                <a:lnTo>
                  <a:pt x="120" y="963"/>
                </a:lnTo>
                <a:lnTo>
                  <a:pt x="126" y="958"/>
                </a:lnTo>
                <a:lnTo>
                  <a:pt x="131" y="954"/>
                </a:lnTo>
                <a:lnTo>
                  <a:pt x="136" y="949"/>
                </a:lnTo>
                <a:lnTo>
                  <a:pt x="140" y="943"/>
                </a:lnTo>
                <a:lnTo>
                  <a:pt x="143" y="937"/>
                </a:lnTo>
                <a:lnTo>
                  <a:pt x="150" y="923"/>
                </a:lnTo>
                <a:lnTo>
                  <a:pt x="154" y="906"/>
                </a:lnTo>
                <a:lnTo>
                  <a:pt x="158" y="888"/>
                </a:lnTo>
                <a:lnTo>
                  <a:pt x="161" y="866"/>
                </a:lnTo>
                <a:lnTo>
                  <a:pt x="162" y="842"/>
                </a:lnTo>
                <a:lnTo>
                  <a:pt x="163" y="814"/>
                </a:lnTo>
                <a:lnTo>
                  <a:pt x="163" y="783"/>
                </a:lnTo>
                <a:lnTo>
                  <a:pt x="163" y="252"/>
                </a:lnTo>
                <a:lnTo>
                  <a:pt x="163" y="252"/>
                </a:lnTo>
                <a:lnTo>
                  <a:pt x="163" y="221"/>
                </a:lnTo>
                <a:lnTo>
                  <a:pt x="162" y="194"/>
                </a:lnTo>
                <a:lnTo>
                  <a:pt x="161" y="169"/>
                </a:lnTo>
                <a:lnTo>
                  <a:pt x="158" y="148"/>
                </a:lnTo>
                <a:lnTo>
                  <a:pt x="154" y="129"/>
                </a:lnTo>
                <a:lnTo>
                  <a:pt x="150" y="113"/>
                </a:lnTo>
                <a:lnTo>
                  <a:pt x="143" y="98"/>
                </a:lnTo>
                <a:lnTo>
                  <a:pt x="140" y="92"/>
                </a:lnTo>
                <a:lnTo>
                  <a:pt x="136" y="86"/>
                </a:lnTo>
                <a:lnTo>
                  <a:pt x="131" y="81"/>
                </a:lnTo>
                <a:lnTo>
                  <a:pt x="126" y="77"/>
                </a:lnTo>
                <a:lnTo>
                  <a:pt x="120" y="73"/>
                </a:lnTo>
                <a:lnTo>
                  <a:pt x="114" y="69"/>
                </a:lnTo>
                <a:lnTo>
                  <a:pt x="101" y="63"/>
                </a:lnTo>
                <a:lnTo>
                  <a:pt x="86" y="58"/>
                </a:lnTo>
                <a:lnTo>
                  <a:pt x="68" y="54"/>
                </a:lnTo>
                <a:lnTo>
                  <a:pt x="48" y="51"/>
                </a:lnTo>
                <a:lnTo>
                  <a:pt x="25" y="50"/>
                </a:lnTo>
                <a:lnTo>
                  <a:pt x="0" y="50"/>
                </a:lnTo>
                <a:lnTo>
                  <a:pt x="0" y="0"/>
                </a:lnTo>
                <a:lnTo>
                  <a:pt x="888" y="0"/>
                </a:lnTo>
                <a:lnTo>
                  <a:pt x="902" y="244"/>
                </a:lnTo>
                <a:lnTo>
                  <a:pt x="852" y="244"/>
                </a:lnTo>
                <a:lnTo>
                  <a:pt x="843" y="209"/>
                </a:lnTo>
                <a:lnTo>
                  <a:pt x="843" y="209"/>
                </a:lnTo>
                <a:lnTo>
                  <a:pt x="834" y="177"/>
                </a:lnTo>
                <a:lnTo>
                  <a:pt x="830" y="163"/>
                </a:lnTo>
                <a:lnTo>
                  <a:pt x="824" y="150"/>
                </a:lnTo>
                <a:lnTo>
                  <a:pt x="818" y="138"/>
                </a:lnTo>
                <a:lnTo>
                  <a:pt x="812" y="127"/>
                </a:lnTo>
                <a:lnTo>
                  <a:pt x="803" y="118"/>
                </a:lnTo>
                <a:lnTo>
                  <a:pt x="794" y="109"/>
                </a:lnTo>
                <a:lnTo>
                  <a:pt x="783" y="101"/>
                </a:lnTo>
                <a:lnTo>
                  <a:pt x="770" y="95"/>
                </a:lnTo>
                <a:lnTo>
                  <a:pt x="755" y="90"/>
                </a:lnTo>
                <a:lnTo>
                  <a:pt x="738" y="85"/>
                </a:lnTo>
                <a:lnTo>
                  <a:pt x="719" y="82"/>
                </a:lnTo>
                <a:lnTo>
                  <a:pt x="696" y="80"/>
                </a:lnTo>
                <a:lnTo>
                  <a:pt x="672" y="78"/>
                </a:lnTo>
                <a:lnTo>
                  <a:pt x="643" y="78"/>
                </a:lnTo>
                <a:lnTo>
                  <a:pt x="379" y="78"/>
                </a:lnTo>
                <a:lnTo>
                  <a:pt x="379" y="449"/>
                </a:lnTo>
                <a:lnTo>
                  <a:pt x="474" y="449"/>
                </a:lnTo>
                <a:lnTo>
                  <a:pt x="474" y="449"/>
                </a:lnTo>
                <a:lnTo>
                  <a:pt x="505" y="448"/>
                </a:lnTo>
                <a:lnTo>
                  <a:pt x="532" y="447"/>
                </a:lnTo>
                <a:lnTo>
                  <a:pt x="557" y="446"/>
                </a:lnTo>
                <a:lnTo>
                  <a:pt x="578" y="443"/>
                </a:lnTo>
                <a:lnTo>
                  <a:pt x="597" y="439"/>
                </a:lnTo>
                <a:lnTo>
                  <a:pt x="613" y="434"/>
                </a:lnTo>
                <a:lnTo>
                  <a:pt x="628" y="428"/>
                </a:lnTo>
                <a:lnTo>
                  <a:pt x="634" y="424"/>
                </a:lnTo>
                <a:lnTo>
                  <a:pt x="639" y="419"/>
                </a:lnTo>
                <a:lnTo>
                  <a:pt x="644" y="415"/>
                </a:lnTo>
                <a:lnTo>
                  <a:pt x="649" y="410"/>
                </a:lnTo>
                <a:lnTo>
                  <a:pt x="653" y="404"/>
                </a:lnTo>
                <a:lnTo>
                  <a:pt x="656" y="398"/>
                </a:lnTo>
                <a:lnTo>
                  <a:pt x="662" y="385"/>
                </a:lnTo>
                <a:lnTo>
                  <a:pt x="667" y="369"/>
                </a:lnTo>
                <a:lnTo>
                  <a:pt x="671" y="352"/>
                </a:lnTo>
                <a:lnTo>
                  <a:pt x="673" y="332"/>
                </a:lnTo>
                <a:lnTo>
                  <a:pt x="674" y="309"/>
                </a:lnTo>
                <a:lnTo>
                  <a:pt x="675" y="283"/>
                </a:lnTo>
                <a:lnTo>
                  <a:pt x="725" y="283"/>
                </a:lnTo>
                <a:lnTo>
                  <a:pt x="725" y="691"/>
                </a:lnTo>
                <a:lnTo>
                  <a:pt x="675" y="691"/>
                </a:lnTo>
                <a:lnTo>
                  <a:pt x="675" y="691"/>
                </a:lnTo>
                <a:lnTo>
                  <a:pt x="674" y="666"/>
                </a:lnTo>
                <a:lnTo>
                  <a:pt x="673" y="643"/>
                </a:lnTo>
                <a:lnTo>
                  <a:pt x="671" y="623"/>
                </a:lnTo>
                <a:lnTo>
                  <a:pt x="667" y="605"/>
                </a:lnTo>
                <a:lnTo>
                  <a:pt x="662" y="589"/>
                </a:lnTo>
                <a:lnTo>
                  <a:pt x="656" y="576"/>
                </a:lnTo>
                <a:lnTo>
                  <a:pt x="653" y="570"/>
                </a:lnTo>
                <a:lnTo>
                  <a:pt x="649" y="565"/>
                </a:lnTo>
                <a:lnTo>
                  <a:pt x="644" y="560"/>
                </a:lnTo>
                <a:lnTo>
                  <a:pt x="639" y="554"/>
                </a:lnTo>
                <a:lnTo>
                  <a:pt x="634" y="550"/>
                </a:lnTo>
                <a:lnTo>
                  <a:pt x="628" y="547"/>
                </a:lnTo>
                <a:lnTo>
                  <a:pt x="613" y="540"/>
                </a:lnTo>
                <a:lnTo>
                  <a:pt x="597" y="536"/>
                </a:lnTo>
                <a:lnTo>
                  <a:pt x="578" y="532"/>
                </a:lnTo>
                <a:lnTo>
                  <a:pt x="557" y="529"/>
                </a:lnTo>
                <a:lnTo>
                  <a:pt x="532" y="528"/>
                </a:lnTo>
                <a:lnTo>
                  <a:pt x="505" y="527"/>
                </a:lnTo>
                <a:lnTo>
                  <a:pt x="474" y="527"/>
                </a:lnTo>
                <a:lnTo>
                  <a:pt x="379" y="527"/>
                </a:lnTo>
                <a:lnTo>
                  <a:pt x="379" y="756"/>
                </a:lnTo>
                <a:lnTo>
                  <a:pt x="379" y="756"/>
                </a:lnTo>
                <a:lnTo>
                  <a:pt x="379" y="787"/>
                </a:lnTo>
                <a:lnTo>
                  <a:pt x="380" y="814"/>
                </a:lnTo>
                <a:lnTo>
                  <a:pt x="382" y="839"/>
                </a:lnTo>
                <a:lnTo>
                  <a:pt x="385" y="860"/>
                </a:lnTo>
                <a:lnTo>
                  <a:pt x="389" y="879"/>
                </a:lnTo>
                <a:lnTo>
                  <a:pt x="394" y="896"/>
                </a:lnTo>
                <a:lnTo>
                  <a:pt x="401" y="909"/>
                </a:lnTo>
                <a:lnTo>
                  <a:pt x="405" y="915"/>
                </a:lnTo>
                <a:lnTo>
                  <a:pt x="409" y="921"/>
                </a:lnTo>
                <a:lnTo>
                  <a:pt x="413" y="927"/>
                </a:lnTo>
                <a:lnTo>
                  <a:pt x="418" y="932"/>
                </a:lnTo>
                <a:lnTo>
                  <a:pt x="424" y="936"/>
                </a:lnTo>
                <a:lnTo>
                  <a:pt x="429" y="939"/>
                </a:lnTo>
                <a:lnTo>
                  <a:pt x="444" y="946"/>
                </a:lnTo>
                <a:lnTo>
                  <a:pt x="459" y="950"/>
                </a:lnTo>
                <a:lnTo>
                  <a:pt x="476" y="954"/>
                </a:lnTo>
                <a:lnTo>
                  <a:pt x="497" y="956"/>
                </a:lnTo>
                <a:lnTo>
                  <a:pt x="519" y="957"/>
                </a:lnTo>
                <a:lnTo>
                  <a:pt x="545" y="957"/>
                </a:lnTo>
                <a:lnTo>
                  <a:pt x="700" y="957"/>
                </a:lnTo>
                <a:lnTo>
                  <a:pt x="700" y="957"/>
                </a:lnTo>
                <a:lnTo>
                  <a:pt x="729" y="957"/>
                </a:lnTo>
                <a:lnTo>
                  <a:pt x="753" y="955"/>
                </a:lnTo>
                <a:lnTo>
                  <a:pt x="776" y="953"/>
                </a:lnTo>
                <a:lnTo>
                  <a:pt x="795" y="950"/>
                </a:lnTo>
                <a:lnTo>
                  <a:pt x="813" y="946"/>
                </a:lnTo>
                <a:lnTo>
                  <a:pt x="827" y="940"/>
                </a:lnTo>
                <a:lnTo>
                  <a:pt x="840" y="934"/>
                </a:lnTo>
                <a:lnTo>
                  <a:pt x="852" y="927"/>
                </a:lnTo>
                <a:lnTo>
                  <a:pt x="861" y="917"/>
                </a:lnTo>
                <a:lnTo>
                  <a:pt x="869" y="908"/>
                </a:lnTo>
                <a:lnTo>
                  <a:pt x="876" y="897"/>
                </a:lnTo>
                <a:lnTo>
                  <a:pt x="882" y="886"/>
                </a:lnTo>
                <a:lnTo>
                  <a:pt x="887" y="872"/>
                </a:lnTo>
                <a:lnTo>
                  <a:pt x="891" y="858"/>
                </a:lnTo>
                <a:lnTo>
                  <a:pt x="901" y="826"/>
                </a:lnTo>
                <a:lnTo>
                  <a:pt x="909" y="792"/>
                </a:lnTo>
                <a:lnTo>
                  <a:pt x="959" y="792"/>
                </a:lnTo>
                <a:lnTo>
                  <a:pt x="946" y="1035"/>
                </a:lnTo>
                <a:lnTo>
                  <a:pt x="0" y="1035"/>
                </a:lnTo>
                <a:lnTo>
                  <a:pt x="0" y="985"/>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62" name="Freeform 13">
            <a:extLst>
              <a:ext uri="{FF2B5EF4-FFF2-40B4-BE49-F238E27FC236}">
                <a16:creationId xmlns:a16="http://schemas.microsoft.com/office/drawing/2014/main" id="{985C0882-23D9-8349-8EFD-8B68F98ECE6E}"/>
              </a:ext>
            </a:extLst>
          </p:cNvPr>
          <p:cNvSpPr>
            <a:spLocks/>
          </p:cNvSpPr>
          <p:nvPr userDrawn="1"/>
        </p:nvSpPr>
        <p:spPr bwMode="auto">
          <a:xfrm>
            <a:off x="2798763" y="893763"/>
            <a:ext cx="152400" cy="141288"/>
          </a:xfrm>
          <a:custGeom>
            <a:avLst/>
            <a:gdLst>
              <a:gd name="T0" fmla="*/ 1159 w 1159"/>
              <a:gd name="T1" fmla="*/ 50 h 1065"/>
              <a:gd name="T2" fmla="*/ 1091 w 1159"/>
              <a:gd name="T3" fmla="*/ 54 h 1065"/>
              <a:gd name="T4" fmla="*/ 1039 w 1159"/>
              <a:gd name="T5" fmla="*/ 73 h 1065"/>
              <a:gd name="T6" fmla="*/ 1019 w 1159"/>
              <a:gd name="T7" fmla="*/ 92 h 1065"/>
              <a:gd name="T8" fmla="*/ 1001 w 1159"/>
              <a:gd name="T9" fmla="*/ 148 h 1065"/>
              <a:gd name="T10" fmla="*/ 996 w 1159"/>
              <a:gd name="T11" fmla="*/ 252 h 1065"/>
              <a:gd name="T12" fmla="*/ 994 w 1159"/>
              <a:gd name="T13" fmla="*/ 700 h 1065"/>
              <a:gd name="T14" fmla="*/ 976 w 1159"/>
              <a:gd name="T15" fmla="*/ 790 h 1065"/>
              <a:gd name="T16" fmla="*/ 944 w 1159"/>
              <a:gd name="T17" fmla="*/ 866 h 1065"/>
              <a:gd name="T18" fmla="*/ 899 w 1159"/>
              <a:gd name="T19" fmla="*/ 932 h 1065"/>
              <a:gd name="T20" fmla="*/ 843 w 1159"/>
              <a:gd name="T21" fmla="*/ 984 h 1065"/>
              <a:gd name="T22" fmla="*/ 777 w 1159"/>
              <a:gd name="T23" fmla="*/ 1023 h 1065"/>
              <a:gd name="T24" fmla="*/ 702 w 1159"/>
              <a:gd name="T25" fmla="*/ 1049 h 1065"/>
              <a:gd name="T26" fmla="*/ 621 w 1159"/>
              <a:gd name="T27" fmla="*/ 1063 h 1065"/>
              <a:gd name="T28" fmla="*/ 558 w 1159"/>
              <a:gd name="T29" fmla="*/ 1065 h 1065"/>
              <a:gd name="T30" fmla="*/ 476 w 1159"/>
              <a:gd name="T31" fmla="*/ 1054 h 1065"/>
              <a:gd name="T32" fmla="*/ 399 w 1159"/>
              <a:gd name="T33" fmla="*/ 1031 h 1065"/>
              <a:gd name="T34" fmla="*/ 331 w 1159"/>
              <a:gd name="T35" fmla="*/ 995 h 1065"/>
              <a:gd name="T36" fmla="*/ 273 w 1159"/>
              <a:gd name="T37" fmla="*/ 946 h 1065"/>
              <a:gd name="T38" fmla="*/ 226 w 1159"/>
              <a:gd name="T39" fmla="*/ 884 h 1065"/>
              <a:gd name="T40" fmla="*/ 191 w 1159"/>
              <a:gd name="T41" fmla="*/ 810 h 1065"/>
              <a:gd name="T42" fmla="*/ 170 w 1159"/>
              <a:gd name="T43" fmla="*/ 723 h 1065"/>
              <a:gd name="T44" fmla="*/ 165 w 1159"/>
              <a:gd name="T45" fmla="*/ 252 h 1065"/>
              <a:gd name="T46" fmla="*/ 162 w 1159"/>
              <a:gd name="T47" fmla="*/ 169 h 1065"/>
              <a:gd name="T48" fmla="*/ 145 w 1159"/>
              <a:gd name="T49" fmla="*/ 98 h 1065"/>
              <a:gd name="T50" fmla="*/ 126 w 1159"/>
              <a:gd name="T51" fmla="*/ 77 h 1065"/>
              <a:gd name="T52" fmla="*/ 87 w 1159"/>
              <a:gd name="T53" fmla="*/ 58 h 1065"/>
              <a:gd name="T54" fmla="*/ 0 w 1159"/>
              <a:gd name="T55" fmla="*/ 50 h 1065"/>
              <a:gd name="T56" fmla="*/ 547 w 1159"/>
              <a:gd name="T57" fmla="*/ 50 h 1065"/>
              <a:gd name="T58" fmla="*/ 460 w 1159"/>
              <a:gd name="T59" fmla="*/ 58 h 1065"/>
              <a:gd name="T60" fmla="*/ 419 w 1159"/>
              <a:gd name="T61" fmla="*/ 77 h 1065"/>
              <a:gd name="T62" fmla="*/ 402 w 1159"/>
              <a:gd name="T63" fmla="*/ 98 h 1065"/>
              <a:gd name="T64" fmla="*/ 384 w 1159"/>
              <a:gd name="T65" fmla="*/ 169 h 1065"/>
              <a:gd name="T66" fmla="*/ 381 w 1159"/>
              <a:gd name="T67" fmla="*/ 631 h 1065"/>
              <a:gd name="T68" fmla="*/ 384 w 1159"/>
              <a:gd name="T69" fmla="*/ 691 h 1065"/>
              <a:gd name="T70" fmla="*/ 397 w 1159"/>
              <a:gd name="T71" fmla="*/ 761 h 1065"/>
              <a:gd name="T72" fmla="*/ 420 w 1159"/>
              <a:gd name="T73" fmla="*/ 819 h 1065"/>
              <a:gd name="T74" fmla="*/ 451 w 1159"/>
              <a:gd name="T75" fmla="*/ 867 h 1065"/>
              <a:gd name="T76" fmla="*/ 488 w 1159"/>
              <a:gd name="T77" fmla="*/ 905 h 1065"/>
              <a:gd name="T78" fmla="*/ 532 w 1159"/>
              <a:gd name="T79" fmla="*/ 933 h 1065"/>
              <a:gd name="T80" fmla="*/ 581 w 1159"/>
              <a:gd name="T81" fmla="*/ 950 h 1065"/>
              <a:gd name="T82" fmla="*/ 635 w 1159"/>
              <a:gd name="T83" fmla="*/ 957 h 1065"/>
              <a:gd name="T84" fmla="*/ 676 w 1159"/>
              <a:gd name="T85" fmla="*/ 956 h 1065"/>
              <a:gd name="T86" fmla="*/ 727 w 1159"/>
              <a:gd name="T87" fmla="*/ 947 h 1065"/>
              <a:gd name="T88" fmla="*/ 773 w 1159"/>
              <a:gd name="T89" fmla="*/ 927 h 1065"/>
              <a:gd name="T90" fmla="*/ 814 w 1159"/>
              <a:gd name="T91" fmla="*/ 897 h 1065"/>
              <a:gd name="T92" fmla="*/ 847 w 1159"/>
              <a:gd name="T93" fmla="*/ 857 h 1065"/>
              <a:gd name="T94" fmla="*/ 873 w 1159"/>
              <a:gd name="T95" fmla="*/ 806 h 1065"/>
              <a:gd name="T96" fmla="*/ 891 w 1159"/>
              <a:gd name="T97" fmla="*/ 745 h 1065"/>
              <a:gd name="T98" fmla="*/ 901 w 1159"/>
              <a:gd name="T99" fmla="*/ 672 h 1065"/>
              <a:gd name="T100" fmla="*/ 903 w 1159"/>
              <a:gd name="T101" fmla="*/ 252 h 1065"/>
              <a:gd name="T102" fmla="*/ 896 w 1159"/>
              <a:gd name="T103" fmla="*/ 148 h 1065"/>
              <a:gd name="T104" fmla="*/ 878 w 1159"/>
              <a:gd name="T105" fmla="*/ 92 h 1065"/>
              <a:gd name="T106" fmla="*/ 859 w 1159"/>
              <a:gd name="T107" fmla="*/ 73 h 1065"/>
              <a:gd name="T108" fmla="*/ 805 w 1159"/>
              <a:gd name="T109" fmla="*/ 54 h 1065"/>
              <a:gd name="T110" fmla="*/ 737 w 1159"/>
              <a:gd name="T111" fmla="*/ 50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59" h="1065">
                <a:moveTo>
                  <a:pt x="737" y="50"/>
                </a:moveTo>
                <a:lnTo>
                  <a:pt x="737" y="0"/>
                </a:lnTo>
                <a:lnTo>
                  <a:pt x="1159" y="0"/>
                </a:lnTo>
                <a:lnTo>
                  <a:pt x="1159" y="50"/>
                </a:lnTo>
                <a:lnTo>
                  <a:pt x="1159" y="50"/>
                </a:lnTo>
                <a:lnTo>
                  <a:pt x="1134" y="50"/>
                </a:lnTo>
                <a:lnTo>
                  <a:pt x="1111" y="51"/>
                </a:lnTo>
                <a:lnTo>
                  <a:pt x="1091" y="54"/>
                </a:lnTo>
                <a:lnTo>
                  <a:pt x="1073" y="58"/>
                </a:lnTo>
                <a:lnTo>
                  <a:pt x="1058" y="63"/>
                </a:lnTo>
                <a:lnTo>
                  <a:pt x="1045" y="69"/>
                </a:lnTo>
                <a:lnTo>
                  <a:pt x="1039" y="73"/>
                </a:lnTo>
                <a:lnTo>
                  <a:pt x="1033" y="77"/>
                </a:lnTo>
                <a:lnTo>
                  <a:pt x="1028" y="81"/>
                </a:lnTo>
                <a:lnTo>
                  <a:pt x="1023" y="86"/>
                </a:lnTo>
                <a:lnTo>
                  <a:pt x="1019" y="92"/>
                </a:lnTo>
                <a:lnTo>
                  <a:pt x="1016" y="98"/>
                </a:lnTo>
                <a:lnTo>
                  <a:pt x="1009" y="113"/>
                </a:lnTo>
                <a:lnTo>
                  <a:pt x="1005" y="129"/>
                </a:lnTo>
                <a:lnTo>
                  <a:pt x="1001" y="148"/>
                </a:lnTo>
                <a:lnTo>
                  <a:pt x="998" y="169"/>
                </a:lnTo>
                <a:lnTo>
                  <a:pt x="997" y="194"/>
                </a:lnTo>
                <a:lnTo>
                  <a:pt x="996" y="221"/>
                </a:lnTo>
                <a:lnTo>
                  <a:pt x="996" y="252"/>
                </a:lnTo>
                <a:lnTo>
                  <a:pt x="996" y="651"/>
                </a:lnTo>
                <a:lnTo>
                  <a:pt x="996" y="651"/>
                </a:lnTo>
                <a:lnTo>
                  <a:pt x="995" y="675"/>
                </a:lnTo>
                <a:lnTo>
                  <a:pt x="994" y="700"/>
                </a:lnTo>
                <a:lnTo>
                  <a:pt x="990" y="723"/>
                </a:lnTo>
                <a:lnTo>
                  <a:pt x="986" y="746"/>
                </a:lnTo>
                <a:lnTo>
                  <a:pt x="982" y="768"/>
                </a:lnTo>
                <a:lnTo>
                  <a:pt x="976" y="790"/>
                </a:lnTo>
                <a:lnTo>
                  <a:pt x="970" y="810"/>
                </a:lnTo>
                <a:lnTo>
                  <a:pt x="962" y="829"/>
                </a:lnTo>
                <a:lnTo>
                  <a:pt x="954" y="849"/>
                </a:lnTo>
                <a:lnTo>
                  <a:pt x="944" y="866"/>
                </a:lnTo>
                <a:lnTo>
                  <a:pt x="934" y="884"/>
                </a:lnTo>
                <a:lnTo>
                  <a:pt x="924" y="901"/>
                </a:lnTo>
                <a:lnTo>
                  <a:pt x="912" y="916"/>
                </a:lnTo>
                <a:lnTo>
                  <a:pt x="899" y="932"/>
                </a:lnTo>
                <a:lnTo>
                  <a:pt x="886" y="946"/>
                </a:lnTo>
                <a:lnTo>
                  <a:pt x="873" y="959"/>
                </a:lnTo>
                <a:lnTo>
                  <a:pt x="859" y="972"/>
                </a:lnTo>
                <a:lnTo>
                  <a:pt x="843" y="984"/>
                </a:lnTo>
                <a:lnTo>
                  <a:pt x="828" y="995"/>
                </a:lnTo>
                <a:lnTo>
                  <a:pt x="812" y="1005"/>
                </a:lnTo>
                <a:lnTo>
                  <a:pt x="794" y="1015"/>
                </a:lnTo>
                <a:lnTo>
                  <a:pt x="777" y="1023"/>
                </a:lnTo>
                <a:lnTo>
                  <a:pt x="759" y="1031"/>
                </a:lnTo>
                <a:lnTo>
                  <a:pt x="741" y="1038"/>
                </a:lnTo>
                <a:lnTo>
                  <a:pt x="722" y="1044"/>
                </a:lnTo>
                <a:lnTo>
                  <a:pt x="702" y="1049"/>
                </a:lnTo>
                <a:lnTo>
                  <a:pt x="683" y="1054"/>
                </a:lnTo>
                <a:lnTo>
                  <a:pt x="662" y="1057"/>
                </a:lnTo>
                <a:lnTo>
                  <a:pt x="643" y="1061"/>
                </a:lnTo>
                <a:lnTo>
                  <a:pt x="621" y="1063"/>
                </a:lnTo>
                <a:lnTo>
                  <a:pt x="601" y="1065"/>
                </a:lnTo>
                <a:lnTo>
                  <a:pt x="579" y="1065"/>
                </a:lnTo>
                <a:lnTo>
                  <a:pt x="579" y="1065"/>
                </a:lnTo>
                <a:lnTo>
                  <a:pt x="558" y="1065"/>
                </a:lnTo>
                <a:lnTo>
                  <a:pt x="538" y="1063"/>
                </a:lnTo>
                <a:lnTo>
                  <a:pt x="516" y="1061"/>
                </a:lnTo>
                <a:lnTo>
                  <a:pt x="496" y="1057"/>
                </a:lnTo>
                <a:lnTo>
                  <a:pt x="476" y="1054"/>
                </a:lnTo>
                <a:lnTo>
                  <a:pt x="456" y="1049"/>
                </a:lnTo>
                <a:lnTo>
                  <a:pt x="437" y="1044"/>
                </a:lnTo>
                <a:lnTo>
                  <a:pt x="418" y="1038"/>
                </a:lnTo>
                <a:lnTo>
                  <a:pt x="399" y="1031"/>
                </a:lnTo>
                <a:lnTo>
                  <a:pt x="382" y="1023"/>
                </a:lnTo>
                <a:lnTo>
                  <a:pt x="365" y="1015"/>
                </a:lnTo>
                <a:lnTo>
                  <a:pt x="347" y="1005"/>
                </a:lnTo>
                <a:lnTo>
                  <a:pt x="331" y="995"/>
                </a:lnTo>
                <a:lnTo>
                  <a:pt x="316" y="984"/>
                </a:lnTo>
                <a:lnTo>
                  <a:pt x="301" y="972"/>
                </a:lnTo>
                <a:lnTo>
                  <a:pt x="286" y="959"/>
                </a:lnTo>
                <a:lnTo>
                  <a:pt x="273" y="946"/>
                </a:lnTo>
                <a:lnTo>
                  <a:pt x="259" y="932"/>
                </a:lnTo>
                <a:lnTo>
                  <a:pt x="247" y="916"/>
                </a:lnTo>
                <a:lnTo>
                  <a:pt x="236" y="901"/>
                </a:lnTo>
                <a:lnTo>
                  <a:pt x="226" y="884"/>
                </a:lnTo>
                <a:lnTo>
                  <a:pt x="215" y="866"/>
                </a:lnTo>
                <a:lnTo>
                  <a:pt x="206" y="849"/>
                </a:lnTo>
                <a:lnTo>
                  <a:pt x="198" y="829"/>
                </a:lnTo>
                <a:lnTo>
                  <a:pt x="191" y="810"/>
                </a:lnTo>
                <a:lnTo>
                  <a:pt x="184" y="790"/>
                </a:lnTo>
                <a:lnTo>
                  <a:pt x="179" y="768"/>
                </a:lnTo>
                <a:lnTo>
                  <a:pt x="174" y="746"/>
                </a:lnTo>
                <a:lnTo>
                  <a:pt x="170" y="723"/>
                </a:lnTo>
                <a:lnTo>
                  <a:pt x="167" y="700"/>
                </a:lnTo>
                <a:lnTo>
                  <a:pt x="166" y="675"/>
                </a:lnTo>
                <a:lnTo>
                  <a:pt x="165" y="651"/>
                </a:lnTo>
                <a:lnTo>
                  <a:pt x="165" y="252"/>
                </a:lnTo>
                <a:lnTo>
                  <a:pt x="165" y="252"/>
                </a:lnTo>
                <a:lnTo>
                  <a:pt x="165" y="221"/>
                </a:lnTo>
                <a:lnTo>
                  <a:pt x="164" y="194"/>
                </a:lnTo>
                <a:lnTo>
                  <a:pt x="162" y="169"/>
                </a:lnTo>
                <a:lnTo>
                  <a:pt x="160" y="148"/>
                </a:lnTo>
                <a:lnTo>
                  <a:pt x="156" y="129"/>
                </a:lnTo>
                <a:lnTo>
                  <a:pt x="151" y="113"/>
                </a:lnTo>
                <a:lnTo>
                  <a:pt x="145" y="98"/>
                </a:lnTo>
                <a:lnTo>
                  <a:pt x="141" y="92"/>
                </a:lnTo>
                <a:lnTo>
                  <a:pt x="137" y="86"/>
                </a:lnTo>
                <a:lnTo>
                  <a:pt x="132" y="81"/>
                </a:lnTo>
                <a:lnTo>
                  <a:pt x="126" y="77"/>
                </a:lnTo>
                <a:lnTo>
                  <a:pt x="121" y="73"/>
                </a:lnTo>
                <a:lnTo>
                  <a:pt x="115" y="69"/>
                </a:lnTo>
                <a:lnTo>
                  <a:pt x="102" y="63"/>
                </a:lnTo>
                <a:lnTo>
                  <a:pt x="87" y="58"/>
                </a:lnTo>
                <a:lnTo>
                  <a:pt x="68" y="54"/>
                </a:lnTo>
                <a:lnTo>
                  <a:pt x="48" y="51"/>
                </a:lnTo>
                <a:lnTo>
                  <a:pt x="25" y="50"/>
                </a:lnTo>
                <a:lnTo>
                  <a:pt x="0" y="50"/>
                </a:lnTo>
                <a:lnTo>
                  <a:pt x="0" y="0"/>
                </a:lnTo>
                <a:lnTo>
                  <a:pt x="547" y="0"/>
                </a:lnTo>
                <a:lnTo>
                  <a:pt x="547" y="50"/>
                </a:lnTo>
                <a:lnTo>
                  <a:pt x="547" y="50"/>
                </a:lnTo>
                <a:lnTo>
                  <a:pt x="521" y="50"/>
                </a:lnTo>
                <a:lnTo>
                  <a:pt x="498" y="51"/>
                </a:lnTo>
                <a:lnTo>
                  <a:pt x="477" y="54"/>
                </a:lnTo>
                <a:lnTo>
                  <a:pt x="460" y="58"/>
                </a:lnTo>
                <a:lnTo>
                  <a:pt x="444" y="63"/>
                </a:lnTo>
                <a:lnTo>
                  <a:pt x="430" y="69"/>
                </a:lnTo>
                <a:lnTo>
                  <a:pt x="425" y="73"/>
                </a:lnTo>
                <a:lnTo>
                  <a:pt x="419" y="77"/>
                </a:lnTo>
                <a:lnTo>
                  <a:pt x="414" y="81"/>
                </a:lnTo>
                <a:lnTo>
                  <a:pt x="410" y="86"/>
                </a:lnTo>
                <a:lnTo>
                  <a:pt x="406" y="92"/>
                </a:lnTo>
                <a:lnTo>
                  <a:pt x="402" y="98"/>
                </a:lnTo>
                <a:lnTo>
                  <a:pt x="395" y="113"/>
                </a:lnTo>
                <a:lnTo>
                  <a:pt x="390" y="129"/>
                </a:lnTo>
                <a:lnTo>
                  <a:pt x="386" y="148"/>
                </a:lnTo>
                <a:lnTo>
                  <a:pt x="384" y="169"/>
                </a:lnTo>
                <a:lnTo>
                  <a:pt x="382" y="194"/>
                </a:lnTo>
                <a:lnTo>
                  <a:pt x="381" y="221"/>
                </a:lnTo>
                <a:lnTo>
                  <a:pt x="381" y="252"/>
                </a:lnTo>
                <a:lnTo>
                  <a:pt x="381" y="631"/>
                </a:lnTo>
                <a:lnTo>
                  <a:pt x="381" y="631"/>
                </a:lnTo>
                <a:lnTo>
                  <a:pt x="381" y="652"/>
                </a:lnTo>
                <a:lnTo>
                  <a:pt x="382" y="672"/>
                </a:lnTo>
                <a:lnTo>
                  <a:pt x="384" y="691"/>
                </a:lnTo>
                <a:lnTo>
                  <a:pt x="386" y="710"/>
                </a:lnTo>
                <a:lnTo>
                  <a:pt x="389" y="727"/>
                </a:lnTo>
                <a:lnTo>
                  <a:pt x="393" y="745"/>
                </a:lnTo>
                <a:lnTo>
                  <a:pt x="397" y="761"/>
                </a:lnTo>
                <a:lnTo>
                  <a:pt x="403" y="776"/>
                </a:lnTo>
                <a:lnTo>
                  <a:pt x="408" y="792"/>
                </a:lnTo>
                <a:lnTo>
                  <a:pt x="413" y="806"/>
                </a:lnTo>
                <a:lnTo>
                  <a:pt x="420" y="819"/>
                </a:lnTo>
                <a:lnTo>
                  <a:pt x="427" y="833"/>
                </a:lnTo>
                <a:lnTo>
                  <a:pt x="434" y="845"/>
                </a:lnTo>
                <a:lnTo>
                  <a:pt x="442" y="857"/>
                </a:lnTo>
                <a:lnTo>
                  <a:pt x="451" y="867"/>
                </a:lnTo>
                <a:lnTo>
                  <a:pt x="459" y="878"/>
                </a:lnTo>
                <a:lnTo>
                  <a:pt x="468" y="888"/>
                </a:lnTo>
                <a:lnTo>
                  <a:pt x="478" y="897"/>
                </a:lnTo>
                <a:lnTo>
                  <a:pt x="488" y="905"/>
                </a:lnTo>
                <a:lnTo>
                  <a:pt x="499" y="913"/>
                </a:lnTo>
                <a:lnTo>
                  <a:pt x="510" y="920"/>
                </a:lnTo>
                <a:lnTo>
                  <a:pt x="521" y="927"/>
                </a:lnTo>
                <a:lnTo>
                  <a:pt x="532" y="933"/>
                </a:lnTo>
                <a:lnTo>
                  <a:pt x="544" y="938"/>
                </a:lnTo>
                <a:lnTo>
                  <a:pt x="556" y="943"/>
                </a:lnTo>
                <a:lnTo>
                  <a:pt x="569" y="947"/>
                </a:lnTo>
                <a:lnTo>
                  <a:pt x="581" y="950"/>
                </a:lnTo>
                <a:lnTo>
                  <a:pt x="595" y="953"/>
                </a:lnTo>
                <a:lnTo>
                  <a:pt x="608" y="955"/>
                </a:lnTo>
                <a:lnTo>
                  <a:pt x="621" y="956"/>
                </a:lnTo>
                <a:lnTo>
                  <a:pt x="635" y="957"/>
                </a:lnTo>
                <a:lnTo>
                  <a:pt x="649" y="957"/>
                </a:lnTo>
                <a:lnTo>
                  <a:pt x="649" y="957"/>
                </a:lnTo>
                <a:lnTo>
                  <a:pt x="662" y="957"/>
                </a:lnTo>
                <a:lnTo>
                  <a:pt x="676" y="956"/>
                </a:lnTo>
                <a:lnTo>
                  <a:pt x="689" y="955"/>
                </a:lnTo>
                <a:lnTo>
                  <a:pt x="702" y="953"/>
                </a:lnTo>
                <a:lnTo>
                  <a:pt x="714" y="950"/>
                </a:lnTo>
                <a:lnTo>
                  <a:pt x="727" y="947"/>
                </a:lnTo>
                <a:lnTo>
                  <a:pt x="739" y="943"/>
                </a:lnTo>
                <a:lnTo>
                  <a:pt x="751" y="938"/>
                </a:lnTo>
                <a:lnTo>
                  <a:pt x="762" y="933"/>
                </a:lnTo>
                <a:lnTo>
                  <a:pt x="773" y="927"/>
                </a:lnTo>
                <a:lnTo>
                  <a:pt x="784" y="920"/>
                </a:lnTo>
                <a:lnTo>
                  <a:pt x="794" y="913"/>
                </a:lnTo>
                <a:lnTo>
                  <a:pt x="803" y="905"/>
                </a:lnTo>
                <a:lnTo>
                  <a:pt x="814" y="897"/>
                </a:lnTo>
                <a:lnTo>
                  <a:pt x="823" y="888"/>
                </a:lnTo>
                <a:lnTo>
                  <a:pt x="831" y="878"/>
                </a:lnTo>
                <a:lnTo>
                  <a:pt x="839" y="867"/>
                </a:lnTo>
                <a:lnTo>
                  <a:pt x="847" y="857"/>
                </a:lnTo>
                <a:lnTo>
                  <a:pt x="854" y="845"/>
                </a:lnTo>
                <a:lnTo>
                  <a:pt x="861" y="833"/>
                </a:lnTo>
                <a:lnTo>
                  <a:pt x="868" y="819"/>
                </a:lnTo>
                <a:lnTo>
                  <a:pt x="873" y="806"/>
                </a:lnTo>
                <a:lnTo>
                  <a:pt x="879" y="792"/>
                </a:lnTo>
                <a:lnTo>
                  <a:pt x="883" y="776"/>
                </a:lnTo>
                <a:lnTo>
                  <a:pt x="887" y="761"/>
                </a:lnTo>
                <a:lnTo>
                  <a:pt x="891" y="745"/>
                </a:lnTo>
                <a:lnTo>
                  <a:pt x="894" y="727"/>
                </a:lnTo>
                <a:lnTo>
                  <a:pt x="897" y="710"/>
                </a:lnTo>
                <a:lnTo>
                  <a:pt x="899" y="691"/>
                </a:lnTo>
                <a:lnTo>
                  <a:pt x="901" y="672"/>
                </a:lnTo>
                <a:lnTo>
                  <a:pt x="902" y="652"/>
                </a:lnTo>
                <a:lnTo>
                  <a:pt x="903" y="631"/>
                </a:lnTo>
                <a:lnTo>
                  <a:pt x="903" y="252"/>
                </a:lnTo>
                <a:lnTo>
                  <a:pt x="903" y="252"/>
                </a:lnTo>
                <a:lnTo>
                  <a:pt x="902" y="221"/>
                </a:lnTo>
                <a:lnTo>
                  <a:pt x="901" y="194"/>
                </a:lnTo>
                <a:lnTo>
                  <a:pt x="899" y="169"/>
                </a:lnTo>
                <a:lnTo>
                  <a:pt x="896" y="148"/>
                </a:lnTo>
                <a:lnTo>
                  <a:pt x="893" y="129"/>
                </a:lnTo>
                <a:lnTo>
                  <a:pt x="888" y="113"/>
                </a:lnTo>
                <a:lnTo>
                  <a:pt x="881" y="98"/>
                </a:lnTo>
                <a:lnTo>
                  <a:pt x="878" y="92"/>
                </a:lnTo>
                <a:lnTo>
                  <a:pt x="874" y="86"/>
                </a:lnTo>
                <a:lnTo>
                  <a:pt x="869" y="81"/>
                </a:lnTo>
                <a:lnTo>
                  <a:pt x="864" y="77"/>
                </a:lnTo>
                <a:lnTo>
                  <a:pt x="859" y="73"/>
                </a:lnTo>
                <a:lnTo>
                  <a:pt x="852" y="69"/>
                </a:lnTo>
                <a:lnTo>
                  <a:pt x="839" y="63"/>
                </a:lnTo>
                <a:lnTo>
                  <a:pt x="824" y="58"/>
                </a:lnTo>
                <a:lnTo>
                  <a:pt x="805" y="54"/>
                </a:lnTo>
                <a:lnTo>
                  <a:pt x="785" y="51"/>
                </a:lnTo>
                <a:lnTo>
                  <a:pt x="762" y="50"/>
                </a:lnTo>
                <a:lnTo>
                  <a:pt x="737" y="50"/>
                </a:lnTo>
                <a:lnTo>
                  <a:pt x="737" y="50"/>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63" name="Freeform 14">
            <a:extLst>
              <a:ext uri="{FF2B5EF4-FFF2-40B4-BE49-F238E27FC236}">
                <a16:creationId xmlns:a16="http://schemas.microsoft.com/office/drawing/2014/main" id="{06E49BB8-6ACF-B54E-8E60-142D9EF181D5}"/>
              </a:ext>
            </a:extLst>
          </p:cNvPr>
          <p:cNvSpPr>
            <a:spLocks/>
          </p:cNvSpPr>
          <p:nvPr userDrawn="1"/>
        </p:nvSpPr>
        <p:spPr bwMode="auto">
          <a:xfrm>
            <a:off x="2962276" y="893763"/>
            <a:ext cx="160338" cy="141288"/>
          </a:xfrm>
          <a:custGeom>
            <a:avLst/>
            <a:gdLst>
              <a:gd name="T0" fmla="*/ 623 w 1210"/>
              <a:gd name="T1" fmla="*/ 1065 h 1065"/>
              <a:gd name="T2" fmla="*/ 211 w 1210"/>
              <a:gd name="T3" fmla="*/ 202 h 1065"/>
              <a:gd name="T4" fmla="*/ 193 w 1210"/>
              <a:gd name="T5" fmla="*/ 163 h 1065"/>
              <a:gd name="T6" fmla="*/ 177 w 1210"/>
              <a:gd name="T7" fmla="*/ 131 h 1065"/>
              <a:gd name="T8" fmla="*/ 159 w 1210"/>
              <a:gd name="T9" fmla="*/ 105 h 1065"/>
              <a:gd name="T10" fmla="*/ 139 w 1210"/>
              <a:gd name="T11" fmla="*/ 84 h 1065"/>
              <a:gd name="T12" fmla="*/ 114 w 1210"/>
              <a:gd name="T13" fmla="*/ 69 h 1065"/>
              <a:gd name="T14" fmla="*/ 85 w 1210"/>
              <a:gd name="T15" fmla="*/ 59 h 1065"/>
              <a:gd name="T16" fmla="*/ 47 w 1210"/>
              <a:gd name="T17" fmla="*/ 52 h 1065"/>
              <a:gd name="T18" fmla="*/ 0 w 1210"/>
              <a:gd name="T19" fmla="*/ 50 h 1065"/>
              <a:gd name="T20" fmla="*/ 566 w 1210"/>
              <a:gd name="T21" fmla="*/ 0 h 1065"/>
              <a:gd name="T22" fmla="*/ 566 w 1210"/>
              <a:gd name="T23" fmla="*/ 50 h 1065"/>
              <a:gd name="T24" fmla="*/ 515 w 1210"/>
              <a:gd name="T25" fmla="*/ 52 h 1065"/>
              <a:gd name="T26" fmla="*/ 476 w 1210"/>
              <a:gd name="T27" fmla="*/ 58 h 1065"/>
              <a:gd name="T28" fmla="*/ 448 w 1210"/>
              <a:gd name="T29" fmla="*/ 68 h 1065"/>
              <a:gd name="T30" fmla="*/ 429 w 1210"/>
              <a:gd name="T31" fmla="*/ 81 h 1065"/>
              <a:gd name="T32" fmla="*/ 420 w 1210"/>
              <a:gd name="T33" fmla="*/ 99 h 1065"/>
              <a:gd name="T34" fmla="*/ 419 w 1210"/>
              <a:gd name="T35" fmla="*/ 122 h 1065"/>
              <a:gd name="T36" fmla="*/ 424 w 1210"/>
              <a:gd name="T37" fmla="*/ 150 h 1065"/>
              <a:gd name="T38" fmla="*/ 436 w 1210"/>
              <a:gd name="T39" fmla="*/ 181 h 1065"/>
              <a:gd name="T40" fmla="*/ 921 w 1210"/>
              <a:gd name="T41" fmla="*/ 181 h 1065"/>
              <a:gd name="T42" fmla="*/ 928 w 1210"/>
              <a:gd name="T43" fmla="*/ 165 h 1065"/>
              <a:gd name="T44" fmla="*/ 936 w 1210"/>
              <a:gd name="T45" fmla="*/ 134 h 1065"/>
              <a:gd name="T46" fmla="*/ 938 w 1210"/>
              <a:gd name="T47" fmla="*/ 110 h 1065"/>
              <a:gd name="T48" fmla="*/ 931 w 1210"/>
              <a:gd name="T49" fmla="*/ 89 h 1065"/>
              <a:gd name="T50" fmla="*/ 917 w 1210"/>
              <a:gd name="T51" fmla="*/ 74 h 1065"/>
              <a:gd name="T52" fmla="*/ 894 w 1210"/>
              <a:gd name="T53" fmla="*/ 62 h 1065"/>
              <a:gd name="T54" fmla="*/ 861 w 1210"/>
              <a:gd name="T55" fmla="*/ 54 h 1065"/>
              <a:gd name="T56" fmla="*/ 817 w 1210"/>
              <a:gd name="T57" fmla="*/ 50 h 1065"/>
              <a:gd name="T58" fmla="*/ 792 w 1210"/>
              <a:gd name="T59" fmla="*/ 0 h 1065"/>
              <a:gd name="T60" fmla="*/ 1210 w 1210"/>
              <a:gd name="T61" fmla="*/ 50 h 1065"/>
              <a:gd name="T62" fmla="*/ 1188 w 1210"/>
              <a:gd name="T63" fmla="*/ 50 h 1065"/>
              <a:gd name="T64" fmla="*/ 1150 w 1210"/>
              <a:gd name="T65" fmla="*/ 53 h 1065"/>
              <a:gd name="T66" fmla="*/ 1119 w 1210"/>
              <a:gd name="T67" fmla="*/ 61 h 1065"/>
              <a:gd name="T68" fmla="*/ 1091 w 1210"/>
              <a:gd name="T69" fmla="*/ 73 h 1065"/>
              <a:gd name="T70" fmla="*/ 1067 w 1210"/>
              <a:gd name="T71" fmla="*/ 89 h 1065"/>
              <a:gd name="T72" fmla="*/ 1046 w 1210"/>
              <a:gd name="T73" fmla="*/ 113 h 1065"/>
              <a:gd name="T74" fmla="*/ 1026 w 1210"/>
              <a:gd name="T75" fmla="*/ 142 h 1065"/>
              <a:gd name="T76" fmla="*/ 1007 w 1210"/>
              <a:gd name="T77" fmla="*/ 180 h 1065"/>
              <a:gd name="T78" fmla="*/ 997 w 1210"/>
              <a:gd name="T79" fmla="*/ 202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10" h="1065">
                <a:moveTo>
                  <a:pt x="997" y="202"/>
                </a:moveTo>
                <a:lnTo>
                  <a:pt x="623" y="1065"/>
                </a:lnTo>
                <a:lnTo>
                  <a:pt x="587" y="1065"/>
                </a:lnTo>
                <a:lnTo>
                  <a:pt x="211" y="202"/>
                </a:lnTo>
                <a:lnTo>
                  <a:pt x="211" y="202"/>
                </a:lnTo>
                <a:lnTo>
                  <a:pt x="193" y="163"/>
                </a:lnTo>
                <a:lnTo>
                  <a:pt x="185" y="146"/>
                </a:lnTo>
                <a:lnTo>
                  <a:pt x="177" y="131"/>
                </a:lnTo>
                <a:lnTo>
                  <a:pt x="169" y="117"/>
                </a:lnTo>
                <a:lnTo>
                  <a:pt x="159" y="105"/>
                </a:lnTo>
                <a:lnTo>
                  <a:pt x="149" y="93"/>
                </a:lnTo>
                <a:lnTo>
                  <a:pt x="139" y="84"/>
                </a:lnTo>
                <a:lnTo>
                  <a:pt x="128" y="76"/>
                </a:lnTo>
                <a:lnTo>
                  <a:pt x="114" y="69"/>
                </a:lnTo>
                <a:lnTo>
                  <a:pt x="100" y="63"/>
                </a:lnTo>
                <a:lnTo>
                  <a:pt x="85" y="59"/>
                </a:lnTo>
                <a:lnTo>
                  <a:pt x="66" y="54"/>
                </a:lnTo>
                <a:lnTo>
                  <a:pt x="47" y="52"/>
                </a:lnTo>
                <a:lnTo>
                  <a:pt x="24" y="50"/>
                </a:lnTo>
                <a:lnTo>
                  <a:pt x="0" y="50"/>
                </a:lnTo>
                <a:lnTo>
                  <a:pt x="0" y="0"/>
                </a:lnTo>
                <a:lnTo>
                  <a:pt x="566" y="0"/>
                </a:lnTo>
                <a:lnTo>
                  <a:pt x="566" y="50"/>
                </a:lnTo>
                <a:lnTo>
                  <a:pt x="566" y="50"/>
                </a:lnTo>
                <a:lnTo>
                  <a:pt x="539" y="50"/>
                </a:lnTo>
                <a:lnTo>
                  <a:pt x="515" y="52"/>
                </a:lnTo>
                <a:lnTo>
                  <a:pt x="494" y="54"/>
                </a:lnTo>
                <a:lnTo>
                  <a:pt x="476" y="58"/>
                </a:lnTo>
                <a:lnTo>
                  <a:pt x="461" y="63"/>
                </a:lnTo>
                <a:lnTo>
                  <a:pt x="448" y="68"/>
                </a:lnTo>
                <a:lnTo>
                  <a:pt x="438" y="74"/>
                </a:lnTo>
                <a:lnTo>
                  <a:pt x="429" y="81"/>
                </a:lnTo>
                <a:lnTo>
                  <a:pt x="423" y="90"/>
                </a:lnTo>
                <a:lnTo>
                  <a:pt x="420" y="99"/>
                </a:lnTo>
                <a:lnTo>
                  <a:pt x="418" y="111"/>
                </a:lnTo>
                <a:lnTo>
                  <a:pt x="419" y="122"/>
                </a:lnTo>
                <a:lnTo>
                  <a:pt x="421" y="135"/>
                </a:lnTo>
                <a:lnTo>
                  <a:pt x="424" y="150"/>
                </a:lnTo>
                <a:lnTo>
                  <a:pt x="429" y="165"/>
                </a:lnTo>
                <a:lnTo>
                  <a:pt x="436" y="181"/>
                </a:lnTo>
                <a:lnTo>
                  <a:pt x="678" y="742"/>
                </a:lnTo>
                <a:lnTo>
                  <a:pt x="921" y="181"/>
                </a:lnTo>
                <a:lnTo>
                  <a:pt x="921" y="181"/>
                </a:lnTo>
                <a:lnTo>
                  <a:pt x="928" y="165"/>
                </a:lnTo>
                <a:lnTo>
                  <a:pt x="933" y="149"/>
                </a:lnTo>
                <a:lnTo>
                  <a:pt x="936" y="134"/>
                </a:lnTo>
                <a:lnTo>
                  <a:pt x="938" y="122"/>
                </a:lnTo>
                <a:lnTo>
                  <a:pt x="938" y="110"/>
                </a:lnTo>
                <a:lnTo>
                  <a:pt x="935" y="98"/>
                </a:lnTo>
                <a:lnTo>
                  <a:pt x="931" y="89"/>
                </a:lnTo>
                <a:lnTo>
                  <a:pt x="925" y="81"/>
                </a:lnTo>
                <a:lnTo>
                  <a:pt x="917" y="74"/>
                </a:lnTo>
                <a:lnTo>
                  <a:pt x="906" y="67"/>
                </a:lnTo>
                <a:lnTo>
                  <a:pt x="894" y="62"/>
                </a:lnTo>
                <a:lnTo>
                  <a:pt x="878" y="58"/>
                </a:lnTo>
                <a:lnTo>
                  <a:pt x="861" y="54"/>
                </a:lnTo>
                <a:lnTo>
                  <a:pt x="840" y="52"/>
                </a:lnTo>
                <a:lnTo>
                  <a:pt x="817" y="50"/>
                </a:lnTo>
                <a:lnTo>
                  <a:pt x="792" y="50"/>
                </a:lnTo>
                <a:lnTo>
                  <a:pt x="792" y="0"/>
                </a:lnTo>
                <a:lnTo>
                  <a:pt x="1210" y="0"/>
                </a:lnTo>
                <a:lnTo>
                  <a:pt x="1210" y="50"/>
                </a:lnTo>
                <a:lnTo>
                  <a:pt x="1210" y="50"/>
                </a:lnTo>
                <a:lnTo>
                  <a:pt x="1188" y="50"/>
                </a:lnTo>
                <a:lnTo>
                  <a:pt x="1169" y="51"/>
                </a:lnTo>
                <a:lnTo>
                  <a:pt x="1150" y="53"/>
                </a:lnTo>
                <a:lnTo>
                  <a:pt x="1134" y="57"/>
                </a:lnTo>
                <a:lnTo>
                  <a:pt x="1119" y="61"/>
                </a:lnTo>
                <a:lnTo>
                  <a:pt x="1104" y="66"/>
                </a:lnTo>
                <a:lnTo>
                  <a:pt x="1091" y="73"/>
                </a:lnTo>
                <a:lnTo>
                  <a:pt x="1079" y="80"/>
                </a:lnTo>
                <a:lnTo>
                  <a:pt x="1067" y="89"/>
                </a:lnTo>
                <a:lnTo>
                  <a:pt x="1056" y="100"/>
                </a:lnTo>
                <a:lnTo>
                  <a:pt x="1046" y="113"/>
                </a:lnTo>
                <a:lnTo>
                  <a:pt x="1036" y="127"/>
                </a:lnTo>
                <a:lnTo>
                  <a:pt x="1026" y="142"/>
                </a:lnTo>
                <a:lnTo>
                  <a:pt x="1016" y="161"/>
                </a:lnTo>
                <a:lnTo>
                  <a:pt x="1007" y="180"/>
                </a:lnTo>
                <a:lnTo>
                  <a:pt x="997" y="202"/>
                </a:lnTo>
                <a:lnTo>
                  <a:pt x="997" y="202"/>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64" name="Freeform 15">
            <a:extLst>
              <a:ext uri="{FF2B5EF4-FFF2-40B4-BE49-F238E27FC236}">
                <a16:creationId xmlns:a16="http://schemas.microsoft.com/office/drawing/2014/main" id="{B0AC8484-A2F8-3247-83AA-7687014EB007}"/>
              </a:ext>
            </a:extLst>
          </p:cNvPr>
          <p:cNvSpPr>
            <a:spLocks noEditPoints="1"/>
          </p:cNvSpPr>
          <p:nvPr userDrawn="1"/>
        </p:nvSpPr>
        <p:spPr bwMode="auto">
          <a:xfrm>
            <a:off x="3135313" y="890588"/>
            <a:ext cx="152400" cy="144463"/>
          </a:xfrm>
          <a:custGeom>
            <a:avLst/>
            <a:gdLst>
              <a:gd name="T0" fmla="*/ 489 w 1151"/>
              <a:gd name="T1" fmla="*/ 1087 h 1094"/>
              <a:gd name="T2" fmla="*/ 353 w 1151"/>
              <a:gd name="T3" fmla="*/ 1051 h 1094"/>
              <a:gd name="T4" fmla="*/ 232 w 1151"/>
              <a:gd name="T5" fmla="*/ 984 h 1094"/>
              <a:gd name="T6" fmla="*/ 132 w 1151"/>
              <a:gd name="T7" fmla="*/ 894 h 1094"/>
              <a:gd name="T8" fmla="*/ 57 w 1151"/>
              <a:gd name="T9" fmla="*/ 783 h 1094"/>
              <a:gd name="T10" fmla="*/ 12 w 1151"/>
              <a:gd name="T11" fmla="*/ 656 h 1094"/>
              <a:gd name="T12" fmla="*/ 0 w 1151"/>
              <a:gd name="T13" fmla="*/ 547 h 1094"/>
              <a:gd name="T14" fmla="*/ 18 w 1151"/>
              <a:gd name="T15" fmla="*/ 411 h 1094"/>
              <a:gd name="T16" fmla="*/ 70 w 1151"/>
              <a:gd name="T17" fmla="*/ 287 h 1094"/>
              <a:gd name="T18" fmla="*/ 150 w 1151"/>
              <a:gd name="T19" fmla="*/ 180 h 1094"/>
              <a:gd name="T20" fmla="*/ 254 w 1151"/>
              <a:gd name="T21" fmla="*/ 94 h 1094"/>
              <a:gd name="T22" fmla="*/ 379 w 1151"/>
              <a:gd name="T23" fmla="*/ 33 h 1094"/>
              <a:gd name="T24" fmla="*/ 517 w 1151"/>
              <a:gd name="T25" fmla="*/ 3 h 1094"/>
              <a:gd name="T26" fmla="*/ 635 w 1151"/>
              <a:gd name="T27" fmla="*/ 3 h 1094"/>
              <a:gd name="T28" fmla="*/ 774 w 1151"/>
              <a:gd name="T29" fmla="*/ 33 h 1094"/>
              <a:gd name="T30" fmla="*/ 897 w 1151"/>
              <a:gd name="T31" fmla="*/ 94 h 1094"/>
              <a:gd name="T32" fmla="*/ 1001 w 1151"/>
              <a:gd name="T33" fmla="*/ 180 h 1094"/>
              <a:gd name="T34" fmla="*/ 1082 w 1151"/>
              <a:gd name="T35" fmla="*/ 287 h 1094"/>
              <a:gd name="T36" fmla="*/ 1133 w 1151"/>
              <a:gd name="T37" fmla="*/ 411 h 1094"/>
              <a:gd name="T38" fmla="*/ 1151 w 1151"/>
              <a:gd name="T39" fmla="*/ 547 h 1094"/>
              <a:gd name="T40" fmla="*/ 1139 w 1151"/>
              <a:gd name="T41" fmla="*/ 656 h 1094"/>
              <a:gd name="T42" fmla="*/ 1094 w 1151"/>
              <a:gd name="T43" fmla="*/ 783 h 1094"/>
              <a:gd name="T44" fmla="*/ 1019 w 1151"/>
              <a:gd name="T45" fmla="*/ 894 h 1094"/>
              <a:gd name="T46" fmla="*/ 919 w 1151"/>
              <a:gd name="T47" fmla="*/ 984 h 1094"/>
              <a:gd name="T48" fmla="*/ 799 w 1151"/>
              <a:gd name="T49" fmla="*/ 1051 h 1094"/>
              <a:gd name="T50" fmla="*/ 663 w 1151"/>
              <a:gd name="T51" fmla="*/ 1087 h 1094"/>
              <a:gd name="T52" fmla="*/ 577 w 1151"/>
              <a:gd name="T53" fmla="*/ 82 h 1094"/>
              <a:gd name="T54" fmla="*/ 492 w 1151"/>
              <a:gd name="T55" fmla="*/ 94 h 1094"/>
              <a:gd name="T56" fmla="*/ 404 w 1151"/>
              <a:gd name="T57" fmla="*/ 137 h 1094"/>
              <a:gd name="T58" fmla="*/ 335 w 1151"/>
              <a:gd name="T59" fmla="*/ 204 h 1094"/>
              <a:gd name="T60" fmla="*/ 285 w 1151"/>
              <a:gd name="T61" fmla="*/ 290 h 1094"/>
              <a:gd name="T62" fmla="*/ 252 w 1151"/>
              <a:gd name="T63" fmla="*/ 386 h 1094"/>
              <a:gd name="T64" fmla="*/ 234 w 1151"/>
              <a:gd name="T65" fmla="*/ 507 h 1094"/>
              <a:gd name="T66" fmla="*/ 240 w 1151"/>
              <a:gd name="T67" fmla="*/ 647 h 1094"/>
              <a:gd name="T68" fmla="*/ 264 w 1151"/>
              <a:gd name="T69" fmla="*/ 747 h 1094"/>
              <a:gd name="T70" fmla="*/ 303 w 1151"/>
              <a:gd name="T71" fmla="*/ 840 h 1094"/>
              <a:gd name="T72" fmla="*/ 360 w 1151"/>
              <a:gd name="T73" fmla="*/ 919 h 1094"/>
              <a:gd name="T74" fmla="*/ 436 w 1151"/>
              <a:gd name="T75" fmla="*/ 977 h 1094"/>
              <a:gd name="T76" fmla="*/ 533 w 1151"/>
              <a:gd name="T77" fmla="*/ 1008 h 1094"/>
              <a:gd name="T78" fmla="*/ 621 w 1151"/>
              <a:gd name="T79" fmla="*/ 1008 h 1094"/>
              <a:gd name="T80" fmla="*/ 716 w 1151"/>
              <a:gd name="T81" fmla="*/ 977 h 1094"/>
              <a:gd name="T82" fmla="*/ 792 w 1151"/>
              <a:gd name="T83" fmla="*/ 919 h 1094"/>
              <a:gd name="T84" fmla="*/ 850 w 1151"/>
              <a:gd name="T85" fmla="*/ 840 h 1094"/>
              <a:gd name="T86" fmla="*/ 889 w 1151"/>
              <a:gd name="T87" fmla="*/ 747 h 1094"/>
              <a:gd name="T88" fmla="*/ 912 w 1151"/>
              <a:gd name="T89" fmla="*/ 647 h 1094"/>
              <a:gd name="T90" fmla="*/ 919 w 1151"/>
              <a:gd name="T91" fmla="*/ 507 h 1094"/>
              <a:gd name="T92" fmla="*/ 901 w 1151"/>
              <a:gd name="T93" fmla="*/ 386 h 1094"/>
              <a:gd name="T94" fmla="*/ 867 w 1151"/>
              <a:gd name="T95" fmla="*/ 290 h 1094"/>
              <a:gd name="T96" fmla="*/ 817 w 1151"/>
              <a:gd name="T97" fmla="*/ 204 h 1094"/>
              <a:gd name="T98" fmla="*/ 748 w 1151"/>
              <a:gd name="T99" fmla="*/ 137 h 1094"/>
              <a:gd name="T100" fmla="*/ 661 w 1151"/>
              <a:gd name="T101" fmla="*/ 94 h 1094"/>
              <a:gd name="T102" fmla="*/ 577 w 1151"/>
              <a:gd name="T103" fmla="*/ 82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51" h="1094">
                <a:moveTo>
                  <a:pt x="577" y="1094"/>
                </a:moveTo>
                <a:lnTo>
                  <a:pt x="577" y="1094"/>
                </a:lnTo>
                <a:lnTo>
                  <a:pt x="547" y="1093"/>
                </a:lnTo>
                <a:lnTo>
                  <a:pt x="517" y="1091"/>
                </a:lnTo>
                <a:lnTo>
                  <a:pt x="489" y="1087"/>
                </a:lnTo>
                <a:lnTo>
                  <a:pt x="461" y="1082"/>
                </a:lnTo>
                <a:lnTo>
                  <a:pt x="432" y="1076"/>
                </a:lnTo>
                <a:lnTo>
                  <a:pt x="406" y="1069"/>
                </a:lnTo>
                <a:lnTo>
                  <a:pt x="379" y="1060"/>
                </a:lnTo>
                <a:lnTo>
                  <a:pt x="353" y="1051"/>
                </a:lnTo>
                <a:lnTo>
                  <a:pt x="327" y="1039"/>
                </a:lnTo>
                <a:lnTo>
                  <a:pt x="303" y="1027"/>
                </a:lnTo>
                <a:lnTo>
                  <a:pt x="278" y="1014"/>
                </a:lnTo>
                <a:lnTo>
                  <a:pt x="254" y="1000"/>
                </a:lnTo>
                <a:lnTo>
                  <a:pt x="232" y="984"/>
                </a:lnTo>
                <a:lnTo>
                  <a:pt x="210" y="968"/>
                </a:lnTo>
                <a:lnTo>
                  <a:pt x="189" y="950"/>
                </a:lnTo>
                <a:lnTo>
                  <a:pt x="170" y="933"/>
                </a:lnTo>
                <a:lnTo>
                  <a:pt x="150" y="914"/>
                </a:lnTo>
                <a:lnTo>
                  <a:pt x="132" y="894"/>
                </a:lnTo>
                <a:lnTo>
                  <a:pt x="115" y="873"/>
                </a:lnTo>
                <a:lnTo>
                  <a:pt x="99" y="851"/>
                </a:lnTo>
                <a:lnTo>
                  <a:pt x="84" y="830"/>
                </a:lnTo>
                <a:lnTo>
                  <a:pt x="70" y="806"/>
                </a:lnTo>
                <a:lnTo>
                  <a:pt x="57" y="783"/>
                </a:lnTo>
                <a:lnTo>
                  <a:pt x="46" y="758"/>
                </a:lnTo>
                <a:lnTo>
                  <a:pt x="36" y="734"/>
                </a:lnTo>
                <a:lnTo>
                  <a:pt x="26" y="708"/>
                </a:lnTo>
                <a:lnTo>
                  <a:pt x="18" y="683"/>
                </a:lnTo>
                <a:lnTo>
                  <a:pt x="12" y="656"/>
                </a:lnTo>
                <a:lnTo>
                  <a:pt x="7" y="629"/>
                </a:lnTo>
                <a:lnTo>
                  <a:pt x="3" y="602"/>
                </a:lnTo>
                <a:lnTo>
                  <a:pt x="1" y="574"/>
                </a:lnTo>
                <a:lnTo>
                  <a:pt x="0" y="547"/>
                </a:lnTo>
                <a:lnTo>
                  <a:pt x="0" y="547"/>
                </a:lnTo>
                <a:lnTo>
                  <a:pt x="1" y="519"/>
                </a:lnTo>
                <a:lnTo>
                  <a:pt x="3" y="491"/>
                </a:lnTo>
                <a:lnTo>
                  <a:pt x="7" y="464"/>
                </a:lnTo>
                <a:lnTo>
                  <a:pt x="12" y="437"/>
                </a:lnTo>
                <a:lnTo>
                  <a:pt x="18" y="411"/>
                </a:lnTo>
                <a:lnTo>
                  <a:pt x="26" y="385"/>
                </a:lnTo>
                <a:lnTo>
                  <a:pt x="36" y="360"/>
                </a:lnTo>
                <a:lnTo>
                  <a:pt x="46" y="335"/>
                </a:lnTo>
                <a:lnTo>
                  <a:pt x="57" y="310"/>
                </a:lnTo>
                <a:lnTo>
                  <a:pt x="70" y="287"/>
                </a:lnTo>
                <a:lnTo>
                  <a:pt x="84" y="264"/>
                </a:lnTo>
                <a:lnTo>
                  <a:pt x="99" y="242"/>
                </a:lnTo>
                <a:lnTo>
                  <a:pt x="115" y="220"/>
                </a:lnTo>
                <a:lnTo>
                  <a:pt x="132" y="200"/>
                </a:lnTo>
                <a:lnTo>
                  <a:pt x="150" y="180"/>
                </a:lnTo>
                <a:lnTo>
                  <a:pt x="170" y="161"/>
                </a:lnTo>
                <a:lnTo>
                  <a:pt x="189" y="143"/>
                </a:lnTo>
                <a:lnTo>
                  <a:pt x="210" y="125"/>
                </a:lnTo>
                <a:lnTo>
                  <a:pt x="232" y="109"/>
                </a:lnTo>
                <a:lnTo>
                  <a:pt x="254" y="94"/>
                </a:lnTo>
                <a:lnTo>
                  <a:pt x="278" y="79"/>
                </a:lnTo>
                <a:lnTo>
                  <a:pt x="303" y="66"/>
                </a:lnTo>
                <a:lnTo>
                  <a:pt x="327" y="54"/>
                </a:lnTo>
                <a:lnTo>
                  <a:pt x="353" y="44"/>
                </a:lnTo>
                <a:lnTo>
                  <a:pt x="379" y="33"/>
                </a:lnTo>
                <a:lnTo>
                  <a:pt x="406" y="24"/>
                </a:lnTo>
                <a:lnTo>
                  <a:pt x="432" y="17"/>
                </a:lnTo>
                <a:lnTo>
                  <a:pt x="461" y="11"/>
                </a:lnTo>
                <a:lnTo>
                  <a:pt x="489" y="6"/>
                </a:lnTo>
                <a:lnTo>
                  <a:pt x="517" y="3"/>
                </a:lnTo>
                <a:lnTo>
                  <a:pt x="547" y="1"/>
                </a:lnTo>
                <a:lnTo>
                  <a:pt x="577" y="0"/>
                </a:lnTo>
                <a:lnTo>
                  <a:pt x="577" y="0"/>
                </a:lnTo>
                <a:lnTo>
                  <a:pt x="606" y="1"/>
                </a:lnTo>
                <a:lnTo>
                  <a:pt x="635" y="3"/>
                </a:lnTo>
                <a:lnTo>
                  <a:pt x="663" y="6"/>
                </a:lnTo>
                <a:lnTo>
                  <a:pt x="692" y="11"/>
                </a:lnTo>
                <a:lnTo>
                  <a:pt x="720" y="17"/>
                </a:lnTo>
                <a:lnTo>
                  <a:pt x="746" y="24"/>
                </a:lnTo>
                <a:lnTo>
                  <a:pt x="774" y="33"/>
                </a:lnTo>
                <a:lnTo>
                  <a:pt x="799" y="44"/>
                </a:lnTo>
                <a:lnTo>
                  <a:pt x="825" y="54"/>
                </a:lnTo>
                <a:lnTo>
                  <a:pt x="850" y="66"/>
                </a:lnTo>
                <a:lnTo>
                  <a:pt x="874" y="79"/>
                </a:lnTo>
                <a:lnTo>
                  <a:pt x="897" y="94"/>
                </a:lnTo>
                <a:lnTo>
                  <a:pt x="919" y="109"/>
                </a:lnTo>
                <a:lnTo>
                  <a:pt x="942" y="125"/>
                </a:lnTo>
                <a:lnTo>
                  <a:pt x="962" y="143"/>
                </a:lnTo>
                <a:lnTo>
                  <a:pt x="982" y="161"/>
                </a:lnTo>
                <a:lnTo>
                  <a:pt x="1001" y="180"/>
                </a:lnTo>
                <a:lnTo>
                  <a:pt x="1019" y="200"/>
                </a:lnTo>
                <a:lnTo>
                  <a:pt x="1037" y="220"/>
                </a:lnTo>
                <a:lnTo>
                  <a:pt x="1052" y="242"/>
                </a:lnTo>
                <a:lnTo>
                  <a:pt x="1067" y="264"/>
                </a:lnTo>
                <a:lnTo>
                  <a:pt x="1082" y="287"/>
                </a:lnTo>
                <a:lnTo>
                  <a:pt x="1094" y="310"/>
                </a:lnTo>
                <a:lnTo>
                  <a:pt x="1105" y="335"/>
                </a:lnTo>
                <a:lnTo>
                  <a:pt x="1116" y="360"/>
                </a:lnTo>
                <a:lnTo>
                  <a:pt x="1125" y="385"/>
                </a:lnTo>
                <a:lnTo>
                  <a:pt x="1133" y="411"/>
                </a:lnTo>
                <a:lnTo>
                  <a:pt x="1139" y="437"/>
                </a:lnTo>
                <a:lnTo>
                  <a:pt x="1144" y="464"/>
                </a:lnTo>
                <a:lnTo>
                  <a:pt x="1148" y="491"/>
                </a:lnTo>
                <a:lnTo>
                  <a:pt x="1150" y="519"/>
                </a:lnTo>
                <a:lnTo>
                  <a:pt x="1151" y="547"/>
                </a:lnTo>
                <a:lnTo>
                  <a:pt x="1151" y="547"/>
                </a:lnTo>
                <a:lnTo>
                  <a:pt x="1150" y="574"/>
                </a:lnTo>
                <a:lnTo>
                  <a:pt x="1148" y="602"/>
                </a:lnTo>
                <a:lnTo>
                  <a:pt x="1144" y="629"/>
                </a:lnTo>
                <a:lnTo>
                  <a:pt x="1139" y="656"/>
                </a:lnTo>
                <a:lnTo>
                  <a:pt x="1133" y="683"/>
                </a:lnTo>
                <a:lnTo>
                  <a:pt x="1125" y="708"/>
                </a:lnTo>
                <a:lnTo>
                  <a:pt x="1116" y="734"/>
                </a:lnTo>
                <a:lnTo>
                  <a:pt x="1105" y="758"/>
                </a:lnTo>
                <a:lnTo>
                  <a:pt x="1094" y="783"/>
                </a:lnTo>
                <a:lnTo>
                  <a:pt x="1082" y="806"/>
                </a:lnTo>
                <a:lnTo>
                  <a:pt x="1067" y="830"/>
                </a:lnTo>
                <a:lnTo>
                  <a:pt x="1052" y="851"/>
                </a:lnTo>
                <a:lnTo>
                  <a:pt x="1037" y="873"/>
                </a:lnTo>
                <a:lnTo>
                  <a:pt x="1019" y="894"/>
                </a:lnTo>
                <a:lnTo>
                  <a:pt x="1001" y="914"/>
                </a:lnTo>
                <a:lnTo>
                  <a:pt x="982" y="933"/>
                </a:lnTo>
                <a:lnTo>
                  <a:pt x="962" y="950"/>
                </a:lnTo>
                <a:lnTo>
                  <a:pt x="942" y="968"/>
                </a:lnTo>
                <a:lnTo>
                  <a:pt x="919" y="984"/>
                </a:lnTo>
                <a:lnTo>
                  <a:pt x="897" y="1000"/>
                </a:lnTo>
                <a:lnTo>
                  <a:pt x="874" y="1014"/>
                </a:lnTo>
                <a:lnTo>
                  <a:pt x="850" y="1027"/>
                </a:lnTo>
                <a:lnTo>
                  <a:pt x="825" y="1039"/>
                </a:lnTo>
                <a:lnTo>
                  <a:pt x="799" y="1051"/>
                </a:lnTo>
                <a:lnTo>
                  <a:pt x="774" y="1060"/>
                </a:lnTo>
                <a:lnTo>
                  <a:pt x="746" y="1069"/>
                </a:lnTo>
                <a:lnTo>
                  <a:pt x="720" y="1076"/>
                </a:lnTo>
                <a:lnTo>
                  <a:pt x="692" y="1082"/>
                </a:lnTo>
                <a:lnTo>
                  <a:pt x="663" y="1087"/>
                </a:lnTo>
                <a:lnTo>
                  <a:pt x="635" y="1091"/>
                </a:lnTo>
                <a:lnTo>
                  <a:pt x="606" y="1093"/>
                </a:lnTo>
                <a:lnTo>
                  <a:pt x="577" y="1094"/>
                </a:lnTo>
                <a:lnTo>
                  <a:pt x="577" y="1094"/>
                </a:lnTo>
                <a:close/>
                <a:moveTo>
                  <a:pt x="577" y="82"/>
                </a:moveTo>
                <a:lnTo>
                  <a:pt x="577" y="82"/>
                </a:lnTo>
                <a:lnTo>
                  <a:pt x="554" y="83"/>
                </a:lnTo>
                <a:lnTo>
                  <a:pt x="533" y="86"/>
                </a:lnTo>
                <a:lnTo>
                  <a:pt x="511" y="90"/>
                </a:lnTo>
                <a:lnTo>
                  <a:pt x="492" y="94"/>
                </a:lnTo>
                <a:lnTo>
                  <a:pt x="472" y="100"/>
                </a:lnTo>
                <a:lnTo>
                  <a:pt x="454" y="108"/>
                </a:lnTo>
                <a:lnTo>
                  <a:pt x="436" y="116"/>
                </a:lnTo>
                <a:lnTo>
                  <a:pt x="419" y="125"/>
                </a:lnTo>
                <a:lnTo>
                  <a:pt x="404" y="137"/>
                </a:lnTo>
                <a:lnTo>
                  <a:pt x="388" y="148"/>
                </a:lnTo>
                <a:lnTo>
                  <a:pt x="374" y="161"/>
                </a:lnTo>
                <a:lnTo>
                  <a:pt x="360" y="174"/>
                </a:lnTo>
                <a:lnTo>
                  <a:pt x="347" y="189"/>
                </a:lnTo>
                <a:lnTo>
                  <a:pt x="335" y="204"/>
                </a:lnTo>
                <a:lnTo>
                  <a:pt x="324" y="219"/>
                </a:lnTo>
                <a:lnTo>
                  <a:pt x="313" y="237"/>
                </a:lnTo>
                <a:lnTo>
                  <a:pt x="303" y="253"/>
                </a:lnTo>
                <a:lnTo>
                  <a:pt x="293" y="272"/>
                </a:lnTo>
                <a:lnTo>
                  <a:pt x="285" y="290"/>
                </a:lnTo>
                <a:lnTo>
                  <a:pt x="277" y="308"/>
                </a:lnTo>
                <a:lnTo>
                  <a:pt x="270" y="327"/>
                </a:lnTo>
                <a:lnTo>
                  <a:pt x="264" y="346"/>
                </a:lnTo>
                <a:lnTo>
                  <a:pt x="258" y="367"/>
                </a:lnTo>
                <a:lnTo>
                  <a:pt x="252" y="386"/>
                </a:lnTo>
                <a:lnTo>
                  <a:pt x="248" y="407"/>
                </a:lnTo>
                <a:lnTo>
                  <a:pt x="244" y="426"/>
                </a:lnTo>
                <a:lnTo>
                  <a:pt x="240" y="446"/>
                </a:lnTo>
                <a:lnTo>
                  <a:pt x="238" y="467"/>
                </a:lnTo>
                <a:lnTo>
                  <a:pt x="234" y="507"/>
                </a:lnTo>
                <a:lnTo>
                  <a:pt x="233" y="547"/>
                </a:lnTo>
                <a:lnTo>
                  <a:pt x="233" y="547"/>
                </a:lnTo>
                <a:lnTo>
                  <a:pt x="234" y="587"/>
                </a:lnTo>
                <a:lnTo>
                  <a:pt x="238" y="626"/>
                </a:lnTo>
                <a:lnTo>
                  <a:pt x="240" y="647"/>
                </a:lnTo>
                <a:lnTo>
                  <a:pt x="244" y="667"/>
                </a:lnTo>
                <a:lnTo>
                  <a:pt x="248" y="687"/>
                </a:lnTo>
                <a:lnTo>
                  <a:pt x="252" y="707"/>
                </a:lnTo>
                <a:lnTo>
                  <a:pt x="258" y="728"/>
                </a:lnTo>
                <a:lnTo>
                  <a:pt x="264" y="747"/>
                </a:lnTo>
                <a:lnTo>
                  <a:pt x="270" y="766"/>
                </a:lnTo>
                <a:lnTo>
                  <a:pt x="277" y="785"/>
                </a:lnTo>
                <a:lnTo>
                  <a:pt x="285" y="804"/>
                </a:lnTo>
                <a:lnTo>
                  <a:pt x="293" y="822"/>
                </a:lnTo>
                <a:lnTo>
                  <a:pt x="303" y="840"/>
                </a:lnTo>
                <a:lnTo>
                  <a:pt x="313" y="857"/>
                </a:lnTo>
                <a:lnTo>
                  <a:pt x="324" y="874"/>
                </a:lnTo>
                <a:lnTo>
                  <a:pt x="335" y="889"/>
                </a:lnTo>
                <a:lnTo>
                  <a:pt x="347" y="904"/>
                </a:lnTo>
                <a:lnTo>
                  <a:pt x="360" y="919"/>
                </a:lnTo>
                <a:lnTo>
                  <a:pt x="374" y="932"/>
                </a:lnTo>
                <a:lnTo>
                  <a:pt x="388" y="945"/>
                </a:lnTo>
                <a:lnTo>
                  <a:pt x="404" y="957"/>
                </a:lnTo>
                <a:lnTo>
                  <a:pt x="419" y="968"/>
                </a:lnTo>
                <a:lnTo>
                  <a:pt x="436" y="977"/>
                </a:lnTo>
                <a:lnTo>
                  <a:pt x="454" y="986"/>
                </a:lnTo>
                <a:lnTo>
                  <a:pt x="472" y="993"/>
                </a:lnTo>
                <a:lnTo>
                  <a:pt x="492" y="1000"/>
                </a:lnTo>
                <a:lnTo>
                  <a:pt x="511" y="1005"/>
                </a:lnTo>
                <a:lnTo>
                  <a:pt x="533" y="1008"/>
                </a:lnTo>
                <a:lnTo>
                  <a:pt x="554" y="1010"/>
                </a:lnTo>
                <a:lnTo>
                  <a:pt x="577" y="1011"/>
                </a:lnTo>
                <a:lnTo>
                  <a:pt x="577" y="1011"/>
                </a:lnTo>
                <a:lnTo>
                  <a:pt x="599" y="1010"/>
                </a:lnTo>
                <a:lnTo>
                  <a:pt x="621" y="1008"/>
                </a:lnTo>
                <a:lnTo>
                  <a:pt x="641" y="1005"/>
                </a:lnTo>
                <a:lnTo>
                  <a:pt x="661" y="1000"/>
                </a:lnTo>
                <a:lnTo>
                  <a:pt x="680" y="993"/>
                </a:lnTo>
                <a:lnTo>
                  <a:pt x="698" y="986"/>
                </a:lnTo>
                <a:lnTo>
                  <a:pt x="716" y="977"/>
                </a:lnTo>
                <a:lnTo>
                  <a:pt x="733" y="968"/>
                </a:lnTo>
                <a:lnTo>
                  <a:pt x="748" y="957"/>
                </a:lnTo>
                <a:lnTo>
                  <a:pt x="764" y="945"/>
                </a:lnTo>
                <a:lnTo>
                  <a:pt x="778" y="932"/>
                </a:lnTo>
                <a:lnTo>
                  <a:pt x="792" y="919"/>
                </a:lnTo>
                <a:lnTo>
                  <a:pt x="805" y="904"/>
                </a:lnTo>
                <a:lnTo>
                  <a:pt x="817" y="889"/>
                </a:lnTo>
                <a:lnTo>
                  <a:pt x="829" y="874"/>
                </a:lnTo>
                <a:lnTo>
                  <a:pt x="839" y="857"/>
                </a:lnTo>
                <a:lnTo>
                  <a:pt x="850" y="840"/>
                </a:lnTo>
                <a:lnTo>
                  <a:pt x="859" y="822"/>
                </a:lnTo>
                <a:lnTo>
                  <a:pt x="867" y="804"/>
                </a:lnTo>
                <a:lnTo>
                  <a:pt x="875" y="785"/>
                </a:lnTo>
                <a:lnTo>
                  <a:pt x="882" y="766"/>
                </a:lnTo>
                <a:lnTo>
                  <a:pt x="889" y="747"/>
                </a:lnTo>
                <a:lnTo>
                  <a:pt x="896" y="728"/>
                </a:lnTo>
                <a:lnTo>
                  <a:pt x="901" y="707"/>
                </a:lnTo>
                <a:lnTo>
                  <a:pt x="905" y="687"/>
                </a:lnTo>
                <a:lnTo>
                  <a:pt x="909" y="667"/>
                </a:lnTo>
                <a:lnTo>
                  <a:pt x="912" y="647"/>
                </a:lnTo>
                <a:lnTo>
                  <a:pt x="915" y="626"/>
                </a:lnTo>
                <a:lnTo>
                  <a:pt x="919" y="587"/>
                </a:lnTo>
                <a:lnTo>
                  <a:pt x="920" y="547"/>
                </a:lnTo>
                <a:lnTo>
                  <a:pt x="920" y="547"/>
                </a:lnTo>
                <a:lnTo>
                  <a:pt x="919" y="507"/>
                </a:lnTo>
                <a:lnTo>
                  <a:pt x="915" y="467"/>
                </a:lnTo>
                <a:lnTo>
                  <a:pt x="912" y="446"/>
                </a:lnTo>
                <a:lnTo>
                  <a:pt x="909" y="426"/>
                </a:lnTo>
                <a:lnTo>
                  <a:pt x="905" y="407"/>
                </a:lnTo>
                <a:lnTo>
                  <a:pt x="901" y="386"/>
                </a:lnTo>
                <a:lnTo>
                  <a:pt x="896" y="367"/>
                </a:lnTo>
                <a:lnTo>
                  <a:pt x="889" y="346"/>
                </a:lnTo>
                <a:lnTo>
                  <a:pt x="882" y="327"/>
                </a:lnTo>
                <a:lnTo>
                  <a:pt x="875" y="308"/>
                </a:lnTo>
                <a:lnTo>
                  <a:pt x="867" y="290"/>
                </a:lnTo>
                <a:lnTo>
                  <a:pt x="859" y="272"/>
                </a:lnTo>
                <a:lnTo>
                  <a:pt x="850" y="253"/>
                </a:lnTo>
                <a:lnTo>
                  <a:pt x="839" y="237"/>
                </a:lnTo>
                <a:lnTo>
                  <a:pt x="829" y="219"/>
                </a:lnTo>
                <a:lnTo>
                  <a:pt x="817" y="204"/>
                </a:lnTo>
                <a:lnTo>
                  <a:pt x="805" y="189"/>
                </a:lnTo>
                <a:lnTo>
                  <a:pt x="792" y="174"/>
                </a:lnTo>
                <a:lnTo>
                  <a:pt x="778" y="161"/>
                </a:lnTo>
                <a:lnTo>
                  <a:pt x="764" y="148"/>
                </a:lnTo>
                <a:lnTo>
                  <a:pt x="748" y="137"/>
                </a:lnTo>
                <a:lnTo>
                  <a:pt x="733" y="125"/>
                </a:lnTo>
                <a:lnTo>
                  <a:pt x="716" y="116"/>
                </a:lnTo>
                <a:lnTo>
                  <a:pt x="698" y="108"/>
                </a:lnTo>
                <a:lnTo>
                  <a:pt x="680" y="100"/>
                </a:lnTo>
                <a:lnTo>
                  <a:pt x="661" y="94"/>
                </a:lnTo>
                <a:lnTo>
                  <a:pt x="641" y="90"/>
                </a:lnTo>
                <a:lnTo>
                  <a:pt x="621" y="86"/>
                </a:lnTo>
                <a:lnTo>
                  <a:pt x="599" y="83"/>
                </a:lnTo>
                <a:lnTo>
                  <a:pt x="577" y="82"/>
                </a:lnTo>
                <a:lnTo>
                  <a:pt x="577" y="82"/>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65" name="Freeform 16">
            <a:extLst>
              <a:ext uri="{FF2B5EF4-FFF2-40B4-BE49-F238E27FC236}">
                <a16:creationId xmlns:a16="http://schemas.microsoft.com/office/drawing/2014/main" id="{B5D68C21-7AED-414B-9238-BC99BD377826}"/>
              </a:ext>
            </a:extLst>
          </p:cNvPr>
          <p:cNvSpPr>
            <a:spLocks/>
          </p:cNvSpPr>
          <p:nvPr userDrawn="1"/>
        </p:nvSpPr>
        <p:spPr bwMode="auto">
          <a:xfrm>
            <a:off x="3332163" y="889001"/>
            <a:ext cx="93663" cy="146050"/>
          </a:xfrm>
          <a:custGeom>
            <a:avLst/>
            <a:gdLst>
              <a:gd name="T0" fmla="*/ 52 w 712"/>
              <a:gd name="T1" fmla="*/ 723 h 1103"/>
              <a:gd name="T2" fmla="*/ 75 w 712"/>
              <a:gd name="T3" fmla="*/ 804 h 1103"/>
              <a:gd name="T4" fmla="*/ 112 w 712"/>
              <a:gd name="T5" fmla="*/ 875 h 1103"/>
              <a:gd name="T6" fmla="*/ 159 w 712"/>
              <a:gd name="T7" fmla="*/ 933 h 1103"/>
              <a:gd name="T8" fmla="*/ 215 w 712"/>
              <a:gd name="T9" fmla="*/ 978 h 1103"/>
              <a:gd name="T10" fmla="*/ 278 w 712"/>
              <a:gd name="T11" fmla="*/ 1009 h 1103"/>
              <a:gd name="T12" fmla="*/ 343 w 712"/>
              <a:gd name="T13" fmla="*/ 1024 h 1103"/>
              <a:gd name="T14" fmla="*/ 405 w 712"/>
              <a:gd name="T15" fmla="*/ 1022 h 1103"/>
              <a:gd name="T16" fmla="*/ 481 w 712"/>
              <a:gd name="T17" fmla="*/ 992 h 1103"/>
              <a:gd name="T18" fmla="*/ 529 w 712"/>
              <a:gd name="T19" fmla="*/ 929 h 1103"/>
              <a:gd name="T20" fmla="*/ 541 w 712"/>
              <a:gd name="T21" fmla="*/ 854 h 1103"/>
              <a:gd name="T22" fmla="*/ 528 w 712"/>
              <a:gd name="T23" fmla="*/ 795 h 1103"/>
              <a:gd name="T24" fmla="*/ 490 w 712"/>
              <a:gd name="T25" fmla="*/ 737 h 1103"/>
              <a:gd name="T26" fmla="*/ 429 w 712"/>
              <a:gd name="T27" fmla="*/ 688 h 1103"/>
              <a:gd name="T28" fmla="*/ 198 w 712"/>
              <a:gd name="T29" fmla="*/ 566 h 1103"/>
              <a:gd name="T30" fmla="*/ 94 w 712"/>
              <a:gd name="T31" fmla="*/ 485 h 1103"/>
              <a:gd name="T32" fmla="*/ 32 w 712"/>
              <a:gd name="T33" fmla="*/ 380 h 1103"/>
              <a:gd name="T34" fmla="*/ 16 w 712"/>
              <a:gd name="T35" fmla="*/ 267 h 1103"/>
              <a:gd name="T36" fmla="*/ 25 w 712"/>
              <a:gd name="T37" fmla="*/ 204 h 1103"/>
              <a:gd name="T38" fmla="*/ 52 w 712"/>
              <a:gd name="T39" fmla="*/ 145 h 1103"/>
              <a:gd name="T40" fmla="*/ 94 w 712"/>
              <a:gd name="T41" fmla="*/ 95 h 1103"/>
              <a:gd name="T42" fmla="*/ 148 w 712"/>
              <a:gd name="T43" fmla="*/ 54 h 1103"/>
              <a:gd name="T44" fmla="*/ 212 w 712"/>
              <a:gd name="T45" fmla="*/ 25 h 1103"/>
              <a:gd name="T46" fmla="*/ 285 w 712"/>
              <a:gd name="T47" fmla="*/ 11 h 1103"/>
              <a:gd name="T48" fmla="*/ 352 w 712"/>
              <a:gd name="T49" fmla="*/ 11 h 1103"/>
              <a:gd name="T50" fmla="*/ 427 w 712"/>
              <a:gd name="T51" fmla="*/ 25 h 1103"/>
              <a:gd name="T52" fmla="*/ 526 w 712"/>
              <a:gd name="T53" fmla="*/ 79 h 1103"/>
              <a:gd name="T54" fmla="*/ 556 w 712"/>
              <a:gd name="T55" fmla="*/ 47 h 1103"/>
              <a:gd name="T56" fmla="*/ 624 w 712"/>
              <a:gd name="T57" fmla="*/ 0 h 1103"/>
              <a:gd name="T58" fmla="*/ 568 w 712"/>
              <a:gd name="T59" fmla="*/ 328 h 1103"/>
              <a:gd name="T60" fmla="*/ 527 w 712"/>
              <a:gd name="T61" fmla="*/ 203 h 1103"/>
              <a:gd name="T62" fmla="*/ 481 w 712"/>
              <a:gd name="T63" fmla="*/ 142 h 1103"/>
              <a:gd name="T64" fmla="*/ 428 w 712"/>
              <a:gd name="T65" fmla="*/ 106 h 1103"/>
              <a:gd name="T66" fmla="*/ 358 w 712"/>
              <a:gd name="T67" fmla="*/ 86 h 1103"/>
              <a:gd name="T68" fmla="*/ 300 w 712"/>
              <a:gd name="T69" fmla="*/ 87 h 1103"/>
              <a:gd name="T70" fmla="*/ 240 w 712"/>
              <a:gd name="T71" fmla="*/ 113 h 1103"/>
              <a:gd name="T72" fmla="*/ 199 w 712"/>
              <a:gd name="T73" fmla="*/ 165 h 1103"/>
              <a:gd name="T74" fmla="*/ 187 w 712"/>
              <a:gd name="T75" fmla="*/ 222 h 1103"/>
              <a:gd name="T76" fmla="*/ 200 w 712"/>
              <a:gd name="T77" fmla="*/ 278 h 1103"/>
              <a:gd name="T78" fmla="*/ 241 w 712"/>
              <a:gd name="T79" fmla="*/ 336 h 1103"/>
              <a:gd name="T80" fmla="*/ 308 w 712"/>
              <a:gd name="T81" fmla="*/ 390 h 1103"/>
              <a:gd name="T82" fmla="*/ 535 w 712"/>
              <a:gd name="T83" fmla="*/ 510 h 1103"/>
              <a:gd name="T84" fmla="*/ 631 w 712"/>
              <a:gd name="T85" fmla="*/ 590 h 1103"/>
              <a:gd name="T86" fmla="*/ 695 w 712"/>
              <a:gd name="T87" fmla="*/ 693 h 1103"/>
              <a:gd name="T88" fmla="*/ 712 w 712"/>
              <a:gd name="T89" fmla="*/ 789 h 1103"/>
              <a:gd name="T90" fmla="*/ 701 w 712"/>
              <a:gd name="T91" fmla="*/ 872 h 1103"/>
              <a:gd name="T92" fmla="*/ 669 w 712"/>
              <a:gd name="T93" fmla="*/ 945 h 1103"/>
              <a:gd name="T94" fmla="*/ 619 w 712"/>
              <a:gd name="T95" fmla="*/ 1005 h 1103"/>
              <a:gd name="T96" fmla="*/ 556 w 712"/>
              <a:gd name="T97" fmla="*/ 1053 h 1103"/>
              <a:gd name="T98" fmla="*/ 483 w 712"/>
              <a:gd name="T99" fmla="*/ 1085 h 1103"/>
              <a:gd name="T100" fmla="*/ 402 w 712"/>
              <a:gd name="T101" fmla="*/ 1101 h 1103"/>
              <a:gd name="T102" fmla="*/ 323 w 712"/>
              <a:gd name="T103" fmla="*/ 1100 h 1103"/>
              <a:gd name="T104" fmla="*/ 223 w 712"/>
              <a:gd name="T105" fmla="*/ 1073 h 1103"/>
              <a:gd name="T106" fmla="*/ 111 w 712"/>
              <a:gd name="T107" fmla="*/ 1024 h 1103"/>
              <a:gd name="T108" fmla="*/ 77 w 712"/>
              <a:gd name="T109" fmla="*/ 1044 h 1103"/>
              <a:gd name="T110" fmla="*/ 51 w 712"/>
              <a:gd name="T111" fmla="*/ 1103 h 1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2" h="1103">
                <a:moveTo>
                  <a:pt x="51" y="1103"/>
                </a:moveTo>
                <a:lnTo>
                  <a:pt x="0" y="1103"/>
                </a:lnTo>
                <a:lnTo>
                  <a:pt x="0" y="723"/>
                </a:lnTo>
                <a:lnTo>
                  <a:pt x="52" y="723"/>
                </a:lnTo>
                <a:lnTo>
                  <a:pt x="52" y="723"/>
                </a:lnTo>
                <a:lnTo>
                  <a:pt x="56" y="740"/>
                </a:lnTo>
                <a:lnTo>
                  <a:pt x="60" y="757"/>
                </a:lnTo>
                <a:lnTo>
                  <a:pt x="64" y="773"/>
                </a:lnTo>
                <a:lnTo>
                  <a:pt x="69" y="789"/>
                </a:lnTo>
                <a:lnTo>
                  <a:pt x="75" y="804"/>
                </a:lnTo>
                <a:lnTo>
                  <a:pt x="81" y="819"/>
                </a:lnTo>
                <a:lnTo>
                  <a:pt x="88" y="834"/>
                </a:lnTo>
                <a:lnTo>
                  <a:pt x="96" y="848"/>
                </a:lnTo>
                <a:lnTo>
                  <a:pt x="104" y="861"/>
                </a:lnTo>
                <a:lnTo>
                  <a:pt x="112" y="875"/>
                </a:lnTo>
                <a:lnTo>
                  <a:pt x="120" y="888"/>
                </a:lnTo>
                <a:lnTo>
                  <a:pt x="129" y="899"/>
                </a:lnTo>
                <a:lnTo>
                  <a:pt x="139" y="911"/>
                </a:lnTo>
                <a:lnTo>
                  <a:pt x="149" y="923"/>
                </a:lnTo>
                <a:lnTo>
                  <a:pt x="159" y="933"/>
                </a:lnTo>
                <a:lnTo>
                  <a:pt x="170" y="943"/>
                </a:lnTo>
                <a:lnTo>
                  <a:pt x="180" y="952"/>
                </a:lnTo>
                <a:lnTo>
                  <a:pt x="192" y="962"/>
                </a:lnTo>
                <a:lnTo>
                  <a:pt x="204" y="970"/>
                </a:lnTo>
                <a:lnTo>
                  <a:pt x="215" y="978"/>
                </a:lnTo>
                <a:lnTo>
                  <a:pt x="227" y="985"/>
                </a:lnTo>
                <a:lnTo>
                  <a:pt x="240" y="992"/>
                </a:lnTo>
                <a:lnTo>
                  <a:pt x="252" y="998"/>
                </a:lnTo>
                <a:lnTo>
                  <a:pt x="264" y="1003"/>
                </a:lnTo>
                <a:lnTo>
                  <a:pt x="278" y="1009"/>
                </a:lnTo>
                <a:lnTo>
                  <a:pt x="290" y="1013"/>
                </a:lnTo>
                <a:lnTo>
                  <a:pt x="303" y="1017"/>
                </a:lnTo>
                <a:lnTo>
                  <a:pt x="316" y="1020"/>
                </a:lnTo>
                <a:lnTo>
                  <a:pt x="330" y="1022"/>
                </a:lnTo>
                <a:lnTo>
                  <a:pt x="343" y="1024"/>
                </a:lnTo>
                <a:lnTo>
                  <a:pt x="356" y="1025"/>
                </a:lnTo>
                <a:lnTo>
                  <a:pt x="370" y="1025"/>
                </a:lnTo>
                <a:lnTo>
                  <a:pt x="370" y="1025"/>
                </a:lnTo>
                <a:lnTo>
                  <a:pt x="388" y="1024"/>
                </a:lnTo>
                <a:lnTo>
                  <a:pt x="405" y="1022"/>
                </a:lnTo>
                <a:lnTo>
                  <a:pt x="423" y="1019"/>
                </a:lnTo>
                <a:lnTo>
                  <a:pt x="438" y="1015"/>
                </a:lnTo>
                <a:lnTo>
                  <a:pt x="453" y="1009"/>
                </a:lnTo>
                <a:lnTo>
                  <a:pt x="468" y="1000"/>
                </a:lnTo>
                <a:lnTo>
                  <a:pt x="481" y="992"/>
                </a:lnTo>
                <a:lnTo>
                  <a:pt x="493" y="982"/>
                </a:lnTo>
                <a:lnTo>
                  <a:pt x="504" y="971"/>
                </a:lnTo>
                <a:lnTo>
                  <a:pt x="514" y="958"/>
                </a:lnTo>
                <a:lnTo>
                  <a:pt x="522" y="944"/>
                </a:lnTo>
                <a:lnTo>
                  <a:pt x="529" y="929"/>
                </a:lnTo>
                <a:lnTo>
                  <a:pt x="534" y="912"/>
                </a:lnTo>
                <a:lnTo>
                  <a:pt x="538" y="894"/>
                </a:lnTo>
                <a:lnTo>
                  <a:pt x="541" y="875"/>
                </a:lnTo>
                <a:lnTo>
                  <a:pt x="541" y="854"/>
                </a:lnTo>
                <a:lnTo>
                  <a:pt x="541" y="854"/>
                </a:lnTo>
                <a:lnTo>
                  <a:pt x="541" y="842"/>
                </a:lnTo>
                <a:lnTo>
                  <a:pt x="539" y="831"/>
                </a:lnTo>
                <a:lnTo>
                  <a:pt x="537" y="818"/>
                </a:lnTo>
                <a:lnTo>
                  <a:pt x="533" y="806"/>
                </a:lnTo>
                <a:lnTo>
                  <a:pt x="528" y="795"/>
                </a:lnTo>
                <a:lnTo>
                  <a:pt x="523" y="783"/>
                </a:lnTo>
                <a:lnTo>
                  <a:pt x="516" y="771"/>
                </a:lnTo>
                <a:lnTo>
                  <a:pt x="509" y="759"/>
                </a:lnTo>
                <a:lnTo>
                  <a:pt x="499" y="748"/>
                </a:lnTo>
                <a:lnTo>
                  <a:pt x="490" y="737"/>
                </a:lnTo>
                <a:lnTo>
                  <a:pt x="480" y="726"/>
                </a:lnTo>
                <a:lnTo>
                  <a:pt x="469" y="716"/>
                </a:lnTo>
                <a:lnTo>
                  <a:pt x="457" y="706"/>
                </a:lnTo>
                <a:lnTo>
                  <a:pt x="443" y="697"/>
                </a:lnTo>
                <a:lnTo>
                  <a:pt x="429" y="688"/>
                </a:lnTo>
                <a:lnTo>
                  <a:pt x="415" y="680"/>
                </a:lnTo>
                <a:lnTo>
                  <a:pt x="250" y="593"/>
                </a:lnTo>
                <a:lnTo>
                  <a:pt x="250" y="593"/>
                </a:lnTo>
                <a:lnTo>
                  <a:pt x="223" y="580"/>
                </a:lnTo>
                <a:lnTo>
                  <a:pt x="198" y="566"/>
                </a:lnTo>
                <a:lnTo>
                  <a:pt x="174" y="551"/>
                </a:lnTo>
                <a:lnTo>
                  <a:pt x="152" y="535"/>
                </a:lnTo>
                <a:lnTo>
                  <a:pt x="131" y="520"/>
                </a:lnTo>
                <a:lnTo>
                  <a:pt x="112" y="502"/>
                </a:lnTo>
                <a:lnTo>
                  <a:pt x="94" y="485"/>
                </a:lnTo>
                <a:lnTo>
                  <a:pt x="78" y="467"/>
                </a:lnTo>
                <a:lnTo>
                  <a:pt x="64" y="447"/>
                </a:lnTo>
                <a:lnTo>
                  <a:pt x="52" y="426"/>
                </a:lnTo>
                <a:lnTo>
                  <a:pt x="40" y="404"/>
                </a:lnTo>
                <a:lnTo>
                  <a:pt x="32" y="380"/>
                </a:lnTo>
                <a:lnTo>
                  <a:pt x="25" y="355"/>
                </a:lnTo>
                <a:lnTo>
                  <a:pt x="20" y="328"/>
                </a:lnTo>
                <a:lnTo>
                  <a:pt x="17" y="299"/>
                </a:lnTo>
                <a:lnTo>
                  <a:pt x="16" y="267"/>
                </a:lnTo>
                <a:lnTo>
                  <a:pt x="16" y="267"/>
                </a:lnTo>
                <a:lnTo>
                  <a:pt x="16" y="254"/>
                </a:lnTo>
                <a:lnTo>
                  <a:pt x="17" y="242"/>
                </a:lnTo>
                <a:lnTo>
                  <a:pt x="19" y="228"/>
                </a:lnTo>
                <a:lnTo>
                  <a:pt x="22" y="216"/>
                </a:lnTo>
                <a:lnTo>
                  <a:pt x="25" y="204"/>
                </a:lnTo>
                <a:lnTo>
                  <a:pt x="29" y="192"/>
                </a:lnTo>
                <a:lnTo>
                  <a:pt x="34" y="179"/>
                </a:lnTo>
                <a:lnTo>
                  <a:pt x="39" y="167"/>
                </a:lnTo>
                <a:lnTo>
                  <a:pt x="45" y="156"/>
                </a:lnTo>
                <a:lnTo>
                  <a:pt x="52" y="145"/>
                </a:lnTo>
                <a:lnTo>
                  <a:pt x="59" y="134"/>
                </a:lnTo>
                <a:lnTo>
                  <a:pt x="67" y="123"/>
                </a:lnTo>
                <a:lnTo>
                  <a:pt x="75" y="114"/>
                </a:lnTo>
                <a:lnTo>
                  <a:pt x="83" y="104"/>
                </a:lnTo>
                <a:lnTo>
                  <a:pt x="94" y="95"/>
                </a:lnTo>
                <a:lnTo>
                  <a:pt x="103" y="85"/>
                </a:lnTo>
                <a:lnTo>
                  <a:pt x="113" y="76"/>
                </a:lnTo>
                <a:lnTo>
                  <a:pt x="124" y="69"/>
                </a:lnTo>
                <a:lnTo>
                  <a:pt x="135" y="61"/>
                </a:lnTo>
                <a:lnTo>
                  <a:pt x="148" y="54"/>
                </a:lnTo>
                <a:lnTo>
                  <a:pt x="160" y="46"/>
                </a:lnTo>
                <a:lnTo>
                  <a:pt x="172" y="40"/>
                </a:lnTo>
                <a:lnTo>
                  <a:pt x="186" y="34"/>
                </a:lnTo>
                <a:lnTo>
                  <a:pt x="199" y="29"/>
                </a:lnTo>
                <a:lnTo>
                  <a:pt x="212" y="25"/>
                </a:lnTo>
                <a:lnTo>
                  <a:pt x="226" y="21"/>
                </a:lnTo>
                <a:lnTo>
                  <a:pt x="241" y="17"/>
                </a:lnTo>
                <a:lnTo>
                  <a:pt x="255" y="14"/>
                </a:lnTo>
                <a:lnTo>
                  <a:pt x="269" y="12"/>
                </a:lnTo>
                <a:lnTo>
                  <a:pt x="285" y="11"/>
                </a:lnTo>
                <a:lnTo>
                  <a:pt x="300" y="10"/>
                </a:lnTo>
                <a:lnTo>
                  <a:pt x="315" y="9"/>
                </a:lnTo>
                <a:lnTo>
                  <a:pt x="315" y="9"/>
                </a:lnTo>
                <a:lnTo>
                  <a:pt x="335" y="10"/>
                </a:lnTo>
                <a:lnTo>
                  <a:pt x="352" y="11"/>
                </a:lnTo>
                <a:lnTo>
                  <a:pt x="369" y="12"/>
                </a:lnTo>
                <a:lnTo>
                  <a:pt x="384" y="15"/>
                </a:lnTo>
                <a:lnTo>
                  <a:pt x="399" y="18"/>
                </a:lnTo>
                <a:lnTo>
                  <a:pt x="414" y="21"/>
                </a:lnTo>
                <a:lnTo>
                  <a:pt x="427" y="25"/>
                </a:lnTo>
                <a:lnTo>
                  <a:pt x="440" y="30"/>
                </a:lnTo>
                <a:lnTo>
                  <a:pt x="464" y="40"/>
                </a:lnTo>
                <a:lnTo>
                  <a:pt x="486" y="53"/>
                </a:lnTo>
                <a:lnTo>
                  <a:pt x="507" y="66"/>
                </a:lnTo>
                <a:lnTo>
                  <a:pt x="526" y="79"/>
                </a:lnTo>
                <a:lnTo>
                  <a:pt x="526" y="79"/>
                </a:lnTo>
                <a:lnTo>
                  <a:pt x="534" y="73"/>
                </a:lnTo>
                <a:lnTo>
                  <a:pt x="541" y="65"/>
                </a:lnTo>
                <a:lnTo>
                  <a:pt x="549" y="57"/>
                </a:lnTo>
                <a:lnTo>
                  <a:pt x="556" y="47"/>
                </a:lnTo>
                <a:lnTo>
                  <a:pt x="562" y="36"/>
                </a:lnTo>
                <a:lnTo>
                  <a:pt x="568" y="26"/>
                </a:lnTo>
                <a:lnTo>
                  <a:pt x="572" y="14"/>
                </a:lnTo>
                <a:lnTo>
                  <a:pt x="576" y="0"/>
                </a:lnTo>
                <a:lnTo>
                  <a:pt x="624" y="0"/>
                </a:lnTo>
                <a:lnTo>
                  <a:pt x="624" y="380"/>
                </a:lnTo>
                <a:lnTo>
                  <a:pt x="575" y="380"/>
                </a:lnTo>
                <a:lnTo>
                  <a:pt x="575" y="380"/>
                </a:lnTo>
                <a:lnTo>
                  <a:pt x="572" y="354"/>
                </a:lnTo>
                <a:lnTo>
                  <a:pt x="568" y="328"/>
                </a:lnTo>
                <a:lnTo>
                  <a:pt x="563" y="301"/>
                </a:lnTo>
                <a:lnTo>
                  <a:pt x="556" y="275"/>
                </a:lnTo>
                <a:lnTo>
                  <a:pt x="549" y="250"/>
                </a:lnTo>
                <a:lnTo>
                  <a:pt x="538" y="225"/>
                </a:lnTo>
                <a:lnTo>
                  <a:pt x="527" y="203"/>
                </a:lnTo>
                <a:lnTo>
                  <a:pt x="514" y="180"/>
                </a:lnTo>
                <a:lnTo>
                  <a:pt x="507" y="170"/>
                </a:lnTo>
                <a:lnTo>
                  <a:pt x="498" y="160"/>
                </a:lnTo>
                <a:lnTo>
                  <a:pt x="490" y="151"/>
                </a:lnTo>
                <a:lnTo>
                  <a:pt x="481" y="142"/>
                </a:lnTo>
                <a:lnTo>
                  <a:pt x="472" y="133"/>
                </a:lnTo>
                <a:lnTo>
                  <a:pt x="462" y="125"/>
                </a:lnTo>
                <a:lnTo>
                  <a:pt x="451" y="118"/>
                </a:lnTo>
                <a:lnTo>
                  <a:pt x="440" y="112"/>
                </a:lnTo>
                <a:lnTo>
                  <a:pt x="428" y="106"/>
                </a:lnTo>
                <a:lnTo>
                  <a:pt x="416" y="101"/>
                </a:lnTo>
                <a:lnTo>
                  <a:pt x="402" y="96"/>
                </a:lnTo>
                <a:lnTo>
                  <a:pt x="388" y="91"/>
                </a:lnTo>
                <a:lnTo>
                  <a:pt x="374" y="88"/>
                </a:lnTo>
                <a:lnTo>
                  <a:pt x="358" y="86"/>
                </a:lnTo>
                <a:lnTo>
                  <a:pt x="343" y="85"/>
                </a:lnTo>
                <a:lnTo>
                  <a:pt x="327" y="84"/>
                </a:lnTo>
                <a:lnTo>
                  <a:pt x="327" y="84"/>
                </a:lnTo>
                <a:lnTo>
                  <a:pt x="313" y="85"/>
                </a:lnTo>
                <a:lnTo>
                  <a:pt x="300" y="87"/>
                </a:lnTo>
                <a:lnTo>
                  <a:pt x="287" y="90"/>
                </a:lnTo>
                <a:lnTo>
                  <a:pt x="275" y="95"/>
                </a:lnTo>
                <a:lnTo>
                  <a:pt x="262" y="100"/>
                </a:lnTo>
                <a:lnTo>
                  <a:pt x="251" y="106"/>
                </a:lnTo>
                <a:lnTo>
                  <a:pt x="240" y="113"/>
                </a:lnTo>
                <a:lnTo>
                  <a:pt x="230" y="121"/>
                </a:lnTo>
                <a:lnTo>
                  <a:pt x="220" y="131"/>
                </a:lnTo>
                <a:lnTo>
                  <a:pt x="212" y="142"/>
                </a:lnTo>
                <a:lnTo>
                  <a:pt x="205" y="153"/>
                </a:lnTo>
                <a:lnTo>
                  <a:pt x="199" y="165"/>
                </a:lnTo>
                <a:lnTo>
                  <a:pt x="194" y="178"/>
                </a:lnTo>
                <a:lnTo>
                  <a:pt x="190" y="192"/>
                </a:lnTo>
                <a:lnTo>
                  <a:pt x="188" y="207"/>
                </a:lnTo>
                <a:lnTo>
                  <a:pt x="187" y="222"/>
                </a:lnTo>
                <a:lnTo>
                  <a:pt x="187" y="222"/>
                </a:lnTo>
                <a:lnTo>
                  <a:pt x="187" y="233"/>
                </a:lnTo>
                <a:lnTo>
                  <a:pt x="189" y="244"/>
                </a:lnTo>
                <a:lnTo>
                  <a:pt x="192" y="254"/>
                </a:lnTo>
                <a:lnTo>
                  <a:pt x="195" y="265"/>
                </a:lnTo>
                <a:lnTo>
                  <a:pt x="200" y="278"/>
                </a:lnTo>
                <a:lnTo>
                  <a:pt x="206" y="289"/>
                </a:lnTo>
                <a:lnTo>
                  <a:pt x="213" y="301"/>
                </a:lnTo>
                <a:lnTo>
                  <a:pt x="221" y="312"/>
                </a:lnTo>
                <a:lnTo>
                  <a:pt x="231" y="325"/>
                </a:lnTo>
                <a:lnTo>
                  <a:pt x="241" y="336"/>
                </a:lnTo>
                <a:lnTo>
                  <a:pt x="252" y="348"/>
                </a:lnTo>
                <a:lnTo>
                  <a:pt x="264" y="359"/>
                </a:lnTo>
                <a:lnTo>
                  <a:pt x="278" y="370"/>
                </a:lnTo>
                <a:lnTo>
                  <a:pt x="292" y="380"/>
                </a:lnTo>
                <a:lnTo>
                  <a:pt x="308" y="390"/>
                </a:lnTo>
                <a:lnTo>
                  <a:pt x="325" y="399"/>
                </a:lnTo>
                <a:lnTo>
                  <a:pt x="490" y="483"/>
                </a:lnTo>
                <a:lnTo>
                  <a:pt x="490" y="483"/>
                </a:lnTo>
                <a:lnTo>
                  <a:pt x="513" y="495"/>
                </a:lnTo>
                <a:lnTo>
                  <a:pt x="535" y="510"/>
                </a:lnTo>
                <a:lnTo>
                  <a:pt x="556" y="524"/>
                </a:lnTo>
                <a:lnTo>
                  <a:pt x="576" y="538"/>
                </a:lnTo>
                <a:lnTo>
                  <a:pt x="596" y="555"/>
                </a:lnTo>
                <a:lnTo>
                  <a:pt x="614" y="572"/>
                </a:lnTo>
                <a:lnTo>
                  <a:pt x="631" y="590"/>
                </a:lnTo>
                <a:lnTo>
                  <a:pt x="648" y="609"/>
                </a:lnTo>
                <a:lnTo>
                  <a:pt x="662" y="628"/>
                </a:lnTo>
                <a:lnTo>
                  <a:pt x="674" y="649"/>
                </a:lnTo>
                <a:lnTo>
                  <a:pt x="686" y="670"/>
                </a:lnTo>
                <a:lnTo>
                  <a:pt x="695" y="693"/>
                </a:lnTo>
                <a:lnTo>
                  <a:pt x="703" y="715"/>
                </a:lnTo>
                <a:lnTo>
                  <a:pt x="708" y="739"/>
                </a:lnTo>
                <a:lnTo>
                  <a:pt x="711" y="763"/>
                </a:lnTo>
                <a:lnTo>
                  <a:pt x="712" y="789"/>
                </a:lnTo>
                <a:lnTo>
                  <a:pt x="712" y="789"/>
                </a:lnTo>
                <a:lnTo>
                  <a:pt x="712" y="806"/>
                </a:lnTo>
                <a:lnTo>
                  <a:pt x="711" y="824"/>
                </a:lnTo>
                <a:lnTo>
                  <a:pt x="708" y="840"/>
                </a:lnTo>
                <a:lnTo>
                  <a:pt x="705" y="856"/>
                </a:lnTo>
                <a:lnTo>
                  <a:pt x="701" y="872"/>
                </a:lnTo>
                <a:lnTo>
                  <a:pt x="696" y="887"/>
                </a:lnTo>
                <a:lnTo>
                  <a:pt x="691" y="902"/>
                </a:lnTo>
                <a:lnTo>
                  <a:pt x="684" y="917"/>
                </a:lnTo>
                <a:lnTo>
                  <a:pt x="676" y="931"/>
                </a:lnTo>
                <a:lnTo>
                  <a:pt x="669" y="945"/>
                </a:lnTo>
                <a:lnTo>
                  <a:pt x="660" y="957"/>
                </a:lnTo>
                <a:lnTo>
                  <a:pt x="651" y="971"/>
                </a:lnTo>
                <a:lnTo>
                  <a:pt x="641" y="983"/>
                </a:lnTo>
                <a:lnTo>
                  <a:pt x="630" y="994"/>
                </a:lnTo>
                <a:lnTo>
                  <a:pt x="619" y="1005"/>
                </a:lnTo>
                <a:lnTo>
                  <a:pt x="608" y="1016"/>
                </a:lnTo>
                <a:lnTo>
                  <a:pt x="596" y="1026"/>
                </a:lnTo>
                <a:lnTo>
                  <a:pt x="582" y="1035"/>
                </a:lnTo>
                <a:lnTo>
                  <a:pt x="570" y="1044"/>
                </a:lnTo>
                <a:lnTo>
                  <a:pt x="556" y="1053"/>
                </a:lnTo>
                <a:lnTo>
                  <a:pt x="542" y="1061"/>
                </a:lnTo>
                <a:lnTo>
                  <a:pt x="528" y="1068"/>
                </a:lnTo>
                <a:lnTo>
                  <a:pt x="513" y="1074"/>
                </a:lnTo>
                <a:lnTo>
                  <a:pt x="498" y="1080"/>
                </a:lnTo>
                <a:lnTo>
                  <a:pt x="483" y="1085"/>
                </a:lnTo>
                <a:lnTo>
                  <a:pt x="467" y="1089"/>
                </a:lnTo>
                <a:lnTo>
                  <a:pt x="451" y="1093"/>
                </a:lnTo>
                <a:lnTo>
                  <a:pt x="435" y="1096"/>
                </a:lnTo>
                <a:lnTo>
                  <a:pt x="419" y="1100"/>
                </a:lnTo>
                <a:lnTo>
                  <a:pt x="402" y="1101"/>
                </a:lnTo>
                <a:lnTo>
                  <a:pt x="386" y="1103"/>
                </a:lnTo>
                <a:lnTo>
                  <a:pt x="370" y="1103"/>
                </a:lnTo>
                <a:lnTo>
                  <a:pt x="370" y="1103"/>
                </a:lnTo>
                <a:lnTo>
                  <a:pt x="345" y="1102"/>
                </a:lnTo>
                <a:lnTo>
                  <a:pt x="323" y="1100"/>
                </a:lnTo>
                <a:lnTo>
                  <a:pt x="300" y="1096"/>
                </a:lnTo>
                <a:lnTo>
                  <a:pt x="280" y="1091"/>
                </a:lnTo>
                <a:lnTo>
                  <a:pt x="260" y="1086"/>
                </a:lnTo>
                <a:lnTo>
                  <a:pt x="241" y="1080"/>
                </a:lnTo>
                <a:lnTo>
                  <a:pt x="223" y="1073"/>
                </a:lnTo>
                <a:lnTo>
                  <a:pt x="206" y="1067"/>
                </a:lnTo>
                <a:lnTo>
                  <a:pt x="175" y="1053"/>
                </a:lnTo>
                <a:lnTo>
                  <a:pt x="147" y="1039"/>
                </a:lnTo>
                <a:lnTo>
                  <a:pt x="122" y="1028"/>
                </a:lnTo>
                <a:lnTo>
                  <a:pt x="111" y="1024"/>
                </a:lnTo>
                <a:lnTo>
                  <a:pt x="101" y="1022"/>
                </a:lnTo>
                <a:lnTo>
                  <a:pt x="101" y="1022"/>
                </a:lnTo>
                <a:lnTo>
                  <a:pt x="93" y="1028"/>
                </a:lnTo>
                <a:lnTo>
                  <a:pt x="85" y="1036"/>
                </a:lnTo>
                <a:lnTo>
                  <a:pt x="77" y="1044"/>
                </a:lnTo>
                <a:lnTo>
                  <a:pt x="71" y="1055"/>
                </a:lnTo>
                <a:lnTo>
                  <a:pt x="64" y="1065"/>
                </a:lnTo>
                <a:lnTo>
                  <a:pt x="59" y="1076"/>
                </a:lnTo>
                <a:lnTo>
                  <a:pt x="54" y="1089"/>
                </a:lnTo>
                <a:lnTo>
                  <a:pt x="51" y="1103"/>
                </a:lnTo>
                <a:lnTo>
                  <a:pt x="51" y="1103"/>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66" name="Freeform 17">
            <a:extLst>
              <a:ext uri="{FF2B5EF4-FFF2-40B4-BE49-F238E27FC236}">
                <a16:creationId xmlns:a16="http://schemas.microsoft.com/office/drawing/2014/main" id="{66C73EC7-6D1D-844B-A699-5AF0D250FD86}"/>
              </a:ext>
            </a:extLst>
          </p:cNvPr>
          <p:cNvSpPr>
            <a:spLocks/>
          </p:cNvSpPr>
          <p:nvPr userDrawn="1"/>
        </p:nvSpPr>
        <p:spPr bwMode="auto">
          <a:xfrm>
            <a:off x="3455988" y="893763"/>
            <a:ext cx="142875" cy="136525"/>
          </a:xfrm>
          <a:custGeom>
            <a:avLst/>
            <a:gdLst>
              <a:gd name="T0" fmla="*/ 1028 w 1078"/>
              <a:gd name="T1" fmla="*/ 244 h 1035"/>
              <a:gd name="T2" fmla="*/ 1020 w 1078"/>
              <a:gd name="T3" fmla="*/ 209 h 1035"/>
              <a:gd name="T4" fmla="*/ 1006 w 1078"/>
              <a:gd name="T5" fmla="*/ 163 h 1035"/>
              <a:gd name="T6" fmla="*/ 995 w 1078"/>
              <a:gd name="T7" fmla="*/ 138 h 1035"/>
              <a:gd name="T8" fmla="*/ 980 w 1078"/>
              <a:gd name="T9" fmla="*/ 118 h 1035"/>
              <a:gd name="T10" fmla="*/ 959 w 1078"/>
              <a:gd name="T11" fmla="*/ 101 h 1035"/>
              <a:gd name="T12" fmla="*/ 932 w 1078"/>
              <a:gd name="T13" fmla="*/ 90 h 1035"/>
              <a:gd name="T14" fmla="*/ 895 w 1078"/>
              <a:gd name="T15" fmla="*/ 82 h 1035"/>
              <a:gd name="T16" fmla="*/ 848 w 1078"/>
              <a:gd name="T17" fmla="*/ 78 h 1035"/>
              <a:gd name="T18" fmla="*/ 646 w 1078"/>
              <a:gd name="T19" fmla="*/ 78 h 1035"/>
              <a:gd name="T20" fmla="*/ 646 w 1078"/>
              <a:gd name="T21" fmla="*/ 783 h 1035"/>
              <a:gd name="T22" fmla="*/ 648 w 1078"/>
              <a:gd name="T23" fmla="*/ 842 h 1035"/>
              <a:gd name="T24" fmla="*/ 652 w 1078"/>
              <a:gd name="T25" fmla="*/ 888 h 1035"/>
              <a:gd name="T26" fmla="*/ 662 w 1078"/>
              <a:gd name="T27" fmla="*/ 923 h 1035"/>
              <a:gd name="T28" fmla="*/ 672 w 1078"/>
              <a:gd name="T29" fmla="*/ 943 h 1035"/>
              <a:gd name="T30" fmla="*/ 680 w 1078"/>
              <a:gd name="T31" fmla="*/ 954 h 1035"/>
              <a:gd name="T32" fmla="*/ 691 w 1078"/>
              <a:gd name="T33" fmla="*/ 963 h 1035"/>
              <a:gd name="T34" fmla="*/ 711 w 1078"/>
              <a:gd name="T35" fmla="*/ 973 h 1035"/>
              <a:gd name="T36" fmla="*/ 743 w 1078"/>
              <a:gd name="T37" fmla="*/ 982 h 1035"/>
              <a:gd name="T38" fmla="*/ 787 w 1078"/>
              <a:gd name="T39" fmla="*/ 985 h 1035"/>
              <a:gd name="T40" fmla="*/ 812 w 1078"/>
              <a:gd name="T41" fmla="*/ 1035 h 1035"/>
              <a:gd name="T42" fmla="*/ 267 w 1078"/>
              <a:gd name="T43" fmla="*/ 985 h 1035"/>
              <a:gd name="T44" fmla="*/ 293 w 1078"/>
              <a:gd name="T45" fmla="*/ 985 h 1035"/>
              <a:gd name="T46" fmla="*/ 335 w 1078"/>
              <a:gd name="T47" fmla="*/ 982 h 1035"/>
              <a:gd name="T48" fmla="*/ 369 w 1078"/>
              <a:gd name="T49" fmla="*/ 973 h 1035"/>
              <a:gd name="T50" fmla="*/ 388 w 1078"/>
              <a:gd name="T51" fmla="*/ 963 h 1035"/>
              <a:gd name="T52" fmla="*/ 399 w 1078"/>
              <a:gd name="T53" fmla="*/ 954 h 1035"/>
              <a:gd name="T54" fmla="*/ 407 w 1078"/>
              <a:gd name="T55" fmla="*/ 943 h 1035"/>
              <a:gd name="T56" fmla="*/ 417 w 1078"/>
              <a:gd name="T57" fmla="*/ 923 h 1035"/>
              <a:gd name="T58" fmla="*/ 425 w 1078"/>
              <a:gd name="T59" fmla="*/ 888 h 1035"/>
              <a:gd name="T60" fmla="*/ 430 w 1078"/>
              <a:gd name="T61" fmla="*/ 842 h 1035"/>
              <a:gd name="T62" fmla="*/ 432 w 1078"/>
              <a:gd name="T63" fmla="*/ 783 h 1035"/>
              <a:gd name="T64" fmla="*/ 259 w 1078"/>
              <a:gd name="T65" fmla="*/ 78 h 1035"/>
              <a:gd name="T66" fmla="*/ 231 w 1078"/>
              <a:gd name="T67" fmla="*/ 78 h 1035"/>
              <a:gd name="T68" fmla="*/ 184 w 1078"/>
              <a:gd name="T69" fmla="*/ 82 h 1035"/>
              <a:gd name="T70" fmla="*/ 147 w 1078"/>
              <a:gd name="T71" fmla="*/ 90 h 1035"/>
              <a:gd name="T72" fmla="*/ 120 w 1078"/>
              <a:gd name="T73" fmla="*/ 101 h 1035"/>
              <a:gd name="T74" fmla="*/ 99 w 1078"/>
              <a:gd name="T75" fmla="*/ 118 h 1035"/>
              <a:gd name="T76" fmla="*/ 85 w 1078"/>
              <a:gd name="T77" fmla="*/ 138 h 1035"/>
              <a:gd name="T78" fmla="*/ 74 w 1078"/>
              <a:gd name="T79" fmla="*/ 163 h 1035"/>
              <a:gd name="T80" fmla="*/ 60 w 1078"/>
              <a:gd name="T81" fmla="*/ 209 h 1035"/>
              <a:gd name="T82" fmla="*/ 0 w 1078"/>
              <a:gd name="T83" fmla="*/ 244 h 1035"/>
              <a:gd name="T84" fmla="*/ 1065 w 1078"/>
              <a:gd name="T85" fmla="*/ 0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8" h="1035">
                <a:moveTo>
                  <a:pt x="1078" y="244"/>
                </a:moveTo>
                <a:lnTo>
                  <a:pt x="1028" y="244"/>
                </a:lnTo>
                <a:lnTo>
                  <a:pt x="1020" y="209"/>
                </a:lnTo>
                <a:lnTo>
                  <a:pt x="1020" y="209"/>
                </a:lnTo>
                <a:lnTo>
                  <a:pt x="1011" y="177"/>
                </a:lnTo>
                <a:lnTo>
                  <a:pt x="1006" y="163"/>
                </a:lnTo>
                <a:lnTo>
                  <a:pt x="1001" y="150"/>
                </a:lnTo>
                <a:lnTo>
                  <a:pt x="995" y="138"/>
                </a:lnTo>
                <a:lnTo>
                  <a:pt x="988" y="127"/>
                </a:lnTo>
                <a:lnTo>
                  <a:pt x="980" y="118"/>
                </a:lnTo>
                <a:lnTo>
                  <a:pt x="970" y="109"/>
                </a:lnTo>
                <a:lnTo>
                  <a:pt x="959" y="101"/>
                </a:lnTo>
                <a:lnTo>
                  <a:pt x="947" y="95"/>
                </a:lnTo>
                <a:lnTo>
                  <a:pt x="932" y="90"/>
                </a:lnTo>
                <a:lnTo>
                  <a:pt x="914" y="85"/>
                </a:lnTo>
                <a:lnTo>
                  <a:pt x="895" y="82"/>
                </a:lnTo>
                <a:lnTo>
                  <a:pt x="872" y="80"/>
                </a:lnTo>
                <a:lnTo>
                  <a:pt x="848" y="78"/>
                </a:lnTo>
                <a:lnTo>
                  <a:pt x="819" y="78"/>
                </a:lnTo>
                <a:lnTo>
                  <a:pt x="646" y="78"/>
                </a:lnTo>
                <a:lnTo>
                  <a:pt x="646" y="783"/>
                </a:lnTo>
                <a:lnTo>
                  <a:pt x="646" y="783"/>
                </a:lnTo>
                <a:lnTo>
                  <a:pt x="647" y="814"/>
                </a:lnTo>
                <a:lnTo>
                  <a:pt x="648" y="842"/>
                </a:lnTo>
                <a:lnTo>
                  <a:pt x="649" y="866"/>
                </a:lnTo>
                <a:lnTo>
                  <a:pt x="652" y="888"/>
                </a:lnTo>
                <a:lnTo>
                  <a:pt x="657" y="906"/>
                </a:lnTo>
                <a:lnTo>
                  <a:pt x="662" y="923"/>
                </a:lnTo>
                <a:lnTo>
                  <a:pt x="668" y="937"/>
                </a:lnTo>
                <a:lnTo>
                  <a:pt x="672" y="943"/>
                </a:lnTo>
                <a:lnTo>
                  <a:pt x="676" y="949"/>
                </a:lnTo>
                <a:lnTo>
                  <a:pt x="680" y="954"/>
                </a:lnTo>
                <a:lnTo>
                  <a:pt x="685" y="958"/>
                </a:lnTo>
                <a:lnTo>
                  <a:pt x="691" y="963"/>
                </a:lnTo>
                <a:lnTo>
                  <a:pt x="697" y="966"/>
                </a:lnTo>
                <a:lnTo>
                  <a:pt x="711" y="973"/>
                </a:lnTo>
                <a:lnTo>
                  <a:pt x="726" y="978"/>
                </a:lnTo>
                <a:lnTo>
                  <a:pt x="743" y="982"/>
                </a:lnTo>
                <a:lnTo>
                  <a:pt x="764" y="984"/>
                </a:lnTo>
                <a:lnTo>
                  <a:pt x="787" y="985"/>
                </a:lnTo>
                <a:lnTo>
                  <a:pt x="812" y="985"/>
                </a:lnTo>
                <a:lnTo>
                  <a:pt x="812" y="1035"/>
                </a:lnTo>
                <a:lnTo>
                  <a:pt x="267" y="1035"/>
                </a:lnTo>
                <a:lnTo>
                  <a:pt x="267" y="985"/>
                </a:lnTo>
                <a:lnTo>
                  <a:pt x="267" y="985"/>
                </a:lnTo>
                <a:lnTo>
                  <a:pt x="293" y="985"/>
                </a:lnTo>
                <a:lnTo>
                  <a:pt x="315" y="984"/>
                </a:lnTo>
                <a:lnTo>
                  <a:pt x="335" y="982"/>
                </a:lnTo>
                <a:lnTo>
                  <a:pt x="353" y="978"/>
                </a:lnTo>
                <a:lnTo>
                  <a:pt x="369" y="973"/>
                </a:lnTo>
                <a:lnTo>
                  <a:pt x="383" y="966"/>
                </a:lnTo>
                <a:lnTo>
                  <a:pt x="388" y="963"/>
                </a:lnTo>
                <a:lnTo>
                  <a:pt x="394" y="958"/>
                </a:lnTo>
                <a:lnTo>
                  <a:pt x="399" y="954"/>
                </a:lnTo>
                <a:lnTo>
                  <a:pt x="403" y="949"/>
                </a:lnTo>
                <a:lnTo>
                  <a:pt x="407" y="943"/>
                </a:lnTo>
                <a:lnTo>
                  <a:pt x="411" y="937"/>
                </a:lnTo>
                <a:lnTo>
                  <a:pt x="417" y="923"/>
                </a:lnTo>
                <a:lnTo>
                  <a:pt x="422" y="906"/>
                </a:lnTo>
                <a:lnTo>
                  <a:pt x="425" y="888"/>
                </a:lnTo>
                <a:lnTo>
                  <a:pt x="429" y="866"/>
                </a:lnTo>
                <a:lnTo>
                  <a:pt x="430" y="842"/>
                </a:lnTo>
                <a:lnTo>
                  <a:pt x="431" y="814"/>
                </a:lnTo>
                <a:lnTo>
                  <a:pt x="432" y="783"/>
                </a:lnTo>
                <a:lnTo>
                  <a:pt x="432" y="78"/>
                </a:lnTo>
                <a:lnTo>
                  <a:pt x="259" y="78"/>
                </a:lnTo>
                <a:lnTo>
                  <a:pt x="259" y="78"/>
                </a:lnTo>
                <a:lnTo>
                  <a:pt x="231" y="78"/>
                </a:lnTo>
                <a:lnTo>
                  <a:pt x="206" y="80"/>
                </a:lnTo>
                <a:lnTo>
                  <a:pt x="184" y="82"/>
                </a:lnTo>
                <a:lnTo>
                  <a:pt x="165" y="85"/>
                </a:lnTo>
                <a:lnTo>
                  <a:pt x="147" y="90"/>
                </a:lnTo>
                <a:lnTo>
                  <a:pt x="133" y="95"/>
                </a:lnTo>
                <a:lnTo>
                  <a:pt x="120" y="101"/>
                </a:lnTo>
                <a:lnTo>
                  <a:pt x="110" y="109"/>
                </a:lnTo>
                <a:lnTo>
                  <a:pt x="99" y="118"/>
                </a:lnTo>
                <a:lnTo>
                  <a:pt x="91" y="127"/>
                </a:lnTo>
                <a:lnTo>
                  <a:pt x="85" y="138"/>
                </a:lnTo>
                <a:lnTo>
                  <a:pt x="79" y="150"/>
                </a:lnTo>
                <a:lnTo>
                  <a:pt x="74" y="163"/>
                </a:lnTo>
                <a:lnTo>
                  <a:pt x="69" y="177"/>
                </a:lnTo>
                <a:lnTo>
                  <a:pt x="60" y="209"/>
                </a:lnTo>
                <a:lnTo>
                  <a:pt x="51" y="244"/>
                </a:lnTo>
                <a:lnTo>
                  <a:pt x="0" y="244"/>
                </a:lnTo>
                <a:lnTo>
                  <a:pt x="15" y="0"/>
                </a:lnTo>
                <a:lnTo>
                  <a:pt x="1065" y="0"/>
                </a:lnTo>
                <a:lnTo>
                  <a:pt x="1078" y="244"/>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67" name="Freeform 18">
            <a:extLst>
              <a:ext uri="{FF2B5EF4-FFF2-40B4-BE49-F238E27FC236}">
                <a16:creationId xmlns:a16="http://schemas.microsoft.com/office/drawing/2014/main" id="{C59FF6E7-70B2-104B-BA19-464BCC297FEA}"/>
              </a:ext>
            </a:extLst>
          </p:cNvPr>
          <p:cNvSpPr>
            <a:spLocks noEditPoints="1"/>
          </p:cNvSpPr>
          <p:nvPr userDrawn="1"/>
        </p:nvSpPr>
        <p:spPr bwMode="auto">
          <a:xfrm>
            <a:off x="3627438" y="890588"/>
            <a:ext cx="152400" cy="144463"/>
          </a:xfrm>
          <a:custGeom>
            <a:avLst/>
            <a:gdLst>
              <a:gd name="T0" fmla="*/ 487 w 1150"/>
              <a:gd name="T1" fmla="*/ 1087 h 1094"/>
              <a:gd name="T2" fmla="*/ 351 w 1150"/>
              <a:gd name="T3" fmla="*/ 1051 h 1094"/>
              <a:gd name="T4" fmla="*/ 231 w 1150"/>
              <a:gd name="T5" fmla="*/ 984 h 1094"/>
              <a:gd name="T6" fmla="*/ 131 w 1150"/>
              <a:gd name="T7" fmla="*/ 894 h 1094"/>
              <a:gd name="T8" fmla="*/ 56 w 1150"/>
              <a:gd name="T9" fmla="*/ 783 h 1094"/>
              <a:gd name="T10" fmla="*/ 11 w 1150"/>
              <a:gd name="T11" fmla="*/ 656 h 1094"/>
              <a:gd name="T12" fmla="*/ 0 w 1150"/>
              <a:gd name="T13" fmla="*/ 547 h 1094"/>
              <a:gd name="T14" fmla="*/ 17 w 1150"/>
              <a:gd name="T15" fmla="*/ 411 h 1094"/>
              <a:gd name="T16" fmla="*/ 69 w 1150"/>
              <a:gd name="T17" fmla="*/ 287 h 1094"/>
              <a:gd name="T18" fmla="*/ 149 w 1150"/>
              <a:gd name="T19" fmla="*/ 180 h 1094"/>
              <a:gd name="T20" fmla="*/ 253 w 1150"/>
              <a:gd name="T21" fmla="*/ 94 h 1094"/>
              <a:gd name="T22" fmla="*/ 378 w 1150"/>
              <a:gd name="T23" fmla="*/ 33 h 1094"/>
              <a:gd name="T24" fmla="*/ 517 w 1150"/>
              <a:gd name="T25" fmla="*/ 3 h 1094"/>
              <a:gd name="T26" fmla="*/ 634 w 1150"/>
              <a:gd name="T27" fmla="*/ 3 h 1094"/>
              <a:gd name="T28" fmla="*/ 773 w 1150"/>
              <a:gd name="T29" fmla="*/ 33 h 1094"/>
              <a:gd name="T30" fmla="*/ 895 w 1150"/>
              <a:gd name="T31" fmla="*/ 94 h 1094"/>
              <a:gd name="T32" fmla="*/ 1000 w 1150"/>
              <a:gd name="T33" fmla="*/ 180 h 1094"/>
              <a:gd name="T34" fmla="*/ 1080 w 1150"/>
              <a:gd name="T35" fmla="*/ 287 h 1094"/>
              <a:gd name="T36" fmla="*/ 1132 w 1150"/>
              <a:gd name="T37" fmla="*/ 411 h 1094"/>
              <a:gd name="T38" fmla="*/ 1150 w 1150"/>
              <a:gd name="T39" fmla="*/ 547 h 1094"/>
              <a:gd name="T40" fmla="*/ 1138 w 1150"/>
              <a:gd name="T41" fmla="*/ 656 h 1094"/>
              <a:gd name="T42" fmla="*/ 1093 w 1150"/>
              <a:gd name="T43" fmla="*/ 783 h 1094"/>
              <a:gd name="T44" fmla="*/ 1018 w 1150"/>
              <a:gd name="T45" fmla="*/ 894 h 1094"/>
              <a:gd name="T46" fmla="*/ 919 w 1150"/>
              <a:gd name="T47" fmla="*/ 984 h 1094"/>
              <a:gd name="T48" fmla="*/ 798 w 1150"/>
              <a:gd name="T49" fmla="*/ 1051 h 1094"/>
              <a:gd name="T50" fmla="*/ 662 w 1150"/>
              <a:gd name="T51" fmla="*/ 1087 h 1094"/>
              <a:gd name="T52" fmla="*/ 575 w 1150"/>
              <a:gd name="T53" fmla="*/ 82 h 1094"/>
              <a:gd name="T54" fmla="*/ 490 w 1150"/>
              <a:gd name="T55" fmla="*/ 94 h 1094"/>
              <a:gd name="T56" fmla="*/ 403 w 1150"/>
              <a:gd name="T57" fmla="*/ 137 h 1094"/>
              <a:gd name="T58" fmla="*/ 334 w 1150"/>
              <a:gd name="T59" fmla="*/ 204 h 1094"/>
              <a:gd name="T60" fmla="*/ 284 w 1150"/>
              <a:gd name="T61" fmla="*/ 290 h 1094"/>
              <a:gd name="T62" fmla="*/ 251 w 1150"/>
              <a:gd name="T63" fmla="*/ 386 h 1094"/>
              <a:gd name="T64" fmla="*/ 233 w 1150"/>
              <a:gd name="T65" fmla="*/ 507 h 1094"/>
              <a:gd name="T66" fmla="*/ 240 w 1150"/>
              <a:gd name="T67" fmla="*/ 647 h 1094"/>
              <a:gd name="T68" fmla="*/ 262 w 1150"/>
              <a:gd name="T69" fmla="*/ 747 h 1094"/>
              <a:gd name="T70" fmla="*/ 302 w 1150"/>
              <a:gd name="T71" fmla="*/ 840 h 1094"/>
              <a:gd name="T72" fmla="*/ 360 w 1150"/>
              <a:gd name="T73" fmla="*/ 919 h 1094"/>
              <a:gd name="T74" fmla="*/ 435 w 1150"/>
              <a:gd name="T75" fmla="*/ 977 h 1094"/>
              <a:gd name="T76" fmla="*/ 531 w 1150"/>
              <a:gd name="T77" fmla="*/ 1008 h 1094"/>
              <a:gd name="T78" fmla="*/ 619 w 1150"/>
              <a:gd name="T79" fmla="*/ 1008 h 1094"/>
              <a:gd name="T80" fmla="*/ 715 w 1150"/>
              <a:gd name="T81" fmla="*/ 977 h 1094"/>
              <a:gd name="T82" fmla="*/ 791 w 1150"/>
              <a:gd name="T83" fmla="*/ 919 h 1094"/>
              <a:gd name="T84" fmla="*/ 848 w 1150"/>
              <a:gd name="T85" fmla="*/ 840 h 1094"/>
              <a:gd name="T86" fmla="*/ 888 w 1150"/>
              <a:gd name="T87" fmla="*/ 747 h 1094"/>
              <a:gd name="T88" fmla="*/ 911 w 1150"/>
              <a:gd name="T89" fmla="*/ 647 h 1094"/>
              <a:gd name="T90" fmla="*/ 918 w 1150"/>
              <a:gd name="T91" fmla="*/ 507 h 1094"/>
              <a:gd name="T92" fmla="*/ 899 w 1150"/>
              <a:gd name="T93" fmla="*/ 386 h 1094"/>
              <a:gd name="T94" fmla="*/ 867 w 1150"/>
              <a:gd name="T95" fmla="*/ 290 h 1094"/>
              <a:gd name="T96" fmla="*/ 816 w 1150"/>
              <a:gd name="T97" fmla="*/ 204 h 1094"/>
              <a:gd name="T98" fmla="*/ 747 w 1150"/>
              <a:gd name="T99" fmla="*/ 137 h 1094"/>
              <a:gd name="T100" fmla="*/ 660 w 1150"/>
              <a:gd name="T101" fmla="*/ 94 h 1094"/>
              <a:gd name="T102" fmla="*/ 575 w 1150"/>
              <a:gd name="T103" fmla="*/ 82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50" h="1094">
                <a:moveTo>
                  <a:pt x="575" y="1094"/>
                </a:moveTo>
                <a:lnTo>
                  <a:pt x="575" y="1094"/>
                </a:lnTo>
                <a:lnTo>
                  <a:pt x="546" y="1093"/>
                </a:lnTo>
                <a:lnTo>
                  <a:pt x="517" y="1091"/>
                </a:lnTo>
                <a:lnTo>
                  <a:pt x="487" y="1087"/>
                </a:lnTo>
                <a:lnTo>
                  <a:pt x="460" y="1082"/>
                </a:lnTo>
                <a:lnTo>
                  <a:pt x="431" y="1076"/>
                </a:lnTo>
                <a:lnTo>
                  <a:pt x="405" y="1069"/>
                </a:lnTo>
                <a:lnTo>
                  <a:pt x="378" y="1060"/>
                </a:lnTo>
                <a:lnTo>
                  <a:pt x="351" y="1051"/>
                </a:lnTo>
                <a:lnTo>
                  <a:pt x="326" y="1039"/>
                </a:lnTo>
                <a:lnTo>
                  <a:pt x="301" y="1027"/>
                </a:lnTo>
                <a:lnTo>
                  <a:pt x="277" y="1014"/>
                </a:lnTo>
                <a:lnTo>
                  <a:pt x="253" y="1000"/>
                </a:lnTo>
                <a:lnTo>
                  <a:pt x="231" y="984"/>
                </a:lnTo>
                <a:lnTo>
                  <a:pt x="209" y="968"/>
                </a:lnTo>
                <a:lnTo>
                  <a:pt x="188" y="950"/>
                </a:lnTo>
                <a:lnTo>
                  <a:pt x="168" y="933"/>
                </a:lnTo>
                <a:lnTo>
                  <a:pt x="149" y="914"/>
                </a:lnTo>
                <a:lnTo>
                  <a:pt x="131" y="894"/>
                </a:lnTo>
                <a:lnTo>
                  <a:pt x="114" y="873"/>
                </a:lnTo>
                <a:lnTo>
                  <a:pt x="98" y="851"/>
                </a:lnTo>
                <a:lnTo>
                  <a:pt x="82" y="830"/>
                </a:lnTo>
                <a:lnTo>
                  <a:pt x="69" y="806"/>
                </a:lnTo>
                <a:lnTo>
                  <a:pt x="56" y="783"/>
                </a:lnTo>
                <a:lnTo>
                  <a:pt x="45" y="758"/>
                </a:lnTo>
                <a:lnTo>
                  <a:pt x="34" y="734"/>
                </a:lnTo>
                <a:lnTo>
                  <a:pt x="25" y="708"/>
                </a:lnTo>
                <a:lnTo>
                  <a:pt x="17" y="683"/>
                </a:lnTo>
                <a:lnTo>
                  <a:pt x="11" y="656"/>
                </a:lnTo>
                <a:lnTo>
                  <a:pt x="6" y="629"/>
                </a:lnTo>
                <a:lnTo>
                  <a:pt x="2" y="602"/>
                </a:lnTo>
                <a:lnTo>
                  <a:pt x="0" y="574"/>
                </a:lnTo>
                <a:lnTo>
                  <a:pt x="0" y="547"/>
                </a:lnTo>
                <a:lnTo>
                  <a:pt x="0" y="547"/>
                </a:lnTo>
                <a:lnTo>
                  <a:pt x="0" y="519"/>
                </a:lnTo>
                <a:lnTo>
                  <a:pt x="2" y="491"/>
                </a:lnTo>
                <a:lnTo>
                  <a:pt x="6" y="464"/>
                </a:lnTo>
                <a:lnTo>
                  <a:pt x="11" y="437"/>
                </a:lnTo>
                <a:lnTo>
                  <a:pt x="17" y="411"/>
                </a:lnTo>
                <a:lnTo>
                  <a:pt x="25" y="385"/>
                </a:lnTo>
                <a:lnTo>
                  <a:pt x="34" y="360"/>
                </a:lnTo>
                <a:lnTo>
                  <a:pt x="45" y="335"/>
                </a:lnTo>
                <a:lnTo>
                  <a:pt x="56" y="310"/>
                </a:lnTo>
                <a:lnTo>
                  <a:pt x="69" y="287"/>
                </a:lnTo>
                <a:lnTo>
                  <a:pt x="82" y="264"/>
                </a:lnTo>
                <a:lnTo>
                  <a:pt x="98" y="242"/>
                </a:lnTo>
                <a:lnTo>
                  <a:pt x="114" y="220"/>
                </a:lnTo>
                <a:lnTo>
                  <a:pt x="131" y="200"/>
                </a:lnTo>
                <a:lnTo>
                  <a:pt x="149" y="180"/>
                </a:lnTo>
                <a:lnTo>
                  <a:pt x="168" y="161"/>
                </a:lnTo>
                <a:lnTo>
                  <a:pt x="188" y="143"/>
                </a:lnTo>
                <a:lnTo>
                  <a:pt x="209" y="125"/>
                </a:lnTo>
                <a:lnTo>
                  <a:pt x="231" y="109"/>
                </a:lnTo>
                <a:lnTo>
                  <a:pt x="253" y="94"/>
                </a:lnTo>
                <a:lnTo>
                  <a:pt x="277" y="79"/>
                </a:lnTo>
                <a:lnTo>
                  <a:pt x="301" y="66"/>
                </a:lnTo>
                <a:lnTo>
                  <a:pt x="326" y="54"/>
                </a:lnTo>
                <a:lnTo>
                  <a:pt x="351" y="44"/>
                </a:lnTo>
                <a:lnTo>
                  <a:pt x="378" y="33"/>
                </a:lnTo>
                <a:lnTo>
                  <a:pt x="405" y="24"/>
                </a:lnTo>
                <a:lnTo>
                  <a:pt x="431" y="17"/>
                </a:lnTo>
                <a:lnTo>
                  <a:pt x="460" y="11"/>
                </a:lnTo>
                <a:lnTo>
                  <a:pt x="487" y="6"/>
                </a:lnTo>
                <a:lnTo>
                  <a:pt x="517" y="3"/>
                </a:lnTo>
                <a:lnTo>
                  <a:pt x="546" y="1"/>
                </a:lnTo>
                <a:lnTo>
                  <a:pt x="575" y="0"/>
                </a:lnTo>
                <a:lnTo>
                  <a:pt x="575" y="0"/>
                </a:lnTo>
                <a:lnTo>
                  <a:pt x="605" y="1"/>
                </a:lnTo>
                <a:lnTo>
                  <a:pt x="634" y="3"/>
                </a:lnTo>
                <a:lnTo>
                  <a:pt x="662" y="6"/>
                </a:lnTo>
                <a:lnTo>
                  <a:pt x="691" y="11"/>
                </a:lnTo>
                <a:lnTo>
                  <a:pt x="719" y="17"/>
                </a:lnTo>
                <a:lnTo>
                  <a:pt x="746" y="24"/>
                </a:lnTo>
                <a:lnTo>
                  <a:pt x="773" y="33"/>
                </a:lnTo>
                <a:lnTo>
                  <a:pt x="798" y="44"/>
                </a:lnTo>
                <a:lnTo>
                  <a:pt x="824" y="54"/>
                </a:lnTo>
                <a:lnTo>
                  <a:pt x="848" y="66"/>
                </a:lnTo>
                <a:lnTo>
                  <a:pt x="873" y="79"/>
                </a:lnTo>
                <a:lnTo>
                  <a:pt x="895" y="94"/>
                </a:lnTo>
                <a:lnTo>
                  <a:pt x="919" y="109"/>
                </a:lnTo>
                <a:lnTo>
                  <a:pt x="940" y="125"/>
                </a:lnTo>
                <a:lnTo>
                  <a:pt x="961" y="143"/>
                </a:lnTo>
                <a:lnTo>
                  <a:pt x="981" y="161"/>
                </a:lnTo>
                <a:lnTo>
                  <a:pt x="1000" y="180"/>
                </a:lnTo>
                <a:lnTo>
                  <a:pt x="1018" y="200"/>
                </a:lnTo>
                <a:lnTo>
                  <a:pt x="1035" y="220"/>
                </a:lnTo>
                <a:lnTo>
                  <a:pt x="1052" y="242"/>
                </a:lnTo>
                <a:lnTo>
                  <a:pt x="1066" y="264"/>
                </a:lnTo>
                <a:lnTo>
                  <a:pt x="1080" y="287"/>
                </a:lnTo>
                <a:lnTo>
                  <a:pt x="1093" y="310"/>
                </a:lnTo>
                <a:lnTo>
                  <a:pt x="1104" y="335"/>
                </a:lnTo>
                <a:lnTo>
                  <a:pt x="1115" y="360"/>
                </a:lnTo>
                <a:lnTo>
                  <a:pt x="1123" y="385"/>
                </a:lnTo>
                <a:lnTo>
                  <a:pt x="1132" y="411"/>
                </a:lnTo>
                <a:lnTo>
                  <a:pt x="1138" y="437"/>
                </a:lnTo>
                <a:lnTo>
                  <a:pt x="1143" y="464"/>
                </a:lnTo>
                <a:lnTo>
                  <a:pt x="1147" y="491"/>
                </a:lnTo>
                <a:lnTo>
                  <a:pt x="1149" y="519"/>
                </a:lnTo>
                <a:lnTo>
                  <a:pt x="1150" y="547"/>
                </a:lnTo>
                <a:lnTo>
                  <a:pt x="1150" y="547"/>
                </a:lnTo>
                <a:lnTo>
                  <a:pt x="1149" y="574"/>
                </a:lnTo>
                <a:lnTo>
                  <a:pt x="1147" y="602"/>
                </a:lnTo>
                <a:lnTo>
                  <a:pt x="1143" y="629"/>
                </a:lnTo>
                <a:lnTo>
                  <a:pt x="1138" y="656"/>
                </a:lnTo>
                <a:lnTo>
                  <a:pt x="1132" y="683"/>
                </a:lnTo>
                <a:lnTo>
                  <a:pt x="1123" y="708"/>
                </a:lnTo>
                <a:lnTo>
                  <a:pt x="1115" y="734"/>
                </a:lnTo>
                <a:lnTo>
                  <a:pt x="1104" y="758"/>
                </a:lnTo>
                <a:lnTo>
                  <a:pt x="1093" y="783"/>
                </a:lnTo>
                <a:lnTo>
                  <a:pt x="1080" y="806"/>
                </a:lnTo>
                <a:lnTo>
                  <a:pt x="1066" y="830"/>
                </a:lnTo>
                <a:lnTo>
                  <a:pt x="1052" y="851"/>
                </a:lnTo>
                <a:lnTo>
                  <a:pt x="1035" y="873"/>
                </a:lnTo>
                <a:lnTo>
                  <a:pt x="1018" y="894"/>
                </a:lnTo>
                <a:lnTo>
                  <a:pt x="1000" y="914"/>
                </a:lnTo>
                <a:lnTo>
                  <a:pt x="981" y="933"/>
                </a:lnTo>
                <a:lnTo>
                  <a:pt x="961" y="950"/>
                </a:lnTo>
                <a:lnTo>
                  <a:pt x="940" y="968"/>
                </a:lnTo>
                <a:lnTo>
                  <a:pt x="919" y="984"/>
                </a:lnTo>
                <a:lnTo>
                  <a:pt x="895" y="1000"/>
                </a:lnTo>
                <a:lnTo>
                  <a:pt x="873" y="1014"/>
                </a:lnTo>
                <a:lnTo>
                  <a:pt x="848" y="1027"/>
                </a:lnTo>
                <a:lnTo>
                  <a:pt x="824" y="1039"/>
                </a:lnTo>
                <a:lnTo>
                  <a:pt x="798" y="1051"/>
                </a:lnTo>
                <a:lnTo>
                  <a:pt x="773" y="1060"/>
                </a:lnTo>
                <a:lnTo>
                  <a:pt x="746" y="1069"/>
                </a:lnTo>
                <a:lnTo>
                  <a:pt x="719" y="1076"/>
                </a:lnTo>
                <a:lnTo>
                  <a:pt x="691" y="1082"/>
                </a:lnTo>
                <a:lnTo>
                  <a:pt x="662" y="1087"/>
                </a:lnTo>
                <a:lnTo>
                  <a:pt x="634" y="1091"/>
                </a:lnTo>
                <a:lnTo>
                  <a:pt x="605" y="1093"/>
                </a:lnTo>
                <a:lnTo>
                  <a:pt x="575" y="1094"/>
                </a:lnTo>
                <a:lnTo>
                  <a:pt x="575" y="1094"/>
                </a:lnTo>
                <a:close/>
                <a:moveTo>
                  <a:pt x="575" y="82"/>
                </a:moveTo>
                <a:lnTo>
                  <a:pt x="575" y="82"/>
                </a:lnTo>
                <a:lnTo>
                  <a:pt x="553" y="83"/>
                </a:lnTo>
                <a:lnTo>
                  <a:pt x="531" y="86"/>
                </a:lnTo>
                <a:lnTo>
                  <a:pt x="510" y="90"/>
                </a:lnTo>
                <a:lnTo>
                  <a:pt x="490" y="94"/>
                </a:lnTo>
                <a:lnTo>
                  <a:pt x="471" y="100"/>
                </a:lnTo>
                <a:lnTo>
                  <a:pt x="453" y="108"/>
                </a:lnTo>
                <a:lnTo>
                  <a:pt x="435" y="116"/>
                </a:lnTo>
                <a:lnTo>
                  <a:pt x="419" y="125"/>
                </a:lnTo>
                <a:lnTo>
                  <a:pt x="403" y="137"/>
                </a:lnTo>
                <a:lnTo>
                  <a:pt x="387" y="148"/>
                </a:lnTo>
                <a:lnTo>
                  <a:pt x="373" y="161"/>
                </a:lnTo>
                <a:lnTo>
                  <a:pt x="360" y="174"/>
                </a:lnTo>
                <a:lnTo>
                  <a:pt x="346" y="189"/>
                </a:lnTo>
                <a:lnTo>
                  <a:pt x="334" y="204"/>
                </a:lnTo>
                <a:lnTo>
                  <a:pt x="323" y="219"/>
                </a:lnTo>
                <a:lnTo>
                  <a:pt x="312" y="237"/>
                </a:lnTo>
                <a:lnTo>
                  <a:pt x="302" y="253"/>
                </a:lnTo>
                <a:lnTo>
                  <a:pt x="292" y="272"/>
                </a:lnTo>
                <a:lnTo>
                  <a:pt x="284" y="290"/>
                </a:lnTo>
                <a:lnTo>
                  <a:pt x="276" y="308"/>
                </a:lnTo>
                <a:lnTo>
                  <a:pt x="269" y="327"/>
                </a:lnTo>
                <a:lnTo>
                  <a:pt x="262" y="346"/>
                </a:lnTo>
                <a:lnTo>
                  <a:pt x="256" y="367"/>
                </a:lnTo>
                <a:lnTo>
                  <a:pt x="251" y="386"/>
                </a:lnTo>
                <a:lnTo>
                  <a:pt x="247" y="407"/>
                </a:lnTo>
                <a:lnTo>
                  <a:pt x="243" y="426"/>
                </a:lnTo>
                <a:lnTo>
                  <a:pt x="240" y="446"/>
                </a:lnTo>
                <a:lnTo>
                  <a:pt x="237" y="467"/>
                </a:lnTo>
                <a:lnTo>
                  <a:pt x="233" y="507"/>
                </a:lnTo>
                <a:lnTo>
                  <a:pt x="232" y="547"/>
                </a:lnTo>
                <a:lnTo>
                  <a:pt x="232" y="547"/>
                </a:lnTo>
                <a:lnTo>
                  <a:pt x="233" y="587"/>
                </a:lnTo>
                <a:lnTo>
                  <a:pt x="237" y="626"/>
                </a:lnTo>
                <a:lnTo>
                  <a:pt x="240" y="647"/>
                </a:lnTo>
                <a:lnTo>
                  <a:pt x="243" y="667"/>
                </a:lnTo>
                <a:lnTo>
                  <a:pt x="247" y="687"/>
                </a:lnTo>
                <a:lnTo>
                  <a:pt x="251" y="707"/>
                </a:lnTo>
                <a:lnTo>
                  <a:pt x="256" y="728"/>
                </a:lnTo>
                <a:lnTo>
                  <a:pt x="262" y="747"/>
                </a:lnTo>
                <a:lnTo>
                  <a:pt x="269" y="766"/>
                </a:lnTo>
                <a:lnTo>
                  <a:pt x="276" y="785"/>
                </a:lnTo>
                <a:lnTo>
                  <a:pt x="284" y="804"/>
                </a:lnTo>
                <a:lnTo>
                  <a:pt x="292" y="822"/>
                </a:lnTo>
                <a:lnTo>
                  <a:pt x="302" y="840"/>
                </a:lnTo>
                <a:lnTo>
                  <a:pt x="312" y="857"/>
                </a:lnTo>
                <a:lnTo>
                  <a:pt x="323" y="874"/>
                </a:lnTo>
                <a:lnTo>
                  <a:pt x="334" y="889"/>
                </a:lnTo>
                <a:lnTo>
                  <a:pt x="346" y="904"/>
                </a:lnTo>
                <a:lnTo>
                  <a:pt x="360" y="919"/>
                </a:lnTo>
                <a:lnTo>
                  <a:pt x="373" y="932"/>
                </a:lnTo>
                <a:lnTo>
                  <a:pt x="387" y="945"/>
                </a:lnTo>
                <a:lnTo>
                  <a:pt x="403" y="957"/>
                </a:lnTo>
                <a:lnTo>
                  <a:pt x="419" y="968"/>
                </a:lnTo>
                <a:lnTo>
                  <a:pt x="435" y="977"/>
                </a:lnTo>
                <a:lnTo>
                  <a:pt x="453" y="986"/>
                </a:lnTo>
                <a:lnTo>
                  <a:pt x="471" y="993"/>
                </a:lnTo>
                <a:lnTo>
                  <a:pt x="490" y="1000"/>
                </a:lnTo>
                <a:lnTo>
                  <a:pt x="510" y="1005"/>
                </a:lnTo>
                <a:lnTo>
                  <a:pt x="531" y="1008"/>
                </a:lnTo>
                <a:lnTo>
                  <a:pt x="553" y="1010"/>
                </a:lnTo>
                <a:lnTo>
                  <a:pt x="575" y="1011"/>
                </a:lnTo>
                <a:lnTo>
                  <a:pt x="575" y="1011"/>
                </a:lnTo>
                <a:lnTo>
                  <a:pt x="598" y="1010"/>
                </a:lnTo>
                <a:lnTo>
                  <a:pt x="619" y="1008"/>
                </a:lnTo>
                <a:lnTo>
                  <a:pt x="640" y="1005"/>
                </a:lnTo>
                <a:lnTo>
                  <a:pt x="660" y="1000"/>
                </a:lnTo>
                <a:lnTo>
                  <a:pt x="679" y="993"/>
                </a:lnTo>
                <a:lnTo>
                  <a:pt x="697" y="986"/>
                </a:lnTo>
                <a:lnTo>
                  <a:pt x="715" y="977"/>
                </a:lnTo>
                <a:lnTo>
                  <a:pt x="732" y="968"/>
                </a:lnTo>
                <a:lnTo>
                  <a:pt x="747" y="957"/>
                </a:lnTo>
                <a:lnTo>
                  <a:pt x="762" y="945"/>
                </a:lnTo>
                <a:lnTo>
                  <a:pt x="777" y="932"/>
                </a:lnTo>
                <a:lnTo>
                  <a:pt x="791" y="919"/>
                </a:lnTo>
                <a:lnTo>
                  <a:pt x="803" y="904"/>
                </a:lnTo>
                <a:lnTo>
                  <a:pt x="816" y="889"/>
                </a:lnTo>
                <a:lnTo>
                  <a:pt x="828" y="874"/>
                </a:lnTo>
                <a:lnTo>
                  <a:pt x="838" y="857"/>
                </a:lnTo>
                <a:lnTo>
                  <a:pt x="848" y="840"/>
                </a:lnTo>
                <a:lnTo>
                  <a:pt x="858" y="822"/>
                </a:lnTo>
                <a:lnTo>
                  <a:pt x="867" y="804"/>
                </a:lnTo>
                <a:lnTo>
                  <a:pt x="874" y="785"/>
                </a:lnTo>
                <a:lnTo>
                  <a:pt x="881" y="766"/>
                </a:lnTo>
                <a:lnTo>
                  <a:pt x="888" y="747"/>
                </a:lnTo>
                <a:lnTo>
                  <a:pt x="894" y="728"/>
                </a:lnTo>
                <a:lnTo>
                  <a:pt x="899" y="707"/>
                </a:lnTo>
                <a:lnTo>
                  <a:pt x="904" y="687"/>
                </a:lnTo>
                <a:lnTo>
                  <a:pt x="908" y="667"/>
                </a:lnTo>
                <a:lnTo>
                  <a:pt x="911" y="647"/>
                </a:lnTo>
                <a:lnTo>
                  <a:pt x="914" y="626"/>
                </a:lnTo>
                <a:lnTo>
                  <a:pt x="918" y="587"/>
                </a:lnTo>
                <a:lnTo>
                  <a:pt x="919" y="547"/>
                </a:lnTo>
                <a:lnTo>
                  <a:pt x="919" y="547"/>
                </a:lnTo>
                <a:lnTo>
                  <a:pt x="918" y="507"/>
                </a:lnTo>
                <a:lnTo>
                  <a:pt x="914" y="467"/>
                </a:lnTo>
                <a:lnTo>
                  <a:pt x="911" y="446"/>
                </a:lnTo>
                <a:lnTo>
                  <a:pt x="908" y="426"/>
                </a:lnTo>
                <a:lnTo>
                  <a:pt x="904" y="407"/>
                </a:lnTo>
                <a:lnTo>
                  <a:pt x="899" y="386"/>
                </a:lnTo>
                <a:lnTo>
                  <a:pt x="894" y="367"/>
                </a:lnTo>
                <a:lnTo>
                  <a:pt x="888" y="346"/>
                </a:lnTo>
                <a:lnTo>
                  <a:pt x="881" y="327"/>
                </a:lnTo>
                <a:lnTo>
                  <a:pt x="874" y="308"/>
                </a:lnTo>
                <a:lnTo>
                  <a:pt x="867" y="290"/>
                </a:lnTo>
                <a:lnTo>
                  <a:pt x="858" y="272"/>
                </a:lnTo>
                <a:lnTo>
                  <a:pt x="848" y="253"/>
                </a:lnTo>
                <a:lnTo>
                  <a:pt x="838" y="237"/>
                </a:lnTo>
                <a:lnTo>
                  <a:pt x="828" y="219"/>
                </a:lnTo>
                <a:lnTo>
                  <a:pt x="816" y="204"/>
                </a:lnTo>
                <a:lnTo>
                  <a:pt x="803" y="189"/>
                </a:lnTo>
                <a:lnTo>
                  <a:pt x="791" y="174"/>
                </a:lnTo>
                <a:lnTo>
                  <a:pt x="777" y="161"/>
                </a:lnTo>
                <a:lnTo>
                  <a:pt x="762" y="148"/>
                </a:lnTo>
                <a:lnTo>
                  <a:pt x="747" y="137"/>
                </a:lnTo>
                <a:lnTo>
                  <a:pt x="732" y="125"/>
                </a:lnTo>
                <a:lnTo>
                  <a:pt x="715" y="116"/>
                </a:lnTo>
                <a:lnTo>
                  <a:pt x="697" y="108"/>
                </a:lnTo>
                <a:lnTo>
                  <a:pt x="679" y="100"/>
                </a:lnTo>
                <a:lnTo>
                  <a:pt x="660" y="94"/>
                </a:lnTo>
                <a:lnTo>
                  <a:pt x="640" y="90"/>
                </a:lnTo>
                <a:lnTo>
                  <a:pt x="619" y="86"/>
                </a:lnTo>
                <a:lnTo>
                  <a:pt x="598" y="83"/>
                </a:lnTo>
                <a:lnTo>
                  <a:pt x="575" y="82"/>
                </a:lnTo>
                <a:lnTo>
                  <a:pt x="575" y="82"/>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68" name="Freeform 19">
            <a:extLst>
              <a:ext uri="{FF2B5EF4-FFF2-40B4-BE49-F238E27FC236}">
                <a16:creationId xmlns:a16="http://schemas.microsoft.com/office/drawing/2014/main" id="{54877859-8FA6-8348-BA35-6A9AE7383771}"/>
              </a:ext>
            </a:extLst>
          </p:cNvPr>
          <p:cNvSpPr>
            <a:spLocks/>
          </p:cNvSpPr>
          <p:nvPr userDrawn="1"/>
        </p:nvSpPr>
        <p:spPr bwMode="auto">
          <a:xfrm>
            <a:off x="1552576" y="1154113"/>
            <a:ext cx="90488" cy="144463"/>
          </a:xfrm>
          <a:custGeom>
            <a:avLst/>
            <a:gdLst>
              <a:gd name="T0" fmla="*/ 38 w 683"/>
              <a:gd name="T1" fmla="*/ 752 h 1102"/>
              <a:gd name="T2" fmla="*/ 64 w 683"/>
              <a:gd name="T3" fmla="*/ 849 h 1102"/>
              <a:gd name="T4" fmla="*/ 104 w 683"/>
              <a:gd name="T5" fmla="*/ 921 h 1102"/>
              <a:gd name="T6" fmla="*/ 171 w 683"/>
              <a:gd name="T7" fmla="*/ 985 h 1102"/>
              <a:gd name="T8" fmla="*/ 273 w 683"/>
              <a:gd name="T9" fmla="*/ 1026 h 1102"/>
              <a:gd name="T10" fmla="*/ 377 w 683"/>
              <a:gd name="T11" fmla="*/ 1032 h 1102"/>
              <a:gd name="T12" fmla="*/ 476 w 683"/>
              <a:gd name="T13" fmla="*/ 1002 h 1102"/>
              <a:gd name="T14" fmla="*/ 544 w 683"/>
              <a:gd name="T15" fmla="*/ 937 h 1102"/>
              <a:gd name="T16" fmla="*/ 570 w 683"/>
              <a:gd name="T17" fmla="*/ 844 h 1102"/>
              <a:gd name="T18" fmla="*/ 556 w 683"/>
              <a:gd name="T19" fmla="*/ 787 h 1102"/>
              <a:gd name="T20" fmla="*/ 501 w 683"/>
              <a:gd name="T21" fmla="*/ 720 h 1102"/>
              <a:gd name="T22" fmla="*/ 413 w 683"/>
              <a:gd name="T23" fmla="*/ 659 h 1102"/>
              <a:gd name="T24" fmla="*/ 168 w 683"/>
              <a:gd name="T25" fmla="*/ 529 h 1102"/>
              <a:gd name="T26" fmla="*/ 86 w 683"/>
              <a:gd name="T27" fmla="*/ 455 h 1102"/>
              <a:gd name="T28" fmla="*/ 30 w 683"/>
              <a:gd name="T29" fmla="*/ 358 h 1102"/>
              <a:gd name="T30" fmla="*/ 14 w 683"/>
              <a:gd name="T31" fmla="*/ 265 h 1102"/>
              <a:gd name="T32" fmla="*/ 23 w 683"/>
              <a:gd name="T33" fmla="*/ 201 h 1102"/>
              <a:gd name="T34" fmla="*/ 46 w 683"/>
              <a:gd name="T35" fmla="*/ 142 h 1102"/>
              <a:gd name="T36" fmla="*/ 85 w 683"/>
              <a:gd name="T37" fmla="*/ 92 h 1102"/>
              <a:gd name="T38" fmla="*/ 136 w 683"/>
              <a:gd name="T39" fmla="*/ 52 h 1102"/>
              <a:gd name="T40" fmla="*/ 199 w 683"/>
              <a:gd name="T41" fmla="*/ 24 h 1102"/>
              <a:gd name="T42" fmla="*/ 269 w 683"/>
              <a:gd name="T43" fmla="*/ 9 h 1102"/>
              <a:gd name="T44" fmla="*/ 337 w 683"/>
              <a:gd name="T45" fmla="*/ 10 h 1102"/>
              <a:gd name="T46" fmla="*/ 411 w 683"/>
              <a:gd name="T47" fmla="*/ 25 h 1102"/>
              <a:gd name="T48" fmla="*/ 511 w 683"/>
              <a:gd name="T49" fmla="*/ 79 h 1102"/>
              <a:gd name="T50" fmla="*/ 540 w 683"/>
              <a:gd name="T51" fmla="*/ 46 h 1102"/>
              <a:gd name="T52" fmla="*/ 595 w 683"/>
              <a:gd name="T53" fmla="*/ 0 h 1102"/>
              <a:gd name="T54" fmla="*/ 553 w 683"/>
              <a:gd name="T55" fmla="*/ 326 h 1102"/>
              <a:gd name="T56" fmla="*/ 512 w 683"/>
              <a:gd name="T57" fmla="*/ 200 h 1102"/>
              <a:gd name="T58" fmla="*/ 473 w 683"/>
              <a:gd name="T59" fmla="*/ 145 h 1102"/>
              <a:gd name="T60" fmla="*/ 420 w 683"/>
              <a:gd name="T61" fmla="*/ 106 h 1102"/>
              <a:gd name="T62" fmla="*/ 348 w 683"/>
              <a:gd name="T63" fmla="*/ 82 h 1102"/>
              <a:gd name="T64" fmla="*/ 277 w 683"/>
              <a:gd name="T65" fmla="*/ 78 h 1102"/>
              <a:gd name="T66" fmla="*/ 200 w 683"/>
              <a:gd name="T67" fmla="*/ 104 h 1102"/>
              <a:gd name="T68" fmla="*/ 148 w 683"/>
              <a:gd name="T69" fmla="*/ 158 h 1102"/>
              <a:gd name="T70" fmla="*/ 128 w 683"/>
              <a:gd name="T71" fmla="*/ 231 h 1102"/>
              <a:gd name="T72" fmla="*/ 139 w 683"/>
              <a:gd name="T73" fmla="*/ 292 h 1102"/>
              <a:gd name="T74" fmla="*/ 191 w 683"/>
              <a:gd name="T75" fmla="*/ 355 h 1102"/>
              <a:gd name="T76" fmla="*/ 287 w 683"/>
              <a:gd name="T77" fmla="*/ 417 h 1102"/>
              <a:gd name="T78" fmla="*/ 548 w 683"/>
              <a:gd name="T79" fmla="*/ 556 h 1102"/>
              <a:gd name="T80" fmla="*/ 631 w 683"/>
              <a:gd name="T81" fmla="*/ 633 h 1102"/>
              <a:gd name="T82" fmla="*/ 674 w 683"/>
              <a:gd name="T83" fmla="*/ 720 h 1102"/>
              <a:gd name="T84" fmla="*/ 683 w 683"/>
              <a:gd name="T85" fmla="*/ 792 h 1102"/>
              <a:gd name="T86" fmla="*/ 673 w 683"/>
              <a:gd name="T87" fmla="*/ 874 h 1102"/>
              <a:gd name="T88" fmla="*/ 643 w 683"/>
              <a:gd name="T89" fmla="*/ 947 h 1102"/>
              <a:gd name="T90" fmla="*/ 597 w 683"/>
              <a:gd name="T91" fmla="*/ 1007 h 1102"/>
              <a:gd name="T92" fmla="*/ 536 w 683"/>
              <a:gd name="T93" fmla="*/ 1053 h 1102"/>
              <a:gd name="T94" fmla="*/ 466 w 683"/>
              <a:gd name="T95" fmla="*/ 1085 h 1102"/>
              <a:gd name="T96" fmla="*/ 387 w 683"/>
              <a:gd name="T97" fmla="*/ 1100 h 1102"/>
              <a:gd name="T98" fmla="*/ 307 w 683"/>
              <a:gd name="T99" fmla="*/ 1099 h 1102"/>
              <a:gd name="T100" fmla="*/ 208 w 683"/>
              <a:gd name="T101" fmla="*/ 1073 h 1102"/>
              <a:gd name="T102" fmla="*/ 95 w 683"/>
              <a:gd name="T103" fmla="*/ 1024 h 1102"/>
              <a:gd name="T104" fmla="*/ 62 w 683"/>
              <a:gd name="T105" fmla="*/ 1044 h 1102"/>
              <a:gd name="T106" fmla="*/ 35 w 683"/>
              <a:gd name="T107" fmla="*/ 1102 h 1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83" h="1102">
                <a:moveTo>
                  <a:pt x="0" y="723"/>
                </a:moveTo>
                <a:lnTo>
                  <a:pt x="36" y="723"/>
                </a:lnTo>
                <a:lnTo>
                  <a:pt x="36" y="723"/>
                </a:lnTo>
                <a:lnTo>
                  <a:pt x="37" y="736"/>
                </a:lnTo>
                <a:lnTo>
                  <a:pt x="38" y="752"/>
                </a:lnTo>
                <a:lnTo>
                  <a:pt x="41" y="771"/>
                </a:lnTo>
                <a:lnTo>
                  <a:pt x="46" y="795"/>
                </a:lnTo>
                <a:lnTo>
                  <a:pt x="54" y="821"/>
                </a:lnTo>
                <a:lnTo>
                  <a:pt x="59" y="835"/>
                </a:lnTo>
                <a:lnTo>
                  <a:pt x="64" y="849"/>
                </a:lnTo>
                <a:lnTo>
                  <a:pt x="70" y="863"/>
                </a:lnTo>
                <a:lnTo>
                  <a:pt x="77" y="878"/>
                </a:lnTo>
                <a:lnTo>
                  <a:pt x="84" y="893"/>
                </a:lnTo>
                <a:lnTo>
                  <a:pt x="93" y="907"/>
                </a:lnTo>
                <a:lnTo>
                  <a:pt x="104" y="921"/>
                </a:lnTo>
                <a:lnTo>
                  <a:pt x="115" y="935"/>
                </a:lnTo>
                <a:lnTo>
                  <a:pt x="127" y="948"/>
                </a:lnTo>
                <a:lnTo>
                  <a:pt x="140" y="961"/>
                </a:lnTo>
                <a:lnTo>
                  <a:pt x="155" y="974"/>
                </a:lnTo>
                <a:lnTo>
                  <a:pt x="171" y="985"/>
                </a:lnTo>
                <a:lnTo>
                  <a:pt x="189" y="995"/>
                </a:lnTo>
                <a:lnTo>
                  <a:pt x="207" y="1004"/>
                </a:lnTo>
                <a:lnTo>
                  <a:pt x="227" y="1012"/>
                </a:lnTo>
                <a:lnTo>
                  <a:pt x="250" y="1020"/>
                </a:lnTo>
                <a:lnTo>
                  <a:pt x="273" y="1026"/>
                </a:lnTo>
                <a:lnTo>
                  <a:pt x="298" y="1030"/>
                </a:lnTo>
                <a:lnTo>
                  <a:pt x="326" y="1032"/>
                </a:lnTo>
                <a:lnTo>
                  <a:pt x="354" y="1033"/>
                </a:lnTo>
                <a:lnTo>
                  <a:pt x="354" y="1033"/>
                </a:lnTo>
                <a:lnTo>
                  <a:pt x="377" y="1032"/>
                </a:lnTo>
                <a:lnTo>
                  <a:pt x="398" y="1030"/>
                </a:lnTo>
                <a:lnTo>
                  <a:pt x="420" y="1025"/>
                </a:lnTo>
                <a:lnTo>
                  <a:pt x="439" y="1019"/>
                </a:lnTo>
                <a:lnTo>
                  <a:pt x="458" y="1011"/>
                </a:lnTo>
                <a:lnTo>
                  <a:pt x="476" y="1002"/>
                </a:lnTo>
                <a:lnTo>
                  <a:pt x="492" y="992"/>
                </a:lnTo>
                <a:lnTo>
                  <a:pt x="508" y="980"/>
                </a:lnTo>
                <a:lnTo>
                  <a:pt x="522" y="966"/>
                </a:lnTo>
                <a:lnTo>
                  <a:pt x="533" y="952"/>
                </a:lnTo>
                <a:lnTo>
                  <a:pt x="544" y="937"/>
                </a:lnTo>
                <a:lnTo>
                  <a:pt x="553" y="919"/>
                </a:lnTo>
                <a:lnTo>
                  <a:pt x="560" y="902"/>
                </a:lnTo>
                <a:lnTo>
                  <a:pt x="565" y="884"/>
                </a:lnTo>
                <a:lnTo>
                  <a:pt x="569" y="864"/>
                </a:lnTo>
                <a:lnTo>
                  <a:pt x="570" y="844"/>
                </a:lnTo>
                <a:lnTo>
                  <a:pt x="570" y="844"/>
                </a:lnTo>
                <a:lnTo>
                  <a:pt x="569" y="828"/>
                </a:lnTo>
                <a:lnTo>
                  <a:pt x="566" y="814"/>
                </a:lnTo>
                <a:lnTo>
                  <a:pt x="562" y="800"/>
                </a:lnTo>
                <a:lnTo>
                  <a:pt x="556" y="787"/>
                </a:lnTo>
                <a:lnTo>
                  <a:pt x="547" y="772"/>
                </a:lnTo>
                <a:lnTo>
                  <a:pt x="538" y="759"/>
                </a:lnTo>
                <a:lnTo>
                  <a:pt x="527" y="746"/>
                </a:lnTo>
                <a:lnTo>
                  <a:pt x="515" y="732"/>
                </a:lnTo>
                <a:lnTo>
                  <a:pt x="501" y="720"/>
                </a:lnTo>
                <a:lnTo>
                  <a:pt x="486" y="707"/>
                </a:lnTo>
                <a:lnTo>
                  <a:pt x="470" y="695"/>
                </a:lnTo>
                <a:lnTo>
                  <a:pt x="452" y="682"/>
                </a:lnTo>
                <a:lnTo>
                  <a:pt x="434" y="670"/>
                </a:lnTo>
                <a:lnTo>
                  <a:pt x="413" y="659"/>
                </a:lnTo>
                <a:lnTo>
                  <a:pt x="372" y="634"/>
                </a:lnTo>
                <a:lnTo>
                  <a:pt x="206" y="550"/>
                </a:lnTo>
                <a:lnTo>
                  <a:pt x="206" y="550"/>
                </a:lnTo>
                <a:lnTo>
                  <a:pt x="186" y="540"/>
                </a:lnTo>
                <a:lnTo>
                  <a:pt x="168" y="529"/>
                </a:lnTo>
                <a:lnTo>
                  <a:pt x="151" y="516"/>
                </a:lnTo>
                <a:lnTo>
                  <a:pt x="133" y="502"/>
                </a:lnTo>
                <a:lnTo>
                  <a:pt x="117" y="488"/>
                </a:lnTo>
                <a:lnTo>
                  <a:pt x="101" y="472"/>
                </a:lnTo>
                <a:lnTo>
                  <a:pt x="86" y="455"/>
                </a:lnTo>
                <a:lnTo>
                  <a:pt x="72" y="438"/>
                </a:lnTo>
                <a:lnTo>
                  <a:pt x="60" y="419"/>
                </a:lnTo>
                <a:lnTo>
                  <a:pt x="48" y="400"/>
                </a:lnTo>
                <a:lnTo>
                  <a:pt x="38" y="380"/>
                </a:lnTo>
                <a:lnTo>
                  <a:pt x="30" y="358"/>
                </a:lnTo>
                <a:lnTo>
                  <a:pt x="23" y="336"/>
                </a:lnTo>
                <a:lnTo>
                  <a:pt x="18" y="313"/>
                </a:lnTo>
                <a:lnTo>
                  <a:pt x="15" y="290"/>
                </a:lnTo>
                <a:lnTo>
                  <a:pt x="14" y="265"/>
                </a:lnTo>
                <a:lnTo>
                  <a:pt x="14" y="265"/>
                </a:lnTo>
                <a:lnTo>
                  <a:pt x="15" y="252"/>
                </a:lnTo>
                <a:lnTo>
                  <a:pt x="16" y="240"/>
                </a:lnTo>
                <a:lnTo>
                  <a:pt x="17" y="226"/>
                </a:lnTo>
                <a:lnTo>
                  <a:pt x="20" y="213"/>
                </a:lnTo>
                <a:lnTo>
                  <a:pt x="23" y="201"/>
                </a:lnTo>
                <a:lnTo>
                  <a:pt x="26" y="188"/>
                </a:lnTo>
                <a:lnTo>
                  <a:pt x="30" y="177"/>
                </a:lnTo>
                <a:lnTo>
                  <a:pt x="35" y="165"/>
                </a:lnTo>
                <a:lnTo>
                  <a:pt x="40" y="154"/>
                </a:lnTo>
                <a:lnTo>
                  <a:pt x="46" y="142"/>
                </a:lnTo>
                <a:lnTo>
                  <a:pt x="54" y="132"/>
                </a:lnTo>
                <a:lnTo>
                  <a:pt x="61" y="121"/>
                </a:lnTo>
                <a:lnTo>
                  <a:pt x="68" y="112"/>
                </a:lnTo>
                <a:lnTo>
                  <a:pt x="76" y="101"/>
                </a:lnTo>
                <a:lnTo>
                  <a:pt x="85" y="92"/>
                </a:lnTo>
                <a:lnTo>
                  <a:pt x="94" y="83"/>
                </a:lnTo>
                <a:lnTo>
                  <a:pt x="105" y="75"/>
                </a:lnTo>
                <a:lnTo>
                  <a:pt x="115" y="67"/>
                </a:lnTo>
                <a:lnTo>
                  <a:pt x="125" y="60"/>
                </a:lnTo>
                <a:lnTo>
                  <a:pt x="136" y="52"/>
                </a:lnTo>
                <a:lnTo>
                  <a:pt x="148" y="45"/>
                </a:lnTo>
                <a:lnTo>
                  <a:pt x="160" y="39"/>
                </a:lnTo>
                <a:lnTo>
                  <a:pt x="172" y="34"/>
                </a:lnTo>
                <a:lnTo>
                  <a:pt x="185" y="29"/>
                </a:lnTo>
                <a:lnTo>
                  <a:pt x="199" y="24"/>
                </a:lnTo>
                <a:lnTo>
                  <a:pt x="212" y="20"/>
                </a:lnTo>
                <a:lnTo>
                  <a:pt x="225" y="17"/>
                </a:lnTo>
                <a:lnTo>
                  <a:pt x="240" y="14"/>
                </a:lnTo>
                <a:lnTo>
                  <a:pt x="255" y="12"/>
                </a:lnTo>
                <a:lnTo>
                  <a:pt x="269" y="9"/>
                </a:lnTo>
                <a:lnTo>
                  <a:pt x="285" y="8"/>
                </a:lnTo>
                <a:lnTo>
                  <a:pt x="300" y="8"/>
                </a:lnTo>
                <a:lnTo>
                  <a:pt x="300" y="8"/>
                </a:lnTo>
                <a:lnTo>
                  <a:pt x="319" y="8"/>
                </a:lnTo>
                <a:lnTo>
                  <a:pt x="337" y="10"/>
                </a:lnTo>
                <a:lnTo>
                  <a:pt x="353" y="12"/>
                </a:lnTo>
                <a:lnTo>
                  <a:pt x="368" y="15"/>
                </a:lnTo>
                <a:lnTo>
                  <a:pt x="384" y="18"/>
                </a:lnTo>
                <a:lnTo>
                  <a:pt x="398" y="21"/>
                </a:lnTo>
                <a:lnTo>
                  <a:pt x="411" y="25"/>
                </a:lnTo>
                <a:lnTo>
                  <a:pt x="425" y="30"/>
                </a:lnTo>
                <a:lnTo>
                  <a:pt x="448" y="40"/>
                </a:lnTo>
                <a:lnTo>
                  <a:pt x="471" y="52"/>
                </a:lnTo>
                <a:lnTo>
                  <a:pt x="491" y="66"/>
                </a:lnTo>
                <a:lnTo>
                  <a:pt x="511" y="79"/>
                </a:lnTo>
                <a:lnTo>
                  <a:pt x="511" y="79"/>
                </a:lnTo>
                <a:lnTo>
                  <a:pt x="519" y="73"/>
                </a:lnTo>
                <a:lnTo>
                  <a:pt x="526" y="65"/>
                </a:lnTo>
                <a:lnTo>
                  <a:pt x="533" y="57"/>
                </a:lnTo>
                <a:lnTo>
                  <a:pt x="540" y="46"/>
                </a:lnTo>
                <a:lnTo>
                  <a:pt x="546" y="36"/>
                </a:lnTo>
                <a:lnTo>
                  <a:pt x="553" y="25"/>
                </a:lnTo>
                <a:lnTo>
                  <a:pt x="557" y="13"/>
                </a:lnTo>
                <a:lnTo>
                  <a:pt x="561" y="0"/>
                </a:lnTo>
                <a:lnTo>
                  <a:pt x="595" y="0"/>
                </a:lnTo>
                <a:lnTo>
                  <a:pt x="595" y="380"/>
                </a:lnTo>
                <a:lnTo>
                  <a:pt x="559" y="380"/>
                </a:lnTo>
                <a:lnTo>
                  <a:pt x="559" y="380"/>
                </a:lnTo>
                <a:lnTo>
                  <a:pt x="557" y="353"/>
                </a:lnTo>
                <a:lnTo>
                  <a:pt x="553" y="326"/>
                </a:lnTo>
                <a:lnTo>
                  <a:pt x="547" y="300"/>
                </a:lnTo>
                <a:lnTo>
                  <a:pt x="541" y="274"/>
                </a:lnTo>
                <a:lnTo>
                  <a:pt x="533" y="249"/>
                </a:lnTo>
                <a:lnTo>
                  <a:pt x="523" y="223"/>
                </a:lnTo>
                <a:lnTo>
                  <a:pt x="512" y="200"/>
                </a:lnTo>
                <a:lnTo>
                  <a:pt x="504" y="187"/>
                </a:lnTo>
                <a:lnTo>
                  <a:pt x="497" y="177"/>
                </a:lnTo>
                <a:lnTo>
                  <a:pt x="490" y="166"/>
                </a:lnTo>
                <a:lnTo>
                  <a:pt x="482" y="156"/>
                </a:lnTo>
                <a:lnTo>
                  <a:pt x="473" y="145"/>
                </a:lnTo>
                <a:lnTo>
                  <a:pt x="464" y="136"/>
                </a:lnTo>
                <a:lnTo>
                  <a:pt x="453" y="128"/>
                </a:lnTo>
                <a:lnTo>
                  <a:pt x="443" y="120"/>
                </a:lnTo>
                <a:lnTo>
                  <a:pt x="431" y="112"/>
                </a:lnTo>
                <a:lnTo>
                  <a:pt x="420" y="106"/>
                </a:lnTo>
                <a:lnTo>
                  <a:pt x="406" y="99"/>
                </a:lnTo>
                <a:lnTo>
                  <a:pt x="393" y="93"/>
                </a:lnTo>
                <a:lnTo>
                  <a:pt x="379" y="89"/>
                </a:lnTo>
                <a:lnTo>
                  <a:pt x="363" y="85"/>
                </a:lnTo>
                <a:lnTo>
                  <a:pt x="348" y="82"/>
                </a:lnTo>
                <a:lnTo>
                  <a:pt x="331" y="79"/>
                </a:lnTo>
                <a:lnTo>
                  <a:pt x="313" y="78"/>
                </a:lnTo>
                <a:lnTo>
                  <a:pt x="295" y="78"/>
                </a:lnTo>
                <a:lnTo>
                  <a:pt x="295" y="78"/>
                </a:lnTo>
                <a:lnTo>
                  <a:pt x="277" y="78"/>
                </a:lnTo>
                <a:lnTo>
                  <a:pt x="260" y="81"/>
                </a:lnTo>
                <a:lnTo>
                  <a:pt x="244" y="84"/>
                </a:lnTo>
                <a:lnTo>
                  <a:pt x="228" y="89"/>
                </a:lnTo>
                <a:lnTo>
                  <a:pt x="214" y="95"/>
                </a:lnTo>
                <a:lnTo>
                  <a:pt x="200" y="104"/>
                </a:lnTo>
                <a:lnTo>
                  <a:pt x="188" y="112"/>
                </a:lnTo>
                <a:lnTo>
                  <a:pt x="175" y="122"/>
                </a:lnTo>
                <a:lnTo>
                  <a:pt x="165" y="133"/>
                </a:lnTo>
                <a:lnTo>
                  <a:pt x="156" y="144"/>
                </a:lnTo>
                <a:lnTo>
                  <a:pt x="148" y="158"/>
                </a:lnTo>
                <a:lnTo>
                  <a:pt x="140" y="171"/>
                </a:lnTo>
                <a:lnTo>
                  <a:pt x="135" y="185"/>
                </a:lnTo>
                <a:lnTo>
                  <a:pt x="131" y="200"/>
                </a:lnTo>
                <a:lnTo>
                  <a:pt x="128" y="215"/>
                </a:lnTo>
                <a:lnTo>
                  <a:pt x="128" y="231"/>
                </a:lnTo>
                <a:lnTo>
                  <a:pt x="128" y="231"/>
                </a:lnTo>
                <a:lnTo>
                  <a:pt x="128" y="248"/>
                </a:lnTo>
                <a:lnTo>
                  <a:pt x="131" y="263"/>
                </a:lnTo>
                <a:lnTo>
                  <a:pt x="134" y="277"/>
                </a:lnTo>
                <a:lnTo>
                  <a:pt x="139" y="292"/>
                </a:lnTo>
                <a:lnTo>
                  <a:pt x="147" y="305"/>
                </a:lnTo>
                <a:lnTo>
                  <a:pt x="155" y="317"/>
                </a:lnTo>
                <a:lnTo>
                  <a:pt x="165" y="331"/>
                </a:lnTo>
                <a:lnTo>
                  <a:pt x="177" y="343"/>
                </a:lnTo>
                <a:lnTo>
                  <a:pt x="191" y="355"/>
                </a:lnTo>
                <a:lnTo>
                  <a:pt x="206" y="366"/>
                </a:lnTo>
                <a:lnTo>
                  <a:pt x="223" y="379"/>
                </a:lnTo>
                <a:lnTo>
                  <a:pt x="242" y="392"/>
                </a:lnTo>
                <a:lnTo>
                  <a:pt x="263" y="404"/>
                </a:lnTo>
                <a:lnTo>
                  <a:pt x="287" y="417"/>
                </a:lnTo>
                <a:lnTo>
                  <a:pt x="339" y="445"/>
                </a:lnTo>
                <a:lnTo>
                  <a:pt x="502" y="530"/>
                </a:lnTo>
                <a:lnTo>
                  <a:pt x="502" y="530"/>
                </a:lnTo>
                <a:lnTo>
                  <a:pt x="526" y="542"/>
                </a:lnTo>
                <a:lnTo>
                  <a:pt x="548" y="556"/>
                </a:lnTo>
                <a:lnTo>
                  <a:pt x="568" y="571"/>
                </a:lnTo>
                <a:lnTo>
                  <a:pt x="586" y="585"/>
                </a:lnTo>
                <a:lnTo>
                  <a:pt x="603" y="601"/>
                </a:lnTo>
                <a:lnTo>
                  <a:pt x="618" y="617"/>
                </a:lnTo>
                <a:lnTo>
                  <a:pt x="631" y="633"/>
                </a:lnTo>
                <a:lnTo>
                  <a:pt x="643" y="651"/>
                </a:lnTo>
                <a:lnTo>
                  <a:pt x="653" y="667"/>
                </a:lnTo>
                <a:lnTo>
                  <a:pt x="661" y="684"/>
                </a:lnTo>
                <a:lnTo>
                  <a:pt x="668" y="703"/>
                </a:lnTo>
                <a:lnTo>
                  <a:pt x="674" y="720"/>
                </a:lnTo>
                <a:lnTo>
                  <a:pt x="678" y="738"/>
                </a:lnTo>
                <a:lnTo>
                  <a:pt x="681" y="756"/>
                </a:lnTo>
                <a:lnTo>
                  <a:pt x="682" y="774"/>
                </a:lnTo>
                <a:lnTo>
                  <a:pt x="683" y="792"/>
                </a:lnTo>
                <a:lnTo>
                  <a:pt x="683" y="792"/>
                </a:lnTo>
                <a:lnTo>
                  <a:pt x="683" y="809"/>
                </a:lnTo>
                <a:lnTo>
                  <a:pt x="681" y="826"/>
                </a:lnTo>
                <a:lnTo>
                  <a:pt x="679" y="843"/>
                </a:lnTo>
                <a:lnTo>
                  <a:pt x="676" y="859"/>
                </a:lnTo>
                <a:lnTo>
                  <a:pt x="673" y="874"/>
                </a:lnTo>
                <a:lnTo>
                  <a:pt x="668" y="890"/>
                </a:lnTo>
                <a:lnTo>
                  <a:pt x="663" y="905"/>
                </a:lnTo>
                <a:lnTo>
                  <a:pt x="657" y="919"/>
                </a:lnTo>
                <a:lnTo>
                  <a:pt x="650" y="934"/>
                </a:lnTo>
                <a:lnTo>
                  <a:pt x="643" y="947"/>
                </a:lnTo>
                <a:lnTo>
                  <a:pt x="634" y="960"/>
                </a:lnTo>
                <a:lnTo>
                  <a:pt x="626" y="973"/>
                </a:lnTo>
                <a:lnTo>
                  <a:pt x="617" y="985"/>
                </a:lnTo>
                <a:lnTo>
                  <a:pt x="607" y="996"/>
                </a:lnTo>
                <a:lnTo>
                  <a:pt x="597" y="1007"/>
                </a:lnTo>
                <a:lnTo>
                  <a:pt x="585" y="1018"/>
                </a:lnTo>
                <a:lnTo>
                  <a:pt x="574" y="1028"/>
                </a:lnTo>
                <a:lnTo>
                  <a:pt x="562" y="1037"/>
                </a:lnTo>
                <a:lnTo>
                  <a:pt x="549" y="1045"/>
                </a:lnTo>
                <a:lnTo>
                  <a:pt x="536" y="1053"/>
                </a:lnTo>
                <a:lnTo>
                  <a:pt x="523" y="1062"/>
                </a:lnTo>
                <a:lnTo>
                  <a:pt x="509" y="1068"/>
                </a:lnTo>
                <a:lnTo>
                  <a:pt x="495" y="1075"/>
                </a:lnTo>
                <a:lnTo>
                  <a:pt x="480" y="1080"/>
                </a:lnTo>
                <a:lnTo>
                  <a:pt x="466" y="1085"/>
                </a:lnTo>
                <a:lnTo>
                  <a:pt x="450" y="1089"/>
                </a:lnTo>
                <a:lnTo>
                  <a:pt x="435" y="1093"/>
                </a:lnTo>
                <a:lnTo>
                  <a:pt x="419" y="1096"/>
                </a:lnTo>
                <a:lnTo>
                  <a:pt x="403" y="1099"/>
                </a:lnTo>
                <a:lnTo>
                  <a:pt x="387" y="1100"/>
                </a:lnTo>
                <a:lnTo>
                  <a:pt x="371" y="1101"/>
                </a:lnTo>
                <a:lnTo>
                  <a:pt x="354" y="1102"/>
                </a:lnTo>
                <a:lnTo>
                  <a:pt x="354" y="1102"/>
                </a:lnTo>
                <a:lnTo>
                  <a:pt x="330" y="1101"/>
                </a:lnTo>
                <a:lnTo>
                  <a:pt x="307" y="1099"/>
                </a:lnTo>
                <a:lnTo>
                  <a:pt x="285" y="1095"/>
                </a:lnTo>
                <a:lnTo>
                  <a:pt x="264" y="1091"/>
                </a:lnTo>
                <a:lnTo>
                  <a:pt x="245" y="1086"/>
                </a:lnTo>
                <a:lnTo>
                  <a:pt x="225" y="1080"/>
                </a:lnTo>
                <a:lnTo>
                  <a:pt x="208" y="1073"/>
                </a:lnTo>
                <a:lnTo>
                  <a:pt x="191" y="1067"/>
                </a:lnTo>
                <a:lnTo>
                  <a:pt x="160" y="1052"/>
                </a:lnTo>
                <a:lnTo>
                  <a:pt x="131" y="1039"/>
                </a:lnTo>
                <a:lnTo>
                  <a:pt x="107" y="1028"/>
                </a:lnTo>
                <a:lnTo>
                  <a:pt x="95" y="1024"/>
                </a:lnTo>
                <a:lnTo>
                  <a:pt x="85" y="1021"/>
                </a:lnTo>
                <a:lnTo>
                  <a:pt x="85" y="1021"/>
                </a:lnTo>
                <a:lnTo>
                  <a:pt x="77" y="1028"/>
                </a:lnTo>
                <a:lnTo>
                  <a:pt x="70" y="1036"/>
                </a:lnTo>
                <a:lnTo>
                  <a:pt x="62" y="1044"/>
                </a:lnTo>
                <a:lnTo>
                  <a:pt x="56" y="1053"/>
                </a:lnTo>
                <a:lnTo>
                  <a:pt x="48" y="1065"/>
                </a:lnTo>
                <a:lnTo>
                  <a:pt x="43" y="1076"/>
                </a:lnTo>
                <a:lnTo>
                  <a:pt x="38" y="1088"/>
                </a:lnTo>
                <a:lnTo>
                  <a:pt x="35" y="1102"/>
                </a:lnTo>
                <a:lnTo>
                  <a:pt x="0" y="1102"/>
                </a:lnTo>
                <a:lnTo>
                  <a:pt x="0" y="723"/>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69" name="Freeform 20">
            <a:extLst>
              <a:ext uri="{FF2B5EF4-FFF2-40B4-BE49-F238E27FC236}">
                <a16:creationId xmlns:a16="http://schemas.microsoft.com/office/drawing/2014/main" id="{A84706CA-E44B-774B-BAA9-508708757137}"/>
              </a:ext>
            </a:extLst>
          </p:cNvPr>
          <p:cNvSpPr>
            <a:spLocks/>
          </p:cNvSpPr>
          <p:nvPr userDrawn="1"/>
        </p:nvSpPr>
        <p:spPr bwMode="auto">
          <a:xfrm>
            <a:off x="1671638" y="1158876"/>
            <a:ext cx="141288" cy="136525"/>
          </a:xfrm>
          <a:custGeom>
            <a:avLst/>
            <a:gdLst>
              <a:gd name="T0" fmla="*/ 304 w 1077"/>
              <a:gd name="T1" fmla="*/ 999 h 1035"/>
              <a:gd name="T2" fmla="*/ 352 w 1077"/>
              <a:gd name="T3" fmla="*/ 997 h 1035"/>
              <a:gd name="T4" fmla="*/ 390 w 1077"/>
              <a:gd name="T5" fmla="*/ 991 h 1035"/>
              <a:gd name="T6" fmla="*/ 419 w 1077"/>
              <a:gd name="T7" fmla="*/ 981 h 1035"/>
              <a:gd name="T8" fmla="*/ 431 w 1077"/>
              <a:gd name="T9" fmla="*/ 972 h 1035"/>
              <a:gd name="T10" fmla="*/ 441 w 1077"/>
              <a:gd name="T11" fmla="*/ 962 h 1035"/>
              <a:gd name="T12" fmla="*/ 448 w 1077"/>
              <a:gd name="T13" fmla="*/ 951 h 1035"/>
              <a:gd name="T14" fmla="*/ 460 w 1077"/>
              <a:gd name="T15" fmla="*/ 920 h 1035"/>
              <a:gd name="T16" fmla="*/ 466 w 1077"/>
              <a:gd name="T17" fmla="*/ 879 h 1035"/>
              <a:gd name="T18" fmla="*/ 469 w 1077"/>
              <a:gd name="T19" fmla="*/ 827 h 1035"/>
              <a:gd name="T20" fmla="*/ 469 w 1077"/>
              <a:gd name="T21" fmla="*/ 68 h 1035"/>
              <a:gd name="T22" fmla="*/ 245 w 1077"/>
              <a:gd name="T23" fmla="*/ 68 h 1035"/>
              <a:gd name="T24" fmla="*/ 192 w 1077"/>
              <a:gd name="T25" fmla="*/ 69 h 1035"/>
              <a:gd name="T26" fmla="*/ 150 w 1077"/>
              <a:gd name="T27" fmla="*/ 75 h 1035"/>
              <a:gd name="T28" fmla="*/ 119 w 1077"/>
              <a:gd name="T29" fmla="*/ 85 h 1035"/>
              <a:gd name="T30" fmla="*/ 94 w 1077"/>
              <a:gd name="T31" fmla="*/ 98 h 1035"/>
              <a:gd name="T32" fmla="*/ 77 w 1077"/>
              <a:gd name="T33" fmla="*/ 117 h 1035"/>
              <a:gd name="T34" fmla="*/ 64 w 1077"/>
              <a:gd name="T35" fmla="*/ 139 h 1035"/>
              <a:gd name="T36" fmla="*/ 54 w 1077"/>
              <a:gd name="T37" fmla="*/ 167 h 1035"/>
              <a:gd name="T38" fmla="*/ 37 w 1077"/>
              <a:gd name="T39" fmla="*/ 233 h 1035"/>
              <a:gd name="T40" fmla="*/ 15 w 1077"/>
              <a:gd name="T41" fmla="*/ 0 h 1035"/>
              <a:gd name="T42" fmla="*/ 1077 w 1077"/>
              <a:gd name="T43" fmla="*/ 233 h 1035"/>
              <a:gd name="T44" fmla="*/ 1032 w 1077"/>
              <a:gd name="T45" fmla="*/ 198 h 1035"/>
              <a:gd name="T46" fmla="*/ 1023 w 1077"/>
              <a:gd name="T47" fmla="*/ 167 h 1035"/>
              <a:gd name="T48" fmla="*/ 1012 w 1077"/>
              <a:gd name="T49" fmla="*/ 139 h 1035"/>
              <a:gd name="T50" fmla="*/ 1000 w 1077"/>
              <a:gd name="T51" fmla="*/ 117 h 1035"/>
              <a:gd name="T52" fmla="*/ 983 w 1077"/>
              <a:gd name="T53" fmla="*/ 98 h 1035"/>
              <a:gd name="T54" fmla="*/ 958 w 1077"/>
              <a:gd name="T55" fmla="*/ 85 h 1035"/>
              <a:gd name="T56" fmla="*/ 926 w 1077"/>
              <a:gd name="T57" fmla="*/ 75 h 1035"/>
              <a:gd name="T58" fmla="*/ 884 w 1077"/>
              <a:gd name="T59" fmla="*/ 69 h 1035"/>
              <a:gd name="T60" fmla="*/ 831 w 1077"/>
              <a:gd name="T61" fmla="*/ 68 h 1035"/>
              <a:gd name="T62" fmla="*/ 607 w 1077"/>
              <a:gd name="T63" fmla="*/ 797 h 1035"/>
              <a:gd name="T64" fmla="*/ 607 w 1077"/>
              <a:gd name="T65" fmla="*/ 827 h 1035"/>
              <a:gd name="T66" fmla="*/ 610 w 1077"/>
              <a:gd name="T67" fmla="*/ 879 h 1035"/>
              <a:gd name="T68" fmla="*/ 617 w 1077"/>
              <a:gd name="T69" fmla="*/ 920 h 1035"/>
              <a:gd name="T70" fmla="*/ 629 w 1077"/>
              <a:gd name="T71" fmla="*/ 951 h 1035"/>
              <a:gd name="T72" fmla="*/ 636 w 1077"/>
              <a:gd name="T73" fmla="*/ 962 h 1035"/>
              <a:gd name="T74" fmla="*/ 646 w 1077"/>
              <a:gd name="T75" fmla="*/ 972 h 1035"/>
              <a:gd name="T76" fmla="*/ 657 w 1077"/>
              <a:gd name="T77" fmla="*/ 981 h 1035"/>
              <a:gd name="T78" fmla="*/ 687 w 1077"/>
              <a:gd name="T79" fmla="*/ 991 h 1035"/>
              <a:gd name="T80" fmla="*/ 725 w 1077"/>
              <a:gd name="T81" fmla="*/ 997 h 1035"/>
              <a:gd name="T82" fmla="*/ 773 w 1077"/>
              <a:gd name="T83" fmla="*/ 999 h 1035"/>
              <a:gd name="T84" fmla="*/ 304 w 1077"/>
              <a:gd name="T85" fmla="*/ 1035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7" h="1035">
                <a:moveTo>
                  <a:pt x="304" y="999"/>
                </a:moveTo>
                <a:lnTo>
                  <a:pt x="304" y="999"/>
                </a:lnTo>
                <a:lnTo>
                  <a:pt x="329" y="998"/>
                </a:lnTo>
                <a:lnTo>
                  <a:pt x="352" y="997"/>
                </a:lnTo>
                <a:lnTo>
                  <a:pt x="372" y="995"/>
                </a:lnTo>
                <a:lnTo>
                  <a:pt x="390" y="991"/>
                </a:lnTo>
                <a:lnTo>
                  <a:pt x="406" y="987"/>
                </a:lnTo>
                <a:lnTo>
                  <a:pt x="419" y="981"/>
                </a:lnTo>
                <a:lnTo>
                  <a:pt x="425" y="977"/>
                </a:lnTo>
                <a:lnTo>
                  <a:pt x="431" y="972"/>
                </a:lnTo>
                <a:lnTo>
                  <a:pt x="436" y="967"/>
                </a:lnTo>
                <a:lnTo>
                  <a:pt x="441" y="962"/>
                </a:lnTo>
                <a:lnTo>
                  <a:pt x="445" y="957"/>
                </a:lnTo>
                <a:lnTo>
                  <a:pt x="448" y="951"/>
                </a:lnTo>
                <a:lnTo>
                  <a:pt x="455" y="937"/>
                </a:lnTo>
                <a:lnTo>
                  <a:pt x="460" y="920"/>
                </a:lnTo>
                <a:lnTo>
                  <a:pt x="463" y="901"/>
                </a:lnTo>
                <a:lnTo>
                  <a:pt x="466" y="879"/>
                </a:lnTo>
                <a:lnTo>
                  <a:pt x="468" y="855"/>
                </a:lnTo>
                <a:lnTo>
                  <a:pt x="469" y="827"/>
                </a:lnTo>
                <a:lnTo>
                  <a:pt x="469" y="797"/>
                </a:lnTo>
                <a:lnTo>
                  <a:pt x="469" y="68"/>
                </a:lnTo>
                <a:lnTo>
                  <a:pt x="245" y="68"/>
                </a:lnTo>
                <a:lnTo>
                  <a:pt x="245" y="68"/>
                </a:lnTo>
                <a:lnTo>
                  <a:pt x="217" y="68"/>
                </a:lnTo>
                <a:lnTo>
                  <a:pt x="192" y="69"/>
                </a:lnTo>
                <a:lnTo>
                  <a:pt x="170" y="72"/>
                </a:lnTo>
                <a:lnTo>
                  <a:pt x="150" y="75"/>
                </a:lnTo>
                <a:lnTo>
                  <a:pt x="133" y="79"/>
                </a:lnTo>
                <a:lnTo>
                  <a:pt x="119" y="85"/>
                </a:lnTo>
                <a:lnTo>
                  <a:pt x="105" y="91"/>
                </a:lnTo>
                <a:lnTo>
                  <a:pt x="94" y="98"/>
                </a:lnTo>
                <a:lnTo>
                  <a:pt x="85" y="106"/>
                </a:lnTo>
                <a:lnTo>
                  <a:pt x="77" y="117"/>
                </a:lnTo>
                <a:lnTo>
                  <a:pt x="71" y="127"/>
                </a:lnTo>
                <a:lnTo>
                  <a:pt x="64" y="139"/>
                </a:lnTo>
                <a:lnTo>
                  <a:pt x="59" y="152"/>
                </a:lnTo>
                <a:lnTo>
                  <a:pt x="54" y="167"/>
                </a:lnTo>
                <a:lnTo>
                  <a:pt x="45" y="198"/>
                </a:lnTo>
                <a:lnTo>
                  <a:pt x="37" y="233"/>
                </a:lnTo>
                <a:lnTo>
                  <a:pt x="0" y="233"/>
                </a:lnTo>
                <a:lnTo>
                  <a:pt x="15" y="0"/>
                </a:lnTo>
                <a:lnTo>
                  <a:pt x="1061" y="0"/>
                </a:lnTo>
                <a:lnTo>
                  <a:pt x="1077" y="233"/>
                </a:lnTo>
                <a:lnTo>
                  <a:pt x="1040" y="233"/>
                </a:lnTo>
                <a:lnTo>
                  <a:pt x="1032" y="198"/>
                </a:lnTo>
                <a:lnTo>
                  <a:pt x="1032" y="198"/>
                </a:lnTo>
                <a:lnTo>
                  <a:pt x="1023" y="167"/>
                </a:lnTo>
                <a:lnTo>
                  <a:pt x="1017" y="152"/>
                </a:lnTo>
                <a:lnTo>
                  <a:pt x="1012" y="139"/>
                </a:lnTo>
                <a:lnTo>
                  <a:pt x="1006" y="127"/>
                </a:lnTo>
                <a:lnTo>
                  <a:pt x="1000" y="117"/>
                </a:lnTo>
                <a:lnTo>
                  <a:pt x="992" y="106"/>
                </a:lnTo>
                <a:lnTo>
                  <a:pt x="983" y="98"/>
                </a:lnTo>
                <a:lnTo>
                  <a:pt x="971" y="91"/>
                </a:lnTo>
                <a:lnTo>
                  <a:pt x="958" y="85"/>
                </a:lnTo>
                <a:lnTo>
                  <a:pt x="944" y="79"/>
                </a:lnTo>
                <a:lnTo>
                  <a:pt x="926" y="75"/>
                </a:lnTo>
                <a:lnTo>
                  <a:pt x="907" y="72"/>
                </a:lnTo>
                <a:lnTo>
                  <a:pt x="884" y="69"/>
                </a:lnTo>
                <a:lnTo>
                  <a:pt x="860" y="68"/>
                </a:lnTo>
                <a:lnTo>
                  <a:pt x="831" y="68"/>
                </a:lnTo>
                <a:lnTo>
                  <a:pt x="607" y="68"/>
                </a:lnTo>
                <a:lnTo>
                  <a:pt x="607" y="797"/>
                </a:lnTo>
                <a:lnTo>
                  <a:pt x="607" y="797"/>
                </a:lnTo>
                <a:lnTo>
                  <a:pt x="607" y="827"/>
                </a:lnTo>
                <a:lnTo>
                  <a:pt x="608" y="855"/>
                </a:lnTo>
                <a:lnTo>
                  <a:pt x="610" y="879"/>
                </a:lnTo>
                <a:lnTo>
                  <a:pt x="614" y="901"/>
                </a:lnTo>
                <a:lnTo>
                  <a:pt x="617" y="920"/>
                </a:lnTo>
                <a:lnTo>
                  <a:pt x="622" y="937"/>
                </a:lnTo>
                <a:lnTo>
                  <a:pt x="629" y="951"/>
                </a:lnTo>
                <a:lnTo>
                  <a:pt x="632" y="957"/>
                </a:lnTo>
                <a:lnTo>
                  <a:pt x="636" y="962"/>
                </a:lnTo>
                <a:lnTo>
                  <a:pt x="641" y="967"/>
                </a:lnTo>
                <a:lnTo>
                  <a:pt x="646" y="972"/>
                </a:lnTo>
                <a:lnTo>
                  <a:pt x="651" y="977"/>
                </a:lnTo>
                <a:lnTo>
                  <a:pt x="657" y="981"/>
                </a:lnTo>
                <a:lnTo>
                  <a:pt x="671" y="987"/>
                </a:lnTo>
                <a:lnTo>
                  <a:pt x="687" y="991"/>
                </a:lnTo>
                <a:lnTo>
                  <a:pt x="705" y="995"/>
                </a:lnTo>
                <a:lnTo>
                  <a:pt x="725" y="997"/>
                </a:lnTo>
                <a:lnTo>
                  <a:pt x="747" y="998"/>
                </a:lnTo>
                <a:lnTo>
                  <a:pt x="773" y="999"/>
                </a:lnTo>
                <a:lnTo>
                  <a:pt x="773" y="1035"/>
                </a:lnTo>
                <a:lnTo>
                  <a:pt x="304" y="1035"/>
                </a:lnTo>
                <a:lnTo>
                  <a:pt x="304" y="999"/>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70" name="Freeform 21">
            <a:extLst>
              <a:ext uri="{FF2B5EF4-FFF2-40B4-BE49-F238E27FC236}">
                <a16:creationId xmlns:a16="http://schemas.microsoft.com/office/drawing/2014/main" id="{624144CE-E5A6-D842-BB2E-FE41CEB927EB}"/>
              </a:ext>
            </a:extLst>
          </p:cNvPr>
          <p:cNvSpPr>
            <a:spLocks noEditPoints="1"/>
          </p:cNvSpPr>
          <p:nvPr userDrawn="1"/>
        </p:nvSpPr>
        <p:spPr bwMode="auto">
          <a:xfrm>
            <a:off x="1811338" y="1154113"/>
            <a:ext cx="157163" cy="141288"/>
          </a:xfrm>
          <a:custGeom>
            <a:avLst/>
            <a:gdLst>
              <a:gd name="T0" fmla="*/ 0 w 1196"/>
              <a:gd name="T1" fmla="*/ 1029 h 1065"/>
              <a:gd name="T2" fmla="*/ 48 w 1196"/>
              <a:gd name="T3" fmla="*/ 1027 h 1065"/>
              <a:gd name="T4" fmla="*/ 86 w 1196"/>
              <a:gd name="T5" fmla="*/ 1022 h 1065"/>
              <a:gd name="T6" fmla="*/ 115 w 1196"/>
              <a:gd name="T7" fmla="*/ 1013 h 1065"/>
              <a:gd name="T8" fmla="*/ 137 w 1196"/>
              <a:gd name="T9" fmla="*/ 999 h 1065"/>
              <a:gd name="T10" fmla="*/ 156 w 1196"/>
              <a:gd name="T11" fmla="*/ 979 h 1065"/>
              <a:gd name="T12" fmla="*/ 172 w 1196"/>
              <a:gd name="T13" fmla="*/ 953 h 1065"/>
              <a:gd name="T14" fmla="*/ 188 w 1196"/>
              <a:gd name="T15" fmla="*/ 920 h 1065"/>
              <a:gd name="T16" fmla="*/ 586 w 1196"/>
              <a:gd name="T17" fmla="*/ 0 h 1065"/>
              <a:gd name="T18" fmla="*/ 990 w 1196"/>
              <a:gd name="T19" fmla="*/ 879 h 1065"/>
              <a:gd name="T20" fmla="*/ 1008 w 1196"/>
              <a:gd name="T21" fmla="*/ 920 h 1065"/>
              <a:gd name="T22" fmla="*/ 1025 w 1196"/>
              <a:gd name="T23" fmla="*/ 953 h 1065"/>
              <a:gd name="T24" fmla="*/ 1041 w 1196"/>
              <a:gd name="T25" fmla="*/ 979 h 1065"/>
              <a:gd name="T26" fmla="*/ 1060 w 1196"/>
              <a:gd name="T27" fmla="*/ 999 h 1065"/>
              <a:gd name="T28" fmla="*/ 1082 w 1196"/>
              <a:gd name="T29" fmla="*/ 1013 h 1065"/>
              <a:gd name="T30" fmla="*/ 1111 w 1196"/>
              <a:gd name="T31" fmla="*/ 1022 h 1065"/>
              <a:gd name="T32" fmla="*/ 1148 w 1196"/>
              <a:gd name="T33" fmla="*/ 1027 h 1065"/>
              <a:gd name="T34" fmla="*/ 1196 w 1196"/>
              <a:gd name="T35" fmla="*/ 1029 h 1065"/>
              <a:gd name="T36" fmla="*/ 717 w 1196"/>
              <a:gd name="T37" fmla="*/ 1065 h 1065"/>
              <a:gd name="T38" fmla="*/ 717 w 1196"/>
              <a:gd name="T39" fmla="*/ 1029 h 1065"/>
              <a:gd name="T40" fmla="*/ 766 w 1196"/>
              <a:gd name="T41" fmla="*/ 1027 h 1065"/>
              <a:gd name="T42" fmla="*/ 805 w 1196"/>
              <a:gd name="T43" fmla="*/ 1022 h 1065"/>
              <a:gd name="T44" fmla="*/ 834 w 1196"/>
              <a:gd name="T45" fmla="*/ 1013 h 1065"/>
              <a:gd name="T46" fmla="*/ 854 w 1196"/>
              <a:gd name="T47" fmla="*/ 998 h 1065"/>
              <a:gd name="T48" fmla="*/ 865 w 1196"/>
              <a:gd name="T49" fmla="*/ 981 h 1065"/>
              <a:gd name="T50" fmla="*/ 868 w 1196"/>
              <a:gd name="T51" fmla="*/ 958 h 1065"/>
              <a:gd name="T52" fmla="*/ 864 w 1196"/>
              <a:gd name="T53" fmla="*/ 931 h 1065"/>
              <a:gd name="T54" fmla="*/ 852 w 1196"/>
              <a:gd name="T55" fmla="*/ 897 h 1065"/>
              <a:gd name="T56" fmla="*/ 352 w 1196"/>
              <a:gd name="T57" fmla="*/ 706 h 1065"/>
              <a:gd name="T58" fmla="*/ 269 w 1196"/>
              <a:gd name="T59" fmla="*/ 897 h 1065"/>
              <a:gd name="T60" fmla="*/ 257 w 1196"/>
              <a:gd name="T61" fmla="*/ 930 h 1065"/>
              <a:gd name="T62" fmla="*/ 253 w 1196"/>
              <a:gd name="T63" fmla="*/ 957 h 1065"/>
              <a:gd name="T64" fmla="*/ 256 w 1196"/>
              <a:gd name="T65" fmla="*/ 980 h 1065"/>
              <a:gd name="T66" fmla="*/ 267 w 1196"/>
              <a:gd name="T67" fmla="*/ 998 h 1065"/>
              <a:gd name="T68" fmla="*/ 288 w 1196"/>
              <a:gd name="T69" fmla="*/ 1012 h 1065"/>
              <a:gd name="T70" fmla="*/ 316 w 1196"/>
              <a:gd name="T71" fmla="*/ 1021 h 1065"/>
              <a:gd name="T72" fmla="*/ 355 w 1196"/>
              <a:gd name="T73" fmla="*/ 1027 h 1065"/>
              <a:gd name="T74" fmla="*/ 403 w 1196"/>
              <a:gd name="T75" fmla="*/ 1029 h 1065"/>
              <a:gd name="T76" fmla="*/ 0 w 1196"/>
              <a:gd name="T77" fmla="*/ 1065 h 1065"/>
              <a:gd name="T78" fmla="*/ 740 w 1196"/>
              <a:gd name="T79" fmla="*/ 643 h 1065"/>
              <a:gd name="T80" fmla="*/ 380 w 1196"/>
              <a:gd name="T81" fmla="*/ 643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96" h="1065">
                <a:moveTo>
                  <a:pt x="0" y="1029"/>
                </a:moveTo>
                <a:lnTo>
                  <a:pt x="0" y="1029"/>
                </a:lnTo>
                <a:lnTo>
                  <a:pt x="26" y="1028"/>
                </a:lnTo>
                <a:lnTo>
                  <a:pt x="48" y="1027"/>
                </a:lnTo>
                <a:lnTo>
                  <a:pt x="68" y="1025"/>
                </a:lnTo>
                <a:lnTo>
                  <a:pt x="86" y="1022"/>
                </a:lnTo>
                <a:lnTo>
                  <a:pt x="102" y="1018"/>
                </a:lnTo>
                <a:lnTo>
                  <a:pt x="115" y="1013"/>
                </a:lnTo>
                <a:lnTo>
                  <a:pt x="127" y="1007"/>
                </a:lnTo>
                <a:lnTo>
                  <a:pt x="137" y="999"/>
                </a:lnTo>
                <a:lnTo>
                  <a:pt x="148" y="990"/>
                </a:lnTo>
                <a:lnTo>
                  <a:pt x="156" y="979"/>
                </a:lnTo>
                <a:lnTo>
                  <a:pt x="164" y="967"/>
                </a:lnTo>
                <a:lnTo>
                  <a:pt x="172" y="953"/>
                </a:lnTo>
                <a:lnTo>
                  <a:pt x="180" y="937"/>
                </a:lnTo>
                <a:lnTo>
                  <a:pt x="188" y="920"/>
                </a:lnTo>
                <a:lnTo>
                  <a:pt x="207" y="879"/>
                </a:lnTo>
                <a:lnTo>
                  <a:pt x="586" y="0"/>
                </a:lnTo>
                <a:lnTo>
                  <a:pt x="609" y="0"/>
                </a:lnTo>
                <a:lnTo>
                  <a:pt x="990" y="879"/>
                </a:lnTo>
                <a:lnTo>
                  <a:pt x="990" y="879"/>
                </a:lnTo>
                <a:lnTo>
                  <a:pt x="1008" y="920"/>
                </a:lnTo>
                <a:lnTo>
                  <a:pt x="1017" y="937"/>
                </a:lnTo>
                <a:lnTo>
                  <a:pt x="1025" y="953"/>
                </a:lnTo>
                <a:lnTo>
                  <a:pt x="1033" y="967"/>
                </a:lnTo>
                <a:lnTo>
                  <a:pt x="1041" y="979"/>
                </a:lnTo>
                <a:lnTo>
                  <a:pt x="1049" y="990"/>
                </a:lnTo>
                <a:lnTo>
                  <a:pt x="1060" y="999"/>
                </a:lnTo>
                <a:lnTo>
                  <a:pt x="1070" y="1007"/>
                </a:lnTo>
                <a:lnTo>
                  <a:pt x="1082" y="1013"/>
                </a:lnTo>
                <a:lnTo>
                  <a:pt x="1095" y="1018"/>
                </a:lnTo>
                <a:lnTo>
                  <a:pt x="1111" y="1022"/>
                </a:lnTo>
                <a:lnTo>
                  <a:pt x="1128" y="1025"/>
                </a:lnTo>
                <a:lnTo>
                  <a:pt x="1148" y="1027"/>
                </a:lnTo>
                <a:lnTo>
                  <a:pt x="1170" y="1028"/>
                </a:lnTo>
                <a:lnTo>
                  <a:pt x="1196" y="1029"/>
                </a:lnTo>
                <a:lnTo>
                  <a:pt x="1196" y="1065"/>
                </a:lnTo>
                <a:lnTo>
                  <a:pt x="717" y="1065"/>
                </a:lnTo>
                <a:lnTo>
                  <a:pt x="717" y="1029"/>
                </a:lnTo>
                <a:lnTo>
                  <a:pt x="717" y="1029"/>
                </a:lnTo>
                <a:lnTo>
                  <a:pt x="743" y="1028"/>
                </a:lnTo>
                <a:lnTo>
                  <a:pt x="766" y="1027"/>
                </a:lnTo>
                <a:lnTo>
                  <a:pt x="787" y="1025"/>
                </a:lnTo>
                <a:lnTo>
                  <a:pt x="805" y="1022"/>
                </a:lnTo>
                <a:lnTo>
                  <a:pt x="820" y="1018"/>
                </a:lnTo>
                <a:lnTo>
                  <a:pt x="834" y="1013"/>
                </a:lnTo>
                <a:lnTo>
                  <a:pt x="845" y="1006"/>
                </a:lnTo>
                <a:lnTo>
                  <a:pt x="854" y="998"/>
                </a:lnTo>
                <a:lnTo>
                  <a:pt x="861" y="990"/>
                </a:lnTo>
                <a:lnTo>
                  <a:pt x="865" y="981"/>
                </a:lnTo>
                <a:lnTo>
                  <a:pt x="868" y="970"/>
                </a:lnTo>
                <a:lnTo>
                  <a:pt x="868" y="958"/>
                </a:lnTo>
                <a:lnTo>
                  <a:pt x="867" y="945"/>
                </a:lnTo>
                <a:lnTo>
                  <a:pt x="864" y="931"/>
                </a:lnTo>
                <a:lnTo>
                  <a:pt x="859" y="915"/>
                </a:lnTo>
                <a:lnTo>
                  <a:pt x="852" y="897"/>
                </a:lnTo>
                <a:lnTo>
                  <a:pt x="769" y="706"/>
                </a:lnTo>
                <a:lnTo>
                  <a:pt x="352" y="706"/>
                </a:lnTo>
                <a:lnTo>
                  <a:pt x="269" y="897"/>
                </a:lnTo>
                <a:lnTo>
                  <a:pt x="269" y="897"/>
                </a:lnTo>
                <a:lnTo>
                  <a:pt x="262" y="915"/>
                </a:lnTo>
                <a:lnTo>
                  <a:pt x="257" y="930"/>
                </a:lnTo>
                <a:lnTo>
                  <a:pt x="254" y="944"/>
                </a:lnTo>
                <a:lnTo>
                  <a:pt x="253" y="957"/>
                </a:lnTo>
                <a:lnTo>
                  <a:pt x="253" y="969"/>
                </a:lnTo>
                <a:lnTo>
                  <a:pt x="256" y="980"/>
                </a:lnTo>
                <a:lnTo>
                  <a:pt x="260" y="989"/>
                </a:lnTo>
                <a:lnTo>
                  <a:pt x="267" y="998"/>
                </a:lnTo>
                <a:lnTo>
                  <a:pt x="276" y="1006"/>
                </a:lnTo>
                <a:lnTo>
                  <a:pt x="288" y="1012"/>
                </a:lnTo>
                <a:lnTo>
                  <a:pt x="301" y="1017"/>
                </a:lnTo>
                <a:lnTo>
                  <a:pt x="316" y="1021"/>
                </a:lnTo>
                <a:lnTo>
                  <a:pt x="335" y="1025"/>
                </a:lnTo>
                <a:lnTo>
                  <a:pt x="355" y="1027"/>
                </a:lnTo>
                <a:lnTo>
                  <a:pt x="378" y="1028"/>
                </a:lnTo>
                <a:lnTo>
                  <a:pt x="403" y="1029"/>
                </a:lnTo>
                <a:lnTo>
                  <a:pt x="403" y="1065"/>
                </a:lnTo>
                <a:lnTo>
                  <a:pt x="0" y="1065"/>
                </a:lnTo>
                <a:lnTo>
                  <a:pt x="0" y="1029"/>
                </a:lnTo>
                <a:close/>
                <a:moveTo>
                  <a:pt x="740" y="643"/>
                </a:moveTo>
                <a:lnTo>
                  <a:pt x="559" y="226"/>
                </a:lnTo>
                <a:lnTo>
                  <a:pt x="380" y="643"/>
                </a:lnTo>
                <a:lnTo>
                  <a:pt x="740" y="643"/>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71" name="Freeform 22">
            <a:extLst>
              <a:ext uri="{FF2B5EF4-FFF2-40B4-BE49-F238E27FC236}">
                <a16:creationId xmlns:a16="http://schemas.microsoft.com/office/drawing/2014/main" id="{A387DB3F-83D5-0A40-B69D-A25DB16F3840}"/>
              </a:ext>
            </a:extLst>
          </p:cNvPr>
          <p:cNvSpPr>
            <a:spLocks/>
          </p:cNvSpPr>
          <p:nvPr userDrawn="1"/>
        </p:nvSpPr>
        <p:spPr bwMode="auto">
          <a:xfrm>
            <a:off x="1966913" y="1158876"/>
            <a:ext cx="142875" cy="136525"/>
          </a:xfrm>
          <a:custGeom>
            <a:avLst/>
            <a:gdLst>
              <a:gd name="T0" fmla="*/ 304 w 1077"/>
              <a:gd name="T1" fmla="*/ 999 h 1035"/>
              <a:gd name="T2" fmla="*/ 353 w 1077"/>
              <a:gd name="T3" fmla="*/ 997 h 1035"/>
              <a:gd name="T4" fmla="*/ 391 w 1077"/>
              <a:gd name="T5" fmla="*/ 991 h 1035"/>
              <a:gd name="T6" fmla="*/ 420 w 1077"/>
              <a:gd name="T7" fmla="*/ 981 h 1035"/>
              <a:gd name="T8" fmla="*/ 431 w 1077"/>
              <a:gd name="T9" fmla="*/ 972 h 1035"/>
              <a:gd name="T10" fmla="*/ 441 w 1077"/>
              <a:gd name="T11" fmla="*/ 962 h 1035"/>
              <a:gd name="T12" fmla="*/ 449 w 1077"/>
              <a:gd name="T13" fmla="*/ 951 h 1035"/>
              <a:gd name="T14" fmla="*/ 461 w 1077"/>
              <a:gd name="T15" fmla="*/ 920 h 1035"/>
              <a:gd name="T16" fmla="*/ 467 w 1077"/>
              <a:gd name="T17" fmla="*/ 879 h 1035"/>
              <a:gd name="T18" fmla="*/ 470 w 1077"/>
              <a:gd name="T19" fmla="*/ 827 h 1035"/>
              <a:gd name="T20" fmla="*/ 470 w 1077"/>
              <a:gd name="T21" fmla="*/ 68 h 1035"/>
              <a:gd name="T22" fmla="*/ 246 w 1077"/>
              <a:gd name="T23" fmla="*/ 68 h 1035"/>
              <a:gd name="T24" fmla="*/ 193 w 1077"/>
              <a:gd name="T25" fmla="*/ 69 h 1035"/>
              <a:gd name="T26" fmla="*/ 151 w 1077"/>
              <a:gd name="T27" fmla="*/ 75 h 1035"/>
              <a:gd name="T28" fmla="*/ 119 w 1077"/>
              <a:gd name="T29" fmla="*/ 85 h 1035"/>
              <a:gd name="T30" fmla="*/ 95 w 1077"/>
              <a:gd name="T31" fmla="*/ 98 h 1035"/>
              <a:gd name="T32" fmla="*/ 78 w 1077"/>
              <a:gd name="T33" fmla="*/ 117 h 1035"/>
              <a:gd name="T34" fmla="*/ 65 w 1077"/>
              <a:gd name="T35" fmla="*/ 139 h 1035"/>
              <a:gd name="T36" fmla="*/ 55 w 1077"/>
              <a:gd name="T37" fmla="*/ 167 h 1035"/>
              <a:gd name="T38" fmla="*/ 37 w 1077"/>
              <a:gd name="T39" fmla="*/ 233 h 1035"/>
              <a:gd name="T40" fmla="*/ 17 w 1077"/>
              <a:gd name="T41" fmla="*/ 0 h 1035"/>
              <a:gd name="T42" fmla="*/ 1077 w 1077"/>
              <a:gd name="T43" fmla="*/ 233 h 1035"/>
              <a:gd name="T44" fmla="*/ 1032 w 1077"/>
              <a:gd name="T45" fmla="*/ 198 h 1035"/>
              <a:gd name="T46" fmla="*/ 1024 w 1077"/>
              <a:gd name="T47" fmla="*/ 167 h 1035"/>
              <a:gd name="T48" fmla="*/ 1014 w 1077"/>
              <a:gd name="T49" fmla="*/ 139 h 1035"/>
              <a:gd name="T50" fmla="*/ 1000 w 1077"/>
              <a:gd name="T51" fmla="*/ 117 h 1035"/>
              <a:gd name="T52" fmla="*/ 983 w 1077"/>
              <a:gd name="T53" fmla="*/ 98 h 1035"/>
              <a:gd name="T54" fmla="*/ 960 w 1077"/>
              <a:gd name="T55" fmla="*/ 85 h 1035"/>
              <a:gd name="T56" fmla="*/ 927 w 1077"/>
              <a:gd name="T57" fmla="*/ 75 h 1035"/>
              <a:gd name="T58" fmla="*/ 886 w 1077"/>
              <a:gd name="T59" fmla="*/ 69 h 1035"/>
              <a:gd name="T60" fmla="*/ 833 w 1077"/>
              <a:gd name="T61" fmla="*/ 68 h 1035"/>
              <a:gd name="T62" fmla="*/ 608 w 1077"/>
              <a:gd name="T63" fmla="*/ 797 h 1035"/>
              <a:gd name="T64" fmla="*/ 609 w 1077"/>
              <a:gd name="T65" fmla="*/ 827 h 1035"/>
              <a:gd name="T66" fmla="*/ 611 w 1077"/>
              <a:gd name="T67" fmla="*/ 879 h 1035"/>
              <a:gd name="T68" fmla="*/ 618 w 1077"/>
              <a:gd name="T69" fmla="*/ 920 h 1035"/>
              <a:gd name="T70" fmla="*/ 629 w 1077"/>
              <a:gd name="T71" fmla="*/ 951 h 1035"/>
              <a:gd name="T72" fmla="*/ 637 w 1077"/>
              <a:gd name="T73" fmla="*/ 962 h 1035"/>
              <a:gd name="T74" fmla="*/ 647 w 1077"/>
              <a:gd name="T75" fmla="*/ 972 h 1035"/>
              <a:gd name="T76" fmla="*/ 658 w 1077"/>
              <a:gd name="T77" fmla="*/ 981 h 1035"/>
              <a:gd name="T78" fmla="*/ 688 w 1077"/>
              <a:gd name="T79" fmla="*/ 991 h 1035"/>
              <a:gd name="T80" fmla="*/ 725 w 1077"/>
              <a:gd name="T81" fmla="*/ 997 h 1035"/>
              <a:gd name="T82" fmla="*/ 773 w 1077"/>
              <a:gd name="T83" fmla="*/ 999 h 1035"/>
              <a:gd name="T84" fmla="*/ 304 w 1077"/>
              <a:gd name="T85" fmla="*/ 1035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7" h="1035">
                <a:moveTo>
                  <a:pt x="304" y="999"/>
                </a:moveTo>
                <a:lnTo>
                  <a:pt x="304" y="999"/>
                </a:lnTo>
                <a:lnTo>
                  <a:pt x="330" y="998"/>
                </a:lnTo>
                <a:lnTo>
                  <a:pt x="353" y="997"/>
                </a:lnTo>
                <a:lnTo>
                  <a:pt x="373" y="995"/>
                </a:lnTo>
                <a:lnTo>
                  <a:pt x="391" y="991"/>
                </a:lnTo>
                <a:lnTo>
                  <a:pt x="406" y="987"/>
                </a:lnTo>
                <a:lnTo>
                  <a:pt x="420" y="981"/>
                </a:lnTo>
                <a:lnTo>
                  <a:pt x="426" y="977"/>
                </a:lnTo>
                <a:lnTo>
                  <a:pt x="431" y="972"/>
                </a:lnTo>
                <a:lnTo>
                  <a:pt x="436" y="967"/>
                </a:lnTo>
                <a:lnTo>
                  <a:pt x="441" y="962"/>
                </a:lnTo>
                <a:lnTo>
                  <a:pt x="445" y="957"/>
                </a:lnTo>
                <a:lnTo>
                  <a:pt x="449" y="951"/>
                </a:lnTo>
                <a:lnTo>
                  <a:pt x="455" y="937"/>
                </a:lnTo>
                <a:lnTo>
                  <a:pt x="461" y="920"/>
                </a:lnTo>
                <a:lnTo>
                  <a:pt x="465" y="901"/>
                </a:lnTo>
                <a:lnTo>
                  <a:pt x="467" y="879"/>
                </a:lnTo>
                <a:lnTo>
                  <a:pt x="469" y="855"/>
                </a:lnTo>
                <a:lnTo>
                  <a:pt x="470" y="827"/>
                </a:lnTo>
                <a:lnTo>
                  <a:pt x="470" y="797"/>
                </a:lnTo>
                <a:lnTo>
                  <a:pt x="470" y="68"/>
                </a:lnTo>
                <a:lnTo>
                  <a:pt x="246" y="68"/>
                </a:lnTo>
                <a:lnTo>
                  <a:pt x="246" y="68"/>
                </a:lnTo>
                <a:lnTo>
                  <a:pt x="217" y="68"/>
                </a:lnTo>
                <a:lnTo>
                  <a:pt x="193" y="69"/>
                </a:lnTo>
                <a:lnTo>
                  <a:pt x="170" y="72"/>
                </a:lnTo>
                <a:lnTo>
                  <a:pt x="151" y="75"/>
                </a:lnTo>
                <a:lnTo>
                  <a:pt x="134" y="79"/>
                </a:lnTo>
                <a:lnTo>
                  <a:pt x="119" y="85"/>
                </a:lnTo>
                <a:lnTo>
                  <a:pt x="107" y="91"/>
                </a:lnTo>
                <a:lnTo>
                  <a:pt x="95" y="98"/>
                </a:lnTo>
                <a:lnTo>
                  <a:pt x="86" y="106"/>
                </a:lnTo>
                <a:lnTo>
                  <a:pt x="78" y="117"/>
                </a:lnTo>
                <a:lnTo>
                  <a:pt x="71" y="127"/>
                </a:lnTo>
                <a:lnTo>
                  <a:pt x="65" y="139"/>
                </a:lnTo>
                <a:lnTo>
                  <a:pt x="60" y="152"/>
                </a:lnTo>
                <a:lnTo>
                  <a:pt x="55" y="167"/>
                </a:lnTo>
                <a:lnTo>
                  <a:pt x="45" y="198"/>
                </a:lnTo>
                <a:lnTo>
                  <a:pt x="37" y="233"/>
                </a:lnTo>
                <a:lnTo>
                  <a:pt x="0" y="233"/>
                </a:lnTo>
                <a:lnTo>
                  <a:pt x="17" y="0"/>
                </a:lnTo>
                <a:lnTo>
                  <a:pt x="1062" y="0"/>
                </a:lnTo>
                <a:lnTo>
                  <a:pt x="1077" y="233"/>
                </a:lnTo>
                <a:lnTo>
                  <a:pt x="1041" y="233"/>
                </a:lnTo>
                <a:lnTo>
                  <a:pt x="1032" y="198"/>
                </a:lnTo>
                <a:lnTo>
                  <a:pt x="1032" y="198"/>
                </a:lnTo>
                <a:lnTo>
                  <a:pt x="1024" y="167"/>
                </a:lnTo>
                <a:lnTo>
                  <a:pt x="1019" y="152"/>
                </a:lnTo>
                <a:lnTo>
                  <a:pt x="1014" y="139"/>
                </a:lnTo>
                <a:lnTo>
                  <a:pt x="1008" y="127"/>
                </a:lnTo>
                <a:lnTo>
                  <a:pt x="1000" y="117"/>
                </a:lnTo>
                <a:lnTo>
                  <a:pt x="992" y="106"/>
                </a:lnTo>
                <a:lnTo>
                  <a:pt x="983" y="98"/>
                </a:lnTo>
                <a:lnTo>
                  <a:pt x="972" y="91"/>
                </a:lnTo>
                <a:lnTo>
                  <a:pt x="960" y="85"/>
                </a:lnTo>
                <a:lnTo>
                  <a:pt x="944" y="79"/>
                </a:lnTo>
                <a:lnTo>
                  <a:pt x="927" y="75"/>
                </a:lnTo>
                <a:lnTo>
                  <a:pt x="907" y="72"/>
                </a:lnTo>
                <a:lnTo>
                  <a:pt x="886" y="69"/>
                </a:lnTo>
                <a:lnTo>
                  <a:pt x="860" y="68"/>
                </a:lnTo>
                <a:lnTo>
                  <a:pt x="833" y="68"/>
                </a:lnTo>
                <a:lnTo>
                  <a:pt x="608" y="68"/>
                </a:lnTo>
                <a:lnTo>
                  <a:pt x="608" y="797"/>
                </a:lnTo>
                <a:lnTo>
                  <a:pt x="608" y="797"/>
                </a:lnTo>
                <a:lnTo>
                  <a:pt x="609" y="827"/>
                </a:lnTo>
                <a:lnTo>
                  <a:pt x="609" y="855"/>
                </a:lnTo>
                <a:lnTo>
                  <a:pt x="611" y="879"/>
                </a:lnTo>
                <a:lnTo>
                  <a:pt x="614" y="901"/>
                </a:lnTo>
                <a:lnTo>
                  <a:pt x="618" y="920"/>
                </a:lnTo>
                <a:lnTo>
                  <a:pt x="623" y="937"/>
                </a:lnTo>
                <a:lnTo>
                  <a:pt x="629" y="951"/>
                </a:lnTo>
                <a:lnTo>
                  <a:pt x="633" y="957"/>
                </a:lnTo>
                <a:lnTo>
                  <a:pt x="637" y="962"/>
                </a:lnTo>
                <a:lnTo>
                  <a:pt x="642" y="967"/>
                </a:lnTo>
                <a:lnTo>
                  <a:pt x="647" y="972"/>
                </a:lnTo>
                <a:lnTo>
                  <a:pt x="653" y="977"/>
                </a:lnTo>
                <a:lnTo>
                  <a:pt x="658" y="981"/>
                </a:lnTo>
                <a:lnTo>
                  <a:pt x="672" y="987"/>
                </a:lnTo>
                <a:lnTo>
                  <a:pt x="688" y="991"/>
                </a:lnTo>
                <a:lnTo>
                  <a:pt x="705" y="995"/>
                </a:lnTo>
                <a:lnTo>
                  <a:pt x="725" y="997"/>
                </a:lnTo>
                <a:lnTo>
                  <a:pt x="748" y="998"/>
                </a:lnTo>
                <a:lnTo>
                  <a:pt x="773" y="999"/>
                </a:lnTo>
                <a:lnTo>
                  <a:pt x="773" y="1035"/>
                </a:lnTo>
                <a:lnTo>
                  <a:pt x="304" y="1035"/>
                </a:lnTo>
                <a:lnTo>
                  <a:pt x="304" y="999"/>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72" name="Freeform 23">
            <a:extLst>
              <a:ext uri="{FF2B5EF4-FFF2-40B4-BE49-F238E27FC236}">
                <a16:creationId xmlns:a16="http://schemas.microsoft.com/office/drawing/2014/main" id="{5E0A04C1-F1DF-C14C-AE96-48E5572CFC9C}"/>
              </a:ext>
            </a:extLst>
          </p:cNvPr>
          <p:cNvSpPr>
            <a:spLocks/>
          </p:cNvSpPr>
          <p:nvPr userDrawn="1"/>
        </p:nvSpPr>
        <p:spPr bwMode="auto">
          <a:xfrm>
            <a:off x="2141538" y="1154113"/>
            <a:ext cx="88900" cy="144463"/>
          </a:xfrm>
          <a:custGeom>
            <a:avLst/>
            <a:gdLst>
              <a:gd name="T0" fmla="*/ 39 w 683"/>
              <a:gd name="T1" fmla="*/ 752 h 1102"/>
              <a:gd name="T2" fmla="*/ 64 w 683"/>
              <a:gd name="T3" fmla="*/ 849 h 1102"/>
              <a:gd name="T4" fmla="*/ 104 w 683"/>
              <a:gd name="T5" fmla="*/ 921 h 1102"/>
              <a:gd name="T6" fmla="*/ 171 w 683"/>
              <a:gd name="T7" fmla="*/ 985 h 1102"/>
              <a:gd name="T8" fmla="*/ 273 w 683"/>
              <a:gd name="T9" fmla="*/ 1026 h 1102"/>
              <a:gd name="T10" fmla="*/ 377 w 683"/>
              <a:gd name="T11" fmla="*/ 1032 h 1102"/>
              <a:gd name="T12" fmla="*/ 476 w 683"/>
              <a:gd name="T13" fmla="*/ 1002 h 1102"/>
              <a:gd name="T14" fmla="*/ 544 w 683"/>
              <a:gd name="T15" fmla="*/ 937 h 1102"/>
              <a:gd name="T16" fmla="*/ 570 w 683"/>
              <a:gd name="T17" fmla="*/ 844 h 1102"/>
              <a:gd name="T18" fmla="*/ 555 w 683"/>
              <a:gd name="T19" fmla="*/ 787 h 1102"/>
              <a:gd name="T20" fmla="*/ 501 w 683"/>
              <a:gd name="T21" fmla="*/ 720 h 1102"/>
              <a:gd name="T22" fmla="*/ 413 w 683"/>
              <a:gd name="T23" fmla="*/ 659 h 1102"/>
              <a:gd name="T24" fmla="*/ 169 w 683"/>
              <a:gd name="T25" fmla="*/ 529 h 1102"/>
              <a:gd name="T26" fmla="*/ 86 w 683"/>
              <a:gd name="T27" fmla="*/ 455 h 1102"/>
              <a:gd name="T28" fmla="*/ 30 w 683"/>
              <a:gd name="T29" fmla="*/ 358 h 1102"/>
              <a:gd name="T30" fmla="*/ 14 w 683"/>
              <a:gd name="T31" fmla="*/ 265 h 1102"/>
              <a:gd name="T32" fmla="*/ 23 w 683"/>
              <a:gd name="T33" fmla="*/ 201 h 1102"/>
              <a:gd name="T34" fmla="*/ 46 w 683"/>
              <a:gd name="T35" fmla="*/ 142 h 1102"/>
              <a:gd name="T36" fmla="*/ 85 w 683"/>
              <a:gd name="T37" fmla="*/ 92 h 1102"/>
              <a:gd name="T38" fmla="*/ 136 w 683"/>
              <a:gd name="T39" fmla="*/ 52 h 1102"/>
              <a:gd name="T40" fmla="*/ 199 w 683"/>
              <a:gd name="T41" fmla="*/ 24 h 1102"/>
              <a:gd name="T42" fmla="*/ 269 w 683"/>
              <a:gd name="T43" fmla="*/ 9 h 1102"/>
              <a:gd name="T44" fmla="*/ 337 w 683"/>
              <a:gd name="T45" fmla="*/ 10 h 1102"/>
              <a:gd name="T46" fmla="*/ 411 w 683"/>
              <a:gd name="T47" fmla="*/ 25 h 1102"/>
              <a:gd name="T48" fmla="*/ 510 w 683"/>
              <a:gd name="T49" fmla="*/ 79 h 1102"/>
              <a:gd name="T50" fmla="*/ 540 w 683"/>
              <a:gd name="T51" fmla="*/ 46 h 1102"/>
              <a:gd name="T52" fmla="*/ 595 w 683"/>
              <a:gd name="T53" fmla="*/ 0 h 1102"/>
              <a:gd name="T54" fmla="*/ 552 w 683"/>
              <a:gd name="T55" fmla="*/ 326 h 1102"/>
              <a:gd name="T56" fmla="*/ 511 w 683"/>
              <a:gd name="T57" fmla="*/ 200 h 1102"/>
              <a:gd name="T58" fmla="*/ 473 w 683"/>
              <a:gd name="T59" fmla="*/ 145 h 1102"/>
              <a:gd name="T60" fmla="*/ 419 w 683"/>
              <a:gd name="T61" fmla="*/ 106 h 1102"/>
              <a:gd name="T62" fmla="*/ 348 w 683"/>
              <a:gd name="T63" fmla="*/ 82 h 1102"/>
              <a:gd name="T64" fmla="*/ 277 w 683"/>
              <a:gd name="T65" fmla="*/ 78 h 1102"/>
              <a:gd name="T66" fmla="*/ 200 w 683"/>
              <a:gd name="T67" fmla="*/ 104 h 1102"/>
              <a:gd name="T68" fmla="*/ 147 w 683"/>
              <a:gd name="T69" fmla="*/ 158 h 1102"/>
              <a:gd name="T70" fmla="*/ 128 w 683"/>
              <a:gd name="T71" fmla="*/ 231 h 1102"/>
              <a:gd name="T72" fmla="*/ 139 w 683"/>
              <a:gd name="T73" fmla="*/ 292 h 1102"/>
              <a:gd name="T74" fmla="*/ 190 w 683"/>
              <a:gd name="T75" fmla="*/ 355 h 1102"/>
              <a:gd name="T76" fmla="*/ 287 w 683"/>
              <a:gd name="T77" fmla="*/ 417 h 1102"/>
              <a:gd name="T78" fmla="*/ 548 w 683"/>
              <a:gd name="T79" fmla="*/ 556 h 1102"/>
              <a:gd name="T80" fmla="*/ 631 w 683"/>
              <a:gd name="T81" fmla="*/ 633 h 1102"/>
              <a:gd name="T82" fmla="*/ 674 w 683"/>
              <a:gd name="T83" fmla="*/ 720 h 1102"/>
              <a:gd name="T84" fmla="*/ 683 w 683"/>
              <a:gd name="T85" fmla="*/ 792 h 1102"/>
              <a:gd name="T86" fmla="*/ 673 w 683"/>
              <a:gd name="T87" fmla="*/ 874 h 1102"/>
              <a:gd name="T88" fmla="*/ 642 w 683"/>
              <a:gd name="T89" fmla="*/ 947 h 1102"/>
              <a:gd name="T90" fmla="*/ 596 w 683"/>
              <a:gd name="T91" fmla="*/ 1007 h 1102"/>
              <a:gd name="T92" fmla="*/ 536 w 683"/>
              <a:gd name="T93" fmla="*/ 1053 h 1102"/>
              <a:gd name="T94" fmla="*/ 465 w 683"/>
              <a:gd name="T95" fmla="*/ 1085 h 1102"/>
              <a:gd name="T96" fmla="*/ 387 w 683"/>
              <a:gd name="T97" fmla="*/ 1100 h 1102"/>
              <a:gd name="T98" fmla="*/ 307 w 683"/>
              <a:gd name="T99" fmla="*/ 1099 h 1102"/>
              <a:gd name="T100" fmla="*/ 208 w 683"/>
              <a:gd name="T101" fmla="*/ 1073 h 1102"/>
              <a:gd name="T102" fmla="*/ 95 w 683"/>
              <a:gd name="T103" fmla="*/ 1024 h 1102"/>
              <a:gd name="T104" fmla="*/ 62 w 683"/>
              <a:gd name="T105" fmla="*/ 1044 h 1102"/>
              <a:gd name="T106" fmla="*/ 35 w 683"/>
              <a:gd name="T107" fmla="*/ 1102 h 1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83" h="1102">
                <a:moveTo>
                  <a:pt x="0" y="723"/>
                </a:moveTo>
                <a:lnTo>
                  <a:pt x="36" y="723"/>
                </a:lnTo>
                <a:lnTo>
                  <a:pt x="36" y="723"/>
                </a:lnTo>
                <a:lnTo>
                  <a:pt x="37" y="736"/>
                </a:lnTo>
                <a:lnTo>
                  <a:pt x="39" y="752"/>
                </a:lnTo>
                <a:lnTo>
                  <a:pt x="41" y="771"/>
                </a:lnTo>
                <a:lnTo>
                  <a:pt x="46" y="795"/>
                </a:lnTo>
                <a:lnTo>
                  <a:pt x="53" y="821"/>
                </a:lnTo>
                <a:lnTo>
                  <a:pt x="59" y="835"/>
                </a:lnTo>
                <a:lnTo>
                  <a:pt x="64" y="849"/>
                </a:lnTo>
                <a:lnTo>
                  <a:pt x="70" y="863"/>
                </a:lnTo>
                <a:lnTo>
                  <a:pt x="77" y="878"/>
                </a:lnTo>
                <a:lnTo>
                  <a:pt x="85" y="893"/>
                </a:lnTo>
                <a:lnTo>
                  <a:pt x="93" y="907"/>
                </a:lnTo>
                <a:lnTo>
                  <a:pt x="104" y="921"/>
                </a:lnTo>
                <a:lnTo>
                  <a:pt x="115" y="935"/>
                </a:lnTo>
                <a:lnTo>
                  <a:pt x="127" y="948"/>
                </a:lnTo>
                <a:lnTo>
                  <a:pt x="140" y="961"/>
                </a:lnTo>
                <a:lnTo>
                  <a:pt x="155" y="974"/>
                </a:lnTo>
                <a:lnTo>
                  <a:pt x="171" y="985"/>
                </a:lnTo>
                <a:lnTo>
                  <a:pt x="188" y="995"/>
                </a:lnTo>
                <a:lnTo>
                  <a:pt x="207" y="1004"/>
                </a:lnTo>
                <a:lnTo>
                  <a:pt x="227" y="1012"/>
                </a:lnTo>
                <a:lnTo>
                  <a:pt x="250" y="1020"/>
                </a:lnTo>
                <a:lnTo>
                  <a:pt x="273" y="1026"/>
                </a:lnTo>
                <a:lnTo>
                  <a:pt x="298" y="1030"/>
                </a:lnTo>
                <a:lnTo>
                  <a:pt x="325" y="1032"/>
                </a:lnTo>
                <a:lnTo>
                  <a:pt x="354" y="1033"/>
                </a:lnTo>
                <a:lnTo>
                  <a:pt x="354" y="1033"/>
                </a:lnTo>
                <a:lnTo>
                  <a:pt x="377" y="1032"/>
                </a:lnTo>
                <a:lnTo>
                  <a:pt x="398" y="1030"/>
                </a:lnTo>
                <a:lnTo>
                  <a:pt x="419" y="1025"/>
                </a:lnTo>
                <a:lnTo>
                  <a:pt x="439" y="1019"/>
                </a:lnTo>
                <a:lnTo>
                  <a:pt x="458" y="1011"/>
                </a:lnTo>
                <a:lnTo>
                  <a:pt x="476" y="1002"/>
                </a:lnTo>
                <a:lnTo>
                  <a:pt x="492" y="992"/>
                </a:lnTo>
                <a:lnTo>
                  <a:pt x="507" y="980"/>
                </a:lnTo>
                <a:lnTo>
                  <a:pt x="522" y="966"/>
                </a:lnTo>
                <a:lnTo>
                  <a:pt x="534" y="952"/>
                </a:lnTo>
                <a:lnTo>
                  <a:pt x="544" y="937"/>
                </a:lnTo>
                <a:lnTo>
                  <a:pt x="553" y="919"/>
                </a:lnTo>
                <a:lnTo>
                  <a:pt x="560" y="902"/>
                </a:lnTo>
                <a:lnTo>
                  <a:pt x="566" y="884"/>
                </a:lnTo>
                <a:lnTo>
                  <a:pt x="569" y="864"/>
                </a:lnTo>
                <a:lnTo>
                  <a:pt x="570" y="844"/>
                </a:lnTo>
                <a:lnTo>
                  <a:pt x="570" y="844"/>
                </a:lnTo>
                <a:lnTo>
                  <a:pt x="569" y="828"/>
                </a:lnTo>
                <a:lnTo>
                  <a:pt x="566" y="814"/>
                </a:lnTo>
                <a:lnTo>
                  <a:pt x="562" y="800"/>
                </a:lnTo>
                <a:lnTo>
                  <a:pt x="555" y="787"/>
                </a:lnTo>
                <a:lnTo>
                  <a:pt x="547" y="772"/>
                </a:lnTo>
                <a:lnTo>
                  <a:pt x="538" y="759"/>
                </a:lnTo>
                <a:lnTo>
                  <a:pt x="527" y="746"/>
                </a:lnTo>
                <a:lnTo>
                  <a:pt x="515" y="732"/>
                </a:lnTo>
                <a:lnTo>
                  <a:pt x="501" y="720"/>
                </a:lnTo>
                <a:lnTo>
                  <a:pt x="486" y="707"/>
                </a:lnTo>
                <a:lnTo>
                  <a:pt x="470" y="695"/>
                </a:lnTo>
                <a:lnTo>
                  <a:pt x="452" y="682"/>
                </a:lnTo>
                <a:lnTo>
                  <a:pt x="434" y="670"/>
                </a:lnTo>
                <a:lnTo>
                  <a:pt x="413" y="659"/>
                </a:lnTo>
                <a:lnTo>
                  <a:pt x="371" y="634"/>
                </a:lnTo>
                <a:lnTo>
                  <a:pt x="206" y="550"/>
                </a:lnTo>
                <a:lnTo>
                  <a:pt x="206" y="550"/>
                </a:lnTo>
                <a:lnTo>
                  <a:pt x="186" y="540"/>
                </a:lnTo>
                <a:lnTo>
                  <a:pt x="169" y="529"/>
                </a:lnTo>
                <a:lnTo>
                  <a:pt x="151" y="516"/>
                </a:lnTo>
                <a:lnTo>
                  <a:pt x="133" y="502"/>
                </a:lnTo>
                <a:lnTo>
                  <a:pt x="117" y="488"/>
                </a:lnTo>
                <a:lnTo>
                  <a:pt x="100" y="472"/>
                </a:lnTo>
                <a:lnTo>
                  <a:pt x="86" y="455"/>
                </a:lnTo>
                <a:lnTo>
                  <a:pt x="72" y="438"/>
                </a:lnTo>
                <a:lnTo>
                  <a:pt x="60" y="419"/>
                </a:lnTo>
                <a:lnTo>
                  <a:pt x="48" y="400"/>
                </a:lnTo>
                <a:lnTo>
                  <a:pt x="38" y="380"/>
                </a:lnTo>
                <a:lnTo>
                  <a:pt x="30" y="358"/>
                </a:lnTo>
                <a:lnTo>
                  <a:pt x="23" y="336"/>
                </a:lnTo>
                <a:lnTo>
                  <a:pt x="18" y="313"/>
                </a:lnTo>
                <a:lnTo>
                  <a:pt x="15" y="290"/>
                </a:lnTo>
                <a:lnTo>
                  <a:pt x="14" y="265"/>
                </a:lnTo>
                <a:lnTo>
                  <a:pt x="14" y="265"/>
                </a:lnTo>
                <a:lnTo>
                  <a:pt x="15" y="252"/>
                </a:lnTo>
                <a:lnTo>
                  <a:pt x="16" y="240"/>
                </a:lnTo>
                <a:lnTo>
                  <a:pt x="17" y="226"/>
                </a:lnTo>
                <a:lnTo>
                  <a:pt x="20" y="213"/>
                </a:lnTo>
                <a:lnTo>
                  <a:pt x="23" y="201"/>
                </a:lnTo>
                <a:lnTo>
                  <a:pt x="26" y="188"/>
                </a:lnTo>
                <a:lnTo>
                  <a:pt x="30" y="177"/>
                </a:lnTo>
                <a:lnTo>
                  <a:pt x="35" y="165"/>
                </a:lnTo>
                <a:lnTo>
                  <a:pt x="41" y="154"/>
                </a:lnTo>
                <a:lnTo>
                  <a:pt x="46" y="142"/>
                </a:lnTo>
                <a:lnTo>
                  <a:pt x="53" y="132"/>
                </a:lnTo>
                <a:lnTo>
                  <a:pt x="61" y="121"/>
                </a:lnTo>
                <a:lnTo>
                  <a:pt x="68" y="112"/>
                </a:lnTo>
                <a:lnTo>
                  <a:pt x="76" y="101"/>
                </a:lnTo>
                <a:lnTo>
                  <a:pt x="85" y="92"/>
                </a:lnTo>
                <a:lnTo>
                  <a:pt x="94" y="83"/>
                </a:lnTo>
                <a:lnTo>
                  <a:pt x="105" y="75"/>
                </a:lnTo>
                <a:lnTo>
                  <a:pt x="115" y="67"/>
                </a:lnTo>
                <a:lnTo>
                  <a:pt x="125" y="60"/>
                </a:lnTo>
                <a:lnTo>
                  <a:pt x="136" y="52"/>
                </a:lnTo>
                <a:lnTo>
                  <a:pt x="147" y="45"/>
                </a:lnTo>
                <a:lnTo>
                  <a:pt x="160" y="39"/>
                </a:lnTo>
                <a:lnTo>
                  <a:pt x="172" y="34"/>
                </a:lnTo>
                <a:lnTo>
                  <a:pt x="185" y="29"/>
                </a:lnTo>
                <a:lnTo>
                  <a:pt x="199" y="24"/>
                </a:lnTo>
                <a:lnTo>
                  <a:pt x="212" y="20"/>
                </a:lnTo>
                <a:lnTo>
                  <a:pt x="226" y="17"/>
                </a:lnTo>
                <a:lnTo>
                  <a:pt x="239" y="14"/>
                </a:lnTo>
                <a:lnTo>
                  <a:pt x="255" y="12"/>
                </a:lnTo>
                <a:lnTo>
                  <a:pt x="269" y="9"/>
                </a:lnTo>
                <a:lnTo>
                  <a:pt x="284" y="8"/>
                </a:lnTo>
                <a:lnTo>
                  <a:pt x="300" y="8"/>
                </a:lnTo>
                <a:lnTo>
                  <a:pt x="300" y="8"/>
                </a:lnTo>
                <a:lnTo>
                  <a:pt x="319" y="8"/>
                </a:lnTo>
                <a:lnTo>
                  <a:pt x="337" y="10"/>
                </a:lnTo>
                <a:lnTo>
                  <a:pt x="353" y="12"/>
                </a:lnTo>
                <a:lnTo>
                  <a:pt x="369" y="15"/>
                </a:lnTo>
                <a:lnTo>
                  <a:pt x="384" y="18"/>
                </a:lnTo>
                <a:lnTo>
                  <a:pt x="398" y="21"/>
                </a:lnTo>
                <a:lnTo>
                  <a:pt x="411" y="25"/>
                </a:lnTo>
                <a:lnTo>
                  <a:pt x="425" y="30"/>
                </a:lnTo>
                <a:lnTo>
                  <a:pt x="448" y="40"/>
                </a:lnTo>
                <a:lnTo>
                  <a:pt x="471" y="52"/>
                </a:lnTo>
                <a:lnTo>
                  <a:pt x="491" y="66"/>
                </a:lnTo>
                <a:lnTo>
                  <a:pt x="510" y="79"/>
                </a:lnTo>
                <a:lnTo>
                  <a:pt x="510" y="79"/>
                </a:lnTo>
                <a:lnTo>
                  <a:pt x="519" y="73"/>
                </a:lnTo>
                <a:lnTo>
                  <a:pt x="526" y="65"/>
                </a:lnTo>
                <a:lnTo>
                  <a:pt x="533" y="57"/>
                </a:lnTo>
                <a:lnTo>
                  <a:pt x="540" y="46"/>
                </a:lnTo>
                <a:lnTo>
                  <a:pt x="546" y="36"/>
                </a:lnTo>
                <a:lnTo>
                  <a:pt x="552" y="25"/>
                </a:lnTo>
                <a:lnTo>
                  <a:pt x="557" y="13"/>
                </a:lnTo>
                <a:lnTo>
                  <a:pt x="561" y="0"/>
                </a:lnTo>
                <a:lnTo>
                  <a:pt x="595" y="0"/>
                </a:lnTo>
                <a:lnTo>
                  <a:pt x="595" y="380"/>
                </a:lnTo>
                <a:lnTo>
                  <a:pt x="560" y="380"/>
                </a:lnTo>
                <a:lnTo>
                  <a:pt x="560" y="380"/>
                </a:lnTo>
                <a:lnTo>
                  <a:pt x="556" y="353"/>
                </a:lnTo>
                <a:lnTo>
                  <a:pt x="552" y="326"/>
                </a:lnTo>
                <a:lnTo>
                  <a:pt x="547" y="300"/>
                </a:lnTo>
                <a:lnTo>
                  <a:pt x="541" y="274"/>
                </a:lnTo>
                <a:lnTo>
                  <a:pt x="533" y="249"/>
                </a:lnTo>
                <a:lnTo>
                  <a:pt x="523" y="223"/>
                </a:lnTo>
                <a:lnTo>
                  <a:pt x="511" y="200"/>
                </a:lnTo>
                <a:lnTo>
                  <a:pt x="504" y="187"/>
                </a:lnTo>
                <a:lnTo>
                  <a:pt x="497" y="177"/>
                </a:lnTo>
                <a:lnTo>
                  <a:pt x="490" y="166"/>
                </a:lnTo>
                <a:lnTo>
                  <a:pt x="482" y="156"/>
                </a:lnTo>
                <a:lnTo>
                  <a:pt x="473" y="145"/>
                </a:lnTo>
                <a:lnTo>
                  <a:pt x="463" y="136"/>
                </a:lnTo>
                <a:lnTo>
                  <a:pt x="453" y="128"/>
                </a:lnTo>
                <a:lnTo>
                  <a:pt x="443" y="120"/>
                </a:lnTo>
                <a:lnTo>
                  <a:pt x="431" y="112"/>
                </a:lnTo>
                <a:lnTo>
                  <a:pt x="419" y="106"/>
                </a:lnTo>
                <a:lnTo>
                  <a:pt x="406" y="99"/>
                </a:lnTo>
                <a:lnTo>
                  <a:pt x="393" y="93"/>
                </a:lnTo>
                <a:lnTo>
                  <a:pt x="379" y="89"/>
                </a:lnTo>
                <a:lnTo>
                  <a:pt x="363" y="85"/>
                </a:lnTo>
                <a:lnTo>
                  <a:pt x="348" y="82"/>
                </a:lnTo>
                <a:lnTo>
                  <a:pt x="331" y="79"/>
                </a:lnTo>
                <a:lnTo>
                  <a:pt x="313" y="78"/>
                </a:lnTo>
                <a:lnTo>
                  <a:pt x="295" y="78"/>
                </a:lnTo>
                <a:lnTo>
                  <a:pt x="295" y="78"/>
                </a:lnTo>
                <a:lnTo>
                  <a:pt x="277" y="78"/>
                </a:lnTo>
                <a:lnTo>
                  <a:pt x="260" y="81"/>
                </a:lnTo>
                <a:lnTo>
                  <a:pt x="244" y="84"/>
                </a:lnTo>
                <a:lnTo>
                  <a:pt x="228" y="89"/>
                </a:lnTo>
                <a:lnTo>
                  <a:pt x="214" y="95"/>
                </a:lnTo>
                <a:lnTo>
                  <a:pt x="200" y="104"/>
                </a:lnTo>
                <a:lnTo>
                  <a:pt x="187" y="112"/>
                </a:lnTo>
                <a:lnTo>
                  <a:pt x="175" y="122"/>
                </a:lnTo>
                <a:lnTo>
                  <a:pt x="165" y="133"/>
                </a:lnTo>
                <a:lnTo>
                  <a:pt x="156" y="144"/>
                </a:lnTo>
                <a:lnTo>
                  <a:pt x="147" y="158"/>
                </a:lnTo>
                <a:lnTo>
                  <a:pt x="140" y="171"/>
                </a:lnTo>
                <a:lnTo>
                  <a:pt x="135" y="185"/>
                </a:lnTo>
                <a:lnTo>
                  <a:pt x="131" y="200"/>
                </a:lnTo>
                <a:lnTo>
                  <a:pt x="129" y="215"/>
                </a:lnTo>
                <a:lnTo>
                  <a:pt x="128" y="231"/>
                </a:lnTo>
                <a:lnTo>
                  <a:pt x="128" y="231"/>
                </a:lnTo>
                <a:lnTo>
                  <a:pt x="128" y="248"/>
                </a:lnTo>
                <a:lnTo>
                  <a:pt x="131" y="263"/>
                </a:lnTo>
                <a:lnTo>
                  <a:pt x="134" y="277"/>
                </a:lnTo>
                <a:lnTo>
                  <a:pt x="139" y="292"/>
                </a:lnTo>
                <a:lnTo>
                  <a:pt x="146" y="305"/>
                </a:lnTo>
                <a:lnTo>
                  <a:pt x="155" y="317"/>
                </a:lnTo>
                <a:lnTo>
                  <a:pt x="165" y="331"/>
                </a:lnTo>
                <a:lnTo>
                  <a:pt x="177" y="343"/>
                </a:lnTo>
                <a:lnTo>
                  <a:pt x="190" y="355"/>
                </a:lnTo>
                <a:lnTo>
                  <a:pt x="206" y="366"/>
                </a:lnTo>
                <a:lnTo>
                  <a:pt x="223" y="379"/>
                </a:lnTo>
                <a:lnTo>
                  <a:pt x="243" y="392"/>
                </a:lnTo>
                <a:lnTo>
                  <a:pt x="263" y="404"/>
                </a:lnTo>
                <a:lnTo>
                  <a:pt x="287" y="417"/>
                </a:lnTo>
                <a:lnTo>
                  <a:pt x="339" y="445"/>
                </a:lnTo>
                <a:lnTo>
                  <a:pt x="502" y="530"/>
                </a:lnTo>
                <a:lnTo>
                  <a:pt x="502" y="530"/>
                </a:lnTo>
                <a:lnTo>
                  <a:pt x="526" y="542"/>
                </a:lnTo>
                <a:lnTo>
                  <a:pt x="548" y="556"/>
                </a:lnTo>
                <a:lnTo>
                  <a:pt x="568" y="571"/>
                </a:lnTo>
                <a:lnTo>
                  <a:pt x="586" y="585"/>
                </a:lnTo>
                <a:lnTo>
                  <a:pt x="604" y="601"/>
                </a:lnTo>
                <a:lnTo>
                  <a:pt x="618" y="617"/>
                </a:lnTo>
                <a:lnTo>
                  <a:pt x="631" y="633"/>
                </a:lnTo>
                <a:lnTo>
                  <a:pt x="642" y="651"/>
                </a:lnTo>
                <a:lnTo>
                  <a:pt x="653" y="667"/>
                </a:lnTo>
                <a:lnTo>
                  <a:pt x="661" y="684"/>
                </a:lnTo>
                <a:lnTo>
                  <a:pt x="668" y="703"/>
                </a:lnTo>
                <a:lnTo>
                  <a:pt x="674" y="720"/>
                </a:lnTo>
                <a:lnTo>
                  <a:pt x="678" y="738"/>
                </a:lnTo>
                <a:lnTo>
                  <a:pt x="681" y="756"/>
                </a:lnTo>
                <a:lnTo>
                  <a:pt x="682" y="774"/>
                </a:lnTo>
                <a:lnTo>
                  <a:pt x="683" y="792"/>
                </a:lnTo>
                <a:lnTo>
                  <a:pt x="683" y="792"/>
                </a:lnTo>
                <a:lnTo>
                  <a:pt x="683" y="809"/>
                </a:lnTo>
                <a:lnTo>
                  <a:pt x="681" y="826"/>
                </a:lnTo>
                <a:lnTo>
                  <a:pt x="679" y="843"/>
                </a:lnTo>
                <a:lnTo>
                  <a:pt x="676" y="859"/>
                </a:lnTo>
                <a:lnTo>
                  <a:pt x="673" y="874"/>
                </a:lnTo>
                <a:lnTo>
                  <a:pt x="668" y="890"/>
                </a:lnTo>
                <a:lnTo>
                  <a:pt x="663" y="905"/>
                </a:lnTo>
                <a:lnTo>
                  <a:pt x="657" y="919"/>
                </a:lnTo>
                <a:lnTo>
                  <a:pt x="651" y="934"/>
                </a:lnTo>
                <a:lnTo>
                  <a:pt x="642" y="947"/>
                </a:lnTo>
                <a:lnTo>
                  <a:pt x="634" y="960"/>
                </a:lnTo>
                <a:lnTo>
                  <a:pt x="626" y="973"/>
                </a:lnTo>
                <a:lnTo>
                  <a:pt x="617" y="985"/>
                </a:lnTo>
                <a:lnTo>
                  <a:pt x="607" y="996"/>
                </a:lnTo>
                <a:lnTo>
                  <a:pt x="596" y="1007"/>
                </a:lnTo>
                <a:lnTo>
                  <a:pt x="585" y="1018"/>
                </a:lnTo>
                <a:lnTo>
                  <a:pt x="574" y="1028"/>
                </a:lnTo>
                <a:lnTo>
                  <a:pt x="562" y="1037"/>
                </a:lnTo>
                <a:lnTo>
                  <a:pt x="549" y="1045"/>
                </a:lnTo>
                <a:lnTo>
                  <a:pt x="536" y="1053"/>
                </a:lnTo>
                <a:lnTo>
                  <a:pt x="523" y="1062"/>
                </a:lnTo>
                <a:lnTo>
                  <a:pt x="509" y="1068"/>
                </a:lnTo>
                <a:lnTo>
                  <a:pt x="495" y="1075"/>
                </a:lnTo>
                <a:lnTo>
                  <a:pt x="480" y="1080"/>
                </a:lnTo>
                <a:lnTo>
                  <a:pt x="465" y="1085"/>
                </a:lnTo>
                <a:lnTo>
                  <a:pt x="450" y="1089"/>
                </a:lnTo>
                <a:lnTo>
                  <a:pt x="435" y="1093"/>
                </a:lnTo>
                <a:lnTo>
                  <a:pt x="419" y="1096"/>
                </a:lnTo>
                <a:lnTo>
                  <a:pt x="403" y="1099"/>
                </a:lnTo>
                <a:lnTo>
                  <a:pt x="387" y="1100"/>
                </a:lnTo>
                <a:lnTo>
                  <a:pt x="370" y="1101"/>
                </a:lnTo>
                <a:lnTo>
                  <a:pt x="354" y="1102"/>
                </a:lnTo>
                <a:lnTo>
                  <a:pt x="354" y="1102"/>
                </a:lnTo>
                <a:lnTo>
                  <a:pt x="329" y="1101"/>
                </a:lnTo>
                <a:lnTo>
                  <a:pt x="307" y="1099"/>
                </a:lnTo>
                <a:lnTo>
                  <a:pt x="286" y="1095"/>
                </a:lnTo>
                <a:lnTo>
                  <a:pt x="264" y="1091"/>
                </a:lnTo>
                <a:lnTo>
                  <a:pt x="245" y="1086"/>
                </a:lnTo>
                <a:lnTo>
                  <a:pt x="225" y="1080"/>
                </a:lnTo>
                <a:lnTo>
                  <a:pt x="208" y="1073"/>
                </a:lnTo>
                <a:lnTo>
                  <a:pt x="190" y="1067"/>
                </a:lnTo>
                <a:lnTo>
                  <a:pt x="160" y="1052"/>
                </a:lnTo>
                <a:lnTo>
                  <a:pt x="131" y="1039"/>
                </a:lnTo>
                <a:lnTo>
                  <a:pt x="107" y="1028"/>
                </a:lnTo>
                <a:lnTo>
                  <a:pt x="95" y="1024"/>
                </a:lnTo>
                <a:lnTo>
                  <a:pt x="85" y="1021"/>
                </a:lnTo>
                <a:lnTo>
                  <a:pt x="85" y="1021"/>
                </a:lnTo>
                <a:lnTo>
                  <a:pt x="77" y="1028"/>
                </a:lnTo>
                <a:lnTo>
                  <a:pt x="70" y="1036"/>
                </a:lnTo>
                <a:lnTo>
                  <a:pt x="62" y="1044"/>
                </a:lnTo>
                <a:lnTo>
                  <a:pt x="55" y="1053"/>
                </a:lnTo>
                <a:lnTo>
                  <a:pt x="49" y="1065"/>
                </a:lnTo>
                <a:lnTo>
                  <a:pt x="43" y="1076"/>
                </a:lnTo>
                <a:lnTo>
                  <a:pt x="38" y="1088"/>
                </a:lnTo>
                <a:lnTo>
                  <a:pt x="35" y="1102"/>
                </a:lnTo>
                <a:lnTo>
                  <a:pt x="0" y="1102"/>
                </a:lnTo>
                <a:lnTo>
                  <a:pt x="0" y="723"/>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73" name="Freeform 24">
            <a:extLst>
              <a:ext uri="{FF2B5EF4-FFF2-40B4-BE49-F238E27FC236}">
                <a16:creationId xmlns:a16="http://schemas.microsoft.com/office/drawing/2014/main" id="{C2FB785F-D8AC-CA4C-BD62-D6AEA6FE7B59}"/>
              </a:ext>
            </a:extLst>
          </p:cNvPr>
          <p:cNvSpPr>
            <a:spLocks noEditPoints="1"/>
          </p:cNvSpPr>
          <p:nvPr userDrawn="1"/>
        </p:nvSpPr>
        <p:spPr bwMode="auto">
          <a:xfrm>
            <a:off x="2270126" y="1158876"/>
            <a:ext cx="133350" cy="136525"/>
          </a:xfrm>
          <a:custGeom>
            <a:avLst/>
            <a:gdLst>
              <a:gd name="T0" fmla="*/ 49 w 1009"/>
              <a:gd name="T1" fmla="*/ 997 h 1035"/>
              <a:gd name="T2" fmla="*/ 115 w 1009"/>
              <a:gd name="T3" fmla="*/ 981 h 1035"/>
              <a:gd name="T4" fmla="*/ 136 w 1009"/>
              <a:gd name="T5" fmla="*/ 962 h 1035"/>
              <a:gd name="T6" fmla="*/ 155 w 1009"/>
              <a:gd name="T7" fmla="*/ 920 h 1035"/>
              <a:gd name="T8" fmla="*/ 163 w 1009"/>
              <a:gd name="T9" fmla="*/ 827 h 1035"/>
              <a:gd name="T10" fmla="*/ 163 w 1009"/>
              <a:gd name="T11" fmla="*/ 206 h 1035"/>
              <a:gd name="T12" fmla="*/ 155 w 1009"/>
              <a:gd name="T13" fmla="*/ 114 h 1035"/>
              <a:gd name="T14" fmla="*/ 136 w 1009"/>
              <a:gd name="T15" fmla="*/ 72 h 1035"/>
              <a:gd name="T16" fmla="*/ 115 w 1009"/>
              <a:gd name="T17" fmla="*/ 54 h 1035"/>
              <a:gd name="T18" fmla="*/ 49 w 1009"/>
              <a:gd name="T19" fmla="*/ 38 h 1035"/>
              <a:gd name="T20" fmla="*/ 456 w 1009"/>
              <a:gd name="T21" fmla="*/ 0 h 1035"/>
              <a:gd name="T22" fmla="*/ 520 w 1009"/>
              <a:gd name="T23" fmla="*/ 3 h 1035"/>
              <a:gd name="T24" fmla="*/ 597 w 1009"/>
              <a:gd name="T25" fmla="*/ 17 h 1035"/>
              <a:gd name="T26" fmla="*/ 663 w 1009"/>
              <a:gd name="T27" fmla="*/ 42 h 1035"/>
              <a:gd name="T28" fmla="*/ 718 w 1009"/>
              <a:gd name="T29" fmla="*/ 76 h 1035"/>
              <a:gd name="T30" fmla="*/ 763 w 1009"/>
              <a:gd name="T31" fmla="*/ 118 h 1035"/>
              <a:gd name="T32" fmla="*/ 796 w 1009"/>
              <a:gd name="T33" fmla="*/ 166 h 1035"/>
              <a:gd name="T34" fmla="*/ 817 w 1009"/>
              <a:gd name="T35" fmla="*/ 219 h 1035"/>
              <a:gd name="T36" fmla="*/ 826 w 1009"/>
              <a:gd name="T37" fmla="*/ 276 h 1035"/>
              <a:gd name="T38" fmla="*/ 825 w 1009"/>
              <a:gd name="T39" fmla="*/ 319 h 1035"/>
              <a:gd name="T40" fmla="*/ 815 w 1009"/>
              <a:gd name="T41" fmla="*/ 372 h 1035"/>
              <a:gd name="T42" fmla="*/ 794 w 1009"/>
              <a:gd name="T43" fmla="*/ 421 h 1035"/>
              <a:gd name="T44" fmla="*/ 764 w 1009"/>
              <a:gd name="T45" fmla="*/ 465 h 1035"/>
              <a:gd name="T46" fmla="*/ 726 w 1009"/>
              <a:gd name="T47" fmla="*/ 503 h 1035"/>
              <a:gd name="T48" fmla="*/ 677 w 1009"/>
              <a:gd name="T49" fmla="*/ 535 h 1035"/>
              <a:gd name="T50" fmla="*/ 620 w 1009"/>
              <a:gd name="T51" fmla="*/ 559 h 1035"/>
              <a:gd name="T52" fmla="*/ 555 w 1009"/>
              <a:gd name="T53" fmla="*/ 576 h 1035"/>
              <a:gd name="T54" fmla="*/ 689 w 1009"/>
              <a:gd name="T55" fmla="*/ 779 h 1035"/>
              <a:gd name="T56" fmla="*/ 767 w 1009"/>
              <a:gd name="T57" fmla="*/ 863 h 1035"/>
              <a:gd name="T58" fmla="*/ 848 w 1009"/>
              <a:gd name="T59" fmla="*/ 929 h 1035"/>
              <a:gd name="T60" fmla="*/ 930 w 1009"/>
              <a:gd name="T61" fmla="*/ 977 h 1035"/>
              <a:gd name="T62" fmla="*/ 1009 w 1009"/>
              <a:gd name="T63" fmla="*/ 999 h 1035"/>
              <a:gd name="T64" fmla="*/ 302 w 1009"/>
              <a:gd name="T65" fmla="*/ 581 h 1035"/>
              <a:gd name="T66" fmla="*/ 303 w 1009"/>
              <a:gd name="T67" fmla="*/ 855 h 1035"/>
              <a:gd name="T68" fmla="*/ 316 w 1009"/>
              <a:gd name="T69" fmla="*/ 937 h 1035"/>
              <a:gd name="T70" fmla="*/ 335 w 1009"/>
              <a:gd name="T71" fmla="*/ 967 h 1035"/>
              <a:gd name="T72" fmla="*/ 365 w 1009"/>
              <a:gd name="T73" fmla="*/ 987 h 1035"/>
              <a:gd name="T74" fmla="*/ 440 w 1009"/>
              <a:gd name="T75" fmla="*/ 998 h 1035"/>
              <a:gd name="T76" fmla="*/ 0 w 1009"/>
              <a:gd name="T77" fmla="*/ 999 h 1035"/>
              <a:gd name="T78" fmla="*/ 494 w 1009"/>
              <a:gd name="T79" fmla="*/ 516 h 1035"/>
              <a:gd name="T80" fmla="*/ 541 w 1009"/>
              <a:gd name="T81" fmla="*/ 505 h 1035"/>
              <a:gd name="T82" fmla="*/ 580 w 1009"/>
              <a:gd name="T83" fmla="*/ 486 h 1035"/>
              <a:gd name="T84" fmla="*/ 633 w 1009"/>
              <a:gd name="T85" fmla="*/ 437 h 1035"/>
              <a:gd name="T86" fmla="*/ 665 w 1009"/>
              <a:gd name="T87" fmla="*/ 359 h 1035"/>
              <a:gd name="T88" fmla="*/ 672 w 1009"/>
              <a:gd name="T89" fmla="*/ 291 h 1035"/>
              <a:gd name="T90" fmla="*/ 660 w 1009"/>
              <a:gd name="T91" fmla="*/ 204 h 1035"/>
              <a:gd name="T92" fmla="*/ 619 w 1009"/>
              <a:gd name="T93" fmla="*/ 131 h 1035"/>
              <a:gd name="T94" fmla="*/ 571 w 1009"/>
              <a:gd name="T95" fmla="*/ 91 h 1035"/>
              <a:gd name="T96" fmla="*/ 529 w 1009"/>
              <a:gd name="T97" fmla="*/ 74 h 1035"/>
              <a:gd name="T98" fmla="*/ 481 w 1009"/>
              <a:gd name="T99" fmla="*/ 65 h 1035"/>
              <a:gd name="T100" fmla="*/ 302 w 1009"/>
              <a:gd name="T101" fmla="*/ 519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09" h="1035">
                <a:moveTo>
                  <a:pt x="0" y="999"/>
                </a:moveTo>
                <a:lnTo>
                  <a:pt x="0" y="999"/>
                </a:lnTo>
                <a:lnTo>
                  <a:pt x="25" y="998"/>
                </a:lnTo>
                <a:lnTo>
                  <a:pt x="49" y="997"/>
                </a:lnTo>
                <a:lnTo>
                  <a:pt x="68" y="995"/>
                </a:lnTo>
                <a:lnTo>
                  <a:pt x="87" y="991"/>
                </a:lnTo>
                <a:lnTo>
                  <a:pt x="102" y="987"/>
                </a:lnTo>
                <a:lnTo>
                  <a:pt x="115" y="981"/>
                </a:lnTo>
                <a:lnTo>
                  <a:pt x="120" y="977"/>
                </a:lnTo>
                <a:lnTo>
                  <a:pt x="126" y="972"/>
                </a:lnTo>
                <a:lnTo>
                  <a:pt x="132" y="967"/>
                </a:lnTo>
                <a:lnTo>
                  <a:pt x="136" y="962"/>
                </a:lnTo>
                <a:lnTo>
                  <a:pt x="140" y="957"/>
                </a:lnTo>
                <a:lnTo>
                  <a:pt x="144" y="951"/>
                </a:lnTo>
                <a:lnTo>
                  <a:pt x="150" y="937"/>
                </a:lnTo>
                <a:lnTo>
                  <a:pt x="155" y="920"/>
                </a:lnTo>
                <a:lnTo>
                  <a:pt x="158" y="901"/>
                </a:lnTo>
                <a:lnTo>
                  <a:pt x="161" y="879"/>
                </a:lnTo>
                <a:lnTo>
                  <a:pt x="163" y="855"/>
                </a:lnTo>
                <a:lnTo>
                  <a:pt x="163" y="827"/>
                </a:lnTo>
                <a:lnTo>
                  <a:pt x="164" y="797"/>
                </a:lnTo>
                <a:lnTo>
                  <a:pt x="164" y="236"/>
                </a:lnTo>
                <a:lnTo>
                  <a:pt x="164" y="236"/>
                </a:lnTo>
                <a:lnTo>
                  <a:pt x="163" y="206"/>
                </a:lnTo>
                <a:lnTo>
                  <a:pt x="163" y="178"/>
                </a:lnTo>
                <a:lnTo>
                  <a:pt x="161" y="153"/>
                </a:lnTo>
                <a:lnTo>
                  <a:pt x="158" y="132"/>
                </a:lnTo>
                <a:lnTo>
                  <a:pt x="155" y="114"/>
                </a:lnTo>
                <a:lnTo>
                  <a:pt x="150" y="97"/>
                </a:lnTo>
                <a:lnTo>
                  <a:pt x="144" y="83"/>
                </a:lnTo>
                <a:lnTo>
                  <a:pt x="140" y="77"/>
                </a:lnTo>
                <a:lnTo>
                  <a:pt x="136" y="72"/>
                </a:lnTo>
                <a:lnTo>
                  <a:pt x="132" y="67"/>
                </a:lnTo>
                <a:lnTo>
                  <a:pt x="126" y="61"/>
                </a:lnTo>
                <a:lnTo>
                  <a:pt x="120" y="57"/>
                </a:lnTo>
                <a:lnTo>
                  <a:pt x="115" y="54"/>
                </a:lnTo>
                <a:lnTo>
                  <a:pt x="102" y="48"/>
                </a:lnTo>
                <a:lnTo>
                  <a:pt x="87" y="43"/>
                </a:lnTo>
                <a:lnTo>
                  <a:pt x="68" y="40"/>
                </a:lnTo>
                <a:lnTo>
                  <a:pt x="49" y="38"/>
                </a:lnTo>
                <a:lnTo>
                  <a:pt x="25" y="37"/>
                </a:lnTo>
                <a:lnTo>
                  <a:pt x="0" y="36"/>
                </a:lnTo>
                <a:lnTo>
                  <a:pt x="0" y="0"/>
                </a:lnTo>
                <a:lnTo>
                  <a:pt x="456" y="0"/>
                </a:lnTo>
                <a:lnTo>
                  <a:pt x="456" y="0"/>
                </a:lnTo>
                <a:lnTo>
                  <a:pt x="478" y="0"/>
                </a:lnTo>
                <a:lnTo>
                  <a:pt x="500" y="1"/>
                </a:lnTo>
                <a:lnTo>
                  <a:pt x="520" y="3"/>
                </a:lnTo>
                <a:lnTo>
                  <a:pt x="541" y="6"/>
                </a:lnTo>
                <a:lnTo>
                  <a:pt x="560" y="9"/>
                </a:lnTo>
                <a:lnTo>
                  <a:pt x="578" y="13"/>
                </a:lnTo>
                <a:lnTo>
                  <a:pt x="597" y="17"/>
                </a:lnTo>
                <a:lnTo>
                  <a:pt x="614" y="23"/>
                </a:lnTo>
                <a:lnTo>
                  <a:pt x="632" y="29"/>
                </a:lnTo>
                <a:lnTo>
                  <a:pt x="648" y="35"/>
                </a:lnTo>
                <a:lnTo>
                  <a:pt x="663" y="42"/>
                </a:lnTo>
                <a:lnTo>
                  <a:pt x="679" y="50"/>
                </a:lnTo>
                <a:lnTo>
                  <a:pt x="693" y="58"/>
                </a:lnTo>
                <a:lnTo>
                  <a:pt x="706" y="67"/>
                </a:lnTo>
                <a:lnTo>
                  <a:pt x="718" y="76"/>
                </a:lnTo>
                <a:lnTo>
                  <a:pt x="731" y="85"/>
                </a:lnTo>
                <a:lnTo>
                  <a:pt x="742" y="95"/>
                </a:lnTo>
                <a:lnTo>
                  <a:pt x="753" y="106"/>
                </a:lnTo>
                <a:lnTo>
                  <a:pt x="763" y="118"/>
                </a:lnTo>
                <a:lnTo>
                  <a:pt x="773" y="129"/>
                </a:lnTo>
                <a:lnTo>
                  <a:pt x="781" y="140"/>
                </a:lnTo>
                <a:lnTo>
                  <a:pt x="789" y="152"/>
                </a:lnTo>
                <a:lnTo>
                  <a:pt x="796" y="166"/>
                </a:lnTo>
                <a:lnTo>
                  <a:pt x="802" y="178"/>
                </a:lnTo>
                <a:lnTo>
                  <a:pt x="807" y="191"/>
                </a:lnTo>
                <a:lnTo>
                  <a:pt x="813" y="205"/>
                </a:lnTo>
                <a:lnTo>
                  <a:pt x="817" y="219"/>
                </a:lnTo>
                <a:lnTo>
                  <a:pt x="821" y="233"/>
                </a:lnTo>
                <a:lnTo>
                  <a:pt x="823" y="248"/>
                </a:lnTo>
                <a:lnTo>
                  <a:pt x="825" y="262"/>
                </a:lnTo>
                <a:lnTo>
                  <a:pt x="826" y="276"/>
                </a:lnTo>
                <a:lnTo>
                  <a:pt x="827" y="291"/>
                </a:lnTo>
                <a:lnTo>
                  <a:pt x="827" y="291"/>
                </a:lnTo>
                <a:lnTo>
                  <a:pt x="826" y="306"/>
                </a:lnTo>
                <a:lnTo>
                  <a:pt x="825" y="319"/>
                </a:lnTo>
                <a:lnTo>
                  <a:pt x="824" y="332"/>
                </a:lnTo>
                <a:lnTo>
                  <a:pt x="822" y="346"/>
                </a:lnTo>
                <a:lnTo>
                  <a:pt x="819" y="359"/>
                </a:lnTo>
                <a:lnTo>
                  <a:pt x="815" y="372"/>
                </a:lnTo>
                <a:lnTo>
                  <a:pt x="810" y="385"/>
                </a:lnTo>
                <a:lnTo>
                  <a:pt x="805" y="397"/>
                </a:lnTo>
                <a:lnTo>
                  <a:pt x="800" y="409"/>
                </a:lnTo>
                <a:lnTo>
                  <a:pt x="794" y="421"/>
                </a:lnTo>
                <a:lnTo>
                  <a:pt x="788" y="433"/>
                </a:lnTo>
                <a:lnTo>
                  <a:pt x="781" y="444"/>
                </a:lnTo>
                <a:lnTo>
                  <a:pt x="773" y="454"/>
                </a:lnTo>
                <a:lnTo>
                  <a:pt x="764" y="465"/>
                </a:lnTo>
                <a:lnTo>
                  <a:pt x="755" y="475"/>
                </a:lnTo>
                <a:lnTo>
                  <a:pt x="746" y="485"/>
                </a:lnTo>
                <a:lnTo>
                  <a:pt x="736" y="494"/>
                </a:lnTo>
                <a:lnTo>
                  <a:pt x="726" y="503"/>
                </a:lnTo>
                <a:lnTo>
                  <a:pt x="714" y="511"/>
                </a:lnTo>
                <a:lnTo>
                  <a:pt x="702" y="519"/>
                </a:lnTo>
                <a:lnTo>
                  <a:pt x="690" y="528"/>
                </a:lnTo>
                <a:lnTo>
                  <a:pt x="677" y="535"/>
                </a:lnTo>
                <a:lnTo>
                  <a:pt x="663" y="542"/>
                </a:lnTo>
                <a:lnTo>
                  <a:pt x="650" y="548"/>
                </a:lnTo>
                <a:lnTo>
                  <a:pt x="635" y="554"/>
                </a:lnTo>
                <a:lnTo>
                  <a:pt x="620" y="559"/>
                </a:lnTo>
                <a:lnTo>
                  <a:pt x="605" y="564"/>
                </a:lnTo>
                <a:lnTo>
                  <a:pt x="589" y="569"/>
                </a:lnTo>
                <a:lnTo>
                  <a:pt x="572" y="573"/>
                </a:lnTo>
                <a:lnTo>
                  <a:pt x="555" y="576"/>
                </a:lnTo>
                <a:lnTo>
                  <a:pt x="537" y="579"/>
                </a:lnTo>
                <a:lnTo>
                  <a:pt x="519" y="581"/>
                </a:lnTo>
                <a:lnTo>
                  <a:pt x="689" y="779"/>
                </a:lnTo>
                <a:lnTo>
                  <a:pt x="689" y="779"/>
                </a:lnTo>
                <a:lnTo>
                  <a:pt x="707" y="802"/>
                </a:lnTo>
                <a:lnTo>
                  <a:pt x="728" y="823"/>
                </a:lnTo>
                <a:lnTo>
                  <a:pt x="747" y="844"/>
                </a:lnTo>
                <a:lnTo>
                  <a:pt x="767" y="863"/>
                </a:lnTo>
                <a:lnTo>
                  <a:pt x="787" y="881"/>
                </a:lnTo>
                <a:lnTo>
                  <a:pt x="807" y="899"/>
                </a:lnTo>
                <a:lnTo>
                  <a:pt x="828" y="915"/>
                </a:lnTo>
                <a:lnTo>
                  <a:pt x="848" y="929"/>
                </a:lnTo>
                <a:lnTo>
                  <a:pt x="869" y="944"/>
                </a:lnTo>
                <a:lnTo>
                  <a:pt x="889" y="956"/>
                </a:lnTo>
                <a:lnTo>
                  <a:pt x="910" y="966"/>
                </a:lnTo>
                <a:lnTo>
                  <a:pt x="930" y="977"/>
                </a:lnTo>
                <a:lnTo>
                  <a:pt x="950" y="985"/>
                </a:lnTo>
                <a:lnTo>
                  <a:pt x="970" y="991"/>
                </a:lnTo>
                <a:lnTo>
                  <a:pt x="989" y="996"/>
                </a:lnTo>
                <a:lnTo>
                  <a:pt x="1009" y="999"/>
                </a:lnTo>
                <a:lnTo>
                  <a:pt x="1009" y="1035"/>
                </a:lnTo>
                <a:lnTo>
                  <a:pt x="725" y="1035"/>
                </a:lnTo>
                <a:lnTo>
                  <a:pt x="383" y="581"/>
                </a:lnTo>
                <a:lnTo>
                  <a:pt x="302" y="581"/>
                </a:lnTo>
                <a:lnTo>
                  <a:pt x="302" y="797"/>
                </a:lnTo>
                <a:lnTo>
                  <a:pt x="302" y="797"/>
                </a:lnTo>
                <a:lnTo>
                  <a:pt x="302" y="827"/>
                </a:lnTo>
                <a:lnTo>
                  <a:pt x="303" y="855"/>
                </a:lnTo>
                <a:lnTo>
                  <a:pt x="304" y="879"/>
                </a:lnTo>
                <a:lnTo>
                  <a:pt x="307" y="901"/>
                </a:lnTo>
                <a:lnTo>
                  <a:pt x="312" y="920"/>
                </a:lnTo>
                <a:lnTo>
                  <a:pt x="316" y="937"/>
                </a:lnTo>
                <a:lnTo>
                  <a:pt x="323" y="951"/>
                </a:lnTo>
                <a:lnTo>
                  <a:pt x="326" y="957"/>
                </a:lnTo>
                <a:lnTo>
                  <a:pt x="330" y="962"/>
                </a:lnTo>
                <a:lnTo>
                  <a:pt x="335" y="967"/>
                </a:lnTo>
                <a:lnTo>
                  <a:pt x="340" y="972"/>
                </a:lnTo>
                <a:lnTo>
                  <a:pt x="345" y="977"/>
                </a:lnTo>
                <a:lnTo>
                  <a:pt x="351" y="981"/>
                </a:lnTo>
                <a:lnTo>
                  <a:pt x="365" y="987"/>
                </a:lnTo>
                <a:lnTo>
                  <a:pt x="380" y="991"/>
                </a:lnTo>
                <a:lnTo>
                  <a:pt x="397" y="995"/>
                </a:lnTo>
                <a:lnTo>
                  <a:pt x="418" y="997"/>
                </a:lnTo>
                <a:lnTo>
                  <a:pt x="440" y="998"/>
                </a:lnTo>
                <a:lnTo>
                  <a:pt x="466" y="999"/>
                </a:lnTo>
                <a:lnTo>
                  <a:pt x="466" y="1035"/>
                </a:lnTo>
                <a:lnTo>
                  <a:pt x="0" y="1035"/>
                </a:lnTo>
                <a:lnTo>
                  <a:pt x="0" y="999"/>
                </a:lnTo>
                <a:close/>
                <a:moveTo>
                  <a:pt x="454" y="519"/>
                </a:moveTo>
                <a:lnTo>
                  <a:pt x="454" y="519"/>
                </a:lnTo>
                <a:lnTo>
                  <a:pt x="481" y="517"/>
                </a:lnTo>
                <a:lnTo>
                  <a:pt x="494" y="516"/>
                </a:lnTo>
                <a:lnTo>
                  <a:pt x="507" y="514"/>
                </a:lnTo>
                <a:lnTo>
                  <a:pt x="518" y="512"/>
                </a:lnTo>
                <a:lnTo>
                  <a:pt x="529" y="509"/>
                </a:lnTo>
                <a:lnTo>
                  <a:pt x="541" y="505"/>
                </a:lnTo>
                <a:lnTo>
                  <a:pt x="552" y="501"/>
                </a:lnTo>
                <a:lnTo>
                  <a:pt x="561" y="497"/>
                </a:lnTo>
                <a:lnTo>
                  <a:pt x="571" y="492"/>
                </a:lnTo>
                <a:lnTo>
                  <a:pt x="580" y="486"/>
                </a:lnTo>
                <a:lnTo>
                  <a:pt x="589" y="481"/>
                </a:lnTo>
                <a:lnTo>
                  <a:pt x="605" y="467"/>
                </a:lnTo>
                <a:lnTo>
                  <a:pt x="619" y="452"/>
                </a:lnTo>
                <a:lnTo>
                  <a:pt x="633" y="437"/>
                </a:lnTo>
                <a:lnTo>
                  <a:pt x="643" y="418"/>
                </a:lnTo>
                <a:lnTo>
                  <a:pt x="652" y="400"/>
                </a:lnTo>
                <a:lnTo>
                  <a:pt x="660" y="380"/>
                </a:lnTo>
                <a:lnTo>
                  <a:pt x="665" y="359"/>
                </a:lnTo>
                <a:lnTo>
                  <a:pt x="669" y="338"/>
                </a:lnTo>
                <a:lnTo>
                  <a:pt x="672" y="315"/>
                </a:lnTo>
                <a:lnTo>
                  <a:pt x="672" y="291"/>
                </a:lnTo>
                <a:lnTo>
                  <a:pt x="672" y="291"/>
                </a:lnTo>
                <a:lnTo>
                  <a:pt x="672" y="268"/>
                </a:lnTo>
                <a:lnTo>
                  <a:pt x="669" y="245"/>
                </a:lnTo>
                <a:lnTo>
                  <a:pt x="665" y="224"/>
                </a:lnTo>
                <a:lnTo>
                  <a:pt x="660" y="204"/>
                </a:lnTo>
                <a:lnTo>
                  <a:pt x="652" y="183"/>
                </a:lnTo>
                <a:lnTo>
                  <a:pt x="643" y="165"/>
                </a:lnTo>
                <a:lnTo>
                  <a:pt x="633" y="147"/>
                </a:lnTo>
                <a:lnTo>
                  <a:pt x="619" y="131"/>
                </a:lnTo>
                <a:lnTo>
                  <a:pt x="605" y="117"/>
                </a:lnTo>
                <a:lnTo>
                  <a:pt x="589" y="103"/>
                </a:lnTo>
                <a:lnTo>
                  <a:pt x="580" y="97"/>
                </a:lnTo>
                <a:lnTo>
                  <a:pt x="571" y="91"/>
                </a:lnTo>
                <a:lnTo>
                  <a:pt x="561" y="86"/>
                </a:lnTo>
                <a:lnTo>
                  <a:pt x="552" y="82"/>
                </a:lnTo>
                <a:lnTo>
                  <a:pt x="541" y="78"/>
                </a:lnTo>
                <a:lnTo>
                  <a:pt x="529" y="74"/>
                </a:lnTo>
                <a:lnTo>
                  <a:pt x="518" y="71"/>
                </a:lnTo>
                <a:lnTo>
                  <a:pt x="507" y="69"/>
                </a:lnTo>
                <a:lnTo>
                  <a:pt x="494" y="67"/>
                </a:lnTo>
                <a:lnTo>
                  <a:pt x="481" y="65"/>
                </a:lnTo>
                <a:lnTo>
                  <a:pt x="468" y="63"/>
                </a:lnTo>
                <a:lnTo>
                  <a:pt x="454" y="63"/>
                </a:lnTo>
                <a:lnTo>
                  <a:pt x="302" y="63"/>
                </a:lnTo>
                <a:lnTo>
                  <a:pt x="302" y="519"/>
                </a:lnTo>
                <a:lnTo>
                  <a:pt x="454" y="519"/>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74" name="Freeform 25">
            <a:extLst>
              <a:ext uri="{FF2B5EF4-FFF2-40B4-BE49-F238E27FC236}">
                <a16:creationId xmlns:a16="http://schemas.microsoft.com/office/drawing/2014/main" id="{FA661C93-19C4-494A-8C2E-93A472BDE956}"/>
              </a:ext>
            </a:extLst>
          </p:cNvPr>
          <p:cNvSpPr>
            <a:spLocks noEditPoints="1"/>
          </p:cNvSpPr>
          <p:nvPr userDrawn="1"/>
        </p:nvSpPr>
        <p:spPr bwMode="auto">
          <a:xfrm>
            <a:off x="2411413" y="1103313"/>
            <a:ext cx="157163" cy="192088"/>
          </a:xfrm>
          <a:custGeom>
            <a:avLst/>
            <a:gdLst>
              <a:gd name="T0" fmla="*/ 48 w 1195"/>
              <a:gd name="T1" fmla="*/ 1411 h 1449"/>
              <a:gd name="T2" fmla="*/ 115 w 1195"/>
              <a:gd name="T3" fmla="*/ 1397 h 1449"/>
              <a:gd name="T4" fmla="*/ 157 w 1195"/>
              <a:gd name="T5" fmla="*/ 1363 h 1449"/>
              <a:gd name="T6" fmla="*/ 188 w 1195"/>
              <a:gd name="T7" fmla="*/ 1304 h 1449"/>
              <a:gd name="T8" fmla="*/ 990 w 1195"/>
              <a:gd name="T9" fmla="*/ 1263 h 1449"/>
              <a:gd name="T10" fmla="*/ 1025 w 1195"/>
              <a:gd name="T11" fmla="*/ 1337 h 1449"/>
              <a:gd name="T12" fmla="*/ 1059 w 1195"/>
              <a:gd name="T13" fmla="*/ 1383 h 1449"/>
              <a:gd name="T14" fmla="*/ 1111 w 1195"/>
              <a:gd name="T15" fmla="*/ 1406 h 1449"/>
              <a:gd name="T16" fmla="*/ 1195 w 1195"/>
              <a:gd name="T17" fmla="*/ 1413 h 1449"/>
              <a:gd name="T18" fmla="*/ 718 w 1195"/>
              <a:gd name="T19" fmla="*/ 1413 h 1449"/>
              <a:gd name="T20" fmla="*/ 805 w 1195"/>
              <a:gd name="T21" fmla="*/ 1406 h 1449"/>
              <a:gd name="T22" fmla="*/ 854 w 1195"/>
              <a:gd name="T23" fmla="*/ 1382 h 1449"/>
              <a:gd name="T24" fmla="*/ 868 w 1195"/>
              <a:gd name="T25" fmla="*/ 1342 h 1449"/>
              <a:gd name="T26" fmla="*/ 852 w 1195"/>
              <a:gd name="T27" fmla="*/ 1281 h 1449"/>
              <a:gd name="T28" fmla="*/ 269 w 1195"/>
              <a:gd name="T29" fmla="*/ 1281 h 1449"/>
              <a:gd name="T30" fmla="*/ 253 w 1195"/>
              <a:gd name="T31" fmla="*/ 1341 h 1449"/>
              <a:gd name="T32" fmla="*/ 267 w 1195"/>
              <a:gd name="T33" fmla="*/ 1382 h 1449"/>
              <a:gd name="T34" fmla="*/ 316 w 1195"/>
              <a:gd name="T35" fmla="*/ 1405 h 1449"/>
              <a:gd name="T36" fmla="*/ 404 w 1195"/>
              <a:gd name="T37" fmla="*/ 1413 h 1449"/>
              <a:gd name="T38" fmla="*/ 740 w 1195"/>
              <a:gd name="T39" fmla="*/ 1027 h 1449"/>
              <a:gd name="T40" fmla="*/ 450 w 1195"/>
              <a:gd name="T41" fmla="*/ 141 h 1449"/>
              <a:gd name="T42" fmla="*/ 456 w 1195"/>
              <a:gd name="T43" fmla="*/ 99 h 1449"/>
              <a:gd name="T44" fmla="*/ 482 w 1195"/>
              <a:gd name="T45" fmla="*/ 51 h 1449"/>
              <a:gd name="T46" fmla="*/ 524 w 1195"/>
              <a:gd name="T47" fmla="*/ 17 h 1449"/>
              <a:gd name="T48" fmla="*/ 577 w 1195"/>
              <a:gd name="T49" fmla="*/ 1 h 1449"/>
              <a:gd name="T50" fmla="*/ 621 w 1195"/>
              <a:gd name="T51" fmla="*/ 3 h 1449"/>
              <a:gd name="T52" fmla="*/ 672 w 1195"/>
              <a:gd name="T53" fmla="*/ 25 h 1449"/>
              <a:gd name="T54" fmla="*/ 711 w 1195"/>
              <a:gd name="T55" fmla="*/ 62 h 1449"/>
              <a:gd name="T56" fmla="*/ 732 w 1195"/>
              <a:gd name="T57" fmla="*/ 112 h 1449"/>
              <a:gd name="T58" fmla="*/ 734 w 1195"/>
              <a:gd name="T59" fmla="*/ 156 h 1449"/>
              <a:gd name="T60" fmla="*/ 718 w 1195"/>
              <a:gd name="T61" fmla="*/ 210 h 1449"/>
              <a:gd name="T62" fmla="*/ 683 w 1195"/>
              <a:gd name="T63" fmla="*/ 252 h 1449"/>
              <a:gd name="T64" fmla="*/ 634 w 1195"/>
              <a:gd name="T65" fmla="*/ 278 h 1449"/>
              <a:gd name="T66" fmla="*/ 591 w 1195"/>
              <a:gd name="T67" fmla="*/ 284 h 1449"/>
              <a:gd name="T68" fmla="*/ 536 w 1195"/>
              <a:gd name="T69" fmla="*/ 273 h 1449"/>
              <a:gd name="T70" fmla="*/ 491 w 1195"/>
              <a:gd name="T71" fmla="*/ 242 h 1449"/>
              <a:gd name="T72" fmla="*/ 461 w 1195"/>
              <a:gd name="T73" fmla="*/ 197 h 1449"/>
              <a:gd name="T74" fmla="*/ 450 w 1195"/>
              <a:gd name="T75" fmla="*/ 141 h 1449"/>
              <a:gd name="T76" fmla="*/ 671 w 1195"/>
              <a:gd name="T77" fmla="*/ 133 h 1449"/>
              <a:gd name="T78" fmla="*/ 662 w 1195"/>
              <a:gd name="T79" fmla="*/ 104 h 1449"/>
              <a:gd name="T80" fmla="*/ 642 w 1195"/>
              <a:gd name="T81" fmla="*/ 82 h 1449"/>
              <a:gd name="T82" fmla="*/ 615 w 1195"/>
              <a:gd name="T83" fmla="*/ 67 h 1449"/>
              <a:gd name="T84" fmla="*/ 591 w 1195"/>
              <a:gd name="T85" fmla="*/ 63 h 1449"/>
              <a:gd name="T86" fmla="*/ 562 w 1195"/>
              <a:gd name="T87" fmla="*/ 70 h 1449"/>
              <a:gd name="T88" fmla="*/ 536 w 1195"/>
              <a:gd name="T89" fmla="*/ 86 h 1449"/>
              <a:gd name="T90" fmla="*/ 519 w 1195"/>
              <a:gd name="T91" fmla="*/ 111 h 1449"/>
              <a:gd name="T92" fmla="*/ 512 w 1195"/>
              <a:gd name="T93" fmla="*/ 141 h 1449"/>
              <a:gd name="T94" fmla="*/ 516 w 1195"/>
              <a:gd name="T95" fmla="*/ 165 h 1449"/>
              <a:gd name="T96" fmla="*/ 531 w 1195"/>
              <a:gd name="T97" fmla="*/ 191 h 1449"/>
              <a:gd name="T98" fmla="*/ 554 w 1195"/>
              <a:gd name="T99" fmla="*/ 211 h 1449"/>
              <a:gd name="T100" fmla="*/ 584 w 1195"/>
              <a:gd name="T101" fmla="*/ 220 h 1449"/>
              <a:gd name="T102" fmla="*/ 608 w 1195"/>
              <a:gd name="T103" fmla="*/ 219 h 1449"/>
              <a:gd name="T104" fmla="*/ 636 w 1195"/>
              <a:gd name="T105" fmla="*/ 207 h 1449"/>
              <a:gd name="T106" fmla="*/ 658 w 1195"/>
              <a:gd name="T107" fmla="*/ 185 h 1449"/>
              <a:gd name="T108" fmla="*/ 669 w 1195"/>
              <a:gd name="T109" fmla="*/ 157 h 1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95" h="1449">
                <a:moveTo>
                  <a:pt x="0" y="1413"/>
                </a:moveTo>
                <a:lnTo>
                  <a:pt x="0" y="1413"/>
                </a:lnTo>
                <a:lnTo>
                  <a:pt x="26" y="1412"/>
                </a:lnTo>
                <a:lnTo>
                  <a:pt x="48" y="1411"/>
                </a:lnTo>
                <a:lnTo>
                  <a:pt x="69" y="1409"/>
                </a:lnTo>
                <a:lnTo>
                  <a:pt x="86" y="1406"/>
                </a:lnTo>
                <a:lnTo>
                  <a:pt x="101" y="1402"/>
                </a:lnTo>
                <a:lnTo>
                  <a:pt x="115" y="1397"/>
                </a:lnTo>
                <a:lnTo>
                  <a:pt x="127" y="1391"/>
                </a:lnTo>
                <a:lnTo>
                  <a:pt x="138" y="1383"/>
                </a:lnTo>
                <a:lnTo>
                  <a:pt x="147" y="1374"/>
                </a:lnTo>
                <a:lnTo>
                  <a:pt x="157" y="1363"/>
                </a:lnTo>
                <a:lnTo>
                  <a:pt x="165" y="1351"/>
                </a:lnTo>
                <a:lnTo>
                  <a:pt x="172" y="1337"/>
                </a:lnTo>
                <a:lnTo>
                  <a:pt x="180" y="1321"/>
                </a:lnTo>
                <a:lnTo>
                  <a:pt x="188" y="1304"/>
                </a:lnTo>
                <a:lnTo>
                  <a:pt x="207" y="1263"/>
                </a:lnTo>
                <a:lnTo>
                  <a:pt x="586" y="384"/>
                </a:lnTo>
                <a:lnTo>
                  <a:pt x="609" y="384"/>
                </a:lnTo>
                <a:lnTo>
                  <a:pt x="990" y="1263"/>
                </a:lnTo>
                <a:lnTo>
                  <a:pt x="990" y="1263"/>
                </a:lnTo>
                <a:lnTo>
                  <a:pt x="1008" y="1304"/>
                </a:lnTo>
                <a:lnTo>
                  <a:pt x="1017" y="1321"/>
                </a:lnTo>
                <a:lnTo>
                  <a:pt x="1025" y="1337"/>
                </a:lnTo>
                <a:lnTo>
                  <a:pt x="1033" y="1351"/>
                </a:lnTo>
                <a:lnTo>
                  <a:pt x="1041" y="1363"/>
                </a:lnTo>
                <a:lnTo>
                  <a:pt x="1049" y="1374"/>
                </a:lnTo>
                <a:lnTo>
                  <a:pt x="1059" y="1383"/>
                </a:lnTo>
                <a:lnTo>
                  <a:pt x="1070" y="1391"/>
                </a:lnTo>
                <a:lnTo>
                  <a:pt x="1082" y="1397"/>
                </a:lnTo>
                <a:lnTo>
                  <a:pt x="1095" y="1402"/>
                </a:lnTo>
                <a:lnTo>
                  <a:pt x="1111" y="1406"/>
                </a:lnTo>
                <a:lnTo>
                  <a:pt x="1128" y="1409"/>
                </a:lnTo>
                <a:lnTo>
                  <a:pt x="1147" y="1411"/>
                </a:lnTo>
                <a:lnTo>
                  <a:pt x="1170" y="1412"/>
                </a:lnTo>
                <a:lnTo>
                  <a:pt x="1195" y="1413"/>
                </a:lnTo>
                <a:lnTo>
                  <a:pt x="1195" y="1449"/>
                </a:lnTo>
                <a:lnTo>
                  <a:pt x="718" y="1449"/>
                </a:lnTo>
                <a:lnTo>
                  <a:pt x="718" y="1413"/>
                </a:lnTo>
                <a:lnTo>
                  <a:pt x="718" y="1413"/>
                </a:lnTo>
                <a:lnTo>
                  <a:pt x="744" y="1412"/>
                </a:lnTo>
                <a:lnTo>
                  <a:pt x="766" y="1411"/>
                </a:lnTo>
                <a:lnTo>
                  <a:pt x="786" y="1409"/>
                </a:lnTo>
                <a:lnTo>
                  <a:pt x="805" y="1406"/>
                </a:lnTo>
                <a:lnTo>
                  <a:pt x="820" y="1402"/>
                </a:lnTo>
                <a:lnTo>
                  <a:pt x="834" y="1397"/>
                </a:lnTo>
                <a:lnTo>
                  <a:pt x="845" y="1390"/>
                </a:lnTo>
                <a:lnTo>
                  <a:pt x="854" y="1382"/>
                </a:lnTo>
                <a:lnTo>
                  <a:pt x="861" y="1374"/>
                </a:lnTo>
                <a:lnTo>
                  <a:pt x="865" y="1365"/>
                </a:lnTo>
                <a:lnTo>
                  <a:pt x="868" y="1354"/>
                </a:lnTo>
                <a:lnTo>
                  <a:pt x="868" y="1342"/>
                </a:lnTo>
                <a:lnTo>
                  <a:pt x="867" y="1329"/>
                </a:lnTo>
                <a:lnTo>
                  <a:pt x="864" y="1315"/>
                </a:lnTo>
                <a:lnTo>
                  <a:pt x="859" y="1299"/>
                </a:lnTo>
                <a:lnTo>
                  <a:pt x="852" y="1281"/>
                </a:lnTo>
                <a:lnTo>
                  <a:pt x="769" y="1090"/>
                </a:lnTo>
                <a:lnTo>
                  <a:pt x="352" y="1090"/>
                </a:lnTo>
                <a:lnTo>
                  <a:pt x="269" y="1281"/>
                </a:lnTo>
                <a:lnTo>
                  <a:pt x="269" y="1281"/>
                </a:lnTo>
                <a:lnTo>
                  <a:pt x="262" y="1299"/>
                </a:lnTo>
                <a:lnTo>
                  <a:pt x="257" y="1314"/>
                </a:lnTo>
                <a:lnTo>
                  <a:pt x="254" y="1328"/>
                </a:lnTo>
                <a:lnTo>
                  <a:pt x="253" y="1341"/>
                </a:lnTo>
                <a:lnTo>
                  <a:pt x="253" y="1353"/>
                </a:lnTo>
                <a:lnTo>
                  <a:pt x="256" y="1364"/>
                </a:lnTo>
                <a:lnTo>
                  <a:pt x="260" y="1373"/>
                </a:lnTo>
                <a:lnTo>
                  <a:pt x="267" y="1382"/>
                </a:lnTo>
                <a:lnTo>
                  <a:pt x="276" y="1390"/>
                </a:lnTo>
                <a:lnTo>
                  <a:pt x="287" y="1396"/>
                </a:lnTo>
                <a:lnTo>
                  <a:pt x="301" y="1401"/>
                </a:lnTo>
                <a:lnTo>
                  <a:pt x="316" y="1405"/>
                </a:lnTo>
                <a:lnTo>
                  <a:pt x="335" y="1409"/>
                </a:lnTo>
                <a:lnTo>
                  <a:pt x="355" y="1411"/>
                </a:lnTo>
                <a:lnTo>
                  <a:pt x="378" y="1412"/>
                </a:lnTo>
                <a:lnTo>
                  <a:pt x="404" y="1413"/>
                </a:lnTo>
                <a:lnTo>
                  <a:pt x="404" y="1449"/>
                </a:lnTo>
                <a:lnTo>
                  <a:pt x="0" y="1449"/>
                </a:lnTo>
                <a:lnTo>
                  <a:pt x="0" y="1413"/>
                </a:lnTo>
                <a:close/>
                <a:moveTo>
                  <a:pt x="740" y="1027"/>
                </a:moveTo>
                <a:lnTo>
                  <a:pt x="558" y="610"/>
                </a:lnTo>
                <a:lnTo>
                  <a:pt x="380" y="1027"/>
                </a:lnTo>
                <a:lnTo>
                  <a:pt x="740" y="1027"/>
                </a:lnTo>
                <a:close/>
                <a:moveTo>
                  <a:pt x="450" y="141"/>
                </a:moveTo>
                <a:lnTo>
                  <a:pt x="450" y="141"/>
                </a:lnTo>
                <a:lnTo>
                  <a:pt x="451" y="127"/>
                </a:lnTo>
                <a:lnTo>
                  <a:pt x="453" y="112"/>
                </a:lnTo>
                <a:lnTo>
                  <a:pt x="456" y="99"/>
                </a:lnTo>
                <a:lnTo>
                  <a:pt x="461" y="87"/>
                </a:lnTo>
                <a:lnTo>
                  <a:pt x="467" y="74"/>
                </a:lnTo>
                <a:lnTo>
                  <a:pt x="474" y="62"/>
                </a:lnTo>
                <a:lnTo>
                  <a:pt x="482" y="51"/>
                </a:lnTo>
                <a:lnTo>
                  <a:pt x="491" y="42"/>
                </a:lnTo>
                <a:lnTo>
                  <a:pt x="501" y="33"/>
                </a:lnTo>
                <a:lnTo>
                  <a:pt x="512" y="25"/>
                </a:lnTo>
                <a:lnTo>
                  <a:pt x="524" y="17"/>
                </a:lnTo>
                <a:lnTo>
                  <a:pt x="536" y="11"/>
                </a:lnTo>
                <a:lnTo>
                  <a:pt x="549" y="6"/>
                </a:lnTo>
                <a:lnTo>
                  <a:pt x="563" y="3"/>
                </a:lnTo>
                <a:lnTo>
                  <a:pt x="577" y="1"/>
                </a:lnTo>
                <a:lnTo>
                  <a:pt x="591" y="0"/>
                </a:lnTo>
                <a:lnTo>
                  <a:pt x="591" y="0"/>
                </a:lnTo>
                <a:lnTo>
                  <a:pt x="607" y="1"/>
                </a:lnTo>
                <a:lnTo>
                  <a:pt x="621" y="3"/>
                </a:lnTo>
                <a:lnTo>
                  <a:pt x="634" y="6"/>
                </a:lnTo>
                <a:lnTo>
                  <a:pt x="647" y="11"/>
                </a:lnTo>
                <a:lnTo>
                  <a:pt x="660" y="17"/>
                </a:lnTo>
                <a:lnTo>
                  <a:pt x="672" y="25"/>
                </a:lnTo>
                <a:lnTo>
                  <a:pt x="683" y="33"/>
                </a:lnTo>
                <a:lnTo>
                  <a:pt x="693" y="42"/>
                </a:lnTo>
                <a:lnTo>
                  <a:pt x="703" y="51"/>
                </a:lnTo>
                <a:lnTo>
                  <a:pt x="711" y="62"/>
                </a:lnTo>
                <a:lnTo>
                  <a:pt x="718" y="74"/>
                </a:lnTo>
                <a:lnTo>
                  <a:pt x="724" y="87"/>
                </a:lnTo>
                <a:lnTo>
                  <a:pt x="728" y="99"/>
                </a:lnTo>
                <a:lnTo>
                  <a:pt x="732" y="112"/>
                </a:lnTo>
                <a:lnTo>
                  <a:pt x="734" y="127"/>
                </a:lnTo>
                <a:lnTo>
                  <a:pt x="735" y="141"/>
                </a:lnTo>
                <a:lnTo>
                  <a:pt x="735" y="141"/>
                </a:lnTo>
                <a:lnTo>
                  <a:pt x="734" y="156"/>
                </a:lnTo>
                <a:lnTo>
                  <a:pt x="732" y="170"/>
                </a:lnTo>
                <a:lnTo>
                  <a:pt x="728" y="184"/>
                </a:lnTo>
                <a:lnTo>
                  <a:pt x="724" y="197"/>
                </a:lnTo>
                <a:lnTo>
                  <a:pt x="718" y="210"/>
                </a:lnTo>
                <a:lnTo>
                  <a:pt x="711" y="222"/>
                </a:lnTo>
                <a:lnTo>
                  <a:pt x="703" y="232"/>
                </a:lnTo>
                <a:lnTo>
                  <a:pt x="693" y="242"/>
                </a:lnTo>
                <a:lnTo>
                  <a:pt x="683" y="252"/>
                </a:lnTo>
                <a:lnTo>
                  <a:pt x="672" y="260"/>
                </a:lnTo>
                <a:lnTo>
                  <a:pt x="660" y="267"/>
                </a:lnTo>
                <a:lnTo>
                  <a:pt x="647" y="273"/>
                </a:lnTo>
                <a:lnTo>
                  <a:pt x="634" y="278"/>
                </a:lnTo>
                <a:lnTo>
                  <a:pt x="621" y="281"/>
                </a:lnTo>
                <a:lnTo>
                  <a:pt x="607" y="284"/>
                </a:lnTo>
                <a:lnTo>
                  <a:pt x="591" y="284"/>
                </a:lnTo>
                <a:lnTo>
                  <a:pt x="591" y="284"/>
                </a:lnTo>
                <a:lnTo>
                  <a:pt x="577" y="284"/>
                </a:lnTo>
                <a:lnTo>
                  <a:pt x="563" y="281"/>
                </a:lnTo>
                <a:lnTo>
                  <a:pt x="549" y="278"/>
                </a:lnTo>
                <a:lnTo>
                  <a:pt x="536" y="273"/>
                </a:lnTo>
                <a:lnTo>
                  <a:pt x="524" y="267"/>
                </a:lnTo>
                <a:lnTo>
                  <a:pt x="512" y="260"/>
                </a:lnTo>
                <a:lnTo>
                  <a:pt x="501" y="252"/>
                </a:lnTo>
                <a:lnTo>
                  <a:pt x="491" y="242"/>
                </a:lnTo>
                <a:lnTo>
                  <a:pt x="482" y="232"/>
                </a:lnTo>
                <a:lnTo>
                  <a:pt x="474" y="222"/>
                </a:lnTo>
                <a:lnTo>
                  <a:pt x="467" y="210"/>
                </a:lnTo>
                <a:lnTo>
                  <a:pt x="461" y="197"/>
                </a:lnTo>
                <a:lnTo>
                  <a:pt x="456" y="184"/>
                </a:lnTo>
                <a:lnTo>
                  <a:pt x="453" y="170"/>
                </a:lnTo>
                <a:lnTo>
                  <a:pt x="451" y="156"/>
                </a:lnTo>
                <a:lnTo>
                  <a:pt x="450" y="141"/>
                </a:lnTo>
                <a:lnTo>
                  <a:pt x="450" y="141"/>
                </a:lnTo>
                <a:close/>
                <a:moveTo>
                  <a:pt x="671" y="141"/>
                </a:moveTo>
                <a:lnTo>
                  <a:pt x="671" y="141"/>
                </a:lnTo>
                <a:lnTo>
                  <a:pt x="671" y="133"/>
                </a:lnTo>
                <a:lnTo>
                  <a:pt x="669" y="126"/>
                </a:lnTo>
                <a:lnTo>
                  <a:pt x="668" y="119"/>
                </a:lnTo>
                <a:lnTo>
                  <a:pt x="665" y="111"/>
                </a:lnTo>
                <a:lnTo>
                  <a:pt x="662" y="104"/>
                </a:lnTo>
                <a:lnTo>
                  <a:pt x="658" y="98"/>
                </a:lnTo>
                <a:lnTo>
                  <a:pt x="653" y="92"/>
                </a:lnTo>
                <a:lnTo>
                  <a:pt x="647" y="86"/>
                </a:lnTo>
                <a:lnTo>
                  <a:pt x="642" y="82"/>
                </a:lnTo>
                <a:lnTo>
                  <a:pt x="636" y="77"/>
                </a:lnTo>
                <a:lnTo>
                  <a:pt x="629" y="73"/>
                </a:lnTo>
                <a:lnTo>
                  <a:pt x="622" y="70"/>
                </a:lnTo>
                <a:lnTo>
                  <a:pt x="615" y="67"/>
                </a:lnTo>
                <a:lnTo>
                  <a:pt x="608" y="65"/>
                </a:lnTo>
                <a:lnTo>
                  <a:pt x="599" y="64"/>
                </a:lnTo>
                <a:lnTo>
                  <a:pt x="591" y="63"/>
                </a:lnTo>
                <a:lnTo>
                  <a:pt x="591" y="63"/>
                </a:lnTo>
                <a:lnTo>
                  <a:pt x="584" y="64"/>
                </a:lnTo>
                <a:lnTo>
                  <a:pt x="576" y="65"/>
                </a:lnTo>
                <a:lnTo>
                  <a:pt x="569" y="67"/>
                </a:lnTo>
                <a:lnTo>
                  <a:pt x="562" y="70"/>
                </a:lnTo>
                <a:lnTo>
                  <a:pt x="554" y="73"/>
                </a:lnTo>
                <a:lnTo>
                  <a:pt x="547" y="77"/>
                </a:lnTo>
                <a:lnTo>
                  <a:pt x="541" y="82"/>
                </a:lnTo>
                <a:lnTo>
                  <a:pt x="536" y="86"/>
                </a:lnTo>
                <a:lnTo>
                  <a:pt x="531" y="92"/>
                </a:lnTo>
                <a:lnTo>
                  <a:pt x="526" y="98"/>
                </a:lnTo>
                <a:lnTo>
                  <a:pt x="522" y="104"/>
                </a:lnTo>
                <a:lnTo>
                  <a:pt x="519" y="111"/>
                </a:lnTo>
                <a:lnTo>
                  <a:pt x="516" y="119"/>
                </a:lnTo>
                <a:lnTo>
                  <a:pt x="513" y="126"/>
                </a:lnTo>
                <a:lnTo>
                  <a:pt x="512" y="133"/>
                </a:lnTo>
                <a:lnTo>
                  <a:pt x="512" y="141"/>
                </a:lnTo>
                <a:lnTo>
                  <a:pt x="512" y="141"/>
                </a:lnTo>
                <a:lnTo>
                  <a:pt x="512" y="149"/>
                </a:lnTo>
                <a:lnTo>
                  <a:pt x="513" y="157"/>
                </a:lnTo>
                <a:lnTo>
                  <a:pt x="516" y="165"/>
                </a:lnTo>
                <a:lnTo>
                  <a:pt x="519" y="172"/>
                </a:lnTo>
                <a:lnTo>
                  <a:pt x="522" y="179"/>
                </a:lnTo>
                <a:lnTo>
                  <a:pt x="526" y="185"/>
                </a:lnTo>
                <a:lnTo>
                  <a:pt x="531" y="191"/>
                </a:lnTo>
                <a:lnTo>
                  <a:pt x="536" y="197"/>
                </a:lnTo>
                <a:lnTo>
                  <a:pt x="541" y="202"/>
                </a:lnTo>
                <a:lnTo>
                  <a:pt x="547" y="207"/>
                </a:lnTo>
                <a:lnTo>
                  <a:pt x="554" y="211"/>
                </a:lnTo>
                <a:lnTo>
                  <a:pt x="562" y="215"/>
                </a:lnTo>
                <a:lnTo>
                  <a:pt x="569" y="217"/>
                </a:lnTo>
                <a:lnTo>
                  <a:pt x="576" y="219"/>
                </a:lnTo>
                <a:lnTo>
                  <a:pt x="584" y="220"/>
                </a:lnTo>
                <a:lnTo>
                  <a:pt x="591" y="221"/>
                </a:lnTo>
                <a:lnTo>
                  <a:pt x="591" y="221"/>
                </a:lnTo>
                <a:lnTo>
                  <a:pt x="599" y="220"/>
                </a:lnTo>
                <a:lnTo>
                  <a:pt x="608" y="219"/>
                </a:lnTo>
                <a:lnTo>
                  <a:pt x="615" y="217"/>
                </a:lnTo>
                <a:lnTo>
                  <a:pt x="622" y="215"/>
                </a:lnTo>
                <a:lnTo>
                  <a:pt x="629" y="211"/>
                </a:lnTo>
                <a:lnTo>
                  <a:pt x="636" y="207"/>
                </a:lnTo>
                <a:lnTo>
                  <a:pt x="642" y="202"/>
                </a:lnTo>
                <a:lnTo>
                  <a:pt x="647" y="197"/>
                </a:lnTo>
                <a:lnTo>
                  <a:pt x="653" y="191"/>
                </a:lnTo>
                <a:lnTo>
                  <a:pt x="658" y="185"/>
                </a:lnTo>
                <a:lnTo>
                  <a:pt x="662" y="179"/>
                </a:lnTo>
                <a:lnTo>
                  <a:pt x="665" y="172"/>
                </a:lnTo>
                <a:lnTo>
                  <a:pt x="668" y="165"/>
                </a:lnTo>
                <a:lnTo>
                  <a:pt x="669" y="157"/>
                </a:lnTo>
                <a:lnTo>
                  <a:pt x="671" y="149"/>
                </a:lnTo>
                <a:lnTo>
                  <a:pt x="671" y="141"/>
                </a:lnTo>
                <a:lnTo>
                  <a:pt x="671" y="141"/>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75" name="Freeform 26">
            <a:extLst>
              <a:ext uri="{FF2B5EF4-FFF2-40B4-BE49-F238E27FC236}">
                <a16:creationId xmlns:a16="http://schemas.microsoft.com/office/drawing/2014/main" id="{9A29B5C2-6BCF-864E-A249-62F234E2F11F}"/>
              </a:ext>
            </a:extLst>
          </p:cNvPr>
          <p:cNvSpPr>
            <a:spLocks noEditPoints="1"/>
          </p:cNvSpPr>
          <p:nvPr userDrawn="1"/>
        </p:nvSpPr>
        <p:spPr bwMode="auto">
          <a:xfrm>
            <a:off x="2586038" y="1158876"/>
            <a:ext cx="138113" cy="136525"/>
          </a:xfrm>
          <a:custGeom>
            <a:avLst/>
            <a:gdLst>
              <a:gd name="T0" fmla="*/ 48 w 1043"/>
              <a:gd name="T1" fmla="*/ 997 h 1035"/>
              <a:gd name="T2" fmla="*/ 115 w 1043"/>
              <a:gd name="T3" fmla="*/ 981 h 1035"/>
              <a:gd name="T4" fmla="*/ 135 w 1043"/>
              <a:gd name="T5" fmla="*/ 962 h 1035"/>
              <a:gd name="T6" fmla="*/ 155 w 1043"/>
              <a:gd name="T7" fmla="*/ 920 h 1035"/>
              <a:gd name="T8" fmla="*/ 164 w 1043"/>
              <a:gd name="T9" fmla="*/ 827 h 1035"/>
              <a:gd name="T10" fmla="*/ 164 w 1043"/>
              <a:gd name="T11" fmla="*/ 206 h 1035"/>
              <a:gd name="T12" fmla="*/ 155 w 1043"/>
              <a:gd name="T13" fmla="*/ 114 h 1035"/>
              <a:gd name="T14" fmla="*/ 135 w 1043"/>
              <a:gd name="T15" fmla="*/ 72 h 1035"/>
              <a:gd name="T16" fmla="*/ 115 w 1043"/>
              <a:gd name="T17" fmla="*/ 54 h 1035"/>
              <a:gd name="T18" fmla="*/ 48 w 1043"/>
              <a:gd name="T19" fmla="*/ 38 h 1035"/>
              <a:gd name="T20" fmla="*/ 468 w 1043"/>
              <a:gd name="T21" fmla="*/ 0 h 1035"/>
              <a:gd name="T22" fmla="*/ 574 w 1043"/>
              <a:gd name="T23" fmla="*/ 6 h 1035"/>
              <a:gd name="T24" fmla="*/ 699 w 1043"/>
              <a:gd name="T25" fmla="*/ 32 h 1035"/>
              <a:gd name="T26" fmla="*/ 803 w 1043"/>
              <a:gd name="T27" fmla="*/ 75 h 1035"/>
              <a:gd name="T28" fmla="*/ 888 w 1043"/>
              <a:gd name="T29" fmla="*/ 135 h 1035"/>
              <a:gd name="T30" fmla="*/ 953 w 1043"/>
              <a:gd name="T31" fmla="*/ 209 h 1035"/>
              <a:gd name="T32" fmla="*/ 1001 w 1043"/>
              <a:gd name="T33" fmla="*/ 294 h 1035"/>
              <a:gd name="T34" fmla="*/ 1031 w 1043"/>
              <a:gd name="T35" fmla="*/ 389 h 1035"/>
              <a:gd name="T36" fmla="*/ 1043 w 1043"/>
              <a:gd name="T37" fmla="*/ 491 h 1035"/>
              <a:gd name="T38" fmla="*/ 1041 w 1043"/>
              <a:gd name="T39" fmla="*/ 570 h 1035"/>
              <a:gd name="T40" fmla="*/ 1025 w 1043"/>
              <a:gd name="T41" fmla="*/ 671 h 1035"/>
              <a:gd name="T42" fmla="*/ 991 w 1043"/>
              <a:gd name="T43" fmla="*/ 764 h 1035"/>
              <a:gd name="T44" fmla="*/ 939 w 1043"/>
              <a:gd name="T45" fmla="*/ 846 h 1035"/>
              <a:gd name="T46" fmla="*/ 868 w 1043"/>
              <a:gd name="T47" fmla="*/ 916 h 1035"/>
              <a:gd name="T48" fmla="*/ 779 w 1043"/>
              <a:gd name="T49" fmla="*/ 972 h 1035"/>
              <a:gd name="T50" fmla="*/ 670 w 1043"/>
              <a:gd name="T51" fmla="*/ 1011 h 1035"/>
              <a:gd name="T52" fmla="*/ 540 w 1043"/>
              <a:gd name="T53" fmla="*/ 1032 h 1035"/>
              <a:gd name="T54" fmla="*/ 0 w 1043"/>
              <a:gd name="T55" fmla="*/ 999 h 1035"/>
              <a:gd name="T56" fmla="*/ 529 w 1043"/>
              <a:gd name="T57" fmla="*/ 968 h 1035"/>
              <a:gd name="T58" fmla="*/ 631 w 1043"/>
              <a:gd name="T59" fmla="*/ 947 h 1035"/>
              <a:gd name="T60" fmla="*/ 713 w 1043"/>
              <a:gd name="T61" fmla="*/ 906 h 1035"/>
              <a:gd name="T62" fmla="*/ 775 w 1043"/>
              <a:gd name="T63" fmla="*/ 852 h 1035"/>
              <a:gd name="T64" fmla="*/ 820 w 1043"/>
              <a:gd name="T65" fmla="*/ 785 h 1035"/>
              <a:gd name="T66" fmla="*/ 851 w 1043"/>
              <a:gd name="T67" fmla="*/ 712 h 1035"/>
              <a:gd name="T68" fmla="*/ 869 w 1043"/>
              <a:gd name="T69" fmla="*/ 634 h 1035"/>
              <a:gd name="T70" fmla="*/ 878 w 1043"/>
              <a:gd name="T71" fmla="*/ 517 h 1035"/>
              <a:gd name="T72" fmla="*/ 865 w 1043"/>
              <a:gd name="T73" fmla="*/ 380 h 1035"/>
              <a:gd name="T74" fmla="*/ 845 w 1043"/>
              <a:gd name="T75" fmla="*/ 304 h 1035"/>
              <a:gd name="T76" fmla="*/ 810 w 1043"/>
              <a:gd name="T77" fmla="*/ 231 h 1035"/>
              <a:gd name="T78" fmla="*/ 761 w 1043"/>
              <a:gd name="T79" fmla="*/ 168 h 1035"/>
              <a:gd name="T80" fmla="*/ 695 w 1043"/>
              <a:gd name="T81" fmla="*/ 117 h 1035"/>
              <a:gd name="T82" fmla="*/ 608 w 1043"/>
              <a:gd name="T83" fmla="*/ 81 h 1035"/>
              <a:gd name="T84" fmla="*/ 500 w 1043"/>
              <a:gd name="T85" fmla="*/ 65 h 1035"/>
              <a:gd name="T86" fmla="*/ 302 w 1043"/>
              <a:gd name="T87" fmla="*/ 771 h 1035"/>
              <a:gd name="T88" fmla="*/ 307 w 1043"/>
              <a:gd name="T89" fmla="*/ 875 h 1035"/>
              <a:gd name="T90" fmla="*/ 324 w 1043"/>
              <a:gd name="T91" fmla="*/ 931 h 1035"/>
              <a:gd name="T92" fmla="*/ 344 w 1043"/>
              <a:gd name="T93" fmla="*/ 950 h 1035"/>
              <a:gd name="T94" fmla="*/ 395 w 1043"/>
              <a:gd name="T95" fmla="*/ 967 h 1035"/>
              <a:gd name="T96" fmla="*/ 469 w 1043"/>
              <a:gd name="T97" fmla="*/ 971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43" h="1035">
                <a:moveTo>
                  <a:pt x="0" y="999"/>
                </a:moveTo>
                <a:lnTo>
                  <a:pt x="0" y="999"/>
                </a:lnTo>
                <a:lnTo>
                  <a:pt x="25" y="998"/>
                </a:lnTo>
                <a:lnTo>
                  <a:pt x="48" y="997"/>
                </a:lnTo>
                <a:lnTo>
                  <a:pt x="68" y="995"/>
                </a:lnTo>
                <a:lnTo>
                  <a:pt x="86" y="991"/>
                </a:lnTo>
                <a:lnTo>
                  <a:pt x="102" y="987"/>
                </a:lnTo>
                <a:lnTo>
                  <a:pt x="115" y="981"/>
                </a:lnTo>
                <a:lnTo>
                  <a:pt x="121" y="977"/>
                </a:lnTo>
                <a:lnTo>
                  <a:pt x="126" y="972"/>
                </a:lnTo>
                <a:lnTo>
                  <a:pt x="131" y="967"/>
                </a:lnTo>
                <a:lnTo>
                  <a:pt x="135" y="962"/>
                </a:lnTo>
                <a:lnTo>
                  <a:pt x="139" y="957"/>
                </a:lnTo>
                <a:lnTo>
                  <a:pt x="143" y="951"/>
                </a:lnTo>
                <a:lnTo>
                  <a:pt x="150" y="937"/>
                </a:lnTo>
                <a:lnTo>
                  <a:pt x="155" y="920"/>
                </a:lnTo>
                <a:lnTo>
                  <a:pt x="158" y="901"/>
                </a:lnTo>
                <a:lnTo>
                  <a:pt x="161" y="879"/>
                </a:lnTo>
                <a:lnTo>
                  <a:pt x="163" y="855"/>
                </a:lnTo>
                <a:lnTo>
                  <a:pt x="164" y="827"/>
                </a:lnTo>
                <a:lnTo>
                  <a:pt x="164" y="797"/>
                </a:lnTo>
                <a:lnTo>
                  <a:pt x="164" y="236"/>
                </a:lnTo>
                <a:lnTo>
                  <a:pt x="164" y="236"/>
                </a:lnTo>
                <a:lnTo>
                  <a:pt x="164" y="206"/>
                </a:lnTo>
                <a:lnTo>
                  <a:pt x="163" y="178"/>
                </a:lnTo>
                <a:lnTo>
                  <a:pt x="161" y="153"/>
                </a:lnTo>
                <a:lnTo>
                  <a:pt x="158" y="132"/>
                </a:lnTo>
                <a:lnTo>
                  <a:pt x="155" y="114"/>
                </a:lnTo>
                <a:lnTo>
                  <a:pt x="150" y="97"/>
                </a:lnTo>
                <a:lnTo>
                  <a:pt x="143" y="83"/>
                </a:lnTo>
                <a:lnTo>
                  <a:pt x="139" y="77"/>
                </a:lnTo>
                <a:lnTo>
                  <a:pt x="135" y="72"/>
                </a:lnTo>
                <a:lnTo>
                  <a:pt x="131" y="67"/>
                </a:lnTo>
                <a:lnTo>
                  <a:pt x="126" y="61"/>
                </a:lnTo>
                <a:lnTo>
                  <a:pt x="121" y="57"/>
                </a:lnTo>
                <a:lnTo>
                  <a:pt x="115" y="54"/>
                </a:lnTo>
                <a:lnTo>
                  <a:pt x="102" y="48"/>
                </a:lnTo>
                <a:lnTo>
                  <a:pt x="86" y="43"/>
                </a:lnTo>
                <a:lnTo>
                  <a:pt x="68" y="40"/>
                </a:lnTo>
                <a:lnTo>
                  <a:pt x="48" y="38"/>
                </a:lnTo>
                <a:lnTo>
                  <a:pt x="25" y="37"/>
                </a:lnTo>
                <a:lnTo>
                  <a:pt x="0" y="36"/>
                </a:lnTo>
                <a:lnTo>
                  <a:pt x="0" y="0"/>
                </a:lnTo>
                <a:lnTo>
                  <a:pt x="468" y="0"/>
                </a:lnTo>
                <a:lnTo>
                  <a:pt x="468" y="0"/>
                </a:lnTo>
                <a:lnTo>
                  <a:pt x="504" y="0"/>
                </a:lnTo>
                <a:lnTo>
                  <a:pt x="540" y="2"/>
                </a:lnTo>
                <a:lnTo>
                  <a:pt x="574" y="6"/>
                </a:lnTo>
                <a:lnTo>
                  <a:pt x="608" y="10"/>
                </a:lnTo>
                <a:lnTo>
                  <a:pt x="639" y="16"/>
                </a:lnTo>
                <a:lnTo>
                  <a:pt x="670" y="24"/>
                </a:lnTo>
                <a:lnTo>
                  <a:pt x="699" y="32"/>
                </a:lnTo>
                <a:lnTo>
                  <a:pt x="727" y="41"/>
                </a:lnTo>
                <a:lnTo>
                  <a:pt x="754" y="51"/>
                </a:lnTo>
                <a:lnTo>
                  <a:pt x="779" y="62"/>
                </a:lnTo>
                <a:lnTo>
                  <a:pt x="803" y="75"/>
                </a:lnTo>
                <a:lnTo>
                  <a:pt x="827" y="88"/>
                </a:lnTo>
                <a:lnTo>
                  <a:pt x="848" y="103"/>
                </a:lnTo>
                <a:lnTo>
                  <a:pt x="868" y="119"/>
                </a:lnTo>
                <a:lnTo>
                  <a:pt x="888" y="135"/>
                </a:lnTo>
                <a:lnTo>
                  <a:pt x="906" y="151"/>
                </a:lnTo>
                <a:lnTo>
                  <a:pt x="924" y="170"/>
                </a:lnTo>
                <a:lnTo>
                  <a:pt x="939" y="188"/>
                </a:lnTo>
                <a:lnTo>
                  <a:pt x="953" y="209"/>
                </a:lnTo>
                <a:lnTo>
                  <a:pt x="968" y="228"/>
                </a:lnTo>
                <a:lnTo>
                  <a:pt x="980" y="250"/>
                </a:lnTo>
                <a:lnTo>
                  <a:pt x="991" y="271"/>
                </a:lnTo>
                <a:lnTo>
                  <a:pt x="1001" y="294"/>
                </a:lnTo>
                <a:lnTo>
                  <a:pt x="1010" y="316"/>
                </a:lnTo>
                <a:lnTo>
                  <a:pt x="1018" y="340"/>
                </a:lnTo>
                <a:lnTo>
                  <a:pt x="1025" y="364"/>
                </a:lnTo>
                <a:lnTo>
                  <a:pt x="1031" y="389"/>
                </a:lnTo>
                <a:lnTo>
                  <a:pt x="1035" y="413"/>
                </a:lnTo>
                <a:lnTo>
                  <a:pt x="1039" y="439"/>
                </a:lnTo>
                <a:lnTo>
                  <a:pt x="1041" y="464"/>
                </a:lnTo>
                <a:lnTo>
                  <a:pt x="1043" y="491"/>
                </a:lnTo>
                <a:lnTo>
                  <a:pt x="1043" y="517"/>
                </a:lnTo>
                <a:lnTo>
                  <a:pt x="1043" y="517"/>
                </a:lnTo>
                <a:lnTo>
                  <a:pt x="1043" y="544"/>
                </a:lnTo>
                <a:lnTo>
                  <a:pt x="1041" y="570"/>
                </a:lnTo>
                <a:lnTo>
                  <a:pt x="1039" y="596"/>
                </a:lnTo>
                <a:lnTo>
                  <a:pt x="1035" y="622"/>
                </a:lnTo>
                <a:lnTo>
                  <a:pt x="1031" y="646"/>
                </a:lnTo>
                <a:lnTo>
                  <a:pt x="1025" y="671"/>
                </a:lnTo>
                <a:lnTo>
                  <a:pt x="1018" y="694"/>
                </a:lnTo>
                <a:lnTo>
                  <a:pt x="1010" y="718"/>
                </a:lnTo>
                <a:lnTo>
                  <a:pt x="1001" y="741"/>
                </a:lnTo>
                <a:lnTo>
                  <a:pt x="991" y="764"/>
                </a:lnTo>
                <a:lnTo>
                  <a:pt x="980" y="785"/>
                </a:lnTo>
                <a:lnTo>
                  <a:pt x="968" y="806"/>
                </a:lnTo>
                <a:lnTo>
                  <a:pt x="953" y="826"/>
                </a:lnTo>
                <a:lnTo>
                  <a:pt x="939" y="846"/>
                </a:lnTo>
                <a:lnTo>
                  <a:pt x="924" y="865"/>
                </a:lnTo>
                <a:lnTo>
                  <a:pt x="906" y="882"/>
                </a:lnTo>
                <a:lnTo>
                  <a:pt x="888" y="900"/>
                </a:lnTo>
                <a:lnTo>
                  <a:pt x="868" y="916"/>
                </a:lnTo>
                <a:lnTo>
                  <a:pt x="848" y="932"/>
                </a:lnTo>
                <a:lnTo>
                  <a:pt x="827" y="946"/>
                </a:lnTo>
                <a:lnTo>
                  <a:pt x="803" y="959"/>
                </a:lnTo>
                <a:lnTo>
                  <a:pt x="779" y="972"/>
                </a:lnTo>
                <a:lnTo>
                  <a:pt x="754" y="984"/>
                </a:lnTo>
                <a:lnTo>
                  <a:pt x="727" y="994"/>
                </a:lnTo>
                <a:lnTo>
                  <a:pt x="699" y="1003"/>
                </a:lnTo>
                <a:lnTo>
                  <a:pt x="670" y="1011"/>
                </a:lnTo>
                <a:lnTo>
                  <a:pt x="639" y="1018"/>
                </a:lnTo>
                <a:lnTo>
                  <a:pt x="608" y="1025"/>
                </a:lnTo>
                <a:lnTo>
                  <a:pt x="574" y="1029"/>
                </a:lnTo>
                <a:lnTo>
                  <a:pt x="540" y="1032"/>
                </a:lnTo>
                <a:lnTo>
                  <a:pt x="504" y="1034"/>
                </a:lnTo>
                <a:lnTo>
                  <a:pt x="468" y="1035"/>
                </a:lnTo>
                <a:lnTo>
                  <a:pt x="0" y="1035"/>
                </a:lnTo>
                <a:lnTo>
                  <a:pt x="0" y="999"/>
                </a:lnTo>
                <a:close/>
                <a:moveTo>
                  <a:pt x="469" y="971"/>
                </a:moveTo>
                <a:lnTo>
                  <a:pt x="469" y="971"/>
                </a:lnTo>
                <a:lnTo>
                  <a:pt x="500" y="970"/>
                </a:lnTo>
                <a:lnTo>
                  <a:pt x="529" y="968"/>
                </a:lnTo>
                <a:lnTo>
                  <a:pt x="557" y="964"/>
                </a:lnTo>
                <a:lnTo>
                  <a:pt x="583" y="960"/>
                </a:lnTo>
                <a:lnTo>
                  <a:pt x="608" y="954"/>
                </a:lnTo>
                <a:lnTo>
                  <a:pt x="631" y="947"/>
                </a:lnTo>
                <a:lnTo>
                  <a:pt x="654" y="938"/>
                </a:lnTo>
                <a:lnTo>
                  <a:pt x="675" y="928"/>
                </a:lnTo>
                <a:lnTo>
                  <a:pt x="695" y="918"/>
                </a:lnTo>
                <a:lnTo>
                  <a:pt x="713" y="906"/>
                </a:lnTo>
                <a:lnTo>
                  <a:pt x="730" y="894"/>
                </a:lnTo>
                <a:lnTo>
                  <a:pt x="747" y="880"/>
                </a:lnTo>
                <a:lnTo>
                  <a:pt x="761" y="866"/>
                </a:lnTo>
                <a:lnTo>
                  <a:pt x="775" y="852"/>
                </a:lnTo>
                <a:lnTo>
                  <a:pt x="788" y="836"/>
                </a:lnTo>
                <a:lnTo>
                  <a:pt x="800" y="820"/>
                </a:lnTo>
                <a:lnTo>
                  <a:pt x="810" y="803"/>
                </a:lnTo>
                <a:lnTo>
                  <a:pt x="820" y="785"/>
                </a:lnTo>
                <a:lnTo>
                  <a:pt x="830" y="768"/>
                </a:lnTo>
                <a:lnTo>
                  <a:pt x="838" y="750"/>
                </a:lnTo>
                <a:lnTo>
                  <a:pt x="845" y="731"/>
                </a:lnTo>
                <a:lnTo>
                  <a:pt x="851" y="712"/>
                </a:lnTo>
                <a:lnTo>
                  <a:pt x="856" y="692"/>
                </a:lnTo>
                <a:lnTo>
                  <a:pt x="861" y="673"/>
                </a:lnTo>
                <a:lnTo>
                  <a:pt x="865" y="653"/>
                </a:lnTo>
                <a:lnTo>
                  <a:pt x="869" y="634"/>
                </a:lnTo>
                <a:lnTo>
                  <a:pt x="875" y="595"/>
                </a:lnTo>
                <a:lnTo>
                  <a:pt x="877" y="555"/>
                </a:lnTo>
                <a:lnTo>
                  <a:pt x="878" y="517"/>
                </a:lnTo>
                <a:lnTo>
                  <a:pt x="878" y="517"/>
                </a:lnTo>
                <a:lnTo>
                  <a:pt x="877" y="479"/>
                </a:lnTo>
                <a:lnTo>
                  <a:pt x="875" y="440"/>
                </a:lnTo>
                <a:lnTo>
                  <a:pt x="869" y="401"/>
                </a:lnTo>
                <a:lnTo>
                  <a:pt x="865" y="380"/>
                </a:lnTo>
                <a:lnTo>
                  <a:pt x="861" y="361"/>
                </a:lnTo>
                <a:lnTo>
                  <a:pt x="856" y="342"/>
                </a:lnTo>
                <a:lnTo>
                  <a:pt x="851" y="323"/>
                </a:lnTo>
                <a:lnTo>
                  <a:pt x="845" y="304"/>
                </a:lnTo>
                <a:lnTo>
                  <a:pt x="838" y="285"/>
                </a:lnTo>
                <a:lnTo>
                  <a:pt x="830" y="267"/>
                </a:lnTo>
                <a:lnTo>
                  <a:pt x="820" y="249"/>
                </a:lnTo>
                <a:lnTo>
                  <a:pt x="810" y="231"/>
                </a:lnTo>
                <a:lnTo>
                  <a:pt x="800" y="215"/>
                </a:lnTo>
                <a:lnTo>
                  <a:pt x="788" y="198"/>
                </a:lnTo>
                <a:lnTo>
                  <a:pt x="775" y="183"/>
                </a:lnTo>
                <a:lnTo>
                  <a:pt x="761" y="168"/>
                </a:lnTo>
                <a:lnTo>
                  <a:pt x="747" y="154"/>
                </a:lnTo>
                <a:lnTo>
                  <a:pt x="730" y="140"/>
                </a:lnTo>
                <a:lnTo>
                  <a:pt x="713" y="128"/>
                </a:lnTo>
                <a:lnTo>
                  <a:pt x="695" y="117"/>
                </a:lnTo>
                <a:lnTo>
                  <a:pt x="675" y="106"/>
                </a:lnTo>
                <a:lnTo>
                  <a:pt x="654" y="96"/>
                </a:lnTo>
                <a:lnTo>
                  <a:pt x="631" y="88"/>
                </a:lnTo>
                <a:lnTo>
                  <a:pt x="608" y="81"/>
                </a:lnTo>
                <a:lnTo>
                  <a:pt x="583" y="75"/>
                </a:lnTo>
                <a:lnTo>
                  <a:pt x="557" y="70"/>
                </a:lnTo>
                <a:lnTo>
                  <a:pt x="529" y="67"/>
                </a:lnTo>
                <a:lnTo>
                  <a:pt x="500" y="65"/>
                </a:lnTo>
                <a:lnTo>
                  <a:pt x="469" y="63"/>
                </a:lnTo>
                <a:lnTo>
                  <a:pt x="302" y="63"/>
                </a:lnTo>
                <a:lnTo>
                  <a:pt x="302" y="771"/>
                </a:lnTo>
                <a:lnTo>
                  <a:pt x="302" y="771"/>
                </a:lnTo>
                <a:lnTo>
                  <a:pt x="302" y="802"/>
                </a:lnTo>
                <a:lnTo>
                  <a:pt x="303" y="829"/>
                </a:lnTo>
                <a:lnTo>
                  <a:pt x="304" y="854"/>
                </a:lnTo>
                <a:lnTo>
                  <a:pt x="307" y="875"/>
                </a:lnTo>
                <a:lnTo>
                  <a:pt x="310" y="894"/>
                </a:lnTo>
                <a:lnTo>
                  <a:pt x="315" y="910"/>
                </a:lnTo>
                <a:lnTo>
                  <a:pt x="321" y="924"/>
                </a:lnTo>
                <a:lnTo>
                  <a:pt x="324" y="931"/>
                </a:lnTo>
                <a:lnTo>
                  <a:pt x="329" y="936"/>
                </a:lnTo>
                <a:lnTo>
                  <a:pt x="334" y="941"/>
                </a:lnTo>
                <a:lnTo>
                  <a:pt x="338" y="946"/>
                </a:lnTo>
                <a:lnTo>
                  <a:pt x="344" y="950"/>
                </a:lnTo>
                <a:lnTo>
                  <a:pt x="349" y="953"/>
                </a:lnTo>
                <a:lnTo>
                  <a:pt x="362" y="959"/>
                </a:lnTo>
                <a:lnTo>
                  <a:pt x="378" y="964"/>
                </a:lnTo>
                <a:lnTo>
                  <a:pt x="395" y="967"/>
                </a:lnTo>
                <a:lnTo>
                  <a:pt x="414" y="969"/>
                </a:lnTo>
                <a:lnTo>
                  <a:pt x="437" y="970"/>
                </a:lnTo>
                <a:lnTo>
                  <a:pt x="463" y="971"/>
                </a:lnTo>
                <a:lnTo>
                  <a:pt x="469" y="971"/>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76" name="Freeform 27">
            <a:extLst>
              <a:ext uri="{FF2B5EF4-FFF2-40B4-BE49-F238E27FC236}">
                <a16:creationId xmlns:a16="http://schemas.microsoft.com/office/drawing/2014/main" id="{568DB860-340B-C44E-BD54-38E675CD9CE2}"/>
              </a:ext>
            </a:extLst>
          </p:cNvPr>
          <p:cNvSpPr>
            <a:spLocks/>
          </p:cNvSpPr>
          <p:nvPr userDrawn="1"/>
        </p:nvSpPr>
        <p:spPr bwMode="auto">
          <a:xfrm>
            <a:off x="2760663" y="1158876"/>
            <a:ext cx="112713" cy="136525"/>
          </a:xfrm>
          <a:custGeom>
            <a:avLst/>
            <a:gdLst>
              <a:gd name="T0" fmla="*/ 26 w 859"/>
              <a:gd name="T1" fmla="*/ 998 h 1035"/>
              <a:gd name="T2" fmla="*/ 86 w 859"/>
              <a:gd name="T3" fmla="*/ 991 h 1035"/>
              <a:gd name="T4" fmla="*/ 121 w 859"/>
              <a:gd name="T5" fmla="*/ 977 h 1035"/>
              <a:gd name="T6" fmla="*/ 135 w 859"/>
              <a:gd name="T7" fmla="*/ 962 h 1035"/>
              <a:gd name="T8" fmla="*/ 150 w 859"/>
              <a:gd name="T9" fmla="*/ 937 h 1035"/>
              <a:gd name="T10" fmla="*/ 161 w 859"/>
              <a:gd name="T11" fmla="*/ 879 h 1035"/>
              <a:gd name="T12" fmla="*/ 164 w 859"/>
              <a:gd name="T13" fmla="*/ 797 h 1035"/>
              <a:gd name="T14" fmla="*/ 164 w 859"/>
              <a:gd name="T15" fmla="*/ 206 h 1035"/>
              <a:gd name="T16" fmla="*/ 159 w 859"/>
              <a:gd name="T17" fmla="*/ 132 h 1035"/>
              <a:gd name="T18" fmla="*/ 143 w 859"/>
              <a:gd name="T19" fmla="*/ 83 h 1035"/>
              <a:gd name="T20" fmla="*/ 131 w 859"/>
              <a:gd name="T21" fmla="*/ 67 h 1035"/>
              <a:gd name="T22" fmla="*/ 115 w 859"/>
              <a:gd name="T23" fmla="*/ 54 h 1035"/>
              <a:gd name="T24" fmla="*/ 69 w 859"/>
              <a:gd name="T25" fmla="*/ 40 h 1035"/>
              <a:gd name="T26" fmla="*/ 0 w 859"/>
              <a:gd name="T27" fmla="*/ 36 h 1035"/>
              <a:gd name="T28" fmla="*/ 802 w 859"/>
              <a:gd name="T29" fmla="*/ 227 h 1035"/>
              <a:gd name="T30" fmla="*/ 757 w 859"/>
              <a:gd name="T31" fmla="*/ 193 h 1035"/>
              <a:gd name="T32" fmla="*/ 739 w 859"/>
              <a:gd name="T33" fmla="*/ 135 h 1035"/>
              <a:gd name="T34" fmla="*/ 717 w 859"/>
              <a:gd name="T35" fmla="*/ 103 h 1035"/>
              <a:gd name="T36" fmla="*/ 684 w 859"/>
              <a:gd name="T37" fmla="*/ 81 h 1035"/>
              <a:gd name="T38" fmla="*/ 632 w 859"/>
              <a:gd name="T39" fmla="*/ 68 h 1035"/>
              <a:gd name="T40" fmla="*/ 558 w 859"/>
              <a:gd name="T41" fmla="*/ 63 h 1035"/>
              <a:gd name="T42" fmla="*/ 388 w 859"/>
              <a:gd name="T43" fmla="*/ 455 h 1035"/>
              <a:gd name="T44" fmla="*/ 446 w 859"/>
              <a:gd name="T45" fmla="*/ 454 h 1035"/>
              <a:gd name="T46" fmla="*/ 512 w 859"/>
              <a:gd name="T47" fmla="*/ 446 h 1035"/>
              <a:gd name="T48" fmla="*/ 547 w 859"/>
              <a:gd name="T49" fmla="*/ 431 h 1035"/>
              <a:gd name="T50" fmla="*/ 563 w 859"/>
              <a:gd name="T51" fmla="*/ 417 h 1035"/>
              <a:gd name="T52" fmla="*/ 577 w 859"/>
              <a:gd name="T53" fmla="*/ 393 h 1035"/>
              <a:gd name="T54" fmla="*/ 587 w 859"/>
              <a:gd name="T55" fmla="*/ 339 h 1035"/>
              <a:gd name="T56" fmla="*/ 625 w 859"/>
              <a:gd name="T57" fmla="*/ 289 h 1035"/>
              <a:gd name="T58" fmla="*/ 588 w 859"/>
              <a:gd name="T59" fmla="*/ 685 h 1035"/>
              <a:gd name="T60" fmla="*/ 585 w 859"/>
              <a:gd name="T61" fmla="*/ 616 h 1035"/>
              <a:gd name="T62" fmla="*/ 571 w 859"/>
              <a:gd name="T63" fmla="*/ 569 h 1035"/>
              <a:gd name="T64" fmla="*/ 559 w 859"/>
              <a:gd name="T65" fmla="*/ 552 h 1035"/>
              <a:gd name="T66" fmla="*/ 541 w 859"/>
              <a:gd name="T67" fmla="*/ 540 h 1035"/>
              <a:gd name="T68" fmla="*/ 492 w 859"/>
              <a:gd name="T69" fmla="*/ 525 h 1035"/>
              <a:gd name="T70" fmla="*/ 419 w 859"/>
              <a:gd name="T71" fmla="*/ 519 h 1035"/>
              <a:gd name="T72" fmla="*/ 302 w 859"/>
              <a:gd name="T73" fmla="*/ 771 h 1035"/>
              <a:gd name="T74" fmla="*/ 303 w 859"/>
              <a:gd name="T75" fmla="*/ 829 h 1035"/>
              <a:gd name="T76" fmla="*/ 311 w 859"/>
              <a:gd name="T77" fmla="*/ 894 h 1035"/>
              <a:gd name="T78" fmla="*/ 326 w 859"/>
              <a:gd name="T79" fmla="*/ 931 h 1035"/>
              <a:gd name="T80" fmla="*/ 340 w 859"/>
              <a:gd name="T81" fmla="*/ 946 h 1035"/>
              <a:gd name="T82" fmla="*/ 364 w 859"/>
              <a:gd name="T83" fmla="*/ 959 h 1035"/>
              <a:gd name="T84" fmla="*/ 417 w 859"/>
              <a:gd name="T85" fmla="*/ 969 h 1035"/>
              <a:gd name="T86" fmla="*/ 614 w 859"/>
              <a:gd name="T87" fmla="*/ 971 h 1035"/>
              <a:gd name="T88" fmla="*/ 668 w 859"/>
              <a:gd name="T89" fmla="*/ 969 h 1035"/>
              <a:gd name="T90" fmla="*/ 726 w 859"/>
              <a:gd name="T91" fmla="*/ 959 h 1035"/>
              <a:gd name="T92" fmla="*/ 765 w 859"/>
              <a:gd name="T93" fmla="*/ 940 h 1035"/>
              <a:gd name="T94" fmla="*/ 790 w 859"/>
              <a:gd name="T95" fmla="*/ 911 h 1035"/>
              <a:gd name="T96" fmla="*/ 806 w 859"/>
              <a:gd name="T97" fmla="*/ 872 h 1035"/>
              <a:gd name="T98" fmla="*/ 859 w 859"/>
              <a:gd name="T99" fmla="*/ 806 h 1035"/>
              <a:gd name="T100" fmla="*/ 0 w 859"/>
              <a:gd name="T101" fmla="*/ 999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59" h="1035">
                <a:moveTo>
                  <a:pt x="0" y="999"/>
                </a:moveTo>
                <a:lnTo>
                  <a:pt x="0" y="999"/>
                </a:lnTo>
                <a:lnTo>
                  <a:pt x="26" y="998"/>
                </a:lnTo>
                <a:lnTo>
                  <a:pt x="48" y="997"/>
                </a:lnTo>
                <a:lnTo>
                  <a:pt x="69" y="995"/>
                </a:lnTo>
                <a:lnTo>
                  <a:pt x="86" y="991"/>
                </a:lnTo>
                <a:lnTo>
                  <a:pt x="102" y="987"/>
                </a:lnTo>
                <a:lnTo>
                  <a:pt x="115" y="981"/>
                </a:lnTo>
                <a:lnTo>
                  <a:pt x="121" y="977"/>
                </a:lnTo>
                <a:lnTo>
                  <a:pt x="126" y="972"/>
                </a:lnTo>
                <a:lnTo>
                  <a:pt x="131" y="967"/>
                </a:lnTo>
                <a:lnTo>
                  <a:pt x="135" y="962"/>
                </a:lnTo>
                <a:lnTo>
                  <a:pt x="140" y="957"/>
                </a:lnTo>
                <a:lnTo>
                  <a:pt x="143" y="951"/>
                </a:lnTo>
                <a:lnTo>
                  <a:pt x="150" y="937"/>
                </a:lnTo>
                <a:lnTo>
                  <a:pt x="155" y="920"/>
                </a:lnTo>
                <a:lnTo>
                  <a:pt x="159" y="901"/>
                </a:lnTo>
                <a:lnTo>
                  <a:pt x="161" y="879"/>
                </a:lnTo>
                <a:lnTo>
                  <a:pt x="163" y="855"/>
                </a:lnTo>
                <a:lnTo>
                  <a:pt x="164" y="827"/>
                </a:lnTo>
                <a:lnTo>
                  <a:pt x="164" y="797"/>
                </a:lnTo>
                <a:lnTo>
                  <a:pt x="164" y="236"/>
                </a:lnTo>
                <a:lnTo>
                  <a:pt x="164" y="236"/>
                </a:lnTo>
                <a:lnTo>
                  <a:pt x="164" y="206"/>
                </a:lnTo>
                <a:lnTo>
                  <a:pt x="163" y="178"/>
                </a:lnTo>
                <a:lnTo>
                  <a:pt x="161" y="153"/>
                </a:lnTo>
                <a:lnTo>
                  <a:pt x="159" y="132"/>
                </a:lnTo>
                <a:lnTo>
                  <a:pt x="155" y="114"/>
                </a:lnTo>
                <a:lnTo>
                  <a:pt x="150" y="97"/>
                </a:lnTo>
                <a:lnTo>
                  <a:pt x="143" y="83"/>
                </a:lnTo>
                <a:lnTo>
                  <a:pt x="140" y="77"/>
                </a:lnTo>
                <a:lnTo>
                  <a:pt x="135" y="72"/>
                </a:lnTo>
                <a:lnTo>
                  <a:pt x="131" y="67"/>
                </a:lnTo>
                <a:lnTo>
                  <a:pt x="126" y="61"/>
                </a:lnTo>
                <a:lnTo>
                  <a:pt x="121" y="57"/>
                </a:lnTo>
                <a:lnTo>
                  <a:pt x="115" y="54"/>
                </a:lnTo>
                <a:lnTo>
                  <a:pt x="102" y="48"/>
                </a:lnTo>
                <a:lnTo>
                  <a:pt x="86" y="43"/>
                </a:lnTo>
                <a:lnTo>
                  <a:pt x="69" y="40"/>
                </a:lnTo>
                <a:lnTo>
                  <a:pt x="48" y="38"/>
                </a:lnTo>
                <a:lnTo>
                  <a:pt x="26" y="37"/>
                </a:lnTo>
                <a:lnTo>
                  <a:pt x="0" y="36"/>
                </a:lnTo>
                <a:lnTo>
                  <a:pt x="0" y="0"/>
                </a:lnTo>
                <a:lnTo>
                  <a:pt x="787" y="0"/>
                </a:lnTo>
                <a:lnTo>
                  <a:pt x="802" y="227"/>
                </a:lnTo>
                <a:lnTo>
                  <a:pt x="766" y="227"/>
                </a:lnTo>
                <a:lnTo>
                  <a:pt x="757" y="193"/>
                </a:lnTo>
                <a:lnTo>
                  <a:pt x="757" y="193"/>
                </a:lnTo>
                <a:lnTo>
                  <a:pt x="749" y="162"/>
                </a:lnTo>
                <a:lnTo>
                  <a:pt x="744" y="147"/>
                </a:lnTo>
                <a:lnTo>
                  <a:pt x="739" y="135"/>
                </a:lnTo>
                <a:lnTo>
                  <a:pt x="732" y="123"/>
                </a:lnTo>
                <a:lnTo>
                  <a:pt x="725" y="113"/>
                </a:lnTo>
                <a:lnTo>
                  <a:pt x="717" y="103"/>
                </a:lnTo>
                <a:lnTo>
                  <a:pt x="708" y="95"/>
                </a:lnTo>
                <a:lnTo>
                  <a:pt x="697" y="87"/>
                </a:lnTo>
                <a:lnTo>
                  <a:pt x="684" y="81"/>
                </a:lnTo>
                <a:lnTo>
                  <a:pt x="669" y="76"/>
                </a:lnTo>
                <a:lnTo>
                  <a:pt x="653" y="72"/>
                </a:lnTo>
                <a:lnTo>
                  <a:pt x="632" y="68"/>
                </a:lnTo>
                <a:lnTo>
                  <a:pt x="611" y="66"/>
                </a:lnTo>
                <a:lnTo>
                  <a:pt x="585" y="65"/>
                </a:lnTo>
                <a:lnTo>
                  <a:pt x="558" y="63"/>
                </a:lnTo>
                <a:lnTo>
                  <a:pt x="302" y="63"/>
                </a:lnTo>
                <a:lnTo>
                  <a:pt x="302" y="455"/>
                </a:lnTo>
                <a:lnTo>
                  <a:pt x="388" y="455"/>
                </a:lnTo>
                <a:lnTo>
                  <a:pt x="388" y="455"/>
                </a:lnTo>
                <a:lnTo>
                  <a:pt x="419" y="455"/>
                </a:lnTo>
                <a:lnTo>
                  <a:pt x="446" y="454"/>
                </a:lnTo>
                <a:lnTo>
                  <a:pt x="471" y="452"/>
                </a:lnTo>
                <a:lnTo>
                  <a:pt x="492" y="450"/>
                </a:lnTo>
                <a:lnTo>
                  <a:pt x="512" y="446"/>
                </a:lnTo>
                <a:lnTo>
                  <a:pt x="527" y="441"/>
                </a:lnTo>
                <a:lnTo>
                  <a:pt x="541" y="435"/>
                </a:lnTo>
                <a:lnTo>
                  <a:pt x="547" y="431"/>
                </a:lnTo>
                <a:lnTo>
                  <a:pt x="553" y="426"/>
                </a:lnTo>
                <a:lnTo>
                  <a:pt x="559" y="422"/>
                </a:lnTo>
                <a:lnTo>
                  <a:pt x="563" y="417"/>
                </a:lnTo>
                <a:lnTo>
                  <a:pt x="567" y="412"/>
                </a:lnTo>
                <a:lnTo>
                  <a:pt x="571" y="406"/>
                </a:lnTo>
                <a:lnTo>
                  <a:pt x="577" y="393"/>
                </a:lnTo>
                <a:lnTo>
                  <a:pt x="581" y="376"/>
                </a:lnTo>
                <a:lnTo>
                  <a:pt x="585" y="359"/>
                </a:lnTo>
                <a:lnTo>
                  <a:pt x="587" y="339"/>
                </a:lnTo>
                <a:lnTo>
                  <a:pt x="588" y="315"/>
                </a:lnTo>
                <a:lnTo>
                  <a:pt x="588" y="289"/>
                </a:lnTo>
                <a:lnTo>
                  <a:pt x="625" y="289"/>
                </a:lnTo>
                <a:lnTo>
                  <a:pt x="625" y="685"/>
                </a:lnTo>
                <a:lnTo>
                  <a:pt x="588" y="685"/>
                </a:lnTo>
                <a:lnTo>
                  <a:pt x="588" y="685"/>
                </a:lnTo>
                <a:lnTo>
                  <a:pt x="588" y="659"/>
                </a:lnTo>
                <a:lnTo>
                  <a:pt x="587" y="636"/>
                </a:lnTo>
                <a:lnTo>
                  <a:pt x="585" y="616"/>
                </a:lnTo>
                <a:lnTo>
                  <a:pt x="581" y="597"/>
                </a:lnTo>
                <a:lnTo>
                  <a:pt x="577" y="582"/>
                </a:lnTo>
                <a:lnTo>
                  <a:pt x="571" y="569"/>
                </a:lnTo>
                <a:lnTo>
                  <a:pt x="567" y="562"/>
                </a:lnTo>
                <a:lnTo>
                  <a:pt x="563" y="557"/>
                </a:lnTo>
                <a:lnTo>
                  <a:pt x="559" y="552"/>
                </a:lnTo>
                <a:lnTo>
                  <a:pt x="553" y="547"/>
                </a:lnTo>
                <a:lnTo>
                  <a:pt x="547" y="543"/>
                </a:lnTo>
                <a:lnTo>
                  <a:pt x="541" y="540"/>
                </a:lnTo>
                <a:lnTo>
                  <a:pt x="527" y="533"/>
                </a:lnTo>
                <a:lnTo>
                  <a:pt x="512" y="529"/>
                </a:lnTo>
                <a:lnTo>
                  <a:pt x="492" y="525"/>
                </a:lnTo>
                <a:lnTo>
                  <a:pt x="471" y="522"/>
                </a:lnTo>
                <a:lnTo>
                  <a:pt x="446" y="521"/>
                </a:lnTo>
                <a:lnTo>
                  <a:pt x="419" y="519"/>
                </a:lnTo>
                <a:lnTo>
                  <a:pt x="388" y="519"/>
                </a:lnTo>
                <a:lnTo>
                  <a:pt x="302" y="519"/>
                </a:lnTo>
                <a:lnTo>
                  <a:pt x="302" y="771"/>
                </a:lnTo>
                <a:lnTo>
                  <a:pt x="302" y="771"/>
                </a:lnTo>
                <a:lnTo>
                  <a:pt x="302" y="802"/>
                </a:lnTo>
                <a:lnTo>
                  <a:pt x="303" y="829"/>
                </a:lnTo>
                <a:lnTo>
                  <a:pt x="305" y="854"/>
                </a:lnTo>
                <a:lnTo>
                  <a:pt x="307" y="875"/>
                </a:lnTo>
                <a:lnTo>
                  <a:pt x="311" y="894"/>
                </a:lnTo>
                <a:lnTo>
                  <a:pt x="316" y="910"/>
                </a:lnTo>
                <a:lnTo>
                  <a:pt x="322" y="924"/>
                </a:lnTo>
                <a:lnTo>
                  <a:pt x="326" y="931"/>
                </a:lnTo>
                <a:lnTo>
                  <a:pt x="331" y="936"/>
                </a:lnTo>
                <a:lnTo>
                  <a:pt x="335" y="941"/>
                </a:lnTo>
                <a:lnTo>
                  <a:pt x="340" y="946"/>
                </a:lnTo>
                <a:lnTo>
                  <a:pt x="345" y="950"/>
                </a:lnTo>
                <a:lnTo>
                  <a:pt x="351" y="953"/>
                </a:lnTo>
                <a:lnTo>
                  <a:pt x="364" y="959"/>
                </a:lnTo>
                <a:lnTo>
                  <a:pt x="380" y="964"/>
                </a:lnTo>
                <a:lnTo>
                  <a:pt x="398" y="967"/>
                </a:lnTo>
                <a:lnTo>
                  <a:pt x="417" y="969"/>
                </a:lnTo>
                <a:lnTo>
                  <a:pt x="440" y="970"/>
                </a:lnTo>
                <a:lnTo>
                  <a:pt x="466" y="971"/>
                </a:lnTo>
                <a:lnTo>
                  <a:pt x="614" y="971"/>
                </a:lnTo>
                <a:lnTo>
                  <a:pt x="614" y="971"/>
                </a:lnTo>
                <a:lnTo>
                  <a:pt x="642" y="970"/>
                </a:lnTo>
                <a:lnTo>
                  <a:pt x="668" y="969"/>
                </a:lnTo>
                <a:lnTo>
                  <a:pt x="689" y="966"/>
                </a:lnTo>
                <a:lnTo>
                  <a:pt x="709" y="963"/>
                </a:lnTo>
                <a:lnTo>
                  <a:pt x="726" y="959"/>
                </a:lnTo>
                <a:lnTo>
                  <a:pt x="742" y="954"/>
                </a:lnTo>
                <a:lnTo>
                  <a:pt x="754" y="947"/>
                </a:lnTo>
                <a:lnTo>
                  <a:pt x="765" y="940"/>
                </a:lnTo>
                <a:lnTo>
                  <a:pt x="775" y="932"/>
                </a:lnTo>
                <a:lnTo>
                  <a:pt x="784" y="921"/>
                </a:lnTo>
                <a:lnTo>
                  <a:pt x="790" y="911"/>
                </a:lnTo>
                <a:lnTo>
                  <a:pt x="796" y="899"/>
                </a:lnTo>
                <a:lnTo>
                  <a:pt x="801" y="886"/>
                </a:lnTo>
                <a:lnTo>
                  <a:pt x="806" y="872"/>
                </a:lnTo>
                <a:lnTo>
                  <a:pt x="814" y="840"/>
                </a:lnTo>
                <a:lnTo>
                  <a:pt x="823" y="806"/>
                </a:lnTo>
                <a:lnTo>
                  <a:pt x="859" y="806"/>
                </a:lnTo>
                <a:lnTo>
                  <a:pt x="846" y="1035"/>
                </a:lnTo>
                <a:lnTo>
                  <a:pt x="0" y="1035"/>
                </a:lnTo>
                <a:lnTo>
                  <a:pt x="0" y="999"/>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77" name="Freeform 28">
            <a:extLst>
              <a:ext uri="{FF2B5EF4-FFF2-40B4-BE49-F238E27FC236}">
                <a16:creationId xmlns:a16="http://schemas.microsoft.com/office/drawing/2014/main" id="{BAD311A5-E6DF-034A-AC06-9BA8B657ADCF}"/>
              </a:ext>
            </a:extLst>
          </p:cNvPr>
          <p:cNvSpPr>
            <a:spLocks/>
          </p:cNvSpPr>
          <p:nvPr userDrawn="1"/>
        </p:nvSpPr>
        <p:spPr bwMode="auto">
          <a:xfrm>
            <a:off x="2903538" y="1158876"/>
            <a:ext cx="142875" cy="136525"/>
          </a:xfrm>
          <a:custGeom>
            <a:avLst/>
            <a:gdLst>
              <a:gd name="T0" fmla="*/ 304 w 1077"/>
              <a:gd name="T1" fmla="*/ 999 h 1035"/>
              <a:gd name="T2" fmla="*/ 352 w 1077"/>
              <a:gd name="T3" fmla="*/ 997 h 1035"/>
              <a:gd name="T4" fmla="*/ 391 w 1077"/>
              <a:gd name="T5" fmla="*/ 991 h 1035"/>
              <a:gd name="T6" fmla="*/ 419 w 1077"/>
              <a:gd name="T7" fmla="*/ 981 h 1035"/>
              <a:gd name="T8" fmla="*/ 431 w 1077"/>
              <a:gd name="T9" fmla="*/ 972 h 1035"/>
              <a:gd name="T10" fmla="*/ 441 w 1077"/>
              <a:gd name="T11" fmla="*/ 962 h 1035"/>
              <a:gd name="T12" fmla="*/ 449 w 1077"/>
              <a:gd name="T13" fmla="*/ 951 h 1035"/>
              <a:gd name="T14" fmla="*/ 460 w 1077"/>
              <a:gd name="T15" fmla="*/ 920 h 1035"/>
              <a:gd name="T16" fmla="*/ 466 w 1077"/>
              <a:gd name="T17" fmla="*/ 879 h 1035"/>
              <a:gd name="T18" fmla="*/ 469 w 1077"/>
              <a:gd name="T19" fmla="*/ 827 h 1035"/>
              <a:gd name="T20" fmla="*/ 469 w 1077"/>
              <a:gd name="T21" fmla="*/ 68 h 1035"/>
              <a:gd name="T22" fmla="*/ 246 w 1077"/>
              <a:gd name="T23" fmla="*/ 68 h 1035"/>
              <a:gd name="T24" fmla="*/ 192 w 1077"/>
              <a:gd name="T25" fmla="*/ 69 h 1035"/>
              <a:gd name="T26" fmla="*/ 150 w 1077"/>
              <a:gd name="T27" fmla="*/ 75 h 1035"/>
              <a:gd name="T28" fmla="*/ 119 w 1077"/>
              <a:gd name="T29" fmla="*/ 85 h 1035"/>
              <a:gd name="T30" fmla="*/ 95 w 1077"/>
              <a:gd name="T31" fmla="*/ 98 h 1035"/>
              <a:gd name="T32" fmla="*/ 78 w 1077"/>
              <a:gd name="T33" fmla="*/ 117 h 1035"/>
              <a:gd name="T34" fmla="*/ 65 w 1077"/>
              <a:gd name="T35" fmla="*/ 139 h 1035"/>
              <a:gd name="T36" fmla="*/ 54 w 1077"/>
              <a:gd name="T37" fmla="*/ 167 h 1035"/>
              <a:gd name="T38" fmla="*/ 37 w 1077"/>
              <a:gd name="T39" fmla="*/ 233 h 1035"/>
              <a:gd name="T40" fmla="*/ 15 w 1077"/>
              <a:gd name="T41" fmla="*/ 0 h 1035"/>
              <a:gd name="T42" fmla="*/ 1077 w 1077"/>
              <a:gd name="T43" fmla="*/ 233 h 1035"/>
              <a:gd name="T44" fmla="*/ 1032 w 1077"/>
              <a:gd name="T45" fmla="*/ 198 h 1035"/>
              <a:gd name="T46" fmla="*/ 1023 w 1077"/>
              <a:gd name="T47" fmla="*/ 167 h 1035"/>
              <a:gd name="T48" fmla="*/ 1013 w 1077"/>
              <a:gd name="T49" fmla="*/ 139 h 1035"/>
              <a:gd name="T50" fmla="*/ 1000 w 1077"/>
              <a:gd name="T51" fmla="*/ 117 h 1035"/>
              <a:gd name="T52" fmla="*/ 983 w 1077"/>
              <a:gd name="T53" fmla="*/ 98 h 1035"/>
              <a:gd name="T54" fmla="*/ 958 w 1077"/>
              <a:gd name="T55" fmla="*/ 85 h 1035"/>
              <a:gd name="T56" fmla="*/ 927 w 1077"/>
              <a:gd name="T57" fmla="*/ 75 h 1035"/>
              <a:gd name="T58" fmla="*/ 886 w 1077"/>
              <a:gd name="T59" fmla="*/ 69 h 1035"/>
              <a:gd name="T60" fmla="*/ 832 w 1077"/>
              <a:gd name="T61" fmla="*/ 68 h 1035"/>
              <a:gd name="T62" fmla="*/ 608 w 1077"/>
              <a:gd name="T63" fmla="*/ 797 h 1035"/>
              <a:gd name="T64" fmla="*/ 608 w 1077"/>
              <a:gd name="T65" fmla="*/ 827 h 1035"/>
              <a:gd name="T66" fmla="*/ 611 w 1077"/>
              <a:gd name="T67" fmla="*/ 879 h 1035"/>
              <a:gd name="T68" fmla="*/ 618 w 1077"/>
              <a:gd name="T69" fmla="*/ 920 h 1035"/>
              <a:gd name="T70" fmla="*/ 629 w 1077"/>
              <a:gd name="T71" fmla="*/ 951 h 1035"/>
              <a:gd name="T72" fmla="*/ 637 w 1077"/>
              <a:gd name="T73" fmla="*/ 962 h 1035"/>
              <a:gd name="T74" fmla="*/ 646 w 1077"/>
              <a:gd name="T75" fmla="*/ 972 h 1035"/>
              <a:gd name="T76" fmla="*/ 658 w 1077"/>
              <a:gd name="T77" fmla="*/ 981 h 1035"/>
              <a:gd name="T78" fmla="*/ 687 w 1077"/>
              <a:gd name="T79" fmla="*/ 991 h 1035"/>
              <a:gd name="T80" fmla="*/ 725 w 1077"/>
              <a:gd name="T81" fmla="*/ 997 h 1035"/>
              <a:gd name="T82" fmla="*/ 773 w 1077"/>
              <a:gd name="T83" fmla="*/ 999 h 1035"/>
              <a:gd name="T84" fmla="*/ 304 w 1077"/>
              <a:gd name="T85" fmla="*/ 1035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7" h="1035">
                <a:moveTo>
                  <a:pt x="304" y="999"/>
                </a:moveTo>
                <a:lnTo>
                  <a:pt x="304" y="999"/>
                </a:lnTo>
                <a:lnTo>
                  <a:pt x="329" y="998"/>
                </a:lnTo>
                <a:lnTo>
                  <a:pt x="352" y="997"/>
                </a:lnTo>
                <a:lnTo>
                  <a:pt x="372" y="995"/>
                </a:lnTo>
                <a:lnTo>
                  <a:pt x="391" y="991"/>
                </a:lnTo>
                <a:lnTo>
                  <a:pt x="406" y="987"/>
                </a:lnTo>
                <a:lnTo>
                  <a:pt x="419" y="981"/>
                </a:lnTo>
                <a:lnTo>
                  <a:pt x="426" y="977"/>
                </a:lnTo>
                <a:lnTo>
                  <a:pt x="431" y="972"/>
                </a:lnTo>
                <a:lnTo>
                  <a:pt x="436" y="967"/>
                </a:lnTo>
                <a:lnTo>
                  <a:pt x="441" y="962"/>
                </a:lnTo>
                <a:lnTo>
                  <a:pt x="445" y="957"/>
                </a:lnTo>
                <a:lnTo>
                  <a:pt x="449" y="951"/>
                </a:lnTo>
                <a:lnTo>
                  <a:pt x="455" y="937"/>
                </a:lnTo>
                <a:lnTo>
                  <a:pt x="460" y="920"/>
                </a:lnTo>
                <a:lnTo>
                  <a:pt x="464" y="901"/>
                </a:lnTo>
                <a:lnTo>
                  <a:pt x="466" y="879"/>
                </a:lnTo>
                <a:lnTo>
                  <a:pt x="468" y="855"/>
                </a:lnTo>
                <a:lnTo>
                  <a:pt x="469" y="827"/>
                </a:lnTo>
                <a:lnTo>
                  <a:pt x="469" y="797"/>
                </a:lnTo>
                <a:lnTo>
                  <a:pt x="469" y="68"/>
                </a:lnTo>
                <a:lnTo>
                  <a:pt x="246" y="68"/>
                </a:lnTo>
                <a:lnTo>
                  <a:pt x="246" y="68"/>
                </a:lnTo>
                <a:lnTo>
                  <a:pt x="217" y="68"/>
                </a:lnTo>
                <a:lnTo>
                  <a:pt x="192" y="69"/>
                </a:lnTo>
                <a:lnTo>
                  <a:pt x="170" y="72"/>
                </a:lnTo>
                <a:lnTo>
                  <a:pt x="150" y="75"/>
                </a:lnTo>
                <a:lnTo>
                  <a:pt x="133" y="79"/>
                </a:lnTo>
                <a:lnTo>
                  <a:pt x="119" y="85"/>
                </a:lnTo>
                <a:lnTo>
                  <a:pt x="105" y="91"/>
                </a:lnTo>
                <a:lnTo>
                  <a:pt x="95" y="98"/>
                </a:lnTo>
                <a:lnTo>
                  <a:pt x="85" y="106"/>
                </a:lnTo>
                <a:lnTo>
                  <a:pt x="78" y="117"/>
                </a:lnTo>
                <a:lnTo>
                  <a:pt x="71" y="127"/>
                </a:lnTo>
                <a:lnTo>
                  <a:pt x="65" y="139"/>
                </a:lnTo>
                <a:lnTo>
                  <a:pt x="59" y="152"/>
                </a:lnTo>
                <a:lnTo>
                  <a:pt x="54" y="167"/>
                </a:lnTo>
                <a:lnTo>
                  <a:pt x="45" y="198"/>
                </a:lnTo>
                <a:lnTo>
                  <a:pt x="37" y="233"/>
                </a:lnTo>
                <a:lnTo>
                  <a:pt x="0" y="233"/>
                </a:lnTo>
                <a:lnTo>
                  <a:pt x="15" y="0"/>
                </a:lnTo>
                <a:lnTo>
                  <a:pt x="1062" y="0"/>
                </a:lnTo>
                <a:lnTo>
                  <a:pt x="1077" y="233"/>
                </a:lnTo>
                <a:lnTo>
                  <a:pt x="1041" y="233"/>
                </a:lnTo>
                <a:lnTo>
                  <a:pt x="1032" y="198"/>
                </a:lnTo>
                <a:lnTo>
                  <a:pt x="1032" y="198"/>
                </a:lnTo>
                <a:lnTo>
                  <a:pt x="1023" y="167"/>
                </a:lnTo>
                <a:lnTo>
                  <a:pt x="1019" y="152"/>
                </a:lnTo>
                <a:lnTo>
                  <a:pt x="1013" y="139"/>
                </a:lnTo>
                <a:lnTo>
                  <a:pt x="1007" y="127"/>
                </a:lnTo>
                <a:lnTo>
                  <a:pt x="1000" y="117"/>
                </a:lnTo>
                <a:lnTo>
                  <a:pt x="992" y="106"/>
                </a:lnTo>
                <a:lnTo>
                  <a:pt x="983" y="98"/>
                </a:lnTo>
                <a:lnTo>
                  <a:pt x="972" y="91"/>
                </a:lnTo>
                <a:lnTo>
                  <a:pt x="958" y="85"/>
                </a:lnTo>
                <a:lnTo>
                  <a:pt x="944" y="79"/>
                </a:lnTo>
                <a:lnTo>
                  <a:pt x="927" y="75"/>
                </a:lnTo>
                <a:lnTo>
                  <a:pt x="907" y="72"/>
                </a:lnTo>
                <a:lnTo>
                  <a:pt x="886" y="69"/>
                </a:lnTo>
                <a:lnTo>
                  <a:pt x="860" y="68"/>
                </a:lnTo>
                <a:lnTo>
                  <a:pt x="832" y="68"/>
                </a:lnTo>
                <a:lnTo>
                  <a:pt x="608" y="68"/>
                </a:lnTo>
                <a:lnTo>
                  <a:pt x="608" y="797"/>
                </a:lnTo>
                <a:lnTo>
                  <a:pt x="608" y="797"/>
                </a:lnTo>
                <a:lnTo>
                  <a:pt x="608" y="827"/>
                </a:lnTo>
                <a:lnTo>
                  <a:pt x="609" y="855"/>
                </a:lnTo>
                <a:lnTo>
                  <a:pt x="611" y="879"/>
                </a:lnTo>
                <a:lnTo>
                  <a:pt x="614" y="901"/>
                </a:lnTo>
                <a:lnTo>
                  <a:pt x="618" y="920"/>
                </a:lnTo>
                <a:lnTo>
                  <a:pt x="622" y="937"/>
                </a:lnTo>
                <a:lnTo>
                  <a:pt x="629" y="951"/>
                </a:lnTo>
                <a:lnTo>
                  <a:pt x="633" y="957"/>
                </a:lnTo>
                <a:lnTo>
                  <a:pt x="637" y="962"/>
                </a:lnTo>
                <a:lnTo>
                  <a:pt x="641" y="967"/>
                </a:lnTo>
                <a:lnTo>
                  <a:pt x="646" y="972"/>
                </a:lnTo>
                <a:lnTo>
                  <a:pt x="651" y="977"/>
                </a:lnTo>
                <a:lnTo>
                  <a:pt x="658" y="981"/>
                </a:lnTo>
                <a:lnTo>
                  <a:pt x="672" y="987"/>
                </a:lnTo>
                <a:lnTo>
                  <a:pt x="687" y="991"/>
                </a:lnTo>
                <a:lnTo>
                  <a:pt x="705" y="995"/>
                </a:lnTo>
                <a:lnTo>
                  <a:pt x="725" y="997"/>
                </a:lnTo>
                <a:lnTo>
                  <a:pt x="748" y="998"/>
                </a:lnTo>
                <a:lnTo>
                  <a:pt x="773" y="999"/>
                </a:lnTo>
                <a:lnTo>
                  <a:pt x="773" y="1035"/>
                </a:lnTo>
                <a:lnTo>
                  <a:pt x="304" y="1035"/>
                </a:lnTo>
                <a:lnTo>
                  <a:pt x="304" y="999"/>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a:p>
        </p:txBody>
      </p:sp>
    </p:spTree>
    <p:extLst>
      <p:ext uri="{BB962C8B-B14F-4D97-AF65-F5344CB8AC3E}">
        <p14:creationId xmlns:p14="http://schemas.microsoft.com/office/powerpoint/2010/main" val="406370648"/>
      </p:ext>
    </p:extLst>
  </p:cSld>
  <p:clrMapOvr>
    <a:masterClrMapping/>
  </p:clrMapOvr>
  <p:extLst mod="1">
    <p:ext uri="{DCECCB84-F9BA-43D5-87BE-67443E8EF086}">
      <p15:sldGuideLst xmlns:p15="http://schemas.microsoft.com/office/powerpoint/2012/main">
        <p15:guide id="1" orient="horz" pos="162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Otsikko ja sisältö Sote-pieni">
    <p:spTree>
      <p:nvGrpSpPr>
        <p:cNvPr id="1" name=""/>
        <p:cNvGrpSpPr/>
        <p:nvPr/>
      </p:nvGrpSpPr>
      <p:grpSpPr>
        <a:xfrm>
          <a:off x="0" y="0"/>
          <a:ext cx="0" cy="0"/>
          <a:chOff x="0" y="0"/>
          <a:chExt cx="0" cy="0"/>
        </a:xfrm>
      </p:grpSpPr>
      <p:sp>
        <p:nvSpPr>
          <p:cNvPr id="10" name="Freeform 6"/>
          <p:cNvSpPr>
            <a:spLocks/>
          </p:cNvSpPr>
          <p:nvPr userDrawn="1"/>
        </p:nvSpPr>
        <p:spPr bwMode="auto">
          <a:xfrm>
            <a:off x="7975600" y="0"/>
            <a:ext cx="1168400" cy="1317625"/>
          </a:xfrm>
          <a:custGeom>
            <a:avLst/>
            <a:gdLst>
              <a:gd name="T0" fmla="*/ 548 w 736"/>
              <a:gd name="T1" fmla="*/ 713 h 830"/>
              <a:gd name="T2" fmla="*/ 548 w 736"/>
              <a:gd name="T3" fmla="*/ 713 h 830"/>
              <a:gd name="T4" fmla="*/ 594 w 736"/>
              <a:gd name="T5" fmla="*/ 745 h 830"/>
              <a:gd name="T6" fmla="*/ 640 w 736"/>
              <a:gd name="T7" fmla="*/ 775 h 830"/>
              <a:gd name="T8" fmla="*/ 688 w 736"/>
              <a:gd name="T9" fmla="*/ 803 h 830"/>
              <a:gd name="T10" fmla="*/ 736 w 736"/>
              <a:gd name="T11" fmla="*/ 830 h 830"/>
              <a:gd name="T12" fmla="*/ 736 w 736"/>
              <a:gd name="T13" fmla="*/ 0 h 830"/>
              <a:gd name="T14" fmla="*/ 0 w 736"/>
              <a:gd name="T15" fmla="*/ 0 h 830"/>
              <a:gd name="T16" fmla="*/ 0 w 736"/>
              <a:gd name="T17" fmla="*/ 0 h 830"/>
              <a:gd name="T18" fmla="*/ 22 w 736"/>
              <a:gd name="T19" fmla="*/ 55 h 830"/>
              <a:gd name="T20" fmla="*/ 46 w 736"/>
              <a:gd name="T21" fmla="*/ 108 h 830"/>
              <a:gd name="T22" fmla="*/ 72 w 736"/>
              <a:gd name="T23" fmla="*/ 161 h 830"/>
              <a:gd name="T24" fmla="*/ 100 w 736"/>
              <a:gd name="T25" fmla="*/ 211 h 830"/>
              <a:gd name="T26" fmla="*/ 129 w 736"/>
              <a:gd name="T27" fmla="*/ 261 h 830"/>
              <a:gd name="T28" fmla="*/ 160 w 736"/>
              <a:gd name="T29" fmla="*/ 309 h 830"/>
              <a:gd name="T30" fmla="*/ 192 w 736"/>
              <a:gd name="T31" fmla="*/ 357 h 830"/>
              <a:gd name="T32" fmla="*/ 226 w 736"/>
              <a:gd name="T33" fmla="*/ 402 h 830"/>
              <a:gd name="T34" fmla="*/ 262 w 736"/>
              <a:gd name="T35" fmla="*/ 445 h 830"/>
              <a:gd name="T36" fmla="*/ 298 w 736"/>
              <a:gd name="T37" fmla="*/ 488 h 830"/>
              <a:gd name="T38" fmla="*/ 338 w 736"/>
              <a:gd name="T39" fmla="*/ 530 h 830"/>
              <a:gd name="T40" fmla="*/ 377 w 736"/>
              <a:gd name="T41" fmla="*/ 569 h 830"/>
              <a:gd name="T42" fmla="*/ 418 w 736"/>
              <a:gd name="T43" fmla="*/ 607 h 830"/>
              <a:gd name="T44" fmla="*/ 460 w 736"/>
              <a:gd name="T45" fmla="*/ 645 h 830"/>
              <a:gd name="T46" fmla="*/ 503 w 736"/>
              <a:gd name="T47" fmla="*/ 679 h 830"/>
              <a:gd name="T48" fmla="*/ 548 w 736"/>
              <a:gd name="T49" fmla="*/ 713 h 830"/>
              <a:gd name="T50" fmla="*/ 548 w 736"/>
              <a:gd name="T51" fmla="*/ 713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830">
                <a:moveTo>
                  <a:pt x="548" y="713"/>
                </a:moveTo>
                <a:lnTo>
                  <a:pt x="548" y="713"/>
                </a:lnTo>
                <a:lnTo>
                  <a:pt x="594" y="745"/>
                </a:lnTo>
                <a:lnTo>
                  <a:pt x="640" y="775"/>
                </a:lnTo>
                <a:lnTo>
                  <a:pt x="688" y="803"/>
                </a:lnTo>
                <a:lnTo>
                  <a:pt x="736" y="830"/>
                </a:lnTo>
                <a:lnTo>
                  <a:pt x="736" y="0"/>
                </a:lnTo>
                <a:lnTo>
                  <a:pt x="0" y="0"/>
                </a:lnTo>
                <a:lnTo>
                  <a:pt x="0" y="0"/>
                </a:lnTo>
                <a:lnTo>
                  <a:pt x="22" y="55"/>
                </a:lnTo>
                <a:lnTo>
                  <a:pt x="46" y="108"/>
                </a:lnTo>
                <a:lnTo>
                  <a:pt x="72" y="161"/>
                </a:lnTo>
                <a:lnTo>
                  <a:pt x="100" y="211"/>
                </a:lnTo>
                <a:lnTo>
                  <a:pt x="129" y="261"/>
                </a:lnTo>
                <a:lnTo>
                  <a:pt x="160" y="309"/>
                </a:lnTo>
                <a:lnTo>
                  <a:pt x="192" y="357"/>
                </a:lnTo>
                <a:lnTo>
                  <a:pt x="226" y="402"/>
                </a:lnTo>
                <a:lnTo>
                  <a:pt x="262" y="445"/>
                </a:lnTo>
                <a:lnTo>
                  <a:pt x="298" y="488"/>
                </a:lnTo>
                <a:lnTo>
                  <a:pt x="338" y="530"/>
                </a:lnTo>
                <a:lnTo>
                  <a:pt x="377" y="569"/>
                </a:lnTo>
                <a:lnTo>
                  <a:pt x="418" y="607"/>
                </a:lnTo>
                <a:lnTo>
                  <a:pt x="460" y="645"/>
                </a:lnTo>
                <a:lnTo>
                  <a:pt x="503" y="679"/>
                </a:lnTo>
                <a:lnTo>
                  <a:pt x="548" y="713"/>
                </a:lnTo>
                <a:lnTo>
                  <a:pt x="548" y="713"/>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3" name="Sisällön paikkamerkki 2"/>
          <p:cNvSpPr>
            <a:spLocks noGrp="1"/>
          </p:cNvSpPr>
          <p:nvPr userDrawn="1">
            <p:ph idx="1"/>
          </p:nvPr>
        </p:nvSpPr>
        <p:spPr>
          <a:xfrm>
            <a:off x="432785" y="1410997"/>
            <a:ext cx="7523591" cy="3393001"/>
          </a:xfrm>
        </p:spPr>
        <p:txBody>
          <a:bodyPr/>
          <a:lstStyle>
            <a:lvl1pPr>
              <a:spcBef>
                <a:spcPts val="400"/>
              </a:spcBef>
              <a:defRPr/>
            </a:lvl1pPr>
            <a:lvl2pPr>
              <a:spcBef>
                <a:spcPts val="400"/>
              </a:spcBef>
              <a:defRPr/>
            </a:lvl2pPr>
            <a:lvl3pPr>
              <a:spcBef>
                <a:spcPts val="400"/>
              </a:spcBef>
              <a:defRPr/>
            </a:lvl3pPr>
            <a:lvl4pPr>
              <a:spcBef>
                <a:spcPts val="400"/>
              </a:spcBef>
              <a:defRPr/>
            </a:lvl4pPr>
            <a:lvl5pPr>
              <a:spcBef>
                <a:spcPts val="400"/>
              </a:spcBef>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8" name="Otsikko 7"/>
          <p:cNvSpPr>
            <a:spLocks noGrp="1"/>
          </p:cNvSpPr>
          <p:nvPr userDrawn="1">
            <p:ph type="title"/>
          </p:nvPr>
        </p:nvSpPr>
        <p:spPr>
          <a:xfrm>
            <a:off x="432785" y="235340"/>
            <a:ext cx="7523591" cy="974270"/>
          </a:xfrm>
        </p:spPr>
        <p:txBody>
          <a:bodyPr/>
          <a:lstStyle>
            <a:lvl1pPr>
              <a:defRPr>
                <a:solidFill>
                  <a:srgbClr val="595965"/>
                </a:solidFill>
              </a:defRPr>
            </a:lvl1pPr>
          </a:lstStyle>
          <a:p>
            <a:r>
              <a:rPr lang="en-US" dirty="0"/>
              <a:t>Click to edit Master title style</a:t>
            </a:r>
            <a:endParaRPr lang="fi-FI" dirty="0"/>
          </a:p>
        </p:txBody>
      </p:sp>
      <p:pic>
        <p:nvPicPr>
          <p:cNvPr id="5" name="Picture 4">
            <a:extLst>
              <a:ext uri="{FF2B5EF4-FFF2-40B4-BE49-F238E27FC236}">
                <a16:creationId xmlns:a16="http://schemas.microsoft.com/office/drawing/2014/main" id="{D7751274-4DD9-C549-B707-1280A51F7A5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24328" y="4699761"/>
            <a:ext cx="1439764" cy="274350"/>
          </a:xfrm>
          <a:prstGeom prst="rect">
            <a:avLst/>
          </a:prstGeom>
        </p:spPr>
      </p:pic>
      <p:pic>
        <p:nvPicPr>
          <p:cNvPr id="6" name="Picture 5">
            <a:extLst>
              <a:ext uri="{FF2B5EF4-FFF2-40B4-BE49-F238E27FC236}">
                <a16:creationId xmlns:a16="http://schemas.microsoft.com/office/drawing/2014/main" id="{4F591584-9FCE-5A4F-A985-77C337C3AB8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604448" y="235340"/>
            <a:ext cx="305495" cy="419486"/>
          </a:xfrm>
          <a:prstGeom prst="rect">
            <a:avLst/>
          </a:prstGeom>
        </p:spPr>
      </p:pic>
    </p:spTree>
    <p:extLst>
      <p:ext uri="{BB962C8B-B14F-4D97-AF65-F5344CB8AC3E}">
        <p14:creationId xmlns:p14="http://schemas.microsoft.com/office/powerpoint/2010/main" val="158306253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Otsikko ja sisältö Sote-pieni">
    <p:spTree>
      <p:nvGrpSpPr>
        <p:cNvPr id="1" name=""/>
        <p:cNvGrpSpPr/>
        <p:nvPr/>
      </p:nvGrpSpPr>
      <p:grpSpPr>
        <a:xfrm>
          <a:off x="0" y="0"/>
          <a:ext cx="0" cy="0"/>
          <a:chOff x="0" y="0"/>
          <a:chExt cx="0" cy="0"/>
        </a:xfrm>
      </p:grpSpPr>
      <p:sp>
        <p:nvSpPr>
          <p:cNvPr id="10" name="Freeform 6"/>
          <p:cNvSpPr>
            <a:spLocks/>
          </p:cNvSpPr>
          <p:nvPr userDrawn="1"/>
        </p:nvSpPr>
        <p:spPr bwMode="auto">
          <a:xfrm>
            <a:off x="7975600" y="0"/>
            <a:ext cx="1168400" cy="1317625"/>
          </a:xfrm>
          <a:custGeom>
            <a:avLst/>
            <a:gdLst>
              <a:gd name="T0" fmla="*/ 548 w 736"/>
              <a:gd name="T1" fmla="*/ 713 h 830"/>
              <a:gd name="T2" fmla="*/ 548 w 736"/>
              <a:gd name="T3" fmla="*/ 713 h 830"/>
              <a:gd name="T4" fmla="*/ 594 w 736"/>
              <a:gd name="T5" fmla="*/ 745 h 830"/>
              <a:gd name="T6" fmla="*/ 640 w 736"/>
              <a:gd name="T7" fmla="*/ 775 h 830"/>
              <a:gd name="T8" fmla="*/ 688 w 736"/>
              <a:gd name="T9" fmla="*/ 803 h 830"/>
              <a:gd name="T10" fmla="*/ 736 w 736"/>
              <a:gd name="T11" fmla="*/ 830 h 830"/>
              <a:gd name="T12" fmla="*/ 736 w 736"/>
              <a:gd name="T13" fmla="*/ 0 h 830"/>
              <a:gd name="T14" fmla="*/ 0 w 736"/>
              <a:gd name="T15" fmla="*/ 0 h 830"/>
              <a:gd name="T16" fmla="*/ 0 w 736"/>
              <a:gd name="T17" fmla="*/ 0 h 830"/>
              <a:gd name="T18" fmla="*/ 22 w 736"/>
              <a:gd name="T19" fmla="*/ 55 h 830"/>
              <a:gd name="T20" fmla="*/ 46 w 736"/>
              <a:gd name="T21" fmla="*/ 108 h 830"/>
              <a:gd name="T22" fmla="*/ 72 w 736"/>
              <a:gd name="T23" fmla="*/ 161 h 830"/>
              <a:gd name="T24" fmla="*/ 100 w 736"/>
              <a:gd name="T25" fmla="*/ 211 h 830"/>
              <a:gd name="T26" fmla="*/ 129 w 736"/>
              <a:gd name="T27" fmla="*/ 261 h 830"/>
              <a:gd name="T28" fmla="*/ 160 w 736"/>
              <a:gd name="T29" fmla="*/ 309 h 830"/>
              <a:gd name="T30" fmla="*/ 192 w 736"/>
              <a:gd name="T31" fmla="*/ 357 h 830"/>
              <a:gd name="T32" fmla="*/ 226 w 736"/>
              <a:gd name="T33" fmla="*/ 402 h 830"/>
              <a:gd name="T34" fmla="*/ 262 w 736"/>
              <a:gd name="T35" fmla="*/ 445 h 830"/>
              <a:gd name="T36" fmla="*/ 298 w 736"/>
              <a:gd name="T37" fmla="*/ 488 h 830"/>
              <a:gd name="T38" fmla="*/ 338 w 736"/>
              <a:gd name="T39" fmla="*/ 530 h 830"/>
              <a:gd name="T40" fmla="*/ 377 w 736"/>
              <a:gd name="T41" fmla="*/ 569 h 830"/>
              <a:gd name="T42" fmla="*/ 418 w 736"/>
              <a:gd name="T43" fmla="*/ 607 h 830"/>
              <a:gd name="T44" fmla="*/ 460 w 736"/>
              <a:gd name="T45" fmla="*/ 645 h 830"/>
              <a:gd name="T46" fmla="*/ 503 w 736"/>
              <a:gd name="T47" fmla="*/ 679 h 830"/>
              <a:gd name="T48" fmla="*/ 548 w 736"/>
              <a:gd name="T49" fmla="*/ 713 h 830"/>
              <a:gd name="T50" fmla="*/ 548 w 736"/>
              <a:gd name="T51" fmla="*/ 713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830">
                <a:moveTo>
                  <a:pt x="548" y="713"/>
                </a:moveTo>
                <a:lnTo>
                  <a:pt x="548" y="713"/>
                </a:lnTo>
                <a:lnTo>
                  <a:pt x="594" y="745"/>
                </a:lnTo>
                <a:lnTo>
                  <a:pt x="640" y="775"/>
                </a:lnTo>
                <a:lnTo>
                  <a:pt x="688" y="803"/>
                </a:lnTo>
                <a:lnTo>
                  <a:pt x="736" y="830"/>
                </a:lnTo>
                <a:lnTo>
                  <a:pt x="736" y="0"/>
                </a:lnTo>
                <a:lnTo>
                  <a:pt x="0" y="0"/>
                </a:lnTo>
                <a:lnTo>
                  <a:pt x="0" y="0"/>
                </a:lnTo>
                <a:lnTo>
                  <a:pt x="22" y="55"/>
                </a:lnTo>
                <a:lnTo>
                  <a:pt x="46" y="108"/>
                </a:lnTo>
                <a:lnTo>
                  <a:pt x="72" y="161"/>
                </a:lnTo>
                <a:lnTo>
                  <a:pt x="100" y="211"/>
                </a:lnTo>
                <a:lnTo>
                  <a:pt x="129" y="261"/>
                </a:lnTo>
                <a:lnTo>
                  <a:pt x="160" y="309"/>
                </a:lnTo>
                <a:lnTo>
                  <a:pt x="192" y="357"/>
                </a:lnTo>
                <a:lnTo>
                  <a:pt x="226" y="402"/>
                </a:lnTo>
                <a:lnTo>
                  <a:pt x="262" y="445"/>
                </a:lnTo>
                <a:lnTo>
                  <a:pt x="298" y="488"/>
                </a:lnTo>
                <a:lnTo>
                  <a:pt x="338" y="530"/>
                </a:lnTo>
                <a:lnTo>
                  <a:pt x="377" y="569"/>
                </a:lnTo>
                <a:lnTo>
                  <a:pt x="418" y="607"/>
                </a:lnTo>
                <a:lnTo>
                  <a:pt x="460" y="645"/>
                </a:lnTo>
                <a:lnTo>
                  <a:pt x="503" y="679"/>
                </a:lnTo>
                <a:lnTo>
                  <a:pt x="548" y="713"/>
                </a:lnTo>
                <a:lnTo>
                  <a:pt x="548" y="713"/>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3" name="Sisällön paikkamerkki 2"/>
          <p:cNvSpPr>
            <a:spLocks noGrp="1"/>
          </p:cNvSpPr>
          <p:nvPr userDrawn="1">
            <p:ph idx="1"/>
          </p:nvPr>
        </p:nvSpPr>
        <p:spPr>
          <a:xfrm>
            <a:off x="432785" y="1410997"/>
            <a:ext cx="7523591" cy="3393001"/>
          </a:xfrm>
        </p:spPr>
        <p:txBody>
          <a:bodyPr/>
          <a:lstStyle>
            <a:lvl1pPr>
              <a:spcBef>
                <a:spcPts val="400"/>
              </a:spcBef>
              <a:defRPr/>
            </a:lvl1pPr>
            <a:lvl2pPr>
              <a:spcBef>
                <a:spcPts val="400"/>
              </a:spcBef>
              <a:defRPr/>
            </a:lvl2pPr>
            <a:lvl3pPr>
              <a:spcBef>
                <a:spcPts val="400"/>
              </a:spcBef>
              <a:defRPr/>
            </a:lvl3pPr>
            <a:lvl4pPr>
              <a:spcBef>
                <a:spcPts val="400"/>
              </a:spcBef>
              <a:defRPr/>
            </a:lvl4pPr>
            <a:lvl5pPr>
              <a:spcBef>
                <a:spcPts val="400"/>
              </a:spcBef>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8" name="Otsikko 7"/>
          <p:cNvSpPr>
            <a:spLocks noGrp="1"/>
          </p:cNvSpPr>
          <p:nvPr userDrawn="1">
            <p:ph type="title"/>
          </p:nvPr>
        </p:nvSpPr>
        <p:spPr>
          <a:xfrm>
            <a:off x="432785" y="235340"/>
            <a:ext cx="7523591" cy="974270"/>
          </a:xfrm>
        </p:spPr>
        <p:txBody>
          <a:bodyPr/>
          <a:lstStyle>
            <a:lvl1pPr>
              <a:defRPr>
                <a:solidFill>
                  <a:srgbClr val="595965"/>
                </a:solidFill>
              </a:defRPr>
            </a:lvl1pPr>
          </a:lstStyle>
          <a:p>
            <a:r>
              <a:rPr lang="en-US" dirty="0"/>
              <a:t>Click to edit Master title style</a:t>
            </a:r>
            <a:endParaRPr lang="fi-FI" dirty="0"/>
          </a:p>
        </p:txBody>
      </p:sp>
      <p:pic>
        <p:nvPicPr>
          <p:cNvPr id="6" name="Picture 5">
            <a:extLst>
              <a:ext uri="{FF2B5EF4-FFF2-40B4-BE49-F238E27FC236}">
                <a16:creationId xmlns:a16="http://schemas.microsoft.com/office/drawing/2014/main" id="{4F591584-9FCE-5A4F-A985-77C337C3AB8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04448" y="235340"/>
            <a:ext cx="305495" cy="419486"/>
          </a:xfrm>
          <a:prstGeom prst="rect">
            <a:avLst/>
          </a:prstGeom>
        </p:spPr>
      </p:pic>
    </p:spTree>
    <p:extLst>
      <p:ext uri="{BB962C8B-B14F-4D97-AF65-F5344CB8AC3E}">
        <p14:creationId xmlns:p14="http://schemas.microsoft.com/office/powerpoint/2010/main" val="39154866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Otsikko ja sisältö Sote-pieni">
    <p:spTree>
      <p:nvGrpSpPr>
        <p:cNvPr id="1" name=""/>
        <p:cNvGrpSpPr/>
        <p:nvPr/>
      </p:nvGrpSpPr>
      <p:grpSpPr>
        <a:xfrm>
          <a:off x="0" y="0"/>
          <a:ext cx="0" cy="0"/>
          <a:chOff x="0" y="0"/>
          <a:chExt cx="0" cy="0"/>
        </a:xfrm>
      </p:grpSpPr>
      <p:sp>
        <p:nvSpPr>
          <p:cNvPr id="10" name="Freeform 6"/>
          <p:cNvSpPr>
            <a:spLocks/>
          </p:cNvSpPr>
          <p:nvPr userDrawn="1"/>
        </p:nvSpPr>
        <p:spPr bwMode="auto">
          <a:xfrm>
            <a:off x="7975600" y="0"/>
            <a:ext cx="1168400" cy="1317625"/>
          </a:xfrm>
          <a:custGeom>
            <a:avLst/>
            <a:gdLst>
              <a:gd name="T0" fmla="*/ 548 w 736"/>
              <a:gd name="T1" fmla="*/ 713 h 830"/>
              <a:gd name="T2" fmla="*/ 548 w 736"/>
              <a:gd name="T3" fmla="*/ 713 h 830"/>
              <a:gd name="T4" fmla="*/ 594 w 736"/>
              <a:gd name="T5" fmla="*/ 745 h 830"/>
              <a:gd name="T6" fmla="*/ 640 w 736"/>
              <a:gd name="T7" fmla="*/ 775 h 830"/>
              <a:gd name="T8" fmla="*/ 688 w 736"/>
              <a:gd name="T9" fmla="*/ 803 h 830"/>
              <a:gd name="T10" fmla="*/ 736 w 736"/>
              <a:gd name="T11" fmla="*/ 830 h 830"/>
              <a:gd name="T12" fmla="*/ 736 w 736"/>
              <a:gd name="T13" fmla="*/ 0 h 830"/>
              <a:gd name="T14" fmla="*/ 0 w 736"/>
              <a:gd name="T15" fmla="*/ 0 h 830"/>
              <a:gd name="T16" fmla="*/ 0 w 736"/>
              <a:gd name="T17" fmla="*/ 0 h 830"/>
              <a:gd name="T18" fmla="*/ 22 w 736"/>
              <a:gd name="T19" fmla="*/ 55 h 830"/>
              <a:gd name="T20" fmla="*/ 46 w 736"/>
              <a:gd name="T21" fmla="*/ 108 h 830"/>
              <a:gd name="T22" fmla="*/ 72 w 736"/>
              <a:gd name="T23" fmla="*/ 161 h 830"/>
              <a:gd name="T24" fmla="*/ 100 w 736"/>
              <a:gd name="T25" fmla="*/ 211 h 830"/>
              <a:gd name="T26" fmla="*/ 129 w 736"/>
              <a:gd name="T27" fmla="*/ 261 h 830"/>
              <a:gd name="T28" fmla="*/ 160 w 736"/>
              <a:gd name="T29" fmla="*/ 309 h 830"/>
              <a:gd name="T30" fmla="*/ 192 w 736"/>
              <a:gd name="T31" fmla="*/ 357 h 830"/>
              <a:gd name="T32" fmla="*/ 226 w 736"/>
              <a:gd name="T33" fmla="*/ 402 h 830"/>
              <a:gd name="T34" fmla="*/ 262 w 736"/>
              <a:gd name="T35" fmla="*/ 445 h 830"/>
              <a:gd name="T36" fmla="*/ 298 w 736"/>
              <a:gd name="T37" fmla="*/ 488 h 830"/>
              <a:gd name="T38" fmla="*/ 338 w 736"/>
              <a:gd name="T39" fmla="*/ 530 h 830"/>
              <a:gd name="T40" fmla="*/ 377 w 736"/>
              <a:gd name="T41" fmla="*/ 569 h 830"/>
              <a:gd name="T42" fmla="*/ 418 w 736"/>
              <a:gd name="T43" fmla="*/ 607 h 830"/>
              <a:gd name="T44" fmla="*/ 460 w 736"/>
              <a:gd name="T45" fmla="*/ 645 h 830"/>
              <a:gd name="T46" fmla="*/ 503 w 736"/>
              <a:gd name="T47" fmla="*/ 679 h 830"/>
              <a:gd name="T48" fmla="*/ 548 w 736"/>
              <a:gd name="T49" fmla="*/ 713 h 830"/>
              <a:gd name="T50" fmla="*/ 548 w 736"/>
              <a:gd name="T51" fmla="*/ 713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830">
                <a:moveTo>
                  <a:pt x="548" y="713"/>
                </a:moveTo>
                <a:lnTo>
                  <a:pt x="548" y="713"/>
                </a:lnTo>
                <a:lnTo>
                  <a:pt x="594" y="745"/>
                </a:lnTo>
                <a:lnTo>
                  <a:pt x="640" y="775"/>
                </a:lnTo>
                <a:lnTo>
                  <a:pt x="688" y="803"/>
                </a:lnTo>
                <a:lnTo>
                  <a:pt x="736" y="830"/>
                </a:lnTo>
                <a:lnTo>
                  <a:pt x="736" y="0"/>
                </a:lnTo>
                <a:lnTo>
                  <a:pt x="0" y="0"/>
                </a:lnTo>
                <a:lnTo>
                  <a:pt x="0" y="0"/>
                </a:lnTo>
                <a:lnTo>
                  <a:pt x="22" y="55"/>
                </a:lnTo>
                <a:lnTo>
                  <a:pt x="46" y="108"/>
                </a:lnTo>
                <a:lnTo>
                  <a:pt x="72" y="161"/>
                </a:lnTo>
                <a:lnTo>
                  <a:pt x="100" y="211"/>
                </a:lnTo>
                <a:lnTo>
                  <a:pt x="129" y="261"/>
                </a:lnTo>
                <a:lnTo>
                  <a:pt x="160" y="309"/>
                </a:lnTo>
                <a:lnTo>
                  <a:pt x="192" y="357"/>
                </a:lnTo>
                <a:lnTo>
                  <a:pt x="226" y="402"/>
                </a:lnTo>
                <a:lnTo>
                  <a:pt x="262" y="445"/>
                </a:lnTo>
                <a:lnTo>
                  <a:pt x="298" y="488"/>
                </a:lnTo>
                <a:lnTo>
                  <a:pt x="338" y="530"/>
                </a:lnTo>
                <a:lnTo>
                  <a:pt x="377" y="569"/>
                </a:lnTo>
                <a:lnTo>
                  <a:pt x="418" y="607"/>
                </a:lnTo>
                <a:lnTo>
                  <a:pt x="460" y="645"/>
                </a:lnTo>
                <a:lnTo>
                  <a:pt x="503" y="679"/>
                </a:lnTo>
                <a:lnTo>
                  <a:pt x="548" y="713"/>
                </a:lnTo>
                <a:lnTo>
                  <a:pt x="548" y="713"/>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3" name="Sisällön paikkamerkki 2"/>
          <p:cNvSpPr>
            <a:spLocks noGrp="1"/>
          </p:cNvSpPr>
          <p:nvPr userDrawn="1">
            <p:ph idx="1"/>
          </p:nvPr>
        </p:nvSpPr>
        <p:spPr>
          <a:xfrm>
            <a:off x="432785" y="1317625"/>
            <a:ext cx="7523591" cy="3486373"/>
          </a:xfrm>
        </p:spPr>
        <p:txBody>
          <a:bodyPr/>
          <a:lstStyle>
            <a:lvl1pPr>
              <a:spcBef>
                <a:spcPts val="400"/>
              </a:spcBef>
              <a:defRPr/>
            </a:lvl1pPr>
            <a:lvl2pPr>
              <a:spcBef>
                <a:spcPts val="400"/>
              </a:spcBef>
              <a:defRPr/>
            </a:lvl2pPr>
            <a:lvl3pPr>
              <a:spcBef>
                <a:spcPts val="400"/>
              </a:spcBef>
              <a:defRPr/>
            </a:lvl3pPr>
            <a:lvl4pPr>
              <a:spcBef>
                <a:spcPts val="400"/>
              </a:spcBef>
              <a:defRPr/>
            </a:lvl4pPr>
            <a:lvl5pPr>
              <a:spcBef>
                <a:spcPts val="400"/>
              </a:spcBef>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8" name="Otsikko 7"/>
          <p:cNvSpPr>
            <a:spLocks noGrp="1"/>
          </p:cNvSpPr>
          <p:nvPr userDrawn="1">
            <p:ph type="title"/>
          </p:nvPr>
        </p:nvSpPr>
        <p:spPr>
          <a:xfrm>
            <a:off x="432785" y="235340"/>
            <a:ext cx="7523591" cy="974270"/>
          </a:xfrm>
        </p:spPr>
        <p:txBody>
          <a:bodyPr/>
          <a:lstStyle>
            <a:lvl1pPr>
              <a:defRPr>
                <a:solidFill>
                  <a:srgbClr val="595965"/>
                </a:solidFill>
              </a:defRPr>
            </a:lvl1pPr>
          </a:lstStyle>
          <a:p>
            <a:r>
              <a:rPr lang="en-US" dirty="0"/>
              <a:t>Click to edit Master title style</a:t>
            </a:r>
            <a:endParaRPr lang="fi-FI" dirty="0"/>
          </a:p>
        </p:txBody>
      </p:sp>
      <p:pic>
        <p:nvPicPr>
          <p:cNvPr id="6" name="Picture 5">
            <a:extLst>
              <a:ext uri="{FF2B5EF4-FFF2-40B4-BE49-F238E27FC236}">
                <a16:creationId xmlns:a16="http://schemas.microsoft.com/office/drawing/2014/main" id="{4F591584-9FCE-5A4F-A985-77C337C3AB8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04448" y="235340"/>
            <a:ext cx="305495" cy="419486"/>
          </a:xfrm>
          <a:prstGeom prst="rect">
            <a:avLst/>
          </a:prstGeom>
        </p:spPr>
      </p:pic>
    </p:spTree>
    <p:extLst>
      <p:ext uri="{BB962C8B-B14F-4D97-AF65-F5344CB8AC3E}">
        <p14:creationId xmlns:p14="http://schemas.microsoft.com/office/powerpoint/2010/main" val="207163810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Otsikko ja sisältö Sote ">
    <p:spTree>
      <p:nvGrpSpPr>
        <p:cNvPr id="1" name=""/>
        <p:cNvGrpSpPr/>
        <p:nvPr/>
      </p:nvGrpSpPr>
      <p:grpSpPr>
        <a:xfrm>
          <a:off x="0" y="0"/>
          <a:ext cx="0" cy="0"/>
          <a:chOff x="0" y="0"/>
          <a:chExt cx="0" cy="0"/>
        </a:xfrm>
      </p:grpSpPr>
      <p:grpSp>
        <p:nvGrpSpPr>
          <p:cNvPr id="11" name="Group 10"/>
          <p:cNvGrpSpPr/>
          <p:nvPr userDrawn="1"/>
        </p:nvGrpSpPr>
        <p:grpSpPr>
          <a:xfrm>
            <a:off x="7605713" y="0"/>
            <a:ext cx="1538287" cy="4587875"/>
            <a:chOff x="7631113" y="0"/>
            <a:chExt cx="1538287" cy="4587875"/>
          </a:xfrm>
        </p:grpSpPr>
        <p:sp>
          <p:nvSpPr>
            <p:cNvPr id="7" name="Freeform 5"/>
            <p:cNvSpPr>
              <a:spLocks/>
            </p:cNvSpPr>
            <p:nvPr userDrawn="1"/>
          </p:nvSpPr>
          <p:spPr bwMode="auto">
            <a:xfrm>
              <a:off x="7631113" y="0"/>
              <a:ext cx="1538287" cy="4587875"/>
            </a:xfrm>
            <a:custGeom>
              <a:avLst/>
              <a:gdLst>
                <a:gd name="T0" fmla="*/ 6 w 969"/>
                <a:gd name="T1" fmla="*/ 0 h 2890"/>
                <a:gd name="T2" fmla="*/ 6 w 969"/>
                <a:gd name="T3" fmla="*/ 0 h 2890"/>
                <a:gd name="T4" fmla="*/ 1 w 969"/>
                <a:gd name="T5" fmla="*/ 97 h 2890"/>
                <a:gd name="T6" fmla="*/ 0 w 969"/>
                <a:gd name="T7" fmla="*/ 193 h 2890"/>
                <a:gd name="T8" fmla="*/ 0 w 969"/>
                <a:gd name="T9" fmla="*/ 290 h 2890"/>
                <a:gd name="T10" fmla="*/ 2 w 969"/>
                <a:gd name="T11" fmla="*/ 386 h 2890"/>
                <a:gd name="T12" fmla="*/ 8 w 969"/>
                <a:gd name="T13" fmla="*/ 483 h 2890"/>
                <a:gd name="T14" fmla="*/ 15 w 969"/>
                <a:gd name="T15" fmla="*/ 577 h 2890"/>
                <a:gd name="T16" fmla="*/ 24 w 969"/>
                <a:gd name="T17" fmla="*/ 673 h 2890"/>
                <a:gd name="T18" fmla="*/ 36 w 969"/>
                <a:gd name="T19" fmla="*/ 767 h 2890"/>
                <a:gd name="T20" fmla="*/ 50 w 969"/>
                <a:gd name="T21" fmla="*/ 862 h 2890"/>
                <a:gd name="T22" fmla="*/ 65 w 969"/>
                <a:gd name="T23" fmla="*/ 956 h 2890"/>
                <a:gd name="T24" fmla="*/ 83 w 969"/>
                <a:gd name="T25" fmla="*/ 1048 h 2890"/>
                <a:gd name="T26" fmla="*/ 104 w 969"/>
                <a:gd name="T27" fmla="*/ 1142 h 2890"/>
                <a:gd name="T28" fmla="*/ 125 w 969"/>
                <a:gd name="T29" fmla="*/ 1234 h 2890"/>
                <a:gd name="T30" fmla="*/ 150 w 969"/>
                <a:gd name="T31" fmla="*/ 1325 h 2890"/>
                <a:gd name="T32" fmla="*/ 176 w 969"/>
                <a:gd name="T33" fmla="*/ 1416 h 2890"/>
                <a:gd name="T34" fmla="*/ 204 w 969"/>
                <a:gd name="T35" fmla="*/ 1506 h 2890"/>
                <a:gd name="T36" fmla="*/ 204 w 969"/>
                <a:gd name="T37" fmla="*/ 1506 h 2890"/>
                <a:gd name="T38" fmla="*/ 236 w 969"/>
                <a:gd name="T39" fmla="*/ 1604 h 2890"/>
                <a:gd name="T40" fmla="*/ 272 w 969"/>
                <a:gd name="T41" fmla="*/ 1700 h 2890"/>
                <a:gd name="T42" fmla="*/ 309 w 969"/>
                <a:gd name="T43" fmla="*/ 1794 h 2890"/>
                <a:gd name="T44" fmla="*/ 349 w 969"/>
                <a:gd name="T45" fmla="*/ 1888 h 2890"/>
                <a:gd name="T46" fmla="*/ 389 w 969"/>
                <a:gd name="T47" fmla="*/ 1979 h 2890"/>
                <a:gd name="T48" fmla="*/ 433 w 969"/>
                <a:gd name="T49" fmla="*/ 2069 h 2890"/>
                <a:gd name="T50" fmla="*/ 478 w 969"/>
                <a:gd name="T51" fmla="*/ 2158 h 2890"/>
                <a:gd name="T52" fmla="*/ 526 w 969"/>
                <a:gd name="T53" fmla="*/ 2245 h 2890"/>
                <a:gd name="T54" fmla="*/ 575 w 969"/>
                <a:gd name="T55" fmla="*/ 2331 h 2890"/>
                <a:gd name="T56" fmla="*/ 626 w 969"/>
                <a:gd name="T57" fmla="*/ 2415 h 2890"/>
                <a:gd name="T58" fmla="*/ 679 w 969"/>
                <a:gd name="T59" fmla="*/ 2499 h 2890"/>
                <a:gd name="T60" fmla="*/ 733 w 969"/>
                <a:gd name="T61" fmla="*/ 2580 h 2890"/>
                <a:gd name="T62" fmla="*/ 790 w 969"/>
                <a:gd name="T63" fmla="*/ 2659 h 2890"/>
                <a:gd name="T64" fmla="*/ 847 w 969"/>
                <a:gd name="T65" fmla="*/ 2738 h 2890"/>
                <a:gd name="T66" fmla="*/ 907 w 969"/>
                <a:gd name="T67" fmla="*/ 2815 h 2890"/>
                <a:gd name="T68" fmla="*/ 969 w 969"/>
                <a:gd name="T69" fmla="*/ 2890 h 2890"/>
                <a:gd name="T70" fmla="*/ 969 w 969"/>
                <a:gd name="T71" fmla="*/ 0 h 2890"/>
                <a:gd name="T72" fmla="*/ 6 w 969"/>
                <a:gd name="T73" fmla="*/ 0 h 2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69" h="2890">
                  <a:moveTo>
                    <a:pt x="6" y="0"/>
                  </a:moveTo>
                  <a:lnTo>
                    <a:pt x="6" y="0"/>
                  </a:lnTo>
                  <a:lnTo>
                    <a:pt x="1" y="97"/>
                  </a:lnTo>
                  <a:lnTo>
                    <a:pt x="0" y="193"/>
                  </a:lnTo>
                  <a:lnTo>
                    <a:pt x="0" y="290"/>
                  </a:lnTo>
                  <a:lnTo>
                    <a:pt x="2" y="386"/>
                  </a:lnTo>
                  <a:lnTo>
                    <a:pt x="8" y="483"/>
                  </a:lnTo>
                  <a:lnTo>
                    <a:pt x="15" y="577"/>
                  </a:lnTo>
                  <a:lnTo>
                    <a:pt x="24" y="673"/>
                  </a:lnTo>
                  <a:lnTo>
                    <a:pt x="36" y="767"/>
                  </a:lnTo>
                  <a:lnTo>
                    <a:pt x="50" y="862"/>
                  </a:lnTo>
                  <a:lnTo>
                    <a:pt x="65" y="956"/>
                  </a:lnTo>
                  <a:lnTo>
                    <a:pt x="83" y="1048"/>
                  </a:lnTo>
                  <a:lnTo>
                    <a:pt x="104" y="1142"/>
                  </a:lnTo>
                  <a:lnTo>
                    <a:pt x="125" y="1234"/>
                  </a:lnTo>
                  <a:lnTo>
                    <a:pt x="150" y="1325"/>
                  </a:lnTo>
                  <a:lnTo>
                    <a:pt x="176" y="1416"/>
                  </a:lnTo>
                  <a:lnTo>
                    <a:pt x="204" y="1506"/>
                  </a:lnTo>
                  <a:lnTo>
                    <a:pt x="204" y="1506"/>
                  </a:lnTo>
                  <a:lnTo>
                    <a:pt x="236" y="1604"/>
                  </a:lnTo>
                  <a:lnTo>
                    <a:pt x="272" y="1700"/>
                  </a:lnTo>
                  <a:lnTo>
                    <a:pt x="309" y="1794"/>
                  </a:lnTo>
                  <a:lnTo>
                    <a:pt x="349" y="1888"/>
                  </a:lnTo>
                  <a:lnTo>
                    <a:pt x="389" y="1979"/>
                  </a:lnTo>
                  <a:lnTo>
                    <a:pt x="433" y="2069"/>
                  </a:lnTo>
                  <a:lnTo>
                    <a:pt x="478" y="2158"/>
                  </a:lnTo>
                  <a:lnTo>
                    <a:pt x="526" y="2245"/>
                  </a:lnTo>
                  <a:lnTo>
                    <a:pt x="575" y="2331"/>
                  </a:lnTo>
                  <a:lnTo>
                    <a:pt x="626" y="2415"/>
                  </a:lnTo>
                  <a:lnTo>
                    <a:pt x="679" y="2499"/>
                  </a:lnTo>
                  <a:lnTo>
                    <a:pt x="733" y="2580"/>
                  </a:lnTo>
                  <a:lnTo>
                    <a:pt x="790" y="2659"/>
                  </a:lnTo>
                  <a:lnTo>
                    <a:pt x="847" y="2738"/>
                  </a:lnTo>
                  <a:lnTo>
                    <a:pt x="907" y="2815"/>
                  </a:lnTo>
                  <a:lnTo>
                    <a:pt x="969" y="2890"/>
                  </a:lnTo>
                  <a:lnTo>
                    <a:pt x="969" y="0"/>
                  </a:lnTo>
                  <a:lnTo>
                    <a:pt x="6"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dirty="0"/>
            </a:p>
          </p:txBody>
        </p:sp>
        <p:sp>
          <p:nvSpPr>
            <p:cNvPr id="10" name="Freeform 6"/>
            <p:cNvSpPr>
              <a:spLocks/>
            </p:cNvSpPr>
            <p:nvPr userDrawn="1"/>
          </p:nvSpPr>
          <p:spPr bwMode="auto">
            <a:xfrm>
              <a:off x="8001000" y="0"/>
              <a:ext cx="1168400" cy="1317625"/>
            </a:xfrm>
            <a:custGeom>
              <a:avLst/>
              <a:gdLst>
                <a:gd name="T0" fmla="*/ 548 w 736"/>
                <a:gd name="T1" fmla="*/ 713 h 830"/>
                <a:gd name="T2" fmla="*/ 548 w 736"/>
                <a:gd name="T3" fmla="*/ 713 h 830"/>
                <a:gd name="T4" fmla="*/ 594 w 736"/>
                <a:gd name="T5" fmla="*/ 745 h 830"/>
                <a:gd name="T6" fmla="*/ 640 w 736"/>
                <a:gd name="T7" fmla="*/ 775 h 830"/>
                <a:gd name="T8" fmla="*/ 688 w 736"/>
                <a:gd name="T9" fmla="*/ 803 h 830"/>
                <a:gd name="T10" fmla="*/ 736 w 736"/>
                <a:gd name="T11" fmla="*/ 830 h 830"/>
                <a:gd name="T12" fmla="*/ 736 w 736"/>
                <a:gd name="T13" fmla="*/ 0 h 830"/>
                <a:gd name="T14" fmla="*/ 0 w 736"/>
                <a:gd name="T15" fmla="*/ 0 h 830"/>
                <a:gd name="T16" fmla="*/ 0 w 736"/>
                <a:gd name="T17" fmla="*/ 0 h 830"/>
                <a:gd name="T18" fmla="*/ 22 w 736"/>
                <a:gd name="T19" fmla="*/ 55 h 830"/>
                <a:gd name="T20" fmla="*/ 46 w 736"/>
                <a:gd name="T21" fmla="*/ 108 h 830"/>
                <a:gd name="T22" fmla="*/ 72 w 736"/>
                <a:gd name="T23" fmla="*/ 161 h 830"/>
                <a:gd name="T24" fmla="*/ 100 w 736"/>
                <a:gd name="T25" fmla="*/ 211 h 830"/>
                <a:gd name="T26" fmla="*/ 129 w 736"/>
                <a:gd name="T27" fmla="*/ 261 h 830"/>
                <a:gd name="T28" fmla="*/ 160 w 736"/>
                <a:gd name="T29" fmla="*/ 309 h 830"/>
                <a:gd name="T30" fmla="*/ 192 w 736"/>
                <a:gd name="T31" fmla="*/ 357 h 830"/>
                <a:gd name="T32" fmla="*/ 226 w 736"/>
                <a:gd name="T33" fmla="*/ 402 h 830"/>
                <a:gd name="T34" fmla="*/ 262 w 736"/>
                <a:gd name="T35" fmla="*/ 445 h 830"/>
                <a:gd name="T36" fmla="*/ 298 w 736"/>
                <a:gd name="T37" fmla="*/ 488 h 830"/>
                <a:gd name="T38" fmla="*/ 338 w 736"/>
                <a:gd name="T39" fmla="*/ 530 h 830"/>
                <a:gd name="T40" fmla="*/ 377 w 736"/>
                <a:gd name="T41" fmla="*/ 569 h 830"/>
                <a:gd name="T42" fmla="*/ 418 w 736"/>
                <a:gd name="T43" fmla="*/ 607 h 830"/>
                <a:gd name="T44" fmla="*/ 460 w 736"/>
                <a:gd name="T45" fmla="*/ 645 h 830"/>
                <a:gd name="T46" fmla="*/ 503 w 736"/>
                <a:gd name="T47" fmla="*/ 679 h 830"/>
                <a:gd name="T48" fmla="*/ 548 w 736"/>
                <a:gd name="T49" fmla="*/ 713 h 830"/>
                <a:gd name="T50" fmla="*/ 548 w 736"/>
                <a:gd name="T51" fmla="*/ 713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830">
                  <a:moveTo>
                    <a:pt x="548" y="713"/>
                  </a:moveTo>
                  <a:lnTo>
                    <a:pt x="548" y="713"/>
                  </a:lnTo>
                  <a:lnTo>
                    <a:pt x="594" y="745"/>
                  </a:lnTo>
                  <a:lnTo>
                    <a:pt x="640" y="775"/>
                  </a:lnTo>
                  <a:lnTo>
                    <a:pt x="688" y="803"/>
                  </a:lnTo>
                  <a:lnTo>
                    <a:pt x="736" y="830"/>
                  </a:lnTo>
                  <a:lnTo>
                    <a:pt x="736" y="0"/>
                  </a:lnTo>
                  <a:lnTo>
                    <a:pt x="0" y="0"/>
                  </a:lnTo>
                  <a:lnTo>
                    <a:pt x="0" y="0"/>
                  </a:lnTo>
                  <a:lnTo>
                    <a:pt x="22" y="55"/>
                  </a:lnTo>
                  <a:lnTo>
                    <a:pt x="46" y="108"/>
                  </a:lnTo>
                  <a:lnTo>
                    <a:pt x="72" y="161"/>
                  </a:lnTo>
                  <a:lnTo>
                    <a:pt x="100" y="211"/>
                  </a:lnTo>
                  <a:lnTo>
                    <a:pt x="129" y="261"/>
                  </a:lnTo>
                  <a:lnTo>
                    <a:pt x="160" y="309"/>
                  </a:lnTo>
                  <a:lnTo>
                    <a:pt x="192" y="357"/>
                  </a:lnTo>
                  <a:lnTo>
                    <a:pt x="226" y="402"/>
                  </a:lnTo>
                  <a:lnTo>
                    <a:pt x="262" y="445"/>
                  </a:lnTo>
                  <a:lnTo>
                    <a:pt x="298" y="488"/>
                  </a:lnTo>
                  <a:lnTo>
                    <a:pt x="338" y="530"/>
                  </a:lnTo>
                  <a:lnTo>
                    <a:pt x="377" y="569"/>
                  </a:lnTo>
                  <a:lnTo>
                    <a:pt x="418" y="607"/>
                  </a:lnTo>
                  <a:lnTo>
                    <a:pt x="460" y="645"/>
                  </a:lnTo>
                  <a:lnTo>
                    <a:pt x="503" y="679"/>
                  </a:lnTo>
                  <a:lnTo>
                    <a:pt x="548" y="713"/>
                  </a:lnTo>
                  <a:lnTo>
                    <a:pt x="548" y="71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dirty="0"/>
            </a:p>
          </p:txBody>
        </p:sp>
      </p:grpSp>
      <p:sp>
        <p:nvSpPr>
          <p:cNvPr id="3" name="Sisällön paikkamerkki 2"/>
          <p:cNvSpPr>
            <a:spLocks noGrp="1"/>
          </p:cNvSpPr>
          <p:nvPr userDrawn="1">
            <p:ph idx="1"/>
          </p:nvPr>
        </p:nvSpPr>
        <p:spPr>
          <a:xfrm>
            <a:off x="432785" y="1410997"/>
            <a:ext cx="7523591" cy="3393001"/>
          </a:xfrm>
        </p:spPr>
        <p:txBody>
          <a:bodyPr/>
          <a:lstStyle>
            <a:lvl1pPr>
              <a:defRPr>
                <a:solidFill>
                  <a:srgbClr val="595965"/>
                </a:solidFill>
              </a:defRPr>
            </a:lvl1pPr>
            <a:lvl2pPr>
              <a:defRPr>
                <a:solidFill>
                  <a:srgbClr val="595965"/>
                </a:solidFill>
              </a:defRPr>
            </a:lvl2pPr>
            <a:lvl3pPr>
              <a:defRPr>
                <a:solidFill>
                  <a:srgbClr val="595965"/>
                </a:solidFill>
              </a:defRPr>
            </a:lvl3pPr>
            <a:lvl4pPr>
              <a:defRPr>
                <a:solidFill>
                  <a:srgbClr val="595965"/>
                </a:solidFill>
              </a:defRPr>
            </a:lvl4pPr>
            <a:lvl5pPr>
              <a:defRPr>
                <a:solidFill>
                  <a:srgbClr val="595965"/>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8" name="Otsikko 7"/>
          <p:cNvSpPr>
            <a:spLocks noGrp="1"/>
          </p:cNvSpPr>
          <p:nvPr userDrawn="1">
            <p:ph type="title"/>
          </p:nvPr>
        </p:nvSpPr>
        <p:spPr>
          <a:xfrm>
            <a:off x="432785" y="235340"/>
            <a:ext cx="7523591" cy="974270"/>
          </a:xfrm>
        </p:spPr>
        <p:txBody>
          <a:bodyPr/>
          <a:lstStyle>
            <a:lvl1pPr>
              <a:defRPr>
                <a:solidFill>
                  <a:srgbClr val="595965"/>
                </a:solidFill>
              </a:defRPr>
            </a:lvl1pPr>
          </a:lstStyle>
          <a:p>
            <a:r>
              <a:rPr lang="en-US" dirty="0"/>
              <a:t>Click to edit Master title style</a:t>
            </a:r>
            <a:endParaRPr lang="fi-FI" dirty="0"/>
          </a:p>
        </p:txBody>
      </p:sp>
      <p:pic>
        <p:nvPicPr>
          <p:cNvPr id="4" name="Picture 3">
            <a:extLst>
              <a:ext uri="{FF2B5EF4-FFF2-40B4-BE49-F238E27FC236}">
                <a16:creationId xmlns:a16="http://schemas.microsoft.com/office/drawing/2014/main" id="{754219E2-E925-5346-9128-1CC5851983C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24328" y="4699761"/>
            <a:ext cx="1439764" cy="274350"/>
          </a:xfrm>
          <a:prstGeom prst="rect">
            <a:avLst/>
          </a:prstGeom>
        </p:spPr>
      </p:pic>
      <p:pic>
        <p:nvPicPr>
          <p:cNvPr id="9" name="Picture 8">
            <a:extLst>
              <a:ext uri="{FF2B5EF4-FFF2-40B4-BE49-F238E27FC236}">
                <a16:creationId xmlns:a16="http://schemas.microsoft.com/office/drawing/2014/main" id="{6A34F243-EB61-D748-AAD4-903B490D52C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604448" y="235340"/>
            <a:ext cx="305495" cy="419486"/>
          </a:xfrm>
          <a:prstGeom prst="rect">
            <a:avLst/>
          </a:prstGeom>
        </p:spPr>
      </p:pic>
    </p:spTree>
    <p:extLst>
      <p:ext uri="{BB962C8B-B14F-4D97-AF65-F5344CB8AC3E}">
        <p14:creationId xmlns:p14="http://schemas.microsoft.com/office/powerpoint/2010/main" val="138465364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_Otsikko ja sisältö Sote">
    <p:spTree>
      <p:nvGrpSpPr>
        <p:cNvPr id="1" name=""/>
        <p:cNvGrpSpPr/>
        <p:nvPr/>
      </p:nvGrpSpPr>
      <p:grpSpPr>
        <a:xfrm>
          <a:off x="0" y="0"/>
          <a:ext cx="0" cy="0"/>
          <a:chOff x="0" y="0"/>
          <a:chExt cx="0" cy="0"/>
        </a:xfrm>
      </p:grpSpPr>
      <p:grpSp>
        <p:nvGrpSpPr>
          <p:cNvPr id="42" name="Group 41"/>
          <p:cNvGrpSpPr/>
          <p:nvPr userDrawn="1"/>
        </p:nvGrpSpPr>
        <p:grpSpPr>
          <a:xfrm>
            <a:off x="6788150" y="0"/>
            <a:ext cx="2355850" cy="5143501"/>
            <a:chOff x="6788150" y="0"/>
            <a:chExt cx="2355850" cy="5143501"/>
          </a:xfrm>
        </p:grpSpPr>
        <p:sp>
          <p:nvSpPr>
            <p:cNvPr id="31" name="Freeform 22"/>
            <p:cNvSpPr>
              <a:spLocks/>
            </p:cNvSpPr>
            <p:nvPr userDrawn="1"/>
          </p:nvSpPr>
          <p:spPr bwMode="auto">
            <a:xfrm>
              <a:off x="7845425" y="4103688"/>
              <a:ext cx="1298575" cy="1039813"/>
            </a:xfrm>
            <a:custGeom>
              <a:avLst/>
              <a:gdLst>
                <a:gd name="T0" fmla="*/ 482 w 818"/>
                <a:gd name="T1" fmla="*/ 0 h 655"/>
                <a:gd name="T2" fmla="*/ 483 w 818"/>
                <a:gd name="T3" fmla="*/ 0 h 655"/>
                <a:gd name="T4" fmla="*/ 483 w 818"/>
                <a:gd name="T5" fmla="*/ 0 h 655"/>
                <a:gd name="T6" fmla="*/ 482 w 818"/>
                <a:gd name="T7" fmla="*/ 0 h 655"/>
                <a:gd name="T8" fmla="*/ 482 w 818"/>
                <a:gd name="T9" fmla="*/ 0 h 655"/>
                <a:gd name="T10" fmla="*/ 482 w 818"/>
                <a:gd name="T11" fmla="*/ 0 h 655"/>
                <a:gd name="T12" fmla="*/ 442 w 818"/>
                <a:gd name="T13" fmla="*/ 40 h 655"/>
                <a:gd name="T14" fmla="*/ 404 w 818"/>
                <a:gd name="T15" fmla="*/ 79 h 655"/>
                <a:gd name="T16" fmla="*/ 369 w 818"/>
                <a:gd name="T17" fmla="*/ 118 h 655"/>
                <a:gd name="T18" fmla="*/ 334 w 818"/>
                <a:gd name="T19" fmla="*/ 156 h 655"/>
                <a:gd name="T20" fmla="*/ 303 w 818"/>
                <a:gd name="T21" fmla="*/ 194 h 655"/>
                <a:gd name="T22" fmla="*/ 271 w 818"/>
                <a:gd name="T23" fmla="*/ 232 h 655"/>
                <a:gd name="T24" fmla="*/ 242 w 818"/>
                <a:gd name="T25" fmla="*/ 269 h 655"/>
                <a:gd name="T26" fmla="*/ 214 w 818"/>
                <a:gd name="T27" fmla="*/ 309 h 655"/>
                <a:gd name="T28" fmla="*/ 186 w 818"/>
                <a:gd name="T29" fmla="*/ 347 h 655"/>
                <a:gd name="T30" fmla="*/ 159 w 818"/>
                <a:gd name="T31" fmla="*/ 387 h 655"/>
                <a:gd name="T32" fmla="*/ 132 w 818"/>
                <a:gd name="T33" fmla="*/ 428 h 655"/>
                <a:gd name="T34" fmla="*/ 106 w 818"/>
                <a:gd name="T35" fmla="*/ 469 h 655"/>
                <a:gd name="T36" fmla="*/ 80 w 818"/>
                <a:gd name="T37" fmla="*/ 513 h 655"/>
                <a:gd name="T38" fmla="*/ 53 w 818"/>
                <a:gd name="T39" fmla="*/ 558 h 655"/>
                <a:gd name="T40" fmla="*/ 0 w 818"/>
                <a:gd name="T41" fmla="*/ 655 h 655"/>
                <a:gd name="T42" fmla="*/ 818 w 818"/>
                <a:gd name="T43" fmla="*/ 655 h 655"/>
                <a:gd name="T44" fmla="*/ 818 w 818"/>
                <a:gd name="T45" fmla="*/ 163 h 655"/>
                <a:gd name="T46" fmla="*/ 818 w 818"/>
                <a:gd name="T47" fmla="*/ 163 h 655"/>
                <a:gd name="T48" fmla="*/ 795 w 818"/>
                <a:gd name="T49" fmla="*/ 157 h 655"/>
                <a:gd name="T50" fmla="*/ 772 w 818"/>
                <a:gd name="T51" fmla="*/ 148 h 655"/>
                <a:gd name="T52" fmla="*/ 746 w 818"/>
                <a:gd name="T53" fmla="*/ 136 h 655"/>
                <a:gd name="T54" fmla="*/ 719 w 818"/>
                <a:gd name="T55" fmla="*/ 125 h 655"/>
                <a:gd name="T56" fmla="*/ 663 w 818"/>
                <a:gd name="T57" fmla="*/ 98 h 655"/>
                <a:gd name="T58" fmla="*/ 609 w 818"/>
                <a:gd name="T59" fmla="*/ 70 h 655"/>
                <a:gd name="T60" fmla="*/ 559 w 818"/>
                <a:gd name="T61" fmla="*/ 43 h 655"/>
                <a:gd name="T62" fmla="*/ 519 w 818"/>
                <a:gd name="T63" fmla="*/ 22 h 655"/>
                <a:gd name="T64" fmla="*/ 482 w 818"/>
                <a:gd name="T65" fmla="*/ 0 h 655"/>
                <a:gd name="T66" fmla="*/ 482 w 818"/>
                <a:gd name="T67" fmla="*/ 0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18" h="655">
                  <a:moveTo>
                    <a:pt x="482" y="0"/>
                  </a:moveTo>
                  <a:lnTo>
                    <a:pt x="483" y="0"/>
                  </a:lnTo>
                  <a:lnTo>
                    <a:pt x="483" y="0"/>
                  </a:lnTo>
                  <a:lnTo>
                    <a:pt x="482" y="0"/>
                  </a:lnTo>
                  <a:lnTo>
                    <a:pt x="482" y="0"/>
                  </a:lnTo>
                  <a:lnTo>
                    <a:pt x="482" y="0"/>
                  </a:lnTo>
                  <a:lnTo>
                    <a:pt x="442" y="40"/>
                  </a:lnTo>
                  <a:lnTo>
                    <a:pt x="404" y="79"/>
                  </a:lnTo>
                  <a:lnTo>
                    <a:pt x="369" y="118"/>
                  </a:lnTo>
                  <a:lnTo>
                    <a:pt x="334" y="156"/>
                  </a:lnTo>
                  <a:lnTo>
                    <a:pt x="303" y="194"/>
                  </a:lnTo>
                  <a:lnTo>
                    <a:pt x="271" y="232"/>
                  </a:lnTo>
                  <a:lnTo>
                    <a:pt x="242" y="269"/>
                  </a:lnTo>
                  <a:lnTo>
                    <a:pt x="214" y="309"/>
                  </a:lnTo>
                  <a:lnTo>
                    <a:pt x="186" y="347"/>
                  </a:lnTo>
                  <a:lnTo>
                    <a:pt x="159" y="387"/>
                  </a:lnTo>
                  <a:lnTo>
                    <a:pt x="132" y="428"/>
                  </a:lnTo>
                  <a:lnTo>
                    <a:pt x="106" y="469"/>
                  </a:lnTo>
                  <a:lnTo>
                    <a:pt x="80" y="513"/>
                  </a:lnTo>
                  <a:lnTo>
                    <a:pt x="53" y="558"/>
                  </a:lnTo>
                  <a:lnTo>
                    <a:pt x="0" y="655"/>
                  </a:lnTo>
                  <a:lnTo>
                    <a:pt x="818" y="655"/>
                  </a:lnTo>
                  <a:lnTo>
                    <a:pt x="818" y="163"/>
                  </a:lnTo>
                  <a:lnTo>
                    <a:pt x="818" y="163"/>
                  </a:lnTo>
                  <a:lnTo>
                    <a:pt x="795" y="157"/>
                  </a:lnTo>
                  <a:lnTo>
                    <a:pt x="772" y="148"/>
                  </a:lnTo>
                  <a:lnTo>
                    <a:pt x="746" y="136"/>
                  </a:lnTo>
                  <a:lnTo>
                    <a:pt x="719" y="125"/>
                  </a:lnTo>
                  <a:lnTo>
                    <a:pt x="663" y="98"/>
                  </a:lnTo>
                  <a:lnTo>
                    <a:pt x="609" y="70"/>
                  </a:lnTo>
                  <a:lnTo>
                    <a:pt x="559" y="43"/>
                  </a:lnTo>
                  <a:lnTo>
                    <a:pt x="519" y="22"/>
                  </a:lnTo>
                  <a:lnTo>
                    <a:pt x="482" y="0"/>
                  </a:lnTo>
                  <a:lnTo>
                    <a:pt x="482" y="0"/>
                  </a:lnTo>
                  <a:close/>
                </a:path>
              </a:pathLst>
            </a:custGeom>
            <a:solidFill>
              <a:schemeClr val="tx2">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2" name="Freeform 23"/>
            <p:cNvSpPr>
              <a:spLocks/>
            </p:cNvSpPr>
            <p:nvPr userDrawn="1"/>
          </p:nvSpPr>
          <p:spPr bwMode="auto">
            <a:xfrm>
              <a:off x="6788150" y="0"/>
              <a:ext cx="1822450" cy="4084638"/>
            </a:xfrm>
            <a:custGeom>
              <a:avLst/>
              <a:gdLst>
                <a:gd name="T0" fmla="*/ 1148 w 1148"/>
                <a:gd name="T1" fmla="*/ 864 h 2573"/>
                <a:gd name="T2" fmla="*/ 1148 w 1148"/>
                <a:gd name="T3" fmla="*/ 864 h 2573"/>
                <a:gd name="T4" fmla="*/ 1148 w 1148"/>
                <a:gd name="T5" fmla="*/ 864 h 2573"/>
                <a:gd name="T6" fmla="*/ 104 w 1148"/>
                <a:gd name="T7" fmla="*/ 0 h 2573"/>
                <a:gd name="T8" fmla="*/ 19 w 1148"/>
                <a:gd name="T9" fmla="*/ 0 h 2573"/>
                <a:gd name="T10" fmla="*/ 11 w 1148"/>
                <a:gd name="T11" fmla="*/ 77 h 2573"/>
                <a:gd name="T12" fmla="*/ 1 w 1148"/>
                <a:gd name="T13" fmla="*/ 230 h 2573"/>
                <a:gd name="T14" fmla="*/ 0 w 1148"/>
                <a:gd name="T15" fmla="*/ 381 h 2573"/>
                <a:gd name="T16" fmla="*/ 7 w 1148"/>
                <a:gd name="T17" fmla="*/ 533 h 2573"/>
                <a:gd name="T18" fmla="*/ 21 w 1148"/>
                <a:gd name="T19" fmla="*/ 683 h 2573"/>
                <a:gd name="T20" fmla="*/ 45 w 1148"/>
                <a:gd name="T21" fmla="*/ 831 h 2573"/>
                <a:gd name="T22" fmla="*/ 75 w 1148"/>
                <a:gd name="T23" fmla="*/ 978 h 2573"/>
                <a:gd name="T24" fmla="*/ 115 w 1148"/>
                <a:gd name="T25" fmla="*/ 1122 h 2573"/>
                <a:gd name="T26" fmla="*/ 136 w 1148"/>
                <a:gd name="T27" fmla="*/ 1193 h 2573"/>
                <a:gd name="T28" fmla="*/ 173 w 1148"/>
                <a:gd name="T29" fmla="*/ 1299 h 2573"/>
                <a:gd name="T30" fmla="*/ 214 w 1148"/>
                <a:gd name="T31" fmla="*/ 1404 h 2573"/>
                <a:gd name="T32" fmla="*/ 259 w 1148"/>
                <a:gd name="T33" fmla="*/ 1505 h 2573"/>
                <a:gd name="T34" fmla="*/ 307 w 1148"/>
                <a:gd name="T35" fmla="*/ 1604 h 2573"/>
                <a:gd name="T36" fmla="*/ 359 w 1148"/>
                <a:gd name="T37" fmla="*/ 1701 h 2573"/>
                <a:gd name="T38" fmla="*/ 414 w 1148"/>
                <a:gd name="T39" fmla="*/ 1794 h 2573"/>
                <a:gd name="T40" fmla="*/ 473 w 1148"/>
                <a:gd name="T41" fmla="*/ 1886 h 2573"/>
                <a:gd name="T42" fmla="*/ 534 w 1148"/>
                <a:gd name="T43" fmla="*/ 1973 h 2573"/>
                <a:gd name="T44" fmla="*/ 600 w 1148"/>
                <a:gd name="T45" fmla="*/ 2059 h 2573"/>
                <a:gd name="T46" fmla="*/ 667 w 1148"/>
                <a:gd name="T47" fmla="*/ 2142 h 2573"/>
                <a:gd name="T48" fmla="*/ 738 w 1148"/>
                <a:gd name="T49" fmla="*/ 2221 h 2573"/>
                <a:gd name="T50" fmla="*/ 811 w 1148"/>
                <a:gd name="T51" fmla="*/ 2297 h 2573"/>
                <a:gd name="T52" fmla="*/ 888 w 1148"/>
                <a:gd name="T53" fmla="*/ 2372 h 2573"/>
                <a:gd name="T54" fmla="*/ 966 w 1148"/>
                <a:gd name="T55" fmla="*/ 2441 h 2573"/>
                <a:gd name="T56" fmla="*/ 1049 w 1148"/>
                <a:gd name="T57" fmla="*/ 2509 h 2573"/>
                <a:gd name="T58" fmla="*/ 1132 w 1148"/>
                <a:gd name="T59" fmla="*/ 2573 h 2573"/>
                <a:gd name="T60" fmla="*/ 1131 w 1148"/>
                <a:gd name="T61" fmla="*/ 2553 h 2573"/>
                <a:gd name="T62" fmla="*/ 1131 w 1148"/>
                <a:gd name="T63" fmla="*/ 2304 h 2573"/>
                <a:gd name="T64" fmla="*/ 1144 w 1148"/>
                <a:gd name="T65" fmla="*/ 1131 h 2573"/>
                <a:gd name="T66" fmla="*/ 1148 w 1148"/>
                <a:gd name="T67" fmla="*/ 864 h 2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48" h="2573">
                  <a:moveTo>
                    <a:pt x="1148" y="864"/>
                  </a:moveTo>
                  <a:lnTo>
                    <a:pt x="1148" y="864"/>
                  </a:lnTo>
                  <a:lnTo>
                    <a:pt x="1148" y="864"/>
                  </a:lnTo>
                  <a:lnTo>
                    <a:pt x="1148" y="864"/>
                  </a:lnTo>
                  <a:lnTo>
                    <a:pt x="1148" y="864"/>
                  </a:lnTo>
                  <a:lnTo>
                    <a:pt x="1148" y="864"/>
                  </a:lnTo>
                  <a:lnTo>
                    <a:pt x="663" y="0"/>
                  </a:lnTo>
                  <a:lnTo>
                    <a:pt x="104" y="0"/>
                  </a:lnTo>
                  <a:lnTo>
                    <a:pt x="86" y="0"/>
                  </a:lnTo>
                  <a:lnTo>
                    <a:pt x="19" y="0"/>
                  </a:lnTo>
                  <a:lnTo>
                    <a:pt x="19" y="0"/>
                  </a:lnTo>
                  <a:lnTo>
                    <a:pt x="11" y="77"/>
                  </a:lnTo>
                  <a:lnTo>
                    <a:pt x="6" y="153"/>
                  </a:lnTo>
                  <a:lnTo>
                    <a:pt x="1" y="230"/>
                  </a:lnTo>
                  <a:lnTo>
                    <a:pt x="0" y="306"/>
                  </a:lnTo>
                  <a:lnTo>
                    <a:pt x="0" y="381"/>
                  </a:lnTo>
                  <a:lnTo>
                    <a:pt x="2" y="458"/>
                  </a:lnTo>
                  <a:lnTo>
                    <a:pt x="7" y="533"/>
                  </a:lnTo>
                  <a:lnTo>
                    <a:pt x="14" y="609"/>
                  </a:lnTo>
                  <a:lnTo>
                    <a:pt x="21" y="683"/>
                  </a:lnTo>
                  <a:lnTo>
                    <a:pt x="33" y="757"/>
                  </a:lnTo>
                  <a:lnTo>
                    <a:pt x="45" y="831"/>
                  </a:lnTo>
                  <a:lnTo>
                    <a:pt x="60" y="905"/>
                  </a:lnTo>
                  <a:lnTo>
                    <a:pt x="75" y="978"/>
                  </a:lnTo>
                  <a:lnTo>
                    <a:pt x="95" y="1050"/>
                  </a:lnTo>
                  <a:lnTo>
                    <a:pt x="115" y="1122"/>
                  </a:lnTo>
                  <a:lnTo>
                    <a:pt x="136" y="1193"/>
                  </a:lnTo>
                  <a:lnTo>
                    <a:pt x="136" y="1193"/>
                  </a:lnTo>
                  <a:lnTo>
                    <a:pt x="154" y="1247"/>
                  </a:lnTo>
                  <a:lnTo>
                    <a:pt x="173" y="1299"/>
                  </a:lnTo>
                  <a:lnTo>
                    <a:pt x="194" y="1351"/>
                  </a:lnTo>
                  <a:lnTo>
                    <a:pt x="214" y="1404"/>
                  </a:lnTo>
                  <a:lnTo>
                    <a:pt x="236" y="1455"/>
                  </a:lnTo>
                  <a:lnTo>
                    <a:pt x="259" y="1505"/>
                  </a:lnTo>
                  <a:lnTo>
                    <a:pt x="282" y="1555"/>
                  </a:lnTo>
                  <a:lnTo>
                    <a:pt x="307" y="1604"/>
                  </a:lnTo>
                  <a:lnTo>
                    <a:pt x="333" y="1653"/>
                  </a:lnTo>
                  <a:lnTo>
                    <a:pt x="359" y="1701"/>
                  </a:lnTo>
                  <a:lnTo>
                    <a:pt x="386" y="1748"/>
                  </a:lnTo>
                  <a:lnTo>
                    <a:pt x="414" y="1794"/>
                  </a:lnTo>
                  <a:lnTo>
                    <a:pt x="443" y="1841"/>
                  </a:lnTo>
                  <a:lnTo>
                    <a:pt x="473" y="1886"/>
                  </a:lnTo>
                  <a:lnTo>
                    <a:pt x="503" y="1929"/>
                  </a:lnTo>
                  <a:lnTo>
                    <a:pt x="534" y="1973"/>
                  </a:lnTo>
                  <a:lnTo>
                    <a:pt x="567" y="2017"/>
                  </a:lnTo>
                  <a:lnTo>
                    <a:pt x="600" y="2059"/>
                  </a:lnTo>
                  <a:lnTo>
                    <a:pt x="633" y="2100"/>
                  </a:lnTo>
                  <a:lnTo>
                    <a:pt x="667" y="2142"/>
                  </a:lnTo>
                  <a:lnTo>
                    <a:pt x="702" y="2181"/>
                  </a:lnTo>
                  <a:lnTo>
                    <a:pt x="738" y="2221"/>
                  </a:lnTo>
                  <a:lnTo>
                    <a:pt x="774" y="2260"/>
                  </a:lnTo>
                  <a:lnTo>
                    <a:pt x="811" y="2297"/>
                  </a:lnTo>
                  <a:lnTo>
                    <a:pt x="849" y="2334"/>
                  </a:lnTo>
                  <a:lnTo>
                    <a:pt x="888" y="2372"/>
                  </a:lnTo>
                  <a:lnTo>
                    <a:pt x="927" y="2406"/>
                  </a:lnTo>
                  <a:lnTo>
                    <a:pt x="966" y="2441"/>
                  </a:lnTo>
                  <a:lnTo>
                    <a:pt x="1007" y="2476"/>
                  </a:lnTo>
                  <a:lnTo>
                    <a:pt x="1049" y="2509"/>
                  </a:lnTo>
                  <a:lnTo>
                    <a:pt x="1089" y="2541"/>
                  </a:lnTo>
                  <a:lnTo>
                    <a:pt x="1132" y="2573"/>
                  </a:lnTo>
                  <a:lnTo>
                    <a:pt x="1132" y="2573"/>
                  </a:lnTo>
                  <a:lnTo>
                    <a:pt x="1131" y="2553"/>
                  </a:lnTo>
                  <a:lnTo>
                    <a:pt x="1131" y="2498"/>
                  </a:lnTo>
                  <a:lnTo>
                    <a:pt x="1131" y="2304"/>
                  </a:lnTo>
                  <a:lnTo>
                    <a:pt x="1137" y="1717"/>
                  </a:lnTo>
                  <a:lnTo>
                    <a:pt x="1144" y="1131"/>
                  </a:lnTo>
                  <a:lnTo>
                    <a:pt x="1148" y="864"/>
                  </a:lnTo>
                  <a:lnTo>
                    <a:pt x="1148" y="864"/>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3" name="Freeform 24"/>
            <p:cNvSpPr>
              <a:spLocks noEditPoints="1"/>
            </p:cNvSpPr>
            <p:nvPr userDrawn="1"/>
          </p:nvSpPr>
          <p:spPr bwMode="auto">
            <a:xfrm>
              <a:off x="6953250" y="0"/>
              <a:ext cx="2001838" cy="4103688"/>
            </a:xfrm>
            <a:custGeom>
              <a:avLst/>
              <a:gdLst>
                <a:gd name="T0" fmla="*/ 582 w 1261"/>
                <a:gd name="T1" fmla="*/ 0 h 2585"/>
                <a:gd name="T2" fmla="*/ 0 w 1261"/>
                <a:gd name="T3" fmla="*/ 0 h 2585"/>
                <a:gd name="T4" fmla="*/ 6 w 1261"/>
                <a:gd name="T5" fmla="*/ 33 h 2585"/>
                <a:gd name="T6" fmla="*/ 22 w 1261"/>
                <a:gd name="T7" fmla="*/ 97 h 2585"/>
                <a:gd name="T8" fmla="*/ 32 w 1261"/>
                <a:gd name="T9" fmla="*/ 129 h 2585"/>
                <a:gd name="T10" fmla="*/ 63 w 1261"/>
                <a:gd name="T11" fmla="*/ 210 h 2585"/>
                <a:gd name="T12" fmla="*/ 99 w 1261"/>
                <a:gd name="T13" fmla="*/ 288 h 2585"/>
                <a:gd name="T14" fmla="*/ 140 w 1261"/>
                <a:gd name="T15" fmla="*/ 361 h 2585"/>
                <a:gd name="T16" fmla="*/ 186 w 1261"/>
                <a:gd name="T17" fmla="*/ 431 h 2585"/>
                <a:gd name="T18" fmla="*/ 238 w 1261"/>
                <a:gd name="T19" fmla="*/ 495 h 2585"/>
                <a:gd name="T20" fmla="*/ 294 w 1261"/>
                <a:gd name="T21" fmla="*/ 556 h 2585"/>
                <a:gd name="T22" fmla="*/ 355 w 1261"/>
                <a:gd name="T23" fmla="*/ 611 h 2585"/>
                <a:gd name="T24" fmla="*/ 419 w 1261"/>
                <a:gd name="T25" fmla="*/ 660 h 2585"/>
                <a:gd name="T26" fmla="*/ 454 w 1261"/>
                <a:gd name="T27" fmla="*/ 686 h 2585"/>
                <a:gd name="T28" fmla="*/ 528 w 1261"/>
                <a:gd name="T29" fmla="*/ 730 h 2585"/>
                <a:gd name="T30" fmla="*/ 604 w 1261"/>
                <a:gd name="T31" fmla="*/ 768 h 2585"/>
                <a:gd name="T32" fmla="*/ 681 w 1261"/>
                <a:gd name="T33" fmla="*/ 801 h 2585"/>
                <a:gd name="T34" fmla="*/ 761 w 1261"/>
                <a:gd name="T35" fmla="*/ 826 h 2585"/>
                <a:gd name="T36" fmla="*/ 841 w 1261"/>
                <a:gd name="T37" fmla="*/ 845 h 2585"/>
                <a:gd name="T38" fmla="*/ 922 w 1261"/>
                <a:gd name="T39" fmla="*/ 857 h 2585"/>
                <a:gd name="T40" fmla="*/ 1003 w 1261"/>
                <a:gd name="T41" fmla="*/ 863 h 2585"/>
                <a:gd name="T42" fmla="*/ 1044 w 1261"/>
                <a:gd name="T43" fmla="*/ 864 h 2585"/>
                <a:gd name="T44" fmla="*/ 976 w 1261"/>
                <a:gd name="T45" fmla="*/ 918 h 2585"/>
                <a:gd name="T46" fmla="*/ 913 w 1261"/>
                <a:gd name="T47" fmla="*/ 977 h 2585"/>
                <a:gd name="T48" fmla="*/ 857 w 1261"/>
                <a:gd name="T49" fmla="*/ 1038 h 2585"/>
                <a:gd name="T50" fmla="*/ 805 w 1261"/>
                <a:gd name="T51" fmla="*/ 1104 h 2585"/>
                <a:gd name="T52" fmla="*/ 759 w 1261"/>
                <a:gd name="T53" fmla="*/ 1173 h 2585"/>
                <a:gd name="T54" fmla="*/ 720 w 1261"/>
                <a:gd name="T55" fmla="*/ 1245 h 2585"/>
                <a:gd name="T56" fmla="*/ 686 w 1261"/>
                <a:gd name="T57" fmla="*/ 1320 h 2585"/>
                <a:gd name="T58" fmla="*/ 658 w 1261"/>
                <a:gd name="T59" fmla="*/ 1396 h 2585"/>
                <a:gd name="T60" fmla="*/ 645 w 1261"/>
                <a:gd name="T61" fmla="*/ 1438 h 2585"/>
                <a:gd name="T62" fmla="*/ 625 w 1261"/>
                <a:gd name="T63" fmla="*/ 1521 h 2585"/>
                <a:gd name="T64" fmla="*/ 612 w 1261"/>
                <a:gd name="T65" fmla="*/ 1605 h 2585"/>
                <a:gd name="T66" fmla="*/ 606 w 1261"/>
                <a:gd name="T67" fmla="*/ 1689 h 2585"/>
                <a:gd name="T68" fmla="*/ 606 w 1261"/>
                <a:gd name="T69" fmla="*/ 1772 h 2585"/>
                <a:gd name="T70" fmla="*/ 614 w 1261"/>
                <a:gd name="T71" fmla="*/ 1854 h 2585"/>
                <a:gd name="T72" fmla="*/ 626 w 1261"/>
                <a:gd name="T73" fmla="*/ 1935 h 2585"/>
                <a:gd name="T74" fmla="*/ 645 w 1261"/>
                <a:gd name="T75" fmla="*/ 2015 h 2585"/>
                <a:gd name="T76" fmla="*/ 658 w 1261"/>
                <a:gd name="T77" fmla="*/ 2053 h 2585"/>
                <a:gd name="T78" fmla="*/ 688 w 1261"/>
                <a:gd name="T79" fmla="*/ 2135 h 2585"/>
                <a:gd name="T80" fmla="*/ 724 w 1261"/>
                <a:gd name="T81" fmla="*/ 2212 h 2585"/>
                <a:gd name="T82" fmla="*/ 766 w 1261"/>
                <a:gd name="T83" fmla="*/ 2286 h 2585"/>
                <a:gd name="T84" fmla="*/ 812 w 1261"/>
                <a:gd name="T85" fmla="*/ 2355 h 2585"/>
                <a:gd name="T86" fmla="*/ 864 w 1261"/>
                <a:gd name="T87" fmla="*/ 2420 h 2585"/>
                <a:gd name="T88" fmla="*/ 920 w 1261"/>
                <a:gd name="T89" fmla="*/ 2480 h 2585"/>
                <a:gd name="T90" fmla="*/ 979 w 1261"/>
                <a:gd name="T91" fmla="*/ 2535 h 2585"/>
                <a:gd name="T92" fmla="*/ 1044 w 1261"/>
                <a:gd name="T93" fmla="*/ 2585 h 2585"/>
                <a:gd name="T94" fmla="*/ 1044 w 1261"/>
                <a:gd name="T95" fmla="*/ 2585 h 2585"/>
                <a:gd name="T96" fmla="*/ 1261 w 1261"/>
                <a:gd name="T97" fmla="*/ 2376 h 2585"/>
                <a:gd name="T98" fmla="*/ 1044 w 1261"/>
                <a:gd name="T99" fmla="*/ 864 h 2585"/>
                <a:gd name="T100" fmla="*/ 1044 w 1261"/>
                <a:gd name="T101" fmla="*/ 864 h 2585"/>
                <a:gd name="T102" fmla="*/ 1044 w 1261"/>
                <a:gd name="T103" fmla="*/ 864 h 2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61" h="2585">
                  <a:moveTo>
                    <a:pt x="1255" y="0"/>
                  </a:moveTo>
                  <a:lnTo>
                    <a:pt x="582" y="0"/>
                  </a:lnTo>
                  <a:lnTo>
                    <a:pt x="470" y="0"/>
                  </a:lnTo>
                  <a:lnTo>
                    <a:pt x="0" y="0"/>
                  </a:lnTo>
                  <a:lnTo>
                    <a:pt x="0" y="0"/>
                  </a:lnTo>
                  <a:lnTo>
                    <a:pt x="6" y="33"/>
                  </a:lnTo>
                  <a:lnTo>
                    <a:pt x="14" y="65"/>
                  </a:lnTo>
                  <a:lnTo>
                    <a:pt x="22" y="97"/>
                  </a:lnTo>
                  <a:lnTo>
                    <a:pt x="32" y="129"/>
                  </a:lnTo>
                  <a:lnTo>
                    <a:pt x="32" y="129"/>
                  </a:lnTo>
                  <a:lnTo>
                    <a:pt x="47" y="170"/>
                  </a:lnTo>
                  <a:lnTo>
                    <a:pt x="63" y="210"/>
                  </a:lnTo>
                  <a:lnTo>
                    <a:pt x="79" y="250"/>
                  </a:lnTo>
                  <a:lnTo>
                    <a:pt x="99" y="288"/>
                  </a:lnTo>
                  <a:lnTo>
                    <a:pt x="119" y="325"/>
                  </a:lnTo>
                  <a:lnTo>
                    <a:pt x="140" y="361"/>
                  </a:lnTo>
                  <a:lnTo>
                    <a:pt x="163" y="396"/>
                  </a:lnTo>
                  <a:lnTo>
                    <a:pt x="186" y="431"/>
                  </a:lnTo>
                  <a:lnTo>
                    <a:pt x="212" y="464"/>
                  </a:lnTo>
                  <a:lnTo>
                    <a:pt x="238" y="495"/>
                  </a:lnTo>
                  <a:lnTo>
                    <a:pt x="266" y="525"/>
                  </a:lnTo>
                  <a:lnTo>
                    <a:pt x="294" y="556"/>
                  </a:lnTo>
                  <a:lnTo>
                    <a:pt x="324" y="584"/>
                  </a:lnTo>
                  <a:lnTo>
                    <a:pt x="355" y="611"/>
                  </a:lnTo>
                  <a:lnTo>
                    <a:pt x="387" y="637"/>
                  </a:lnTo>
                  <a:lnTo>
                    <a:pt x="419" y="660"/>
                  </a:lnTo>
                  <a:lnTo>
                    <a:pt x="419" y="660"/>
                  </a:lnTo>
                  <a:lnTo>
                    <a:pt x="454" y="686"/>
                  </a:lnTo>
                  <a:lnTo>
                    <a:pt x="491" y="709"/>
                  </a:lnTo>
                  <a:lnTo>
                    <a:pt x="528" y="730"/>
                  </a:lnTo>
                  <a:lnTo>
                    <a:pt x="565" y="750"/>
                  </a:lnTo>
                  <a:lnTo>
                    <a:pt x="604" y="768"/>
                  </a:lnTo>
                  <a:lnTo>
                    <a:pt x="642" y="785"/>
                  </a:lnTo>
                  <a:lnTo>
                    <a:pt x="681" y="801"/>
                  </a:lnTo>
                  <a:lnTo>
                    <a:pt x="721" y="815"/>
                  </a:lnTo>
                  <a:lnTo>
                    <a:pt x="761" y="826"/>
                  </a:lnTo>
                  <a:lnTo>
                    <a:pt x="801" y="836"/>
                  </a:lnTo>
                  <a:lnTo>
                    <a:pt x="841" y="845"/>
                  </a:lnTo>
                  <a:lnTo>
                    <a:pt x="882" y="852"/>
                  </a:lnTo>
                  <a:lnTo>
                    <a:pt x="922" y="857"/>
                  </a:lnTo>
                  <a:lnTo>
                    <a:pt x="963" y="861"/>
                  </a:lnTo>
                  <a:lnTo>
                    <a:pt x="1003" y="863"/>
                  </a:lnTo>
                  <a:lnTo>
                    <a:pt x="1044" y="864"/>
                  </a:lnTo>
                  <a:lnTo>
                    <a:pt x="1044" y="864"/>
                  </a:lnTo>
                  <a:lnTo>
                    <a:pt x="1010" y="890"/>
                  </a:lnTo>
                  <a:lnTo>
                    <a:pt x="976" y="918"/>
                  </a:lnTo>
                  <a:lnTo>
                    <a:pt x="943" y="946"/>
                  </a:lnTo>
                  <a:lnTo>
                    <a:pt x="913" y="977"/>
                  </a:lnTo>
                  <a:lnTo>
                    <a:pt x="884" y="1007"/>
                  </a:lnTo>
                  <a:lnTo>
                    <a:pt x="857" y="1038"/>
                  </a:lnTo>
                  <a:lnTo>
                    <a:pt x="830" y="1071"/>
                  </a:lnTo>
                  <a:lnTo>
                    <a:pt x="805" y="1104"/>
                  </a:lnTo>
                  <a:lnTo>
                    <a:pt x="781" y="1139"/>
                  </a:lnTo>
                  <a:lnTo>
                    <a:pt x="759" y="1173"/>
                  </a:lnTo>
                  <a:lnTo>
                    <a:pt x="739" y="1208"/>
                  </a:lnTo>
                  <a:lnTo>
                    <a:pt x="720" y="1245"/>
                  </a:lnTo>
                  <a:lnTo>
                    <a:pt x="702" y="1281"/>
                  </a:lnTo>
                  <a:lnTo>
                    <a:pt x="686" y="1320"/>
                  </a:lnTo>
                  <a:lnTo>
                    <a:pt x="671" y="1358"/>
                  </a:lnTo>
                  <a:lnTo>
                    <a:pt x="658" y="1396"/>
                  </a:lnTo>
                  <a:lnTo>
                    <a:pt x="658" y="1396"/>
                  </a:lnTo>
                  <a:lnTo>
                    <a:pt x="645" y="1438"/>
                  </a:lnTo>
                  <a:lnTo>
                    <a:pt x="634" y="1479"/>
                  </a:lnTo>
                  <a:lnTo>
                    <a:pt x="625" y="1521"/>
                  </a:lnTo>
                  <a:lnTo>
                    <a:pt x="617" y="1564"/>
                  </a:lnTo>
                  <a:lnTo>
                    <a:pt x="612" y="1605"/>
                  </a:lnTo>
                  <a:lnTo>
                    <a:pt x="608" y="1647"/>
                  </a:lnTo>
                  <a:lnTo>
                    <a:pt x="606" y="1689"/>
                  </a:lnTo>
                  <a:lnTo>
                    <a:pt x="605" y="1730"/>
                  </a:lnTo>
                  <a:lnTo>
                    <a:pt x="606" y="1772"/>
                  </a:lnTo>
                  <a:lnTo>
                    <a:pt x="609" y="1814"/>
                  </a:lnTo>
                  <a:lnTo>
                    <a:pt x="614" y="1854"/>
                  </a:lnTo>
                  <a:lnTo>
                    <a:pt x="619" y="1895"/>
                  </a:lnTo>
                  <a:lnTo>
                    <a:pt x="626" y="1935"/>
                  </a:lnTo>
                  <a:lnTo>
                    <a:pt x="635" y="1974"/>
                  </a:lnTo>
                  <a:lnTo>
                    <a:pt x="645" y="2015"/>
                  </a:lnTo>
                  <a:lnTo>
                    <a:pt x="658" y="2053"/>
                  </a:lnTo>
                  <a:lnTo>
                    <a:pt x="658" y="2053"/>
                  </a:lnTo>
                  <a:lnTo>
                    <a:pt x="672" y="2095"/>
                  </a:lnTo>
                  <a:lnTo>
                    <a:pt x="688" y="2135"/>
                  </a:lnTo>
                  <a:lnTo>
                    <a:pt x="705" y="2174"/>
                  </a:lnTo>
                  <a:lnTo>
                    <a:pt x="724" y="2212"/>
                  </a:lnTo>
                  <a:lnTo>
                    <a:pt x="744" y="2249"/>
                  </a:lnTo>
                  <a:lnTo>
                    <a:pt x="766" y="2286"/>
                  </a:lnTo>
                  <a:lnTo>
                    <a:pt x="788" y="2321"/>
                  </a:lnTo>
                  <a:lnTo>
                    <a:pt x="812" y="2355"/>
                  </a:lnTo>
                  <a:lnTo>
                    <a:pt x="838" y="2387"/>
                  </a:lnTo>
                  <a:lnTo>
                    <a:pt x="864" y="2420"/>
                  </a:lnTo>
                  <a:lnTo>
                    <a:pt x="891" y="2450"/>
                  </a:lnTo>
                  <a:lnTo>
                    <a:pt x="920" y="2480"/>
                  </a:lnTo>
                  <a:lnTo>
                    <a:pt x="949" y="2508"/>
                  </a:lnTo>
                  <a:lnTo>
                    <a:pt x="979" y="2535"/>
                  </a:lnTo>
                  <a:lnTo>
                    <a:pt x="1012" y="2561"/>
                  </a:lnTo>
                  <a:lnTo>
                    <a:pt x="1044" y="2585"/>
                  </a:lnTo>
                  <a:lnTo>
                    <a:pt x="1044" y="2585"/>
                  </a:lnTo>
                  <a:lnTo>
                    <a:pt x="1044" y="2585"/>
                  </a:lnTo>
                  <a:lnTo>
                    <a:pt x="1044" y="2585"/>
                  </a:lnTo>
                  <a:lnTo>
                    <a:pt x="1261" y="2376"/>
                  </a:lnTo>
                  <a:lnTo>
                    <a:pt x="1255" y="0"/>
                  </a:lnTo>
                  <a:close/>
                  <a:moveTo>
                    <a:pt x="1044" y="864"/>
                  </a:moveTo>
                  <a:lnTo>
                    <a:pt x="1044" y="864"/>
                  </a:lnTo>
                  <a:lnTo>
                    <a:pt x="1044" y="864"/>
                  </a:lnTo>
                  <a:lnTo>
                    <a:pt x="1045" y="864"/>
                  </a:lnTo>
                  <a:lnTo>
                    <a:pt x="1044" y="864"/>
                  </a:lnTo>
                  <a:close/>
                </a:path>
              </a:pathLst>
            </a:custGeom>
            <a:solidFill>
              <a:schemeClr val="accent4">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dirty="0"/>
            </a:p>
          </p:txBody>
        </p:sp>
        <p:sp>
          <p:nvSpPr>
            <p:cNvPr id="34" name="Freeform 25"/>
            <p:cNvSpPr>
              <a:spLocks/>
            </p:cNvSpPr>
            <p:nvPr userDrawn="1"/>
          </p:nvSpPr>
          <p:spPr bwMode="auto">
            <a:xfrm>
              <a:off x="7877175" y="0"/>
              <a:ext cx="1266825" cy="4103688"/>
            </a:xfrm>
            <a:custGeom>
              <a:avLst/>
              <a:gdLst>
                <a:gd name="T0" fmla="*/ 0 w 798"/>
                <a:gd name="T1" fmla="*/ 0 h 2585"/>
                <a:gd name="T2" fmla="*/ 73 w 798"/>
                <a:gd name="T3" fmla="*/ 96 h 2585"/>
                <a:gd name="T4" fmla="*/ 142 w 798"/>
                <a:gd name="T5" fmla="*/ 196 h 2585"/>
                <a:gd name="T6" fmla="*/ 206 w 798"/>
                <a:gd name="T7" fmla="*/ 299 h 2585"/>
                <a:gd name="T8" fmla="*/ 267 w 798"/>
                <a:gd name="T9" fmla="*/ 405 h 2585"/>
                <a:gd name="T10" fmla="*/ 322 w 798"/>
                <a:gd name="T11" fmla="*/ 515 h 2585"/>
                <a:gd name="T12" fmla="*/ 374 w 798"/>
                <a:gd name="T13" fmla="*/ 629 h 2585"/>
                <a:gd name="T14" fmla="*/ 420 w 798"/>
                <a:gd name="T15" fmla="*/ 745 h 2585"/>
                <a:gd name="T16" fmla="*/ 462 w 798"/>
                <a:gd name="T17" fmla="*/ 864 h 2585"/>
                <a:gd name="T18" fmla="*/ 463 w 798"/>
                <a:gd name="T19" fmla="*/ 864 h 2585"/>
                <a:gd name="T20" fmla="*/ 462 w 798"/>
                <a:gd name="T21" fmla="*/ 864 h 2585"/>
                <a:gd name="T22" fmla="*/ 462 w 798"/>
                <a:gd name="T23" fmla="*/ 864 h 2585"/>
                <a:gd name="T24" fmla="*/ 478 w 798"/>
                <a:gd name="T25" fmla="*/ 915 h 2585"/>
                <a:gd name="T26" fmla="*/ 508 w 798"/>
                <a:gd name="T27" fmla="*/ 1017 h 2585"/>
                <a:gd name="T28" fmla="*/ 532 w 798"/>
                <a:gd name="T29" fmla="*/ 1122 h 2585"/>
                <a:gd name="T30" fmla="*/ 554 w 798"/>
                <a:gd name="T31" fmla="*/ 1226 h 2585"/>
                <a:gd name="T32" fmla="*/ 571 w 798"/>
                <a:gd name="T33" fmla="*/ 1332 h 2585"/>
                <a:gd name="T34" fmla="*/ 584 w 798"/>
                <a:gd name="T35" fmla="*/ 1439 h 2585"/>
                <a:gd name="T36" fmla="*/ 593 w 798"/>
                <a:gd name="T37" fmla="*/ 1547 h 2585"/>
                <a:gd name="T38" fmla="*/ 598 w 798"/>
                <a:gd name="T39" fmla="*/ 1655 h 2585"/>
                <a:gd name="T40" fmla="*/ 599 w 798"/>
                <a:gd name="T41" fmla="*/ 1763 h 2585"/>
                <a:gd name="T42" fmla="*/ 595 w 798"/>
                <a:gd name="T43" fmla="*/ 1873 h 2585"/>
                <a:gd name="T44" fmla="*/ 586 w 798"/>
                <a:gd name="T45" fmla="*/ 1982 h 2585"/>
                <a:gd name="T46" fmla="*/ 574 w 798"/>
                <a:gd name="T47" fmla="*/ 2091 h 2585"/>
                <a:gd name="T48" fmla="*/ 557 w 798"/>
                <a:gd name="T49" fmla="*/ 2202 h 2585"/>
                <a:gd name="T50" fmla="*/ 536 w 798"/>
                <a:gd name="T51" fmla="*/ 2312 h 2585"/>
                <a:gd name="T52" fmla="*/ 510 w 798"/>
                <a:gd name="T53" fmla="*/ 2421 h 2585"/>
                <a:gd name="T54" fmla="*/ 480 w 798"/>
                <a:gd name="T55" fmla="*/ 2530 h 2585"/>
                <a:gd name="T56" fmla="*/ 462 w 798"/>
                <a:gd name="T57" fmla="*/ 2585 h 2585"/>
                <a:gd name="T58" fmla="*/ 597 w 798"/>
                <a:gd name="T59" fmla="*/ 2529 h 2585"/>
                <a:gd name="T60" fmla="*/ 675 w 798"/>
                <a:gd name="T61" fmla="*/ 2492 h 2585"/>
                <a:gd name="T62" fmla="*/ 798 w 798"/>
                <a:gd name="T63" fmla="*/ 2430 h 2585"/>
                <a:gd name="T64" fmla="*/ 798 w 798"/>
                <a:gd name="T65" fmla="*/ 0 h 2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98" h="2585">
                  <a:moveTo>
                    <a:pt x="0" y="0"/>
                  </a:moveTo>
                  <a:lnTo>
                    <a:pt x="0" y="0"/>
                  </a:lnTo>
                  <a:lnTo>
                    <a:pt x="37" y="47"/>
                  </a:lnTo>
                  <a:lnTo>
                    <a:pt x="73" y="96"/>
                  </a:lnTo>
                  <a:lnTo>
                    <a:pt x="108" y="145"/>
                  </a:lnTo>
                  <a:lnTo>
                    <a:pt x="142" y="196"/>
                  </a:lnTo>
                  <a:lnTo>
                    <a:pt x="175" y="246"/>
                  </a:lnTo>
                  <a:lnTo>
                    <a:pt x="206" y="299"/>
                  </a:lnTo>
                  <a:lnTo>
                    <a:pt x="237" y="352"/>
                  </a:lnTo>
                  <a:lnTo>
                    <a:pt x="267" y="405"/>
                  </a:lnTo>
                  <a:lnTo>
                    <a:pt x="295" y="460"/>
                  </a:lnTo>
                  <a:lnTo>
                    <a:pt x="322" y="515"/>
                  </a:lnTo>
                  <a:lnTo>
                    <a:pt x="349" y="572"/>
                  </a:lnTo>
                  <a:lnTo>
                    <a:pt x="374" y="629"/>
                  </a:lnTo>
                  <a:lnTo>
                    <a:pt x="397" y="686"/>
                  </a:lnTo>
                  <a:lnTo>
                    <a:pt x="420" y="745"/>
                  </a:lnTo>
                  <a:lnTo>
                    <a:pt x="441" y="804"/>
                  </a:lnTo>
                  <a:lnTo>
                    <a:pt x="462" y="864"/>
                  </a:lnTo>
                  <a:lnTo>
                    <a:pt x="462" y="864"/>
                  </a:lnTo>
                  <a:lnTo>
                    <a:pt x="463" y="864"/>
                  </a:lnTo>
                  <a:lnTo>
                    <a:pt x="463" y="864"/>
                  </a:lnTo>
                  <a:lnTo>
                    <a:pt x="462" y="864"/>
                  </a:lnTo>
                  <a:lnTo>
                    <a:pt x="462" y="864"/>
                  </a:lnTo>
                  <a:lnTo>
                    <a:pt x="462" y="864"/>
                  </a:lnTo>
                  <a:lnTo>
                    <a:pt x="462" y="864"/>
                  </a:lnTo>
                  <a:lnTo>
                    <a:pt x="478" y="915"/>
                  </a:lnTo>
                  <a:lnTo>
                    <a:pt x="493" y="966"/>
                  </a:lnTo>
                  <a:lnTo>
                    <a:pt x="508" y="1017"/>
                  </a:lnTo>
                  <a:lnTo>
                    <a:pt x="520" y="1069"/>
                  </a:lnTo>
                  <a:lnTo>
                    <a:pt x="532" y="1122"/>
                  </a:lnTo>
                  <a:lnTo>
                    <a:pt x="544" y="1173"/>
                  </a:lnTo>
                  <a:lnTo>
                    <a:pt x="554" y="1226"/>
                  </a:lnTo>
                  <a:lnTo>
                    <a:pt x="563" y="1279"/>
                  </a:lnTo>
                  <a:lnTo>
                    <a:pt x="571" y="1332"/>
                  </a:lnTo>
                  <a:lnTo>
                    <a:pt x="579" y="1386"/>
                  </a:lnTo>
                  <a:lnTo>
                    <a:pt x="584" y="1439"/>
                  </a:lnTo>
                  <a:lnTo>
                    <a:pt x="590" y="1493"/>
                  </a:lnTo>
                  <a:lnTo>
                    <a:pt x="593" y="1547"/>
                  </a:lnTo>
                  <a:lnTo>
                    <a:pt x="597" y="1601"/>
                  </a:lnTo>
                  <a:lnTo>
                    <a:pt x="598" y="1655"/>
                  </a:lnTo>
                  <a:lnTo>
                    <a:pt x="599" y="1709"/>
                  </a:lnTo>
                  <a:lnTo>
                    <a:pt x="599" y="1763"/>
                  </a:lnTo>
                  <a:lnTo>
                    <a:pt x="598" y="1818"/>
                  </a:lnTo>
                  <a:lnTo>
                    <a:pt x="595" y="1873"/>
                  </a:lnTo>
                  <a:lnTo>
                    <a:pt x="592" y="1927"/>
                  </a:lnTo>
                  <a:lnTo>
                    <a:pt x="586" y="1982"/>
                  </a:lnTo>
                  <a:lnTo>
                    <a:pt x="581" y="2037"/>
                  </a:lnTo>
                  <a:lnTo>
                    <a:pt x="574" y="2091"/>
                  </a:lnTo>
                  <a:lnTo>
                    <a:pt x="566" y="2147"/>
                  </a:lnTo>
                  <a:lnTo>
                    <a:pt x="557" y="2202"/>
                  </a:lnTo>
                  <a:lnTo>
                    <a:pt x="547" y="2257"/>
                  </a:lnTo>
                  <a:lnTo>
                    <a:pt x="536" y="2312"/>
                  </a:lnTo>
                  <a:lnTo>
                    <a:pt x="523" y="2366"/>
                  </a:lnTo>
                  <a:lnTo>
                    <a:pt x="510" y="2421"/>
                  </a:lnTo>
                  <a:lnTo>
                    <a:pt x="495" y="2476"/>
                  </a:lnTo>
                  <a:lnTo>
                    <a:pt x="480" y="2530"/>
                  </a:lnTo>
                  <a:lnTo>
                    <a:pt x="462" y="2585"/>
                  </a:lnTo>
                  <a:lnTo>
                    <a:pt x="462" y="2585"/>
                  </a:lnTo>
                  <a:lnTo>
                    <a:pt x="555" y="2547"/>
                  </a:lnTo>
                  <a:lnTo>
                    <a:pt x="597" y="2529"/>
                  </a:lnTo>
                  <a:lnTo>
                    <a:pt x="637" y="2511"/>
                  </a:lnTo>
                  <a:lnTo>
                    <a:pt x="675" y="2492"/>
                  </a:lnTo>
                  <a:lnTo>
                    <a:pt x="715" y="2473"/>
                  </a:lnTo>
                  <a:lnTo>
                    <a:pt x="798" y="2430"/>
                  </a:lnTo>
                  <a:lnTo>
                    <a:pt x="798" y="701"/>
                  </a:lnTo>
                  <a:lnTo>
                    <a:pt x="798" y="0"/>
                  </a:lnTo>
                  <a:lnTo>
                    <a:pt x="0"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dirty="0"/>
            </a:p>
          </p:txBody>
        </p:sp>
        <p:sp>
          <p:nvSpPr>
            <p:cNvPr id="35" name="Freeform 26"/>
            <p:cNvSpPr>
              <a:spLocks/>
            </p:cNvSpPr>
            <p:nvPr userDrawn="1"/>
          </p:nvSpPr>
          <p:spPr bwMode="auto">
            <a:xfrm>
              <a:off x="8610600" y="1112838"/>
              <a:ext cx="533400" cy="258763"/>
            </a:xfrm>
            <a:custGeom>
              <a:avLst/>
              <a:gdLst>
                <a:gd name="T0" fmla="*/ 336 w 336"/>
                <a:gd name="T1" fmla="*/ 0 h 163"/>
                <a:gd name="T2" fmla="*/ 336 w 336"/>
                <a:gd name="T3" fmla="*/ 0 h 163"/>
                <a:gd name="T4" fmla="*/ 291 w 336"/>
                <a:gd name="T5" fmla="*/ 13 h 163"/>
                <a:gd name="T6" fmla="*/ 246 w 336"/>
                <a:gd name="T7" fmla="*/ 29 h 163"/>
                <a:gd name="T8" fmla="*/ 202 w 336"/>
                <a:gd name="T9" fmla="*/ 47 h 163"/>
                <a:gd name="T10" fmla="*/ 159 w 336"/>
                <a:gd name="T11" fmla="*/ 67 h 163"/>
                <a:gd name="T12" fmla="*/ 118 w 336"/>
                <a:gd name="T13" fmla="*/ 89 h 163"/>
                <a:gd name="T14" fmla="*/ 77 w 336"/>
                <a:gd name="T15" fmla="*/ 111 h 163"/>
                <a:gd name="T16" fmla="*/ 38 w 336"/>
                <a:gd name="T17" fmla="*/ 136 h 163"/>
                <a:gd name="T18" fmla="*/ 0 w 336"/>
                <a:gd name="T19" fmla="*/ 163 h 163"/>
                <a:gd name="T20" fmla="*/ 0 w 336"/>
                <a:gd name="T21" fmla="*/ 163 h 163"/>
                <a:gd name="T22" fmla="*/ 43 w 336"/>
                <a:gd name="T23" fmla="*/ 162 h 163"/>
                <a:gd name="T24" fmla="*/ 87 w 336"/>
                <a:gd name="T25" fmla="*/ 160 h 163"/>
                <a:gd name="T26" fmla="*/ 130 w 336"/>
                <a:gd name="T27" fmla="*/ 155 h 163"/>
                <a:gd name="T28" fmla="*/ 173 w 336"/>
                <a:gd name="T29" fmla="*/ 150 h 163"/>
                <a:gd name="T30" fmla="*/ 214 w 336"/>
                <a:gd name="T31" fmla="*/ 142 h 163"/>
                <a:gd name="T32" fmla="*/ 255 w 336"/>
                <a:gd name="T33" fmla="*/ 133 h 163"/>
                <a:gd name="T34" fmla="*/ 297 w 336"/>
                <a:gd name="T35" fmla="*/ 121 h 163"/>
                <a:gd name="T36" fmla="*/ 336 w 336"/>
                <a:gd name="T37" fmla="*/ 109 h 163"/>
                <a:gd name="T38" fmla="*/ 336 w 336"/>
                <a:gd name="T39"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6" h="163">
                  <a:moveTo>
                    <a:pt x="336" y="0"/>
                  </a:moveTo>
                  <a:lnTo>
                    <a:pt x="336" y="0"/>
                  </a:lnTo>
                  <a:lnTo>
                    <a:pt x="291" y="13"/>
                  </a:lnTo>
                  <a:lnTo>
                    <a:pt x="246" y="29"/>
                  </a:lnTo>
                  <a:lnTo>
                    <a:pt x="202" y="47"/>
                  </a:lnTo>
                  <a:lnTo>
                    <a:pt x="159" y="67"/>
                  </a:lnTo>
                  <a:lnTo>
                    <a:pt x="118" y="89"/>
                  </a:lnTo>
                  <a:lnTo>
                    <a:pt x="77" y="111"/>
                  </a:lnTo>
                  <a:lnTo>
                    <a:pt x="38" y="136"/>
                  </a:lnTo>
                  <a:lnTo>
                    <a:pt x="0" y="163"/>
                  </a:lnTo>
                  <a:lnTo>
                    <a:pt x="0" y="163"/>
                  </a:lnTo>
                  <a:lnTo>
                    <a:pt x="43" y="162"/>
                  </a:lnTo>
                  <a:lnTo>
                    <a:pt x="87" y="160"/>
                  </a:lnTo>
                  <a:lnTo>
                    <a:pt x="130" y="155"/>
                  </a:lnTo>
                  <a:lnTo>
                    <a:pt x="173" y="150"/>
                  </a:lnTo>
                  <a:lnTo>
                    <a:pt x="214" y="142"/>
                  </a:lnTo>
                  <a:lnTo>
                    <a:pt x="255" y="133"/>
                  </a:lnTo>
                  <a:lnTo>
                    <a:pt x="297" y="121"/>
                  </a:lnTo>
                  <a:lnTo>
                    <a:pt x="336" y="109"/>
                  </a:lnTo>
                  <a:lnTo>
                    <a:pt x="336" y="0"/>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6" name="Freeform 27"/>
            <p:cNvSpPr>
              <a:spLocks/>
            </p:cNvSpPr>
            <p:nvPr userDrawn="1"/>
          </p:nvSpPr>
          <p:spPr bwMode="auto">
            <a:xfrm>
              <a:off x="8610600" y="4103688"/>
              <a:ext cx="28575" cy="20638"/>
            </a:xfrm>
            <a:custGeom>
              <a:avLst/>
              <a:gdLst>
                <a:gd name="T0" fmla="*/ 18 w 18"/>
                <a:gd name="T1" fmla="*/ 13 h 13"/>
                <a:gd name="T2" fmla="*/ 18 w 18"/>
                <a:gd name="T3" fmla="*/ 13 h 13"/>
                <a:gd name="T4" fmla="*/ 0 w 18"/>
                <a:gd name="T5" fmla="*/ 0 h 13"/>
                <a:gd name="T6" fmla="*/ 0 w 18"/>
                <a:gd name="T7" fmla="*/ 0 h 13"/>
                <a:gd name="T8" fmla="*/ 18 w 18"/>
                <a:gd name="T9" fmla="*/ 13 h 13"/>
                <a:gd name="T10" fmla="*/ 18 w 18"/>
                <a:gd name="T11" fmla="*/ 13 h 13"/>
              </a:gdLst>
              <a:ahLst/>
              <a:cxnLst>
                <a:cxn ang="0">
                  <a:pos x="T0" y="T1"/>
                </a:cxn>
                <a:cxn ang="0">
                  <a:pos x="T2" y="T3"/>
                </a:cxn>
                <a:cxn ang="0">
                  <a:pos x="T4" y="T5"/>
                </a:cxn>
                <a:cxn ang="0">
                  <a:pos x="T6" y="T7"/>
                </a:cxn>
                <a:cxn ang="0">
                  <a:pos x="T8" y="T9"/>
                </a:cxn>
                <a:cxn ang="0">
                  <a:pos x="T10" y="T11"/>
                </a:cxn>
              </a:cxnLst>
              <a:rect l="0" t="0" r="r" b="b"/>
              <a:pathLst>
                <a:path w="18" h="13">
                  <a:moveTo>
                    <a:pt x="18" y="13"/>
                  </a:moveTo>
                  <a:lnTo>
                    <a:pt x="18" y="13"/>
                  </a:lnTo>
                  <a:lnTo>
                    <a:pt x="0" y="0"/>
                  </a:lnTo>
                  <a:lnTo>
                    <a:pt x="0" y="0"/>
                  </a:lnTo>
                  <a:lnTo>
                    <a:pt x="18" y="13"/>
                  </a:lnTo>
                  <a:lnTo>
                    <a:pt x="18" y="13"/>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7" name="Freeform 28"/>
            <p:cNvSpPr>
              <a:spLocks/>
            </p:cNvSpPr>
            <p:nvPr userDrawn="1"/>
          </p:nvSpPr>
          <p:spPr bwMode="auto">
            <a:xfrm>
              <a:off x="8639175" y="4124325"/>
              <a:ext cx="504825" cy="312738"/>
            </a:xfrm>
            <a:custGeom>
              <a:avLst/>
              <a:gdLst>
                <a:gd name="T0" fmla="*/ 318 w 318"/>
                <a:gd name="T1" fmla="*/ 150 h 197"/>
                <a:gd name="T2" fmla="*/ 318 w 318"/>
                <a:gd name="T3" fmla="*/ 150 h 197"/>
                <a:gd name="T4" fmla="*/ 276 w 318"/>
                <a:gd name="T5" fmla="*/ 138 h 197"/>
                <a:gd name="T6" fmla="*/ 236 w 318"/>
                <a:gd name="T7" fmla="*/ 123 h 197"/>
                <a:gd name="T8" fmla="*/ 195 w 318"/>
                <a:gd name="T9" fmla="*/ 108 h 197"/>
                <a:gd name="T10" fmla="*/ 155 w 318"/>
                <a:gd name="T11" fmla="*/ 90 h 197"/>
                <a:gd name="T12" fmla="*/ 115 w 318"/>
                <a:gd name="T13" fmla="*/ 69 h 197"/>
                <a:gd name="T14" fmla="*/ 76 w 318"/>
                <a:gd name="T15" fmla="*/ 48 h 197"/>
                <a:gd name="T16" fmla="*/ 38 w 318"/>
                <a:gd name="T17" fmla="*/ 24 h 197"/>
                <a:gd name="T18" fmla="*/ 0 w 318"/>
                <a:gd name="T19" fmla="*/ 0 h 197"/>
                <a:gd name="T20" fmla="*/ 0 w 318"/>
                <a:gd name="T21" fmla="*/ 0 h 197"/>
                <a:gd name="T22" fmla="*/ 39 w 318"/>
                <a:gd name="T23" fmla="*/ 27 h 197"/>
                <a:gd name="T24" fmla="*/ 77 w 318"/>
                <a:gd name="T25" fmla="*/ 54 h 197"/>
                <a:gd name="T26" fmla="*/ 117 w 318"/>
                <a:gd name="T27" fmla="*/ 80 h 197"/>
                <a:gd name="T28" fmla="*/ 157 w 318"/>
                <a:gd name="T29" fmla="*/ 104 h 197"/>
                <a:gd name="T30" fmla="*/ 196 w 318"/>
                <a:gd name="T31" fmla="*/ 128 h 197"/>
                <a:gd name="T32" fmla="*/ 237 w 318"/>
                <a:gd name="T33" fmla="*/ 152 h 197"/>
                <a:gd name="T34" fmla="*/ 277 w 318"/>
                <a:gd name="T35" fmla="*/ 174 h 197"/>
                <a:gd name="T36" fmla="*/ 318 w 318"/>
                <a:gd name="T37" fmla="*/ 197 h 197"/>
                <a:gd name="T38" fmla="*/ 318 w 318"/>
                <a:gd name="T39" fmla="*/ 15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8" h="197">
                  <a:moveTo>
                    <a:pt x="318" y="150"/>
                  </a:moveTo>
                  <a:lnTo>
                    <a:pt x="318" y="150"/>
                  </a:lnTo>
                  <a:lnTo>
                    <a:pt x="276" y="138"/>
                  </a:lnTo>
                  <a:lnTo>
                    <a:pt x="236" y="123"/>
                  </a:lnTo>
                  <a:lnTo>
                    <a:pt x="195" y="108"/>
                  </a:lnTo>
                  <a:lnTo>
                    <a:pt x="155" y="90"/>
                  </a:lnTo>
                  <a:lnTo>
                    <a:pt x="115" y="69"/>
                  </a:lnTo>
                  <a:lnTo>
                    <a:pt x="76" y="48"/>
                  </a:lnTo>
                  <a:lnTo>
                    <a:pt x="38" y="24"/>
                  </a:lnTo>
                  <a:lnTo>
                    <a:pt x="0" y="0"/>
                  </a:lnTo>
                  <a:lnTo>
                    <a:pt x="0" y="0"/>
                  </a:lnTo>
                  <a:lnTo>
                    <a:pt x="39" y="27"/>
                  </a:lnTo>
                  <a:lnTo>
                    <a:pt x="77" y="54"/>
                  </a:lnTo>
                  <a:lnTo>
                    <a:pt x="117" y="80"/>
                  </a:lnTo>
                  <a:lnTo>
                    <a:pt x="157" y="104"/>
                  </a:lnTo>
                  <a:lnTo>
                    <a:pt x="196" y="128"/>
                  </a:lnTo>
                  <a:lnTo>
                    <a:pt x="237" y="152"/>
                  </a:lnTo>
                  <a:lnTo>
                    <a:pt x="277" y="174"/>
                  </a:lnTo>
                  <a:lnTo>
                    <a:pt x="318" y="197"/>
                  </a:lnTo>
                  <a:lnTo>
                    <a:pt x="318" y="150"/>
                  </a:ln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dirty="0"/>
            </a:p>
          </p:txBody>
        </p:sp>
        <p:sp>
          <p:nvSpPr>
            <p:cNvPr id="38" name="Freeform 29"/>
            <p:cNvSpPr>
              <a:spLocks/>
            </p:cNvSpPr>
            <p:nvPr userDrawn="1"/>
          </p:nvSpPr>
          <p:spPr bwMode="auto">
            <a:xfrm>
              <a:off x="8585200" y="4084638"/>
              <a:ext cx="25400" cy="19050"/>
            </a:xfrm>
            <a:custGeom>
              <a:avLst/>
              <a:gdLst>
                <a:gd name="T0" fmla="*/ 0 w 16"/>
                <a:gd name="T1" fmla="*/ 0 h 12"/>
                <a:gd name="T2" fmla="*/ 0 w 16"/>
                <a:gd name="T3" fmla="*/ 0 h 12"/>
                <a:gd name="T4" fmla="*/ 16 w 16"/>
                <a:gd name="T5" fmla="*/ 12 h 12"/>
                <a:gd name="T6" fmla="*/ 16 w 16"/>
                <a:gd name="T7" fmla="*/ 12 h 12"/>
                <a:gd name="T8" fmla="*/ 0 w 16"/>
                <a:gd name="T9" fmla="*/ 0 h 12"/>
                <a:gd name="T10" fmla="*/ 0 w 16"/>
                <a:gd name="T11" fmla="*/ 0 h 12"/>
              </a:gdLst>
              <a:ahLst/>
              <a:cxnLst>
                <a:cxn ang="0">
                  <a:pos x="T0" y="T1"/>
                </a:cxn>
                <a:cxn ang="0">
                  <a:pos x="T2" y="T3"/>
                </a:cxn>
                <a:cxn ang="0">
                  <a:pos x="T4" y="T5"/>
                </a:cxn>
                <a:cxn ang="0">
                  <a:pos x="T6" y="T7"/>
                </a:cxn>
                <a:cxn ang="0">
                  <a:pos x="T8" y="T9"/>
                </a:cxn>
                <a:cxn ang="0">
                  <a:pos x="T10" y="T11"/>
                </a:cxn>
              </a:cxnLst>
              <a:rect l="0" t="0" r="r" b="b"/>
              <a:pathLst>
                <a:path w="16" h="12">
                  <a:moveTo>
                    <a:pt x="0" y="0"/>
                  </a:moveTo>
                  <a:lnTo>
                    <a:pt x="0" y="0"/>
                  </a:lnTo>
                  <a:lnTo>
                    <a:pt x="16" y="12"/>
                  </a:lnTo>
                  <a:lnTo>
                    <a:pt x="16" y="12"/>
                  </a:lnTo>
                  <a:lnTo>
                    <a:pt x="0" y="0"/>
                  </a:lnTo>
                  <a:lnTo>
                    <a:pt x="0" y="0"/>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9" name="Freeform 30"/>
            <p:cNvSpPr>
              <a:spLocks/>
            </p:cNvSpPr>
            <p:nvPr userDrawn="1"/>
          </p:nvSpPr>
          <p:spPr bwMode="auto">
            <a:xfrm>
              <a:off x="7588250" y="4103688"/>
              <a:ext cx="1022350" cy="1039813"/>
            </a:xfrm>
            <a:custGeom>
              <a:avLst/>
              <a:gdLst>
                <a:gd name="T0" fmla="*/ 0 w 644"/>
                <a:gd name="T1" fmla="*/ 655 h 655"/>
                <a:gd name="T2" fmla="*/ 332 w 644"/>
                <a:gd name="T3" fmla="*/ 655 h 655"/>
                <a:gd name="T4" fmla="*/ 332 w 644"/>
                <a:gd name="T5" fmla="*/ 655 h 655"/>
                <a:gd name="T6" fmla="*/ 357 w 644"/>
                <a:gd name="T7" fmla="*/ 617 h 655"/>
                <a:gd name="T8" fmla="*/ 381 w 644"/>
                <a:gd name="T9" fmla="*/ 577 h 655"/>
                <a:gd name="T10" fmla="*/ 404 w 644"/>
                <a:gd name="T11" fmla="*/ 538 h 655"/>
                <a:gd name="T12" fmla="*/ 426 w 644"/>
                <a:gd name="T13" fmla="*/ 499 h 655"/>
                <a:gd name="T14" fmla="*/ 449 w 644"/>
                <a:gd name="T15" fmla="*/ 458 h 655"/>
                <a:gd name="T16" fmla="*/ 470 w 644"/>
                <a:gd name="T17" fmla="*/ 418 h 655"/>
                <a:gd name="T18" fmla="*/ 491 w 644"/>
                <a:gd name="T19" fmla="*/ 377 h 655"/>
                <a:gd name="T20" fmla="*/ 511 w 644"/>
                <a:gd name="T21" fmla="*/ 337 h 655"/>
                <a:gd name="T22" fmla="*/ 530 w 644"/>
                <a:gd name="T23" fmla="*/ 295 h 655"/>
                <a:gd name="T24" fmla="*/ 548 w 644"/>
                <a:gd name="T25" fmla="*/ 253 h 655"/>
                <a:gd name="T26" fmla="*/ 566 w 644"/>
                <a:gd name="T27" fmla="*/ 212 h 655"/>
                <a:gd name="T28" fmla="*/ 583 w 644"/>
                <a:gd name="T29" fmla="*/ 170 h 655"/>
                <a:gd name="T30" fmla="*/ 600 w 644"/>
                <a:gd name="T31" fmla="*/ 129 h 655"/>
                <a:gd name="T32" fmla="*/ 614 w 644"/>
                <a:gd name="T33" fmla="*/ 86 h 655"/>
                <a:gd name="T34" fmla="*/ 630 w 644"/>
                <a:gd name="T35" fmla="*/ 43 h 655"/>
                <a:gd name="T36" fmla="*/ 644 w 644"/>
                <a:gd name="T37" fmla="*/ 0 h 655"/>
                <a:gd name="T38" fmla="*/ 644 w 644"/>
                <a:gd name="T39" fmla="*/ 0 h 655"/>
                <a:gd name="T40" fmla="*/ 644 w 644"/>
                <a:gd name="T41" fmla="*/ 0 h 655"/>
                <a:gd name="T42" fmla="*/ 596 w 644"/>
                <a:gd name="T43" fmla="*/ 35 h 655"/>
                <a:gd name="T44" fmla="*/ 550 w 644"/>
                <a:gd name="T45" fmla="*/ 72 h 655"/>
                <a:gd name="T46" fmla="*/ 504 w 644"/>
                <a:gd name="T47" fmla="*/ 108 h 655"/>
                <a:gd name="T48" fmla="*/ 459 w 644"/>
                <a:gd name="T49" fmla="*/ 147 h 655"/>
                <a:gd name="T50" fmla="*/ 415 w 644"/>
                <a:gd name="T51" fmla="*/ 185 h 655"/>
                <a:gd name="T52" fmla="*/ 372 w 644"/>
                <a:gd name="T53" fmla="*/ 224 h 655"/>
                <a:gd name="T54" fmla="*/ 331 w 644"/>
                <a:gd name="T55" fmla="*/ 265 h 655"/>
                <a:gd name="T56" fmla="*/ 290 w 644"/>
                <a:gd name="T57" fmla="*/ 305 h 655"/>
                <a:gd name="T58" fmla="*/ 250 w 644"/>
                <a:gd name="T59" fmla="*/ 347 h 655"/>
                <a:gd name="T60" fmla="*/ 212 w 644"/>
                <a:gd name="T61" fmla="*/ 388 h 655"/>
                <a:gd name="T62" fmla="*/ 173 w 644"/>
                <a:gd name="T63" fmla="*/ 431 h 655"/>
                <a:gd name="T64" fmla="*/ 137 w 644"/>
                <a:gd name="T65" fmla="*/ 475 h 655"/>
                <a:gd name="T66" fmla="*/ 101 w 644"/>
                <a:gd name="T67" fmla="*/ 519 h 655"/>
                <a:gd name="T68" fmla="*/ 66 w 644"/>
                <a:gd name="T69" fmla="*/ 564 h 655"/>
                <a:gd name="T70" fmla="*/ 33 w 644"/>
                <a:gd name="T71" fmla="*/ 609 h 655"/>
                <a:gd name="T72" fmla="*/ 0 w 644"/>
                <a:gd name="T73" fmla="*/ 655 h 655"/>
                <a:gd name="T74" fmla="*/ 0 w 644"/>
                <a:gd name="T75" fmla="*/ 655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44" h="655">
                  <a:moveTo>
                    <a:pt x="0" y="655"/>
                  </a:moveTo>
                  <a:lnTo>
                    <a:pt x="332" y="655"/>
                  </a:lnTo>
                  <a:lnTo>
                    <a:pt x="332" y="655"/>
                  </a:lnTo>
                  <a:lnTo>
                    <a:pt x="357" y="617"/>
                  </a:lnTo>
                  <a:lnTo>
                    <a:pt x="381" y="577"/>
                  </a:lnTo>
                  <a:lnTo>
                    <a:pt x="404" y="538"/>
                  </a:lnTo>
                  <a:lnTo>
                    <a:pt x="426" y="499"/>
                  </a:lnTo>
                  <a:lnTo>
                    <a:pt x="449" y="458"/>
                  </a:lnTo>
                  <a:lnTo>
                    <a:pt x="470" y="418"/>
                  </a:lnTo>
                  <a:lnTo>
                    <a:pt x="491" y="377"/>
                  </a:lnTo>
                  <a:lnTo>
                    <a:pt x="511" y="337"/>
                  </a:lnTo>
                  <a:lnTo>
                    <a:pt x="530" y="295"/>
                  </a:lnTo>
                  <a:lnTo>
                    <a:pt x="548" y="253"/>
                  </a:lnTo>
                  <a:lnTo>
                    <a:pt x="566" y="212"/>
                  </a:lnTo>
                  <a:lnTo>
                    <a:pt x="583" y="170"/>
                  </a:lnTo>
                  <a:lnTo>
                    <a:pt x="600" y="129"/>
                  </a:lnTo>
                  <a:lnTo>
                    <a:pt x="614" y="86"/>
                  </a:lnTo>
                  <a:lnTo>
                    <a:pt x="630" y="43"/>
                  </a:lnTo>
                  <a:lnTo>
                    <a:pt x="644" y="0"/>
                  </a:lnTo>
                  <a:lnTo>
                    <a:pt x="644" y="0"/>
                  </a:lnTo>
                  <a:lnTo>
                    <a:pt x="644" y="0"/>
                  </a:lnTo>
                  <a:lnTo>
                    <a:pt x="596" y="35"/>
                  </a:lnTo>
                  <a:lnTo>
                    <a:pt x="550" y="72"/>
                  </a:lnTo>
                  <a:lnTo>
                    <a:pt x="504" y="108"/>
                  </a:lnTo>
                  <a:lnTo>
                    <a:pt x="459" y="147"/>
                  </a:lnTo>
                  <a:lnTo>
                    <a:pt x="415" y="185"/>
                  </a:lnTo>
                  <a:lnTo>
                    <a:pt x="372" y="224"/>
                  </a:lnTo>
                  <a:lnTo>
                    <a:pt x="331" y="265"/>
                  </a:lnTo>
                  <a:lnTo>
                    <a:pt x="290" y="305"/>
                  </a:lnTo>
                  <a:lnTo>
                    <a:pt x="250" y="347"/>
                  </a:lnTo>
                  <a:lnTo>
                    <a:pt x="212" y="388"/>
                  </a:lnTo>
                  <a:lnTo>
                    <a:pt x="173" y="431"/>
                  </a:lnTo>
                  <a:lnTo>
                    <a:pt x="137" y="475"/>
                  </a:lnTo>
                  <a:lnTo>
                    <a:pt x="101" y="519"/>
                  </a:lnTo>
                  <a:lnTo>
                    <a:pt x="66" y="564"/>
                  </a:lnTo>
                  <a:lnTo>
                    <a:pt x="33" y="609"/>
                  </a:lnTo>
                  <a:lnTo>
                    <a:pt x="0" y="655"/>
                  </a:lnTo>
                  <a:lnTo>
                    <a:pt x="0" y="655"/>
                  </a:lnTo>
                  <a:close/>
                </a:path>
              </a:pathLst>
            </a:custGeom>
            <a:solidFill>
              <a:schemeClr val="tx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0" name="Freeform 31"/>
            <p:cNvSpPr>
              <a:spLocks/>
            </p:cNvSpPr>
            <p:nvPr userDrawn="1"/>
          </p:nvSpPr>
          <p:spPr bwMode="auto">
            <a:xfrm>
              <a:off x="8610600" y="3771900"/>
              <a:ext cx="533400" cy="619125"/>
            </a:xfrm>
            <a:custGeom>
              <a:avLst/>
              <a:gdLst>
                <a:gd name="T0" fmla="*/ 336 w 336"/>
                <a:gd name="T1" fmla="*/ 0 h 390"/>
                <a:gd name="T2" fmla="*/ 336 w 336"/>
                <a:gd name="T3" fmla="*/ 0 h 390"/>
                <a:gd name="T4" fmla="*/ 292 w 336"/>
                <a:gd name="T5" fmla="*/ 24 h 390"/>
                <a:gd name="T6" fmla="*/ 249 w 336"/>
                <a:gd name="T7" fmla="*/ 47 h 390"/>
                <a:gd name="T8" fmla="*/ 207 w 336"/>
                <a:gd name="T9" fmla="*/ 73 h 390"/>
                <a:gd name="T10" fmla="*/ 164 w 336"/>
                <a:gd name="T11" fmla="*/ 99 h 390"/>
                <a:gd name="T12" fmla="*/ 122 w 336"/>
                <a:gd name="T13" fmla="*/ 125 h 390"/>
                <a:gd name="T14" fmla="*/ 81 w 336"/>
                <a:gd name="T15" fmla="*/ 152 h 390"/>
                <a:gd name="T16" fmla="*/ 40 w 336"/>
                <a:gd name="T17" fmla="*/ 180 h 390"/>
                <a:gd name="T18" fmla="*/ 0 w 336"/>
                <a:gd name="T19" fmla="*/ 209 h 390"/>
                <a:gd name="T20" fmla="*/ 1 w 336"/>
                <a:gd name="T21" fmla="*/ 209 h 390"/>
                <a:gd name="T22" fmla="*/ 1 w 336"/>
                <a:gd name="T23" fmla="*/ 209 h 390"/>
                <a:gd name="T24" fmla="*/ 41 w 336"/>
                <a:gd name="T25" fmla="*/ 239 h 390"/>
                <a:gd name="T26" fmla="*/ 83 w 336"/>
                <a:gd name="T27" fmla="*/ 267 h 390"/>
                <a:gd name="T28" fmla="*/ 124 w 336"/>
                <a:gd name="T29" fmla="*/ 293 h 390"/>
                <a:gd name="T30" fmla="*/ 167 w 336"/>
                <a:gd name="T31" fmla="*/ 317 h 390"/>
                <a:gd name="T32" fmla="*/ 210 w 336"/>
                <a:gd name="T33" fmla="*/ 340 h 390"/>
                <a:gd name="T34" fmla="*/ 252 w 336"/>
                <a:gd name="T35" fmla="*/ 360 h 390"/>
                <a:gd name="T36" fmla="*/ 273 w 336"/>
                <a:gd name="T37" fmla="*/ 369 h 390"/>
                <a:gd name="T38" fmla="*/ 294 w 336"/>
                <a:gd name="T39" fmla="*/ 377 h 390"/>
                <a:gd name="T40" fmla="*/ 315 w 336"/>
                <a:gd name="T41" fmla="*/ 384 h 390"/>
                <a:gd name="T42" fmla="*/ 336 w 336"/>
                <a:gd name="T43" fmla="*/ 390 h 390"/>
                <a:gd name="T44" fmla="*/ 336 w 336"/>
                <a:gd name="T45" fmla="*/ 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6" h="390">
                  <a:moveTo>
                    <a:pt x="336" y="0"/>
                  </a:moveTo>
                  <a:lnTo>
                    <a:pt x="336" y="0"/>
                  </a:lnTo>
                  <a:lnTo>
                    <a:pt x="292" y="24"/>
                  </a:lnTo>
                  <a:lnTo>
                    <a:pt x="249" y="47"/>
                  </a:lnTo>
                  <a:lnTo>
                    <a:pt x="207" y="73"/>
                  </a:lnTo>
                  <a:lnTo>
                    <a:pt x="164" y="99"/>
                  </a:lnTo>
                  <a:lnTo>
                    <a:pt x="122" y="125"/>
                  </a:lnTo>
                  <a:lnTo>
                    <a:pt x="81" y="152"/>
                  </a:lnTo>
                  <a:lnTo>
                    <a:pt x="40" y="180"/>
                  </a:lnTo>
                  <a:lnTo>
                    <a:pt x="0" y="209"/>
                  </a:lnTo>
                  <a:lnTo>
                    <a:pt x="1" y="209"/>
                  </a:lnTo>
                  <a:lnTo>
                    <a:pt x="1" y="209"/>
                  </a:lnTo>
                  <a:lnTo>
                    <a:pt x="41" y="239"/>
                  </a:lnTo>
                  <a:lnTo>
                    <a:pt x="83" y="267"/>
                  </a:lnTo>
                  <a:lnTo>
                    <a:pt x="124" y="293"/>
                  </a:lnTo>
                  <a:lnTo>
                    <a:pt x="167" y="317"/>
                  </a:lnTo>
                  <a:lnTo>
                    <a:pt x="210" y="340"/>
                  </a:lnTo>
                  <a:lnTo>
                    <a:pt x="252" y="360"/>
                  </a:lnTo>
                  <a:lnTo>
                    <a:pt x="273" y="369"/>
                  </a:lnTo>
                  <a:lnTo>
                    <a:pt x="294" y="377"/>
                  </a:lnTo>
                  <a:lnTo>
                    <a:pt x="315" y="384"/>
                  </a:lnTo>
                  <a:lnTo>
                    <a:pt x="336" y="390"/>
                  </a:lnTo>
                  <a:lnTo>
                    <a:pt x="336"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dirty="0"/>
            </a:p>
          </p:txBody>
        </p:sp>
      </p:grpSp>
      <p:sp>
        <p:nvSpPr>
          <p:cNvPr id="3" name="Sisällön paikkamerkki 2"/>
          <p:cNvSpPr>
            <a:spLocks noGrp="1"/>
          </p:cNvSpPr>
          <p:nvPr>
            <p:ph idx="1"/>
          </p:nvPr>
        </p:nvSpPr>
        <p:spPr>
          <a:xfrm>
            <a:off x="432785" y="1410997"/>
            <a:ext cx="6587487" cy="3393001"/>
          </a:xfrm>
        </p:spPr>
        <p:txBody>
          <a:bodyPr/>
          <a:lstStyle>
            <a:lvl1pPr>
              <a:defRPr>
                <a:solidFill>
                  <a:srgbClr val="595965"/>
                </a:solidFill>
              </a:defRPr>
            </a:lvl1pPr>
            <a:lvl2pPr>
              <a:defRPr>
                <a:solidFill>
                  <a:srgbClr val="595965"/>
                </a:solidFill>
              </a:defRPr>
            </a:lvl2pPr>
            <a:lvl3pPr>
              <a:defRPr>
                <a:solidFill>
                  <a:srgbClr val="595965"/>
                </a:solidFill>
              </a:defRPr>
            </a:lvl3pPr>
            <a:lvl4pPr>
              <a:defRPr>
                <a:solidFill>
                  <a:srgbClr val="595965"/>
                </a:solidFill>
              </a:defRPr>
            </a:lvl4pPr>
            <a:lvl5pPr>
              <a:defRPr>
                <a:solidFill>
                  <a:srgbClr val="595965"/>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8" name="Otsikko 7"/>
          <p:cNvSpPr>
            <a:spLocks noGrp="1"/>
          </p:cNvSpPr>
          <p:nvPr>
            <p:ph type="title"/>
          </p:nvPr>
        </p:nvSpPr>
        <p:spPr>
          <a:xfrm>
            <a:off x="432785" y="235340"/>
            <a:ext cx="6587487" cy="974270"/>
          </a:xfrm>
        </p:spPr>
        <p:txBody>
          <a:bodyPr/>
          <a:lstStyle>
            <a:lvl1pPr>
              <a:defRPr>
                <a:solidFill>
                  <a:srgbClr val="595965"/>
                </a:solidFill>
              </a:defRPr>
            </a:lvl1pPr>
          </a:lstStyle>
          <a:p>
            <a:r>
              <a:rPr lang="en-US" dirty="0"/>
              <a:t>Click to edit Master title style</a:t>
            </a:r>
            <a:endParaRPr lang="fi-FI" dirty="0"/>
          </a:p>
        </p:txBody>
      </p:sp>
      <p:pic>
        <p:nvPicPr>
          <p:cNvPr id="16" name="Picture 15">
            <a:extLst>
              <a:ext uri="{FF2B5EF4-FFF2-40B4-BE49-F238E27FC236}">
                <a16:creationId xmlns:a16="http://schemas.microsoft.com/office/drawing/2014/main" id="{69A31FAB-93E6-9C47-A33D-8A717BF62E1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24328" y="4699761"/>
            <a:ext cx="1439764" cy="274350"/>
          </a:xfrm>
          <a:prstGeom prst="rect">
            <a:avLst/>
          </a:prstGeom>
        </p:spPr>
      </p:pic>
      <p:pic>
        <p:nvPicPr>
          <p:cNvPr id="17" name="Picture 16">
            <a:extLst>
              <a:ext uri="{FF2B5EF4-FFF2-40B4-BE49-F238E27FC236}">
                <a16:creationId xmlns:a16="http://schemas.microsoft.com/office/drawing/2014/main" id="{B2B30F64-7970-AA4F-A58E-1B0E2975A93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604448" y="235340"/>
            <a:ext cx="305495" cy="419486"/>
          </a:xfrm>
          <a:prstGeom prst="rect">
            <a:avLst/>
          </a:prstGeom>
        </p:spPr>
      </p:pic>
    </p:spTree>
    <p:extLst>
      <p:ext uri="{BB962C8B-B14F-4D97-AF65-F5344CB8AC3E}">
        <p14:creationId xmlns:p14="http://schemas.microsoft.com/office/powerpoint/2010/main" val="302253378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7_Väliotsikko">
    <p:spTree>
      <p:nvGrpSpPr>
        <p:cNvPr id="1" name=""/>
        <p:cNvGrpSpPr/>
        <p:nvPr/>
      </p:nvGrpSpPr>
      <p:grpSpPr>
        <a:xfrm>
          <a:off x="0" y="0"/>
          <a:ext cx="0" cy="0"/>
          <a:chOff x="0" y="0"/>
          <a:chExt cx="0" cy="0"/>
        </a:xfrm>
      </p:grpSpPr>
      <p:pic>
        <p:nvPicPr>
          <p:cNvPr id="2" name="Kuva 1"/>
          <p:cNvPicPr>
            <a:picLocks noChangeAspect="1"/>
          </p:cNvPicPr>
          <p:nvPr userDrawn="1"/>
        </p:nvPicPr>
        <p:blipFill rotWithShape="1">
          <a:blip r:embed="rId2" cstate="print">
            <a:extLst>
              <a:ext uri="{28A0092B-C50C-407E-A947-70E740481C1C}">
                <a14:useLocalDpi xmlns:a14="http://schemas.microsoft.com/office/drawing/2010/main" val="0"/>
              </a:ext>
            </a:extLst>
          </a:blip>
          <a:srcRect t="4078" r="20921"/>
          <a:stretch/>
        </p:blipFill>
        <p:spPr>
          <a:xfrm>
            <a:off x="2627785" y="-20538"/>
            <a:ext cx="6480720" cy="5184576"/>
          </a:xfrm>
          <a:prstGeom prst="rect">
            <a:avLst/>
          </a:prstGeom>
        </p:spPr>
      </p:pic>
      <p:sp>
        <p:nvSpPr>
          <p:cNvPr id="58" name="Rectangle 57"/>
          <p:cNvSpPr/>
          <p:nvPr userDrawn="1"/>
        </p:nvSpPr>
        <p:spPr>
          <a:xfrm rot="10800000" flipV="1">
            <a:off x="4427983" y="-21804"/>
            <a:ext cx="4714430" cy="5165302"/>
          </a:xfrm>
          <a:prstGeom prst="rect">
            <a:avLst/>
          </a:prstGeom>
          <a:solidFill>
            <a:schemeClr val="accent4">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51" name="Rectangle 50"/>
          <p:cNvSpPr/>
          <p:nvPr userDrawn="1"/>
        </p:nvSpPr>
        <p:spPr>
          <a:xfrm rot="10800000" flipV="1">
            <a:off x="-10667" y="-21804"/>
            <a:ext cx="4582667" cy="5165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54" name="Freeform 7"/>
          <p:cNvSpPr>
            <a:spLocks/>
          </p:cNvSpPr>
          <p:nvPr userDrawn="1"/>
        </p:nvSpPr>
        <p:spPr bwMode="auto">
          <a:xfrm rot="10800000" flipV="1">
            <a:off x="3392894" y="-21803"/>
            <a:ext cx="4279900" cy="5165302"/>
          </a:xfrm>
          <a:custGeom>
            <a:avLst/>
            <a:gdLst>
              <a:gd name="T0" fmla="*/ 2425 w 2696"/>
              <a:gd name="T1" fmla="*/ 3240 h 3240"/>
              <a:gd name="T2" fmla="*/ 2398 w 2696"/>
              <a:gd name="T3" fmla="*/ 3171 h 3240"/>
              <a:gd name="T4" fmla="*/ 2372 w 2696"/>
              <a:gd name="T5" fmla="*/ 3103 h 3240"/>
              <a:gd name="T6" fmla="*/ 2325 w 2696"/>
              <a:gd name="T7" fmla="*/ 2966 h 3240"/>
              <a:gd name="T8" fmla="*/ 2283 w 2696"/>
              <a:gd name="T9" fmla="*/ 2828 h 3240"/>
              <a:gd name="T10" fmla="*/ 2248 w 2696"/>
              <a:gd name="T11" fmla="*/ 2689 h 3240"/>
              <a:gd name="T12" fmla="*/ 2219 w 2696"/>
              <a:gd name="T13" fmla="*/ 2550 h 3240"/>
              <a:gd name="T14" fmla="*/ 2196 w 2696"/>
              <a:gd name="T15" fmla="*/ 2411 h 3240"/>
              <a:gd name="T16" fmla="*/ 2178 w 2696"/>
              <a:gd name="T17" fmla="*/ 2273 h 3240"/>
              <a:gd name="T18" fmla="*/ 2164 w 2696"/>
              <a:gd name="T19" fmla="*/ 2133 h 3240"/>
              <a:gd name="T20" fmla="*/ 2157 w 2696"/>
              <a:gd name="T21" fmla="*/ 1995 h 3240"/>
              <a:gd name="T22" fmla="*/ 2156 w 2696"/>
              <a:gd name="T23" fmla="*/ 1856 h 3240"/>
              <a:gd name="T24" fmla="*/ 2160 w 2696"/>
              <a:gd name="T25" fmla="*/ 1718 h 3240"/>
              <a:gd name="T26" fmla="*/ 2170 w 2696"/>
              <a:gd name="T27" fmla="*/ 1581 h 3240"/>
              <a:gd name="T28" fmla="*/ 2183 w 2696"/>
              <a:gd name="T29" fmla="*/ 1445 h 3240"/>
              <a:gd name="T30" fmla="*/ 2203 w 2696"/>
              <a:gd name="T31" fmla="*/ 1310 h 3240"/>
              <a:gd name="T32" fmla="*/ 2228 w 2696"/>
              <a:gd name="T33" fmla="*/ 1175 h 3240"/>
              <a:gd name="T34" fmla="*/ 2259 w 2696"/>
              <a:gd name="T35" fmla="*/ 1042 h 3240"/>
              <a:gd name="T36" fmla="*/ 2274 w 2696"/>
              <a:gd name="T37" fmla="*/ 977 h 3240"/>
              <a:gd name="T38" fmla="*/ 2313 w 2696"/>
              <a:gd name="T39" fmla="*/ 845 h 3240"/>
              <a:gd name="T40" fmla="*/ 2354 w 2696"/>
              <a:gd name="T41" fmla="*/ 716 h 3240"/>
              <a:gd name="T42" fmla="*/ 2400 w 2696"/>
              <a:gd name="T43" fmla="*/ 590 h 3240"/>
              <a:gd name="T44" fmla="*/ 2452 w 2696"/>
              <a:gd name="T45" fmla="*/ 466 h 3240"/>
              <a:gd name="T46" fmla="*/ 2507 w 2696"/>
              <a:gd name="T47" fmla="*/ 345 h 3240"/>
              <a:gd name="T48" fmla="*/ 2566 w 2696"/>
              <a:gd name="T49" fmla="*/ 227 h 3240"/>
              <a:gd name="T50" fmla="*/ 2630 w 2696"/>
              <a:gd name="T51" fmla="*/ 113 h 3240"/>
              <a:gd name="T52" fmla="*/ 2696 w 2696"/>
              <a:gd name="T53" fmla="*/ 0 h 3240"/>
              <a:gd name="T54" fmla="*/ 0 w 2696"/>
              <a:gd name="T55" fmla="*/ 0 h 3240"/>
              <a:gd name="T56" fmla="*/ 72 w 2696"/>
              <a:gd name="T57" fmla="*/ 207 h 3240"/>
              <a:gd name="T58" fmla="*/ 150 w 2696"/>
              <a:gd name="T59" fmla="*/ 414 h 3240"/>
              <a:gd name="T60" fmla="*/ 187 w 2696"/>
              <a:gd name="T61" fmla="*/ 510 h 3240"/>
              <a:gd name="T62" fmla="*/ 266 w 2696"/>
              <a:gd name="T63" fmla="*/ 701 h 3240"/>
              <a:gd name="T64" fmla="*/ 349 w 2696"/>
              <a:gd name="T65" fmla="*/ 890 h 3240"/>
              <a:gd name="T66" fmla="*/ 436 w 2696"/>
              <a:gd name="T67" fmla="*/ 1077 h 3240"/>
              <a:gd name="T68" fmla="*/ 527 w 2696"/>
              <a:gd name="T69" fmla="*/ 1262 h 3240"/>
              <a:gd name="T70" fmla="*/ 622 w 2696"/>
              <a:gd name="T71" fmla="*/ 1446 h 3240"/>
              <a:gd name="T72" fmla="*/ 722 w 2696"/>
              <a:gd name="T73" fmla="*/ 1627 h 3240"/>
              <a:gd name="T74" fmla="*/ 826 w 2696"/>
              <a:gd name="T75" fmla="*/ 1807 h 3240"/>
              <a:gd name="T76" fmla="*/ 934 w 2696"/>
              <a:gd name="T77" fmla="*/ 1983 h 3240"/>
              <a:gd name="T78" fmla="*/ 1046 w 2696"/>
              <a:gd name="T79" fmla="*/ 2159 h 3240"/>
              <a:gd name="T80" fmla="*/ 1162 w 2696"/>
              <a:gd name="T81" fmla="*/ 2332 h 3240"/>
              <a:gd name="T82" fmla="*/ 1282 w 2696"/>
              <a:gd name="T83" fmla="*/ 2503 h 3240"/>
              <a:gd name="T84" fmla="*/ 1406 w 2696"/>
              <a:gd name="T85" fmla="*/ 2671 h 3240"/>
              <a:gd name="T86" fmla="*/ 1535 w 2696"/>
              <a:gd name="T87" fmla="*/ 2837 h 3240"/>
              <a:gd name="T88" fmla="*/ 1667 w 2696"/>
              <a:gd name="T89" fmla="*/ 3000 h 3240"/>
              <a:gd name="T90" fmla="*/ 1804 w 2696"/>
              <a:gd name="T91" fmla="*/ 3160 h 3240"/>
              <a:gd name="T92" fmla="*/ 1874 w 2696"/>
              <a:gd name="T93" fmla="*/ 3240 h 3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96" h="3240">
                <a:moveTo>
                  <a:pt x="1874" y="3240"/>
                </a:moveTo>
                <a:lnTo>
                  <a:pt x="2425" y="3240"/>
                </a:lnTo>
                <a:lnTo>
                  <a:pt x="2425" y="3240"/>
                </a:lnTo>
                <a:lnTo>
                  <a:pt x="2398" y="3171"/>
                </a:lnTo>
                <a:lnTo>
                  <a:pt x="2398" y="3171"/>
                </a:lnTo>
                <a:lnTo>
                  <a:pt x="2372" y="3103"/>
                </a:lnTo>
                <a:lnTo>
                  <a:pt x="2347" y="3034"/>
                </a:lnTo>
                <a:lnTo>
                  <a:pt x="2325" y="2966"/>
                </a:lnTo>
                <a:lnTo>
                  <a:pt x="2304" y="2897"/>
                </a:lnTo>
                <a:lnTo>
                  <a:pt x="2283" y="2828"/>
                </a:lnTo>
                <a:lnTo>
                  <a:pt x="2265" y="2759"/>
                </a:lnTo>
                <a:lnTo>
                  <a:pt x="2248" y="2689"/>
                </a:lnTo>
                <a:lnTo>
                  <a:pt x="2233" y="2620"/>
                </a:lnTo>
                <a:lnTo>
                  <a:pt x="2219" y="2550"/>
                </a:lnTo>
                <a:lnTo>
                  <a:pt x="2207" y="2481"/>
                </a:lnTo>
                <a:lnTo>
                  <a:pt x="2196" y="2411"/>
                </a:lnTo>
                <a:lnTo>
                  <a:pt x="2185" y="2342"/>
                </a:lnTo>
                <a:lnTo>
                  <a:pt x="2178" y="2273"/>
                </a:lnTo>
                <a:lnTo>
                  <a:pt x="2170" y="2203"/>
                </a:lnTo>
                <a:lnTo>
                  <a:pt x="2164" y="2133"/>
                </a:lnTo>
                <a:lnTo>
                  <a:pt x="2161" y="2063"/>
                </a:lnTo>
                <a:lnTo>
                  <a:pt x="2157" y="1995"/>
                </a:lnTo>
                <a:lnTo>
                  <a:pt x="2156" y="1925"/>
                </a:lnTo>
                <a:lnTo>
                  <a:pt x="2156" y="1856"/>
                </a:lnTo>
                <a:lnTo>
                  <a:pt x="2157" y="1787"/>
                </a:lnTo>
                <a:lnTo>
                  <a:pt x="2160" y="1718"/>
                </a:lnTo>
                <a:lnTo>
                  <a:pt x="2164" y="1649"/>
                </a:lnTo>
                <a:lnTo>
                  <a:pt x="2170" y="1581"/>
                </a:lnTo>
                <a:lnTo>
                  <a:pt x="2175" y="1513"/>
                </a:lnTo>
                <a:lnTo>
                  <a:pt x="2183" y="1445"/>
                </a:lnTo>
                <a:lnTo>
                  <a:pt x="2193" y="1377"/>
                </a:lnTo>
                <a:lnTo>
                  <a:pt x="2203" y="1310"/>
                </a:lnTo>
                <a:lnTo>
                  <a:pt x="2215" y="1242"/>
                </a:lnTo>
                <a:lnTo>
                  <a:pt x="2228" y="1175"/>
                </a:lnTo>
                <a:lnTo>
                  <a:pt x="2243" y="1108"/>
                </a:lnTo>
                <a:lnTo>
                  <a:pt x="2259" y="1042"/>
                </a:lnTo>
                <a:lnTo>
                  <a:pt x="2274" y="977"/>
                </a:lnTo>
                <a:lnTo>
                  <a:pt x="2274" y="977"/>
                </a:lnTo>
                <a:lnTo>
                  <a:pt x="2293" y="910"/>
                </a:lnTo>
                <a:lnTo>
                  <a:pt x="2313" y="845"/>
                </a:lnTo>
                <a:lnTo>
                  <a:pt x="2333" y="780"/>
                </a:lnTo>
                <a:lnTo>
                  <a:pt x="2354" y="716"/>
                </a:lnTo>
                <a:lnTo>
                  <a:pt x="2377" y="653"/>
                </a:lnTo>
                <a:lnTo>
                  <a:pt x="2400" y="590"/>
                </a:lnTo>
                <a:lnTo>
                  <a:pt x="2426" y="528"/>
                </a:lnTo>
                <a:lnTo>
                  <a:pt x="2452" y="466"/>
                </a:lnTo>
                <a:lnTo>
                  <a:pt x="2479" y="405"/>
                </a:lnTo>
                <a:lnTo>
                  <a:pt x="2507" y="345"/>
                </a:lnTo>
                <a:lnTo>
                  <a:pt x="2536" y="286"/>
                </a:lnTo>
                <a:lnTo>
                  <a:pt x="2566" y="227"/>
                </a:lnTo>
                <a:lnTo>
                  <a:pt x="2597" y="169"/>
                </a:lnTo>
                <a:lnTo>
                  <a:pt x="2630" y="113"/>
                </a:lnTo>
                <a:lnTo>
                  <a:pt x="2662" y="55"/>
                </a:lnTo>
                <a:lnTo>
                  <a:pt x="2696" y="0"/>
                </a:lnTo>
                <a:lnTo>
                  <a:pt x="0" y="0"/>
                </a:lnTo>
                <a:lnTo>
                  <a:pt x="0" y="0"/>
                </a:lnTo>
                <a:lnTo>
                  <a:pt x="35" y="104"/>
                </a:lnTo>
                <a:lnTo>
                  <a:pt x="72" y="207"/>
                </a:lnTo>
                <a:lnTo>
                  <a:pt x="111" y="311"/>
                </a:lnTo>
                <a:lnTo>
                  <a:pt x="150" y="414"/>
                </a:lnTo>
                <a:lnTo>
                  <a:pt x="150" y="414"/>
                </a:lnTo>
                <a:lnTo>
                  <a:pt x="187" y="510"/>
                </a:lnTo>
                <a:lnTo>
                  <a:pt x="226" y="605"/>
                </a:lnTo>
                <a:lnTo>
                  <a:pt x="266" y="701"/>
                </a:lnTo>
                <a:lnTo>
                  <a:pt x="306" y="795"/>
                </a:lnTo>
                <a:lnTo>
                  <a:pt x="349" y="890"/>
                </a:lnTo>
                <a:lnTo>
                  <a:pt x="392" y="983"/>
                </a:lnTo>
                <a:lnTo>
                  <a:pt x="436" y="1077"/>
                </a:lnTo>
                <a:lnTo>
                  <a:pt x="481" y="1169"/>
                </a:lnTo>
                <a:lnTo>
                  <a:pt x="527" y="1262"/>
                </a:lnTo>
                <a:lnTo>
                  <a:pt x="574" y="1353"/>
                </a:lnTo>
                <a:lnTo>
                  <a:pt x="622" y="1446"/>
                </a:lnTo>
                <a:lnTo>
                  <a:pt x="672" y="1537"/>
                </a:lnTo>
                <a:lnTo>
                  <a:pt x="722" y="1627"/>
                </a:lnTo>
                <a:lnTo>
                  <a:pt x="773" y="1717"/>
                </a:lnTo>
                <a:lnTo>
                  <a:pt x="826" y="1807"/>
                </a:lnTo>
                <a:lnTo>
                  <a:pt x="879" y="1896"/>
                </a:lnTo>
                <a:lnTo>
                  <a:pt x="934" y="1983"/>
                </a:lnTo>
                <a:lnTo>
                  <a:pt x="989" y="2072"/>
                </a:lnTo>
                <a:lnTo>
                  <a:pt x="1046" y="2159"/>
                </a:lnTo>
                <a:lnTo>
                  <a:pt x="1104" y="2246"/>
                </a:lnTo>
                <a:lnTo>
                  <a:pt x="1162" y="2332"/>
                </a:lnTo>
                <a:lnTo>
                  <a:pt x="1222" y="2418"/>
                </a:lnTo>
                <a:lnTo>
                  <a:pt x="1282" y="2503"/>
                </a:lnTo>
                <a:lnTo>
                  <a:pt x="1344" y="2588"/>
                </a:lnTo>
                <a:lnTo>
                  <a:pt x="1406" y="2671"/>
                </a:lnTo>
                <a:lnTo>
                  <a:pt x="1470" y="2754"/>
                </a:lnTo>
                <a:lnTo>
                  <a:pt x="1535" y="2837"/>
                </a:lnTo>
                <a:lnTo>
                  <a:pt x="1601" y="2918"/>
                </a:lnTo>
                <a:lnTo>
                  <a:pt x="1667" y="3000"/>
                </a:lnTo>
                <a:lnTo>
                  <a:pt x="1736" y="3080"/>
                </a:lnTo>
                <a:lnTo>
                  <a:pt x="1804" y="3160"/>
                </a:lnTo>
                <a:lnTo>
                  <a:pt x="1874" y="3240"/>
                </a:lnTo>
                <a:lnTo>
                  <a:pt x="1874" y="3240"/>
                </a:lnTo>
                <a:close/>
              </a:path>
            </a:pathLst>
          </a:custGeom>
          <a:solidFill>
            <a:srgbClr val="EA006F"/>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10" name="Otsikko 1"/>
          <p:cNvSpPr>
            <a:spLocks noGrp="1"/>
          </p:cNvSpPr>
          <p:nvPr userDrawn="1">
            <p:ph type="ctrTitle"/>
          </p:nvPr>
        </p:nvSpPr>
        <p:spPr>
          <a:xfrm>
            <a:off x="366651" y="411510"/>
            <a:ext cx="3485269" cy="2967062"/>
          </a:xfrm>
        </p:spPr>
        <p:txBody>
          <a:bodyPr anchor="b" anchorCtr="0">
            <a:noAutofit/>
          </a:bodyPr>
          <a:lstStyle>
            <a:lvl1pPr algn="l">
              <a:defRPr sz="4000">
                <a:solidFill>
                  <a:schemeClr val="accent4"/>
                </a:solidFill>
              </a:defRPr>
            </a:lvl1pPr>
          </a:lstStyle>
          <a:p>
            <a:r>
              <a:rPr lang="en-US" dirty="0"/>
              <a:t>Click to edit Master title style</a:t>
            </a:r>
            <a:endParaRPr lang="fi-FI" dirty="0"/>
          </a:p>
        </p:txBody>
      </p:sp>
      <p:sp>
        <p:nvSpPr>
          <p:cNvPr id="11" name="Alaotsikko 2"/>
          <p:cNvSpPr>
            <a:spLocks noGrp="1"/>
          </p:cNvSpPr>
          <p:nvPr userDrawn="1">
            <p:ph type="subTitle" idx="1"/>
          </p:nvPr>
        </p:nvSpPr>
        <p:spPr>
          <a:xfrm>
            <a:off x="366651" y="3507854"/>
            <a:ext cx="3485270" cy="1512168"/>
          </a:xfrm>
        </p:spPr>
        <p:txBody>
          <a:bodyPr>
            <a:normAutofit/>
          </a:bodyPr>
          <a:lstStyle>
            <a:lvl1pPr marL="0" indent="0" algn="l">
              <a:spcBef>
                <a:spcPts val="0"/>
              </a:spcBef>
              <a:buNone/>
              <a:defRPr sz="1800">
                <a:solidFill>
                  <a:srgbClr val="59596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fi-FI" dirty="0"/>
          </a:p>
        </p:txBody>
      </p:sp>
      <p:sp>
        <p:nvSpPr>
          <p:cNvPr id="32" name="Freeform 30"/>
          <p:cNvSpPr>
            <a:spLocks/>
          </p:cNvSpPr>
          <p:nvPr userDrawn="1"/>
        </p:nvSpPr>
        <p:spPr bwMode="auto">
          <a:xfrm>
            <a:off x="7331075" y="1931690"/>
            <a:ext cx="371475" cy="98425"/>
          </a:xfrm>
          <a:custGeom>
            <a:avLst/>
            <a:gdLst>
              <a:gd name="T0" fmla="*/ 87 w 2807"/>
              <a:gd name="T1" fmla="*/ 343 h 743"/>
              <a:gd name="T2" fmla="*/ 203 w 2807"/>
              <a:gd name="T3" fmla="*/ 417 h 743"/>
              <a:gd name="T4" fmla="*/ 319 w 2807"/>
              <a:gd name="T5" fmla="*/ 479 h 743"/>
              <a:gd name="T6" fmla="*/ 430 w 2807"/>
              <a:gd name="T7" fmla="*/ 529 h 743"/>
              <a:gd name="T8" fmla="*/ 603 w 2807"/>
              <a:gd name="T9" fmla="*/ 595 h 743"/>
              <a:gd name="T10" fmla="*/ 724 w 2807"/>
              <a:gd name="T11" fmla="*/ 633 h 743"/>
              <a:gd name="T12" fmla="*/ 857 w 2807"/>
              <a:gd name="T13" fmla="*/ 666 h 743"/>
              <a:gd name="T14" fmla="*/ 1001 w 2807"/>
              <a:gd name="T15" fmla="*/ 696 h 743"/>
              <a:gd name="T16" fmla="*/ 1157 w 2807"/>
              <a:gd name="T17" fmla="*/ 719 h 743"/>
              <a:gd name="T18" fmla="*/ 1324 w 2807"/>
              <a:gd name="T19" fmla="*/ 736 h 743"/>
              <a:gd name="T20" fmla="*/ 1502 w 2807"/>
              <a:gd name="T21" fmla="*/ 743 h 743"/>
              <a:gd name="T22" fmla="*/ 1689 w 2807"/>
              <a:gd name="T23" fmla="*/ 738 h 743"/>
              <a:gd name="T24" fmla="*/ 1819 w 2807"/>
              <a:gd name="T25" fmla="*/ 729 h 743"/>
              <a:gd name="T26" fmla="*/ 1999 w 2807"/>
              <a:gd name="T27" fmla="*/ 706 h 743"/>
              <a:gd name="T28" fmla="*/ 2159 w 2807"/>
              <a:gd name="T29" fmla="*/ 678 h 743"/>
              <a:gd name="T30" fmla="*/ 2302 w 2807"/>
              <a:gd name="T31" fmla="*/ 643 h 743"/>
              <a:gd name="T32" fmla="*/ 2426 w 2807"/>
              <a:gd name="T33" fmla="*/ 605 h 743"/>
              <a:gd name="T34" fmla="*/ 2533 w 2807"/>
              <a:gd name="T35" fmla="*/ 566 h 743"/>
              <a:gd name="T36" fmla="*/ 2672 w 2807"/>
              <a:gd name="T37" fmla="*/ 505 h 743"/>
              <a:gd name="T38" fmla="*/ 2773 w 2807"/>
              <a:gd name="T39" fmla="*/ 449 h 743"/>
              <a:gd name="T40" fmla="*/ 2807 w 2807"/>
              <a:gd name="T41" fmla="*/ 426 h 743"/>
              <a:gd name="T42" fmla="*/ 2745 w 2807"/>
              <a:gd name="T43" fmla="*/ 402 h 743"/>
              <a:gd name="T44" fmla="*/ 2688 w 2807"/>
              <a:gd name="T45" fmla="*/ 372 h 743"/>
              <a:gd name="T46" fmla="*/ 2586 w 2807"/>
              <a:gd name="T47" fmla="*/ 303 h 743"/>
              <a:gd name="T48" fmla="*/ 2529 w 2807"/>
              <a:gd name="T49" fmla="*/ 256 h 743"/>
              <a:gd name="T50" fmla="*/ 2518 w 2807"/>
              <a:gd name="T51" fmla="*/ 294 h 743"/>
              <a:gd name="T52" fmla="*/ 2507 w 2807"/>
              <a:gd name="T53" fmla="*/ 381 h 743"/>
              <a:gd name="T54" fmla="*/ 2499 w 2807"/>
              <a:gd name="T55" fmla="*/ 413 h 743"/>
              <a:gd name="T56" fmla="*/ 2443 w 2807"/>
              <a:gd name="T57" fmla="*/ 391 h 743"/>
              <a:gd name="T58" fmla="*/ 2423 w 2807"/>
              <a:gd name="T59" fmla="*/ 381 h 743"/>
              <a:gd name="T60" fmla="*/ 2392 w 2807"/>
              <a:gd name="T61" fmla="*/ 357 h 743"/>
              <a:gd name="T62" fmla="*/ 2361 w 2807"/>
              <a:gd name="T63" fmla="*/ 324 h 743"/>
              <a:gd name="T64" fmla="*/ 2334 w 2807"/>
              <a:gd name="T65" fmla="*/ 283 h 743"/>
              <a:gd name="T66" fmla="*/ 2316 w 2807"/>
              <a:gd name="T67" fmla="*/ 235 h 743"/>
              <a:gd name="T68" fmla="*/ 2310 w 2807"/>
              <a:gd name="T69" fmla="*/ 199 h 743"/>
              <a:gd name="T70" fmla="*/ 2252 w 2807"/>
              <a:gd name="T71" fmla="*/ 195 h 743"/>
              <a:gd name="T72" fmla="*/ 2110 w 2807"/>
              <a:gd name="T73" fmla="*/ 243 h 743"/>
              <a:gd name="T74" fmla="*/ 1984 w 2807"/>
              <a:gd name="T75" fmla="*/ 277 h 743"/>
              <a:gd name="T76" fmla="*/ 1843 w 2807"/>
              <a:gd name="T77" fmla="*/ 303 h 743"/>
              <a:gd name="T78" fmla="*/ 1697 w 2807"/>
              <a:gd name="T79" fmla="*/ 319 h 743"/>
              <a:gd name="T80" fmla="*/ 1558 w 2807"/>
              <a:gd name="T81" fmla="*/ 322 h 743"/>
              <a:gd name="T82" fmla="*/ 1293 w 2807"/>
              <a:gd name="T83" fmla="*/ 312 h 743"/>
              <a:gd name="T84" fmla="*/ 1030 w 2807"/>
              <a:gd name="T85" fmla="*/ 282 h 743"/>
              <a:gd name="T86" fmla="*/ 855 w 2807"/>
              <a:gd name="T87" fmla="*/ 251 h 743"/>
              <a:gd name="T88" fmla="*/ 725 w 2807"/>
              <a:gd name="T89" fmla="*/ 221 h 743"/>
              <a:gd name="T90" fmla="*/ 594 w 2807"/>
              <a:gd name="T91" fmla="*/ 185 h 743"/>
              <a:gd name="T92" fmla="*/ 465 w 2807"/>
              <a:gd name="T93" fmla="*/ 143 h 743"/>
              <a:gd name="T94" fmla="*/ 336 w 2807"/>
              <a:gd name="T95" fmla="*/ 94 h 743"/>
              <a:gd name="T96" fmla="*/ 251 w 2807"/>
              <a:gd name="T97" fmla="*/ 58 h 743"/>
              <a:gd name="T98" fmla="*/ 122 w 2807"/>
              <a:gd name="T99" fmla="*/ 0 h 743"/>
              <a:gd name="T100" fmla="*/ 119 w 2807"/>
              <a:gd name="T101" fmla="*/ 19 h 743"/>
              <a:gd name="T102" fmla="*/ 121 w 2807"/>
              <a:gd name="T103" fmla="*/ 51 h 743"/>
              <a:gd name="T104" fmla="*/ 136 w 2807"/>
              <a:gd name="T105" fmla="*/ 96 h 743"/>
              <a:gd name="T106" fmla="*/ 171 w 2807"/>
              <a:gd name="T107" fmla="*/ 156 h 743"/>
              <a:gd name="T108" fmla="*/ 207 w 2807"/>
              <a:gd name="T109" fmla="*/ 204 h 743"/>
              <a:gd name="T110" fmla="*/ 151 w 2807"/>
              <a:gd name="T111" fmla="*/ 199 h 743"/>
              <a:gd name="T112" fmla="*/ 98 w 2807"/>
              <a:gd name="T113" fmla="*/ 204 h 743"/>
              <a:gd name="T114" fmla="*/ 69 w 2807"/>
              <a:gd name="T115" fmla="*/ 215 h 743"/>
              <a:gd name="T116" fmla="*/ 32 w 2807"/>
              <a:gd name="T117" fmla="*/ 244 h 743"/>
              <a:gd name="T118" fmla="*/ 7 w 2807"/>
              <a:gd name="T119" fmla="*/ 272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07" h="743">
                <a:moveTo>
                  <a:pt x="0" y="284"/>
                </a:moveTo>
                <a:lnTo>
                  <a:pt x="0" y="284"/>
                </a:lnTo>
                <a:lnTo>
                  <a:pt x="87" y="343"/>
                </a:lnTo>
                <a:lnTo>
                  <a:pt x="127" y="369"/>
                </a:lnTo>
                <a:lnTo>
                  <a:pt x="166" y="394"/>
                </a:lnTo>
                <a:lnTo>
                  <a:pt x="203" y="417"/>
                </a:lnTo>
                <a:lnTo>
                  <a:pt x="241" y="438"/>
                </a:lnTo>
                <a:lnTo>
                  <a:pt x="280" y="460"/>
                </a:lnTo>
                <a:lnTo>
                  <a:pt x="319" y="479"/>
                </a:lnTo>
                <a:lnTo>
                  <a:pt x="319" y="479"/>
                </a:lnTo>
                <a:lnTo>
                  <a:pt x="372" y="504"/>
                </a:lnTo>
                <a:lnTo>
                  <a:pt x="430" y="529"/>
                </a:lnTo>
                <a:lnTo>
                  <a:pt x="495" y="556"/>
                </a:lnTo>
                <a:lnTo>
                  <a:pt x="565" y="581"/>
                </a:lnTo>
                <a:lnTo>
                  <a:pt x="603" y="595"/>
                </a:lnTo>
                <a:lnTo>
                  <a:pt x="642" y="607"/>
                </a:lnTo>
                <a:lnTo>
                  <a:pt x="682" y="620"/>
                </a:lnTo>
                <a:lnTo>
                  <a:pt x="724" y="633"/>
                </a:lnTo>
                <a:lnTo>
                  <a:pt x="767" y="644"/>
                </a:lnTo>
                <a:lnTo>
                  <a:pt x="811" y="655"/>
                </a:lnTo>
                <a:lnTo>
                  <a:pt x="857" y="666"/>
                </a:lnTo>
                <a:lnTo>
                  <a:pt x="903" y="677"/>
                </a:lnTo>
                <a:lnTo>
                  <a:pt x="952" y="687"/>
                </a:lnTo>
                <a:lnTo>
                  <a:pt x="1001" y="696"/>
                </a:lnTo>
                <a:lnTo>
                  <a:pt x="1052" y="705"/>
                </a:lnTo>
                <a:lnTo>
                  <a:pt x="1104" y="713"/>
                </a:lnTo>
                <a:lnTo>
                  <a:pt x="1157" y="719"/>
                </a:lnTo>
                <a:lnTo>
                  <a:pt x="1212" y="727"/>
                </a:lnTo>
                <a:lnTo>
                  <a:pt x="1267" y="732"/>
                </a:lnTo>
                <a:lnTo>
                  <a:pt x="1324" y="736"/>
                </a:lnTo>
                <a:lnTo>
                  <a:pt x="1382" y="739"/>
                </a:lnTo>
                <a:lnTo>
                  <a:pt x="1442" y="741"/>
                </a:lnTo>
                <a:lnTo>
                  <a:pt x="1502" y="743"/>
                </a:lnTo>
                <a:lnTo>
                  <a:pt x="1563" y="742"/>
                </a:lnTo>
                <a:lnTo>
                  <a:pt x="1626" y="741"/>
                </a:lnTo>
                <a:lnTo>
                  <a:pt x="1689" y="738"/>
                </a:lnTo>
                <a:lnTo>
                  <a:pt x="1754" y="734"/>
                </a:lnTo>
                <a:lnTo>
                  <a:pt x="1819" y="729"/>
                </a:lnTo>
                <a:lnTo>
                  <a:pt x="1819" y="729"/>
                </a:lnTo>
                <a:lnTo>
                  <a:pt x="1881" y="723"/>
                </a:lnTo>
                <a:lnTo>
                  <a:pt x="1941" y="714"/>
                </a:lnTo>
                <a:lnTo>
                  <a:pt x="1999" y="706"/>
                </a:lnTo>
                <a:lnTo>
                  <a:pt x="2054" y="697"/>
                </a:lnTo>
                <a:lnTo>
                  <a:pt x="2108" y="688"/>
                </a:lnTo>
                <a:lnTo>
                  <a:pt x="2159" y="678"/>
                </a:lnTo>
                <a:lnTo>
                  <a:pt x="2209" y="666"/>
                </a:lnTo>
                <a:lnTo>
                  <a:pt x="2257" y="655"/>
                </a:lnTo>
                <a:lnTo>
                  <a:pt x="2302" y="643"/>
                </a:lnTo>
                <a:lnTo>
                  <a:pt x="2346" y="631"/>
                </a:lnTo>
                <a:lnTo>
                  <a:pt x="2387" y="618"/>
                </a:lnTo>
                <a:lnTo>
                  <a:pt x="2426" y="605"/>
                </a:lnTo>
                <a:lnTo>
                  <a:pt x="2464" y="593"/>
                </a:lnTo>
                <a:lnTo>
                  <a:pt x="2500" y="579"/>
                </a:lnTo>
                <a:lnTo>
                  <a:pt x="2533" y="566"/>
                </a:lnTo>
                <a:lnTo>
                  <a:pt x="2564" y="554"/>
                </a:lnTo>
                <a:lnTo>
                  <a:pt x="2622" y="528"/>
                </a:lnTo>
                <a:lnTo>
                  <a:pt x="2672" y="505"/>
                </a:lnTo>
                <a:lnTo>
                  <a:pt x="2713" y="483"/>
                </a:lnTo>
                <a:lnTo>
                  <a:pt x="2747" y="465"/>
                </a:lnTo>
                <a:lnTo>
                  <a:pt x="2773" y="449"/>
                </a:lnTo>
                <a:lnTo>
                  <a:pt x="2792" y="436"/>
                </a:lnTo>
                <a:lnTo>
                  <a:pt x="2807" y="426"/>
                </a:lnTo>
                <a:lnTo>
                  <a:pt x="2807" y="426"/>
                </a:lnTo>
                <a:lnTo>
                  <a:pt x="2786" y="419"/>
                </a:lnTo>
                <a:lnTo>
                  <a:pt x="2766" y="410"/>
                </a:lnTo>
                <a:lnTo>
                  <a:pt x="2745" y="402"/>
                </a:lnTo>
                <a:lnTo>
                  <a:pt x="2726" y="391"/>
                </a:lnTo>
                <a:lnTo>
                  <a:pt x="2706" y="382"/>
                </a:lnTo>
                <a:lnTo>
                  <a:pt x="2688" y="372"/>
                </a:lnTo>
                <a:lnTo>
                  <a:pt x="2651" y="349"/>
                </a:lnTo>
                <a:lnTo>
                  <a:pt x="2618" y="327"/>
                </a:lnTo>
                <a:lnTo>
                  <a:pt x="2586" y="303"/>
                </a:lnTo>
                <a:lnTo>
                  <a:pt x="2556" y="280"/>
                </a:lnTo>
                <a:lnTo>
                  <a:pt x="2529" y="256"/>
                </a:lnTo>
                <a:lnTo>
                  <a:pt x="2529" y="256"/>
                </a:lnTo>
                <a:lnTo>
                  <a:pt x="2524" y="266"/>
                </a:lnTo>
                <a:lnTo>
                  <a:pt x="2521" y="279"/>
                </a:lnTo>
                <a:lnTo>
                  <a:pt x="2518" y="294"/>
                </a:lnTo>
                <a:lnTo>
                  <a:pt x="2515" y="312"/>
                </a:lnTo>
                <a:lnTo>
                  <a:pt x="2515" y="312"/>
                </a:lnTo>
                <a:lnTo>
                  <a:pt x="2507" y="381"/>
                </a:lnTo>
                <a:lnTo>
                  <a:pt x="2503" y="414"/>
                </a:lnTo>
                <a:lnTo>
                  <a:pt x="2503" y="414"/>
                </a:lnTo>
                <a:lnTo>
                  <a:pt x="2499" y="413"/>
                </a:lnTo>
                <a:lnTo>
                  <a:pt x="2489" y="410"/>
                </a:lnTo>
                <a:lnTo>
                  <a:pt x="2470" y="403"/>
                </a:lnTo>
                <a:lnTo>
                  <a:pt x="2443" y="391"/>
                </a:lnTo>
                <a:lnTo>
                  <a:pt x="2443" y="391"/>
                </a:lnTo>
                <a:lnTo>
                  <a:pt x="2433" y="387"/>
                </a:lnTo>
                <a:lnTo>
                  <a:pt x="2423" y="381"/>
                </a:lnTo>
                <a:lnTo>
                  <a:pt x="2413" y="374"/>
                </a:lnTo>
                <a:lnTo>
                  <a:pt x="2403" y="366"/>
                </a:lnTo>
                <a:lnTo>
                  <a:pt x="2392" y="357"/>
                </a:lnTo>
                <a:lnTo>
                  <a:pt x="2381" y="347"/>
                </a:lnTo>
                <a:lnTo>
                  <a:pt x="2371" y="336"/>
                </a:lnTo>
                <a:lnTo>
                  <a:pt x="2361" y="324"/>
                </a:lnTo>
                <a:lnTo>
                  <a:pt x="2351" y="312"/>
                </a:lnTo>
                <a:lnTo>
                  <a:pt x="2342" y="297"/>
                </a:lnTo>
                <a:lnTo>
                  <a:pt x="2334" y="283"/>
                </a:lnTo>
                <a:lnTo>
                  <a:pt x="2326" y="268"/>
                </a:lnTo>
                <a:lnTo>
                  <a:pt x="2320" y="251"/>
                </a:lnTo>
                <a:lnTo>
                  <a:pt x="2316" y="235"/>
                </a:lnTo>
                <a:lnTo>
                  <a:pt x="2312" y="216"/>
                </a:lnTo>
                <a:lnTo>
                  <a:pt x="2310" y="199"/>
                </a:lnTo>
                <a:lnTo>
                  <a:pt x="2310" y="199"/>
                </a:lnTo>
                <a:lnTo>
                  <a:pt x="2309" y="174"/>
                </a:lnTo>
                <a:lnTo>
                  <a:pt x="2309" y="174"/>
                </a:lnTo>
                <a:lnTo>
                  <a:pt x="2252" y="195"/>
                </a:lnTo>
                <a:lnTo>
                  <a:pt x="2186" y="218"/>
                </a:lnTo>
                <a:lnTo>
                  <a:pt x="2149" y="231"/>
                </a:lnTo>
                <a:lnTo>
                  <a:pt x="2110" y="243"/>
                </a:lnTo>
                <a:lnTo>
                  <a:pt x="2069" y="254"/>
                </a:lnTo>
                <a:lnTo>
                  <a:pt x="2028" y="266"/>
                </a:lnTo>
                <a:lnTo>
                  <a:pt x="1984" y="277"/>
                </a:lnTo>
                <a:lnTo>
                  <a:pt x="1938" y="286"/>
                </a:lnTo>
                <a:lnTo>
                  <a:pt x="1892" y="295"/>
                </a:lnTo>
                <a:lnTo>
                  <a:pt x="1843" y="303"/>
                </a:lnTo>
                <a:lnTo>
                  <a:pt x="1795" y="311"/>
                </a:lnTo>
                <a:lnTo>
                  <a:pt x="1746" y="316"/>
                </a:lnTo>
                <a:lnTo>
                  <a:pt x="1697" y="319"/>
                </a:lnTo>
                <a:lnTo>
                  <a:pt x="1647" y="321"/>
                </a:lnTo>
                <a:lnTo>
                  <a:pt x="1647" y="321"/>
                </a:lnTo>
                <a:lnTo>
                  <a:pt x="1558" y="322"/>
                </a:lnTo>
                <a:lnTo>
                  <a:pt x="1470" y="321"/>
                </a:lnTo>
                <a:lnTo>
                  <a:pt x="1382" y="317"/>
                </a:lnTo>
                <a:lnTo>
                  <a:pt x="1293" y="312"/>
                </a:lnTo>
                <a:lnTo>
                  <a:pt x="1205" y="304"/>
                </a:lnTo>
                <a:lnTo>
                  <a:pt x="1118" y="294"/>
                </a:lnTo>
                <a:lnTo>
                  <a:pt x="1030" y="282"/>
                </a:lnTo>
                <a:lnTo>
                  <a:pt x="943" y="268"/>
                </a:lnTo>
                <a:lnTo>
                  <a:pt x="899" y="259"/>
                </a:lnTo>
                <a:lnTo>
                  <a:pt x="855" y="251"/>
                </a:lnTo>
                <a:lnTo>
                  <a:pt x="812" y="241"/>
                </a:lnTo>
                <a:lnTo>
                  <a:pt x="768" y="231"/>
                </a:lnTo>
                <a:lnTo>
                  <a:pt x="725" y="221"/>
                </a:lnTo>
                <a:lnTo>
                  <a:pt x="681" y="209"/>
                </a:lnTo>
                <a:lnTo>
                  <a:pt x="638" y="197"/>
                </a:lnTo>
                <a:lnTo>
                  <a:pt x="594" y="185"/>
                </a:lnTo>
                <a:lnTo>
                  <a:pt x="551" y="171"/>
                </a:lnTo>
                <a:lnTo>
                  <a:pt x="508" y="157"/>
                </a:lnTo>
                <a:lnTo>
                  <a:pt x="465" y="143"/>
                </a:lnTo>
                <a:lnTo>
                  <a:pt x="422" y="127"/>
                </a:lnTo>
                <a:lnTo>
                  <a:pt x="379" y="111"/>
                </a:lnTo>
                <a:lnTo>
                  <a:pt x="336" y="94"/>
                </a:lnTo>
                <a:lnTo>
                  <a:pt x="294" y="76"/>
                </a:lnTo>
                <a:lnTo>
                  <a:pt x="251" y="58"/>
                </a:lnTo>
                <a:lnTo>
                  <a:pt x="251" y="58"/>
                </a:lnTo>
                <a:lnTo>
                  <a:pt x="165" y="19"/>
                </a:lnTo>
                <a:lnTo>
                  <a:pt x="122" y="0"/>
                </a:lnTo>
                <a:lnTo>
                  <a:pt x="122" y="0"/>
                </a:lnTo>
                <a:lnTo>
                  <a:pt x="121" y="3"/>
                </a:lnTo>
                <a:lnTo>
                  <a:pt x="119" y="12"/>
                </a:lnTo>
                <a:lnTo>
                  <a:pt x="119" y="19"/>
                </a:lnTo>
                <a:lnTo>
                  <a:pt x="119" y="28"/>
                </a:lnTo>
                <a:lnTo>
                  <a:pt x="119" y="39"/>
                </a:lnTo>
                <a:lnTo>
                  <a:pt x="121" y="51"/>
                </a:lnTo>
                <a:lnTo>
                  <a:pt x="125" y="64"/>
                </a:lnTo>
                <a:lnTo>
                  <a:pt x="129" y="79"/>
                </a:lnTo>
                <a:lnTo>
                  <a:pt x="136" y="96"/>
                </a:lnTo>
                <a:lnTo>
                  <a:pt x="145" y="114"/>
                </a:lnTo>
                <a:lnTo>
                  <a:pt x="156" y="135"/>
                </a:lnTo>
                <a:lnTo>
                  <a:pt x="171" y="156"/>
                </a:lnTo>
                <a:lnTo>
                  <a:pt x="187" y="180"/>
                </a:lnTo>
                <a:lnTo>
                  <a:pt x="207" y="204"/>
                </a:lnTo>
                <a:lnTo>
                  <a:pt x="207" y="204"/>
                </a:lnTo>
                <a:lnTo>
                  <a:pt x="189" y="201"/>
                </a:lnTo>
                <a:lnTo>
                  <a:pt x="170" y="199"/>
                </a:lnTo>
                <a:lnTo>
                  <a:pt x="151" y="199"/>
                </a:lnTo>
                <a:lnTo>
                  <a:pt x="132" y="199"/>
                </a:lnTo>
                <a:lnTo>
                  <a:pt x="114" y="201"/>
                </a:lnTo>
                <a:lnTo>
                  <a:pt x="98" y="204"/>
                </a:lnTo>
                <a:lnTo>
                  <a:pt x="83" y="209"/>
                </a:lnTo>
                <a:lnTo>
                  <a:pt x="69" y="215"/>
                </a:lnTo>
                <a:lnTo>
                  <a:pt x="69" y="215"/>
                </a:lnTo>
                <a:lnTo>
                  <a:pt x="55" y="224"/>
                </a:lnTo>
                <a:lnTo>
                  <a:pt x="42" y="234"/>
                </a:lnTo>
                <a:lnTo>
                  <a:pt x="32" y="244"/>
                </a:lnTo>
                <a:lnTo>
                  <a:pt x="21" y="253"/>
                </a:lnTo>
                <a:lnTo>
                  <a:pt x="13" y="262"/>
                </a:lnTo>
                <a:lnTo>
                  <a:pt x="7" y="272"/>
                </a:lnTo>
                <a:lnTo>
                  <a:pt x="0" y="28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3" name="Freeform 31"/>
          <p:cNvSpPr>
            <a:spLocks/>
          </p:cNvSpPr>
          <p:nvPr userDrawn="1"/>
        </p:nvSpPr>
        <p:spPr bwMode="auto">
          <a:xfrm>
            <a:off x="7248525" y="1618953"/>
            <a:ext cx="377825" cy="271463"/>
          </a:xfrm>
          <a:custGeom>
            <a:avLst/>
            <a:gdLst>
              <a:gd name="T0" fmla="*/ 2491 w 2863"/>
              <a:gd name="T1" fmla="*/ 103 h 2054"/>
              <a:gd name="T2" fmla="*/ 2575 w 2863"/>
              <a:gd name="T3" fmla="*/ 23 h 2054"/>
              <a:gd name="T4" fmla="*/ 2196 w 2863"/>
              <a:gd name="T5" fmla="*/ 132 h 2054"/>
              <a:gd name="T6" fmla="*/ 1671 w 2863"/>
              <a:gd name="T7" fmla="*/ 429 h 2054"/>
              <a:gd name="T8" fmla="*/ 1528 w 2863"/>
              <a:gd name="T9" fmla="*/ 462 h 2054"/>
              <a:gd name="T10" fmla="*/ 1416 w 2863"/>
              <a:gd name="T11" fmla="*/ 568 h 2054"/>
              <a:gd name="T12" fmla="*/ 1409 w 2863"/>
              <a:gd name="T13" fmla="*/ 634 h 2054"/>
              <a:gd name="T14" fmla="*/ 1479 w 2863"/>
              <a:gd name="T15" fmla="*/ 748 h 2054"/>
              <a:gd name="T16" fmla="*/ 1586 w 2863"/>
              <a:gd name="T17" fmla="*/ 787 h 2054"/>
              <a:gd name="T18" fmla="*/ 1476 w 2863"/>
              <a:gd name="T19" fmla="*/ 974 h 2054"/>
              <a:gd name="T20" fmla="*/ 1133 w 2863"/>
              <a:gd name="T21" fmla="*/ 1199 h 2054"/>
              <a:gd name="T22" fmla="*/ 799 w 2863"/>
              <a:gd name="T23" fmla="*/ 1254 h 2054"/>
              <a:gd name="T24" fmla="*/ 634 w 2863"/>
              <a:gd name="T25" fmla="*/ 1102 h 2054"/>
              <a:gd name="T26" fmla="*/ 539 w 2863"/>
              <a:gd name="T27" fmla="*/ 1015 h 2054"/>
              <a:gd name="T28" fmla="*/ 406 w 2863"/>
              <a:gd name="T29" fmla="*/ 1023 h 2054"/>
              <a:gd name="T30" fmla="*/ 231 w 2863"/>
              <a:gd name="T31" fmla="*/ 1090 h 2054"/>
              <a:gd name="T32" fmla="*/ 382 w 2863"/>
              <a:gd name="T33" fmla="*/ 1121 h 2054"/>
              <a:gd name="T34" fmla="*/ 351 w 2863"/>
              <a:gd name="T35" fmla="*/ 1168 h 2054"/>
              <a:gd name="T36" fmla="*/ 418 w 2863"/>
              <a:gd name="T37" fmla="*/ 1270 h 2054"/>
              <a:gd name="T38" fmla="*/ 608 w 2863"/>
              <a:gd name="T39" fmla="*/ 1387 h 2054"/>
              <a:gd name="T40" fmla="*/ 314 w 2863"/>
              <a:gd name="T41" fmla="*/ 1296 h 2054"/>
              <a:gd name="T42" fmla="*/ 234 w 2863"/>
              <a:gd name="T43" fmla="*/ 1324 h 2054"/>
              <a:gd name="T44" fmla="*/ 77 w 2863"/>
              <a:gd name="T45" fmla="*/ 1367 h 2054"/>
              <a:gd name="T46" fmla="*/ 0 w 2863"/>
              <a:gd name="T47" fmla="*/ 1480 h 2054"/>
              <a:gd name="T48" fmla="*/ 63 w 2863"/>
              <a:gd name="T49" fmla="*/ 1501 h 2054"/>
              <a:gd name="T50" fmla="*/ 166 w 2863"/>
              <a:gd name="T51" fmla="*/ 1461 h 2054"/>
              <a:gd name="T52" fmla="*/ 187 w 2863"/>
              <a:gd name="T53" fmla="*/ 1573 h 2054"/>
              <a:gd name="T54" fmla="*/ 354 w 2863"/>
              <a:gd name="T55" fmla="*/ 1597 h 2054"/>
              <a:gd name="T56" fmla="*/ 616 w 2863"/>
              <a:gd name="T57" fmla="*/ 1588 h 2054"/>
              <a:gd name="T58" fmla="*/ 382 w 2863"/>
              <a:gd name="T59" fmla="*/ 1636 h 2054"/>
              <a:gd name="T60" fmla="*/ 295 w 2863"/>
              <a:gd name="T61" fmla="*/ 1696 h 2054"/>
              <a:gd name="T62" fmla="*/ 254 w 2863"/>
              <a:gd name="T63" fmla="*/ 1795 h 2054"/>
              <a:gd name="T64" fmla="*/ 239 w 2863"/>
              <a:gd name="T65" fmla="*/ 1953 h 2054"/>
              <a:gd name="T66" fmla="*/ 335 w 2863"/>
              <a:gd name="T67" fmla="*/ 2045 h 2054"/>
              <a:gd name="T68" fmla="*/ 341 w 2863"/>
              <a:gd name="T69" fmla="*/ 1906 h 2054"/>
              <a:gd name="T70" fmla="*/ 417 w 2863"/>
              <a:gd name="T71" fmla="*/ 1946 h 2054"/>
              <a:gd name="T72" fmla="*/ 509 w 2863"/>
              <a:gd name="T73" fmla="*/ 1935 h 2054"/>
              <a:gd name="T74" fmla="*/ 732 w 2863"/>
              <a:gd name="T75" fmla="*/ 1733 h 2054"/>
              <a:gd name="T76" fmla="*/ 874 w 2863"/>
              <a:gd name="T77" fmla="*/ 1691 h 2054"/>
              <a:gd name="T78" fmla="*/ 870 w 2863"/>
              <a:gd name="T79" fmla="*/ 1786 h 2054"/>
              <a:gd name="T80" fmla="*/ 945 w 2863"/>
              <a:gd name="T81" fmla="*/ 1834 h 2054"/>
              <a:gd name="T82" fmla="*/ 875 w 2863"/>
              <a:gd name="T83" fmla="*/ 1948 h 2054"/>
              <a:gd name="T84" fmla="*/ 1004 w 2863"/>
              <a:gd name="T85" fmla="*/ 1919 h 2054"/>
              <a:gd name="T86" fmla="*/ 1100 w 2863"/>
              <a:gd name="T87" fmla="*/ 1787 h 2054"/>
              <a:gd name="T88" fmla="*/ 1159 w 2863"/>
              <a:gd name="T89" fmla="*/ 1734 h 2054"/>
              <a:gd name="T90" fmla="*/ 1183 w 2863"/>
              <a:gd name="T91" fmla="*/ 1628 h 2054"/>
              <a:gd name="T92" fmla="*/ 1338 w 2863"/>
              <a:gd name="T93" fmla="*/ 1564 h 2054"/>
              <a:gd name="T94" fmla="*/ 1370 w 2863"/>
              <a:gd name="T95" fmla="*/ 1465 h 2054"/>
              <a:gd name="T96" fmla="*/ 1461 w 2863"/>
              <a:gd name="T97" fmla="*/ 1462 h 2054"/>
              <a:gd name="T98" fmla="*/ 1684 w 2863"/>
              <a:gd name="T99" fmla="*/ 1556 h 2054"/>
              <a:gd name="T100" fmla="*/ 1888 w 2863"/>
              <a:gd name="T101" fmla="*/ 1440 h 2054"/>
              <a:gd name="T102" fmla="*/ 1799 w 2863"/>
              <a:gd name="T103" fmla="*/ 1308 h 2054"/>
              <a:gd name="T104" fmla="*/ 1857 w 2863"/>
              <a:gd name="T105" fmla="*/ 1327 h 2054"/>
              <a:gd name="T106" fmla="*/ 2183 w 2863"/>
              <a:gd name="T107" fmla="*/ 1273 h 2054"/>
              <a:gd name="T108" fmla="*/ 2142 w 2863"/>
              <a:gd name="T109" fmla="*/ 1164 h 2054"/>
              <a:gd name="T110" fmla="*/ 2112 w 2863"/>
              <a:gd name="T111" fmla="*/ 1069 h 2054"/>
              <a:gd name="T112" fmla="*/ 2121 w 2863"/>
              <a:gd name="T113" fmla="*/ 977 h 2054"/>
              <a:gd name="T114" fmla="*/ 2085 w 2863"/>
              <a:gd name="T115" fmla="*/ 807 h 2054"/>
              <a:gd name="T116" fmla="*/ 2859 w 2863"/>
              <a:gd name="T117" fmla="*/ 408 h 2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63" h="2054">
                <a:moveTo>
                  <a:pt x="2759" y="252"/>
                </a:moveTo>
                <a:lnTo>
                  <a:pt x="2759" y="252"/>
                </a:lnTo>
                <a:lnTo>
                  <a:pt x="2742" y="239"/>
                </a:lnTo>
                <a:lnTo>
                  <a:pt x="2725" y="227"/>
                </a:lnTo>
                <a:lnTo>
                  <a:pt x="2708" y="214"/>
                </a:lnTo>
                <a:lnTo>
                  <a:pt x="2690" y="203"/>
                </a:lnTo>
                <a:lnTo>
                  <a:pt x="2655" y="184"/>
                </a:lnTo>
                <a:lnTo>
                  <a:pt x="2621" y="165"/>
                </a:lnTo>
                <a:lnTo>
                  <a:pt x="2586" y="148"/>
                </a:lnTo>
                <a:lnTo>
                  <a:pt x="2553" y="133"/>
                </a:lnTo>
                <a:lnTo>
                  <a:pt x="2522" y="118"/>
                </a:lnTo>
                <a:lnTo>
                  <a:pt x="2491" y="103"/>
                </a:lnTo>
                <a:lnTo>
                  <a:pt x="2491" y="103"/>
                </a:lnTo>
                <a:lnTo>
                  <a:pt x="2507" y="93"/>
                </a:lnTo>
                <a:lnTo>
                  <a:pt x="2523" y="82"/>
                </a:lnTo>
                <a:lnTo>
                  <a:pt x="2540" y="68"/>
                </a:lnTo>
                <a:lnTo>
                  <a:pt x="2556" y="54"/>
                </a:lnTo>
                <a:lnTo>
                  <a:pt x="2570" y="41"/>
                </a:lnTo>
                <a:lnTo>
                  <a:pt x="2574" y="35"/>
                </a:lnTo>
                <a:lnTo>
                  <a:pt x="2577" y="30"/>
                </a:lnTo>
                <a:lnTo>
                  <a:pt x="2577" y="26"/>
                </a:lnTo>
                <a:lnTo>
                  <a:pt x="2577" y="24"/>
                </a:lnTo>
                <a:lnTo>
                  <a:pt x="2575" y="23"/>
                </a:lnTo>
                <a:lnTo>
                  <a:pt x="2575" y="23"/>
                </a:lnTo>
                <a:lnTo>
                  <a:pt x="2562" y="16"/>
                </a:lnTo>
                <a:lnTo>
                  <a:pt x="2550" y="10"/>
                </a:lnTo>
                <a:lnTo>
                  <a:pt x="2538" y="6"/>
                </a:lnTo>
                <a:lnTo>
                  <a:pt x="2527" y="4"/>
                </a:lnTo>
                <a:lnTo>
                  <a:pt x="2508" y="1"/>
                </a:lnTo>
                <a:lnTo>
                  <a:pt x="2501" y="0"/>
                </a:lnTo>
                <a:lnTo>
                  <a:pt x="2501" y="0"/>
                </a:lnTo>
                <a:lnTo>
                  <a:pt x="2440" y="24"/>
                </a:lnTo>
                <a:lnTo>
                  <a:pt x="2377" y="50"/>
                </a:lnTo>
                <a:lnTo>
                  <a:pt x="2317" y="76"/>
                </a:lnTo>
                <a:lnTo>
                  <a:pt x="2256" y="103"/>
                </a:lnTo>
                <a:lnTo>
                  <a:pt x="2196" y="132"/>
                </a:lnTo>
                <a:lnTo>
                  <a:pt x="2138" y="160"/>
                </a:lnTo>
                <a:lnTo>
                  <a:pt x="2081" y="189"/>
                </a:lnTo>
                <a:lnTo>
                  <a:pt x="2026" y="219"/>
                </a:lnTo>
                <a:lnTo>
                  <a:pt x="1972" y="247"/>
                </a:lnTo>
                <a:lnTo>
                  <a:pt x="1921" y="276"/>
                </a:lnTo>
                <a:lnTo>
                  <a:pt x="1872" y="303"/>
                </a:lnTo>
                <a:lnTo>
                  <a:pt x="1825" y="331"/>
                </a:lnTo>
                <a:lnTo>
                  <a:pt x="1782" y="358"/>
                </a:lnTo>
                <a:lnTo>
                  <a:pt x="1741" y="383"/>
                </a:lnTo>
                <a:lnTo>
                  <a:pt x="1705" y="407"/>
                </a:lnTo>
                <a:lnTo>
                  <a:pt x="1671" y="429"/>
                </a:lnTo>
                <a:lnTo>
                  <a:pt x="1671" y="429"/>
                </a:lnTo>
                <a:lnTo>
                  <a:pt x="1666" y="432"/>
                </a:lnTo>
                <a:lnTo>
                  <a:pt x="1666" y="432"/>
                </a:lnTo>
                <a:lnTo>
                  <a:pt x="1654" y="439"/>
                </a:lnTo>
                <a:lnTo>
                  <a:pt x="1643" y="446"/>
                </a:lnTo>
                <a:lnTo>
                  <a:pt x="1632" y="451"/>
                </a:lnTo>
                <a:lnTo>
                  <a:pt x="1620" y="455"/>
                </a:lnTo>
                <a:lnTo>
                  <a:pt x="1608" y="458"/>
                </a:lnTo>
                <a:lnTo>
                  <a:pt x="1597" y="461"/>
                </a:lnTo>
                <a:lnTo>
                  <a:pt x="1585" y="462"/>
                </a:lnTo>
                <a:lnTo>
                  <a:pt x="1574" y="463"/>
                </a:lnTo>
                <a:lnTo>
                  <a:pt x="1550" y="464"/>
                </a:lnTo>
                <a:lnTo>
                  <a:pt x="1528" y="462"/>
                </a:lnTo>
                <a:lnTo>
                  <a:pt x="1505" y="459"/>
                </a:lnTo>
                <a:lnTo>
                  <a:pt x="1485" y="454"/>
                </a:lnTo>
                <a:lnTo>
                  <a:pt x="1465" y="449"/>
                </a:lnTo>
                <a:lnTo>
                  <a:pt x="1448" y="442"/>
                </a:lnTo>
                <a:lnTo>
                  <a:pt x="1433" y="436"/>
                </a:lnTo>
                <a:lnTo>
                  <a:pt x="1418" y="430"/>
                </a:lnTo>
                <a:lnTo>
                  <a:pt x="1399" y="420"/>
                </a:lnTo>
                <a:lnTo>
                  <a:pt x="1393" y="416"/>
                </a:lnTo>
                <a:lnTo>
                  <a:pt x="1372" y="544"/>
                </a:lnTo>
                <a:lnTo>
                  <a:pt x="1372" y="544"/>
                </a:lnTo>
                <a:lnTo>
                  <a:pt x="1395" y="557"/>
                </a:lnTo>
                <a:lnTo>
                  <a:pt x="1416" y="568"/>
                </a:lnTo>
                <a:lnTo>
                  <a:pt x="1437" y="577"/>
                </a:lnTo>
                <a:lnTo>
                  <a:pt x="1454" y="586"/>
                </a:lnTo>
                <a:lnTo>
                  <a:pt x="1470" y="592"/>
                </a:lnTo>
                <a:lnTo>
                  <a:pt x="1486" y="596"/>
                </a:lnTo>
                <a:lnTo>
                  <a:pt x="1499" y="600"/>
                </a:lnTo>
                <a:lnTo>
                  <a:pt x="1510" y="602"/>
                </a:lnTo>
                <a:lnTo>
                  <a:pt x="1510" y="602"/>
                </a:lnTo>
                <a:lnTo>
                  <a:pt x="1491" y="606"/>
                </a:lnTo>
                <a:lnTo>
                  <a:pt x="1470" y="611"/>
                </a:lnTo>
                <a:lnTo>
                  <a:pt x="1450" y="617"/>
                </a:lnTo>
                <a:lnTo>
                  <a:pt x="1428" y="625"/>
                </a:lnTo>
                <a:lnTo>
                  <a:pt x="1409" y="634"/>
                </a:lnTo>
                <a:lnTo>
                  <a:pt x="1391" y="645"/>
                </a:lnTo>
                <a:lnTo>
                  <a:pt x="1381" y="650"/>
                </a:lnTo>
                <a:lnTo>
                  <a:pt x="1373" y="656"/>
                </a:lnTo>
                <a:lnTo>
                  <a:pt x="1366" y="663"/>
                </a:lnTo>
                <a:lnTo>
                  <a:pt x="1360" y="670"/>
                </a:lnTo>
                <a:lnTo>
                  <a:pt x="1404" y="788"/>
                </a:lnTo>
                <a:lnTo>
                  <a:pt x="1404" y="788"/>
                </a:lnTo>
                <a:lnTo>
                  <a:pt x="1416" y="779"/>
                </a:lnTo>
                <a:lnTo>
                  <a:pt x="1432" y="770"/>
                </a:lnTo>
                <a:lnTo>
                  <a:pt x="1453" y="758"/>
                </a:lnTo>
                <a:lnTo>
                  <a:pt x="1465" y="753"/>
                </a:lnTo>
                <a:lnTo>
                  <a:pt x="1479" y="748"/>
                </a:lnTo>
                <a:lnTo>
                  <a:pt x="1494" y="743"/>
                </a:lnTo>
                <a:lnTo>
                  <a:pt x="1509" y="738"/>
                </a:lnTo>
                <a:lnTo>
                  <a:pt x="1527" y="734"/>
                </a:lnTo>
                <a:lnTo>
                  <a:pt x="1545" y="731"/>
                </a:lnTo>
                <a:lnTo>
                  <a:pt x="1564" y="729"/>
                </a:lnTo>
                <a:lnTo>
                  <a:pt x="1585" y="728"/>
                </a:lnTo>
                <a:lnTo>
                  <a:pt x="1585" y="728"/>
                </a:lnTo>
                <a:lnTo>
                  <a:pt x="1588" y="744"/>
                </a:lnTo>
                <a:lnTo>
                  <a:pt x="1588" y="744"/>
                </a:lnTo>
                <a:lnTo>
                  <a:pt x="1588" y="758"/>
                </a:lnTo>
                <a:lnTo>
                  <a:pt x="1588" y="773"/>
                </a:lnTo>
                <a:lnTo>
                  <a:pt x="1586" y="787"/>
                </a:lnTo>
                <a:lnTo>
                  <a:pt x="1583" y="802"/>
                </a:lnTo>
                <a:lnTo>
                  <a:pt x="1578" y="818"/>
                </a:lnTo>
                <a:lnTo>
                  <a:pt x="1573" y="833"/>
                </a:lnTo>
                <a:lnTo>
                  <a:pt x="1565" y="848"/>
                </a:lnTo>
                <a:lnTo>
                  <a:pt x="1557" y="864"/>
                </a:lnTo>
                <a:lnTo>
                  <a:pt x="1549" y="880"/>
                </a:lnTo>
                <a:lnTo>
                  <a:pt x="1539" y="895"/>
                </a:lnTo>
                <a:lnTo>
                  <a:pt x="1528" y="912"/>
                </a:lnTo>
                <a:lnTo>
                  <a:pt x="1516" y="927"/>
                </a:lnTo>
                <a:lnTo>
                  <a:pt x="1503" y="943"/>
                </a:lnTo>
                <a:lnTo>
                  <a:pt x="1490" y="959"/>
                </a:lnTo>
                <a:lnTo>
                  <a:pt x="1476" y="974"/>
                </a:lnTo>
                <a:lnTo>
                  <a:pt x="1461" y="989"/>
                </a:lnTo>
                <a:lnTo>
                  <a:pt x="1429" y="1020"/>
                </a:lnTo>
                <a:lnTo>
                  <a:pt x="1396" y="1049"/>
                </a:lnTo>
                <a:lnTo>
                  <a:pt x="1360" y="1076"/>
                </a:lnTo>
                <a:lnTo>
                  <a:pt x="1323" y="1102"/>
                </a:lnTo>
                <a:lnTo>
                  <a:pt x="1285" y="1126"/>
                </a:lnTo>
                <a:lnTo>
                  <a:pt x="1247" y="1148"/>
                </a:lnTo>
                <a:lnTo>
                  <a:pt x="1209" y="1167"/>
                </a:lnTo>
                <a:lnTo>
                  <a:pt x="1189" y="1177"/>
                </a:lnTo>
                <a:lnTo>
                  <a:pt x="1171" y="1185"/>
                </a:lnTo>
                <a:lnTo>
                  <a:pt x="1171" y="1185"/>
                </a:lnTo>
                <a:lnTo>
                  <a:pt x="1133" y="1199"/>
                </a:lnTo>
                <a:lnTo>
                  <a:pt x="1095" y="1211"/>
                </a:lnTo>
                <a:lnTo>
                  <a:pt x="1060" y="1223"/>
                </a:lnTo>
                <a:lnTo>
                  <a:pt x="1026" y="1232"/>
                </a:lnTo>
                <a:lnTo>
                  <a:pt x="993" y="1240"/>
                </a:lnTo>
                <a:lnTo>
                  <a:pt x="962" y="1246"/>
                </a:lnTo>
                <a:lnTo>
                  <a:pt x="933" y="1250"/>
                </a:lnTo>
                <a:lnTo>
                  <a:pt x="905" y="1254"/>
                </a:lnTo>
                <a:lnTo>
                  <a:pt x="879" y="1256"/>
                </a:lnTo>
                <a:lnTo>
                  <a:pt x="856" y="1257"/>
                </a:lnTo>
                <a:lnTo>
                  <a:pt x="834" y="1257"/>
                </a:lnTo>
                <a:lnTo>
                  <a:pt x="815" y="1256"/>
                </a:lnTo>
                <a:lnTo>
                  <a:pt x="799" y="1254"/>
                </a:lnTo>
                <a:lnTo>
                  <a:pt x="785" y="1251"/>
                </a:lnTo>
                <a:lnTo>
                  <a:pt x="774" y="1247"/>
                </a:lnTo>
                <a:lnTo>
                  <a:pt x="765" y="1243"/>
                </a:lnTo>
                <a:lnTo>
                  <a:pt x="765" y="1243"/>
                </a:lnTo>
                <a:lnTo>
                  <a:pt x="741" y="1227"/>
                </a:lnTo>
                <a:lnTo>
                  <a:pt x="720" y="1209"/>
                </a:lnTo>
                <a:lnTo>
                  <a:pt x="701" y="1191"/>
                </a:lnTo>
                <a:lnTo>
                  <a:pt x="685" y="1172"/>
                </a:lnTo>
                <a:lnTo>
                  <a:pt x="670" y="1155"/>
                </a:lnTo>
                <a:lnTo>
                  <a:pt x="656" y="1137"/>
                </a:lnTo>
                <a:lnTo>
                  <a:pt x="645" y="1119"/>
                </a:lnTo>
                <a:lnTo>
                  <a:pt x="634" y="1102"/>
                </a:lnTo>
                <a:lnTo>
                  <a:pt x="615" y="1071"/>
                </a:lnTo>
                <a:lnTo>
                  <a:pt x="605" y="1057"/>
                </a:lnTo>
                <a:lnTo>
                  <a:pt x="596" y="1045"/>
                </a:lnTo>
                <a:lnTo>
                  <a:pt x="587" y="1033"/>
                </a:lnTo>
                <a:lnTo>
                  <a:pt x="577" y="1025"/>
                </a:lnTo>
                <a:lnTo>
                  <a:pt x="565" y="1018"/>
                </a:lnTo>
                <a:lnTo>
                  <a:pt x="559" y="1015"/>
                </a:lnTo>
                <a:lnTo>
                  <a:pt x="553" y="1013"/>
                </a:lnTo>
                <a:lnTo>
                  <a:pt x="553" y="1013"/>
                </a:lnTo>
                <a:lnTo>
                  <a:pt x="549" y="1013"/>
                </a:lnTo>
                <a:lnTo>
                  <a:pt x="546" y="1013"/>
                </a:lnTo>
                <a:lnTo>
                  <a:pt x="539" y="1015"/>
                </a:lnTo>
                <a:lnTo>
                  <a:pt x="532" y="1018"/>
                </a:lnTo>
                <a:lnTo>
                  <a:pt x="524" y="1022"/>
                </a:lnTo>
                <a:lnTo>
                  <a:pt x="516" y="1026"/>
                </a:lnTo>
                <a:lnTo>
                  <a:pt x="507" y="1029"/>
                </a:lnTo>
                <a:lnTo>
                  <a:pt x="499" y="1031"/>
                </a:lnTo>
                <a:lnTo>
                  <a:pt x="494" y="1031"/>
                </a:lnTo>
                <a:lnTo>
                  <a:pt x="489" y="1031"/>
                </a:lnTo>
                <a:lnTo>
                  <a:pt x="489" y="1031"/>
                </a:lnTo>
                <a:lnTo>
                  <a:pt x="468" y="1028"/>
                </a:lnTo>
                <a:lnTo>
                  <a:pt x="448" y="1025"/>
                </a:lnTo>
                <a:lnTo>
                  <a:pt x="427" y="1024"/>
                </a:lnTo>
                <a:lnTo>
                  <a:pt x="406" y="1023"/>
                </a:lnTo>
                <a:lnTo>
                  <a:pt x="386" y="1023"/>
                </a:lnTo>
                <a:lnTo>
                  <a:pt x="366" y="1025"/>
                </a:lnTo>
                <a:lnTo>
                  <a:pt x="347" y="1027"/>
                </a:lnTo>
                <a:lnTo>
                  <a:pt x="327" y="1031"/>
                </a:lnTo>
                <a:lnTo>
                  <a:pt x="309" y="1035"/>
                </a:lnTo>
                <a:lnTo>
                  <a:pt x="292" y="1043"/>
                </a:lnTo>
                <a:lnTo>
                  <a:pt x="276" y="1050"/>
                </a:lnTo>
                <a:lnTo>
                  <a:pt x="262" y="1059"/>
                </a:lnTo>
                <a:lnTo>
                  <a:pt x="248" y="1070"/>
                </a:lnTo>
                <a:lnTo>
                  <a:pt x="242" y="1076"/>
                </a:lnTo>
                <a:lnTo>
                  <a:pt x="236" y="1082"/>
                </a:lnTo>
                <a:lnTo>
                  <a:pt x="231" y="1090"/>
                </a:lnTo>
                <a:lnTo>
                  <a:pt x="227" y="1098"/>
                </a:lnTo>
                <a:lnTo>
                  <a:pt x="223" y="1105"/>
                </a:lnTo>
                <a:lnTo>
                  <a:pt x="219" y="1114"/>
                </a:lnTo>
                <a:lnTo>
                  <a:pt x="219" y="1114"/>
                </a:lnTo>
                <a:lnTo>
                  <a:pt x="257" y="1112"/>
                </a:lnTo>
                <a:lnTo>
                  <a:pt x="292" y="1111"/>
                </a:lnTo>
                <a:lnTo>
                  <a:pt x="312" y="1111"/>
                </a:lnTo>
                <a:lnTo>
                  <a:pt x="331" y="1112"/>
                </a:lnTo>
                <a:lnTo>
                  <a:pt x="349" y="1113"/>
                </a:lnTo>
                <a:lnTo>
                  <a:pt x="364" y="1116"/>
                </a:lnTo>
                <a:lnTo>
                  <a:pt x="377" y="1119"/>
                </a:lnTo>
                <a:lnTo>
                  <a:pt x="382" y="1121"/>
                </a:lnTo>
                <a:lnTo>
                  <a:pt x="387" y="1123"/>
                </a:lnTo>
                <a:lnTo>
                  <a:pt x="389" y="1126"/>
                </a:lnTo>
                <a:lnTo>
                  <a:pt x="391" y="1130"/>
                </a:lnTo>
                <a:lnTo>
                  <a:pt x="391" y="1133"/>
                </a:lnTo>
                <a:lnTo>
                  <a:pt x="389" y="1137"/>
                </a:lnTo>
                <a:lnTo>
                  <a:pt x="386" y="1141"/>
                </a:lnTo>
                <a:lnTo>
                  <a:pt x="381" y="1146"/>
                </a:lnTo>
                <a:lnTo>
                  <a:pt x="374" y="1151"/>
                </a:lnTo>
                <a:lnTo>
                  <a:pt x="366" y="1156"/>
                </a:lnTo>
                <a:lnTo>
                  <a:pt x="366" y="1156"/>
                </a:lnTo>
                <a:lnTo>
                  <a:pt x="357" y="1162"/>
                </a:lnTo>
                <a:lnTo>
                  <a:pt x="351" y="1168"/>
                </a:lnTo>
                <a:lnTo>
                  <a:pt x="346" y="1175"/>
                </a:lnTo>
                <a:lnTo>
                  <a:pt x="344" y="1182"/>
                </a:lnTo>
                <a:lnTo>
                  <a:pt x="343" y="1189"/>
                </a:lnTo>
                <a:lnTo>
                  <a:pt x="344" y="1195"/>
                </a:lnTo>
                <a:lnTo>
                  <a:pt x="346" y="1202"/>
                </a:lnTo>
                <a:lnTo>
                  <a:pt x="349" y="1209"/>
                </a:lnTo>
                <a:lnTo>
                  <a:pt x="354" y="1217"/>
                </a:lnTo>
                <a:lnTo>
                  <a:pt x="360" y="1225"/>
                </a:lnTo>
                <a:lnTo>
                  <a:pt x="368" y="1232"/>
                </a:lnTo>
                <a:lnTo>
                  <a:pt x="376" y="1239"/>
                </a:lnTo>
                <a:lnTo>
                  <a:pt x="396" y="1254"/>
                </a:lnTo>
                <a:lnTo>
                  <a:pt x="418" y="1270"/>
                </a:lnTo>
                <a:lnTo>
                  <a:pt x="442" y="1285"/>
                </a:lnTo>
                <a:lnTo>
                  <a:pt x="467" y="1299"/>
                </a:lnTo>
                <a:lnTo>
                  <a:pt x="519" y="1327"/>
                </a:lnTo>
                <a:lnTo>
                  <a:pt x="565" y="1350"/>
                </a:lnTo>
                <a:lnTo>
                  <a:pt x="585" y="1361"/>
                </a:lnTo>
                <a:lnTo>
                  <a:pt x="601" y="1370"/>
                </a:lnTo>
                <a:lnTo>
                  <a:pt x="601" y="1370"/>
                </a:lnTo>
                <a:lnTo>
                  <a:pt x="608" y="1375"/>
                </a:lnTo>
                <a:lnTo>
                  <a:pt x="611" y="1379"/>
                </a:lnTo>
                <a:lnTo>
                  <a:pt x="613" y="1382"/>
                </a:lnTo>
                <a:lnTo>
                  <a:pt x="611" y="1385"/>
                </a:lnTo>
                <a:lnTo>
                  <a:pt x="608" y="1387"/>
                </a:lnTo>
                <a:lnTo>
                  <a:pt x="604" y="1389"/>
                </a:lnTo>
                <a:lnTo>
                  <a:pt x="598" y="1390"/>
                </a:lnTo>
                <a:lnTo>
                  <a:pt x="598" y="1390"/>
                </a:lnTo>
                <a:lnTo>
                  <a:pt x="588" y="1390"/>
                </a:lnTo>
                <a:lnTo>
                  <a:pt x="576" y="1388"/>
                </a:lnTo>
                <a:lnTo>
                  <a:pt x="561" y="1385"/>
                </a:lnTo>
                <a:lnTo>
                  <a:pt x="545" y="1380"/>
                </a:lnTo>
                <a:lnTo>
                  <a:pt x="509" y="1369"/>
                </a:lnTo>
                <a:lnTo>
                  <a:pt x="469" y="1354"/>
                </a:lnTo>
                <a:lnTo>
                  <a:pt x="387" y="1323"/>
                </a:lnTo>
                <a:lnTo>
                  <a:pt x="349" y="1307"/>
                </a:lnTo>
                <a:lnTo>
                  <a:pt x="314" y="1296"/>
                </a:lnTo>
                <a:lnTo>
                  <a:pt x="314" y="1296"/>
                </a:lnTo>
                <a:lnTo>
                  <a:pt x="303" y="1293"/>
                </a:lnTo>
                <a:lnTo>
                  <a:pt x="292" y="1291"/>
                </a:lnTo>
                <a:lnTo>
                  <a:pt x="283" y="1291"/>
                </a:lnTo>
                <a:lnTo>
                  <a:pt x="275" y="1292"/>
                </a:lnTo>
                <a:lnTo>
                  <a:pt x="268" y="1294"/>
                </a:lnTo>
                <a:lnTo>
                  <a:pt x="262" y="1297"/>
                </a:lnTo>
                <a:lnTo>
                  <a:pt x="257" y="1300"/>
                </a:lnTo>
                <a:lnTo>
                  <a:pt x="253" y="1303"/>
                </a:lnTo>
                <a:lnTo>
                  <a:pt x="244" y="1312"/>
                </a:lnTo>
                <a:lnTo>
                  <a:pt x="238" y="1319"/>
                </a:lnTo>
                <a:lnTo>
                  <a:pt x="234" y="1324"/>
                </a:lnTo>
                <a:lnTo>
                  <a:pt x="231" y="1325"/>
                </a:lnTo>
                <a:lnTo>
                  <a:pt x="229" y="1326"/>
                </a:lnTo>
                <a:lnTo>
                  <a:pt x="229" y="1326"/>
                </a:lnTo>
                <a:lnTo>
                  <a:pt x="220" y="1325"/>
                </a:lnTo>
                <a:lnTo>
                  <a:pt x="210" y="1324"/>
                </a:lnTo>
                <a:lnTo>
                  <a:pt x="198" y="1325"/>
                </a:lnTo>
                <a:lnTo>
                  <a:pt x="188" y="1325"/>
                </a:lnTo>
                <a:lnTo>
                  <a:pt x="166" y="1329"/>
                </a:lnTo>
                <a:lnTo>
                  <a:pt x="143" y="1335"/>
                </a:lnTo>
                <a:lnTo>
                  <a:pt x="121" y="1343"/>
                </a:lnTo>
                <a:lnTo>
                  <a:pt x="98" y="1353"/>
                </a:lnTo>
                <a:lnTo>
                  <a:pt x="77" y="1367"/>
                </a:lnTo>
                <a:lnTo>
                  <a:pt x="66" y="1374"/>
                </a:lnTo>
                <a:lnTo>
                  <a:pt x="57" y="1381"/>
                </a:lnTo>
                <a:lnTo>
                  <a:pt x="48" y="1389"/>
                </a:lnTo>
                <a:lnTo>
                  <a:pt x="40" y="1397"/>
                </a:lnTo>
                <a:lnTo>
                  <a:pt x="32" y="1407"/>
                </a:lnTo>
                <a:lnTo>
                  <a:pt x="25" y="1416"/>
                </a:lnTo>
                <a:lnTo>
                  <a:pt x="18" y="1426"/>
                </a:lnTo>
                <a:lnTo>
                  <a:pt x="12" y="1435"/>
                </a:lnTo>
                <a:lnTo>
                  <a:pt x="8" y="1446"/>
                </a:lnTo>
                <a:lnTo>
                  <a:pt x="4" y="1458"/>
                </a:lnTo>
                <a:lnTo>
                  <a:pt x="2" y="1469"/>
                </a:lnTo>
                <a:lnTo>
                  <a:pt x="0" y="1480"/>
                </a:lnTo>
                <a:lnTo>
                  <a:pt x="0" y="1492"/>
                </a:lnTo>
                <a:lnTo>
                  <a:pt x="0" y="1505"/>
                </a:lnTo>
                <a:lnTo>
                  <a:pt x="3" y="1518"/>
                </a:lnTo>
                <a:lnTo>
                  <a:pt x="6" y="1530"/>
                </a:lnTo>
                <a:lnTo>
                  <a:pt x="11" y="1544"/>
                </a:lnTo>
                <a:lnTo>
                  <a:pt x="17" y="1558"/>
                </a:lnTo>
                <a:lnTo>
                  <a:pt x="17" y="1558"/>
                </a:lnTo>
                <a:lnTo>
                  <a:pt x="20" y="1553"/>
                </a:lnTo>
                <a:lnTo>
                  <a:pt x="30" y="1540"/>
                </a:lnTo>
                <a:lnTo>
                  <a:pt x="45" y="1521"/>
                </a:lnTo>
                <a:lnTo>
                  <a:pt x="53" y="1511"/>
                </a:lnTo>
                <a:lnTo>
                  <a:pt x="63" y="1501"/>
                </a:lnTo>
                <a:lnTo>
                  <a:pt x="75" y="1490"/>
                </a:lnTo>
                <a:lnTo>
                  <a:pt x="86" y="1481"/>
                </a:lnTo>
                <a:lnTo>
                  <a:pt x="98" y="1473"/>
                </a:lnTo>
                <a:lnTo>
                  <a:pt x="111" y="1466"/>
                </a:lnTo>
                <a:lnTo>
                  <a:pt x="125" y="1461"/>
                </a:lnTo>
                <a:lnTo>
                  <a:pt x="131" y="1459"/>
                </a:lnTo>
                <a:lnTo>
                  <a:pt x="138" y="1458"/>
                </a:lnTo>
                <a:lnTo>
                  <a:pt x="145" y="1458"/>
                </a:lnTo>
                <a:lnTo>
                  <a:pt x="151" y="1458"/>
                </a:lnTo>
                <a:lnTo>
                  <a:pt x="159" y="1459"/>
                </a:lnTo>
                <a:lnTo>
                  <a:pt x="166" y="1461"/>
                </a:lnTo>
                <a:lnTo>
                  <a:pt x="166" y="1461"/>
                </a:lnTo>
                <a:lnTo>
                  <a:pt x="171" y="1463"/>
                </a:lnTo>
                <a:lnTo>
                  <a:pt x="174" y="1467"/>
                </a:lnTo>
                <a:lnTo>
                  <a:pt x="175" y="1473"/>
                </a:lnTo>
                <a:lnTo>
                  <a:pt x="176" y="1479"/>
                </a:lnTo>
                <a:lnTo>
                  <a:pt x="176" y="1496"/>
                </a:lnTo>
                <a:lnTo>
                  <a:pt x="174" y="1514"/>
                </a:lnTo>
                <a:lnTo>
                  <a:pt x="174" y="1524"/>
                </a:lnTo>
                <a:lnTo>
                  <a:pt x="174" y="1534"/>
                </a:lnTo>
                <a:lnTo>
                  <a:pt x="176" y="1545"/>
                </a:lnTo>
                <a:lnTo>
                  <a:pt x="178" y="1554"/>
                </a:lnTo>
                <a:lnTo>
                  <a:pt x="182" y="1564"/>
                </a:lnTo>
                <a:lnTo>
                  <a:pt x="187" y="1573"/>
                </a:lnTo>
                <a:lnTo>
                  <a:pt x="195" y="1581"/>
                </a:lnTo>
                <a:lnTo>
                  <a:pt x="205" y="1589"/>
                </a:lnTo>
                <a:lnTo>
                  <a:pt x="205" y="1589"/>
                </a:lnTo>
                <a:lnTo>
                  <a:pt x="213" y="1593"/>
                </a:lnTo>
                <a:lnTo>
                  <a:pt x="221" y="1596"/>
                </a:lnTo>
                <a:lnTo>
                  <a:pt x="231" y="1599"/>
                </a:lnTo>
                <a:lnTo>
                  <a:pt x="242" y="1600"/>
                </a:lnTo>
                <a:lnTo>
                  <a:pt x="254" y="1602"/>
                </a:lnTo>
                <a:lnTo>
                  <a:pt x="267" y="1602"/>
                </a:lnTo>
                <a:lnTo>
                  <a:pt x="293" y="1602"/>
                </a:lnTo>
                <a:lnTo>
                  <a:pt x="323" y="1600"/>
                </a:lnTo>
                <a:lnTo>
                  <a:pt x="354" y="1597"/>
                </a:lnTo>
                <a:lnTo>
                  <a:pt x="418" y="1589"/>
                </a:lnTo>
                <a:lnTo>
                  <a:pt x="481" y="1580"/>
                </a:lnTo>
                <a:lnTo>
                  <a:pt x="510" y="1576"/>
                </a:lnTo>
                <a:lnTo>
                  <a:pt x="538" y="1574"/>
                </a:lnTo>
                <a:lnTo>
                  <a:pt x="562" y="1573"/>
                </a:lnTo>
                <a:lnTo>
                  <a:pt x="583" y="1574"/>
                </a:lnTo>
                <a:lnTo>
                  <a:pt x="592" y="1575"/>
                </a:lnTo>
                <a:lnTo>
                  <a:pt x="600" y="1577"/>
                </a:lnTo>
                <a:lnTo>
                  <a:pt x="607" y="1580"/>
                </a:lnTo>
                <a:lnTo>
                  <a:pt x="613" y="1585"/>
                </a:lnTo>
                <a:lnTo>
                  <a:pt x="613" y="1585"/>
                </a:lnTo>
                <a:lnTo>
                  <a:pt x="616" y="1588"/>
                </a:lnTo>
                <a:lnTo>
                  <a:pt x="617" y="1591"/>
                </a:lnTo>
                <a:lnTo>
                  <a:pt x="616" y="1593"/>
                </a:lnTo>
                <a:lnTo>
                  <a:pt x="611" y="1596"/>
                </a:lnTo>
                <a:lnTo>
                  <a:pt x="607" y="1598"/>
                </a:lnTo>
                <a:lnTo>
                  <a:pt x="600" y="1601"/>
                </a:lnTo>
                <a:lnTo>
                  <a:pt x="583" y="1605"/>
                </a:lnTo>
                <a:lnTo>
                  <a:pt x="560" y="1609"/>
                </a:lnTo>
                <a:lnTo>
                  <a:pt x="535" y="1612"/>
                </a:lnTo>
                <a:lnTo>
                  <a:pt x="474" y="1620"/>
                </a:lnTo>
                <a:lnTo>
                  <a:pt x="443" y="1624"/>
                </a:lnTo>
                <a:lnTo>
                  <a:pt x="412" y="1629"/>
                </a:lnTo>
                <a:lnTo>
                  <a:pt x="382" y="1636"/>
                </a:lnTo>
                <a:lnTo>
                  <a:pt x="356" y="1642"/>
                </a:lnTo>
                <a:lnTo>
                  <a:pt x="344" y="1646"/>
                </a:lnTo>
                <a:lnTo>
                  <a:pt x="332" y="1650"/>
                </a:lnTo>
                <a:lnTo>
                  <a:pt x="322" y="1654"/>
                </a:lnTo>
                <a:lnTo>
                  <a:pt x="314" y="1659"/>
                </a:lnTo>
                <a:lnTo>
                  <a:pt x="307" y="1664"/>
                </a:lnTo>
                <a:lnTo>
                  <a:pt x="302" y="1669"/>
                </a:lnTo>
                <a:lnTo>
                  <a:pt x="298" y="1676"/>
                </a:lnTo>
                <a:lnTo>
                  <a:pt x="296" y="1682"/>
                </a:lnTo>
                <a:lnTo>
                  <a:pt x="296" y="1682"/>
                </a:lnTo>
                <a:lnTo>
                  <a:pt x="295" y="1687"/>
                </a:lnTo>
                <a:lnTo>
                  <a:pt x="295" y="1696"/>
                </a:lnTo>
                <a:lnTo>
                  <a:pt x="296" y="1707"/>
                </a:lnTo>
                <a:lnTo>
                  <a:pt x="298" y="1713"/>
                </a:lnTo>
                <a:lnTo>
                  <a:pt x="300" y="1718"/>
                </a:lnTo>
                <a:lnTo>
                  <a:pt x="300" y="1718"/>
                </a:lnTo>
                <a:lnTo>
                  <a:pt x="301" y="1725"/>
                </a:lnTo>
                <a:lnTo>
                  <a:pt x="301" y="1731"/>
                </a:lnTo>
                <a:lnTo>
                  <a:pt x="298" y="1737"/>
                </a:lnTo>
                <a:lnTo>
                  <a:pt x="293" y="1743"/>
                </a:lnTo>
                <a:lnTo>
                  <a:pt x="283" y="1757"/>
                </a:lnTo>
                <a:lnTo>
                  <a:pt x="269" y="1775"/>
                </a:lnTo>
                <a:lnTo>
                  <a:pt x="261" y="1785"/>
                </a:lnTo>
                <a:lnTo>
                  <a:pt x="254" y="1795"/>
                </a:lnTo>
                <a:lnTo>
                  <a:pt x="246" y="1807"/>
                </a:lnTo>
                <a:lnTo>
                  <a:pt x="240" y="1820"/>
                </a:lnTo>
                <a:lnTo>
                  <a:pt x="234" y="1834"/>
                </a:lnTo>
                <a:lnTo>
                  <a:pt x="230" y="1849"/>
                </a:lnTo>
                <a:lnTo>
                  <a:pt x="226" y="1866"/>
                </a:lnTo>
                <a:lnTo>
                  <a:pt x="225" y="1884"/>
                </a:lnTo>
                <a:lnTo>
                  <a:pt x="225" y="1884"/>
                </a:lnTo>
                <a:lnTo>
                  <a:pt x="225" y="1893"/>
                </a:lnTo>
                <a:lnTo>
                  <a:pt x="225" y="1902"/>
                </a:lnTo>
                <a:lnTo>
                  <a:pt x="228" y="1920"/>
                </a:lnTo>
                <a:lnTo>
                  <a:pt x="233" y="1937"/>
                </a:lnTo>
                <a:lnTo>
                  <a:pt x="239" y="1953"/>
                </a:lnTo>
                <a:lnTo>
                  <a:pt x="247" y="1968"/>
                </a:lnTo>
                <a:lnTo>
                  <a:pt x="257" y="1982"/>
                </a:lnTo>
                <a:lnTo>
                  <a:pt x="267" y="1995"/>
                </a:lnTo>
                <a:lnTo>
                  <a:pt x="277" y="2007"/>
                </a:lnTo>
                <a:lnTo>
                  <a:pt x="287" y="2017"/>
                </a:lnTo>
                <a:lnTo>
                  <a:pt x="298" y="2026"/>
                </a:lnTo>
                <a:lnTo>
                  <a:pt x="315" y="2042"/>
                </a:lnTo>
                <a:lnTo>
                  <a:pt x="327" y="2050"/>
                </a:lnTo>
                <a:lnTo>
                  <a:pt x="332" y="2054"/>
                </a:lnTo>
                <a:lnTo>
                  <a:pt x="332" y="2054"/>
                </a:lnTo>
                <a:lnTo>
                  <a:pt x="334" y="2050"/>
                </a:lnTo>
                <a:lnTo>
                  <a:pt x="335" y="2045"/>
                </a:lnTo>
                <a:lnTo>
                  <a:pt x="335" y="2036"/>
                </a:lnTo>
                <a:lnTo>
                  <a:pt x="334" y="2027"/>
                </a:lnTo>
                <a:lnTo>
                  <a:pt x="331" y="2006"/>
                </a:lnTo>
                <a:lnTo>
                  <a:pt x="328" y="1980"/>
                </a:lnTo>
                <a:lnTo>
                  <a:pt x="327" y="1968"/>
                </a:lnTo>
                <a:lnTo>
                  <a:pt x="326" y="1955"/>
                </a:lnTo>
                <a:lnTo>
                  <a:pt x="326" y="1943"/>
                </a:lnTo>
                <a:lnTo>
                  <a:pt x="328" y="1932"/>
                </a:lnTo>
                <a:lnTo>
                  <a:pt x="330" y="1922"/>
                </a:lnTo>
                <a:lnTo>
                  <a:pt x="334" y="1913"/>
                </a:lnTo>
                <a:lnTo>
                  <a:pt x="337" y="1910"/>
                </a:lnTo>
                <a:lnTo>
                  <a:pt x="341" y="1906"/>
                </a:lnTo>
                <a:lnTo>
                  <a:pt x="344" y="1904"/>
                </a:lnTo>
                <a:lnTo>
                  <a:pt x="348" y="1901"/>
                </a:lnTo>
                <a:lnTo>
                  <a:pt x="348" y="1901"/>
                </a:lnTo>
                <a:lnTo>
                  <a:pt x="353" y="1900"/>
                </a:lnTo>
                <a:lnTo>
                  <a:pt x="357" y="1900"/>
                </a:lnTo>
                <a:lnTo>
                  <a:pt x="362" y="1901"/>
                </a:lnTo>
                <a:lnTo>
                  <a:pt x="366" y="1905"/>
                </a:lnTo>
                <a:lnTo>
                  <a:pt x="375" y="1912"/>
                </a:lnTo>
                <a:lnTo>
                  <a:pt x="386" y="1921"/>
                </a:lnTo>
                <a:lnTo>
                  <a:pt x="397" y="1932"/>
                </a:lnTo>
                <a:lnTo>
                  <a:pt x="410" y="1941"/>
                </a:lnTo>
                <a:lnTo>
                  <a:pt x="417" y="1946"/>
                </a:lnTo>
                <a:lnTo>
                  <a:pt x="424" y="1950"/>
                </a:lnTo>
                <a:lnTo>
                  <a:pt x="434" y="1953"/>
                </a:lnTo>
                <a:lnTo>
                  <a:pt x="442" y="1955"/>
                </a:lnTo>
                <a:lnTo>
                  <a:pt x="442" y="1955"/>
                </a:lnTo>
                <a:lnTo>
                  <a:pt x="451" y="1955"/>
                </a:lnTo>
                <a:lnTo>
                  <a:pt x="460" y="1955"/>
                </a:lnTo>
                <a:lnTo>
                  <a:pt x="468" y="1954"/>
                </a:lnTo>
                <a:lnTo>
                  <a:pt x="478" y="1952"/>
                </a:lnTo>
                <a:lnTo>
                  <a:pt x="486" y="1948"/>
                </a:lnTo>
                <a:lnTo>
                  <a:pt x="494" y="1944"/>
                </a:lnTo>
                <a:lnTo>
                  <a:pt x="501" y="1940"/>
                </a:lnTo>
                <a:lnTo>
                  <a:pt x="509" y="1935"/>
                </a:lnTo>
                <a:lnTo>
                  <a:pt x="525" y="1923"/>
                </a:lnTo>
                <a:lnTo>
                  <a:pt x="539" y="1909"/>
                </a:lnTo>
                <a:lnTo>
                  <a:pt x="554" y="1892"/>
                </a:lnTo>
                <a:lnTo>
                  <a:pt x="571" y="1875"/>
                </a:lnTo>
                <a:lnTo>
                  <a:pt x="604" y="1836"/>
                </a:lnTo>
                <a:lnTo>
                  <a:pt x="624" y="1817"/>
                </a:lnTo>
                <a:lnTo>
                  <a:pt x="644" y="1797"/>
                </a:lnTo>
                <a:lnTo>
                  <a:pt x="667" y="1777"/>
                </a:lnTo>
                <a:lnTo>
                  <a:pt x="691" y="1758"/>
                </a:lnTo>
                <a:lnTo>
                  <a:pt x="705" y="1749"/>
                </a:lnTo>
                <a:lnTo>
                  <a:pt x="718" y="1741"/>
                </a:lnTo>
                <a:lnTo>
                  <a:pt x="732" y="1733"/>
                </a:lnTo>
                <a:lnTo>
                  <a:pt x="747" y="1725"/>
                </a:lnTo>
                <a:lnTo>
                  <a:pt x="747" y="1725"/>
                </a:lnTo>
                <a:lnTo>
                  <a:pt x="787" y="1706"/>
                </a:lnTo>
                <a:lnTo>
                  <a:pt x="819" y="1694"/>
                </a:lnTo>
                <a:lnTo>
                  <a:pt x="831" y="1689"/>
                </a:lnTo>
                <a:lnTo>
                  <a:pt x="843" y="1686"/>
                </a:lnTo>
                <a:lnTo>
                  <a:pt x="852" y="1685"/>
                </a:lnTo>
                <a:lnTo>
                  <a:pt x="859" y="1684"/>
                </a:lnTo>
                <a:lnTo>
                  <a:pt x="865" y="1684"/>
                </a:lnTo>
                <a:lnTo>
                  <a:pt x="869" y="1686"/>
                </a:lnTo>
                <a:lnTo>
                  <a:pt x="872" y="1688"/>
                </a:lnTo>
                <a:lnTo>
                  <a:pt x="874" y="1691"/>
                </a:lnTo>
                <a:lnTo>
                  <a:pt x="876" y="1694"/>
                </a:lnTo>
                <a:lnTo>
                  <a:pt x="876" y="1698"/>
                </a:lnTo>
                <a:lnTo>
                  <a:pt x="875" y="1708"/>
                </a:lnTo>
                <a:lnTo>
                  <a:pt x="872" y="1720"/>
                </a:lnTo>
                <a:lnTo>
                  <a:pt x="868" y="1734"/>
                </a:lnTo>
                <a:lnTo>
                  <a:pt x="865" y="1747"/>
                </a:lnTo>
                <a:lnTo>
                  <a:pt x="863" y="1759"/>
                </a:lnTo>
                <a:lnTo>
                  <a:pt x="863" y="1765"/>
                </a:lnTo>
                <a:lnTo>
                  <a:pt x="863" y="1772"/>
                </a:lnTo>
                <a:lnTo>
                  <a:pt x="865" y="1777"/>
                </a:lnTo>
                <a:lnTo>
                  <a:pt x="867" y="1782"/>
                </a:lnTo>
                <a:lnTo>
                  <a:pt x="870" y="1786"/>
                </a:lnTo>
                <a:lnTo>
                  <a:pt x="875" y="1790"/>
                </a:lnTo>
                <a:lnTo>
                  <a:pt x="881" y="1793"/>
                </a:lnTo>
                <a:lnTo>
                  <a:pt x="889" y="1795"/>
                </a:lnTo>
                <a:lnTo>
                  <a:pt x="889" y="1795"/>
                </a:lnTo>
                <a:lnTo>
                  <a:pt x="901" y="1799"/>
                </a:lnTo>
                <a:lnTo>
                  <a:pt x="912" y="1802"/>
                </a:lnTo>
                <a:lnTo>
                  <a:pt x="921" y="1807"/>
                </a:lnTo>
                <a:lnTo>
                  <a:pt x="928" y="1811"/>
                </a:lnTo>
                <a:lnTo>
                  <a:pt x="935" y="1817"/>
                </a:lnTo>
                <a:lnTo>
                  <a:pt x="940" y="1822"/>
                </a:lnTo>
                <a:lnTo>
                  <a:pt x="943" y="1828"/>
                </a:lnTo>
                <a:lnTo>
                  <a:pt x="945" y="1834"/>
                </a:lnTo>
                <a:lnTo>
                  <a:pt x="947" y="1840"/>
                </a:lnTo>
                <a:lnTo>
                  <a:pt x="947" y="1846"/>
                </a:lnTo>
                <a:lnTo>
                  <a:pt x="946" y="1853"/>
                </a:lnTo>
                <a:lnTo>
                  <a:pt x="945" y="1860"/>
                </a:lnTo>
                <a:lnTo>
                  <a:pt x="943" y="1867"/>
                </a:lnTo>
                <a:lnTo>
                  <a:pt x="940" y="1874"/>
                </a:lnTo>
                <a:lnTo>
                  <a:pt x="932" y="1887"/>
                </a:lnTo>
                <a:lnTo>
                  <a:pt x="922" y="1900"/>
                </a:lnTo>
                <a:lnTo>
                  <a:pt x="912" y="1913"/>
                </a:lnTo>
                <a:lnTo>
                  <a:pt x="902" y="1924"/>
                </a:lnTo>
                <a:lnTo>
                  <a:pt x="892" y="1934"/>
                </a:lnTo>
                <a:lnTo>
                  <a:pt x="875" y="1948"/>
                </a:lnTo>
                <a:lnTo>
                  <a:pt x="869" y="1955"/>
                </a:lnTo>
                <a:lnTo>
                  <a:pt x="869" y="1955"/>
                </a:lnTo>
                <a:lnTo>
                  <a:pt x="877" y="1959"/>
                </a:lnTo>
                <a:lnTo>
                  <a:pt x="888" y="1961"/>
                </a:lnTo>
                <a:lnTo>
                  <a:pt x="899" y="1962"/>
                </a:lnTo>
                <a:lnTo>
                  <a:pt x="912" y="1961"/>
                </a:lnTo>
                <a:lnTo>
                  <a:pt x="926" y="1958"/>
                </a:lnTo>
                <a:lnTo>
                  <a:pt x="941" y="1954"/>
                </a:lnTo>
                <a:lnTo>
                  <a:pt x="957" y="1947"/>
                </a:lnTo>
                <a:lnTo>
                  <a:pt x="972" y="1939"/>
                </a:lnTo>
                <a:lnTo>
                  <a:pt x="989" y="1930"/>
                </a:lnTo>
                <a:lnTo>
                  <a:pt x="1004" y="1919"/>
                </a:lnTo>
                <a:lnTo>
                  <a:pt x="1019" y="1906"/>
                </a:lnTo>
                <a:lnTo>
                  <a:pt x="1035" y="1891"/>
                </a:lnTo>
                <a:lnTo>
                  <a:pt x="1048" y="1874"/>
                </a:lnTo>
                <a:lnTo>
                  <a:pt x="1061" y="1855"/>
                </a:lnTo>
                <a:lnTo>
                  <a:pt x="1073" y="1835"/>
                </a:lnTo>
                <a:lnTo>
                  <a:pt x="1083" y="1814"/>
                </a:lnTo>
                <a:lnTo>
                  <a:pt x="1083" y="1814"/>
                </a:lnTo>
                <a:lnTo>
                  <a:pt x="1086" y="1805"/>
                </a:lnTo>
                <a:lnTo>
                  <a:pt x="1089" y="1799"/>
                </a:lnTo>
                <a:lnTo>
                  <a:pt x="1092" y="1794"/>
                </a:lnTo>
                <a:lnTo>
                  <a:pt x="1096" y="1790"/>
                </a:lnTo>
                <a:lnTo>
                  <a:pt x="1100" y="1787"/>
                </a:lnTo>
                <a:lnTo>
                  <a:pt x="1103" y="1784"/>
                </a:lnTo>
                <a:lnTo>
                  <a:pt x="1111" y="1781"/>
                </a:lnTo>
                <a:lnTo>
                  <a:pt x="1120" y="1778"/>
                </a:lnTo>
                <a:lnTo>
                  <a:pt x="1129" y="1774"/>
                </a:lnTo>
                <a:lnTo>
                  <a:pt x="1138" y="1768"/>
                </a:lnTo>
                <a:lnTo>
                  <a:pt x="1143" y="1763"/>
                </a:lnTo>
                <a:lnTo>
                  <a:pt x="1148" y="1758"/>
                </a:lnTo>
                <a:lnTo>
                  <a:pt x="1148" y="1758"/>
                </a:lnTo>
                <a:lnTo>
                  <a:pt x="1151" y="1752"/>
                </a:lnTo>
                <a:lnTo>
                  <a:pt x="1154" y="1746"/>
                </a:lnTo>
                <a:lnTo>
                  <a:pt x="1158" y="1740"/>
                </a:lnTo>
                <a:lnTo>
                  <a:pt x="1159" y="1734"/>
                </a:lnTo>
                <a:lnTo>
                  <a:pt x="1160" y="1719"/>
                </a:lnTo>
                <a:lnTo>
                  <a:pt x="1160" y="1705"/>
                </a:lnTo>
                <a:lnTo>
                  <a:pt x="1160" y="1690"/>
                </a:lnTo>
                <a:lnTo>
                  <a:pt x="1160" y="1676"/>
                </a:lnTo>
                <a:lnTo>
                  <a:pt x="1162" y="1661"/>
                </a:lnTo>
                <a:lnTo>
                  <a:pt x="1164" y="1655"/>
                </a:lnTo>
                <a:lnTo>
                  <a:pt x="1166" y="1649"/>
                </a:lnTo>
                <a:lnTo>
                  <a:pt x="1166" y="1649"/>
                </a:lnTo>
                <a:lnTo>
                  <a:pt x="1170" y="1643"/>
                </a:lnTo>
                <a:lnTo>
                  <a:pt x="1174" y="1638"/>
                </a:lnTo>
                <a:lnTo>
                  <a:pt x="1178" y="1633"/>
                </a:lnTo>
                <a:lnTo>
                  <a:pt x="1183" y="1628"/>
                </a:lnTo>
                <a:lnTo>
                  <a:pt x="1195" y="1620"/>
                </a:lnTo>
                <a:lnTo>
                  <a:pt x="1209" y="1614"/>
                </a:lnTo>
                <a:lnTo>
                  <a:pt x="1223" y="1609"/>
                </a:lnTo>
                <a:lnTo>
                  <a:pt x="1237" y="1605"/>
                </a:lnTo>
                <a:lnTo>
                  <a:pt x="1268" y="1597"/>
                </a:lnTo>
                <a:lnTo>
                  <a:pt x="1298" y="1591"/>
                </a:lnTo>
                <a:lnTo>
                  <a:pt x="1310" y="1587"/>
                </a:lnTo>
                <a:lnTo>
                  <a:pt x="1321" y="1581"/>
                </a:lnTo>
                <a:lnTo>
                  <a:pt x="1329" y="1575"/>
                </a:lnTo>
                <a:lnTo>
                  <a:pt x="1333" y="1572"/>
                </a:lnTo>
                <a:lnTo>
                  <a:pt x="1335" y="1568"/>
                </a:lnTo>
                <a:lnTo>
                  <a:pt x="1338" y="1564"/>
                </a:lnTo>
                <a:lnTo>
                  <a:pt x="1340" y="1559"/>
                </a:lnTo>
                <a:lnTo>
                  <a:pt x="1340" y="1554"/>
                </a:lnTo>
                <a:lnTo>
                  <a:pt x="1340" y="1549"/>
                </a:lnTo>
                <a:lnTo>
                  <a:pt x="1340" y="1549"/>
                </a:lnTo>
                <a:lnTo>
                  <a:pt x="1338" y="1534"/>
                </a:lnTo>
                <a:lnTo>
                  <a:pt x="1338" y="1521"/>
                </a:lnTo>
                <a:lnTo>
                  <a:pt x="1341" y="1509"/>
                </a:lnTo>
                <a:lnTo>
                  <a:pt x="1345" y="1499"/>
                </a:lnTo>
                <a:lnTo>
                  <a:pt x="1350" y="1488"/>
                </a:lnTo>
                <a:lnTo>
                  <a:pt x="1355" y="1480"/>
                </a:lnTo>
                <a:lnTo>
                  <a:pt x="1362" y="1472"/>
                </a:lnTo>
                <a:lnTo>
                  <a:pt x="1370" y="1465"/>
                </a:lnTo>
                <a:lnTo>
                  <a:pt x="1378" y="1459"/>
                </a:lnTo>
                <a:lnTo>
                  <a:pt x="1388" y="1453"/>
                </a:lnTo>
                <a:lnTo>
                  <a:pt x="1406" y="1443"/>
                </a:lnTo>
                <a:lnTo>
                  <a:pt x="1424" y="1435"/>
                </a:lnTo>
                <a:lnTo>
                  <a:pt x="1441" y="1428"/>
                </a:lnTo>
                <a:lnTo>
                  <a:pt x="1441" y="1428"/>
                </a:lnTo>
                <a:lnTo>
                  <a:pt x="1443" y="1428"/>
                </a:lnTo>
                <a:lnTo>
                  <a:pt x="1444" y="1429"/>
                </a:lnTo>
                <a:lnTo>
                  <a:pt x="1447" y="1431"/>
                </a:lnTo>
                <a:lnTo>
                  <a:pt x="1449" y="1436"/>
                </a:lnTo>
                <a:lnTo>
                  <a:pt x="1453" y="1443"/>
                </a:lnTo>
                <a:lnTo>
                  <a:pt x="1461" y="1462"/>
                </a:lnTo>
                <a:lnTo>
                  <a:pt x="1467" y="1473"/>
                </a:lnTo>
                <a:lnTo>
                  <a:pt x="1474" y="1485"/>
                </a:lnTo>
                <a:lnTo>
                  <a:pt x="1484" y="1498"/>
                </a:lnTo>
                <a:lnTo>
                  <a:pt x="1494" y="1511"/>
                </a:lnTo>
                <a:lnTo>
                  <a:pt x="1506" y="1525"/>
                </a:lnTo>
                <a:lnTo>
                  <a:pt x="1522" y="1539"/>
                </a:lnTo>
                <a:lnTo>
                  <a:pt x="1539" y="1552"/>
                </a:lnTo>
                <a:lnTo>
                  <a:pt x="1559" y="1564"/>
                </a:lnTo>
                <a:lnTo>
                  <a:pt x="1583" y="1576"/>
                </a:lnTo>
                <a:lnTo>
                  <a:pt x="1609" y="1587"/>
                </a:lnTo>
                <a:lnTo>
                  <a:pt x="1609" y="1587"/>
                </a:lnTo>
                <a:lnTo>
                  <a:pt x="1684" y="1556"/>
                </a:lnTo>
                <a:lnTo>
                  <a:pt x="1730" y="1534"/>
                </a:lnTo>
                <a:lnTo>
                  <a:pt x="1757" y="1521"/>
                </a:lnTo>
                <a:lnTo>
                  <a:pt x="1786" y="1506"/>
                </a:lnTo>
                <a:lnTo>
                  <a:pt x="1786" y="1506"/>
                </a:lnTo>
                <a:lnTo>
                  <a:pt x="1818" y="1489"/>
                </a:lnTo>
                <a:lnTo>
                  <a:pt x="1848" y="1472"/>
                </a:lnTo>
                <a:lnTo>
                  <a:pt x="1860" y="1464"/>
                </a:lnTo>
                <a:lnTo>
                  <a:pt x="1871" y="1457"/>
                </a:lnTo>
                <a:lnTo>
                  <a:pt x="1881" y="1449"/>
                </a:lnTo>
                <a:lnTo>
                  <a:pt x="1889" y="1442"/>
                </a:lnTo>
                <a:lnTo>
                  <a:pt x="1889" y="1442"/>
                </a:lnTo>
                <a:lnTo>
                  <a:pt x="1888" y="1440"/>
                </a:lnTo>
                <a:lnTo>
                  <a:pt x="1887" y="1438"/>
                </a:lnTo>
                <a:lnTo>
                  <a:pt x="1879" y="1431"/>
                </a:lnTo>
                <a:lnTo>
                  <a:pt x="1868" y="1420"/>
                </a:lnTo>
                <a:lnTo>
                  <a:pt x="1855" y="1406"/>
                </a:lnTo>
                <a:lnTo>
                  <a:pt x="1840" y="1388"/>
                </a:lnTo>
                <a:lnTo>
                  <a:pt x="1825" y="1369"/>
                </a:lnTo>
                <a:lnTo>
                  <a:pt x="1818" y="1358"/>
                </a:lnTo>
                <a:lnTo>
                  <a:pt x="1812" y="1345"/>
                </a:lnTo>
                <a:lnTo>
                  <a:pt x="1807" y="1334"/>
                </a:lnTo>
                <a:lnTo>
                  <a:pt x="1802" y="1321"/>
                </a:lnTo>
                <a:lnTo>
                  <a:pt x="1802" y="1321"/>
                </a:lnTo>
                <a:lnTo>
                  <a:pt x="1799" y="1308"/>
                </a:lnTo>
                <a:lnTo>
                  <a:pt x="1796" y="1297"/>
                </a:lnTo>
                <a:lnTo>
                  <a:pt x="1794" y="1288"/>
                </a:lnTo>
                <a:lnTo>
                  <a:pt x="1794" y="1279"/>
                </a:lnTo>
                <a:lnTo>
                  <a:pt x="1794" y="1272"/>
                </a:lnTo>
                <a:lnTo>
                  <a:pt x="1794" y="1267"/>
                </a:lnTo>
                <a:lnTo>
                  <a:pt x="1795" y="1263"/>
                </a:lnTo>
                <a:lnTo>
                  <a:pt x="1796" y="1261"/>
                </a:lnTo>
                <a:lnTo>
                  <a:pt x="1796" y="1261"/>
                </a:lnTo>
                <a:lnTo>
                  <a:pt x="1809" y="1278"/>
                </a:lnTo>
                <a:lnTo>
                  <a:pt x="1824" y="1295"/>
                </a:lnTo>
                <a:lnTo>
                  <a:pt x="1845" y="1316"/>
                </a:lnTo>
                <a:lnTo>
                  <a:pt x="1857" y="1327"/>
                </a:lnTo>
                <a:lnTo>
                  <a:pt x="1869" y="1338"/>
                </a:lnTo>
                <a:lnTo>
                  <a:pt x="1883" y="1349"/>
                </a:lnTo>
                <a:lnTo>
                  <a:pt x="1899" y="1361"/>
                </a:lnTo>
                <a:lnTo>
                  <a:pt x="1915" y="1372"/>
                </a:lnTo>
                <a:lnTo>
                  <a:pt x="1932" y="1381"/>
                </a:lnTo>
                <a:lnTo>
                  <a:pt x="1949" y="1390"/>
                </a:lnTo>
                <a:lnTo>
                  <a:pt x="1967" y="1398"/>
                </a:lnTo>
                <a:lnTo>
                  <a:pt x="1967" y="1398"/>
                </a:lnTo>
                <a:lnTo>
                  <a:pt x="2021" y="1370"/>
                </a:lnTo>
                <a:lnTo>
                  <a:pt x="2075" y="1340"/>
                </a:lnTo>
                <a:lnTo>
                  <a:pt x="2129" y="1307"/>
                </a:lnTo>
                <a:lnTo>
                  <a:pt x="2183" y="1273"/>
                </a:lnTo>
                <a:lnTo>
                  <a:pt x="2183" y="1273"/>
                </a:lnTo>
                <a:lnTo>
                  <a:pt x="2218" y="1249"/>
                </a:lnTo>
                <a:lnTo>
                  <a:pt x="2218" y="1249"/>
                </a:lnTo>
                <a:lnTo>
                  <a:pt x="2219" y="1248"/>
                </a:lnTo>
                <a:lnTo>
                  <a:pt x="2219" y="1248"/>
                </a:lnTo>
                <a:lnTo>
                  <a:pt x="2220" y="1246"/>
                </a:lnTo>
                <a:lnTo>
                  <a:pt x="2219" y="1244"/>
                </a:lnTo>
                <a:lnTo>
                  <a:pt x="2215" y="1237"/>
                </a:lnTo>
                <a:lnTo>
                  <a:pt x="2207" y="1228"/>
                </a:lnTo>
                <a:lnTo>
                  <a:pt x="2196" y="1217"/>
                </a:lnTo>
                <a:lnTo>
                  <a:pt x="2171" y="1193"/>
                </a:lnTo>
                <a:lnTo>
                  <a:pt x="2142" y="1164"/>
                </a:lnTo>
                <a:lnTo>
                  <a:pt x="2129" y="1150"/>
                </a:lnTo>
                <a:lnTo>
                  <a:pt x="2118" y="1136"/>
                </a:lnTo>
                <a:lnTo>
                  <a:pt x="2108" y="1121"/>
                </a:lnTo>
                <a:lnTo>
                  <a:pt x="2104" y="1114"/>
                </a:lnTo>
                <a:lnTo>
                  <a:pt x="2101" y="1108"/>
                </a:lnTo>
                <a:lnTo>
                  <a:pt x="2100" y="1101"/>
                </a:lnTo>
                <a:lnTo>
                  <a:pt x="2099" y="1095"/>
                </a:lnTo>
                <a:lnTo>
                  <a:pt x="2099" y="1089"/>
                </a:lnTo>
                <a:lnTo>
                  <a:pt x="2100" y="1084"/>
                </a:lnTo>
                <a:lnTo>
                  <a:pt x="2102" y="1078"/>
                </a:lnTo>
                <a:lnTo>
                  <a:pt x="2106" y="1073"/>
                </a:lnTo>
                <a:lnTo>
                  <a:pt x="2112" y="1069"/>
                </a:lnTo>
                <a:lnTo>
                  <a:pt x="2119" y="1065"/>
                </a:lnTo>
                <a:lnTo>
                  <a:pt x="2119" y="1065"/>
                </a:lnTo>
                <a:lnTo>
                  <a:pt x="2125" y="1061"/>
                </a:lnTo>
                <a:lnTo>
                  <a:pt x="2130" y="1056"/>
                </a:lnTo>
                <a:lnTo>
                  <a:pt x="2133" y="1051"/>
                </a:lnTo>
                <a:lnTo>
                  <a:pt x="2135" y="1045"/>
                </a:lnTo>
                <a:lnTo>
                  <a:pt x="2136" y="1039"/>
                </a:lnTo>
                <a:lnTo>
                  <a:pt x="2136" y="1030"/>
                </a:lnTo>
                <a:lnTo>
                  <a:pt x="2136" y="1023"/>
                </a:lnTo>
                <a:lnTo>
                  <a:pt x="2134" y="1014"/>
                </a:lnTo>
                <a:lnTo>
                  <a:pt x="2129" y="997"/>
                </a:lnTo>
                <a:lnTo>
                  <a:pt x="2121" y="977"/>
                </a:lnTo>
                <a:lnTo>
                  <a:pt x="2102" y="935"/>
                </a:lnTo>
                <a:lnTo>
                  <a:pt x="2093" y="914"/>
                </a:lnTo>
                <a:lnTo>
                  <a:pt x="2085" y="893"/>
                </a:lnTo>
                <a:lnTo>
                  <a:pt x="2078" y="873"/>
                </a:lnTo>
                <a:lnTo>
                  <a:pt x="2076" y="863"/>
                </a:lnTo>
                <a:lnTo>
                  <a:pt x="2074" y="853"/>
                </a:lnTo>
                <a:lnTo>
                  <a:pt x="2074" y="844"/>
                </a:lnTo>
                <a:lnTo>
                  <a:pt x="2074" y="836"/>
                </a:lnTo>
                <a:lnTo>
                  <a:pt x="2075" y="828"/>
                </a:lnTo>
                <a:lnTo>
                  <a:pt x="2077" y="821"/>
                </a:lnTo>
                <a:lnTo>
                  <a:pt x="2080" y="814"/>
                </a:lnTo>
                <a:lnTo>
                  <a:pt x="2085" y="807"/>
                </a:lnTo>
                <a:lnTo>
                  <a:pt x="2091" y="801"/>
                </a:lnTo>
                <a:lnTo>
                  <a:pt x="2099" y="797"/>
                </a:lnTo>
                <a:lnTo>
                  <a:pt x="2099" y="797"/>
                </a:lnTo>
                <a:lnTo>
                  <a:pt x="2200" y="744"/>
                </a:lnTo>
                <a:lnTo>
                  <a:pt x="2306" y="693"/>
                </a:lnTo>
                <a:lnTo>
                  <a:pt x="2410" y="642"/>
                </a:lnTo>
                <a:lnTo>
                  <a:pt x="2513" y="592"/>
                </a:lnTo>
                <a:lnTo>
                  <a:pt x="2705" y="501"/>
                </a:lnTo>
                <a:lnTo>
                  <a:pt x="2788" y="461"/>
                </a:lnTo>
                <a:lnTo>
                  <a:pt x="2863" y="424"/>
                </a:lnTo>
                <a:lnTo>
                  <a:pt x="2863" y="424"/>
                </a:lnTo>
                <a:lnTo>
                  <a:pt x="2859" y="408"/>
                </a:lnTo>
                <a:lnTo>
                  <a:pt x="2853" y="389"/>
                </a:lnTo>
                <a:lnTo>
                  <a:pt x="2843" y="366"/>
                </a:lnTo>
                <a:lnTo>
                  <a:pt x="2836" y="354"/>
                </a:lnTo>
                <a:lnTo>
                  <a:pt x="2829" y="339"/>
                </a:lnTo>
                <a:lnTo>
                  <a:pt x="2821" y="325"/>
                </a:lnTo>
                <a:lnTo>
                  <a:pt x="2812" y="311"/>
                </a:lnTo>
                <a:lnTo>
                  <a:pt x="2801" y="296"/>
                </a:lnTo>
                <a:lnTo>
                  <a:pt x="2788" y="281"/>
                </a:lnTo>
                <a:lnTo>
                  <a:pt x="2774" y="267"/>
                </a:lnTo>
                <a:lnTo>
                  <a:pt x="2759" y="25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5" name="Freeform 32"/>
          <p:cNvSpPr>
            <a:spLocks/>
          </p:cNvSpPr>
          <p:nvPr userDrawn="1"/>
        </p:nvSpPr>
        <p:spPr bwMode="auto">
          <a:xfrm>
            <a:off x="7194550" y="1861840"/>
            <a:ext cx="161925" cy="153988"/>
          </a:xfrm>
          <a:custGeom>
            <a:avLst/>
            <a:gdLst>
              <a:gd name="T0" fmla="*/ 2 w 1226"/>
              <a:gd name="T1" fmla="*/ 386 h 1168"/>
              <a:gd name="T2" fmla="*/ 22 w 1226"/>
              <a:gd name="T3" fmla="*/ 434 h 1168"/>
              <a:gd name="T4" fmla="*/ 61 w 1226"/>
              <a:gd name="T5" fmla="*/ 466 h 1168"/>
              <a:gd name="T6" fmla="*/ 120 w 1226"/>
              <a:gd name="T7" fmla="*/ 479 h 1168"/>
              <a:gd name="T8" fmla="*/ 142 w 1226"/>
              <a:gd name="T9" fmla="*/ 469 h 1168"/>
              <a:gd name="T10" fmla="*/ 160 w 1226"/>
              <a:gd name="T11" fmla="*/ 436 h 1168"/>
              <a:gd name="T12" fmla="*/ 164 w 1226"/>
              <a:gd name="T13" fmla="*/ 370 h 1168"/>
              <a:gd name="T14" fmla="*/ 174 w 1226"/>
              <a:gd name="T15" fmla="*/ 344 h 1168"/>
              <a:gd name="T16" fmla="*/ 198 w 1226"/>
              <a:gd name="T17" fmla="*/ 331 h 1168"/>
              <a:gd name="T18" fmla="*/ 223 w 1226"/>
              <a:gd name="T19" fmla="*/ 318 h 1168"/>
              <a:gd name="T20" fmla="*/ 427 w 1226"/>
              <a:gd name="T21" fmla="*/ 416 h 1168"/>
              <a:gd name="T22" fmla="*/ 628 w 1226"/>
              <a:gd name="T23" fmla="*/ 534 h 1168"/>
              <a:gd name="T24" fmla="*/ 876 w 1226"/>
              <a:gd name="T25" fmla="*/ 703 h 1168"/>
              <a:gd name="T26" fmla="*/ 868 w 1226"/>
              <a:gd name="T27" fmla="*/ 783 h 1168"/>
              <a:gd name="T28" fmla="*/ 779 w 1226"/>
              <a:gd name="T29" fmla="*/ 957 h 1168"/>
              <a:gd name="T30" fmla="*/ 753 w 1226"/>
              <a:gd name="T31" fmla="*/ 1040 h 1168"/>
              <a:gd name="T32" fmla="*/ 754 w 1226"/>
              <a:gd name="T33" fmla="*/ 1090 h 1168"/>
              <a:gd name="T34" fmla="*/ 771 w 1226"/>
              <a:gd name="T35" fmla="*/ 1130 h 1168"/>
              <a:gd name="T36" fmla="*/ 801 w 1226"/>
              <a:gd name="T37" fmla="*/ 1157 h 1168"/>
              <a:gd name="T38" fmla="*/ 842 w 1226"/>
              <a:gd name="T39" fmla="*/ 1168 h 1168"/>
              <a:gd name="T40" fmla="*/ 880 w 1226"/>
              <a:gd name="T41" fmla="*/ 1163 h 1168"/>
              <a:gd name="T42" fmla="*/ 919 w 1226"/>
              <a:gd name="T43" fmla="*/ 1140 h 1168"/>
              <a:gd name="T44" fmla="*/ 944 w 1226"/>
              <a:gd name="T45" fmla="*/ 1107 h 1168"/>
              <a:gd name="T46" fmla="*/ 952 w 1226"/>
              <a:gd name="T47" fmla="*/ 1060 h 1168"/>
              <a:gd name="T48" fmla="*/ 930 w 1226"/>
              <a:gd name="T49" fmla="*/ 1010 h 1168"/>
              <a:gd name="T50" fmla="*/ 885 w 1226"/>
              <a:gd name="T51" fmla="*/ 989 h 1168"/>
              <a:gd name="T52" fmla="*/ 919 w 1226"/>
              <a:gd name="T53" fmla="*/ 879 h 1168"/>
              <a:gd name="T54" fmla="*/ 954 w 1226"/>
              <a:gd name="T55" fmla="*/ 807 h 1168"/>
              <a:gd name="T56" fmla="*/ 1024 w 1226"/>
              <a:gd name="T57" fmla="*/ 715 h 1168"/>
              <a:gd name="T58" fmla="*/ 1095 w 1226"/>
              <a:gd name="T59" fmla="*/ 673 h 1168"/>
              <a:gd name="T60" fmla="*/ 1125 w 1226"/>
              <a:gd name="T61" fmla="*/ 670 h 1168"/>
              <a:gd name="T62" fmla="*/ 1099 w 1226"/>
              <a:gd name="T63" fmla="*/ 633 h 1168"/>
              <a:gd name="T64" fmla="*/ 1083 w 1226"/>
              <a:gd name="T65" fmla="*/ 543 h 1168"/>
              <a:gd name="T66" fmla="*/ 1096 w 1226"/>
              <a:gd name="T67" fmla="*/ 477 h 1168"/>
              <a:gd name="T68" fmla="*/ 1132 w 1226"/>
              <a:gd name="T69" fmla="*/ 395 h 1168"/>
              <a:gd name="T70" fmla="*/ 1195 w 1226"/>
              <a:gd name="T71" fmla="*/ 258 h 1168"/>
              <a:gd name="T72" fmla="*/ 1225 w 1226"/>
              <a:gd name="T73" fmla="*/ 141 h 1168"/>
              <a:gd name="T74" fmla="*/ 1217 w 1226"/>
              <a:gd name="T75" fmla="*/ 95 h 1168"/>
              <a:gd name="T76" fmla="*/ 1187 w 1226"/>
              <a:gd name="T77" fmla="*/ 55 h 1168"/>
              <a:gd name="T78" fmla="*/ 1144 w 1226"/>
              <a:gd name="T79" fmla="*/ 34 h 1168"/>
              <a:gd name="T80" fmla="*/ 1104 w 1226"/>
              <a:gd name="T81" fmla="*/ 35 h 1168"/>
              <a:gd name="T82" fmla="*/ 1061 w 1226"/>
              <a:gd name="T83" fmla="*/ 57 h 1168"/>
              <a:gd name="T84" fmla="*/ 1033 w 1226"/>
              <a:gd name="T85" fmla="*/ 94 h 1168"/>
              <a:gd name="T86" fmla="*/ 1025 w 1226"/>
              <a:gd name="T87" fmla="*/ 139 h 1168"/>
              <a:gd name="T88" fmla="*/ 1048 w 1226"/>
              <a:gd name="T89" fmla="*/ 205 h 1168"/>
              <a:gd name="T90" fmla="*/ 1095 w 1226"/>
              <a:gd name="T91" fmla="*/ 230 h 1168"/>
              <a:gd name="T92" fmla="*/ 1107 w 1226"/>
              <a:gd name="T93" fmla="*/ 240 h 1168"/>
              <a:gd name="T94" fmla="*/ 1044 w 1226"/>
              <a:gd name="T95" fmla="*/ 390 h 1168"/>
              <a:gd name="T96" fmla="*/ 975 w 1226"/>
              <a:gd name="T97" fmla="*/ 431 h 1168"/>
              <a:gd name="T98" fmla="*/ 717 w 1226"/>
              <a:gd name="T99" fmla="*/ 289 h 1168"/>
              <a:gd name="T100" fmla="*/ 529 w 1226"/>
              <a:gd name="T101" fmla="*/ 205 h 1168"/>
              <a:gd name="T102" fmla="*/ 317 w 1226"/>
              <a:gd name="T103" fmla="*/ 140 h 1168"/>
              <a:gd name="T104" fmla="*/ 378 w 1226"/>
              <a:gd name="T105" fmla="*/ 31 h 1168"/>
              <a:gd name="T106" fmla="*/ 389 w 1226"/>
              <a:gd name="T107" fmla="*/ 0 h 1168"/>
              <a:gd name="T108" fmla="*/ 367 w 1226"/>
              <a:gd name="T109" fmla="*/ 10 h 1168"/>
              <a:gd name="T110" fmla="*/ 285 w 1226"/>
              <a:gd name="T111" fmla="*/ 57 h 1168"/>
              <a:gd name="T112" fmla="*/ 211 w 1226"/>
              <a:gd name="T113" fmla="*/ 85 h 1168"/>
              <a:gd name="T114" fmla="*/ 147 w 1226"/>
              <a:gd name="T115" fmla="*/ 85 h 1168"/>
              <a:gd name="T116" fmla="*/ 114 w 1226"/>
              <a:gd name="T117" fmla="*/ 85 h 1168"/>
              <a:gd name="T118" fmla="*/ 87 w 1226"/>
              <a:gd name="T119" fmla="*/ 134 h 1168"/>
              <a:gd name="T120" fmla="*/ 42 w 1226"/>
              <a:gd name="T121" fmla="*/ 261 h 1168"/>
              <a:gd name="T122" fmla="*/ 6 w 1226"/>
              <a:gd name="T123" fmla="*/ 327 h 1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6" h="1168">
                <a:moveTo>
                  <a:pt x="1" y="345"/>
                </a:moveTo>
                <a:lnTo>
                  <a:pt x="1" y="345"/>
                </a:lnTo>
                <a:lnTo>
                  <a:pt x="0" y="359"/>
                </a:lnTo>
                <a:lnTo>
                  <a:pt x="0" y="370"/>
                </a:lnTo>
                <a:lnTo>
                  <a:pt x="2" y="386"/>
                </a:lnTo>
                <a:lnTo>
                  <a:pt x="5" y="401"/>
                </a:lnTo>
                <a:lnTo>
                  <a:pt x="8" y="409"/>
                </a:lnTo>
                <a:lnTo>
                  <a:pt x="11" y="417"/>
                </a:lnTo>
                <a:lnTo>
                  <a:pt x="16" y="425"/>
                </a:lnTo>
                <a:lnTo>
                  <a:pt x="22" y="434"/>
                </a:lnTo>
                <a:lnTo>
                  <a:pt x="28" y="442"/>
                </a:lnTo>
                <a:lnTo>
                  <a:pt x="36" y="449"/>
                </a:lnTo>
                <a:lnTo>
                  <a:pt x="36" y="449"/>
                </a:lnTo>
                <a:lnTo>
                  <a:pt x="48" y="458"/>
                </a:lnTo>
                <a:lnTo>
                  <a:pt x="61" y="466"/>
                </a:lnTo>
                <a:lnTo>
                  <a:pt x="76" y="473"/>
                </a:lnTo>
                <a:lnTo>
                  <a:pt x="91" y="478"/>
                </a:lnTo>
                <a:lnTo>
                  <a:pt x="105" y="480"/>
                </a:lnTo>
                <a:lnTo>
                  <a:pt x="113" y="480"/>
                </a:lnTo>
                <a:lnTo>
                  <a:pt x="120" y="479"/>
                </a:lnTo>
                <a:lnTo>
                  <a:pt x="126" y="478"/>
                </a:lnTo>
                <a:lnTo>
                  <a:pt x="132" y="476"/>
                </a:lnTo>
                <a:lnTo>
                  <a:pt x="137" y="473"/>
                </a:lnTo>
                <a:lnTo>
                  <a:pt x="142" y="469"/>
                </a:lnTo>
                <a:lnTo>
                  <a:pt x="142" y="469"/>
                </a:lnTo>
                <a:lnTo>
                  <a:pt x="147" y="464"/>
                </a:lnTo>
                <a:lnTo>
                  <a:pt x="152" y="457"/>
                </a:lnTo>
                <a:lnTo>
                  <a:pt x="155" y="451"/>
                </a:lnTo>
                <a:lnTo>
                  <a:pt x="158" y="444"/>
                </a:lnTo>
                <a:lnTo>
                  <a:pt x="160" y="436"/>
                </a:lnTo>
                <a:lnTo>
                  <a:pt x="161" y="428"/>
                </a:lnTo>
                <a:lnTo>
                  <a:pt x="162" y="411"/>
                </a:lnTo>
                <a:lnTo>
                  <a:pt x="162" y="395"/>
                </a:lnTo>
                <a:lnTo>
                  <a:pt x="163" y="378"/>
                </a:lnTo>
                <a:lnTo>
                  <a:pt x="164" y="370"/>
                </a:lnTo>
                <a:lnTo>
                  <a:pt x="166" y="362"/>
                </a:lnTo>
                <a:lnTo>
                  <a:pt x="168" y="355"/>
                </a:lnTo>
                <a:lnTo>
                  <a:pt x="172" y="347"/>
                </a:lnTo>
                <a:lnTo>
                  <a:pt x="172" y="347"/>
                </a:lnTo>
                <a:lnTo>
                  <a:pt x="174" y="344"/>
                </a:lnTo>
                <a:lnTo>
                  <a:pt x="178" y="341"/>
                </a:lnTo>
                <a:lnTo>
                  <a:pt x="187" y="335"/>
                </a:lnTo>
                <a:lnTo>
                  <a:pt x="195" y="332"/>
                </a:lnTo>
                <a:lnTo>
                  <a:pt x="198" y="331"/>
                </a:lnTo>
                <a:lnTo>
                  <a:pt x="198" y="331"/>
                </a:lnTo>
                <a:lnTo>
                  <a:pt x="205" y="329"/>
                </a:lnTo>
                <a:lnTo>
                  <a:pt x="211" y="326"/>
                </a:lnTo>
                <a:lnTo>
                  <a:pt x="217" y="323"/>
                </a:lnTo>
                <a:lnTo>
                  <a:pt x="223" y="318"/>
                </a:lnTo>
                <a:lnTo>
                  <a:pt x="223" y="318"/>
                </a:lnTo>
                <a:lnTo>
                  <a:pt x="264" y="337"/>
                </a:lnTo>
                <a:lnTo>
                  <a:pt x="305" y="355"/>
                </a:lnTo>
                <a:lnTo>
                  <a:pt x="347" y="374"/>
                </a:lnTo>
                <a:lnTo>
                  <a:pt x="388" y="395"/>
                </a:lnTo>
                <a:lnTo>
                  <a:pt x="427" y="416"/>
                </a:lnTo>
                <a:lnTo>
                  <a:pt x="468" y="439"/>
                </a:lnTo>
                <a:lnTo>
                  <a:pt x="509" y="461"/>
                </a:lnTo>
                <a:lnTo>
                  <a:pt x="549" y="485"/>
                </a:lnTo>
                <a:lnTo>
                  <a:pt x="589" y="509"/>
                </a:lnTo>
                <a:lnTo>
                  <a:pt x="628" y="534"/>
                </a:lnTo>
                <a:lnTo>
                  <a:pt x="706" y="584"/>
                </a:lnTo>
                <a:lnTo>
                  <a:pt x="782" y="636"/>
                </a:lnTo>
                <a:lnTo>
                  <a:pt x="857" y="689"/>
                </a:lnTo>
                <a:lnTo>
                  <a:pt x="857" y="689"/>
                </a:lnTo>
                <a:lnTo>
                  <a:pt x="876" y="703"/>
                </a:lnTo>
                <a:lnTo>
                  <a:pt x="894" y="714"/>
                </a:lnTo>
                <a:lnTo>
                  <a:pt x="894" y="714"/>
                </a:lnTo>
                <a:lnTo>
                  <a:pt x="887" y="736"/>
                </a:lnTo>
                <a:lnTo>
                  <a:pt x="878" y="759"/>
                </a:lnTo>
                <a:lnTo>
                  <a:pt x="868" y="783"/>
                </a:lnTo>
                <a:lnTo>
                  <a:pt x="856" y="809"/>
                </a:lnTo>
                <a:lnTo>
                  <a:pt x="856" y="809"/>
                </a:lnTo>
                <a:lnTo>
                  <a:pt x="816" y="885"/>
                </a:lnTo>
                <a:lnTo>
                  <a:pt x="797" y="921"/>
                </a:lnTo>
                <a:lnTo>
                  <a:pt x="779" y="957"/>
                </a:lnTo>
                <a:lnTo>
                  <a:pt x="772" y="975"/>
                </a:lnTo>
                <a:lnTo>
                  <a:pt x="766" y="992"/>
                </a:lnTo>
                <a:lnTo>
                  <a:pt x="760" y="1008"/>
                </a:lnTo>
                <a:lnTo>
                  <a:pt x="756" y="1025"/>
                </a:lnTo>
                <a:lnTo>
                  <a:pt x="753" y="1040"/>
                </a:lnTo>
                <a:lnTo>
                  <a:pt x="751" y="1054"/>
                </a:lnTo>
                <a:lnTo>
                  <a:pt x="751" y="1069"/>
                </a:lnTo>
                <a:lnTo>
                  <a:pt x="752" y="1081"/>
                </a:lnTo>
                <a:lnTo>
                  <a:pt x="752" y="1081"/>
                </a:lnTo>
                <a:lnTo>
                  <a:pt x="754" y="1090"/>
                </a:lnTo>
                <a:lnTo>
                  <a:pt x="756" y="1099"/>
                </a:lnTo>
                <a:lnTo>
                  <a:pt x="759" y="1107"/>
                </a:lnTo>
                <a:lnTo>
                  <a:pt x="762" y="1116"/>
                </a:lnTo>
                <a:lnTo>
                  <a:pt x="766" y="1123"/>
                </a:lnTo>
                <a:lnTo>
                  <a:pt x="771" y="1130"/>
                </a:lnTo>
                <a:lnTo>
                  <a:pt x="776" y="1136"/>
                </a:lnTo>
                <a:lnTo>
                  <a:pt x="781" y="1142"/>
                </a:lnTo>
                <a:lnTo>
                  <a:pt x="787" y="1147"/>
                </a:lnTo>
                <a:lnTo>
                  <a:pt x="794" y="1152"/>
                </a:lnTo>
                <a:lnTo>
                  <a:pt x="801" y="1157"/>
                </a:lnTo>
                <a:lnTo>
                  <a:pt x="808" y="1160"/>
                </a:lnTo>
                <a:lnTo>
                  <a:pt x="816" y="1163"/>
                </a:lnTo>
                <a:lnTo>
                  <a:pt x="824" y="1165"/>
                </a:lnTo>
                <a:lnTo>
                  <a:pt x="833" y="1167"/>
                </a:lnTo>
                <a:lnTo>
                  <a:pt x="842" y="1168"/>
                </a:lnTo>
                <a:lnTo>
                  <a:pt x="842" y="1168"/>
                </a:lnTo>
                <a:lnTo>
                  <a:pt x="852" y="1168"/>
                </a:lnTo>
                <a:lnTo>
                  <a:pt x="862" y="1167"/>
                </a:lnTo>
                <a:lnTo>
                  <a:pt x="871" y="1165"/>
                </a:lnTo>
                <a:lnTo>
                  <a:pt x="880" y="1163"/>
                </a:lnTo>
                <a:lnTo>
                  <a:pt x="889" y="1160"/>
                </a:lnTo>
                <a:lnTo>
                  <a:pt x="897" y="1155"/>
                </a:lnTo>
                <a:lnTo>
                  <a:pt x="905" y="1151"/>
                </a:lnTo>
                <a:lnTo>
                  <a:pt x="912" y="1146"/>
                </a:lnTo>
                <a:lnTo>
                  <a:pt x="919" y="1140"/>
                </a:lnTo>
                <a:lnTo>
                  <a:pt x="925" y="1135"/>
                </a:lnTo>
                <a:lnTo>
                  <a:pt x="931" y="1129"/>
                </a:lnTo>
                <a:lnTo>
                  <a:pt x="936" y="1122"/>
                </a:lnTo>
                <a:lnTo>
                  <a:pt x="940" y="1115"/>
                </a:lnTo>
                <a:lnTo>
                  <a:pt x="944" y="1107"/>
                </a:lnTo>
                <a:lnTo>
                  <a:pt x="947" y="1100"/>
                </a:lnTo>
                <a:lnTo>
                  <a:pt x="949" y="1092"/>
                </a:lnTo>
                <a:lnTo>
                  <a:pt x="949" y="1092"/>
                </a:lnTo>
                <a:lnTo>
                  <a:pt x="951" y="1076"/>
                </a:lnTo>
                <a:lnTo>
                  <a:pt x="952" y="1060"/>
                </a:lnTo>
                <a:lnTo>
                  <a:pt x="950" y="1048"/>
                </a:lnTo>
                <a:lnTo>
                  <a:pt x="947" y="1036"/>
                </a:lnTo>
                <a:lnTo>
                  <a:pt x="942" y="1027"/>
                </a:lnTo>
                <a:lnTo>
                  <a:pt x="937" y="1017"/>
                </a:lnTo>
                <a:lnTo>
                  <a:pt x="930" y="1010"/>
                </a:lnTo>
                <a:lnTo>
                  <a:pt x="922" y="1005"/>
                </a:lnTo>
                <a:lnTo>
                  <a:pt x="915" y="1000"/>
                </a:lnTo>
                <a:lnTo>
                  <a:pt x="908" y="996"/>
                </a:lnTo>
                <a:lnTo>
                  <a:pt x="894" y="991"/>
                </a:lnTo>
                <a:lnTo>
                  <a:pt x="885" y="989"/>
                </a:lnTo>
                <a:lnTo>
                  <a:pt x="880" y="989"/>
                </a:lnTo>
                <a:lnTo>
                  <a:pt x="880" y="989"/>
                </a:lnTo>
                <a:lnTo>
                  <a:pt x="896" y="944"/>
                </a:lnTo>
                <a:lnTo>
                  <a:pt x="908" y="908"/>
                </a:lnTo>
                <a:lnTo>
                  <a:pt x="919" y="879"/>
                </a:lnTo>
                <a:lnTo>
                  <a:pt x="919" y="879"/>
                </a:lnTo>
                <a:lnTo>
                  <a:pt x="927" y="859"/>
                </a:lnTo>
                <a:lnTo>
                  <a:pt x="937" y="841"/>
                </a:lnTo>
                <a:lnTo>
                  <a:pt x="945" y="823"/>
                </a:lnTo>
                <a:lnTo>
                  <a:pt x="954" y="807"/>
                </a:lnTo>
                <a:lnTo>
                  <a:pt x="962" y="792"/>
                </a:lnTo>
                <a:lnTo>
                  <a:pt x="971" y="777"/>
                </a:lnTo>
                <a:lnTo>
                  <a:pt x="989" y="753"/>
                </a:lnTo>
                <a:lnTo>
                  <a:pt x="1006" y="732"/>
                </a:lnTo>
                <a:lnTo>
                  <a:pt x="1024" y="715"/>
                </a:lnTo>
                <a:lnTo>
                  <a:pt x="1040" y="702"/>
                </a:lnTo>
                <a:lnTo>
                  <a:pt x="1055" y="690"/>
                </a:lnTo>
                <a:lnTo>
                  <a:pt x="1070" y="683"/>
                </a:lnTo>
                <a:lnTo>
                  <a:pt x="1083" y="677"/>
                </a:lnTo>
                <a:lnTo>
                  <a:pt x="1095" y="673"/>
                </a:lnTo>
                <a:lnTo>
                  <a:pt x="1105" y="671"/>
                </a:lnTo>
                <a:lnTo>
                  <a:pt x="1114" y="670"/>
                </a:lnTo>
                <a:lnTo>
                  <a:pt x="1120" y="670"/>
                </a:lnTo>
                <a:lnTo>
                  <a:pt x="1125" y="670"/>
                </a:lnTo>
                <a:lnTo>
                  <a:pt x="1125" y="670"/>
                </a:lnTo>
                <a:lnTo>
                  <a:pt x="1121" y="666"/>
                </a:lnTo>
                <a:lnTo>
                  <a:pt x="1116" y="661"/>
                </a:lnTo>
                <a:lnTo>
                  <a:pt x="1111" y="653"/>
                </a:lnTo>
                <a:lnTo>
                  <a:pt x="1104" y="644"/>
                </a:lnTo>
                <a:lnTo>
                  <a:pt x="1099" y="633"/>
                </a:lnTo>
                <a:lnTo>
                  <a:pt x="1093" y="620"/>
                </a:lnTo>
                <a:lnTo>
                  <a:pt x="1088" y="603"/>
                </a:lnTo>
                <a:lnTo>
                  <a:pt x="1085" y="586"/>
                </a:lnTo>
                <a:lnTo>
                  <a:pt x="1083" y="566"/>
                </a:lnTo>
                <a:lnTo>
                  <a:pt x="1083" y="543"/>
                </a:lnTo>
                <a:lnTo>
                  <a:pt x="1084" y="531"/>
                </a:lnTo>
                <a:lnTo>
                  <a:pt x="1086" y="519"/>
                </a:lnTo>
                <a:lnTo>
                  <a:pt x="1088" y="505"/>
                </a:lnTo>
                <a:lnTo>
                  <a:pt x="1092" y="491"/>
                </a:lnTo>
                <a:lnTo>
                  <a:pt x="1096" y="477"/>
                </a:lnTo>
                <a:lnTo>
                  <a:pt x="1101" y="461"/>
                </a:lnTo>
                <a:lnTo>
                  <a:pt x="1107" y="446"/>
                </a:lnTo>
                <a:lnTo>
                  <a:pt x="1115" y="430"/>
                </a:lnTo>
                <a:lnTo>
                  <a:pt x="1123" y="412"/>
                </a:lnTo>
                <a:lnTo>
                  <a:pt x="1132" y="395"/>
                </a:lnTo>
                <a:lnTo>
                  <a:pt x="1132" y="395"/>
                </a:lnTo>
                <a:lnTo>
                  <a:pt x="1152" y="358"/>
                </a:lnTo>
                <a:lnTo>
                  <a:pt x="1169" y="322"/>
                </a:lnTo>
                <a:lnTo>
                  <a:pt x="1184" y="289"/>
                </a:lnTo>
                <a:lnTo>
                  <a:pt x="1195" y="258"/>
                </a:lnTo>
                <a:lnTo>
                  <a:pt x="1206" y="227"/>
                </a:lnTo>
                <a:lnTo>
                  <a:pt x="1214" y="197"/>
                </a:lnTo>
                <a:lnTo>
                  <a:pt x="1220" y="169"/>
                </a:lnTo>
                <a:lnTo>
                  <a:pt x="1225" y="141"/>
                </a:lnTo>
                <a:lnTo>
                  <a:pt x="1225" y="141"/>
                </a:lnTo>
                <a:lnTo>
                  <a:pt x="1226" y="132"/>
                </a:lnTo>
                <a:lnTo>
                  <a:pt x="1225" y="123"/>
                </a:lnTo>
                <a:lnTo>
                  <a:pt x="1224" y="114"/>
                </a:lnTo>
                <a:lnTo>
                  <a:pt x="1221" y="104"/>
                </a:lnTo>
                <a:lnTo>
                  <a:pt x="1217" y="95"/>
                </a:lnTo>
                <a:lnTo>
                  <a:pt x="1213" y="87"/>
                </a:lnTo>
                <a:lnTo>
                  <a:pt x="1208" y="78"/>
                </a:lnTo>
                <a:lnTo>
                  <a:pt x="1202" y="70"/>
                </a:lnTo>
                <a:lnTo>
                  <a:pt x="1194" y="63"/>
                </a:lnTo>
                <a:lnTo>
                  <a:pt x="1187" y="55"/>
                </a:lnTo>
                <a:lnTo>
                  <a:pt x="1179" y="49"/>
                </a:lnTo>
                <a:lnTo>
                  <a:pt x="1171" y="44"/>
                </a:lnTo>
                <a:lnTo>
                  <a:pt x="1163" y="39"/>
                </a:lnTo>
                <a:lnTo>
                  <a:pt x="1153" y="36"/>
                </a:lnTo>
                <a:lnTo>
                  <a:pt x="1144" y="34"/>
                </a:lnTo>
                <a:lnTo>
                  <a:pt x="1134" y="32"/>
                </a:lnTo>
                <a:lnTo>
                  <a:pt x="1134" y="32"/>
                </a:lnTo>
                <a:lnTo>
                  <a:pt x="1124" y="32"/>
                </a:lnTo>
                <a:lnTo>
                  <a:pt x="1115" y="33"/>
                </a:lnTo>
                <a:lnTo>
                  <a:pt x="1104" y="35"/>
                </a:lnTo>
                <a:lnTo>
                  <a:pt x="1095" y="38"/>
                </a:lnTo>
                <a:lnTo>
                  <a:pt x="1086" y="42"/>
                </a:lnTo>
                <a:lnTo>
                  <a:pt x="1078" y="46"/>
                </a:lnTo>
                <a:lnTo>
                  <a:pt x="1070" y="52"/>
                </a:lnTo>
                <a:lnTo>
                  <a:pt x="1061" y="57"/>
                </a:lnTo>
                <a:lnTo>
                  <a:pt x="1054" y="65"/>
                </a:lnTo>
                <a:lnTo>
                  <a:pt x="1048" y="71"/>
                </a:lnTo>
                <a:lnTo>
                  <a:pt x="1042" y="78"/>
                </a:lnTo>
                <a:lnTo>
                  <a:pt x="1037" y="86"/>
                </a:lnTo>
                <a:lnTo>
                  <a:pt x="1033" y="94"/>
                </a:lnTo>
                <a:lnTo>
                  <a:pt x="1029" y="102"/>
                </a:lnTo>
                <a:lnTo>
                  <a:pt x="1027" y="111"/>
                </a:lnTo>
                <a:lnTo>
                  <a:pt x="1026" y="119"/>
                </a:lnTo>
                <a:lnTo>
                  <a:pt x="1026" y="119"/>
                </a:lnTo>
                <a:lnTo>
                  <a:pt x="1025" y="139"/>
                </a:lnTo>
                <a:lnTo>
                  <a:pt x="1026" y="158"/>
                </a:lnTo>
                <a:lnTo>
                  <a:pt x="1030" y="173"/>
                </a:lnTo>
                <a:lnTo>
                  <a:pt x="1035" y="185"/>
                </a:lnTo>
                <a:lnTo>
                  <a:pt x="1041" y="195"/>
                </a:lnTo>
                <a:lnTo>
                  <a:pt x="1048" y="205"/>
                </a:lnTo>
                <a:lnTo>
                  <a:pt x="1056" y="212"/>
                </a:lnTo>
                <a:lnTo>
                  <a:pt x="1065" y="217"/>
                </a:lnTo>
                <a:lnTo>
                  <a:pt x="1073" y="221"/>
                </a:lnTo>
                <a:lnTo>
                  <a:pt x="1081" y="225"/>
                </a:lnTo>
                <a:lnTo>
                  <a:pt x="1095" y="230"/>
                </a:lnTo>
                <a:lnTo>
                  <a:pt x="1101" y="232"/>
                </a:lnTo>
                <a:lnTo>
                  <a:pt x="1104" y="234"/>
                </a:lnTo>
                <a:lnTo>
                  <a:pt x="1107" y="237"/>
                </a:lnTo>
                <a:lnTo>
                  <a:pt x="1107" y="240"/>
                </a:lnTo>
                <a:lnTo>
                  <a:pt x="1107" y="240"/>
                </a:lnTo>
                <a:lnTo>
                  <a:pt x="1096" y="276"/>
                </a:lnTo>
                <a:lnTo>
                  <a:pt x="1084" y="309"/>
                </a:lnTo>
                <a:lnTo>
                  <a:pt x="1071" y="339"/>
                </a:lnTo>
                <a:lnTo>
                  <a:pt x="1057" y="365"/>
                </a:lnTo>
                <a:lnTo>
                  <a:pt x="1044" y="390"/>
                </a:lnTo>
                <a:lnTo>
                  <a:pt x="1031" y="411"/>
                </a:lnTo>
                <a:lnTo>
                  <a:pt x="1016" y="431"/>
                </a:lnTo>
                <a:lnTo>
                  <a:pt x="1002" y="447"/>
                </a:lnTo>
                <a:lnTo>
                  <a:pt x="1002" y="447"/>
                </a:lnTo>
                <a:lnTo>
                  <a:pt x="975" y="431"/>
                </a:lnTo>
                <a:lnTo>
                  <a:pt x="942" y="411"/>
                </a:lnTo>
                <a:lnTo>
                  <a:pt x="942" y="411"/>
                </a:lnTo>
                <a:lnTo>
                  <a:pt x="865" y="369"/>
                </a:lnTo>
                <a:lnTo>
                  <a:pt x="790" y="328"/>
                </a:lnTo>
                <a:lnTo>
                  <a:pt x="717" y="289"/>
                </a:lnTo>
                <a:lnTo>
                  <a:pt x="680" y="271"/>
                </a:lnTo>
                <a:lnTo>
                  <a:pt x="643" y="254"/>
                </a:lnTo>
                <a:lnTo>
                  <a:pt x="606" y="236"/>
                </a:lnTo>
                <a:lnTo>
                  <a:pt x="568" y="221"/>
                </a:lnTo>
                <a:lnTo>
                  <a:pt x="529" y="205"/>
                </a:lnTo>
                <a:lnTo>
                  <a:pt x="489" y="190"/>
                </a:lnTo>
                <a:lnTo>
                  <a:pt x="448" y="176"/>
                </a:lnTo>
                <a:lnTo>
                  <a:pt x="406" y="164"/>
                </a:lnTo>
                <a:lnTo>
                  <a:pt x="362" y="151"/>
                </a:lnTo>
                <a:lnTo>
                  <a:pt x="317" y="140"/>
                </a:lnTo>
                <a:lnTo>
                  <a:pt x="317" y="140"/>
                </a:lnTo>
                <a:lnTo>
                  <a:pt x="334" y="107"/>
                </a:lnTo>
                <a:lnTo>
                  <a:pt x="334" y="107"/>
                </a:lnTo>
                <a:lnTo>
                  <a:pt x="360" y="63"/>
                </a:lnTo>
                <a:lnTo>
                  <a:pt x="378" y="31"/>
                </a:lnTo>
                <a:lnTo>
                  <a:pt x="385" y="20"/>
                </a:lnTo>
                <a:lnTo>
                  <a:pt x="389" y="10"/>
                </a:lnTo>
                <a:lnTo>
                  <a:pt x="391" y="4"/>
                </a:lnTo>
                <a:lnTo>
                  <a:pt x="390" y="2"/>
                </a:lnTo>
                <a:lnTo>
                  <a:pt x="389" y="0"/>
                </a:lnTo>
                <a:lnTo>
                  <a:pt x="389" y="0"/>
                </a:lnTo>
                <a:lnTo>
                  <a:pt x="388" y="0"/>
                </a:lnTo>
                <a:lnTo>
                  <a:pt x="387" y="0"/>
                </a:lnTo>
                <a:lnTo>
                  <a:pt x="381" y="1"/>
                </a:lnTo>
                <a:lnTo>
                  <a:pt x="367" y="10"/>
                </a:lnTo>
                <a:lnTo>
                  <a:pt x="343" y="26"/>
                </a:lnTo>
                <a:lnTo>
                  <a:pt x="326" y="35"/>
                </a:lnTo>
                <a:lnTo>
                  <a:pt x="307" y="46"/>
                </a:lnTo>
                <a:lnTo>
                  <a:pt x="307" y="46"/>
                </a:lnTo>
                <a:lnTo>
                  <a:pt x="285" y="57"/>
                </a:lnTo>
                <a:lnTo>
                  <a:pt x="267" y="67"/>
                </a:lnTo>
                <a:lnTo>
                  <a:pt x="252" y="73"/>
                </a:lnTo>
                <a:lnTo>
                  <a:pt x="237" y="78"/>
                </a:lnTo>
                <a:lnTo>
                  <a:pt x="224" y="82"/>
                </a:lnTo>
                <a:lnTo>
                  <a:pt x="211" y="85"/>
                </a:lnTo>
                <a:lnTo>
                  <a:pt x="183" y="89"/>
                </a:lnTo>
                <a:lnTo>
                  <a:pt x="183" y="89"/>
                </a:lnTo>
                <a:lnTo>
                  <a:pt x="174" y="89"/>
                </a:lnTo>
                <a:lnTo>
                  <a:pt x="165" y="88"/>
                </a:lnTo>
                <a:lnTo>
                  <a:pt x="147" y="85"/>
                </a:lnTo>
                <a:lnTo>
                  <a:pt x="132" y="81"/>
                </a:lnTo>
                <a:lnTo>
                  <a:pt x="125" y="81"/>
                </a:lnTo>
                <a:lnTo>
                  <a:pt x="120" y="82"/>
                </a:lnTo>
                <a:lnTo>
                  <a:pt x="120" y="82"/>
                </a:lnTo>
                <a:lnTo>
                  <a:pt x="114" y="85"/>
                </a:lnTo>
                <a:lnTo>
                  <a:pt x="107" y="91"/>
                </a:lnTo>
                <a:lnTo>
                  <a:pt x="102" y="98"/>
                </a:lnTo>
                <a:lnTo>
                  <a:pt x="97" y="107"/>
                </a:lnTo>
                <a:lnTo>
                  <a:pt x="92" y="120"/>
                </a:lnTo>
                <a:lnTo>
                  <a:pt x="87" y="134"/>
                </a:lnTo>
                <a:lnTo>
                  <a:pt x="74" y="171"/>
                </a:lnTo>
                <a:lnTo>
                  <a:pt x="74" y="171"/>
                </a:lnTo>
                <a:lnTo>
                  <a:pt x="49" y="242"/>
                </a:lnTo>
                <a:lnTo>
                  <a:pt x="42" y="261"/>
                </a:lnTo>
                <a:lnTo>
                  <a:pt x="42" y="261"/>
                </a:lnTo>
                <a:lnTo>
                  <a:pt x="34" y="279"/>
                </a:lnTo>
                <a:lnTo>
                  <a:pt x="27" y="293"/>
                </a:lnTo>
                <a:lnTo>
                  <a:pt x="14" y="312"/>
                </a:lnTo>
                <a:lnTo>
                  <a:pt x="10" y="320"/>
                </a:lnTo>
                <a:lnTo>
                  <a:pt x="6" y="327"/>
                </a:lnTo>
                <a:lnTo>
                  <a:pt x="3" y="335"/>
                </a:lnTo>
                <a:lnTo>
                  <a:pt x="1" y="34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6" name="Freeform 33"/>
          <p:cNvSpPr>
            <a:spLocks/>
          </p:cNvSpPr>
          <p:nvPr userDrawn="1"/>
        </p:nvSpPr>
        <p:spPr bwMode="auto">
          <a:xfrm>
            <a:off x="7189787" y="1214140"/>
            <a:ext cx="39688" cy="46038"/>
          </a:xfrm>
          <a:custGeom>
            <a:avLst/>
            <a:gdLst>
              <a:gd name="T0" fmla="*/ 103 w 296"/>
              <a:gd name="T1" fmla="*/ 350 h 350"/>
              <a:gd name="T2" fmla="*/ 103 w 296"/>
              <a:gd name="T3" fmla="*/ 350 h 350"/>
              <a:gd name="T4" fmla="*/ 132 w 296"/>
              <a:gd name="T5" fmla="*/ 349 h 350"/>
              <a:gd name="T6" fmla="*/ 164 w 296"/>
              <a:gd name="T7" fmla="*/ 346 h 350"/>
              <a:gd name="T8" fmla="*/ 196 w 296"/>
              <a:gd name="T9" fmla="*/ 343 h 350"/>
              <a:gd name="T10" fmla="*/ 226 w 296"/>
              <a:gd name="T11" fmla="*/ 339 h 350"/>
              <a:gd name="T12" fmla="*/ 276 w 296"/>
              <a:gd name="T13" fmla="*/ 333 h 350"/>
              <a:gd name="T14" fmla="*/ 296 w 296"/>
              <a:gd name="T15" fmla="*/ 329 h 350"/>
              <a:gd name="T16" fmla="*/ 293 w 296"/>
              <a:gd name="T17" fmla="*/ 25 h 350"/>
              <a:gd name="T18" fmla="*/ 293 w 296"/>
              <a:gd name="T19" fmla="*/ 25 h 350"/>
              <a:gd name="T20" fmla="*/ 244 w 296"/>
              <a:gd name="T21" fmla="*/ 18 h 350"/>
              <a:gd name="T22" fmla="*/ 142 w 296"/>
              <a:gd name="T23" fmla="*/ 2 h 350"/>
              <a:gd name="T24" fmla="*/ 142 w 296"/>
              <a:gd name="T25" fmla="*/ 2 h 350"/>
              <a:gd name="T26" fmla="*/ 129 w 296"/>
              <a:gd name="T27" fmla="*/ 1 h 350"/>
              <a:gd name="T28" fmla="*/ 117 w 296"/>
              <a:gd name="T29" fmla="*/ 0 h 350"/>
              <a:gd name="T30" fmla="*/ 105 w 296"/>
              <a:gd name="T31" fmla="*/ 0 h 350"/>
              <a:gd name="T32" fmla="*/ 94 w 296"/>
              <a:gd name="T33" fmla="*/ 1 h 350"/>
              <a:gd name="T34" fmla="*/ 84 w 296"/>
              <a:gd name="T35" fmla="*/ 3 h 350"/>
              <a:gd name="T36" fmla="*/ 75 w 296"/>
              <a:gd name="T37" fmla="*/ 6 h 350"/>
              <a:gd name="T38" fmla="*/ 66 w 296"/>
              <a:gd name="T39" fmla="*/ 9 h 350"/>
              <a:gd name="T40" fmla="*/ 59 w 296"/>
              <a:gd name="T41" fmla="*/ 13 h 350"/>
              <a:gd name="T42" fmla="*/ 51 w 296"/>
              <a:gd name="T43" fmla="*/ 17 h 350"/>
              <a:gd name="T44" fmla="*/ 44 w 296"/>
              <a:gd name="T45" fmla="*/ 22 h 350"/>
              <a:gd name="T46" fmla="*/ 38 w 296"/>
              <a:gd name="T47" fmla="*/ 27 h 350"/>
              <a:gd name="T48" fmla="*/ 33 w 296"/>
              <a:gd name="T49" fmla="*/ 32 h 350"/>
              <a:gd name="T50" fmla="*/ 24 w 296"/>
              <a:gd name="T51" fmla="*/ 45 h 350"/>
              <a:gd name="T52" fmla="*/ 17 w 296"/>
              <a:gd name="T53" fmla="*/ 57 h 350"/>
              <a:gd name="T54" fmla="*/ 11 w 296"/>
              <a:gd name="T55" fmla="*/ 70 h 350"/>
              <a:gd name="T56" fmla="*/ 6 w 296"/>
              <a:gd name="T57" fmla="*/ 83 h 350"/>
              <a:gd name="T58" fmla="*/ 3 w 296"/>
              <a:gd name="T59" fmla="*/ 96 h 350"/>
              <a:gd name="T60" fmla="*/ 1 w 296"/>
              <a:gd name="T61" fmla="*/ 106 h 350"/>
              <a:gd name="T62" fmla="*/ 0 w 296"/>
              <a:gd name="T63" fmla="*/ 123 h 350"/>
              <a:gd name="T64" fmla="*/ 0 w 296"/>
              <a:gd name="T65" fmla="*/ 129 h 350"/>
              <a:gd name="T66" fmla="*/ 4 w 296"/>
              <a:gd name="T67" fmla="*/ 213 h 350"/>
              <a:gd name="T68" fmla="*/ 4 w 296"/>
              <a:gd name="T69" fmla="*/ 213 h 350"/>
              <a:gd name="T70" fmla="*/ 4 w 296"/>
              <a:gd name="T71" fmla="*/ 219 h 350"/>
              <a:gd name="T72" fmla="*/ 6 w 296"/>
              <a:gd name="T73" fmla="*/ 235 h 350"/>
              <a:gd name="T74" fmla="*/ 11 w 296"/>
              <a:gd name="T75" fmla="*/ 256 h 350"/>
              <a:gd name="T76" fmla="*/ 15 w 296"/>
              <a:gd name="T77" fmla="*/ 268 h 350"/>
              <a:gd name="T78" fmla="*/ 19 w 296"/>
              <a:gd name="T79" fmla="*/ 282 h 350"/>
              <a:gd name="T80" fmla="*/ 24 w 296"/>
              <a:gd name="T81" fmla="*/ 294 h 350"/>
              <a:gd name="T82" fmla="*/ 31 w 296"/>
              <a:gd name="T83" fmla="*/ 306 h 350"/>
              <a:gd name="T84" fmla="*/ 39 w 296"/>
              <a:gd name="T85" fmla="*/ 319 h 350"/>
              <a:gd name="T86" fmla="*/ 48 w 296"/>
              <a:gd name="T87" fmla="*/ 329 h 350"/>
              <a:gd name="T88" fmla="*/ 53 w 296"/>
              <a:gd name="T89" fmla="*/ 333 h 350"/>
              <a:gd name="T90" fmla="*/ 60 w 296"/>
              <a:gd name="T91" fmla="*/ 337 h 350"/>
              <a:gd name="T92" fmla="*/ 66 w 296"/>
              <a:gd name="T93" fmla="*/ 341 h 350"/>
              <a:gd name="T94" fmla="*/ 72 w 296"/>
              <a:gd name="T95" fmla="*/ 344 h 350"/>
              <a:gd name="T96" fmla="*/ 79 w 296"/>
              <a:gd name="T97" fmla="*/ 346 h 350"/>
              <a:gd name="T98" fmla="*/ 86 w 296"/>
              <a:gd name="T99" fmla="*/ 348 h 350"/>
              <a:gd name="T100" fmla="*/ 94 w 296"/>
              <a:gd name="T101" fmla="*/ 349 h 350"/>
              <a:gd name="T102" fmla="*/ 103 w 296"/>
              <a:gd name="T103" fmla="*/ 35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6" h="350">
                <a:moveTo>
                  <a:pt x="103" y="350"/>
                </a:moveTo>
                <a:lnTo>
                  <a:pt x="103" y="350"/>
                </a:lnTo>
                <a:lnTo>
                  <a:pt x="132" y="349"/>
                </a:lnTo>
                <a:lnTo>
                  <a:pt x="164" y="346"/>
                </a:lnTo>
                <a:lnTo>
                  <a:pt x="196" y="343"/>
                </a:lnTo>
                <a:lnTo>
                  <a:pt x="226" y="339"/>
                </a:lnTo>
                <a:lnTo>
                  <a:pt x="276" y="333"/>
                </a:lnTo>
                <a:lnTo>
                  <a:pt x="296" y="329"/>
                </a:lnTo>
                <a:lnTo>
                  <a:pt x="293" y="25"/>
                </a:lnTo>
                <a:lnTo>
                  <a:pt x="293" y="25"/>
                </a:lnTo>
                <a:lnTo>
                  <a:pt x="244" y="18"/>
                </a:lnTo>
                <a:lnTo>
                  <a:pt x="142" y="2"/>
                </a:lnTo>
                <a:lnTo>
                  <a:pt x="142" y="2"/>
                </a:lnTo>
                <a:lnTo>
                  <a:pt x="129" y="1"/>
                </a:lnTo>
                <a:lnTo>
                  <a:pt x="117" y="0"/>
                </a:lnTo>
                <a:lnTo>
                  <a:pt x="105" y="0"/>
                </a:lnTo>
                <a:lnTo>
                  <a:pt x="94" y="1"/>
                </a:lnTo>
                <a:lnTo>
                  <a:pt x="84" y="3"/>
                </a:lnTo>
                <a:lnTo>
                  <a:pt x="75" y="6"/>
                </a:lnTo>
                <a:lnTo>
                  <a:pt x="66" y="9"/>
                </a:lnTo>
                <a:lnTo>
                  <a:pt x="59" y="13"/>
                </a:lnTo>
                <a:lnTo>
                  <a:pt x="51" y="17"/>
                </a:lnTo>
                <a:lnTo>
                  <a:pt x="44" y="22"/>
                </a:lnTo>
                <a:lnTo>
                  <a:pt x="38" y="27"/>
                </a:lnTo>
                <a:lnTo>
                  <a:pt x="33" y="32"/>
                </a:lnTo>
                <a:lnTo>
                  <a:pt x="24" y="45"/>
                </a:lnTo>
                <a:lnTo>
                  <a:pt x="17" y="57"/>
                </a:lnTo>
                <a:lnTo>
                  <a:pt x="11" y="70"/>
                </a:lnTo>
                <a:lnTo>
                  <a:pt x="6" y="83"/>
                </a:lnTo>
                <a:lnTo>
                  <a:pt x="3" y="96"/>
                </a:lnTo>
                <a:lnTo>
                  <a:pt x="1" y="106"/>
                </a:lnTo>
                <a:lnTo>
                  <a:pt x="0" y="123"/>
                </a:lnTo>
                <a:lnTo>
                  <a:pt x="0" y="129"/>
                </a:lnTo>
                <a:lnTo>
                  <a:pt x="4" y="213"/>
                </a:lnTo>
                <a:lnTo>
                  <a:pt x="4" y="213"/>
                </a:lnTo>
                <a:lnTo>
                  <a:pt x="4" y="219"/>
                </a:lnTo>
                <a:lnTo>
                  <a:pt x="6" y="235"/>
                </a:lnTo>
                <a:lnTo>
                  <a:pt x="11" y="256"/>
                </a:lnTo>
                <a:lnTo>
                  <a:pt x="15" y="268"/>
                </a:lnTo>
                <a:lnTo>
                  <a:pt x="19" y="282"/>
                </a:lnTo>
                <a:lnTo>
                  <a:pt x="24" y="294"/>
                </a:lnTo>
                <a:lnTo>
                  <a:pt x="31" y="306"/>
                </a:lnTo>
                <a:lnTo>
                  <a:pt x="39" y="319"/>
                </a:lnTo>
                <a:lnTo>
                  <a:pt x="48" y="329"/>
                </a:lnTo>
                <a:lnTo>
                  <a:pt x="53" y="333"/>
                </a:lnTo>
                <a:lnTo>
                  <a:pt x="60" y="337"/>
                </a:lnTo>
                <a:lnTo>
                  <a:pt x="66" y="341"/>
                </a:lnTo>
                <a:lnTo>
                  <a:pt x="72" y="344"/>
                </a:lnTo>
                <a:lnTo>
                  <a:pt x="79" y="346"/>
                </a:lnTo>
                <a:lnTo>
                  <a:pt x="86" y="348"/>
                </a:lnTo>
                <a:lnTo>
                  <a:pt x="94" y="349"/>
                </a:lnTo>
                <a:lnTo>
                  <a:pt x="103" y="3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7" name="Freeform 34"/>
          <p:cNvSpPr>
            <a:spLocks/>
          </p:cNvSpPr>
          <p:nvPr userDrawn="1"/>
        </p:nvSpPr>
        <p:spPr bwMode="auto">
          <a:xfrm>
            <a:off x="7237412" y="1203028"/>
            <a:ext cx="60325" cy="57150"/>
          </a:xfrm>
          <a:custGeom>
            <a:avLst/>
            <a:gdLst>
              <a:gd name="T0" fmla="*/ 450 w 450"/>
              <a:gd name="T1" fmla="*/ 290 h 425"/>
              <a:gd name="T2" fmla="*/ 450 w 450"/>
              <a:gd name="T3" fmla="*/ 225 h 425"/>
              <a:gd name="T4" fmla="*/ 449 w 450"/>
              <a:gd name="T5" fmla="*/ 54 h 425"/>
              <a:gd name="T6" fmla="*/ 444 w 450"/>
              <a:gd name="T7" fmla="*/ 20 h 425"/>
              <a:gd name="T8" fmla="*/ 436 w 450"/>
              <a:gd name="T9" fmla="*/ 3 h 425"/>
              <a:gd name="T10" fmla="*/ 429 w 450"/>
              <a:gd name="T11" fmla="*/ 0 h 425"/>
              <a:gd name="T12" fmla="*/ 367 w 450"/>
              <a:gd name="T13" fmla="*/ 2 h 425"/>
              <a:gd name="T14" fmla="*/ 362 w 450"/>
              <a:gd name="T15" fmla="*/ 14 h 425"/>
              <a:gd name="T16" fmla="*/ 347 w 450"/>
              <a:gd name="T17" fmla="*/ 59 h 425"/>
              <a:gd name="T18" fmla="*/ 325 w 450"/>
              <a:gd name="T19" fmla="*/ 2 h 425"/>
              <a:gd name="T20" fmla="*/ 261 w 450"/>
              <a:gd name="T21" fmla="*/ 2 h 425"/>
              <a:gd name="T22" fmla="*/ 242 w 450"/>
              <a:gd name="T23" fmla="*/ 16 h 425"/>
              <a:gd name="T24" fmla="*/ 224 w 450"/>
              <a:gd name="T25" fmla="*/ 64 h 425"/>
              <a:gd name="T26" fmla="*/ 192 w 450"/>
              <a:gd name="T27" fmla="*/ 4 h 425"/>
              <a:gd name="T28" fmla="*/ 135 w 450"/>
              <a:gd name="T29" fmla="*/ 6 h 425"/>
              <a:gd name="T30" fmla="*/ 127 w 450"/>
              <a:gd name="T31" fmla="*/ 11 h 425"/>
              <a:gd name="T32" fmla="*/ 110 w 450"/>
              <a:gd name="T33" fmla="*/ 53 h 425"/>
              <a:gd name="T34" fmla="*/ 86 w 450"/>
              <a:gd name="T35" fmla="*/ 6 h 425"/>
              <a:gd name="T36" fmla="*/ 38 w 450"/>
              <a:gd name="T37" fmla="*/ 6 h 425"/>
              <a:gd name="T38" fmla="*/ 25 w 450"/>
              <a:gd name="T39" fmla="*/ 10 h 425"/>
              <a:gd name="T40" fmla="*/ 10 w 450"/>
              <a:gd name="T41" fmla="*/ 28 h 425"/>
              <a:gd name="T42" fmla="*/ 1 w 450"/>
              <a:gd name="T43" fmla="*/ 55 h 425"/>
              <a:gd name="T44" fmla="*/ 1 w 450"/>
              <a:gd name="T45" fmla="*/ 141 h 425"/>
              <a:gd name="T46" fmla="*/ 5 w 450"/>
              <a:gd name="T47" fmla="*/ 324 h 425"/>
              <a:gd name="T48" fmla="*/ 27 w 450"/>
              <a:gd name="T49" fmla="*/ 401 h 425"/>
              <a:gd name="T50" fmla="*/ 54 w 450"/>
              <a:gd name="T51" fmla="*/ 396 h 425"/>
              <a:gd name="T52" fmla="*/ 74 w 450"/>
              <a:gd name="T53" fmla="*/ 384 h 425"/>
              <a:gd name="T54" fmla="*/ 83 w 450"/>
              <a:gd name="T55" fmla="*/ 374 h 425"/>
              <a:gd name="T56" fmla="*/ 100 w 450"/>
              <a:gd name="T57" fmla="*/ 341 h 425"/>
              <a:gd name="T58" fmla="*/ 105 w 450"/>
              <a:gd name="T59" fmla="*/ 317 h 425"/>
              <a:gd name="T60" fmla="*/ 105 w 450"/>
              <a:gd name="T61" fmla="*/ 367 h 425"/>
              <a:gd name="T62" fmla="*/ 108 w 450"/>
              <a:gd name="T63" fmla="*/ 420 h 425"/>
              <a:gd name="T64" fmla="*/ 116 w 450"/>
              <a:gd name="T65" fmla="*/ 424 h 425"/>
              <a:gd name="T66" fmla="*/ 150 w 450"/>
              <a:gd name="T67" fmla="*/ 423 h 425"/>
              <a:gd name="T68" fmla="*/ 176 w 450"/>
              <a:gd name="T69" fmla="*/ 412 h 425"/>
              <a:gd name="T70" fmla="*/ 189 w 450"/>
              <a:gd name="T71" fmla="*/ 402 h 425"/>
              <a:gd name="T72" fmla="*/ 209 w 450"/>
              <a:gd name="T73" fmla="*/ 368 h 425"/>
              <a:gd name="T74" fmla="*/ 224 w 450"/>
              <a:gd name="T75" fmla="*/ 317 h 425"/>
              <a:gd name="T76" fmla="*/ 225 w 450"/>
              <a:gd name="T77" fmla="*/ 381 h 425"/>
              <a:gd name="T78" fmla="*/ 229 w 450"/>
              <a:gd name="T79" fmla="*/ 419 h 425"/>
              <a:gd name="T80" fmla="*/ 237 w 450"/>
              <a:gd name="T81" fmla="*/ 421 h 425"/>
              <a:gd name="T82" fmla="*/ 266 w 450"/>
              <a:gd name="T83" fmla="*/ 418 h 425"/>
              <a:gd name="T84" fmla="*/ 300 w 450"/>
              <a:gd name="T85" fmla="*/ 405 h 425"/>
              <a:gd name="T86" fmla="*/ 309 w 450"/>
              <a:gd name="T87" fmla="*/ 397 h 425"/>
              <a:gd name="T88" fmla="*/ 331 w 450"/>
              <a:gd name="T89" fmla="*/ 367 h 425"/>
              <a:gd name="T90" fmla="*/ 342 w 450"/>
              <a:gd name="T91" fmla="*/ 334 h 425"/>
              <a:gd name="T92" fmla="*/ 345 w 450"/>
              <a:gd name="T93" fmla="*/ 346 h 425"/>
              <a:gd name="T94" fmla="*/ 348 w 450"/>
              <a:gd name="T95" fmla="*/ 391 h 425"/>
              <a:gd name="T96" fmla="*/ 379 w 450"/>
              <a:gd name="T97" fmla="*/ 386 h 425"/>
              <a:gd name="T98" fmla="*/ 404 w 450"/>
              <a:gd name="T99" fmla="*/ 375 h 425"/>
              <a:gd name="T100" fmla="*/ 425 w 450"/>
              <a:gd name="T101" fmla="*/ 360 h 425"/>
              <a:gd name="T102" fmla="*/ 439 w 450"/>
              <a:gd name="T103" fmla="*/ 342 h 425"/>
              <a:gd name="T104" fmla="*/ 448 w 450"/>
              <a:gd name="T105" fmla="*/ 311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0" h="425">
                <a:moveTo>
                  <a:pt x="448" y="311"/>
                </a:moveTo>
                <a:lnTo>
                  <a:pt x="448" y="311"/>
                </a:lnTo>
                <a:lnTo>
                  <a:pt x="450" y="290"/>
                </a:lnTo>
                <a:lnTo>
                  <a:pt x="450" y="268"/>
                </a:lnTo>
                <a:lnTo>
                  <a:pt x="450" y="225"/>
                </a:lnTo>
                <a:lnTo>
                  <a:pt x="450" y="225"/>
                </a:lnTo>
                <a:lnTo>
                  <a:pt x="449" y="64"/>
                </a:lnTo>
                <a:lnTo>
                  <a:pt x="449" y="64"/>
                </a:lnTo>
                <a:lnTo>
                  <a:pt x="449" y="54"/>
                </a:lnTo>
                <a:lnTo>
                  <a:pt x="448" y="44"/>
                </a:lnTo>
                <a:lnTo>
                  <a:pt x="447" y="33"/>
                </a:lnTo>
                <a:lnTo>
                  <a:pt x="444" y="20"/>
                </a:lnTo>
                <a:lnTo>
                  <a:pt x="441" y="10"/>
                </a:lnTo>
                <a:lnTo>
                  <a:pt x="439" y="6"/>
                </a:lnTo>
                <a:lnTo>
                  <a:pt x="436" y="3"/>
                </a:lnTo>
                <a:lnTo>
                  <a:pt x="433" y="1"/>
                </a:lnTo>
                <a:lnTo>
                  <a:pt x="429" y="0"/>
                </a:lnTo>
                <a:lnTo>
                  <a:pt x="429" y="0"/>
                </a:lnTo>
                <a:lnTo>
                  <a:pt x="396" y="0"/>
                </a:lnTo>
                <a:lnTo>
                  <a:pt x="378" y="1"/>
                </a:lnTo>
                <a:lnTo>
                  <a:pt x="367" y="2"/>
                </a:lnTo>
                <a:lnTo>
                  <a:pt x="367" y="2"/>
                </a:lnTo>
                <a:lnTo>
                  <a:pt x="364" y="7"/>
                </a:lnTo>
                <a:lnTo>
                  <a:pt x="362" y="14"/>
                </a:lnTo>
                <a:lnTo>
                  <a:pt x="356" y="33"/>
                </a:lnTo>
                <a:lnTo>
                  <a:pt x="350" y="52"/>
                </a:lnTo>
                <a:lnTo>
                  <a:pt x="347" y="59"/>
                </a:lnTo>
                <a:lnTo>
                  <a:pt x="345" y="64"/>
                </a:lnTo>
                <a:lnTo>
                  <a:pt x="325" y="2"/>
                </a:lnTo>
                <a:lnTo>
                  <a:pt x="325" y="2"/>
                </a:lnTo>
                <a:lnTo>
                  <a:pt x="309" y="1"/>
                </a:lnTo>
                <a:lnTo>
                  <a:pt x="286" y="1"/>
                </a:lnTo>
                <a:lnTo>
                  <a:pt x="261" y="2"/>
                </a:lnTo>
                <a:lnTo>
                  <a:pt x="247" y="4"/>
                </a:lnTo>
                <a:lnTo>
                  <a:pt x="247" y="4"/>
                </a:lnTo>
                <a:lnTo>
                  <a:pt x="242" y="16"/>
                </a:lnTo>
                <a:lnTo>
                  <a:pt x="236" y="34"/>
                </a:lnTo>
                <a:lnTo>
                  <a:pt x="229" y="52"/>
                </a:lnTo>
                <a:lnTo>
                  <a:pt x="224" y="64"/>
                </a:lnTo>
                <a:lnTo>
                  <a:pt x="205" y="5"/>
                </a:lnTo>
                <a:lnTo>
                  <a:pt x="205" y="5"/>
                </a:lnTo>
                <a:lnTo>
                  <a:pt x="192" y="4"/>
                </a:lnTo>
                <a:lnTo>
                  <a:pt x="168" y="4"/>
                </a:lnTo>
                <a:lnTo>
                  <a:pt x="144" y="5"/>
                </a:lnTo>
                <a:lnTo>
                  <a:pt x="135" y="6"/>
                </a:lnTo>
                <a:lnTo>
                  <a:pt x="131" y="6"/>
                </a:lnTo>
                <a:lnTo>
                  <a:pt x="131" y="6"/>
                </a:lnTo>
                <a:lnTo>
                  <a:pt x="127" y="11"/>
                </a:lnTo>
                <a:lnTo>
                  <a:pt x="124" y="18"/>
                </a:lnTo>
                <a:lnTo>
                  <a:pt x="117" y="36"/>
                </a:lnTo>
                <a:lnTo>
                  <a:pt x="110" y="53"/>
                </a:lnTo>
                <a:lnTo>
                  <a:pt x="105" y="64"/>
                </a:lnTo>
                <a:lnTo>
                  <a:pt x="86" y="6"/>
                </a:lnTo>
                <a:lnTo>
                  <a:pt x="86" y="6"/>
                </a:lnTo>
                <a:lnTo>
                  <a:pt x="69" y="6"/>
                </a:lnTo>
                <a:lnTo>
                  <a:pt x="38" y="6"/>
                </a:lnTo>
                <a:lnTo>
                  <a:pt x="38" y="6"/>
                </a:lnTo>
                <a:lnTo>
                  <a:pt x="33" y="7"/>
                </a:lnTo>
                <a:lnTo>
                  <a:pt x="29" y="8"/>
                </a:lnTo>
                <a:lnTo>
                  <a:pt x="25" y="10"/>
                </a:lnTo>
                <a:lnTo>
                  <a:pt x="21" y="12"/>
                </a:lnTo>
                <a:lnTo>
                  <a:pt x="15" y="19"/>
                </a:lnTo>
                <a:lnTo>
                  <a:pt x="10" y="28"/>
                </a:lnTo>
                <a:lnTo>
                  <a:pt x="5" y="36"/>
                </a:lnTo>
                <a:lnTo>
                  <a:pt x="2" y="46"/>
                </a:lnTo>
                <a:lnTo>
                  <a:pt x="1" y="55"/>
                </a:lnTo>
                <a:lnTo>
                  <a:pt x="0" y="63"/>
                </a:lnTo>
                <a:lnTo>
                  <a:pt x="0" y="63"/>
                </a:lnTo>
                <a:lnTo>
                  <a:pt x="1" y="141"/>
                </a:lnTo>
                <a:lnTo>
                  <a:pt x="2" y="220"/>
                </a:lnTo>
                <a:lnTo>
                  <a:pt x="2" y="220"/>
                </a:lnTo>
                <a:lnTo>
                  <a:pt x="5" y="324"/>
                </a:lnTo>
                <a:lnTo>
                  <a:pt x="8" y="402"/>
                </a:lnTo>
                <a:lnTo>
                  <a:pt x="8" y="402"/>
                </a:lnTo>
                <a:lnTo>
                  <a:pt x="27" y="401"/>
                </a:lnTo>
                <a:lnTo>
                  <a:pt x="37" y="399"/>
                </a:lnTo>
                <a:lnTo>
                  <a:pt x="45" y="398"/>
                </a:lnTo>
                <a:lnTo>
                  <a:pt x="54" y="396"/>
                </a:lnTo>
                <a:lnTo>
                  <a:pt x="62" y="393"/>
                </a:lnTo>
                <a:lnTo>
                  <a:pt x="68" y="388"/>
                </a:lnTo>
                <a:lnTo>
                  <a:pt x="74" y="384"/>
                </a:lnTo>
                <a:lnTo>
                  <a:pt x="74" y="384"/>
                </a:lnTo>
                <a:lnTo>
                  <a:pt x="79" y="379"/>
                </a:lnTo>
                <a:lnTo>
                  <a:pt x="83" y="374"/>
                </a:lnTo>
                <a:lnTo>
                  <a:pt x="90" y="363"/>
                </a:lnTo>
                <a:lnTo>
                  <a:pt x="95" y="352"/>
                </a:lnTo>
                <a:lnTo>
                  <a:pt x="100" y="341"/>
                </a:lnTo>
                <a:lnTo>
                  <a:pt x="103" y="331"/>
                </a:lnTo>
                <a:lnTo>
                  <a:pt x="104" y="324"/>
                </a:lnTo>
                <a:lnTo>
                  <a:pt x="105" y="317"/>
                </a:lnTo>
                <a:lnTo>
                  <a:pt x="105" y="317"/>
                </a:lnTo>
                <a:lnTo>
                  <a:pt x="105" y="337"/>
                </a:lnTo>
                <a:lnTo>
                  <a:pt x="105" y="367"/>
                </a:lnTo>
                <a:lnTo>
                  <a:pt x="106" y="397"/>
                </a:lnTo>
                <a:lnTo>
                  <a:pt x="108" y="420"/>
                </a:lnTo>
                <a:lnTo>
                  <a:pt x="108" y="420"/>
                </a:lnTo>
                <a:lnTo>
                  <a:pt x="108" y="421"/>
                </a:lnTo>
                <a:lnTo>
                  <a:pt x="110" y="422"/>
                </a:lnTo>
                <a:lnTo>
                  <a:pt x="116" y="424"/>
                </a:lnTo>
                <a:lnTo>
                  <a:pt x="125" y="425"/>
                </a:lnTo>
                <a:lnTo>
                  <a:pt x="136" y="425"/>
                </a:lnTo>
                <a:lnTo>
                  <a:pt x="150" y="423"/>
                </a:lnTo>
                <a:lnTo>
                  <a:pt x="163" y="418"/>
                </a:lnTo>
                <a:lnTo>
                  <a:pt x="169" y="415"/>
                </a:lnTo>
                <a:lnTo>
                  <a:pt x="176" y="412"/>
                </a:lnTo>
                <a:lnTo>
                  <a:pt x="182" y="407"/>
                </a:lnTo>
                <a:lnTo>
                  <a:pt x="189" y="402"/>
                </a:lnTo>
                <a:lnTo>
                  <a:pt x="189" y="402"/>
                </a:lnTo>
                <a:lnTo>
                  <a:pt x="197" y="392"/>
                </a:lnTo>
                <a:lnTo>
                  <a:pt x="204" y="380"/>
                </a:lnTo>
                <a:lnTo>
                  <a:pt x="209" y="368"/>
                </a:lnTo>
                <a:lnTo>
                  <a:pt x="213" y="356"/>
                </a:lnTo>
                <a:lnTo>
                  <a:pt x="220" y="333"/>
                </a:lnTo>
                <a:lnTo>
                  <a:pt x="224" y="317"/>
                </a:lnTo>
                <a:lnTo>
                  <a:pt x="224" y="317"/>
                </a:lnTo>
                <a:lnTo>
                  <a:pt x="224" y="348"/>
                </a:lnTo>
                <a:lnTo>
                  <a:pt x="225" y="381"/>
                </a:lnTo>
                <a:lnTo>
                  <a:pt x="227" y="408"/>
                </a:lnTo>
                <a:lnTo>
                  <a:pt x="228" y="417"/>
                </a:lnTo>
                <a:lnTo>
                  <a:pt x="229" y="419"/>
                </a:lnTo>
                <a:lnTo>
                  <a:pt x="230" y="420"/>
                </a:lnTo>
                <a:lnTo>
                  <a:pt x="230" y="420"/>
                </a:lnTo>
                <a:lnTo>
                  <a:pt x="237" y="421"/>
                </a:lnTo>
                <a:lnTo>
                  <a:pt x="245" y="421"/>
                </a:lnTo>
                <a:lnTo>
                  <a:pt x="255" y="420"/>
                </a:lnTo>
                <a:lnTo>
                  <a:pt x="266" y="418"/>
                </a:lnTo>
                <a:lnTo>
                  <a:pt x="277" y="415"/>
                </a:lnTo>
                <a:lnTo>
                  <a:pt x="289" y="411"/>
                </a:lnTo>
                <a:lnTo>
                  <a:pt x="300" y="405"/>
                </a:lnTo>
                <a:lnTo>
                  <a:pt x="305" y="401"/>
                </a:lnTo>
                <a:lnTo>
                  <a:pt x="309" y="397"/>
                </a:lnTo>
                <a:lnTo>
                  <a:pt x="309" y="397"/>
                </a:lnTo>
                <a:lnTo>
                  <a:pt x="317" y="387"/>
                </a:lnTo>
                <a:lnTo>
                  <a:pt x="325" y="377"/>
                </a:lnTo>
                <a:lnTo>
                  <a:pt x="331" y="367"/>
                </a:lnTo>
                <a:lnTo>
                  <a:pt x="336" y="356"/>
                </a:lnTo>
                <a:lnTo>
                  <a:pt x="339" y="345"/>
                </a:lnTo>
                <a:lnTo>
                  <a:pt x="342" y="334"/>
                </a:lnTo>
                <a:lnTo>
                  <a:pt x="345" y="317"/>
                </a:lnTo>
                <a:lnTo>
                  <a:pt x="345" y="317"/>
                </a:lnTo>
                <a:lnTo>
                  <a:pt x="345" y="346"/>
                </a:lnTo>
                <a:lnTo>
                  <a:pt x="346" y="370"/>
                </a:lnTo>
                <a:lnTo>
                  <a:pt x="348" y="391"/>
                </a:lnTo>
                <a:lnTo>
                  <a:pt x="348" y="391"/>
                </a:lnTo>
                <a:lnTo>
                  <a:pt x="362" y="390"/>
                </a:lnTo>
                <a:lnTo>
                  <a:pt x="371" y="388"/>
                </a:lnTo>
                <a:lnTo>
                  <a:pt x="379" y="386"/>
                </a:lnTo>
                <a:lnTo>
                  <a:pt x="379" y="386"/>
                </a:lnTo>
                <a:lnTo>
                  <a:pt x="393" y="380"/>
                </a:lnTo>
                <a:lnTo>
                  <a:pt x="404" y="375"/>
                </a:lnTo>
                <a:lnTo>
                  <a:pt x="415" y="368"/>
                </a:lnTo>
                <a:lnTo>
                  <a:pt x="415" y="368"/>
                </a:lnTo>
                <a:lnTo>
                  <a:pt x="425" y="360"/>
                </a:lnTo>
                <a:lnTo>
                  <a:pt x="430" y="355"/>
                </a:lnTo>
                <a:lnTo>
                  <a:pt x="435" y="349"/>
                </a:lnTo>
                <a:lnTo>
                  <a:pt x="439" y="342"/>
                </a:lnTo>
                <a:lnTo>
                  <a:pt x="443" y="333"/>
                </a:lnTo>
                <a:lnTo>
                  <a:pt x="446" y="323"/>
                </a:lnTo>
                <a:lnTo>
                  <a:pt x="448" y="3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8" name="Freeform 35"/>
          <p:cNvSpPr>
            <a:spLocks/>
          </p:cNvSpPr>
          <p:nvPr userDrawn="1"/>
        </p:nvSpPr>
        <p:spPr bwMode="auto">
          <a:xfrm>
            <a:off x="7245350" y="1206203"/>
            <a:ext cx="73025" cy="80963"/>
          </a:xfrm>
          <a:custGeom>
            <a:avLst/>
            <a:gdLst>
              <a:gd name="T0" fmla="*/ 554 w 554"/>
              <a:gd name="T1" fmla="*/ 356 h 620"/>
              <a:gd name="T2" fmla="*/ 549 w 554"/>
              <a:gd name="T3" fmla="*/ 350 h 620"/>
              <a:gd name="T4" fmla="*/ 535 w 554"/>
              <a:gd name="T5" fmla="*/ 331 h 620"/>
              <a:gd name="T6" fmla="*/ 525 w 554"/>
              <a:gd name="T7" fmla="*/ 306 h 620"/>
              <a:gd name="T8" fmla="*/ 520 w 554"/>
              <a:gd name="T9" fmla="*/ 285 h 620"/>
              <a:gd name="T10" fmla="*/ 516 w 554"/>
              <a:gd name="T11" fmla="*/ 258 h 620"/>
              <a:gd name="T12" fmla="*/ 515 w 554"/>
              <a:gd name="T13" fmla="*/ 243 h 620"/>
              <a:gd name="T14" fmla="*/ 516 w 554"/>
              <a:gd name="T15" fmla="*/ 222 h 620"/>
              <a:gd name="T16" fmla="*/ 520 w 554"/>
              <a:gd name="T17" fmla="*/ 202 h 620"/>
              <a:gd name="T18" fmla="*/ 532 w 554"/>
              <a:gd name="T19" fmla="*/ 167 h 620"/>
              <a:gd name="T20" fmla="*/ 546 w 554"/>
              <a:gd name="T21" fmla="*/ 142 h 620"/>
              <a:gd name="T22" fmla="*/ 551 w 554"/>
              <a:gd name="T23" fmla="*/ 43 h 620"/>
              <a:gd name="T24" fmla="*/ 542 w 554"/>
              <a:gd name="T25" fmla="*/ 36 h 620"/>
              <a:gd name="T26" fmla="*/ 504 w 554"/>
              <a:gd name="T27" fmla="*/ 13 h 620"/>
              <a:gd name="T28" fmla="*/ 482 w 554"/>
              <a:gd name="T29" fmla="*/ 2 h 620"/>
              <a:gd name="T30" fmla="*/ 470 w 554"/>
              <a:gd name="T31" fmla="*/ 0 h 620"/>
              <a:gd name="T32" fmla="*/ 465 w 554"/>
              <a:gd name="T33" fmla="*/ 327 h 620"/>
              <a:gd name="T34" fmla="*/ 465 w 554"/>
              <a:gd name="T35" fmla="*/ 339 h 620"/>
              <a:gd name="T36" fmla="*/ 458 w 554"/>
              <a:gd name="T37" fmla="*/ 360 h 620"/>
              <a:gd name="T38" fmla="*/ 444 w 554"/>
              <a:gd name="T39" fmla="*/ 382 h 620"/>
              <a:gd name="T40" fmla="*/ 426 w 554"/>
              <a:gd name="T41" fmla="*/ 402 h 620"/>
              <a:gd name="T42" fmla="*/ 405 w 554"/>
              <a:gd name="T43" fmla="*/ 421 h 620"/>
              <a:gd name="T44" fmla="*/ 380 w 554"/>
              <a:gd name="T45" fmla="*/ 437 h 620"/>
              <a:gd name="T46" fmla="*/ 353 w 554"/>
              <a:gd name="T47" fmla="*/ 449 h 620"/>
              <a:gd name="T48" fmla="*/ 327 w 554"/>
              <a:gd name="T49" fmla="*/ 458 h 620"/>
              <a:gd name="T50" fmla="*/ 314 w 554"/>
              <a:gd name="T51" fmla="*/ 461 h 620"/>
              <a:gd name="T52" fmla="*/ 255 w 554"/>
              <a:gd name="T53" fmla="*/ 471 h 620"/>
              <a:gd name="T54" fmla="*/ 199 w 554"/>
              <a:gd name="T55" fmla="*/ 477 h 620"/>
              <a:gd name="T56" fmla="*/ 98 w 554"/>
              <a:gd name="T57" fmla="*/ 482 h 620"/>
              <a:gd name="T58" fmla="*/ 27 w 554"/>
              <a:gd name="T59" fmla="*/ 482 h 620"/>
              <a:gd name="T60" fmla="*/ 0 w 554"/>
              <a:gd name="T61" fmla="*/ 481 h 620"/>
              <a:gd name="T62" fmla="*/ 4 w 554"/>
              <a:gd name="T63" fmla="*/ 508 h 620"/>
              <a:gd name="T64" fmla="*/ 13 w 554"/>
              <a:gd name="T65" fmla="*/ 550 h 620"/>
              <a:gd name="T66" fmla="*/ 18 w 554"/>
              <a:gd name="T67" fmla="*/ 566 h 620"/>
              <a:gd name="T68" fmla="*/ 29 w 554"/>
              <a:gd name="T69" fmla="*/ 586 h 620"/>
              <a:gd name="T70" fmla="*/ 44 w 554"/>
              <a:gd name="T71" fmla="*/ 604 h 620"/>
              <a:gd name="T72" fmla="*/ 62 w 554"/>
              <a:gd name="T73" fmla="*/ 620 h 620"/>
              <a:gd name="T74" fmla="*/ 554 w 554"/>
              <a:gd name="T75" fmla="*/ 450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4" h="620">
                <a:moveTo>
                  <a:pt x="554" y="450"/>
                </a:moveTo>
                <a:lnTo>
                  <a:pt x="554" y="356"/>
                </a:lnTo>
                <a:lnTo>
                  <a:pt x="554" y="356"/>
                </a:lnTo>
                <a:lnTo>
                  <a:pt x="549" y="350"/>
                </a:lnTo>
                <a:lnTo>
                  <a:pt x="543" y="342"/>
                </a:lnTo>
                <a:lnTo>
                  <a:pt x="535" y="331"/>
                </a:lnTo>
                <a:lnTo>
                  <a:pt x="528" y="315"/>
                </a:lnTo>
                <a:lnTo>
                  <a:pt x="525" y="306"/>
                </a:lnTo>
                <a:lnTo>
                  <a:pt x="522" y="296"/>
                </a:lnTo>
                <a:lnTo>
                  <a:pt x="520" y="285"/>
                </a:lnTo>
                <a:lnTo>
                  <a:pt x="517" y="271"/>
                </a:lnTo>
                <a:lnTo>
                  <a:pt x="516" y="258"/>
                </a:lnTo>
                <a:lnTo>
                  <a:pt x="515" y="243"/>
                </a:lnTo>
                <a:lnTo>
                  <a:pt x="515" y="243"/>
                </a:lnTo>
                <a:lnTo>
                  <a:pt x="515" y="232"/>
                </a:lnTo>
                <a:lnTo>
                  <a:pt x="516" y="222"/>
                </a:lnTo>
                <a:lnTo>
                  <a:pt x="517" y="212"/>
                </a:lnTo>
                <a:lnTo>
                  <a:pt x="520" y="202"/>
                </a:lnTo>
                <a:lnTo>
                  <a:pt x="526" y="183"/>
                </a:lnTo>
                <a:lnTo>
                  <a:pt x="532" y="167"/>
                </a:lnTo>
                <a:lnTo>
                  <a:pt x="540" y="154"/>
                </a:lnTo>
                <a:lnTo>
                  <a:pt x="546" y="142"/>
                </a:lnTo>
                <a:lnTo>
                  <a:pt x="552" y="133"/>
                </a:lnTo>
                <a:lnTo>
                  <a:pt x="551" y="43"/>
                </a:lnTo>
                <a:lnTo>
                  <a:pt x="551" y="43"/>
                </a:lnTo>
                <a:lnTo>
                  <a:pt x="542" y="36"/>
                </a:lnTo>
                <a:lnTo>
                  <a:pt x="518" y="21"/>
                </a:lnTo>
                <a:lnTo>
                  <a:pt x="504" y="13"/>
                </a:lnTo>
                <a:lnTo>
                  <a:pt x="489" y="5"/>
                </a:lnTo>
                <a:lnTo>
                  <a:pt x="482" y="2"/>
                </a:lnTo>
                <a:lnTo>
                  <a:pt x="476" y="1"/>
                </a:lnTo>
                <a:lnTo>
                  <a:pt x="470" y="0"/>
                </a:lnTo>
                <a:lnTo>
                  <a:pt x="464" y="0"/>
                </a:lnTo>
                <a:lnTo>
                  <a:pt x="465" y="327"/>
                </a:lnTo>
                <a:lnTo>
                  <a:pt x="465" y="327"/>
                </a:lnTo>
                <a:lnTo>
                  <a:pt x="465" y="339"/>
                </a:lnTo>
                <a:lnTo>
                  <a:pt x="462" y="349"/>
                </a:lnTo>
                <a:lnTo>
                  <a:pt x="458" y="360"/>
                </a:lnTo>
                <a:lnTo>
                  <a:pt x="452" y="370"/>
                </a:lnTo>
                <a:lnTo>
                  <a:pt x="444" y="382"/>
                </a:lnTo>
                <a:lnTo>
                  <a:pt x="436" y="392"/>
                </a:lnTo>
                <a:lnTo>
                  <a:pt x="426" y="402"/>
                </a:lnTo>
                <a:lnTo>
                  <a:pt x="416" y="411"/>
                </a:lnTo>
                <a:lnTo>
                  <a:pt x="405" y="421"/>
                </a:lnTo>
                <a:lnTo>
                  <a:pt x="392" y="429"/>
                </a:lnTo>
                <a:lnTo>
                  <a:pt x="380" y="437"/>
                </a:lnTo>
                <a:lnTo>
                  <a:pt x="367" y="443"/>
                </a:lnTo>
                <a:lnTo>
                  <a:pt x="353" y="449"/>
                </a:lnTo>
                <a:lnTo>
                  <a:pt x="340" y="454"/>
                </a:lnTo>
                <a:lnTo>
                  <a:pt x="327" y="458"/>
                </a:lnTo>
                <a:lnTo>
                  <a:pt x="314" y="461"/>
                </a:lnTo>
                <a:lnTo>
                  <a:pt x="314" y="461"/>
                </a:lnTo>
                <a:lnTo>
                  <a:pt x="284" y="467"/>
                </a:lnTo>
                <a:lnTo>
                  <a:pt x="255" y="471"/>
                </a:lnTo>
                <a:lnTo>
                  <a:pt x="227" y="474"/>
                </a:lnTo>
                <a:lnTo>
                  <a:pt x="199" y="477"/>
                </a:lnTo>
                <a:lnTo>
                  <a:pt x="146" y="480"/>
                </a:lnTo>
                <a:lnTo>
                  <a:pt x="98" y="482"/>
                </a:lnTo>
                <a:lnTo>
                  <a:pt x="58" y="482"/>
                </a:lnTo>
                <a:lnTo>
                  <a:pt x="27" y="482"/>
                </a:lnTo>
                <a:lnTo>
                  <a:pt x="0" y="481"/>
                </a:lnTo>
                <a:lnTo>
                  <a:pt x="0" y="481"/>
                </a:lnTo>
                <a:lnTo>
                  <a:pt x="1" y="488"/>
                </a:lnTo>
                <a:lnTo>
                  <a:pt x="4" y="508"/>
                </a:lnTo>
                <a:lnTo>
                  <a:pt x="10" y="535"/>
                </a:lnTo>
                <a:lnTo>
                  <a:pt x="13" y="550"/>
                </a:lnTo>
                <a:lnTo>
                  <a:pt x="18" y="566"/>
                </a:lnTo>
                <a:lnTo>
                  <a:pt x="18" y="566"/>
                </a:lnTo>
                <a:lnTo>
                  <a:pt x="23" y="576"/>
                </a:lnTo>
                <a:lnTo>
                  <a:pt x="29" y="586"/>
                </a:lnTo>
                <a:lnTo>
                  <a:pt x="36" y="595"/>
                </a:lnTo>
                <a:lnTo>
                  <a:pt x="44" y="604"/>
                </a:lnTo>
                <a:lnTo>
                  <a:pt x="57" y="616"/>
                </a:lnTo>
                <a:lnTo>
                  <a:pt x="62" y="620"/>
                </a:lnTo>
                <a:lnTo>
                  <a:pt x="451" y="620"/>
                </a:lnTo>
                <a:lnTo>
                  <a:pt x="554" y="4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9" name="Freeform 36"/>
          <p:cNvSpPr>
            <a:spLocks/>
          </p:cNvSpPr>
          <p:nvPr userDrawn="1"/>
        </p:nvSpPr>
        <p:spPr bwMode="auto">
          <a:xfrm>
            <a:off x="7251700" y="1298278"/>
            <a:ext cx="57150" cy="17463"/>
          </a:xfrm>
          <a:custGeom>
            <a:avLst/>
            <a:gdLst>
              <a:gd name="T0" fmla="*/ 20 w 435"/>
              <a:gd name="T1" fmla="*/ 142 h 142"/>
              <a:gd name="T2" fmla="*/ 411 w 435"/>
              <a:gd name="T3" fmla="*/ 142 h 142"/>
              <a:gd name="T4" fmla="*/ 411 w 435"/>
              <a:gd name="T5" fmla="*/ 142 h 142"/>
              <a:gd name="T6" fmla="*/ 422 w 435"/>
              <a:gd name="T7" fmla="*/ 109 h 142"/>
              <a:gd name="T8" fmla="*/ 430 w 435"/>
              <a:gd name="T9" fmla="*/ 83 h 142"/>
              <a:gd name="T10" fmla="*/ 433 w 435"/>
              <a:gd name="T11" fmla="*/ 72 h 142"/>
              <a:gd name="T12" fmla="*/ 435 w 435"/>
              <a:gd name="T13" fmla="*/ 63 h 142"/>
              <a:gd name="T14" fmla="*/ 417 w 435"/>
              <a:gd name="T15" fmla="*/ 0 h 142"/>
              <a:gd name="T16" fmla="*/ 22 w 435"/>
              <a:gd name="T17" fmla="*/ 0 h 142"/>
              <a:gd name="T18" fmla="*/ 0 w 435"/>
              <a:gd name="T19" fmla="*/ 65 h 142"/>
              <a:gd name="T20" fmla="*/ 20 w 435"/>
              <a:gd name="T2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5" h="142">
                <a:moveTo>
                  <a:pt x="20" y="142"/>
                </a:moveTo>
                <a:lnTo>
                  <a:pt x="411" y="142"/>
                </a:lnTo>
                <a:lnTo>
                  <a:pt x="411" y="142"/>
                </a:lnTo>
                <a:lnTo>
                  <a:pt x="422" y="109"/>
                </a:lnTo>
                <a:lnTo>
                  <a:pt x="430" y="83"/>
                </a:lnTo>
                <a:lnTo>
                  <a:pt x="433" y="72"/>
                </a:lnTo>
                <a:lnTo>
                  <a:pt x="435" y="63"/>
                </a:lnTo>
                <a:lnTo>
                  <a:pt x="417" y="0"/>
                </a:lnTo>
                <a:lnTo>
                  <a:pt x="22" y="0"/>
                </a:lnTo>
                <a:lnTo>
                  <a:pt x="0" y="65"/>
                </a:lnTo>
                <a:lnTo>
                  <a:pt x="20" y="1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0" name="Freeform 37"/>
          <p:cNvSpPr>
            <a:spLocks/>
          </p:cNvSpPr>
          <p:nvPr userDrawn="1"/>
        </p:nvSpPr>
        <p:spPr bwMode="auto">
          <a:xfrm>
            <a:off x="7254875" y="1326853"/>
            <a:ext cx="57150" cy="66675"/>
          </a:xfrm>
          <a:custGeom>
            <a:avLst/>
            <a:gdLst>
              <a:gd name="T0" fmla="*/ 384 w 436"/>
              <a:gd name="T1" fmla="*/ 0 h 514"/>
              <a:gd name="T2" fmla="*/ 2 w 436"/>
              <a:gd name="T3" fmla="*/ 0 h 514"/>
              <a:gd name="T4" fmla="*/ 0 w 436"/>
              <a:gd name="T5" fmla="*/ 505 h 514"/>
              <a:gd name="T6" fmla="*/ 331 w 436"/>
              <a:gd name="T7" fmla="*/ 514 h 514"/>
              <a:gd name="T8" fmla="*/ 436 w 436"/>
              <a:gd name="T9" fmla="*/ 431 h 514"/>
              <a:gd name="T10" fmla="*/ 384 w 436"/>
              <a:gd name="T11" fmla="*/ 0 h 514"/>
            </a:gdLst>
            <a:ahLst/>
            <a:cxnLst>
              <a:cxn ang="0">
                <a:pos x="T0" y="T1"/>
              </a:cxn>
              <a:cxn ang="0">
                <a:pos x="T2" y="T3"/>
              </a:cxn>
              <a:cxn ang="0">
                <a:pos x="T4" y="T5"/>
              </a:cxn>
              <a:cxn ang="0">
                <a:pos x="T6" y="T7"/>
              </a:cxn>
              <a:cxn ang="0">
                <a:pos x="T8" y="T9"/>
              </a:cxn>
              <a:cxn ang="0">
                <a:pos x="T10" y="T11"/>
              </a:cxn>
            </a:cxnLst>
            <a:rect l="0" t="0" r="r" b="b"/>
            <a:pathLst>
              <a:path w="436" h="514">
                <a:moveTo>
                  <a:pt x="384" y="0"/>
                </a:moveTo>
                <a:lnTo>
                  <a:pt x="2" y="0"/>
                </a:lnTo>
                <a:lnTo>
                  <a:pt x="0" y="505"/>
                </a:lnTo>
                <a:lnTo>
                  <a:pt x="331" y="514"/>
                </a:lnTo>
                <a:lnTo>
                  <a:pt x="436" y="431"/>
                </a:lnTo>
                <a:lnTo>
                  <a:pt x="3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1" name="Freeform 38"/>
          <p:cNvSpPr>
            <a:spLocks/>
          </p:cNvSpPr>
          <p:nvPr userDrawn="1"/>
        </p:nvSpPr>
        <p:spPr bwMode="auto">
          <a:xfrm>
            <a:off x="7251700" y="1391940"/>
            <a:ext cx="77788" cy="68263"/>
          </a:xfrm>
          <a:custGeom>
            <a:avLst/>
            <a:gdLst>
              <a:gd name="T0" fmla="*/ 586 w 586"/>
              <a:gd name="T1" fmla="*/ 139 h 523"/>
              <a:gd name="T2" fmla="*/ 586 w 586"/>
              <a:gd name="T3" fmla="*/ 139 h 523"/>
              <a:gd name="T4" fmla="*/ 552 w 586"/>
              <a:gd name="T5" fmla="*/ 115 h 523"/>
              <a:gd name="T6" fmla="*/ 527 w 586"/>
              <a:gd name="T7" fmla="*/ 97 h 523"/>
              <a:gd name="T8" fmla="*/ 519 w 586"/>
              <a:gd name="T9" fmla="*/ 90 h 523"/>
              <a:gd name="T10" fmla="*/ 514 w 586"/>
              <a:gd name="T11" fmla="*/ 85 h 523"/>
              <a:gd name="T12" fmla="*/ 514 w 586"/>
              <a:gd name="T13" fmla="*/ 85 h 523"/>
              <a:gd name="T14" fmla="*/ 512 w 586"/>
              <a:gd name="T15" fmla="*/ 79 h 523"/>
              <a:gd name="T16" fmla="*/ 510 w 586"/>
              <a:gd name="T17" fmla="*/ 69 h 523"/>
              <a:gd name="T18" fmla="*/ 506 w 586"/>
              <a:gd name="T19" fmla="*/ 40 h 523"/>
              <a:gd name="T20" fmla="*/ 503 w 586"/>
              <a:gd name="T21" fmla="*/ 0 h 523"/>
              <a:gd name="T22" fmla="*/ 381 w 586"/>
              <a:gd name="T23" fmla="*/ 98 h 523"/>
              <a:gd name="T24" fmla="*/ 8 w 586"/>
              <a:gd name="T25" fmla="*/ 97 h 523"/>
              <a:gd name="T26" fmla="*/ 8 w 586"/>
              <a:gd name="T27" fmla="*/ 97 h 523"/>
              <a:gd name="T28" fmla="*/ 8 w 586"/>
              <a:gd name="T29" fmla="*/ 98 h 523"/>
              <a:gd name="T30" fmla="*/ 7 w 586"/>
              <a:gd name="T31" fmla="*/ 100 h 523"/>
              <a:gd name="T32" fmla="*/ 5 w 586"/>
              <a:gd name="T33" fmla="*/ 108 h 523"/>
              <a:gd name="T34" fmla="*/ 3 w 586"/>
              <a:gd name="T35" fmla="*/ 139 h 523"/>
              <a:gd name="T36" fmla="*/ 2 w 586"/>
              <a:gd name="T37" fmla="*/ 183 h 523"/>
              <a:gd name="T38" fmla="*/ 1 w 586"/>
              <a:gd name="T39" fmla="*/ 233 h 523"/>
              <a:gd name="T40" fmla="*/ 0 w 586"/>
              <a:gd name="T41" fmla="*/ 327 h 523"/>
              <a:gd name="T42" fmla="*/ 0 w 586"/>
              <a:gd name="T43" fmla="*/ 369 h 523"/>
              <a:gd name="T44" fmla="*/ 0 w 586"/>
              <a:gd name="T45" fmla="*/ 369 h 523"/>
              <a:gd name="T46" fmla="*/ 29 w 586"/>
              <a:gd name="T47" fmla="*/ 395 h 523"/>
              <a:gd name="T48" fmla="*/ 95 w 586"/>
              <a:gd name="T49" fmla="*/ 448 h 523"/>
              <a:gd name="T50" fmla="*/ 131 w 586"/>
              <a:gd name="T51" fmla="*/ 477 h 523"/>
              <a:gd name="T52" fmla="*/ 162 w 586"/>
              <a:gd name="T53" fmla="*/ 501 h 523"/>
              <a:gd name="T54" fmla="*/ 186 w 586"/>
              <a:gd name="T55" fmla="*/ 517 h 523"/>
              <a:gd name="T56" fmla="*/ 193 w 586"/>
              <a:gd name="T57" fmla="*/ 522 h 523"/>
              <a:gd name="T58" fmla="*/ 195 w 586"/>
              <a:gd name="T59" fmla="*/ 523 h 523"/>
              <a:gd name="T60" fmla="*/ 197 w 586"/>
              <a:gd name="T61" fmla="*/ 523 h 523"/>
              <a:gd name="T62" fmla="*/ 448 w 586"/>
              <a:gd name="T63" fmla="*/ 206 h 523"/>
              <a:gd name="T64" fmla="*/ 586 w 586"/>
              <a:gd name="T65" fmla="*/ 139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86" h="523">
                <a:moveTo>
                  <a:pt x="586" y="139"/>
                </a:moveTo>
                <a:lnTo>
                  <a:pt x="586" y="139"/>
                </a:lnTo>
                <a:lnTo>
                  <a:pt x="552" y="115"/>
                </a:lnTo>
                <a:lnTo>
                  <a:pt x="527" y="97"/>
                </a:lnTo>
                <a:lnTo>
                  <a:pt x="519" y="90"/>
                </a:lnTo>
                <a:lnTo>
                  <a:pt x="514" y="85"/>
                </a:lnTo>
                <a:lnTo>
                  <a:pt x="514" y="85"/>
                </a:lnTo>
                <a:lnTo>
                  <a:pt x="512" y="79"/>
                </a:lnTo>
                <a:lnTo>
                  <a:pt x="510" y="69"/>
                </a:lnTo>
                <a:lnTo>
                  <a:pt x="506" y="40"/>
                </a:lnTo>
                <a:lnTo>
                  <a:pt x="503" y="0"/>
                </a:lnTo>
                <a:lnTo>
                  <a:pt x="381" y="98"/>
                </a:lnTo>
                <a:lnTo>
                  <a:pt x="8" y="97"/>
                </a:lnTo>
                <a:lnTo>
                  <a:pt x="8" y="97"/>
                </a:lnTo>
                <a:lnTo>
                  <a:pt x="8" y="98"/>
                </a:lnTo>
                <a:lnTo>
                  <a:pt x="7" y="100"/>
                </a:lnTo>
                <a:lnTo>
                  <a:pt x="5" y="108"/>
                </a:lnTo>
                <a:lnTo>
                  <a:pt x="3" y="139"/>
                </a:lnTo>
                <a:lnTo>
                  <a:pt x="2" y="183"/>
                </a:lnTo>
                <a:lnTo>
                  <a:pt x="1" y="233"/>
                </a:lnTo>
                <a:lnTo>
                  <a:pt x="0" y="327"/>
                </a:lnTo>
                <a:lnTo>
                  <a:pt x="0" y="369"/>
                </a:lnTo>
                <a:lnTo>
                  <a:pt x="0" y="369"/>
                </a:lnTo>
                <a:lnTo>
                  <a:pt x="29" y="395"/>
                </a:lnTo>
                <a:lnTo>
                  <a:pt x="95" y="448"/>
                </a:lnTo>
                <a:lnTo>
                  <a:pt x="131" y="477"/>
                </a:lnTo>
                <a:lnTo>
                  <a:pt x="162" y="501"/>
                </a:lnTo>
                <a:lnTo>
                  <a:pt x="186" y="517"/>
                </a:lnTo>
                <a:lnTo>
                  <a:pt x="193" y="522"/>
                </a:lnTo>
                <a:lnTo>
                  <a:pt x="195" y="523"/>
                </a:lnTo>
                <a:lnTo>
                  <a:pt x="197" y="523"/>
                </a:lnTo>
                <a:lnTo>
                  <a:pt x="448" y="206"/>
                </a:lnTo>
                <a:lnTo>
                  <a:pt x="586" y="13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2" name="Freeform 39"/>
          <p:cNvSpPr>
            <a:spLocks/>
          </p:cNvSpPr>
          <p:nvPr userDrawn="1"/>
        </p:nvSpPr>
        <p:spPr bwMode="auto">
          <a:xfrm>
            <a:off x="7288212" y="1417340"/>
            <a:ext cx="115888" cy="66675"/>
          </a:xfrm>
          <a:custGeom>
            <a:avLst/>
            <a:gdLst>
              <a:gd name="T0" fmla="*/ 226 w 879"/>
              <a:gd name="T1" fmla="*/ 65 h 509"/>
              <a:gd name="T2" fmla="*/ 0 w 879"/>
              <a:gd name="T3" fmla="*/ 355 h 509"/>
              <a:gd name="T4" fmla="*/ 369 w 879"/>
              <a:gd name="T5" fmla="*/ 509 h 509"/>
              <a:gd name="T6" fmla="*/ 369 w 879"/>
              <a:gd name="T7" fmla="*/ 509 h 509"/>
              <a:gd name="T8" fmla="*/ 409 w 879"/>
              <a:gd name="T9" fmla="*/ 487 h 509"/>
              <a:gd name="T10" fmla="*/ 452 w 879"/>
              <a:gd name="T11" fmla="*/ 464 h 509"/>
              <a:gd name="T12" fmla="*/ 495 w 879"/>
              <a:gd name="T13" fmla="*/ 439 h 509"/>
              <a:gd name="T14" fmla="*/ 538 w 879"/>
              <a:gd name="T15" fmla="*/ 413 h 509"/>
              <a:gd name="T16" fmla="*/ 623 w 879"/>
              <a:gd name="T17" fmla="*/ 361 h 509"/>
              <a:gd name="T18" fmla="*/ 703 w 879"/>
              <a:gd name="T19" fmla="*/ 311 h 509"/>
              <a:gd name="T20" fmla="*/ 773 w 879"/>
              <a:gd name="T21" fmla="*/ 266 h 509"/>
              <a:gd name="T22" fmla="*/ 829 w 879"/>
              <a:gd name="T23" fmla="*/ 229 h 509"/>
              <a:gd name="T24" fmla="*/ 879 w 879"/>
              <a:gd name="T25" fmla="*/ 196 h 509"/>
              <a:gd name="T26" fmla="*/ 359 w 879"/>
              <a:gd name="T27" fmla="*/ 0 h 509"/>
              <a:gd name="T28" fmla="*/ 226 w 879"/>
              <a:gd name="T29" fmla="*/ 65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9" h="509">
                <a:moveTo>
                  <a:pt x="226" y="65"/>
                </a:moveTo>
                <a:lnTo>
                  <a:pt x="0" y="355"/>
                </a:lnTo>
                <a:lnTo>
                  <a:pt x="369" y="509"/>
                </a:lnTo>
                <a:lnTo>
                  <a:pt x="369" y="509"/>
                </a:lnTo>
                <a:lnTo>
                  <a:pt x="409" y="487"/>
                </a:lnTo>
                <a:lnTo>
                  <a:pt x="452" y="464"/>
                </a:lnTo>
                <a:lnTo>
                  <a:pt x="495" y="439"/>
                </a:lnTo>
                <a:lnTo>
                  <a:pt x="538" y="413"/>
                </a:lnTo>
                <a:lnTo>
                  <a:pt x="623" y="361"/>
                </a:lnTo>
                <a:lnTo>
                  <a:pt x="703" y="311"/>
                </a:lnTo>
                <a:lnTo>
                  <a:pt x="773" y="266"/>
                </a:lnTo>
                <a:lnTo>
                  <a:pt x="829" y="229"/>
                </a:lnTo>
                <a:lnTo>
                  <a:pt x="879" y="196"/>
                </a:lnTo>
                <a:lnTo>
                  <a:pt x="359" y="0"/>
                </a:lnTo>
                <a:lnTo>
                  <a:pt x="226" y="6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3" name="Freeform 40"/>
          <p:cNvSpPr>
            <a:spLocks/>
          </p:cNvSpPr>
          <p:nvPr userDrawn="1"/>
        </p:nvSpPr>
        <p:spPr bwMode="auto">
          <a:xfrm>
            <a:off x="7323137" y="1172865"/>
            <a:ext cx="26988" cy="123825"/>
          </a:xfrm>
          <a:custGeom>
            <a:avLst/>
            <a:gdLst>
              <a:gd name="T0" fmla="*/ 170 w 211"/>
              <a:gd name="T1" fmla="*/ 388 h 928"/>
              <a:gd name="T2" fmla="*/ 169 w 211"/>
              <a:gd name="T3" fmla="*/ 133 h 928"/>
              <a:gd name="T4" fmla="*/ 171 w 211"/>
              <a:gd name="T5" fmla="*/ 84 h 928"/>
              <a:gd name="T6" fmla="*/ 172 w 211"/>
              <a:gd name="T7" fmla="*/ 79 h 928"/>
              <a:gd name="T8" fmla="*/ 182 w 211"/>
              <a:gd name="T9" fmla="*/ 64 h 928"/>
              <a:gd name="T10" fmla="*/ 188 w 211"/>
              <a:gd name="T11" fmla="*/ 53 h 928"/>
              <a:gd name="T12" fmla="*/ 192 w 211"/>
              <a:gd name="T13" fmla="*/ 36 h 928"/>
              <a:gd name="T14" fmla="*/ 191 w 211"/>
              <a:gd name="T15" fmla="*/ 18 h 928"/>
              <a:gd name="T16" fmla="*/ 188 w 211"/>
              <a:gd name="T17" fmla="*/ 0 h 928"/>
              <a:gd name="T18" fmla="*/ 6 w 211"/>
              <a:gd name="T19" fmla="*/ 0 h 928"/>
              <a:gd name="T20" fmla="*/ 4 w 211"/>
              <a:gd name="T21" fmla="*/ 8 h 928"/>
              <a:gd name="T22" fmla="*/ 5 w 211"/>
              <a:gd name="T23" fmla="*/ 33 h 928"/>
              <a:gd name="T24" fmla="*/ 7 w 211"/>
              <a:gd name="T25" fmla="*/ 43 h 928"/>
              <a:gd name="T26" fmla="*/ 17 w 211"/>
              <a:gd name="T27" fmla="*/ 65 h 928"/>
              <a:gd name="T28" fmla="*/ 28 w 211"/>
              <a:gd name="T29" fmla="*/ 80 h 928"/>
              <a:gd name="T30" fmla="*/ 33 w 211"/>
              <a:gd name="T31" fmla="*/ 388 h 928"/>
              <a:gd name="T32" fmla="*/ 29 w 211"/>
              <a:gd name="T33" fmla="*/ 395 h 928"/>
              <a:gd name="T34" fmla="*/ 19 w 211"/>
              <a:gd name="T35" fmla="*/ 412 h 928"/>
              <a:gd name="T36" fmla="*/ 9 w 211"/>
              <a:gd name="T37" fmla="*/ 443 h 928"/>
              <a:gd name="T38" fmla="*/ 0 w 211"/>
              <a:gd name="T39" fmla="*/ 487 h 928"/>
              <a:gd name="T40" fmla="*/ 0 w 211"/>
              <a:gd name="T41" fmla="*/ 498 h 928"/>
              <a:gd name="T42" fmla="*/ 1 w 211"/>
              <a:gd name="T43" fmla="*/ 518 h 928"/>
              <a:gd name="T44" fmla="*/ 10 w 211"/>
              <a:gd name="T45" fmla="*/ 546 h 928"/>
              <a:gd name="T46" fmla="*/ 23 w 211"/>
              <a:gd name="T47" fmla="*/ 576 h 928"/>
              <a:gd name="T48" fmla="*/ 35 w 211"/>
              <a:gd name="T49" fmla="*/ 594 h 928"/>
              <a:gd name="T50" fmla="*/ 31 w 211"/>
              <a:gd name="T51" fmla="*/ 850 h 928"/>
              <a:gd name="T52" fmla="*/ 23 w 211"/>
              <a:gd name="T53" fmla="*/ 859 h 928"/>
              <a:gd name="T54" fmla="*/ 18 w 211"/>
              <a:gd name="T55" fmla="*/ 871 h 928"/>
              <a:gd name="T56" fmla="*/ 14 w 211"/>
              <a:gd name="T57" fmla="*/ 888 h 928"/>
              <a:gd name="T58" fmla="*/ 14 w 211"/>
              <a:gd name="T59" fmla="*/ 898 h 928"/>
              <a:gd name="T60" fmla="*/ 15 w 211"/>
              <a:gd name="T61" fmla="*/ 919 h 928"/>
              <a:gd name="T62" fmla="*/ 18 w 211"/>
              <a:gd name="T63" fmla="*/ 928 h 928"/>
              <a:gd name="T64" fmla="*/ 188 w 211"/>
              <a:gd name="T65" fmla="*/ 928 h 928"/>
              <a:gd name="T66" fmla="*/ 191 w 211"/>
              <a:gd name="T67" fmla="*/ 906 h 928"/>
              <a:gd name="T68" fmla="*/ 190 w 211"/>
              <a:gd name="T69" fmla="*/ 881 h 928"/>
              <a:gd name="T70" fmla="*/ 188 w 211"/>
              <a:gd name="T71" fmla="*/ 873 h 928"/>
              <a:gd name="T72" fmla="*/ 179 w 211"/>
              <a:gd name="T73" fmla="*/ 857 h 928"/>
              <a:gd name="T74" fmla="*/ 169 w 211"/>
              <a:gd name="T75" fmla="*/ 846 h 928"/>
              <a:gd name="T76" fmla="*/ 168 w 211"/>
              <a:gd name="T77" fmla="*/ 594 h 928"/>
              <a:gd name="T78" fmla="*/ 190 w 211"/>
              <a:gd name="T79" fmla="*/ 561 h 928"/>
              <a:gd name="T80" fmla="*/ 202 w 211"/>
              <a:gd name="T81" fmla="*/ 537 h 928"/>
              <a:gd name="T82" fmla="*/ 210 w 211"/>
              <a:gd name="T83" fmla="*/ 507 h 928"/>
              <a:gd name="T84" fmla="*/ 211 w 211"/>
              <a:gd name="T85" fmla="*/ 491 h 928"/>
              <a:gd name="T86" fmla="*/ 211 w 211"/>
              <a:gd name="T87" fmla="*/ 482 h 928"/>
              <a:gd name="T88" fmla="*/ 206 w 211"/>
              <a:gd name="T89" fmla="*/ 458 h 928"/>
              <a:gd name="T90" fmla="*/ 195 w 211"/>
              <a:gd name="T91" fmla="*/ 428 h 928"/>
              <a:gd name="T92" fmla="*/ 181 w 211"/>
              <a:gd name="T93" fmla="*/ 405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1" h="928">
                <a:moveTo>
                  <a:pt x="170" y="388"/>
                </a:moveTo>
                <a:lnTo>
                  <a:pt x="170" y="388"/>
                </a:lnTo>
                <a:lnTo>
                  <a:pt x="169" y="238"/>
                </a:lnTo>
                <a:lnTo>
                  <a:pt x="169" y="133"/>
                </a:lnTo>
                <a:lnTo>
                  <a:pt x="170" y="96"/>
                </a:lnTo>
                <a:lnTo>
                  <a:pt x="171" y="84"/>
                </a:lnTo>
                <a:lnTo>
                  <a:pt x="172" y="79"/>
                </a:lnTo>
                <a:lnTo>
                  <a:pt x="172" y="79"/>
                </a:lnTo>
                <a:lnTo>
                  <a:pt x="177" y="71"/>
                </a:lnTo>
                <a:lnTo>
                  <a:pt x="182" y="64"/>
                </a:lnTo>
                <a:lnTo>
                  <a:pt x="188" y="53"/>
                </a:lnTo>
                <a:lnTo>
                  <a:pt x="188" y="53"/>
                </a:lnTo>
                <a:lnTo>
                  <a:pt x="191" y="45"/>
                </a:lnTo>
                <a:lnTo>
                  <a:pt x="192" y="36"/>
                </a:lnTo>
                <a:lnTo>
                  <a:pt x="192" y="28"/>
                </a:lnTo>
                <a:lnTo>
                  <a:pt x="191" y="18"/>
                </a:lnTo>
                <a:lnTo>
                  <a:pt x="189" y="5"/>
                </a:lnTo>
                <a:lnTo>
                  <a:pt x="188" y="0"/>
                </a:lnTo>
                <a:lnTo>
                  <a:pt x="6" y="0"/>
                </a:lnTo>
                <a:lnTo>
                  <a:pt x="6" y="0"/>
                </a:lnTo>
                <a:lnTo>
                  <a:pt x="5" y="4"/>
                </a:lnTo>
                <a:lnTo>
                  <a:pt x="4" y="8"/>
                </a:lnTo>
                <a:lnTo>
                  <a:pt x="4" y="20"/>
                </a:lnTo>
                <a:lnTo>
                  <a:pt x="5" y="33"/>
                </a:lnTo>
                <a:lnTo>
                  <a:pt x="7" y="43"/>
                </a:lnTo>
                <a:lnTo>
                  <a:pt x="7" y="43"/>
                </a:lnTo>
                <a:lnTo>
                  <a:pt x="11" y="54"/>
                </a:lnTo>
                <a:lnTo>
                  <a:pt x="17" y="65"/>
                </a:lnTo>
                <a:lnTo>
                  <a:pt x="24" y="76"/>
                </a:lnTo>
                <a:lnTo>
                  <a:pt x="28" y="80"/>
                </a:lnTo>
                <a:lnTo>
                  <a:pt x="33" y="83"/>
                </a:lnTo>
                <a:lnTo>
                  <a:pt x="33" y="388"/>
                </a:lnTo>
                <a:lnTo>
                  <a:pt x="33" y="388"/>
                </a:lnTo>
                <a:lnTo>
                  <a:pt x="29" y="395"/>
                </a:lnTo>
                <a:lnTo>
                  <a:pt x="24" y="402"/>
                </a:lnTo>
                <a:lnTo>
                  <a:pt x="19" y="412"/>
                </a:lnTo>
                <a:lnTo>
                  <a:pt x="14" y="426"/>
                </a:lnTo>
                <a:lnTo>
                  <a:pt x="9" y="443"/>
                </a:lnTo>
                <a:lnTo>
                  <a:pt x="4" y="463"/>
                </a:lnTo>
                <a:lnTo>
                  <a:pt x="0" y="487"/>
                </a:lnTo>
                <a:lnTo>
                  <a:pt x="0" y="487"/>
                </a:lnTo>
                <a:lnTo>
                  <a:pt x="0" y="498"/>
                </a:lnTo>
                <a:lnTo>
                  <a:pt x="0" y="508"/>
                </a:lnTo>
                <a:lnTo>
                  <a:pt x="1" y="518"/>
                </a:lnTo>
                <a:lnTo>
                  <a:pt x="4" y="529"/>
                </a:lnTo>
                <a:lnTo>
                  <a:pt x="10" y="546"/>
                </a:lnTo>
                <a:lnTo>
                  <a:pt x="16" y="562"/>
                </a:lnTo>
                <a:lnTo>
                  <a:pt x="23" y="576"/>
                </a:lnTo>
                <a:lnTo>
                  <a:pt x="29" y="585"/>
                </a:lnTo>
                <a:lnTo>
                  <a:pt x="35" y="594"/>
                </a:lnTo>
                <a:lnTo>
                  <a:pt x="31" y="850"/>
                </a:lnTo>
                <a:lnTo>
                  <a:pt x="31" y="850"/>
                </a:lnTo>
                <a:lnTo>
                  <a:pt x="29" y="852"/>
                </a:lnTo>
                <a:lnTo>
                  <a:pt x="23" y="859"/>
                </a:lnTo>
                <a:lnTo>
                  <a:pt x="20" y="864"/>
                </a:lnTo>
                <a:lnTo>
                  <a:pt x="18" y="871"/>
                </a:lnTo>
                <a:lnTo>
                  <a:pt x="15" y="879"/>
                </a:lnTo>
                <a:lnTo>
                  <a:pt x="14" y="888"/>
                </a:lnTo>
                <a:lnTo>
                  <a:pt x="14" y="888"/>
                </a:lnTo>
                <a:lnTo>
                  <a:pt x="14" y="898"/>
                </a:lnTo>
                <a:lnTo>
                  <a:pt x="14" y="906"/>
                </a:lnTo>
                <a:lnTo>
                  <a:pt x="15" y="919"/>
                </a:lnTo>
                <a:lnTo>
                  <a:pt x="17" y="926"/>
                </a:lnTo>
                <a:lnTo>
                  <a:pt x="18" y="928"/>
                </a:lnTo>
                <a:lnTo>
                  <a:pt x="188" y="928"/>
                </a:lnTo>
                <a:lnTo>
                  <a:pt x="188" y="928"/>
                </a:lnTo>
                <a:lnTo>
                  <a:pt x="190" y="920"/>
                </a:lnTo>
                <a:lnTo>
                  <a:pt x="191" y="906"/>
                </a:lnTo>
                <a:lnTo>
                  <a:pt x="190" y="889"/>
                </a:lnTo>
                <a:lnTo>
                  <a:pt x="190" y="881"/>
                </a:lnTo>
                <a:lnTo>
                  <a:pt x="188" y="873"/>
                </a:lnTo>
                <a:lnTo>
                  <a:pt x="188" y="873"/>
                </a:lnTo>
                <a:lnTo>
                  <a:pt x="185" y="864"/>
                </a:lnTo>
                <a:lnTo>
                  <a:pt x="179" y="857"/>
                </a:lnTo>
                <a:lnTo>
                  <a:pt x="174" y="851"/>
                </a:lnTo>
                <a:lnTo>
                  <a:pt x="169" y="846"/>
                </a:lnTo>
                <a:lnTo>
                  <a:pt x="168" y="594"/>
                </a:lnTo>
                <a:lnTo>
                  <a:pt x="168" y="594"/>
                </a:lnTo>
                <a:lnTo>
                  <a:pt x="181" y="573"/>
                </a:lnTo>
                <a:lnTo>
                  <a:pt x="190" y="561"/>
                </a:lnTo>
                <a:lnTo>
                  <a:pt x="196" y="550"/>
                </a:lnTo>
                <a:lnTo>
                  <a:pt x="202" y="537"/>
                </a:lnTo>
                <a:lnTo>
                  <a:pt x="207" y="522"/>
                </a:lnTo>
                <a:lnTo>
                  <a:pt x="210" y="507"/>
                </a:lnTo>
                <a:lnTo>
                  <a:pt x="211" y="499"/>
                </a:lnTo>
                <a:lnTo>
                  <a:pt x="211" y="491"/>
                </a:lnTo>
                <a:lnTo>
                  <a:pt x="211" y="491"/>
                </a:lnTo>
                <a:lnTo>
                  <a:pt x="211" y="482"/>
                </a:lnTo>
                <a:lnTo>
                  <a:pt x="210" y="473"/>
                </a:lnTo>
                <a:lnTo>
                  <a:pt x="206" y="458"/>
                </a:lnTo>
                <a:lnTo>
                  <a:pt x="201" y="443"/>
                </a:lnTo>
                <a:lnTo>
                  <a:pt x="195" y="428"/>
                </a:lnTo>
                <a:lnTo>
                  <a:pt x="189" y="416"/>
                </a:lnTo>
                <a:lnTo>
                  <a:pt x="181" y="405"/>
                </a:lnTo>
                <a:lnTo>
                  <a:pt x="170" y="3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4" name="Freeform 41"/>
          <p:cNvSpPr>
            <a:spLocks/>
          </p:cNvSpPr>
          <p:nvPr userDrawn="1"/>
        </p:nvSpPr>
        <p:spPr bwMode="auto">
          <a:xfrm>
            <a:off x="7351712" y="1209378"/>
            <a:ext cx="80963" cy="58738"/>
          </a:xfrm>
          <a:custGeom>
            <a:avLst/>
            <a:gdLst>
              <a:gd name="T0" fmla="*/ 617 w 617"/>
              <a:gd name="T1" fmla="*/ 73 h 442"/>
              <a:gd name="T2" fmla="*/ 433 w 617"/>
              <a:gd name="T3" fmla="*/ 70 h 442"/>
              <a:gd name="T4" fmla="*/ 202 w 617"/>
              <a:gd name="T5" fmla="*/ 68 h 442"/>
              <a:gd name="T6" fmla="*/ 195 w 617"/>
              <a:gd name="T7" fmla="*/ 67 h 442"/>
              <a:gd name="T8" fmla="*/ 174 w 617"/>
              <a:gd name="T9" fmla="*/ 61 h 442"/>
              <a:gd name="T10" fmla="*/ 137 w 617"/>
              <a:gd name="T11" fmla="*/ 44 h 442"/>
              <a:gd name="T12" fmla="*/ 84 w 617"/>
              <a:gd name="T13" fmla="*/ 16 h 442"/>
              <a:gd name="T14" fmla="*/ 53 w 617"/>
              <a:gd name="T15" fmla="*/ 2 h 442"/>
              <a:gd name="T16" fmla="*/ 40 w 617"/>
              <a:gd name="T17" fmla="*/ 0 h 442"/>
              <a:gd name="T18" fmla="*/ 37 w 617"/>
              <a:gd name="T19" fmla="*/ 2 h 442"/>
              <a:gd name="T20" fmla="*/ 22 w 617"/>
              <a:gd name="T21" fmla="*/ 38 h 442"/>
              <a:gd name="T22" fmla="*/ 1 w 617"/>
              <a:gd name="T23" fmla="*/ 91 h 442"/>
              <a:gd name="T24" fmla="*/ 19 w 617"/>
              <a:gd name="T25" fmla="*/ 113 h 442"/>
              <a:gd name="T26" fmla="*/ 38 w 617"/>
              <a:gd name="T27" fmla="*/ 147 h 442"/>
              <a:gd name="T28" fmla="*/ 47 w 617"/>
              <a:gd name="T29" fmla="*/ 169 h 442"/>
              <a:gd name="T30" fmla="*/ 52 w 617"/>
              <a:gd name="T31" fmla="*/ 191 h 442"/>
              <a:gd name="T32" fmla="*/ 55 w 617"/>
              <a:gd name="T33" fmla="*/ 216 h 442"/>
              <a:gd name="T34" fmla="*/ 53 w 617"/>
              <a:gd name="T35" fmla="*/ 235 h 442"/>
              <a:gd name="T36" fmla="*/ 48 w 617"/>
              <a:gd name="T37" fmla="*/ 265 h 442"/>
              <a:gd name="T38" fmla="*/ 42 w 617"/>
              <a:gd name="T39" fmla="*/ 283 h 442"/>
              <a:gd name="T40" fmla="*/ 32 w 617"/>
              <a:gd name="T41" fmla="*/ 304 h 442"/>
              <a:gd name="T42" fmla="*/ 19 w 617"/>
              <a:gd name="T43" fmla="*/ 324 h 442"/>
              <a:gd name="T44" fmla="*/ 0 w 617"/>
              <a:gd name="T45" fmla="*/ 345 h 442"/>
              <a:gd name="T46" fmla="*/ 23 w 617"/>
              <a:gd name="T47" fmla="*/ 391 h 442"/>
              <a:gd name="T48" fmla="*/ 47 w 617"/>
              <a:gd name="T49" fmla="*/ 435 h 442"/>
              <a:gd name="T50" fmla="*/ 52 w 617"/>
              <a:gd name="T51" fmla="*/ 442 h 442"/>
              <a:gd name="T52" fmla="*/ 84 w 617"/>
              <a:gd name="T53" fmla="*/ 423 h 442"/>
              <a:gd name="T54" fmla="*/ 129 w 617"/>
              <a:gd name="T55" fmla="*/ 400 h 442"/>
              <a:gd name="T56" fmla="*/ 183 w 617"/>
              <a:gd name="T57" fmla="*/ 378 h 442"/>
              <a:gd name="T58" fmla="*/ 211 w 617"/>
              <a:gd name="T59" fmla="*/ 371 h 442"/>
              <a:gd name="T60" fmla="*/ 224 w 617"/>
              <a:gd name="T61" fmla="*/ 369 h 442"/>
              <a:gd name="T62" fmla="*/ 330 w 617"/>
              <a:gd name="T63" fmla="*/ 363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17" h="442">
                <a:moveTo>
                  <a:pt x="330" y="363"/>
                </a:moveTo>
                <a:lnTo>
                  <a:pt x="617" y="73"/>
                </a:lnTo>
                <a:lnTo>
                  <a:pt x="617" y="73"/>
                </a:lnTo>
                <a:lnTo>
                  <a:pt x="433" y="70"/>
                </a:lnTo>
                <a:lnTo>
                  <a:pt x="324" y="69"/>
                </a:lnTo>
                <a:lnTo>
                  <a:pt x="202" y="68"/>
                </a:lnTo>
                <a:lnTo>
                  <a:pt x="202" y="68"/>
                </a:lnTo>
                <a:lnTo>
                  <a:pt x="195" y="67"/>
                </a:lnTo>
                <a:lnTo>
                  <a:pt x="185" y="65"/>
                </a:lnTo>
                <a:lnTo>
                  <a:pt x="174" y="61"/>
                </a:lnTo>
                <a:lnTo>
                  <a:pt x="163" y="56"/>
                </a:lnTo>
                <a:lnTo>
                  <a:pt x="137" y="44"/>
                </a:lnTo>
                <a:lnTo>
                  <a:pt x="110" y="30"/>
                </a:lnTo>
                <a:lnTo>
                  <a:pt x="84" y="16"/>
                </a:lnTo>
                <a:lnTo>
                  <a:pt x="63" y="6"/>
                </a:lnTo>
                <a:lnTo>
                  <a:pt x="53" y="2"/>
                </a:lnTo>
                <a:lnTo>
                  <a:pt x="45" y="1"/>
                </a:lnTo>
                <a:lnTo>
                  <a:pt x="40" y="0"/>
                </a:lnTo>
                <a:lnTo>
                  <a:pt x="38" y="1"/>
                </a:lnTo>
                <a:lnTo>
                  <a:pt x="37" y="2"/>
                </a:lnTo>
                <a:lnTo>
                  <a:pt x="37" y="2"/>
                </a:lnTo>
                <a:lnTo>
                  <a:pt x="22" y="38"/>
                </a:lnTo>
                <a:lnTo>
                  <a:pt x="1" y="91"/>
                </a:lnTo>
                <a:lnTo>
                  <a:pt x="1" y="91"/>
                </a:lnTo>
                <a:lnTo>
                  <a:pt x="10" y="101"/>
                </a:lnTo>
                <a:lnTo>
                  <a:pt x="19" y="113"/>
                </a:lnTo>
                <a:lnTo>
                  <a:pt x="29" y="129"/>
                </a:lnTo>
                <a:lnTo>
                  <a:pt x="38" y="147"/>
                </a:lnTo>
                <a:lnTo>
                  <a:pt x="43" y="157"/>
                </a:lnTo>
                <a:lnTo>
                  <a:pt x="47" y="169"/>
                </a:lnTo>
                <a:lnTo>
                  <a:pt x="50" y="180"/>
                </a:lnTo>
                <a:lnTo>
                  <a:pt x="52" y="191"/>
                </a:lnTo>
                <a:lnTo>
                  <a:pt x="55" y="203"/>
                </a:lnTo>
                <a:lnTo>
                  <a:pt x="55" y="216"/>
                </a:lnTo>
                <a:lnTo>
                  <a:pt x="55" y="216"/>
                </a:lnTo>
                <a:lnTo>
                  <a:pt x="53" y="235"/>
                </a:lnTo>
                <a:lnTo>
                  <a:pt x="51" y="248"/>
                </a:lnTo>
                <a:lnTo>
                  <a:pt x="48" y="265"/>
                </a:lnTo>
                <a:lnTo>
                  <a:pt x="45" y="274"/>
                </a:lnTo>
                <a:lnTo>
                  <a:pt x="42" y="283"/>
                </a:lnTo>
                <a:lnTo>
                  <a:pt x="38" y="293"/>
                </a:lnTo>
                <a:lnTo>
                  <a:pt x="32" y="304"/>
                </a:lnTo>
                <a:lnTo>
                  <a:pt x="26" y="313"/>
                </a:lnTo>
                <a:lnTo>
                  <a:pt x="19" y="324"/>
                </a:lnTo>
                <a:lnTo>
                  <a:pt x="11" y="334"/>
                </a:lnTo>
                <a:lnTo>
                  <a:pt x="0" y="345"/>
                </a:lnTo>
                <a:lnTo>
                  <a:pt x="0" y="345"/>
                </a:lnTo>
                <a:lnTo>
                  <a:pt x="23" y="391"/>
                </a:lnTo>
                <a:lnTo>
                  <a:pt x="40" y="423"/>
                </a:lnTo>
                <a:lnTo>
                  <a:pt x="47" y="435"/>
                </a:lnTo>
                <a:lnTo>
                  <a:pt x="52" y="442"/>
                </a:lnTo>
                <a:lnTo>
                  <a:pt x="52" y="442"/>
                </a:lnTo>
                <a:lnTo>
                  <a:pt x="67" y="433"/>
                </a:lnTo>
                <a:lnTo>
                  <a:pt x="84" y="423"/>
                </a:lnTo>
                <a:lnTo>
                  <a:pt x="105" y="412"/>
                </a:lnTo>
                <a:lnTo>
                  <a:pt x="129" y="400"/>
                </a:lnTo>
                <a:lnTo>
                  <a:pt x="156" y="388"/>
                </a:lnTo>
                <a:lnTo>
                  <a:pt x="183" y="378"/>
                </a:lnTo>
                <a:lnTo>
                  <a:pt x="198" y="374"/>
                </a:lnTo>
                <a:lnTo>
                  <a:pt x="211" y="371"/>
                </a:lnTo>
                <a:lnTo>
                  <a:pt x="211" y="371"/>
                </a:lnTo>
                <a:lnTo>
                  <a:pt x="224" y="369"/>
                </a:lnTo>
                <a:lnTo>
                  <a:pt x="248" y="367"/>
                </a:lnTo>
                <a:lnTo>
                  <a:pt x="330" y="36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5" name="Freeform 42"/>
          <p:cNvSpPr>
            <a:spLocks/>
          </p:cNvSpPr>
          <p:nvPr userDrawn="1"/>
        </p:nvSpPr>
        <p:spPr bwMode="auto">
          <a:xfrm>
            <a:off x="7453312" y="1131590"/>
            <a:ext cx="158750" cy="127000"/>
          </a:xfrm>
          <a:custGeom>
            <a:avLst/>
            <a:gdLst>
              <a:gd name="T0" fmla="*/ 1179 w 1207"/>
              <a:gd name="T1" fmla="*/ 480 h 962"/>
              <a:gd name="T2" fmla="*/ 1115 w 1207"/>
              <a:gd name="T3" fmla="*/ 496 h 962"/>
              <a:gd name="T4" fmla="*/ 1079 w 1207"/>
              <a:gd name="T5" fmla="*/ 532 h 962"/>
              <a:gd name="T6" fmla="*/ 1057 w 1207"/>
              <a:gd name="T7" fmla="*/ 600 h 962"/>
              <a:gd name="T8" fmla="*/ 1046 w 1207"/>
              <a:gd name="T9" fmla="*/ 585 h 962"/>
              <a:gd name="T10" fmla="*/ 1007 w 1207"/>
              <a:gd name="T11" fmla="*/ 556 h 962"/>
              <a:gd name="T12" fmla="*/ 935 w 1207"/>
              <a:gd name="T13" fmla="*/ 562 h 962"/>
              <a:gd name="T14" fmla="*/ 930 w 1207"/>
              <a:gd name="T15" fmla="*/ 613 h 962"/>
              <a:gd name="T16" fmla="*/ 935 w 1207"/>
              <a:gd name="T17" fmla="*/ 696 h 962"/>
              <a:gd name="T18" fmla="*/ 890 w 1207"/>
              <a:gd name="T19" fmla="*/ 725 h 962"/>
              <a:gd name="T20" fmla="*/ 842 w 1207"/>
              <a:gd name="T21" fmla="*/ 709 h 962"/>
              <a:gd name="T22" fmla="*/ 816 w 1207"/>
              <a:gd name="T23" fmla="*/ 658 h 962"/>
              <a:gd name="T24" fmla="*/ 805 w 1207"/>
              <a:gd name="T25" fmla="*/ 643 h 962"/>
              <a:gd name="T26" fmla="*/ 749 w 1207"/>
              <a:gd name="T27" fmla="*/ 659 h 962"/>
              <a:gd name="T28" fmla="*/ 701 w 1207"/>
              <a:gd name="T29" fmla="*/ 634 h 962"/>
              <a:gd name="T30" fmla="*/ 694 w 1207"/>
              <a:gd name="T31" fmla="*/ 581 h 962"/>
              <a:gd name="T32" fmla="*/ 754 w 1207"/>
              <a:gd name="T33" fmla="*/ 540 h 962"/>
              <a:gd name="T34" fmla="*/ 824 w 1207"/>
              <a:gd name="T35" fmla="*/ 520 h 962"/>
              <a:gd name="T36" fmla="*/ 805 w 1207"/>
              <a:gd name="T37" fmla="*/ 460 h 962"/>
              <a:gd name="T38" fmla="*/ 764 w 1207"/>
              <a:gd name="T39" fmla="*/ 421 h 962"/>
              <a:gd name="T40" fmla="*/ 698 w 1207"/>
              <a:gd name="T41" fmla="*/ 414 h 962"/>
              <a:gd name="T42" fmla="*/ 672 w 1207"/>
              <a:gd name="T43" fmla="*/ 415 h 962"/>
              <a:gd name="T44" fmla="*/ 712 w 1207"/>
              <a:gd name="T45" fmla="*/ 360 h 962"/>
              <a:gd name="T46" fmla="*/ 709 w 1207"/>
              <a:gd name="T47" fmla="*/ 285 h 962"/>
              <a:gd name="T48" fmla="*/ 668 w 1207"/>
              <a:gd name="T49" fmla="*/ 214 h 962"/>
              <a:gd name="T50" fmla="*/ 606 w 1207"/>
              <a:gd name="T51" fmla="*/ 224 h 962"/>
              <a:gd name="T52" fmla="*/ 535 w 1207"/>
              <a:gd name="T53" fmla="*/ 272 h 962"/>
              <a:gd name="T54" fmla="*/ 516 w 1207"/>
              <a:gd name="T55" fmla="*/ 334 h 962"/>
              <a:gd name="T56" fmla="*/ 508 w 1207"/>
              <a:gd name="T57" fmla="*/ 341 h 962"/>
              <a:gd name="T58" fmla="*/ 458 w 1207"/>
              <a:gd name="T59" fmla="*/ 287 h 962"/>
              <a:gd name="T60" fmla="*/ 404 w 1207"/>
              <a:gd name="T61" fmla="*/ 278 h 962"/>
              <a:gd name="T62" fmla="*/ 345 w 1207"/>
              <a:gd name="T63" fmla="*/ 300 h 962"/>
              <a:gd name="T64" fmla="*/ 362 w 1207"/>
              <a:gd name="T65" fmla="*/ 357 h 962"/>
              <a:gd name="T66" fmla="*/ 382 w 1207"/>
              <a:gd name="T67" fmla="*/ 432 h 962"/>
              <a:gd name="T68" fmla="*/ 347 w 1207"/>
              <a:gd name="T69" fmla="*/ 472 h 962"/>
              <a:gd name="T70" fmla="*/ 292 w 1207"/>
              <a:gd name="T71" fmla="*/ 462 h 962"/>
              <a:gd name="T72" fmla="*/ 262 w 1207"/>
              <a:gd name="T73" fmla="*/ 417 h 962"/>
              <a:gd name="T74" fmla="*/ 249 w 1207"/>
              <a:gd name="T75" fmla="*/ 398 h 962"/>
              <a:gd name="T76" fmla="*/ 194 w 1207"/>
              <a:gd name="T77" fmla="*/ 421 h 962"/>
              <a:gd name="T78" fmla="*/ 147 w 1207"/>
              <a:gd name="T79" fmla="*/ 404 h 962"/>
              <a:gd name="T80" fmla="*/ 128 w 1207"/>
              <a:gd name="T81" fmla="*/ 354 h 962"/>
              <a:gd name="T82" fmla="*/ 178 w 1207"/>
              <a:gd name="T83" fmla="*/ 300 h 962"/>
              <a:gd name="T84" fmla="*/ 233 w 1207"/>
              <a:gd name="T85" fmla="*/ 262 h 962"/>
              <a:gd name="T86" fmla="*/ 195 w 1207"/>
              <a:gd name="T87" fmla="*/ 203 h 962"/>
              <a:gd name="T88" fmla="*/ 145 w 1207"/>
              <a:gd name="T89" fmla="*/ 185 h 962"/>
              <a:gd name="T90" fmla="*/ 115 w 1207"/>
              <a:gd name="T91" fmla="*/ 191 h 962"/>
              <a:gd name="T92" fmla="*/ 153 w 1207"/>
              <a:gd name="T93" fmla="*/ 136 h 962"/>
              <a:gd name="T94" fmla="*/ 157 w 1207"/>
              <a:gd name="T95" fmla="*/ 76 h 962"/>
              <a:gd name="T96" fmla="*/ 134 w 1207"/>
              <a:gd name="T97" fmla="*/ 28 h 962"/>
              <a:gd name="T98" fmla="*/ 269 w 1207"/>
              <a:gd name="T99" fmla="*/ 712 h 962"/>
              <a:gd name="T100" fmla="*/ 354 w 1207"/>
              <a:gd name="T101" fmla="*/ 656 h 962"/>
              <a:gd name="T102" fmla="*/ 437 w 1207"/>
              <a:gd name="T103" fmla="*/ 636 h 962"/>
              <a:gd name="T104" fmla="*/ 517 w 1207"/>
              <a:gd name="T105" fmla="*/ 643 h 962"/>
              <a:gd name="T106" fmla="*/ 610 w 1207"/>
              <a:gd name="T107" fmla="*/ 683 h 962"/>
              <a:gd name="T108" fmla="*/ 658 w 1207"/>
              <a:gd name="T109" fmla="*/ 735 h 962"/>
              <a:gd name="T110" fmla="*/ 673 w 1207"/>
              <a:gd name="T111" fmla="*/ 793 h 962"/>
              <a:gd name="T112" fmla="*/ 646 w 1207"/>
              <a:gd name="T113" fmla="*/ 877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07" h="962">
                <a:moveTo>
                  <a:pt x="841" y="962"/>
                </a:moveTo>
                <a:lnTo>
                  <a:pt x="1207" y="484"/>
                </a:lnTo>
                <a:lnTo>
                  <a:pt x="1207" y="484"/>
                </a:lnTo>
                <a:lnTo>
                  <a:pt x="1200" y="482"/>
                </a:lnTo>
                <a:lnTo>
                  <a:pt x="1190" y="481"/>
                </a:lnTo>
                <a:lnTo>
                  <a:pt x="1179" y="480"/>
                </a:lnTo>
                <a:lnTo>
                  <a:pt x="1166" y="480"/>
                </a:lnTo>
                <a:lnTo>
                  <a:pt x="1149" y="483"/>
                </a:lnTo>
                <a:lnTo>
                  <a:pt x="1141" y="485"/>
                </a:lnTo>
                <a:lnTo>
                  <a:pt x="1133" y="488"/>
                </a:lnTo>
                <a:lnTo>
                  <a:pt x="1124" y="492"/>
                </a:lnTo>
                <a:lnTo>
                  <a:pt x="1115" y="496"/>
                </a:lnTo>
                <a:lnTo>
                  <a:pt x="1115" y="496"/>
                </a:lnTo>
                <a:lnTo>
                  <a:pt x="1106" y="502"/>
                </a:lnTo>
                <a:lnTo>
                  <a:pt x="1097" y="508"/>
                </a:lnTo>
                <a:lnTo>
                  <a:pt x="1090" y="515"/>
                </a:lnTo>
                <a:lnTo>
                  <a:pt x="1084" y="523"/>
                </a:lnTo>
                <a:lnTo>
                  <a:pt x="1079" y="532"/>
                </a:lnTo>
                <a:lnTo>
                  <a:pt x="1074" y="540"/>
                </a:lnTo>
                <a:lnTo>
                  <a:pt x="1070" y="548"/>
                </a:lnTo>
                <a:lnTo>
                  <a:pt x="1067" y="557"/>
                </a:lnTo>
                <a:lnTo>
                  <a:pt x="1062" y="574"/>
                </a:lnTo>
                <a:lnTo>
                  <a:pt x="1058" y="589"/>
                </a:lnTo>
                <a:lnTo>
                  <a:pt x="1057" y="600"/>
                </a:lnTo>
                <a:lnTo>
                  <a:pt x="1058" y="605"/>
                </a:lnTo>
                <a:lnTo>
                  <a:pt x="1059" y="608"/>
                </a:lnTo>
                <a:lnTo>
                  <a:pt x="1059" y="608"/>
                </a:lnTo>
                <a:lnTo>
                  <a:pt x="1055" y="599"/>
                </a:lnTo>
                <a:lnTo>
                  <a:pt x="1051" y="592"/>
                </a:lnTo>
                <a:lnTo>
                  <a:pt x="1046" y="585"/>
                </a:lnTo>
                <a:lnTo>
                  <a:pt x="1041" y="579"/>
                </a:lnTo>
                <a:lnTo>
                  <a:pt x="1036" y="574"/>
                </a:lnTo>
                <a:lnTo>
                  <a:pt x="1031" y="568"/>
                </a:lnTo>
                <a:lnTo>
                  <a:pt x="1025" y="564"/>
                </a:lnTo>
                <a:lnTo>
                  <a:pt x="1020" y="561"/>
                </a:lnTo>
                <a:lnTo>
                  <a:pt x="1007" y="556"/>
                </a:lnTo>
                <a:lnTo>
                  <a:pt x="994" y="554"/>
                </a:lnTo>
                <a:lnTo>
                  <a:pt x="982" y="553"/>
                </a:lnTo>
                <a:lnTo>
                  <a:pt x="970" y="554"/>
                </a:lnTo>
                <a:lnTo>
                  <a:pt x="957" y="556"/>
                </a:lnTo>
                <a:lnTo>
                  <a:pt x="946" y="558"/>
                </a:lnTo>
                <a:lnTo>
                  <a:pt x="935" y="562"/>
                </a:lnTo>
                <a:lnTo>
                  <a:pt x="927" y="565"/>
                </a:lnTo>
                <a:lnTo>
                  <a:pt x="913" y="572"/>
                </a:lnTo>
                <a:lnTo>
                  <a:pt x="908" y="574"/>
                </a:lnTo>
                <a:lnTo>
                  <a:pt x="908" y="574"/>
                </a:lnTo>
                <a:lnTo>
                  <a:pt x="920" y="594"/>
                </a:lnTo>
                <a:lnTo>
                  <a:pt x="930" y="613"/>
                </a:lnTo>
                <a:lnTo>
                  <a:pt x="936" y="632"/>
                </a:lnTo>
                <a:lnTo>
                  <a:pt x="940" y="647"/>
                </a:lnTo>
                <a:lnTo>
                  <a:pt x="941" y="663"/>
                </a:lnTo>
                <a:lnTo>
                  <a:pt x="941" y="675"/>
                </a:lnTo>
                <a:lnTo>
                  <a:pt x="939" y="687"/>
                </a:lnTo>
                <a:lnTo>
                  <a:pt x="935" y="696"/>
                </a:lnTo>
                <a:lnTo>
                  <a:pt x="930" y="705"/>
                </a:lnTo>
                <a:lnTo>
                  <a:pt x="924" y="712"/>
                </a:lnTo>
                <a:lnTo>
                  <a:pt x="915" y="718"/>
                </a:lnTo>
                <a:lnTo>
                  <a:pt x="907" y="722"/>
                </a:lnTo>
                <a:lnTo>
                  <a:pt x="899" y="724"/>
                </a:lnTo>
                <a:lnTo>
                  <a:pt x="890" y="725"/>
                </a:lnTo>
                <a:lnTo>
                  <a:pt x="881" y="725"/>
                </a:lnTo>
                <a:lnTo>
                  <a:pt x="871" y="724"/>
                </a:lnTo>
                <a:lnTo>
                  <a:pt x="871" y="724"/>
                </a:lnTo>
                <a:lnTo>
                  <a:pt x="859" y="720"/>
                </a:lnTo>
                <a:lnTo>
                  <a:pt x="850" y="715"/>
                </a:lnTo>
                <a:lnTo>
                  <a:pt x="842" y="709"/>
                </a:lnTo>
                <a:lnTo>
                  <a:pt x="835" y="702"/>
                </a:lnTo>
                <a:lnTo>
                  <a:pt x="829" y="695"/>
                </a:lnTo>
                <a:lnTo>
                  <a:pt x="825" y="688"/>
                </a:lnTo>
                <a:lnTo>
                  <a:pt x="821" y="680"/>
                </a:lnTo>
                <a:lnTo>
                  <a:pt x="819" y="673"/>
                </a:lnTo>
                <a:lnTo>
                  <a:pt x="816" y="658"/>
                </a:lnTo>
                <a:lnTo>
                  <a:pt x="816" y="646"/>
                </a:lnTo>
                <a:lnTo>
                  <a:pt x="816" y="638"/>
                </a:lnTo>
                <a:lnTo>
                  <a:pt x="816" y="635"/>
                </a:lnTo>
                <a:lnTo>
                  <a:pt x="816" y="635"/>
                </a:lnTo>
                <a:lnTo>
                  <a:pt x="813" y="637"/>
                </a:lnTo>
                <a:lnTo>
                  <a:pt x="805" y="643"/>
                </a:lnTo>
                <a:lnTo>
                  <a:pt x="793" y="650"/>
                </a:lnTo>
                <a:lnTo>
                  <a:pt x="785" y="653"/>
                </a:lnTo>
                <a:lnTo>
                  <a:pt x="777" y="656"/>
                </a:lnTo>
                <a:lnTo>
                  <a:pt x="768" y="658"/>
                </a:lnTo>
                <a:lnTo>
                  <a:pt x="759" y="659"/>
                </a:lnTo>
                <a:lnTo>
                  <a:pt x="749" y="659"/>
                </a:lnTo>
                <a:lnTo>
                  <a:pt x="739" y="658"/>
                </a:lnTo>
                <a:lnTo>
                  <a:pt x="729" y="655"/>
                </a:lnTo>
                <a:lnTo>
                  <a:pt x="720" y="650"/>
                </a:lnTo>
                <a:lnTo>
                  <a:pt x="710" y="643"/>
                </a:lnTo>
                <a:lnTo>
                  <a:pt x="701" y="634"/>
                </a:lnTo>
                <a:lnTo>
                  <a:pt x="701" y="634"/>
                </a:lnTo>
                <a:lnTo>
                  <a:pt x="694" y="625"/>
                </a:lnTo>
                <a:lnTo>
                  <a:pt x="690" y="616"/>
                </a:lnTo>
                <a:lnTo>
                  <a:pt x="688" y="607"/>
                </a:lnTo>
                <a:lnTo>
                  <a:pt x="689" y="598"/>
                </a:lnTo>
                <a:lnTo>
                  <a:pt x="690" y="589"/>
                </a:lnTo>
                <a:lnTo>
                  <a:pt x="694" y="581"/>
                </a:lnTo>
                <a:lnTo>
                  <a:pt x="701" y="572"/>
                </a:lnTo>
                <a:lnTo>
                  <a:pt x="708" y="564"/>
                </a:lnTo>
                <a:lnTo>
                  <a:pt x="717" y="557"/>
                </a:lnTo>
                <a:lnTo>
                  <a:pt x="727" y="550"/>
                </a:lnTo>
                <a:lnTo>
                  <a:pt x="740" y="544"/>
                </a:lnTo>
                <a:lnTo>
                  <a:pt x="754" y="540"/>
                </a:lnTo>
                <a:lnTo>
                  <a:pt x="769" y="536"/>
                </a:lnTo>
                <a:lnTo>
                  <a:pt x="786" y="533"/>
                </a:lnTo>
                <a:lnTo>
                  <a:pt x="804" y="532"/>
                </a:lnTo>
                <a:lnTo>
                  <a:pt x="823" y="531"/>
                </a:lnTo>
                <a:lnTo>
                  <a:pt x="823" y="531"/>
                </a:lnTo>
                <a:lnTo>
                  <a:pt x="824" y="520"/>
                </a:lnTo>
                <a:lnTo>
                  <a:pt x="823" y="509"/>
                </a:lnTo>
                <a:lnTo>
                  <a:pt x="820" y="494"/>
                </a:lnTo>
                <a:lnTo>
                  <a:pt x="817" y="486"/>
                </a:lnTo>
                <a:lnTo>
                  <a:pt x="814" y="477"/>
                </a:lnTo>
                <a:lnTo>
                  <a:pt x="810" y="469"/>
                </a:lnTo>
                <a:lnTo>
                  <a:pt x="805" y="460"/>
                </a:lnTo>
                <a:lnTo>
                  <a:pt x="799" y="451"/>
                </a:lnTo>
                <a:lnTo>
                  <a:pt x="792" y="443"/>
                </a:lnTo>
                <a:lnTo>
                  <a:pt x="782" y="435"/>
                </a:lnTo>
                <a:lnTo>
                  <a:pt x="772" y="426"/>
                </a:lnTo>
                <a:lnTo>
                  <a:pt x="772" y="426"/>
                </a:lnTo>
                <a:lnTo>
                  <a:pt x="764" y="421"/>
                </a:lnTo>
                <a:lnTo>
                  <a:pt x="755" y="417"/>
                </a:lnTo>
                <a:lnTo>
                  <a:pt x="745" y="415"/>
                </a:lnTo>
                <a:lnTo>
                  <a:pt x="735" y="413"/>
                </a:lnTo>
                <a:lnTo>
                  <a:pt x="725" y="412"/>
                </a:lnTo>
                <a:lnTo>
                  <a:pt x="716" y="412"/>
                </a:lnTo>
                <a:lnTo>
                  <a:pt x="698" y="414"/>
                </a:lnTo>
                <a:lnTo>
                  <a:pt x="681" y="418"/>
                </a:lnTo>
                <a:lnTo>
                  <a:pt x="668" y="421"/>
                </a:lnTo>
                <a:lnTo>
                  <a:pt x="657" y="425"/>
                </a:lnTo>
                <a:lnTo>
                  <a:pt x="657" y="425"/>
                </a:lnTo>
                <a:lnTo>
                  <a:pt x="664" y="421"/>
                </a:lnTo>
                <a:lnTo>
                  <a:pt x="672" y="415"/>
                </a:lnTo>
                <a:lnTo>
                  <a:pt x="681" y="408"/>
                </a:lnTo>
                <a:lnTo>
                  <a:pt x="691" y="397"/>
                </a:lnTo>
                <a:lnTo>
                  <a:pt x="701" y="384"/>
                </a:lnTo>
                <a:lnTo>
                  <a:pt x="705" y="376"/>
                </a:lnTo>
                <a:lnTo>
                  <a:pt x="709" y="369"/>
                </a:lnTo>
                <a:lnTo>
                  <a:pt x="712" y="360"/>
                </a:lnTo>
                <a:lnTo>
                  <a:pt x="714" y="351"/>
                </a:lnTo>
                <a:lnTo>
                  <a:pt x="714" y="351"/>
                </a:lnTo>
                <a:lnTo>
                  <a:pt x="716" y="336"/>
                </a:lnTo>
                <a:lnTo>
                  <a:pt x="715" y="320"/>
                </a:lnTo>
                <a:lnTo>
                  <a:pt x="713" y="303"/>
                </a:lnTo>
                <a:lnTo>
                  <a:pt x="709" y="285"/>
                </a:lnTo>
                <a:lnTo>
                  <a:pt x="702" y="267"/>
                </a:lnTo>
                <a:lnTo>
                  <a:pt x="693" y="249"/>
                </a:lnTo>
                <a:lnTo>
                  <a:pt x="682" y="232"/>
                </a:lnTo>
                <a:lnTo>
                  <a:pt x="676" y="223"/>
                </a:lnTo>
                <a:lnTo>
                  <a:pt x="669" y="216"/>
                </a:lnTo>
                <a:lnTo>
                  <a:pt x="668" y="214"/>
                </a:lnTo>
                <a:lnTo>
                  <a:pt x="665" y="214"/>
                </a:lnTo>
                <a:lnTo>
                  <a:pt x="665" y="214"/>
                </a:lnTo>
                <a:lnTo>
                  <a:pt x="655" y="214"/>
                </a:lnTo>
                <a:lnTo>
                  <a:pt x="644" y="215"/>
                </a:lnTo>
                <a:lnTo>
                  <a:pt x="624" y="219"/>
                </a:lnTo>
                <a:lnTo>
                  <a:pt x="606" y="224"/>
                </a:lnTo>
                <a:lnTo>
                  <a:pt x="587" y="232"/>
                </a:lnTo>
                <a:lnTo>
                  <a:pt x="572" y="240"/>
                </a:lnTo>
                <a:lnTo>
                  <a:pt x="557" y="250"/>
                </a:lnTo>
                <a:lnTo>
                  <a:pt x="545" y="261"/>
                </a:lnTo>
                <a:lnTo>
                  <a:pt x="535" y="272"/>
                </a:lnTo>
                <a:lnTo>
                  <a:pt x="535" y="272"/>
                </a:lnTo>
                <a:lnTo>
                  <a:pt x="530" y="280"/>
                </a:lnTo>
                <a:lnTo>
                  <a:pt x="526" y="288"/>
                </a:lnTo>
                <a:lnTo>
                  <a:pt x="523" y="297"/>
                </a:lnTo>
                <a:lnTo>
                  <a:pt x="520" y="305"/>
                </a:lnTo>
                <a:lnTo>
                  <a:pt x="517" y="320"/>
                </a:lnTo>
                <a:lnTo>
                  <a:pt x="516" y="334"/>
                </a:lnTo>
                <a:lnTo>
                  <a:pt x="516" y="347"/>
                </a:lnTo>
                <a:lnTo>
                  <a:pt x="517" y="357"/>
                </a:lnTo>
                <a:lnTo>
                  <a:pt x="519" y="365"/>
                </a:lnTo>
                <a:lnTo>
                  <a:pt x="519" y="365"/>
                </a:lnTo>
                <a:lnTo>
                  <a:pt x="513" y="354"/>
                </a:lnTo>
                <a:lnTo>
                  <a:pt x="508" y="341"/>
                </a:lnTo>
                <a:lnTo>
                  <a:pt x="499" y="327"/>
                </a:lnTo>
                <a:lnTo>
                  <a:pt x="488" y="313"/>
                </a:lnTo>
                <a:lnTo>
                  <a:pt x="482" y="306"/>
                </a:lnTo>
                <a:lnTo>
                  <a:pt x="475" y="299"/>
                </a:lnTo>
                <a:lnTo>
                  <a:pt x="467" y="292"/>
                </a:lnTo>
                <a:lnTo>
                  <a:pt x="458" y="287"/>
                </a:lnTo>
                <a:lnTo>
                  <a:pt x="450" y="283"/>
                </a:lnTo>
                <a:lnTo>
                  <a:pt x="440" y="281"/>
                </a:lnTo>
                <a:lnTo>
                  <a:pt x="440" y="281"/>
                </a:lnTo>
                <a:lnTo>
                  <a:pt x="428" y="278"/>
                </a:lnTo>
                <a:lnTo>
                  <a:pt x="415" y="278"/>
                </a:lnTo>
                <a:lnTo>
                  <a:pt x="404" y="278"/>
                </a:lnTo>
                <a:lnTo>
                  <a:pt x="393" y="279"/>
                </a:lnTo>
                <a:lnTo>
                  <a:pt x="384" y="281"/>
                </a:lnTo>
                <a:lnTo>
                  <a:pt x="374" y="284"/>
                </a:lnTo>
                <a:lnTo>
                  <a:pt x="365" y="287"/>
                </a:lnTo>
                <a:lnTo>
                  <a:pt x="358" y="291"/>
                </a:lnTo>
                <a:lnTo>
                  <a:pt x="345" y="300"/>
                </a:lnTo>
                <a:lnTo>
                  <a:pt x="336" y="307"/>
                </a:lnTo>
                <a:lnTo>
                  <a:pt x="328" y="314"/>
                </a:lnTo>
                <a:lnTo>
                  <a:pt x="328" y="314"/>
                </a:lnTo>
                <a:lnTo>
                  <a:pt x="342" y="328"/>
                </a:lnTo>
                <a:lnTo>
                  <a:pt x="353" y="343"/>
                </a:lnTo>
                <a:lnTo>
                  <a:pt x="362" y="357"/>
                </a:lnTo>
                <a:lnTo>
                  <a:pt x="369" y="371"/>
                </a:lnTo>
                <a:lnTo>
                  <a:pt x="375" y="384"/>
                </a:lnTo>
                <a:lnTo>
                  <a:pt x="380" y="398"/>
                </a:lnTo>
                <a:lnTo>
                  <a:pt x="382" y="410"/>
                </a:lnTo>
                <a:lnTo>
                  <a:pt x="383" y="421"/>
                </a:lnTo>
                <a:lnTo>
                  <a:pt x="382" y="432"/>
                </a:lnTo>
                <a:lnTo>
                  <a:pt x="380" y="442"/>
                </a:lnTo>
                <a:lnTo>
                  <a:pt x="375" y="451"/>
                </a:lnTo>
                <a:lnTo>
                  <a:pt x="370" y="458"/>
                </a:lnTo>
                <a:lnTo>
                  <a:pt x="363" y="464"/>
                </a:lnTo>
                <a:lnTo>
                  <a:pt x="356" y="469"/>
                </a:lnTo>
                <a:lnTo>
                  <a:pt x="347" y="472"/>
                </a:lnTo>
                <a:lnTo>
                  <a:pt x="337" y="473"/>
                </a:lnTo>
                <a:lnTo>
                  <a:pt x="337" y="473"/>
                </a:lnTo>
                <a:lnTo>
                  <a:pt x="322" y="473"/>
                </a:lnTo>
                <a:lnTo>
                  <a:pt x="311" y="471"/>
                </a:lnTo>
                <a:lnTo>
                  <a:pt x="301" y="467"/>
                </a:lnTo>
                <a:lnTo>
                  <a:pt x="292" y="462"/>
                </a:lnTo>
                <a:lnTo>
                  <a:pt x="283" y="456"/>
                </a:lnTo>
                <a:lnTo>
                  <a:pt x="277" y="449"/>
                </a:lnTo>
                <a:lnTo>
                  <a:pt x="272" y="441"/>
                </a:lnTo>
                <a:lnTo>
                  <a:pt x="268" y="432"/>
                </a:lnTo>
                <a:lnTo>
                  <a:pt x="264" y="424"/>
                </a:lnTo>
                <a:lnTo>
                  <a:pt x="262" y="417"/>
                </a:lnTo>
                <a:lnTo>
                  <a:pt x="259" y="403"/>
                </a:lnTo>
                <a:lnTo>
                  <a:pt x="257" y="393"/>
                </a:lnTo>
                <a:lnTo>
                  <a:pt x="257" y="390"/>
                </a:lnTo>
                <a:lnTo>
                  <a:pt x="257" y="390"/>
                </a:lnTo>
                <a:lnTo>
                  <a:pt x="255" y="392"/>
                </a:lnTo>
                <a:lnTo>
                  <a:pt x="249" y="398"/>
                </a:lnTo>
                <a:lnTo>
                  <a:pt x="239" y="405"/>
                </a:lnTo>
                <a:lnTo>
                  <a:pt x="227" y="413"/>
                </a:lnTo>
                <a:lnTo>
                  <a:pt x="220" y="416"/>
                </a:lnTo>
                <a:lnTo>
                  <a:pt x="212" y="419"/>
                </a:lnTo>
                <a:lnTo>
                  <a:pt x="204" y="420"/>
                </a:lnTo>
                <a:lnTo>
                  <a:pt x="194" y="421"/>
                </a:lnTo>
                <a:lnTo>
                  <a:pt x="185" y="421"/>
                </a:lnTo>
                <a:lnTo>
                  <a:pt x="175" y="419"/>
                </a:lnTo>
                <a:lnTo>
                  <a:pt x="165" y="415"/>
                </a:lnTo>
                <a:lnTo>
                  <a:pt x="155" y="409"/>
                </a:lnTo>
                <a:lnTo>
                  <a:pt x="155" y="409"/>
                </a:lnTo>
                <a:lnTo>
                  <a:pt x="147" y="404"/>
                </a:lnTo>
                <a:lnTo>
                  <a:pt x="140" y="397"/>
                </a:lnTo>
                <a:lnTo>
                  <a:pt x="135" y="390"/>
                </a:lnTo>
                <a:lnTo>
                  <a:pt x="131" y="381"/>
                </a:lnTo>
                <a:lnTo>
                  <a:pt x="129" y="372"/>
                </a:lnTo>
                <a:lnTo>
                  <a:pt x="128" y="363"/>
                </a:lnTo>
                <a:lnTo>
                  <a:pt x="128" y="354"/>
                </a:lnTo>
                <a:lnTo>
                  <a:pt x="131" y="345"/>
                </a:lnTo>
                <a:lnTo>
                  <a:pt x="136" y="334"/>
                </a:lnTo>
                <a:lnTo>
                  <a:pt x="142" y="325"/>
                </a:lnTo>
                <a:lnTo>
                  <a:pt x="153" y="316"/>
                </a:lnTo>
                <a:lnTo>
                  <a:pt x="164" y="308"/>
                </a:lnTo>
                <a:lnTo>
                  <a:pt x="178" y="300"/>
                </a:lnTo>
                <a:lnTo>
                  <a:pt x="195" y="292"/>
                </a:lnTo>
                <a:lnTo>
                  <a:pt x="216" y="286"/>
                </a:lnTo>
                <a:lnTo>
                  <a:pt x="239" y="280"/>
                </a:lnTo>
                <a:lnTo>
                  <a:pt x="239" y="280"/>
                </a:lnTo>
                <a:lnTo>
                  <a:pt x="238" y="275"/>
                </a:lnTo>
                <a:lnTo>
                  <a:pt x="233" y="262"/>
                </a:lnTo>
                <a:lnTo>
                  <a:pt x="230" y="253"/>
                </a:lnTo>
                <a:lnTo>
                  <a:pt x="225" y="242"/>
                </a:lnTo>
                <a:lnTo>
                  <a:pt x="220" y="232"/>
                </a:lnTo>
                <a:lnTo>
                  <a:pt x="213" y="222"/>
                </a:lnTo>
                <a:lnTo>
                  <a:pt x="205" y="213"/>
                </a:lnTo>
                <a:lnTo>
                  <a:pt x="195" y="203"/>
                </a:lnTo>
                <a:lnTo>
                  <a:pt x="185" y="196"/>
                </a:lnTo>
                <a:lnTo>
                  <a:pt x="173" y="190"/>
                </a:lnTo>
                <a:lnTo>
                  <a:pt x="167" y="188"/>
                </a:lnTo>
                <a:lnTo>
                  <a:pt x="161" y="187"/>
                </a:lnTo>
                <a:lnTo>
                  <a:pt x="154" y="186"/>
                </a:lnTo>
                <a:lnTo>
                  <a:pt x="145" y="185"/>
                </a:lnTo>
                <a:lnTo>
                  <a:pt x="138" y="186"/>
                </a:lnTo>
                <a:lnTo>
                  <a:pt x="129" y="187"/>
                </a:lnTo>
                <a:lnTo>
                  <a:pt x="121" y="190"/>
                </a:lnTo>
                <a:lnTo>
                  <a:pt x="112" y="193"/>
                </a:lnTo>
                <a:lnTo>
                  <a:pt x="112" y="193"/>
                </a:lnTo>
                <a:lnTo>
                  <a:pt x="115" y="191"/>
                </a:lnTo>
                <a:lnTo>
                  <a:pt x="119" y="188"/>
                </a:lnTo>
                <a:lnTo>
                  <a:pt x="127" y="180"/>
                </a:lnTo>
                <a:lnTo>
                  <a:pt x="136" y="168"/>
                </a:lnTo>
                <a:lnTo>
                  <a:pt x="144" y="153"/>
                </a:lnTo>
                <a:lnTo>
                  <a:pt x="148" y="144"/>
                </a:lnTo>
                <a:lnTo>
                  <a:pt x="153" y="136"/>
                </a:lnTo>
                <a:lnTo>
                  <a:pt x="156" y="127"/>
                </a:lnTo>
                <a:lnTo>
                  <a:pt x="158" y="117"/>
                </a:lnTo>
                <a:lnTo>
                  <a:pt x="159" y="106"/>
                </a:lnTo>
                <a:lnTo>
                  <a:pt x="160" y="97"/>
                </a:lnTo>
                <a:lnTo>
                  <a:pt x="159" y="86"/>
                </a:lnTo>
                <a:lnTo>
                  <a:pt x="157" y="76"/>
                </a:lnTo>
                <a:lnTo>
                  <a:pt x="157" y="76"/>
                </a:lnTo>
                <a:lnTo>
                  <a:pt x="155" y="66"/>
                </a:lnTo>
                <a:lnTo>
                  <a:pt x="150" y="57"/>
                </a:lnTo>
                <a:lnTo>
                  <a:pt x="147" y="49"/>
                </a:lnTo>
                <a:lnTo>
                  <a:pt x="143" y="41"/>
                </a:lnTo>
                <a:lnTo>
                  <a:pt x="134" y="28"/>
                </a:lnTo>
                <a:lnTo>
                  <a:pt x="125" y="17"/>
                </a:lnTo>
                <a:lnTo>
                  <a:pt x="117" y="9"/>
                </a:lnTo>
                <a:lnTo>
                  <a:pt x="110" y="4"/>
                </a:lnTo>
                <a:lnTo>
                  <a:pt x="103" y="0"/>
                </a:lnTo>
                <a:lnTo>
                  <a:pt x="0" y="593"/>
                </a:lnTo>
                <a:lnTo>
                  <a:pt x="269" y="712"/>
                </a:lnTo>
                <a:lnTo>
                  <a:pt x="269" y="712"/>
                </a:lnTo>
                <a:lnTo>
                  <a:pt x="293" y="693"/>
                </a:lnTo>
                <a:lnTo>
                  <a:pt x="315" y="677"/>
                </a:lnTo>
                <a:lnTo>
                  <a:pt x="336" y="665"/>
                </a:lnTo>
                <a:lnTo>
                  <a:pt x="354" y="656"/>
                </a:lnTo>
                <a:lnTo>
                  <a:pt x="354" y="656"/>
                </a:lnTo>
                <a:lnTo>
                  <a:pt x="367" y="650"/>
                </a:lnTo>
                <a:lnTo>
                  <a:pt x="382" y="646"/>
                </a:lnTo>
                <a:lnTo>
                  <a:pt x="396" y="642"/>
                </a:lnTo>
                <a:lnTo>
                  <a:pt x="409" y="639"/>
                </a:lnTo>
                <a:lnTo>
                  <a:pt x="423" y="637"/>
                </a:lnTo>
                <a:lnTo>
                  <a:pt x="437" y="636"/>
                </a:lnTo>
                <a:lnTo>
                  <a:pt x="450" y="635"/>
                </a:lnTo>
                <a:lnTo>
                  <a:pt x="464" y="635"/>
                </a:lnTo>
                <a:lnTo>
                  <a:pt x="478" y="636"/>
                </a:lnTo>
                <a:lnTo>
                  <a:pt x="491" y="638"/>
                </a:lnTo>
                <a:lnTo>
                  <a:pt x="504" y="640"/>
                </a:lnTo>
                <a:lnTo>
                  <a:pt x="517" y="643"/>
                </a:lnTo>
                <a:lnTo>
                  <a:pt x="542" y="650"/>
                </a:lnTo>
                <a:lnTo>
                  <a:pt x="566" y="658"/>
                </a:lnTo>
                <a:lnTo>
                  <a:pt x="566" y="658"/>
                </a:lnTo>
                <a:lnTo>
                  <a:pt x="582" y="667"/>
                </a:lnTo>
                <a:lnTo>
                  <a:pt x="596" y="675"/>
                </a:lnTo>
                <a:lnTo>
                  <a:pt x="610" y="683"/>
                </a:lnTo>
                <a:lnTo>
                  <a:pt x="621" y="691"/>
                </a:lnTo>
                <a:lnTo>
                  <a:pt x="631" y="699"/>
                </a:lnTo>
                <a:lnTo>
                  <a:pt x="639" y="709"/>
                </a:lnTo>
                <a:lnTo>
                  <a:pt x="646" y="717"/>
                </a:lnTo>
                <a:lnTo>
                  <a:pt x="653" y="726"/>
                </a:lnTo>
                <a:lnTo>
                  <a:pt x="658" y="735"/>
                </a:lnTo>
                <a:lnTo>
                  <a:pt x="662" y="743"/>
                </a:lnTo>
                <a:lnTo>
                  <a:pt x="665" y="753"/>
                </a:lnTo>
                <a:lnTo>
                  <a:pt x="668" y="761"/>
                </a:lnTo>
                <a:lnTo>
                  <a:pt x="671" y="778"/>
                </a:lnTo>
                <a:lnTo>
                  <a:pt x="673" y="793"/>
                </a:lnTo>
                <a:lnTo>
                  <a:pt x="673" y="793"/>
                </a:lnTo>
                <a:lnTo>
                  <a:pt x="672" y="804"/>
                </a:lnTo>
                <a:lnTo>
                  <a:pt x="670" y="815"/>
                </a:lnTo>
                <a:lnTo>
                  <a:pt x="667" y="827"/>
                </a:lnTo>
                <a:lnTo>
                  <a:pt x="663" y="839"/>
                </a:lnTo>
                <a:lnTo>
                  <a:pt x="654" y="863"/>
                </a:lnTo>
                <a:lnTo>
                  <a:pt x="646" y="877"/>
                </a:lnTo>
                <a:lnTo>
                  <a:pt x="841" y="96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6" name="Freeform 43"/>
          <p:cNvSpPr>
            <a:spLocks/>
          </p:cNvSpPr>
          <p:nvPr userDrawn="1"/>
        </p:nvSpPr>
        <p:spPr bwMode="auto">
          <a:xfrm>
            <a:off x="7581900" y="1218903"/>
            <a:ext cx="193675" cy="33338"/>
          </a:xfrm>
          <a:custGeom>
            <a:avLst/>
            <a:gdLst>
              <a:gd name="T0" fmla="*/ 1228 w 1463"/>
              <a:gd name="T1" fmla="*/ 227 h 256"/>
              <a:gd name="T2" fmla="*/ 1463 w 1463"/>
              <a:gd name="T3" fmla="*/ 113 h 256"/>
              <a:gd name="T4" fmla="*/ 1225 w 1463"/>
              <a:gd name="T5" fmla="*/ 14 h 256"/>
              <a:gd name="T6" fmla="*/ 1225 w 1463"/>
              <a:gd name="T7" fmla="*/ 14 h 256"/>
              <a:gd name="T8" fmla="*/ 1152 w 1463"/>
              <a:gd name="T9" fmla="*/ 15 h 256"/>
              <a:gd name="T10" fmla="*/ 1060 w 1463"/>
              <a:gd name="T11" fmla="*/ 16 h 256"/>
              <a:gd name="T12" fmla="*/ 949 w 1463"/>
              <a:gd name="T13" fmla="*/ 15 h 256"/>
              <a:gd name="T14" fmla="*/ 824 w 1463"/>
              <a:gd name="T15" fmla="*/ 13 h 256"/>
              <a:gd name="T16" fmla="*/ 531 w 1463"/>
              <a:gd name="T17" fmla="*/ 7 h 256"/>
              <a:gd name="T18" fmla="*/ 197 w 1463"/>
              <a:gd name="T19" fmla="*/ 0 h 256"/>
              <a:gd name="T20" fmla="*/ 0 w 1463"/>
              <a:gd name="T21" fmla="*/ 256 h 256"/>
              <a:gd name="T22" fmla="*/ 0 w 1463"/>
              <a:gd name="T23" fmla="*/ 256 h 256"/>
              <a:gd name="T24" fmla="*/ 734 w 1463"/>
              <a:gd name="T25" fmla="*/ 240 h 256"/>
              <a:gd name="T26" fmla="*/ 1024 w 1463"/>
              <a:gd name="T27" fmla="*/ 234 h 256"/>
              <a:gd name="T28" fmla="*/ 1228 w 1463"/>
              <a:gd name="T29" fmla="*/ 22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3" h="256">
                <a:moveTo>
                  <a:pt x="1228" y="227"/>
                </a:moveTo>
                <a:lnTo>
                  <a:pt x="1463" y="113"/>
                </a:lnTo>
                <a:lnTo>
                  <a:pt x="1225" y="14"/>
                </a:lnTo>
                <a:lnTo>
                  <a:pt x="1225" y="14"/>
                </a:lnTo>
                <a:lnTo>
                  <a:pt x="1152" y="15"/>
                </a:lnTo>
                <a:lnTo>
                  <a:pt x="1060" y="16"/>
                </a:lnTo>
                <a:lnTo>
                  <a:pt x="949" y="15"/>
                </a:lnTo>
                <a:lnTo>
                  <a:pt x="824" y="13"/>
                </a:lnTo>
                <a:lnTo>
                  <a:pt x="531" y="7"/>
                </a:lnTo>
                <a:lnTo>
                  <a:pt x="197" y="0"/>
                </a:lnTo>
                <a:lnTo>
                  <a:pt x="0" y="256"/>
                </a:lnTo>
                <a:lnTo>
                  <a:pt x="0" y="256"/>
                </a:lnTo>
                <a:lnTo>
                  <a:pt x="734" y="240"/>
                </a:lnTo>
                <a:lnTo>
                  <a:pt x="1024" y="234"/>
                </a:lnTo>
                <a:lnTo>
                  <a:pt x="1228" y="22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7" name="Freeform 44"/>
          <p:cNvSpPr>
            <a:spLocks/>
          </p:cNvSpPr>
          <p:nvPr userDrawn="1"/>
        </p:nvSpPr>
        <p:spPr bwMode="auto">
          <a:xfrm>
            <a:off x="7643812" y="1301453"/>
            <a:ext cx="114300" cy="112713"/>
          </a:xfrm>
          <a:custGeom>
            <a:avLst/>
            <a:gdLst>
              <a:gd name="T0" fmla="*/ 386 w 869"/>
              <a:gd name="T1" fmla="*/ 818 h 851"/>
              <a:gd name="T2" fmla="*/ 235 w 869"/>
              <a:gd name="T3" fmla="*/ 737 h 851"/>
              <a:gd name="T4" fmla="*/ 156 w 869"/>
              <a:gd name="T5" fmla="*/ 685 h 851"/>
              <a:gd name="T6" fmla="*/ 90 w 869"/>
              <a:gd name="T7" fmla="*/ 626 h 851"/>
              <a:gd name="T8" fmla="*/ 37 w 869"/>
              <a:gd name="T9" fmla="*/ 557 h 851"/>
              <a:gd name="T10" fmla="*/ 24 w 869"/>
              <a:gd name="T11" fmla="*/ 531 h 851"/>
              <a:gd name="T12" fmla="*/ 10 w 869"/>
              <a:gd name="T13" fmla="*/ 487 h 851"/>
              <a:gd name="T14" fmla="*/ 2 w 869"/>
              <a:gd name="T15" fmla="*/ 439 h 851"/>
              <a:gd name="T16" fmla="*/ 0 w 869"/>
              <a:gd name="T17" fmla="*/ 389 h 851"/>
              <a:gd name="T18" fmla="*/ 5 w 869"/>
              <a:gd name="T19" fmla="*/ 336 h 851"/>
              <a:gd name="T20" fmla="*/ 15 w 869"/>
              <a:gd name="T21" fmla="*/ 283 h 851"/>
              <a:gd name="T22" fmla="*/ 34 w 869"/>
              <a:gd name="T23" fmla="*/ 231 h 851"/>
              <a:gd name="T24" fmla="*/ 59 w 869"/>
              <a:gd name="T25" fmla="*/ 182 h 851"/>
              <a:gd name="T26" fmla="*/ 93 w 869"/>
              <a:gd name="T27" fmla="*/ 136 h 851"/>
              <a:gd name="T28" fmla="*/ 134 w 869"/>
              <a:gd name="T29" fmla="*/ 94 h 851"/>
              <a:gd name="T30" fmla="*/ 183 w 869"/>
              <a:gd name="T31" fmla="*/ 59 h 851"/>
              <a:gd name="T32" fmla="*/ 198 w 869"/>
              <a:gd name="T33" fmla="*/ 75 h 851"/>
              <a:gd name="T34" fmla="*/ 217 w 869"/>
              <a:gd name="T35" fmla="*/ 106 h 851"/>
              <a:gd name="T36" fmla="*/ 227 w 869"/>
              <a:gd name="T37" fmla="*/ 141 h 851"/>
              <a:gd name="T38" fmla="*/ 247 w 869"/>
              <a:gd name="T39" fmla="*/ 150 h 851"/>
              <a:gd name="T40" fmla="*/ 379 w 869"/>
              <a:gd name="T41" fmla="*/ 144 h 851"/>
              <a:gd name="T42" fmla="*/ 424 w 869"/>
              <a:gd name="T43" fmla="*/ 143 h 851"/>
              <a:gd name="T44" fmla="*/ 424 w 869"/>
              <a:gd name="T45" fmla="*/ 94 h 851"/>
              <a:gd name="T46" fmla="*/ 414 w 869"/>
              <a:gd name="T47" fmla="*/ 37 h 851"/>
              <a:gd name="T48" fmla="*/ 397 w 869"/>
              <a:gd name="T49" fmla="*/ 0 h 851"/>
              <a:gd name="T50" fmla="*/ 431 w 869"/>
              <a:gd name="T51" fmla="*/ 27 h 851"/>
              <a:gd name="T52" fmla="*/ 459 w 869"/>
              <a:gd name="T53" fmla="*/ 55 h 851"/>
              <a:gd name="T54" fmla="*/ 475 w 869"/>
              <a:gd name="T55" fmla="*/ 82 h 851"/>
              <a:gd name="T56" fmla="*/ 487 w 869"/>
              <a:gd name="T57" fmla="*/ 116 h 851"/>
              <a:gd name="T58" fmla="*/ 493 w 869"/>
              <a:gd name="T59" fmla="*/ 143 h 851"/>
              <a:gd name="T60" fmla="*/ 671 w 869"/>
              <a:gd name="T61" fmla="*/ 133 h 851"/>
              <a:gd name="T62" fmla="*/ 662 w 869"/>
              <a:gd name="T63" fmla="*/ 88 h 851"/>
              <a:gd name="T64" fmla="*/ 643 w 869"/>
              <a:gd name="T65" fmla="*/ 50 h 851"/>
              <a:gd name="T66" fmla="*/ 651 w 869"/>
              <a:gd name="T67" fmla="*/ 46 h 851"/>
              <a:gd name="T68" fmla="*/ 699 w 869"/>
              <a:gd name="T69" fmla="*/ 73 h 851"/>
              <a:gd name="T70" fmla="*/ 740 w 869"/>
              <a:gd name="T71" fmla="*/ 104 h 851"/>
              <a:gd name="T72" fmla="*/ 775 w 869"/>
              <a:gd name="T73" fmla="*/ 138 h 851"/>
              <a:gd name="T74" fmla="*/ 803 w 869"/>
              <a:gd name="T75" fmla="*/ 175 h 851"/>
              <a:gd name="T76" fmla="*/ 837 w 869"/>
              <a:gd name="T77" fmla="*/ 238 h 851"/>
              <a:gd name="T78" fmla="*/ 861 w 869"/>
              <a:gd name="T79" fmla="*/ 312 h 851"/>
              <a:gd name="T80" fmla="*/ 869 w 869"/>
              <a:gd name="T81" fmla="*/ 379 h 851"/>
              <a:gd name="T82" fmla="*/ 869 w 869"/>
              <a:gd name="T83" fmla="*/ 423 h 851"/>
              <a:gd name="T84" fmla="*/ 859 w 869"/>
              <a:gd name="T85" fmla="*/ 499 h 851"/>
              <a:gd name="T86" fmla="*/ 834 w 869"/>
              <a:gd name="T87" fmla="*/ 569 h 851"/>
              <a:gd name="T88" fmla="*/ 796 w 869"/>
              <a:gd name="T89" fmla="*/ 631 h 851"/>
              <a:gd name="T90" fmla="*/ 749 w 869"/>
              <a:gd name="T91" fmla="*/ 684 h 851"/>
              <a:gd name="T92" fmla="*/ 693 w 869"/>
              <a:gd name="T93" fmla="*/ 727 h 851"/>
              <a:gd name="T94" fmla="*/ 626 w 869"/>
              <a:gd name="T95" fmla="*/ 766 h 851"/>
              <a:gd name="T96" fmla="*/ 506 w 869"/>
              <a:gd name="T97" fmla="*/ 826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9" h="851">
                <a:moveTo>
                  <a:pt x="452" y="851"/>
                </a:moveTo>
                <a:lnTo>
                  <a:pt x="452" y="851"/>
                </a:lnTo>
                <a:lnTo>
                  <a:pt x="386" y="818"/>
                </a:lnTo>
                <a:lnTo>
                  <a:pt x="323" y="785"/>
                </a:lnTo>
                <a:lnTo>
                  <a:pt x="264" y="754"/>
                </a:lnTo>
                <a:lnTo>
                  <a:pt x="235" y="737"/>
                </a:lnTo>
                <a:lnTo>
                  <a:pt x="207" y="720"/>
                </a:lnTo>
                <a:lnTo>
                  <a:pt x="181" y="703"/>
                </a:lnTo>
                <a:lnTo>
                  <a:pt x="156" y="685"/>
                </a:lnTo>
                <a:lnTo>
                  <a:pt x="133" y="666"/>
                </a:lnTo>
                <a:lnTo>
                  <a:pt x="110" y="646"/>
                </a:lnTo>
                <a:lnTo>
                  <a:pt x="90" y="626"/>
                </a:lnTo>
                <a:lnTo>
                  <a:pt x="70" y="605"/>
                </a:lnTo>
                <a:lnTo>
                  <a:pt x="53" y="581"/>
                </a:lnTo>
                <a:lnTo>
                  <a:pt x="37" y="557"/>
                </a:lnTo>
                <a:lnTo>
                  <a:pt x="37" y="557"/>
                </a:lnTo>
                <a:lnTo>
                  <a:pt x="31" y="544"/>
                </a:lnTo>
                <a:lnTo>
                  <a:pt x="24" y="531"/>
                </a:lnTo>
                <a:lnTo>
                  <a:pt x="19" y="517"/>
                </a:lnTo>
                <a:lnTo>
                  <a:pt x="14" y="502"/>
                </a:lnTo>
                <a:lnTo>
                  <a:pt x="10" y="487"/>
                </a:lnTo>
                <a:lnTo>
                  <a:pt x="7" y="472"/>
                </a:lnTo>
                <a:lnTo>
                  <a:pt x="4" y="455"/>
                </a:lnTo>
                <a:lnTo>
                  <a:pt x="2" y="439"/>
                </a:lnTo>
                <a:lnTo>
                  <a:pt x="1" y="423"/>
                </a:lnTo>
                <a:lnTo>
                  <a:pt x="0" y="405"/>
                </a:lnTo>
                <a:lnTo>
                  <a:pt x="0" y="389"/>
                </a:lnTo>
                <a:lnTo>
                  <a:pt x="1" y="371"/>
                </a:lnTo>
                <a:lnTo>
                  <a:pt x="2" y="353"/>
                </a:lnTo>
                <a:lnTo>
                  <a:pt x="5" y="336"/>
                </a:lnTo>
                <a:lnTo>
                  <a:pt x="7" y="318"/>
                </a:lnTo>
                <a:lnTo>
                  <a:pt x="11" y="301"/>
                </a:lnTo>
                <a:lnTo>
                  <a:pt x="15" y="283"/>
                </a:lnTo>
                <a:lnTo>
                  <a:pt x="21" y="266"/>
                </a:lnTo>
                <a:lnTo>
                  <a:pt x="26" y="249"/>
                </a:lnTo>
                <a:lnTo>
                  <a:pt x="34" y="231"/>
                </a:lnTo>
                <a:lnTo>
                  <a:pt x="42" y="215"/>
                </a:lnTo>
                <a:lnTo>
                  <a:pt x="50" y="199"/>
                </a:lnTo>
                <a:lnTo>
                  <a:pt x="59" y="182"/>
                </a:lnTo>
                <a:lnTo>
                  <a:pt x="69" y="166"/>
                </a:lnTo>
                <a:lnTo>
                  <a:pt x="81" y="151"/>
                </a:lnTo>
                <a:lnTo>
                  <a:pt x="93" y="136"/>
                </a:lnTo>
                <a:lnTo>
                  <a:pt x="105" y="122"/>
                </a:lnTo>
                <a:lnTo>
                  <a:pt x="120" y="108"/>
                </a:lnTo>
                <a:lnTo>
                  <a:pt x="134" y="94"/>
                </a:lnTo>
                <a:lnTo>
                  <a:pt x="149" y="82"/>
                </a:lnTo>
                <a:lnTo>
                  <a:pt x="166" y="70"/>
                </a:lnTo>
                <a:lnTo>
                  <a:pt x="183" y="59"/>
                </a:lnTo>
                <a:lnTo>
                  <a:pt x="183" y="59"/>
                </a:lnTo>
                <a:lnTo>
                  <a:pt x="191" y="67"/>
                </a:lnTo>
                <a:lnTo>
                  <a:pt x="198" y="75"/>
                </a:lnTo>
                <a:lnTo>
                  <a:pt x="203" y="82"/>
                </a:lnTo>
                <a:lnTo>
                  <a:pt x="208" y="90"/>
                </a:lnTo>
                <a:lnTo>
                  <a:pt x="217" y="106"/>
                </a:lnTo>
                <a:lnTo>
                  <a:pt x="222" y="120"/>
                </a:lnTo>
                <a:lnTo>
                  <a:pt x="225" y="132"/>
                </a:lnTo>
                <a:lnTo>
                  <a:pt x="227" y="141"/>
                </a:lnTo>
                <a:lnTo>
                  <a:pt x="227" y="150"/>
                </a:lnTo>
                <a:lnTo>
                  <a:pt x="227" y="150"/>
                </a:lnTo>
                <a:lnTo>
                  <a:pt x="247" y="150"/>
                </a:lnTo>
                <a:lnTo>
                  <a:pt x="272" y="150"/>
                </a:lnTo>
                <a:lnTo>
                  <a:pt x="325" y="146"/>
                </a:lnTo>
                <a:lnTo>
                  <a:pt x="379" y="144"/>
                </a:lnTo>
                <a:lnTo>
                  <a:pt x="404" y="143"/>
                </a:lnTo>
                <a:lnTo>
                  <a:pt x="424" y="143"/>
                </a:lnTo>
                <a:lnTo>
                  <a:pt x="424" y="143"/>
                </a:lnTo>
                <a:lnTo>
                  <a:pt x="425" y="129"/>
                </a:lnTo>
                <a:lnTo>
                  <a:pt x="425" y="112"/>
                </a:lnTo>
                <a:lnTo>
                  <a:pt x="424" y="94"/>
                </a:lnTo>
                <a:lnTo>
                  <a:pt x="422" y="76"/>
                </a:lnTo>
                <a:lnTo>
                  <a:pt x="419" y="56"/>
                </a:lnTo>
                <a:lnTo>
                  <a:pt x="414" y="37"/>
                </a:lnTo>
                <a:lnTo>
                  <a:pt x="407" y="19"/>
                </a:lnTo>
                <a:lnTo>
                  <a:pt x="402" y="9"/>
                </a:lnTo>
                <a:lnTo>
                  <a:pt x="397" y="0"/>
                </a:lnTo>
                <a:lnTo>
                  <a:pt x="397" y="0"/>
                </a:lnTo>
                <a:lnTo>
                  <a:pt x="415" y="14"/>
                </a:lnTo>
                <a:lnTo>
                  <a:pt x="431" y="27"/>
                </a:lnTo>
                <a:lnTo>
                  <a:pt x="446" y="40"/>
                </a:lnTo>
                <a:lnTo>
                  <a:pt x="453" y="47"/>
                </a:lnTo>
                <a:lnTo>
                  <a:pt x="459" y="55"/>
                </a:lnTo>
                <a:lnTo>
                  <a:pt x="465" y="64"/>
                </a:lnTo>
                <a:lnTo>
                  <a:pt x="470" y="73"/>
                </a:lnTo>
                <a:lnTo>
                  <a:pt x="475" y="82"/>
                </a:lnTo>
                <a:lnTo>
                  <a:pt x="479" y="92"/>
                </a:lnTo>
                <a:lnTo>
                  <a:pt x="484" y="104"/>
                </a:lnTo>
                <a:lnTo>
                  <a:pt x="487" y="116"/>
                </a:lnTo>
                <a:lnTo>
                  <a:pt x="490" y="129"/>
                </a:lnTo>
                <a:lnTo>
                  <a:pt x="493" y="143"/>
                </a:lnTo>
                <a:lnTo>
                  <a:pt x="493" y="143"/>
                </a:lnTo>
                <a:lnTo>
                  <a:pt x="671" y="150"/>
                </a:lnTo>
                <a:lnTo>
                  <a:pt x="671" y="150"/>
                </a:lnTo>
                <a:lnTo>
                  <a:pt x="671" y="133"/>
                </a:lnTo>
                <a:lnTo>
                  <a:pt x="670" y="118"/>
                </a:lnTo>
                <a:lnTo>
                  <a:pt x="667" y="103"/>
                </a:lnTo>
                <a:lnTo>
                  <a:pt x="662" y="88"/>
                </a:lnTo>
                <a:lnTo>
                  <a:pt x="657" y="75"/>
                </a:lnTo>
                <a:lnTo>
                  <a:pt x="651" y="62"/>
                </a:lnTo>
                <a:lnTo>
                  <a:pt x="643" y="50"/>
                </a:lnTo>
                <a:lnTo>
                  <a:pt x="634" y="38"/>
                </a:lnTo>
                <a:lnTo>
                  <a:pt x="634" y="38"/>
                </a:lnTo>
                <a:lnTo>
                  <a:pt x="651" y="46"/>
                </a:lnTo>
                <a:lnTo>
                  <a:pt x="669" y="54"/>
                </a:lnTo>
                <a:lnTo>
                  <a:pt x="684" y="64"/>
                </a:lnTo>
                <a:lnTo>
                  <a:pt x="699" y="73"/>
                </a:lnTo>
                <a:lnTo>
                  <a:pt x="714" y="83"/>
                </a:lnTo>
                <a:lnTo>
                  <a:pt x="728" y="93"/>
                </a:lnTo>
                <a:lnTo>
                  <a:pt x="740" y="104"/>
                </a:lnTo>
                <a:lnTo>
                  <a:pt x="752" y="115"/>
                </a:lnTo>
                <a:lnTo>
                  <a:pt x="764" y="126"/>
                </a:lnTo>
                <a:lnTo>
                  <a:pt x="775" y="138"/>
                </a:lnTo>
                <a:lnTo>
                  <a:pt x="785" y="151"/>
                </a:lnTo>
                <a:lnTo>
                  <a:pt x="794" y="163"/>
                </a:lnTo>
                <a:lnTo>
                  <a:pt x="803" y="175"/>
                </a:lnTo>
                <a:lnTo>
                  <a:pt x="811" y="187"/>
                </a:lnTo>
                <a:lnTo>
                  <a:pt x="825" y="213"/>
                </a:lnTo>
                <a:lnTo>
                  <a:pt x="837" y="238"/>
                </a:lnTo>
                <a:lnTo>
                  <a:pt x="848" y="263"/>
                </a:lnTo>
                <a:lnTo>
                  <a:pt x="855" y="289"/>
                </a:lnTo>
                <a:lnTo>
                  <a:pt x="861" y="312"/>
                </a:lnTo>
                <a:lnTo>
                  <a:pt x="865" y="336"/>
                </a:lnTo>
                <a:lnTo>
                  <a:pt x="868" y="358"/>
                </a:lnTo>
                <a:lnTo>
                  <a:pt x="869" y="379"/>
                </a:lnTo>
                <a:lnTo>
                  <a:pt x="869" y="397"/>
                </a:lnTo>
                <a:lnTo>
                  <a:pt x="869" y="397"/>
                </a:lnTo>
                <a:lnTo>
                  <a:pt x="869" y="423"/>
                </a:lnTo>
                <a:lnTo>
                  <a:pt x="868" y="449"/>
                </a:lnTo>
                <a:lnTo>
                  <a:pt x="864" y="474"/>
                </a:lnTo>
                <a:lnTo>
                  <a:pt x="859" y="499"/>
                </a:lnTo>
                <a:lnTo>
                  <a:pt x="852" y="523"/>
                </a:lnTo>
                <a:lnTo>
                  <a:pt x="843" y="546"/>
                </a:lnTo>
                <a:lnTo>
                  <a:pt x="834" y="569"/>
                </a:lnTo>
                <a:lnTo>
                  <a:pt x="823" y="590"/>
                </a:lnTo>
                <a:lnTo>
                  <a:pt x="811" y="612"/>
                </a:lnTo>
                <a:lnTo>
                  <a:pt x="796" y="631"/>
                </a:lnTo>
                <a:lnTo>
                  <a:pt x="782" y="651"/>
                </a:lnTo>
                <a:lnTo>
                  <a:pt x="766" y="668"/>
                </a:lnTo>
                <a:lnTo>
                  <a:pt x="749" y="684"/>
                </a:lnTo>
                <a:lnTo>
                  <a:pt x="731" y="700"/>
                </a:lnTo>
                <a:lnTo>
                  <a:pt x="713" y="714"/>
                </a:lnTo>
                <a:lnTo>
                  <a:pt x="693" y="727"/>
                </a:lnTo>
                <a:lnTo>
                  <a:pt x="693" y="727"/>
                </a:lnTo>
                <a:lnTo>
                  <a:pt x="658" y="748"/>
                </a:lnTo>
                <a:lnTo>
                  <a:pt x="626" y="766"/>
                </a:lnTo>
                <a:lnTo>
                  <a:pt x="594" y="783"/>
                </a:lnTo>
                <a:lnTo>
                  <a:pt x="563" y="799"/>
                </a:lnTo>
                <a:lnTo>
                  <a:pt x="506" y="826"/>
                </a:lnTo>
                <a:lnTo>
                  <a:pt x="452" y="85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8" name="Freeform 45"/>
          <p:cNvSpPr>
            <a:spLocks/>
          </p:cNvSpPr>
          <p:nvPr userDrawn="1"/>
        </p:nvSpPr>
        <p:spPr bwMode="auto">
          <a:xfrm>
            <a:off x="7677150" y="1579265"/>
            <a:ext cx="1588" cy="0"/>
          </a:xfrm>
          <a:custGeom>
            <a:avLst/>
            <a:gdLst>
              <a:gd name="T0" fmla="*/ 22 w 22"/>
              <a:gd name="T1" fmla="*/ 9 h 9"/>
              <a:gd name="T2" fmla="*/ 22 w 22"/>
              <a:gd name="T3" fmla="*/ 9 h 9"/>
              <a:gd name="T4" fmla="*/ 3 w 22"/>
              <a:gd name="T5" fmla="*/ 2 h 9"/>
              <a:gd name="T6" fmla="*/ 3 w 22"/>
              <a:gd name="T7" fmla="*/ 2 h 9"/>
              <a:gd name="T8" fmla="*/ 0 w 22"/>
              <a:gd name="T9" fmla="*/ 0 h 9"/>
              <a:gd name="T10" fmla="*/ 0 w 22"/>
              <a:gd name="T11" fmla="*/ 0 h 9"/>
              <a:gd name="T12" fmla="*/ 22 w 22"/>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22" h="9">
                <a:moveTo>
                  <a:pt x="22" y="9"/>
                </a:moveTo>
                <a:lnTo>
                  <a:pt x="22" y="9"/>
                </a:lnTo>
                <a:lnTo>
                  <a:pt x="3" y="2"/>
                </a:lnTo>
                <a:lnTo>
                  <a:pt x="3" y="2"/>
                </a:lnTo>
                <a:lnTo>
                  <a:pt x="0" y="0"/>
                </a:lnTo>
                <a:lnTo>
                  <a:pt x="0" y="0"/>
                </a:lnTo>
                <a:lnTo>
                  <a:pt x="22"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9" name="Freeform 46"/>
          <p:cNvSpPr>
            <a:spLocks/>
          </p:cNvSpPr>
          <p:nvPr userDrawn="1"/>
        </p:nvSpPr>
        <p:spPr bwMode="auto">
          <a:xfrm>
            <a:off x="7429500" y="1261765"/>
            <a:ext cx="20638" cy="12700"/>
          </a:xfrm>
          <a:custGeom>
            <a:avLst/>
            <a:gdLst>
              <a:gd name="T0" fmla="*/ 166 w 166"/>
              <a:gd name="T1" fmla="*/ 69 h 96"/>
              <a:gd name="T2" fmla="*/ 166 w 166"/>
              <a:gd name="T3" fmla="*/ 69 h 96"/>
              <a:gd name="T4" fmla="*/ 166 w 166"/>
              <a:gd name="T5" fmla="*/ 70 h 96"/>
              <a:gd name="T6" fmla="*/ 165 w 166"/>
              <a:gd name="T7" fmla="*/ 72 h 96"/>
              <a:gd name="T8" fmla="*/ 161 w 166"/>
              <a:gd name="T9" fmla="*/ 74 h 96"/>
              <a:gd name="T10" fmla="*/ 155 w 166"/>
              <a:gd name="T11" fmla="*/ 77 h 96"/>
              <a:gd name="T12" fmla="*/ 145 w 166"/>
              <a:gd name="T13" fmla="*/ 79 h 96"/>
              <a:gd name="T14" fmla="*/ 123 w 166"/>
              <a:gd name="T15" fmla="*/ 85 h 96"/>
              <a:gd name="T16" fmla="*/ 95 w 166"/>
              <a:gd name="T17" fmla="*/ 90 h 96"/>
              <a:gd name="T18" fmla="*/ 68 w 166"/>
              <a:gd name="T19" fmla="*/ 94 h 96"/>
              <a:gd name="T20" fmla="*/ 42 w 166"/>
              <a:gd name="T21" fmla="*/ 96 h 96"/>
              <a:gd name="T22" fmla="*/ 24 w 166"/>
              <a:gd name="T23" fmla="*/ 96 h 96"/>
              <a:gd name="T24" fmla="*/ 17 w 166"/>
              <a:gd name="T25" fmla="*/ 95 h 96"/>
              <a:gd name="T26" fmla="*/ 13 w 166"/>
              <a:gd name="T27" fmla="*/ 94 h 96"/>
              <a:gd name="T28" fmla="*/ 13 w 166"/>
              <a:gd name="T29" fmla="*/ 94 h 96"/>
              <a:gd name="T30" fmla="*/ 10 w 166"/>
              <a:gd name="T31" fmla="*/ 92 h 96"/>
              <a:gd name="T32" fmla="*/ 8 w 166"/>
              <a:gd name="T33" fmla="*/ 88 h 96"/>
              <a:gd name="T34" fmla="*/ 5 w 166"/>
              <a:gd name="T35" fmla="*/ 77 h 96"/>
              <a:gd name="T36" fmla="*/ 2 w 166"/>
              <a:gd name="T37" fmla="*/ 65 h 96"/>
              <a:gd name="T38" fmla="*/ 0 w 166"/>
              <a:gd name="T39" fmla="*/ 51 h 96"/>
              <a:gd name="T40" fmla="*/ 0 w 166"/>
              <a:gd name="T41" fmla="*/ 36 h 96"/>
              <a:gd name="T42" fmla="*/ 0 w 166"/>
              <a:gd name="T43" fmla="*/ 23 h 96"/>
              <a:gd name="T44" fmla="*/ 1 w 166"/>
              <a:gd name="T45" fmla="*/ 13 h 96"/>
              <a:gd name="T46" fmla="*/ 2 w 166"/>
              <a:gd name="T47" fmla="*/ 8 h 96"/>
              <a:gd name="T48" fmla="*/ 4 w 166"/>
              <a:gd name="T49" fmla="*/ 5 h 96"/>
              <a:gd name="T50" fmla="*/ 4 w 166"/>
              <a:gd name="T51" fmla="*/ 5 h 96"/>
              <a:gd name="T52" fmla="*/ 5 w 166"/>
              <a:gd name="T53" fmla="*/ 4 h 96"/>
              <a:gd name="T54" fmla="*/ 7 w 166"/>
              <a:gd name="T55" fmla="*/ 2 h 96"/>
              <a:gd name="T56" fmla="*/ 13 w 166"/>
              <a:gd name="T57" fmla="*/ 1 h 96"/>
              <a:gd name="T58" fmla="*/ 22 w 166"/>
              <a:gd name="T59" fmla="*/ 0 h 96"/>
              <a:gd name="T60" fmla="*/ 32 w 166"/>
              <a:gd name="T61" fmla="*/ 0 h 96"/>
              <a:gd name="T62" fmla="*/ 43 w 166"/>
              <a:gd name="T63" fmla="*/ 1 h 96"/>
              <a:gd name="T64" fmla="*/ 55 w 166"/>
              <a:gd name="T65" fmla="*/ 3 h 96"/>
              <a:gd name="T66" fmla="*/ 69 w 166"/>
              <a:gd name="T67" fmla="*/ 6 h 96"/>
              <a:gd name="T68" fmla="*/ 83 w 166"/>
              <a:gd name="T69" fmla="*/ 10 h 96"/>
              <a:gd name="T70" fmla="*/ 96 w 166"/>
              <a:gd name="T71" fmla="*/ 15 h 96"/>
              <a:gd name="T72" fmla="*/ 110 w 166"/>
              <a:gd name="T73" fmla="*/ 20 h 96"/>
              <a:gd name="T74" fmla="*/ 123 w 166"/>
              <a:gd name="T75" fmla="*/ 27 h 96"/>
              <a:gd name="T76" fmla="*/ 135 w 166"/>
              <a:gd name="T77" fmla="*/ 34 h 96"/>
              <a:gd name="T78" fmla="*/ 145 w 166"/>
              <a:gd name="T79" fmla="*/ 42 h 96"/>
              <a:gd name="T80" fmla="*/ 155 w 166"/>
              <a:gd name="T81" fmla="*/ 51 h 96"/>
              <a:gd name="T82" fmla="*/ 162 w 166"/>
              <a:gd name="T83" fmla="*/ 60 h 96"/>
              <a:gd name="T84" fmla="*/ 164 w 166"/>
              <a:gd name="T85" fmla="*/ 64 h 96"/>
              <a:gd name="T86" fmla="*/ 166 w 166"/>
              <a:gd name="T87" fmla="*/ 6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6" h="96">
                <a:moveTo>
                  <a:pt x="166" y="69"/>
                </a:moveTo>
                <a:lnTo>
                  <a:pt x="166" y="69"/>
                </a:lnTo>
                <a:lnTo>
                  <a:pt x="166" y="70"/>
                </a:lnTo>
                <a:lnTo>
                  <a:pt x="165" y="72"/>
                </a:lnTo>
                <a:lnTo>
                  <a:pt x="161" y="74"/>
                </a:lnTo>
                <a:lnTo>
                  <a:pt x="155" y="77"/>
                </a:lnTo>
                <a:lnTo>
                  <a:pt x="145" y="79"/>
                </a:lnTo>
                <a:lnTo>
                  <a:pt x="123" y="85"/>
                </a:lnTo>
                <a:lnTo>
                  <a:pt x="95" y="90"/>
                </a:lnTo>
                <a:lnTo>
                  <a:pt x="68" y="94"/>
                </a:lnTo>
                <a:lnTo>
                  <a:pt x="42" y="96"/>
                </a:lnTo>
                <a:lnTo>
                  <a:pt x="24" y="96"/>
                </a:lnTo>
                <a:lnTo>
                  <a:pt x="17" y="95"/>
                </a:lnTo>
                <a:lnTo>
                  <a:pt x="13" y="94"/>
                </a:lnTo>
                <a:lnTo>
                  <a:pt x="13" y="94"/>
                </a:lnTo>
                <a:lnTo>
                  <a:pt x="10" y="92"/>
                </a:lnTo>
                <a:lnTo>
                  <a:pt x="8" y="88"/>
                </a:lnTo>
                <a:lnTo>
                  <a:pt x="5" y="77"/>
                </a:lnTo>
                <a:lnTo>
                  <a:pt x="2" y="65"/>
                </a:lnTo>
                <a:lnTo>
                  <a:pt x="0" y="51"/>
                </a:lnTo>
                <a:lnTo>
                  <a:pt x="0" y="36"/>
                </a:lnTo>
                <a:lnTo>
                  <a:pt x="0" y="23"/>
                </a:lnTo>
                <a:lnTo>
                  <a:pt x="1" y="13"/>
                </a:lnTo>
                <a:lnTo>
                  <a:pt x="2" y="8"/>
                </a:lnTo>
                <a:lnTo>
                  <a:pt x="4" y="5"/>
                </a:lnTo>
                <a:lnTo>
                  <a:pt x="4" y="5"/>
                </a:lnTo>
                <a:lnTo>
                  <a:pt x="5" y="4"/>
                </a:lnTo>
                <a:lnTo>
                  <a:pt x="7" y="2"/>
                </a:lnTo>
                <a:lnTo>
                  <a:pt x="13" y="1"/>
                </a:lnTo>
                <a:lnTo>
                  <a:pt x="22" y="0"/>
                </a:lnTo>
                <a:lnTo>
                  <a:pt x="32" y="0"/>
                </a:lnTo>
                <a:lnTo>
                  <a:pt x="43" y="1"/>
                </a:lnTo>
                <a:lnTo>
                  <a:pt x="55" y="3"/>
                </a:lnTo>
                <a:lnTo>
                  <a:pt x="69" y="6"/>
                </a:lnTo>
                <a:lnTo>
                  <a:pt x="83" y="10"/>
                </a:lnTo>
                <a:lnTo>
                  <a:pt x="96" y="15"/>
                </a:lnTo>
                <a:lnTo>
                  <a:pt x="110" y="20"/>
                </a:lnTo>
                <a:lnTo>
                  <a:pt x="123" y="27"/>
                </a:lnTo>
                <a:lnTo>
                  <a:pt x="135" y="34"/>
                </a:lnTo>
                <a:lnTo>
                  <a:pt x="145" y="42"/>
                </a:lnTo>
                <a:lnTo>
                  <a:pt x="155" y="51"/>
                </a:lnTo>
                <a:lnTo>
                  <a:pt x="162" y="60"/>
                </a:lnTo>
                <a:lnTo>
                  <a:pt x="164" y="64"/>
                </a:lnTo>
                <a:lnTo>
                  <a:pt x="166" y="6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50" name="Freeform 47"/>
          <p:cNvSpPr>
            <a:spLocks/>
          </p:cNvSpPr>
          <p:nvPr userDrawn="1"/>
        </p:nvSpPr>
        <p:spPr bwMode="auto">
          <a:xfrm>
            <a:off x="7151687" y="1218903"/>
            <a:ext cx="657225" cy="776288"/>
          </a:xfrm>
          <a:custGeom>
            <a:avLst/>
            <a:gdLst>
              <a:gd name="T0" fmla="*/ 4703 w 4973"/>
              <a:gd name="T1" fmla="*/ 1877 h 5865"/>
              <a:gd name="T2" fmla="*/ 4733 w 4973"/>
              <a:gd name="T3" fmla="*/ 1183 h 5865"/>
              <a:gd name="T4" fmla="*/ 4302 w 4973"/>
              <a:gd name="T5" fmla="*/ 476 h 5865"/>
              <a:gd name="T6" fmla="*/ 3581 w 4973"/>
              <a:gd name="T7" fmla="*/ 813 h 5865"/>
              <a:gd name="T8" fmla="*/ 3899 w 4973"/>
              <a:gd name="T9" fmla="*/ 1529 h 5865"/>
              <a:gd name="T10" fmla="*/ 3757 w 4973"/>
              <a:gd name="T11" fmla="*/ 2227 h 5865"/>
              <a:gd name="T12" fmla="*/ 3939 w 4973"/>
              <a:gd name="T13" fmla="*/ 2068 h 5865"/>
              <a:gd name="T14" fmla="*/ 4069 w 4973"/>
              <a:gd name="T15" fmla="*/ 1928 h 5865"/>
              <a:gd name="T16" fmla="*/ 4545 w 4973"/>
              <a:gd name="T17" fmla="*/ 1985 h 5865"/>
              <a:gd name="T18" fmla="*/ 4487 w 4973"/>
              <a:gd name="T19" fmla="*/ 2697 h 5865"/>
              <a:gd name="T20" fmla="*/ 3601 w 4973"/>
              <a:gd name="T21" fmla="*/ 2477 h 5865"/>
              <a:gd name="T22" fmla="*/ 3285 w 4973"/>
              <a:gd name="T23" fmla="*/ 1581 h 5865"/>
              <a:gd name="T24" fmla="*/ 3364 w 4973"/>
              <a:gd name="T25" fmla="*/ 1421 h 5865"/>
              <a:gd name="T26" fmla="*/ 3101 w 4973"/>
              <a:gd name="T27" fmla="*/ 996 h 5865"/>
              <a:gd name="T28" fmla="*/ 3251 w 4973"/>
              <a:gd name="T29" fmla="*/ 599 h 5865"/>
              <a:gd name="T30" fmla="*/ 2863 w 4973"/>
              <a:gd name="T31" fmla="*/ 144 h 5865"/>
              <a:gd name="T32" fmla="*/ 1960 w 4973"/>
              <a:gd name="T33" fmla="*/ 304 h 5865"/>
              <a:gd name="T34" fmla="*/ 1819 w 4973"/>
              <a:gd name="T35" fmla="*/ 748 h 5865"/>
              <a:gd name="T36" fmla="*/ 2202 w 4973"/>
              <a:gd name="T37" fmla="*/ 626 h 5865"/>
              <a:gd name="T38" fmla="*/ 2215 w 4973"/>
              <a:gd name="T39" fmla="*/ 803 h 5865"/>
              <a:gd name="T40" fmla="*/ 1623 w 4973"/>
              <a:gd name="T41" fmla="*/ 851 h 5865"/>
              <a:gd name="T42" fmla="*/ 1602 w 4973"/>
              <a:gd name="T43" fmla="*/ 1055 h 5865"/>
              <a:gd name="T44" fmla="*/ 2246 w 4973"/>
              <a:gd name="T45" fmla="*/ 924 h 5865"/>
              <a:gd name="T46" fmla="*/ 2036 w 4973"/>
              <a:gd name="T47" fmla="*/ 981 h 5865"/>
              <a:gd name="T48" fmla="*/ 1754 w 4973"/>
              <a:gd name="T49" fmla="*/ 1278 h 5865"/>
              <a:gd name="T50" fmla="*/ 2105 w 4973"/>
              <a:gd name="T51" fmla="*/ 1619 h 5865"/>
              <a:gd name="T52" fmla="*/ 863 w 4973"/>
              <a:gd name="T53" fmla="*/ 2239 h 5865"/>
              <a:gd name="T54" fmla="*/ 310 w 4973"/>
              <a:gd name="T55" fmla="*/ 2027 h 5865"/>
              <a:gd name="T56" fmla="*/ 319 w 4973"/>
              <a:gd name="T57" fmla="*/ 2172 h 5865"/>
              <a:gd name="T58" fmla="*/ 380 w 4973"/>
              <a:gd name="T59" fmla="*/ 2295 h 5865"/>
              <a:gd name="T60" fmla="*/ 39 w 4973"/>
              <a:gd name="T61" fmla="*/ 2396 h 5865"/>
              <a:gd name="T62" fmla="*/ 189 w 4973"/>
              <a:gd name="T63" fmla="*/ 2511 h 5865"/>
              <a:gd name="T64" fmla="*/ 322 w 4973"/>
              <a:gd name="T65" fmla="*/ 2588 h 5865"/>
              <a:gd name="T66" fmla="*/ 272 w 4973"/>
              <a:gd name="T67" fmla="*/ 2893 h 5865"/>
              <a:gd name="T68" fmla="*/ 630 w 4973"/>
              <a:gd name="T69" fmla="*/ 2730 h 5865"/>
              <a:gd name="T70" fmla="*/ 811 w 4973"/>
              <a:gd name="T71" fmla="*/ 2843 h 5865"/>
              <a:gd name="T72" fmla="*/ 1024 w 4973"/>
              <a:gd name="T73" fmla="*/ 2773 h 5865"/>
              <a:gd name="T74" fmla="*/ 1290 w 4973"/>
              <a:gd name="T75" fmla="*/ 2556 h 5865"/>
              <a:gd name="T76" fmla="*/ 1713 w 4973"/>
              <a:gd name="T77" fmla="*/ 2519 h 5865"/>
              <a:gd name="T78" fmla="*/ 2306 w 4973"/>
              <a:gd name="T79" fmla="*/ 2641 h 5865"/>
              <a:gd name="T80" fmla="*/ 3357 w 4973"/>
              <a:gd name="T81" fmla="*/ 3092 h 5865"/>
              <a:gd name="T82" fmla="*/ 3742 w 4973"/>
              <a:gd name="T83" fmla="*/ 3928 h 5865"/>
              <a:gd name="T84" fmla="*/ 3685 w 4973"/>
              <a:gd name="T85" fmla="*/ 4224 h 5865"/>
              <a:gd name="T86" fmla="*/ 4224 w 4973"/>
              <a:gd name="T87" fmla="*/ 4337 h 5865"/>
              <a:gd name="T88" fmla="*/ 4264 w 4973"/>
              <a:gd name="T89" fmla="*/ 5017 h 5865"/>
              <a:gd name="T90" fmla="*/ 3761 w 4973"/>
              <a:gd name="T91" fmla="*/ 5058 h 5865"/>
              <a:gd name="T92" fmla="*/ 3894 w 4973"/>
              <a:gd name="T93" fmla="*/ 5210 h 5865"/>
              <a:gd name="T94" fmla="*/ 3894 w 4973"/>
              <a:gd name="T95" fmla="*/ 5294 h 5865"/>
              <a:gd name="T96" fmla="*/ 3751 w 4973"/>
              <a:gd name="T97" fmla="*/ 5644 h 5865"/>
              <a:gd name="T98" fmla="*/ 3926 w 4973"/>
              <a:gd name="T99" fmla="*/ 5586 h 5865"/>
              <a:gd name="T100" fmla="*/ 4212 w 4973"/>
              <a:gd name="T101" fmla="*/ 5447 h 5865"/>
              <a:gd name="T102" fmla="*/ 4257 w 4973"/>
              <a:gd name="T103" fmla="*/ 5812 h 5865"/>
              <a:gd name="T104" fmla="*/ 4352 w 4973"/>
              <a:gd name="T105" fmla="*/ 5675 h 5865"/>
              <a:gd name="T106" fmla="*/ 4557 w 4973"/>
              <a:gd name="T107" fmla="*/ 5328 h 5865"/>
              <a:gd name="T108" fmla="*/ 4736 w 4973"/>
              <a:gd name="T109" fmla="*/ 5505 h 5865"/>
              <a:gd name="T110" fmla="*/ 4753 w 4973"/>
              <a:gd name="T111" fmla="*/ 5108 h 5865"/>
              <a:gd name="T112" fmla="*/ 4693 w 4973"/>
              <a:gd name="T113" fmla="*/ 4810 h 5865"/>
              <a:gd name="T114" fmla="*/ 4677 w 4973"/>
              <a:gd name="T115" fmla="*/ 4437 h 5865"/>
              <a:gd name="T116" fmla="*/ 4640 w 4973"/>
              <a:gd name="T117" fmla="*/ 4108 h 5865"/>
              <a:gd name="T118" fmla="*/ 4297 w 4973"/>
              <a:gd name="T119" fmla="*/ 3793 h 5865"/>
              <a:gd name="T120" fmla="*/ 4267 w 4973"/>
              <a:gd name="T121" fmla="*/ 3366 h 5865"/>
              <a:gd name="T122" fmla="*/ 4428 w 4973"/>
              <a:gd name="T123" fmla="*/ 2994 h 5865"/>
              <a:gd name="T124" fmla="*/ 4923 w 4973"/>
              <a:gd name="T125" fmla="*/ 2543 h 5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973" h="5865">
                <a:moveTo>
                  <a:pt x="4842" y="2253"/>
                </a:moveTo>
                <a:lnTo>
                  <a:pt x="4842" y="2253"/>
                </a:lnTo>
                <a:lnTo>
                  <a:pt x="4862" y="2257"/>
                </a:lnTo>
                <a:lnTo>
                  <a:pt x="4881" y="2259"/>
                </a:lnTo>
                <a:lnTo>
                  <a:pt x="4900" y="2260"/>
                </a:lnTo>
                <a:lnTo>
                  <a:pt x="4916" y="2259"/>
                </a:lnTo>
                <a:lnTo>
                  <a:pt x="4932" y="2257"/>
                </a:lnTo>
                <a:lnTo>
                  <a:pt x="4946" y="2254"/>
                </a:lnTo>
                <a:lnTo>
                  <a:pt x="4958" y="2249"/>
                </a:lnTo>
                <a:lnTo>
                  <a:pt x="4969" y="2243"/>
                </a:lnTo>
                <a:lnTo>
                  <a:pt x="4969" y="2243"/>
                </a:lnTo>
                <a:lnTo>
                  <a:pt x="4967" y="2217"/>
                </a:lnTo>
                <a:lnTo>
                  <a:pt x="4960" y="2157"/>
                </a:lnTo>
                <a:lnTo>
                  <a:pt x="4951" y="2084"/>
                </a:lnTo>
                <a:lnTo>
                  <a:pt x="4946" y="2052"/>
                </a:lnTo>
                <a:lnTo>
                  <a:pt x="4940" y="2024"/>
                </a:lnTo>
                <a:lnTo>
                  <a:pt x="4940" y="2024"/>
                </a:lnTo>
                <a:lnTo>
                  <a:pt x="4922" y="2027"/>
                </a:lnTo>
                <a:lnTo>
                  <a:pt x="4902" y="2030"/>
                </a:lnTo>
                <a:lnTo>
                  <a:pt x="4891" y="2030"/>
                </a:lnTo>
                <a:lnTo>
                  <a:pt x="4879" y="2030"/>
                </a:lnTo>
                <a:lnTo>
                  <a:pt x="4867" y="2029"/>
                </a:lnTo>
                <a:lnTo>
                  <a:pt x="4855" y="2027"/>
                </a:lnTo>
                <a:lnTo>
                  <a:pt x="4843" y="2024"/>
                </a:lnTo>
                <a:lnTo>
                  <a:pt x="4830" y="2020"/>
                </a:lnTo>
                <a:lnTo>
                  <a:pt x="4818" y="2015"/>
                </a:lnTo>
                <a:lnTo>
                  <a:pt x="4806" y="2008"/>
                </a:lnTo>
                <a:lnTo>
                  <a:pt x="4794" y="1998"/>
                </a:lnTo>
                <a:lnTo>
                  <a:pt x="4782" y="1988"/>
                </a:lnTo>
                <a:lnTo>
                  <a:pt x="4771" y="1976"/>
                </a:lnTo>
                <a:lnTo>
                  <a:pt x="4761" y="1962"/>
                </a:lnTo>
                <a:lnTo>
                  <a:pt x="4761" y="1962"/>
                </a:lnTo>
                <a:lnTo>
                  <a:pt x="4743" y="1933"/>
                </a:lnTo>
                <a:lnTo>
                  <a:pt x="4724" y="1905"/>
                </a:lnTo>
                <a:lnTo>
                  <a:pt x="4724" y="1905"/>
                </a:lnTo>
                <a:lnTo>
                  <a:pt x="4703" y="1877"/>
                </a:lnTo>
                <a:lnTo>
                  <a:pt x="4680" y="1849"/>
                </a:lnTo>
                <a:lnTo>
                  <a:pt x="4658" y="1823"/>
                </a:lnTo>
                <a:lnTo>
                  <a:pt x="4634" y="1797"/>
                </a:lnTo>
                <a:lnTo>
                  <a:pt x="4611" y="1773"/>
                </a:lnTo>
                <a:lnTo>
                  <a:pt x="4586" y="1750"/>
                </a:lnTo>
                <a:lnTo>
                  <a:pt x="4562" y="1727"/>
                </a:lnTo>
                <a:lnTo>
                  <a:pt x="4538" y="1707"/>
                </a:lnTo>
                <a:lnTo>
                  <a:pt x="4513" y="1687"/>
                </a:lnTo>
                <a:lnTo>
                  <a:pt x="4489" y="1667"/>
                </a:lnTo>
                <a:lnTo>
                  <a:pt x="4463" y="1649"/>
                </a:lnTo>
                <a:lnTo>
                  <a:pt x="4439" y="1630"/>
                </a:lnTo>
                <a:lnTo>
                  <a:pt x="4413" y="1614"/>
                </a:lnTo>
                <a:lnTo>
                  <a:pt x="4389" y="1598"/>
                </a:lnTo>
                <a:lnTo>
                  <a:pt x="4337" y="1566"/>
                </a:lnTo>
                <a:lnTo>
                  <a:pt x="4337" y="1566"/>
                </a:lnTo>
                <a:lnTo>
                  <a:pt x="4381" y="1543"/>
                </a:lnTo>
                <a:lnTo>
                  <a:pt x="4422" y="1521"/>
                </a:lnTo>
                <a:lnTo>
                  <a:pt x="4459" y="1498"/>
                </a:lnTo>
                <a:lnTo>
                  <a:pt x="4492" y="1477"/>
                </a:lnTo>
                <a:lnTo>
                  <a:pt x="4523" y="1455"/>
                </a:lnTo>
                <a:lnTo>
                  <a:pt x="4549" y="1434"/>
                </a:lnTo>
                <a:lnTo>
                  <a:pt x="4574" y="1414"/>
                </a:lnTo>
                <a:lnTo>
                  <a:pt x="4595" y="1393"/>
                </a:lnTo>
                <a:lnTo>
                  <a:pt x="4615" y="1374"/>
                </a:lnTo>
                <a:lnTo>
                  <a:pt x="4632" y="1355"/>
                </a:lnTo>
                <a:lnTo>
                  <a:pt x="4647" y="1337"/>
                </a:lnTo>
                <a:lnTo>
                  <a:pt x="4661" y="1319"/>
                </a:lnTo>
                <a:lnTo>
                  <a:pt x="4673" y="1303"/>
                </a:lnTo>
                <a:lnTo>
                  <a:pt x="4683" y="1288"/>
                </a:lnTo>
                <a:lnTo>
                  <a:pt x="4700" y="1260"/>
                </a:lnTo>
                <a:lnTo>
                  <a:pt x="4700" y="1260"/>
                </a:lnTo>
                <a:lnTo>
                  <a:pt x="4708" y="1248"/>
                </a:lnTo>
                <a:lnTo>
                  <a:pt x="4714" y="1234"/>
                </a:lnTo>
                <a:lnTo>
                  <a:pt x="4721" y="1218"/>
                </a:lnTo>
                <a:lnTo>
                  <a:pt x="4727" y="1202"/>
                </a:lnTo>
                <a:lnTo>
                  <a:pt x="4733" y="1183"/>
                </a:lnTo>
                <a:lnTo>
                  <a:pt x="4739" y="1164"/>
                </a:lnTo>
                <a:lnTo>
                  <a:pt x="4743" y="1144"/>
                </a:lnTo>
                <a:lnTo>
                  <a:pt x="4749" y="1123"/>
                </a:lnTo>
                <a:lnTo>
                  <a:pt x="4753" y="1101"/>
                </a:lnTo>
                <a:lnTo>
                  <a:pt x="4756" y="1078"/>
                </a:lnTo>
                <a:lnTo>
                  <a:pt x="4758" y="1054"/>
                </a:lnTo>
                <a:lnTo>
                  <a:pt x="4759" y="1030"/>
                </a:lnTo>
                <a:lnTo>
                  <a:pt x="4760" y="1005"/>
                </a:lnTo>
                <a:lnTo>
                  <a:pt x="4759" y="980"/>
                </a:lnTo>
                <a:lnTo>
                  <a:pt x="4758" y="954"/>
                </a:lnTo>
                <a:lnTo>
                  <a:pt x="4755" y="928"/>
                </a:lnTo>
                <a:lnTo>
                  <a:pt x="4751" y="902"/>
                </a:lnTo>
                <a:lnTo>
                  <a:pt x="4745" y="876"/>
                </a:lnTo>
                <a:lnTo>
                  <a:pt x="4738" y="849"/>
                </a:lnTo>
                <a:lnTo>
                  <a:pt x="4730" y="824"/>
                </a:lnTo>
                <a:lnTo>
                  <a:pt x="4720" y="797"/>
                </a:lnTo>
                <a:lnTo>
                  <a:pt x="4709" y="771"/>
                </a:lnTo>
                <a:lnTo>
                  <a:pt x="4695" y="746"/>
                </a:lnTo>
                <a:lnTo>
                  <a:pt x="4681" y="721"/>
                </a:lnTo>
                <a:lnTo>
                  <a:pt x="4665" y="697"/>
                </a:lnTo>
                <a:lnTo>
                  <a:pt x="4646" y="672"/>
                </a:lnTo>
                <a:lnTo>
                  <a:pt x="4625" y="649"/>
                </a:lnTo>
                <a:lnTo>
                  <a:pt x="4602" y="626"/>
                </a:lnTo>
                <a:lnTo>
                  <a:pt x="4578" y="605"/>
                </a:lnTo>
                <a:lnTo>
                  <a:pt x="4551" y="584"/>
                </a:lnTo>
                <a:lnTo>
                  <a:pt x="4522" y="565"/>
                </a:lnTo>
                <a:lnTo>
                  <a:pt x="4490" y="545"/>
                </a:lnTo>
                <a:lnTo>
                  <a:pt x="4490" y="545"/>
                </a:lnTo>
                <a:lnTo>
                  <a:pt x="4466" y="533"/>
                </a:lnTo>
                <a:lnTo>
                  <a:pt x="4443" y="522"/>
                </a:lnTo>
                <a:lnTo>
                  <a:pt x="4419" y="512"/>
                </a:lnTo>
                <a:lnTo>
                  <a:pt x="4396" y="503"/>
                </a:lnTo>
                <a:lnTo>
                  <a:pt x="4372" y="494"/>
                </a:lnTo>
                <a:lnTo>
                  <a:pt x="4348" y="487"/>
                </a:lnTo>
                <a:lnTo>
                  <a:pt x="4325" y="481"/>
                </a:lnTo>
                <a:lnTo>
                  <a:pt x="4302" y="476"/>
                </a:lnTo>
                <a:lnTo>
                  <a:pt x="4278" y="471"/>
                </a:lnTo>
                <a:lnTo>
                  <a:pt x="4256" y="468"/>
                </a:lnTo>
                <a:lnTo>
                  <a:pt x="4233" y="465"/>
                </a:lnTo>
                <a:lnTo>
                  <a:pt x="4211" y="463"/>
                </a:lnTo>
                <a:lnTo>
                  <a:pt x="4188" y="461"/>
                </a:lnTo>
                <a:lnTo>
                  <a:pt x="4167" y="461"/>
                </a:lnTo>
                <a:lnTo>
                  <a:pt x="4145" y="461"/>
                </a:lnTo>
                <a:lnTo>
                  <a:pt x="4124" y="461"/>
                </a:lnTo>
                <a:lnTo>
                  <a:pt x="4083" y="464"/>
                </a:lnTo>
                <a:lnTo>
                  <a:pt x="4044" y="468"/>
                </a:lnTo>
                <a:lnTo>
                  <a:pt x="4007" y="474"/>
                </a:lnTo>
                <a:lnTo>
                  <a:pt x="3973" y="482"/>
                </a:lnTo>
                <a:lnTo>
                  <a:pt x="3941" y="490"/>
                </a:lnTo>
                <a:lnTo>
                  <a:pt x="3912" y="499"/>
                </a:lnTo>
                <a:lnTo>
                  <a:pt x="3887" y="510"/>
                </a:lnTo>
                <a:lnTo>
                  <a:pt x="3864" y="519"/>
                </a:lnTo>
                <a:lnTo>
                  <a:pt x="3864" y="519"/>
                </a:lnTo>
                <a:lnTo>
                  <a:pt x="3844" y="529"/>
                </a:lnTo>
                <a:lnTo>
                  <a:pt x="3824" y="539"/>
                </a:lnTo>
                <a:lnTo>
                  <a:pt x="3806" y="551"/>
                </a:lnTo>
                <a:lnTo>
                  <a:pt x="3787" y="562"/>
                </a:lnTo>
                <a:lnTo>
                  <a:pt x="3769" y="575"/>
                </a:lnTo>
                <a:lnTo>
                  <a:pt x="3752" y="587"/>
                </a:lnTo>
                <a:lnTo>
                  <a:pt x="3735" y="602"/>
                </a:lnTo>
                <a:lnTo>
                  <a:pt x="3719" y="616"/>
                </a:lnTo>
                <a:lnTo>
                  <a:pt x="3703" y="631"/>
                </a:lnTo>
                <a:lnTo>
                  <a:pt x="3687" y="647"/>
                </a:lnTo>
                <a:lnTo>
                  <a:pt x="3673" y="663"/>
                </a:lnTo>
                <a:lnTo>
                  <a:pt x="3659" y="679"/>
                </a:lnTo>
                <a:lnTo>
                  <a:pt x="3645" y="697"/>
                </a:lnTo>
                <a:lnTo>
                  <a:pt x="3633" y="715"/>
                </a:lnTo>
                <a:lnTo>
                  <a:pt x="3621" y="734"/>
                </a:lnTo>
                <a:lnTo>
                  <a:pt x="3609" y="753"/>
                </a:lnTo>
                <a:lnTo>
                  <a:pt x="3599" y="772"/>
                </a:lnTo>
                <a:lnTo>
                  <a:pt x="3589" y="793"/>
                </a:lnTo>
                <a:lnTo>
                  <a:pt x="3581" y="813"/>
                </a:lnTo>
                <a:lnTo>
                  <a:pt x="3573" y="835"/>
                </a:lnTo>
                <a:lnTo>
                  <a:pt x="3565" y="856"/>
                </a:lnTo>
                <a:lnTo>
                  <a:pt x="3559" y="879"/>
                </a:lnTo>
                <a:lnTo>
                  <a:pt x="3554" y="901"/>
                </a:lnTo>
                <a:lnTo>
                  <a:pt x="3550" y="924"/>
                </a:lnTo>
                <a:lnTo>
                  <a:pt x="3547" y="947"/>
                </a:lnTo>
                <a:lnTo>
                  <a:pt x="3545" y="972"/>
                </a:lnTo>
                <a:lnTo>
                  <a:pt x="3544" y="996"/>
                </a:lnTo>
                <a:lnTo>
                  <a:pt x="3543" y="1021"/>
                </a:lnTo>
                <a:lnTo>
                  <a:pt x="3544" y="1046"/>
                </a:lnTo>
                <a:lnTo>
                  <a:pt x="3546" y="1072"/>
                </a:lnTo>
                <a:lnTo>
                  <a:pt x="3550" y="1098"/>
                </a:lnTo>
                <a:lnTo>
                  <a:pt x="3554" y="1124"/>
                </a:lnTo>
                <a:lnTo>
                  <a:pt x="3554" y="1124"/>
                </a:lnTo>
                <a:lnTo>
                  <a:pt x="3559" y="1148"/>
                </a:lnTo>
                <a:lnTo>
                  <a:pt x="3564" y="1169"/>
                </a:lnTo>
                <a:lnTo>
                  <a:pt x="3571" y="1191"/>
                </a:lnTo>
                <a:lnTo>
                  <a:pt x="3577" y="1211"/>
                </a:lnTo>
                <a:lnTo>
                  <a:pt x="3585" y="1231"/>
                </a:lnTo>
                <a:lnTo>
                  <a:pt x="3592" y="1249"/>
                </a:lnTo>
                <a:lnTo>
                  <a:pt x="3601" y="1267"/>
                </a:lnTo>
                <a:lnTo>
                  <a:pt x="3610" y="1285"/>
                </a:lnTo>
                <a:lnTo>
                  <a:pt x="3620" y="1301"/>
                </a:lnTo>
                <a:lnTo>
                  <a:pt x="3631" y="1316"/>
                </a:lnTo>
                <a:lnTo>
                  <a:pt x="3641" y="1332"/>
                </a:lnTo>
                <a:lnTo>
                  <a:pt x="3652" y="1347"/>
                </a:lnTo>
                <a:lnTo>
                  <a:pt x="3665" y="1361"/>
                </a:lnTo>
                <a:lnTo>
                  <a:pt x="3677" y="1375"/>
                </a:lnTo>
                <a:lnTo>
                  <a:pt x="3690" y="1388"/>
                </a:lnTo>
                <a:lnTo>
                  <a:pt x="3704" y="1400"/>
                </a:lnTo>
                <a:lnTo>
                  <a:pt x="3732" y="1425"/>
                </a:lnTo>
                <a:lnTo>
                  <a:pt x="3763" y="1447"/>
                </a:lnTo>
                <a:lnTo>
                  <a:pt x="3795" y="1469"/>
                </a:lnTo>
                <a:lnTo>
                  <a:pt x="3828" y="1489"/>
                </a:lnTo>
                <a:lnTo>
                  <a:pt x="3863" y="1510"/>
                </a:lnTo>
                <a:lnTo>
                  <a:pt x="3899" y="1529"/>
                </a:lnTo>
                <a:lnTo>
                  <a:pt x="3976" y="1567"/>
                </a:lnTo>
                <a:lnTo>
                  <a:pt x="3976" y="1567"/>
                </a:lnTo>
                <a:lnTo>
                  <a:pt x="3945" y="1584"/>
                </a:lnTo>
                <a:lnTo>
                  <a:pt x="3916" y="1601"/>
                </a:lnTo>
                <a:lnTo>
                  <a:pt x="3890" y="1618"/>
                </a:lnTo>
                <a:lnTo>
                  <a:pt x="3864" y="1636"/>
                </a:lnTo>
                <a:lnTo>
                  <a:pt x="3840" y="1656"/>
                </a:lnTo>
                <a:lnTo>
                  <a:pt x="3817" y="1675"/>
                </a:lnTo>
                <a:lnTo>
                  <a:pt x="3797" y="1696"/>
                </a:lnTo>
                <a:lnTo>
                  <a:pt x="3778" y="1717"/>
                </a:lnTo>
                <a:lnTo>
                  <a:pt x="3761" y="1741"/>
                </a:lnTo>
                <a:lnTo>
                  <a:pt x="3754" y="1753"/>
                </a:lnTo>
                <a:lnTo>
                  <a:pt x="3746" y="1765"/>
                </a:lnTo>
                <a:lnTo>
                  <a:pt x="3739" y="1778"/>
                </a:lnTo>
                <a:lnTo>
                  <a:pt x="3733" y="1791"/>
                </a:lnTo>
                <a:lnTo>
                  <a:pt x="3728" y="1804"/>
                </a:lnTo>
                <a:lnTo>
                  <a:pt x="3723" y="1818"/>
                </a:lnTo>
                <a:lnTo>
                  <a:pt x="3718" y="1833"/>
                </a:lnTo>
                <a:lnTo>
                  <a:pt x="3714" y="1848"/>
                </a:lnTo>
                <a:lnTo>
                  <a:pt x="3711" y="1863"/>
                </a:lnTo>
                <a:lnTo>
                  <a:pt x="3708" y="1879"/>
                </a:lnTo>
                <a:lnTo>
                  <a:pt x="3706" y="1895"/>
                </a:lnTo>
                <a:lnTo>
                  <a:pt x="3705" y="1912"/>
                </a:lnTo>
                <a:lnTo>
                  <a:pt x="3704" y="1930"/>
                </a:lnTo>
                <a:lnTo>
                  <a:pt x="3703" y="1947"/>
                </a:lnTo>
                <a:lnTo>
                  <a:pt x="3703" y="1947"/>
                </a:lnTo>
                <a:lnTo>
                  <a:pt x="3704" y="1970"/>
                </a:lnTo>
                <a:lnTo>
                  <a:pt x="3707" y="1993"/>
                </a:lnTo>
                <a:lnTo>
                  <a:pt x="3711" y="2016"/>
                </a:lnTo>
                <a:lnTo>
                  <a:pt x="3716" y="2039"/>
                </a:lnTo>
                <a:lnTo>
                  <a:pt x="3729" y="2087"/>
                </a:lnTo>
                <a:lnTo>
                  <a:pt x="3736" y="2113"/>
                </a:lnTo>
                <a:lnTo>
                  <a:pt x="3742" y="2139"/>
                </a:lnTo>
                <a:lnTo>
                  <a:pt x="3749" y="2168"/>
                </a:lnTo>
                <a:lnTo>
                  <a:pt x="3753" y="2197"/>
                </a:lnTo>
                <a:lnTo>
                  <a:pt x="3757" y="2227"/>
                </a:lnTo>
                <a:lnTo>
                  <a:pt x="3758" y="2260"/>
                </a:lnTo>
                <a:lnTo>
                  <a:pt x="3758" y="2295"/>
                </a:lnTo>
                <a:lnTo>
                  <a:pt x="3757" y="2313"/>
                </a:lnTo>
                <a:lnTo>
                  <a:pt x="3755" y="2332"/>
                </a:lnTo>
                <a:lnTo>
                  <a:pt x="3753" y="2350"/>
                </a:lnTo>
                <a:lnTo>
                  <a:pt x="3750" y="2371"/>
                </a:lnTo>
                <a:lnTo>
                  <a:pt x="3745" y="2391"/>
                </a:lnTo>
                <a:lnTo>
                  <a:pt x="3741" y="2411"/>
                </a:lnTo>
                <a:lnTo>
                  <a:pt x="3741" y="2411"/>
                </a:lnTo>
                <a:lnTo>
                  <a:pt x="3741" y="2413"/>
                </a:lnTo>
                <a:lnTo>
                  <a:pt x="3741" y="2414"/>
                </a:lnTo>
                <a:lnTo>
                  <a:pt x="3743" y="2414"/>
                </a:lnTo>
                <a:lnTo>
                  <a:pt x="3745" y="2416"/>
                </a:lnTo>
                <a:lnTo>
                  <a:pt x="3753" y="2413"/>
                </a:lnTo>
                <a:lnTo>
                  <a:pt x="3762" y="2411"/>
                </a:lnTo>
                <a:lnTo>
                  <a:pt x="3785" y="2401"/>
                </a:lnTo>
                <a:lnTo>
                  <a:pt x="3814" y="2389"/>
                </a:lnTo>
                <a:lnTo>
                  <a:pt x="3842" y="2374"/>
                </a:lnTo>
                <a:lnTo>
                  <a:pt x="3867" y="2360"/>
                </a:lnTo>
                <a:lnTo>
                  <a:pt x="3886" y="2349"/>
                </a:lnTo>
                <a:lnTo>
                  <a:pt x="3891" y="2345"/>
                </a:lnTo>
                <a:lnTo>
                  <a:pt x="3894" y="2343"/>
                </a:lnTo>
                <a:lnTo>
                  <a:pt x="3894" y="2343"/>
                </a:lnTo>
                <a:lnTo>
                  <a:pt x="3903" y="2319"/>
                </a:lnTo>
                <a:lnTo>
                  <a:pt x="3910" y="2296"/>
                </a:lnTo>
                <a:lnTo>
                  <a:pt x="3916" y="2272"/>
                </a:lnTo>
                <a:lnTo>
                  <a:pt x="3921" y="2248"/>
                </a:lnTo>
                <a:lnTo>
                  <a:pt x="3925" y="2224"/>
                </a:lnTo>
                <a:lnTo>
                  <a:pt x="3928" y="2201"/>
                </a:lnTo>
                <a:lnTo>
                  <a:pt x="3930" y="2178"/>
                </a:lnTo>
                <a:lnTo>
                  <a:pt x="3932" y="2156"/>
                </a:lnTo>
                <a:lnTo>
                  <a:pt x="3932" y="2117"/>
                </a:lnTo>
                <a:lnTo>
                  <a:pt x="3931" y="2086"/>
                </a:lnTo>
                <a:lnTo>
                  <a:pt x="3928" y="2059"/>
                </a:lnTo>
                <a:lnTo>
                  <a:pt x="3928" y="2059"/>
                </a:lnTo>
                <a:lnTo>
                  <a:pt x="3939" y="2068"/>
                </a:lnTo>
                <a:lnTo>
                  <a:pt x="3947" y="2079"/>
                </a:lnTo>
                <a:lnTo>
                  <a:pt x="3954" y="2091"/>
                </a:lnTo>
                <a:lnTo>
                  <a:pt x="3960" y="2105"/>
                </a:lnTo>
                <a:lnTo>
                  <a:pt x="3964" y="2120"/>
                </a:lnTo>
                <a:lnTo>
                  <a:pt x="3968" y="2135"/>
                </a:lnTo>
                <a:lnTo>
                  <a:pt x="3971" y="2152"/>
                </a:lnTo>
                <a:lnTo>
                  <a:pt x="3973" y="2168"/>
                </a:lnTo>
                <a:lnTo>
                  <a:pt x="3975" y="2185"/>
                </a:lnTo>
                <a:lnTo>
                  <a:pt x="3976" y="2203"/>
                </a:lnTo>
                <a:lnTo>
                  <a:pt x="3976" y="2219"/>
                </a:lnTo>
                <a:lnTo>
                  <a:pt x="3975" y="2237"/>
                </a:lnTo>
                <a:lnTo>
                  <a:pt x="3971" y="2268"/>
                </a:lnTo>
                <a:lnTo>
                  <a:pt x="3965" y="2297"/>
                </a:lnTo>
                <a:lnTo>
                  <a:pt x="3965" y="2297"/>
                </a:lnTo>
                <a:lnTo>
                  <a:pt x="3982" y="2288"/>
                </a:lnTo>
                <a:lnTo>
                  <a:pt x="3998" y="2276"/>
                </a:lnTo>
                <a:lnTo>
                  <a:pt x="4016" y="2263"/>
                </a:lnTo>
                <a:lnTo>
                  <a:pt x="4036" y="2249"/>
                </a:lnTo>
                <a:lnTo>
                  <a:pt x="4053" y="2234"/>
                </a:lnTo>
                <a:lnTo>
                  <a:pt x="4061" y="2226"/>
                </a:lnTo>
                <a:lnTo>
                  <a:pt x="4068" y="2219"/>
                </a:lnTo>
                <a:lnTo>
                  <a:pt x="4072" y="2212"/>
                </a:lnTo>
                <a:lnTo>
                  <a:pt x="4075" y="2206"/>
                </a:lnTo>
                <a:lnTo>
                  <a:pt x="4075" y="2206"/>
                </a:lnTo>
                <a:lnTo>
                  <a:pt x="4083" y="2176"/>
                </a:lnTo>
                <a:lnTo>
                  <a:pt x="4090" y="2148"/>
                </a:lnTo>
                <a:lnTo>
                  <a:pt x="4094" y="2121"/>
                </a:lnTo>
                <a:lnTo>
                  <a:pt x="4096" y="2095"/>
                </a:lnTo>
                <a:lnTo>
                  <a:pt x="4096" y="2071"/>
                </a:lnTo>
                <a:lnTo>
                  <a:pt x="4095" y="2047"/>
                </a:lnTo>
                <a:lnTo>
                  <a:pt x="4093" y="2025"/>
                </a:lnTo>
                <a:lnTo>
                  <a:pt x="4090" y="2003"/>
                </a:lnTo>
                <a:lnTo>
                  <a:pt x="4085" y="1983"/>
                </a:lnTo>
                <a:lnTo>
                  <a:pt x="4080" y="1964"/>
                </a:lnTo>
                <a:lnTo>
                  <a:pt x="4075" y="1945"/>
                </a:lnTo>
                <a:lnTo>
                  <a:pt x="4069" y="1928"/>
                </a:lnTo>
                <a:lnTo>
                  <a:pt x="4055" y="1894"/>
                </a:lnTo>
                <a:lnTo>
                  <a:pt x="4043" y="1862"/>
                </a:lnTo>
                <a:lnTo>
                  <a:pt x="4043" y="1862"/>
                </a:lnTo>
                <a:lnTo>
                  <a:pt x="4038" y="1847"/>
                </a:lnTo>
                <a:lnTo>
                  <a:pt x="4035" y="1832"/>
                </a:lnTo>
                <a:lnTo>
                  <a:pt x="4034" y="1817"/>
                </a:lnTo>
                <a:lnTo>
                  <a:pt x="4035" y="1802"/>
                </a:lnTo>
                <a:lnTo>
                  <a:pt x="4037" y="1788"/>
                </a:lnTo>
                <a:lnTo>
                  <a:pt x="4041" y="1773"/>
                </a:lnTo>
                <a:lnTo>
                  <a:pt x="4046" y="1759"/>
                </a:lnTo>
                <a:lnTo>
                  <a:pt x="4053" y="1746"/>
                </a:lnTo>
                <a:lnTo>
                  <a:pt x="4061" y="1733"/>
                </a:lnTo>
                <a:lnTo>
                  <a:pt x="4071" y="1719"/>
                </a:lnTo>
                <a:lnTo>
                  <a:pt x="4081" y="1707"/>
                </a:lnTo>
                <a:lnTo>
                  <a:pt x="4092" y="1696"/>
                </a:lnTo>
                <a:lnTo>
                  <a:pt x="4103" y="1684"/>
                </a:lnTo>
                <a:lnTo>
                  <a:pt x="4117" y="1673"/>
                </a:lnTo>
                <a:lnTo>
                  <a:pt x="4130" y="1664"/>
                </a:lnTo>
                <a:lnTo>
                  <a:pt x="4145" y="1655"/>
                </a:lnTo>
                <a:lnTo>
                  <a:pt x="4145" y="1655"/>
                </a:lnTo>
                <a:lnTo>
                  <a:pt x="4180" y="1674"/>
                </a:lnTo>
                <a:lnTo>
                  <a:pt x="4215" y="1695"/>
                </a:lnTo>
                <a:lnTo>
                  <a:pt x="4251" y="1716"/>
                </a:lnTo>
                <a:lnTo>
                  <a:pt x="4286" y="1740"/>
                </a:lnTo>
                <a:lnTo>
                  <a:pt x="4286" y="1740"/>
                </a:lnTo>
                <a:lnTo>
                  <a:pt x="4307" y="1754"/>
                </a:lnTo>
                <a:lnTo>
                  <a:pt x="4341" y="1779"/>
                </a:lnTo>
                <a:lnTo>
                  <a:pt x="4361" y="1794"/>
                </a:lnTo>
                <a:lnTo>
                  <a:pt x="4382" y="1812"/>
                </a:lnTo>
                <a:lnTo>
                  <a:pt x="4405" y="1832"/>
                </a:lnTo>
                <a:lnTo>
                  <a:pt x="4430" y="1853"/>
                </a:lnTo>
                <a:lnTo>
                  <a:pt x="4453" y="1877"/>
                </a:lnTo>
                <a:lnTo>
                  <a:pt x="4478" y="1901"/>
                </a:lnTo>
                <a:lnTo>
                  <a:pt x="4501" y="1928"/>
                </a:lnTo>
                <a:lnTo>
                  <a:pt x="4524" y="1956"/>
                </a:lnTo>
                <a:lnTo>
                  <a:pt x="4545" y="1985"/>
                </a:lnTo>
                <a:lnTo>
                  <a:pt x="4564" y="2016"/>
                </a:lnTo>
                <a:lnTo>
                  <a:pt x="4574" y="2031"/>
                </a:lnTo>
                <a:lnTo>
                  <a:pt x="4582" y="2047"/>
                </a:lnTo>
                <a:lnTo>
                  <a:pt x="4590" y="2064"/>
                </a:lnTo>
                <a:lnTo>
                  <a:pt x="4596" y="2080"/>
                </a:lnTo>
                <a:lnTo>
                  <a:pt x="4596" y="2080"/>
                </a:lnTo>
                <a:lnTo>
                  <a:pt x="4606" y="2106"/>
                </a:lnTo>
                <a:lnTo>
                  <a:pt x="4616" y="2130"/>
                </a:lnTo>
                <a:lnTo>
                  <a:pt x="4624" y="2155"/>
                </a:lnTo>
                <a:lnTo>
                  <a:pt x="4630" y="2178"/>
                </a:lnTo>
                <a:lnTo>
                  <a:pt x="4636" y="2202"/>
                </a:lnTo>
                <a:lnTo>
                  <a:pt x="4641" y="2224"/>
                </a:lnTo>
                <a:lnTo>
                  <a:pt x="4645" y="2246"/>
                </a:lnTo>
                <a:lnTo>
                  <a:pt x="4649" y="2266"/>
                </a:lnTo>
                <a:lnTo>
                  <a:pt x="4651" y="2287"/>
                </a:lnTo>
                <a:lnTo>
                  <a:pt x="4653" y="2306"/>
                </a:lnTo>
                <a:lnTo>
                  <a:pt x="4654" y="2325"/>
                </a:lnTo>
                <a:lnTo>
                  <a:pt x="4655" y="2343"/>
                </a:lnTo>
                <a:lnTo>
                  <a:pt x="4654" y="2377"/>
                </a:lnTo>
                <a:lnTo>
                  <a:pt x="4652" y="2408"/>
                </a:lnTo>
                <a:lnTo>
                  <a:pt x="4648" y="2437"/>
                </a:lnTo>
                <a:lnTo>
                  <a:pt x="4642" y="2464"/>
                </a:lnTo>
                <a:lnTo>
                  <a:pt x="4635" y="2487"/>
                </a:lnTo>
                <a:lnTo>
                  <a:pt x="4628" y="2509"/>
                </a:lnTo>
                <a:lnTo>
                  <a:pt x="4620" y="2527"/>
                </a:lnTo>
                <a:lnTo>
                  <a:pt x="4612" y="2544"/>
                </a:lnTo>
                <a:lnTo>
                  <a:pt x="4603" y="2559"/>
                </a:lnTo>
                <a:lnTo>
                  <a:pt x="4596" y="2570"/>
                </a:lnTo>
                <a:lnTo>
                  <a:pt x="4596" y="2570"/>
                </a:lnTo>
                <a:lnTo>
                  <a:pt x="4582" y="2590"/>
                </a:lnTo>
                <a:lnTo>
                  <a:pt x="4568" y="2611"/>
                </a:lnTo>
                <a:lnTo>
                  <a:pt x="4553" y="2629"/>
                </a:lnTo>
                <a:lnTo>
                  <a:pt x="4538" y="2648"/>
                </a:lnTo>
                <a:lnTo>
                  <a:pt x="4522" y="2665"/>
                </a:lnTo>
                <a:lnTo>
                  <a:pt x="4505" y="2681"/>
                </a:lnTo>
                <a:lnTo>
                  <a:pt x="4487" y="2697"/>
                </a:lnTo>
                <a:lnTo>
                  <a:pt x="4469" y="2711"/>
                </a:lnTo>
                <a:lnTo>
                  <a:pt x="4450" y="2724"/>
                </a:lnTo>
                <a:lnTo>
                  <a:pt x="4430" y="2736"/>
                </a:lnTo>
                <a:lnTo>
                  <a:pt x="4409" y="2747"/>
                </a:lnTo>
                <a:lnTo>
                  <a:pt x="4388" y="2756"/>
                </a:lnTo>
                <a:lnTo>
                  <a:pt x="4364" y="2764"/>
                </a:lnTo>
                <a:lnTo>
                  <a:pt x="4341" y="2771"/>
                </a:lnTo>
                <a:lnTo>
                  <a:pt x="4316" y="2776"/>
                </a:lnTo>
                <a:lnTo>
                  <a:pt x="4290" y="2779"/>
                </a:lnTo>
                <a:lnTo>
                  <a:pt x="4290" y="2779"/>
                </a:lnTo>
                <a:lnTo>
                  <a:pt x="4283" y="2778"/>
                </a:lnTo>
                <a:lnTo>
                  <a:pt x="4275" y="2778"/>
                </a:lnTo>
                <a:lnTo>
                  <a:pt x="4275" y="2778"/>
                </a:lnTo>
                <a:lnTo>
                  <a:pt x="4242" y="2779"/>
                </a:lnTo>
                <a:lnTo>
                  <a:pt x="4213" y="2779"/>
                </a:lnTo>
                <a:lnTo>
                  <a:pt x="4185" y="2778"/>
                </a:lnTo>
                <a:lnTo>
                  <a:pt x="4159" y="2775"/>
                </a:lnTo>
                <a:lnTo>
                  <a:pt x="4159" y="2775"/>
                </a:lnTo>
                <a:lnTo>
                  <a:pt x="4131" y="2770"/>
                </a:lnTo>
                <a:lnTo>
                  <a:pt x="4103" y="2765"/>
                </a:lnTo>
                <a:lnTo>
                  <a:pt x="4077" y="2758"/>
                </a:lnTo>
                <a:lnTo>
                  <a:pt x="4052" y="2751"/>
                </a:lnTo>
                <a:lnTo>
                  <a:pt x="4052" y="2751"/>
                </a:lnTo>
                <a:lnTo>
                  <a:pt x="4009" y="2736"/>
                </a:lnTo>
                <a:lnTo>
                  <a:pt x="3965" y="2717"/>
                </a:lnTo>
                <a:lnTo>
                  <a:pt x="3965" y="2717"/>
                </a:lnTo>
                <a:lnTo>
                  <a:pt x="3925" y="2697"/>
                </a:lnTo>
                <a:lnTo>
                  <a:pt x="3874" y="2669"/>
                </a:lnTo>
                <a:lnTo>
                  <a:pt x="3846" y="2652"/>
                </a:lnTo>
                <a:lnTo>
                  <a:pt x="3815" y="2632"/>
                </a:lnTo>
                <a:lnTo>
                  <a:pt x="3782" y="2612"/>
                </a:lnTo>
                <a:lnTo>
                  <a:pt x="3748" y="2588"/>
                </a:lnTo>
                <a:lnTo>
                  <a:pt x="3712" y="2564"/>
                </a:lnTo>
                <a:lnTo>
                  <a:pt x="3676" y="2536"/>
                </a:lnTo>
                <a:lnTo>
                  <a:pt x="3638" y="2508"/>
                </a:lnTo>
                <a:lnTo>
                  <a:pt x="3601" y="2477"/>
                </a:lnTo>
                <a:lnTo>
                  <a:pt x="3563" y="2444"/>
                </a:lnTo>
                <a:lnTo>
                  <a:pt x="3526" y="2409"/>
                </a:lnTo>
                <a:lnTo>
                  <a:pt x="3488" y="2373"/>
                </a:lnTo>
                <a:lnTo>
                  <a:pt x="3451" y="2335"/>
                </a:lnTo>
                <a:lnTo>
                  <a:pt x="3451" y="2335"/>
                </a:lnTo>
                <a:lnTo>
                  <a:pt x="3394" y="2271"/>
                </a:lnTo>
                <a:lnTo>
                  <a:pt x="3342" y="2212"/>
                </a:lnTo>
                <a:lnTo>
                  <a:pt x="3295" y="2157"/>
                </a:lnTo>
                <a:lnTo>
                  <a:pt x="3253" y="2107"/>
                </a:lnTo>
                <a:lnTo>
                  <a:pt x="3215" y="2060"/>
                </a:lnTo>
                <a:lnTo>
                  <a:pt x="3180" y="2017"/>
                </a:lnTo>
                <a:lnTo>
                  <a:pt x="3120" y="1940"/>
                </a:lnTo>
                <a:lnTo>
                  <a:pt x="3120" y="1940"/>
                </a:lnTo>
                <a:lnTo>
                  <a:pt x="3138" y="1947"/>
                </a:lnTo>
                <a:lnTo>
                  <a:pt x="3156" y="1953"/>
                </a:lnTo>
                <a:lnTo>
                  <a:pt x="3175" y="1958"/>
                </a:lnTo>
                <a:lnTo>
                  <a:pt x="3193" y="1963"/>
                </a:lnTo>
                <a:lnTo>
                  <a:pt x="3211" y="1966"/>
                </a:lnTo>
                <a:lnTo>
                  <a:pt x="3229" y="1968"/>
                </a:lnTo>
                <a:lnTo>
                  <a:pt x="3262" y="1971"/>
                </a:lnTo>
                <a:lnTo>
                  <a:pt x="3289" y="1971"/>
                </a:lnTo>
                <a:lnTo>
                  <a:pt x="3312" y="1970"/>
                </a:lnTo>
                <a:lnTo>
                  <a:pt x="3332" y="1968"/>
                </a:lnTo>
                <a:lnTo>
                  <a:pt x="3332" y="1968"/>
                </a:lnTo>
                <a:lnTo>
                  <a:pt x="3336" y="1918"/>
                </a:lnTo>
                <a:lnTo>
                  <a:pt x="3338" y="1873"/>
                </a:lnTo>
                <a:lnTo>
                  <a:pt x="3340" y="1833"/>
                </a:lnTo>
                <a:lnTo>
                  <a:pt x="3346" y="1698"/>
                </a:lnTo>
                <a:lnTo>
                  <a:pt x="3346" y="1698"/>
                </a:lnTo>
                <a:lnTo>
                  <a:pt x="3349" y="1661"/>
                </a:lnTo>
                <a:lnTo>
                  <a:pt x="3351" y="1626"/>
                </a:lnTo>
                <a:lnTo>
                  <a:pt x="3352" y="1589"/>
                </a:lnTo>
                <a:lnTo>
                  <a:pt x="3352" y="1589"/>
                </a:lnTo>
                <a:lnTo>
                  <a:pt x="3340" y="1588"/>
                </a:lnTo>
                <a:lnTo>
                  <a:pt x="3307" y="1584"/>
                </a:lnTo>
                <a:lnTo>
                  <a:pt x="3285" y="1581"/>
                </a:lnTo>
                <a:lnTo>
                  <a:pt x="3260" y="1576"/>
                </a:lnTo>
                <a:lnTo>
                  <a:pt x="3233" y="1571"/>
                </a:lnTo>
                <a:lnTo>
                  <a:pt x="3206" y="1564"/>
                </a:lnTo>
                <a:lnTo>
                  <a:pt x="3176" y="1555"/>
                </a:lnTo>
                <a:lnTo>
                  <a:pt x="3147" y="1544"/>
                </a:lnTo>
                <a:lnTo>
                  <a:pt x="3120" y="1532"/>
                </a:lnTo>
                <a:lnTo>
                  <a:pt x="3106" y="1526"/>
                </a:lnTo>
                <a:lnTo>
                  <a:pt x="3093" y="1519"/>
                </a:lnTo>
                <a:lnTo>
                  <a:pt x="3081" y="1511"/>
                </a:lnTo>
                <a:lnTo>
                  <a:pt x="3070" y="1502"/>
                </a:lnTo>
                <a:lnTo>
                  <a:pt x="3058" y="1493"/>
                </a:lnTo>
                <a:lnTo>
                  <a:pt x="3049" y="1484"/>
                </a:lnTo>
                <a:lnTo>
                  <a:pt x="3040" y="1474"/>
                </a:lnTo>
                <a:lnTo>
                  <a:pt x="3032" y="1463"/>
                </a:lnTo>
                <a:lnTo>
                  <a:pt x="3025" y="1451"/>
                </a:lnTo>
                <a:lnTo>
                  <a:pt x="3019" y="1439"/>
                </a:lnTo>
                <a:lnTo>
                  <a:pt x="3019" y="1439"/>
                </a:lnTo>
                <a:lnTo>
                  <a:pt x="3030" y="1445"/>
                </a:lnTo>
                <a:lnTo>
                  <a:pt x="3042" y="1450"/>
                </a:lnTo>
                <a:lnTo>
                  <a:pt x="3059" y="1457"/>
                </a:lnTo>
                <a:lnTo>
                  <a:pt x="3081" y="1465"/>
                </a:lnTo>
                <a:lnTo>
                  <a:pt x="3106" y="1472"/>
                </a:lnTo>
                <a:lnTo>
                  <a:pt x="3136" y="1477"/>
                </a:lnTo>
                <a:lnTo>
                  <a:pt x="3152" y="1479"/>
                </a:lnTo>
                <a:lnTo>
                  <a:pt x="3169" y="1480"/>
                </a:lnTo>
                <a:lnTo>
                  <a:pt x="3169" y="1480"/>
                </a:lnTo>
                <a:lnTo>
                  <a:pt x="3201" y="1481"/>
                </a:lnTo>
                <a:lnTo>
                  <a:pt x="3234" y="1481"/>
                </a:lnTo>
                <a:lnTo>
                  <a:pt x="3266" y="1479"/>
                </a:lnTo>
                <a:lnTo>
                  <a:pt x="3295" y="1477"/>
                </a:lnTo>
                <a:lnTo>
                  <a:pt x="3340" y="1471"/>
                </a:lnTo>
                <a:lnTo>
                  <a:pt x="3357" y="1469"/>
                </a:lnTo>
                <a:lnTo>
                  <a:pt x="3357" y="1469"/>
                </a:lnTo>
                <a:lnTo>
                  <a:pt x="3359" y="1463"/>
                </a:lnTo>
                <a:lnTo>
                  <a:pt x="3361" y="1451"/>
                </a:lnTo>
                <a:lnTo>
                  <a:pt x="3364" y="1421"/>
                </a:lnTo>
                <a:lnTo>
                  <a:pt x="3367" y="1381"/>
                </a:lnTo>
                <a:lnTo>
                  <a:pt x="3369" y="1337"/>
                </a:lnTo>
                <a:lnTo>
                  <a:pt x="3373" y="1257"/>
                </a:lnTo>
                <a:lnTo>
                  <a:pt x="3375" y="1222"/>
                </a:lnTo>
                <a:lnTo>
                  <a:pt x="3375" y="1222"/>
                </a:lnTo>
                <a:lnTo>
                  <a:pt x="3376" y="1194"/>
                </a:lnTo>
                <a:lnTo>
                  <a:pt x="3377" y="1154"/>
                </a:lnTo>
                <a:lnTo>
                  <a:pt x="3377" y="1105"/>
                </a:lnTo>
                <a:lnTo>
                  <a:pt x="3377" y="1105"/>
                </a:lnTo>
                <a:lnTo>
                  <a:pt x="3369" y="1107"/>
                </a:lnTo>
                <a:lnTo>
                  <a:pt x="3359" y="1108"/>
                </a:lnTo>
                <a:lnTo>
                  <a:pt x="3338" y="1110"/>
                </a:lnTo>
                <a:lnTo>
                  <a:pt x="3315" y="1109"/>
                </a:lnTo>
                <a:lnTo>
                  <a:pt x="3290" y="1107"/>
                </a:lnTo>
                <a:lnTo>
                  <a:pt x="3264" y="1104"/>
                </a:lnTo>
                <a:lnTo>
                  <a:pt x="3236" y="1100"/>
                </a:lnTo>
                <a:lnTo>
                  <a:pt x="3208" y="1094"/>
                </a:lnTo>
                <a:lnTo>
                  <a:pt x="3178" y="1086"/>
                </a:lnTo>
                <a:lnTo>
                  <a:pt x="3178" y="1086"/>
                </a:lnTo>
                <a:lnTo>
                  <a:pt x="3158" y="1080"/>
                </a:lnTo>
                <a:lnTo>
                  <a:pt x="3135" y="1071"/>
                </a:lnTo>
                <a:lnTo>
                  <a:pt x="3112" y="1059"/>
                </a:lnTo>
                <a:lnTo>
                  <a:pt x="3088" y="1044"/>
                </a:lnTo>
                <a:lnTo>
                  <a:pt x="3064" y="1028"/>
                </a:lnTo>
                <a:lnTo>
                  <a:pt x="3053" y="1019"/>
                </a:lnTo>
                <a:lnTo>
                  <a:pt x="3043" y="1010"/>
                </a:lnTo>
                <a:lnTo>
                  <a:pt x="3034" y="999"/>
                </a:lnTo>
                <a:lnTo>
                  <a:pt x="3025" y="990"/>
                </a:lnTo>
                <a:lnTo>
                  <a:pt x="3017" y="980"/>
                </a:lnTo>
                <a:lnTo>
                  <a:pt x="3010" y="969"/>
                </a:lnTo>
                <a:lnTo>
                  <a:pt x="3010" y="969"/>
                </a:lnTo>
                <a:lnTo>
                  <a:pt x="3022" y="974"/>
                </a:lnTo>
                <a:lnTo>
                  <a:pt x="3035" y="978"/>
                </a:lnTo>
                <a:lnTo>
                  <a:pt x="3052" y="984"/>
                </a:lnTo>
                <a:lnTo>
                  <a:pt x="3075" y="990"/>
                </a:lnTo>
                <a:lnTo>
                  <a:pt x="3101" y="996"/>
                </a:lnTo>
                <a:lnTo>
                  <a:pt x="3132" y="1003"/>
                </a:lnTo>
                <a:lnTo>
                  <a:pt x="3167" y="1008"/>
                </a:lnTo>
                <a:lnTo>
                  <a:pt x="3167" y="1008"/>
                </a:lnTo>
                <a:lnTo>
                  <a:pt x="3187" y="1010"/>
                </a:lnTo>
                <a:lnTo>
                  <a:pt x="3207" y="1011"/>
                </a:lnTo>
                <a:lnTo>
                  <a:pt x="3226" y="1012"/>
                </a:lnTo>
                <a:lnTo>
                  <a:pt x="3245" y="1012"/>
                </a:lnTo>
                <a:lnTo>
                  <a:pt x="3283" y="1010"/>
                </a:lnTo>
                <a:lnTo>
                  <a:pt x="3317" y="1007"/>
                </a:lnTo>
                <a:lnTo>
                  <a:pt x="3346" y="1001"/>
                </a:lnTo>
                <a:lnTo>
                  <a:pt x="3369" y="996"/>
                </a:lnTo>
                <a:lnTo>
                  <a:pt x="3377" y="993"/>
                </a:lnTo>
                <a:lnTo>
                  <a:pt x="3383" y="991"/>
                </a:lnTo>
                <a:lnTo>
                  <a:pt x="3388" y="988"/>
                </a:lnTo>
                <a:lnTo>
                  <a:pt x="3390" y="985"/>
                </a:lnTo>
                <a:lnTo>
                  <a:pt x="3390" y="985"/>
                </a:lnTo>
                <a:lnTo>
                  <a:pt x="3392" y="959"/>
                </a:lnTo>
                <a:lnTo>
                  <a:pt x="3393" y="925"/>
                </a:lnTo>
                <a:lnTo>
                  <a:pt x="3394" y="848"/>
                </a:lnTo>
                <a:lnTo>
                  <a:pt x="3394" y="750"/>
                </a:lnTo>
                <a:lnTo>
                  <a:pt x="3394" y="750"/>
                </a:lnTo>
                <a:lnTo>
                  <a:pt x="3399" y="686"/>
                </a:lnTo>
                <a:lnTo>
                  <a:pt x="3400" y="642"/>
                </a:lnTo>
                <a:lnTo>
                  <a:pt x="3400" y="627"/>
                </a:lnTo>
                <a:lnTo>
                  <a:pt x="3399" y="623"/>
                </a:lnTo>
                <a:lnTo>
                  <a:pt x="3398" y="622"/>
                </a:lnTo>
                <a:lnTo>
                  <a:pt x="3398" y="622"/>
                </a:lnTo>
                <a:lnTo>
                  <a:pt x="3392" y="622"/>
                </a:lnTo>
                <a:lnTo>
                  <a:pt x="3381" y="623"/>
                </a:lnTo>
                <a:lnTo>
                  <a:pt x="3368" y="623"/>
                </a:lnTo>
                <a:lnTo>
                  <a:pt x="3354" y="622"/>
                </a:lnTo>
                <a:lnTo>
                  <a:pt x="3336" y="620"/>
                </a:lnTo>
                <a:lnTo>
                  <a:pt x="3317" y="617"/>
                </a:lnTo>
                <a:lnTo>
                  <a:pt x="3297" y="612"/>
                </a:lnTo>
                <a:lnTo>
                  <a:pt x="3274" y="607"/>
                </a:lnTo>
                <a:lnTo>
                  <a:pt x="3251" y="599"/>
                </a:lnTo>
                <a:lnTo>
                  <a:pt x="3226" y="589"/>
                </a:lnTo>
                <a:lnTo>
                  <a:pt x="3200" y="578"/>
                </a:lnTo>
                <a:lnTo>
                  <a:pt x="3175" y="564"/>
                </a:lnTo>
                <a:lnTo>
                  <a:pt x="3149" y="548"/>
                </a:lnTo>
                <a:lnTo>
                  <a:pt x="3123" y="529"/>
                </a:lnTo>
                <a:lnTo>
                  <a:pt x="3110" y="519"/>
                </a:lnTo>
                <a:lnTo>
                  <a:pt x="3097" y="508"/>
                </a:lnTo>
                <a:lnTo>
                  <a:pt x="3085" y="495"/>
                </a:lnTo>
                <a:lnTo>
                  <a:pt x="3073" y="483"/>
                </a:lnTo>
                <a:lnTo>
                  <a:pt x="3073" y="483"/>
                </a:lnTo>
                <a:lnTo>
                  <a:pt x="3071" y="481"/>
                </a:lnTo>
                <a:lnTo>
                  <a:pt x="3065" y="476"/>
                </a:lnTo>
                <a:lnTo>
                  <a:pt x="3059" y="467"/>
                </a:lnTo>
                <a:lnTo>
                  <a:pt x="3056" y="461"/>
                </a:lnTo>
                <a:lnTo>
                  <a:pt x="3053" y="454"/>
                </a:lnTo>
                <a:lnTo>
                  <a:pt x="3051" y="447"/>
                </a:lnTo>
                <a:lnTo>
                  <a:pt x="3050" y="439"/>
                </a:lnTo>
                <a:lnTo>
                  <a:pt x="3049" y="430"/>
                </a:lnTo>
                <a:lnTo>
                  <a:pt x="3050" y="420"/>
                </a:lnTo>
                <a:lnTo>
                  <a:pt x="3053" y="410"/>
                </a:lnTo>
                <a:lnTo>
                  <a:pt x="3056" y="398"/>
                </a:lnTo>
                <a:lnTo>
                  <a:pt x="3062" y="386"/>
                </a:lnTo>
                <a:lnTo>
                  <a:pt x="3071" y="373"/>
                </a:lnTo>
                <a:lnTo>
                  <a:pt x="3071" y="373"/>
                </a:lnTo>
                <a:lnTo>
                  <a:pt x="2806" y="254"/>
                </a:lnTo>
                <a:lnTo>
                  <a:pt x="2806" y="254"/>
                </a:lnTo>
                <a:lnTo>
                  <a:pt x="2815" y="245"/>
                </a:lnTo>
                <a:lnTo>
                  <a:pt x="2824" y="234"/>
                </a:lnTo>
                <a:lnTo>
                  <a:pt x="2834" y="219"/>
                </a:lnTo>
                <a:lnTo>
                  <a:pt x="2845" y="203"/>
                </a:lnTo>
                <a:lnTo>
                  <a:pt x="2850" y="194"/>
                </a:lnTo>
                <a:lnTo>
                  <a:pt x="2854" y="185"/>
                </a:lnTo>
                <a:lnTo>
                  <a:pt x="2858" y="174"/>
                </a:lnTo>
                <a:lnTo>
                  <a:pt x="2861" y="164"/>
                </a:lnTo>
                <a:lnTo>
                  <a:pt x="2863" y="154"/>
                </a:lnTo>
                <a:lnTo>
                  <a:pt x="2863" y="144"/>
                </a:lnTo>
                <a:lnTo>
                  <a:pt x="2863" y="144"/>
                </a:lnTo>
                <a:lnTo>
                  <a:pt x="2863" y="132"/>
                </a:lnTo>
                <a:lnTo>
                  <a:pt x="2860" y="122"/>
                </a:lnTo>
                <a:lnTo>
                  <a:pt x="2855" y="112"/>
                </a:lnTo>
                <a:lnTo>
                  <a:pt x="2849" y="103"/>
                </a:lnTo>
                <a:lnTo>
                  <a:pt x="2841" y="94"/>
                </a:lnTo>
                <a:lnTo>
                  <a:pt x="2830" y="86"/>
                </a:lnTo>
                <a:lnTo>
                  <a:pt x="2820" y="79"/>
                </a:lnTo>
                <a:lnTo>
                  <a:pt x="2808" y="73"/>
                </a:lnTo>
                <a:lnTo>
                  <a:pt x="2795" y="68"/>
                </a:lnTo>
                <a:lnTo>
                  <a:pt x="2781" y="64"/>
                </a:lnTo>
                <a:lnTo>
                  <a:pt x="2767" y="60"/>
                </a:lnTo>
                <a:lnTo>
                  <a:pt x="2753" y="58"/>
                </a:lnTo>
                <a:lnTo>
                  <a:pt x="2738" y="56"/>
                </a:lnTo>
                <a:lnTo>
                  <a:pt x="2723" y="56"/>
                </a:lnTo>
                <a:lnTo>
                  <a:pt x="2709" y="57"/>
                </a:lnTo>
                <a:lnTo>
                  <a:pt x="2694" y="59"/>
                </a:lnTo>
                <a:lnTo>
                  <a:pt x="2694" y="59"/>
                </a:lnTo>
                <a:lnTo>
                  <a:pt x="2681" y="62"/>
                </a:lnTo>
                <a:lnTo>
                  <a:pt x="2669" y="66"/>
                </a:lnTo>
                <a:lnTo>
                  <a:pt x="2656" y="71"/>
                </a:lnTo>
                <a:lnTo>
                  <a:pt x="2644" y="77"/>
                </a:lnTo>
                <a:lnTo>
                  <a:pt x="2634" y="84"/>
                </a:lnTo>
                <a:lnTo>
                  <a:pt x="2623" y="92"/>
                </a:lnTo>
                <a:lnTo>
                  <a:pt x="2604" y="107"/>
                </a:lnTo>
                <a:lnTo>
                  <a:pt x="2589" y="122"/>
                </a:lnTo>
                <a:lnTo>
                  <a:pt x="2578" y="134"/>
                </a:lnTo>
                <a:lnTo>
                  <a:pt x="2569" y="147"/>
                </a:lnTo>
                <a:lnTo>
                  <a:pt x="2238" y="0"/>
                </a:lnTo>
                <a:lnTo>
                  <a:pt x="1977" y="263"/>
                </a:lnTo>
                <a:lnTo>
                  <a:pt x="1977" y="263"/>
                </a:lnTo>
                <a:lnTo>
                  <a:pt x="1972" y="268"/>
                </a:lnTo>
                <a:lnTo>
                  <a:pt x="1966" y="280"/>
                </a:lnTo>
                <a:lnTo>
                  <a:pt x="1963" y="287"/>
                </a:lnTo>
                <a:lnTo>
                  <a:pt x="1961" y="295"/>
                </a:lnTo>
                <a:lnTo>
                  <a:pt x="1960" y="304"/>
                </a:lnTo>
                <a:lnTo>
                  <a:pt x="1960" y="313"/>
                </a:lnTo>
                <a:lnTo>
                  <a:pt x="1964" y="337"/>
                </a:lnTo>
                <a:lnTo>
                  <a:pt x="1964" y="337"/>
                </a:lnTo>
                <a:lnTo>
                  <a:pt x="1964" y="343"/>
                </a:lnTo>
                <a:lnTo>
                  <a:pt x="1963" y="349"/>
                </a:lnTo>
                <a:lnTo>
                  <a:pt x="1962" y="354"/>
                </a:lnTo>
                <a:lnTo>
                  <a:pt x="1961" y="358"/>
                </a:lnTo>
                <a:lnTo>
                  <a:pt x="1957" y="366"/>
                </a:lnTo>
                <a:lnTo>
                  <a:pt x="1955" y="370"/>
                </a:lnTo>
                <a:lnTo>
                  <a:pt x="1955" y="370"/>
                </a:lnTo>
                <a:lnTo>
                  <a:pt x="1936" y="392"/>
                </a:lnTo>
                <a:lnTo>
                  <a:pt x="1916" y="416"/>
                </a:lnTo>
                <a:lnTo>
                  <a:pt x="1896" y="438"/>
                </a:lnTo>
                <a:lnTo>
                  <a:pt x="1876" y="461"/>
                </a:lnTo>
                <a:lnTo>
                  <a:pt x="1876" y="461"/>
                </a:lnTo>
                <a:lnTo>
                  <a:pt x="1847" y="499"/>
                </a:lnTo>
                <a:lnTo>
                  <a:pt x="1836" y="515"/>
                </a:lnTo>
                <a:lnTo>
                  <a:pt x="1828" y="527"/>
                </a:lnTo>
                <a:lnTo>
                  <a:pt x="1828" y="527"/>
                </a:lnTo>
                <a:lnTo>
                  <a:pt x="1819" y="542"/>
                </a:lnTo>
                <a:lnTo>
                  <a:pt x="1811" y="558"/>
                </a:lnTo>
                <a:lnTo>
                  <a:pt x="1799" y="583"/>
                </a:lnTo>
                <a:lnTo>
                  <a:pt x="1789" y="607"/>
                </a:lnTo>
                <a:lnTo>
                  <a:pt x="1781" y="628"/>
                </a:lnTo>
                <a:lnTo>
                  <a:pt x="1781" y="628"/>
                </a:lnTo>
                <a:lnTo>
                  <a:pt x="1780" y="631"/>
                </a:lnTo>
                <a:lnTo>
                  <a:pt x="1778" y="642"/>
                </a:lnTo>
                <a:lnTo>
                  <a:pt x="1778" y="649"/>
                </a:lnTo>
                <a:lnTo>
                  <a:pt x="1777" y="657"/>
                </a:lnTo>
                <a:lnTo>
                  <a:pt x="1778" y="666"/>
                </a:lnTo>
                <a:lnTo>
                  <a:pt x="1780" y="677"/>
                </a:lnTo>
                <a:lnTo>
                  <a:pt x="1784" y="690"/>
                </a:lnTo>
                <a:lnTo>
                  <a:pt x="1789" y="703"/>
                </a:lnTo>
                <a:lnTo>
                  <a:pt x="1797" y="716"/>
                </a:lnTo>
                <a:lnTo>
                  <a:pt x="1807" y="732"/>
                </a:lnTo>
                <a:lnTo>
                  <a:pt x="1819" y="748"/>
                </a:lnTo>
                <a:lnTo>
                  <a:pt x="1833" y="764"/>
                </a:lnTo>
                <a:lnTo>
                  <a:pt x="1852" y="782"/>
                </a:lnTo>
                <a:lnTo>
                  <a:pt x="1874" y="800"/>
                </a:lnTo>
                <a:lnTo>
                  <a:pt x="1881" y="806"/>
                </a:lnTo>
                <a:lnTo>
                  <a:pt x="1881" y="806"/>
                </a:lnTo>
                <a:lnTo>
                  <a:pt x="1894" y="789"/>
                </a:lnTo>
                <a:lnTo>
                  <a:pt x="1905" y="800"/>
                </a:lnTo>
                <a:lnTo>
                  <a:pt x="1905" y="800"/>
                </a:lnTo>
                <a:lnTo>
                  <a:pt x="1914" y="809"/>
                </a:lnTo>
                <a:lnTo>
                  <a:pt x="1926" y="820"/>
                </a:lnTo>
                <a:lnTo>
                  <a:pt x="1941" y="832"/>
                </a:lnTo>
                <a:lnTo>
                  <a:pt x="1957" y="842"/>
                </a:lnTo>
                <a:lnTo>
                  <a:pt x="1957" y="842"/>
                </a:lnTo>
                <a:lnTo>
                  <a:pt x="1959" y="835"/>
                </a:lnTo>
                <a:lnTo>
                  <a:pt x="1964" y="815"/>
                </a:lnTo>
                <a:lnTo>
                  <a:pt x="1969" y="802"/>
                </a:lnTo>
                <a:lnTo>
                  <a:pt x="1975" y="789"/>
                </a:lnTo>
                <a:lnTo>
                  <a:pt x="1983" y="775"/>
                </a:lnTo>
                <a:lnTo>
                  <a:pt x="1991" y="760"/>
                </a:lnTo>
                <a:lnTo>
                  <a:pt x="1991" y="760"/>
                </a:lnTo>
                <a:lnTo>
                  <a:pt x="2000" y="748"/>
                </a:lnTo>
                <a:lnTo>
                  <a:pt x="2011" y="736"/>
                </a:lnTo>
                <a:lnTo>
                  <a:pt x="2025" y="722"/>
                </a:lnTo>
                <a:lnTo>
                  <a:pt x="2038" y="709"/>
                </a:lnTo>
                <a:lnTo>
                  <a:pt x="2052" y="697"/>
                </a:lnTo>
                <a:lnTo>
                  <a:pt x="2065" y="686"/>
                </a:lnTo>
                <a:lnTo>
                  <a:pt x="2080" y="675"/>
                </a:lnTo>
                <a:lnTo>
                  <a:pt x="2092" y="667"/>
                </a:lnTo>
                <a:lnTo>
                  <a:pt x="2092" y="667"/>
                </a:lnTo>
                <a:lnTo>
                  <a:pt x="2107" y="658"/>
                </a:lnTo>
                <a:lnTo>
                  <a:pt x="2123" y="650"/>
                </a:lnTo>
                <a:lnTo>
                  <a:pt x="2138" y="643"/>
                </a:lnTo>
                <a:lnTo>
                  <a:pt x="2154" y="636"/>
                </a:lnTo>
                <a:lnTo>
                  <a:pt x="2170" y="632"/>
                </a:lnTo>
                <a:lnTo>
                  <a:pt x="2186" y="629"/>
                </a:lnTo>
                <a:lnTo>
                  <a:pt x="2202" y="626"/>
                </a:lnTo>
                <a:lnTo>
                  <a:pt x="2220" y="625"/>
                </a:lnTo>
                <a:lnTo>
                  <a:pt x="2220" y="625"/>
                </a:lnTo>
                <a:lnTo>
                  <a:pt x="2234" y="626"/>
                </a:lnTo>
                <a:lnTo>
                  <a:pt x="2247" y="627"/>
                </a:lnTo>
                <a:lnTo>
                  <a:pt x="2261" y="630"/>
                </a:lnTo>
                <a:lnTo>
                  <a:pt x="2272" y="635"/>
                </a:lnTo>
                <a:lnTo>
                  <a:pt x="2283" y="642"/>
                </a:lnTo>
                <a:lnTo>
                  <a:pt x="2295" y="649"/>
                </a:lnTo>
                <a:lnTo>
                  <a:pt x="2305" y="658"/>
                </a:lnTo>
                <a:lnTo>
                  <a:pt x="2316" y="668"/>
                </a:lnTo>
                <a:lnTo>
                  <a:pt x="2316" y="668"/>
                </a:lnTo>
                <a:lnTo>
                  <a:pt x="2323" y="676"/>
                </a:lnTo>
                <a:lnTo>
                  <a:pt x="2330" y="687"/>
                </a:lnTo>
                <a:lnTo>
                  <a:pt x="2336" y="698"/>
                </a:lnTo>
                <a:lnTo>
                  <a:pt x="2342" y="710"/>
                </a:lnTo>
                <a:lnTo>
                  <a:pt x="2347" y="722"/>
                </a:lnTo>
                <a:lnTo>
                  <a:pt x="2351" y="736"/>
                </a:lnTo>
                <a:lnTo>
                  <a:pt x="2355" y="750"/>
                </a:lnTo>
                <a:lnTo>
                  <a:pt x="2358" y="764"/>
                </a:lnTo>
                <a:lnTo>
                  <a:pt x="2360" y="778"/>
                </a:lnTo>
                <a:lnTo>
                  <a:pt x="2362" y="792"/>
                </a:lnTo>
                <a:lnTo>
                  <a:pt x="2363" y="805"/>
                </a:lnTo>
                <a:lnTo>
                  <a:pt x="2364" y="818"/>
                </a:lnTo>
                <a:lnTo>
                  <a:pt x="2364" y="831"/>
                </a:lnTo>
                <a:lnTo>
                  <a:pt x="2363" y="842"/>
                </a:lnTo>
                <a:lnTo>
                  <a:pt x="2361" y="852"/>
                </a:lnTo>
                <a:lnTo>
                  <a:pt x="2359" y="861"/>
                </a:lnTo>
                <a:lnTo>
                  <a:pt x="2359" y="861"/>
                </a:lnTo>
                <a:lnTo>
                  <a:pt x="2330" y="843"/>
                </a:lnTo>
                <a:lnTo>
                  <a:pt x="2330" y="843"/>
                </a:lnTo>
                <a:lnTo>
                  <a:pt x="2309" y="832"/>
                </a:lnTo>
                <a:lnTo>
                  <a:pt x="2281" y="822"/>
                </a:lnTo>
                <a:lnTo>
                  <a:pt x="2266" y="815"/>
                </a:lnTo>
                <a:lnTo>
                  <a:pt x="2251" y="811"/>
                </a:lnTo>
                <a:lnTo>
                  <a:pt x="2233" y="807"/>
                </a:lnTo>
                <a:lnTo>
                  <a:pt x="2215" y="803"/>
                </a:lnTo>
                <a:lnTo>
                  <a:pt x="2195" y="801"/>
                </a:lnTo>
                <a:lnTo>
                  <a:pt x="2175" y="800"/>
                </a:lnTo>
                <a:lnTo>
                  <a:pt x="2154" y="800"/>
                </a:lnTo>
                <a:lnTo>
                  <a:pt x="2132" y="802"/>
                </a:lnTo>
                <a:lnTo>
                  <a:pt x="2109" y="805"/>
                </a:lnTo>
                <a:lnTo>
                  <a:pt x="2086" y="810"/>
                </a:lnTo>
                <a:lnTo>
                  <a:pt x="2062" y="818"/>
                </a:lnTo>
                <a:lnTo>
                  <a:pt x="2037" y="829"/>
                </a:lnTo>
                <a:lnTo>
                  <a:pt x="2037" y="829"/>
                </a:lnTo>
                <a:lnTo>
                  <a:pt x="1995" y="847"/>
                </a:lnTo>
                <a:lnTo>
                  <a:pt x="1967" y="859"/>
                </a:lnTo>
                <a:lnTo>
                  <a:pt x="1936" y="872"/>
                </a:lnTo>
                <a:lnTo>
                  <a:pt x="1900" y="886"/>
                </a:lnTo>
                <a:lnTo>
                  <a:pt x="1860" y="900"/>
                </a:lnTo>
                <a:lnTo>
                  <a:pt x="1814" y="916"/>
                </a:lnTo>
                <a:lnTo>
                  <a:pt x="1764" y="931"/>
                </a:lnTo>
                <a:lnTo>
                  <a:pt x="1764" y="931"/>
                </a:lnTo>
                <a:lnTo>
                  <a:pt x="1737" y="938"/>
                </a:lnTo>
                <a:lnTo>
                  <a:pt x="1725" y="940"/>
                </a:lnTo>
                <a:lnTo>
                  <a:pt x="1713" y="941"/>
                </a:lnTo>
                <a:lnTo>
                  <a:pt x="1701" y="941"/>
                </a:lnTo>
                <a:lnTo>
                  <a:pt x="1691" y="941"/>
                </a:lnTo>
                <a:lnTo>
                  <a:pt x="1681" y="940"/>
                </a:lnTo>
                <a:lnTo>
                  <a:pt x="1672" y="938"/>
                </a:lnTo>
                <a:lnTo>
                  <a:pt x="1664" y="935"/>
                </a:lnTo>
                <a:lnTo>
                  <a:pt x="1655" y="930"/>
                </a:lnTo>
                <a:lnTo>
                  <a:pt x="1649" y="925"/>
                </a:lnTo>
                <a:lnTo>
                  <a:pt x="1642" y="919"/>
                </a:lnTo>
                <a:lnTo>
                  <a:pt x="1637" y="912"/>
                </a:lnTo>
                <a:lnTo>
                  <a:pt x="1633" y="902"/>
                </a:lnTo>
                <a:lnTo>
                  <a:pt x="1629" y="892"/>
                </a:lnTo>
                <a:lnTo>
                  <a:pt x="1626" y="881"/>
                </a:lnTo>
                <a:lnTo>
                  <a:pt x="1626" y="881"/>
                </a:lnTo>
                <a:lnTo>
                  <a:pt x="1624" y="871"/>
                </a:lnTo>
                <a:lnTo>
                  <a:pt x="1623" y="860"/>
                </a:lnTo>
                <a:lnTo>
                  <a:pt x="1623" y="851"/>
                </a:lnTo>
                <a:lnTo>
                  <a:pt x="1623" y="842"/>
                </a:lnTo>
                <a:lnTo>
                  <a:pt x="1625" y="826"/>
                </a:lnTo>
                <a:lnTo>
                  <a:pt x="1629" y="811"/>
                </a:lnTo>
                <a:lnTo>
                  <a:pt x="1633" y="800"/>
                </a:lnTo>
                <a:lnTo>
                  <a:pt x="1636" y="792"/>
                </a:lnTo>
                <a:lnTo>
                  <a:pt x="1640" y="784"/>
                </a:lnTo>
                <a:lnTo>
                  <a:pt x="1640" y="784"/>
                </a:lnTo>
                <a:lnTo>
                  <a:pt x="1636" y="785"/>
                </a:lnTo>
                <a:lnTo>
                  <a:pt x="1626" y="788"/>
                </a:lnTo>
                <a:lnTo>
                  <a:pt x="1610" y="794"/>
                </a:lnTo>
                <a:lnTo>
                  <a:pt x="1601" y="797"/>
                </a:lnTo>
                <a:lnTo>
                  <a:pt x="1592" y="802"/>
                </a:lnTo>
                <a:lnTo>
                  <a:pt x="1582" y="808"/>
                </a:lnTo>
                <a:lnTo>
                  <a:pt x="1573" y="814"/>
                </a:lnTo>
                <a:lnTo>
                  <a:pt x="1563" y="823"/>
                </a:lnTo>
                <a:lnTo>
                  <a:pt x="1554" y="832"/>
                </a:lnTo>
                <a:lnTo>
                  <a:pt x="1546" y="842"/>
                </a:lnTo>
                <a:lnTo>
                  <a:pt x="1539" y="853"/>
                </a:lnTo>
                <a:lnTo>
                  <a:pt x="1533" y="867"/>
                </a:lnTo>
                <a:lnTo>
                  <a:pt x="1528" y="881"/>
                </a:lnTo>
                <a:lnTo>
                  <a:pt x="1528" y="881"/>
                </a:lnTo>
                <a:lnTo>
                  <a:pt x="1525" y="896"/>
                </a:lnTo>
                <a:lnTo>
                  <a:pt x="1523" y="912"/>
                </a:lnTo>
                <a:lnTo>
                  <a:pt x="1523" y="927"/>
                </a:lnTo>
                <a:lnTo>
                  <a:pt x="1523" y="941"/>
                </a:lnTo>
                <a:lnTo>
                  <a:pt x="1524" y="954"/>
                </a:lnTo>
                <a:lnTo>
                  <a:pt x="1527" y="969"/>
                </a:lnTo>
                <a:lnTo>
                  <a:pt x="1531" y="981"/>
                </a:lnTo>
                <a:lnTo>
                  <a:pt x="1536" y="993"/>
                </a:lnTo>
                <a:lnTo>
                  <a:pt x="1542" y="1006"/>
                </a:lnTo>
                <a:lnTo>
                  <a:pt x="1549" y="1016"/>
                </a:lnTo>
                <a:lnTo>
                  <a:pt x="1557" y="1026"/>
                </a:lnTo>
                <a:lnTo>
                  <a:pt x="1568" y="1034"/>
                </a:lnTo>
                <a:lnTo>
                  <a:pt x="1578" y="1042"/>
                </a:lnTo>
                <a:lnTo>
                  <a:pt x="1590" y="1049"/>
                </a:lnTo>
                <a:lnTo>
                  <a:pt x="1602" y="1055"/>
                </a:lnTo>
                <a:lnTo>
                  <a:pt x="1617" y="1059"/>
                </a:lnTo>
                <a:lnTo>
                  <a:pt x="1617" y="1059"/>
                </a:lnTo>
                <a:lnTo>
                  <a:pt x="1630" y="1062"/>
                </a:lnTo>
                <a:lnTo>
                  <a:pt x="1644" y="1063"/>
                </a:lnTo>
                <a:lnTo>
                  <a:pt x="1660" y="1062"/>
                </a:lnTo>
                <a:lnTo>
                  <a:pt x="1676" y="1060"/>
                </a:lnTo>
                <a:lnTo>
                  <a:pt x="1692" y="1058"/>
                </a:lnTo>
                <a:lnTo>
                  <a:pt x="1710" y="1054"/>
                </a:lnTo>
                <a:lnTo>
                  <a:pt x="1727" y="1049"/>
                </a:lnTo>
                <a:lnTo>
                  <a:pt x="1744" y="1043"/>
                </a:lnTo>
                <a:lnTo>
                  <a:pt x="1779" y="1029"/>
                </a:lnTo>
                <a:lnTo>
                  <a:pt x="1815" y="1014"/>
                </a:lnTo>
                <a:lnTo>
                  <a:pt x="1849" y="997"/>
                </a:lnTo>
                <a:lnTo>
                  <a:pt x="1880" y="981"/>
                </a:lnTo>
                <a:lnTo>
                  <a:pt x="1880" y="981"/>
                </a:lnTo>
                <a:lnTo>
                  <a:pt x="1942" y="949"/>
                </a:lnTo>
                <a:lnTo>
                  <a:pt x="1979" y="931"/>
                </a:lnTo>
                <a:lnTo>
                  <a:pt x="2013" y="915"/>
                </a:lnTo>
                <a:lnTo>
                  <a:pt x="2013" y="915"/>
                </a:lnTo>
                <a:lnTo>
                  <a:pt x="2041" y="903"/>
                </a:lnTo>
                <a:lnTo>
                  <a:pt x="2054" y="899"/>
                </a:lnTo>
                <a:lnTo>
                  <a:pt x="2068" y="895"/>
                </a:lnTo>
                <a:lnTo>
                  <a:pt x="2081" y="892"/>
                </a:lnTo>
                <a:lnTo>
                  <a:pt x="2093" y="890"/>
                </a:lnTo>
                <a:lnTo>
                  <a:pt x="2105" y="888"/>
                </a:lnTo>
                <a:lnTo>
                  <a:pt x="2119" y="888"/>
                </a:lnTo>
                <a:lnTo>
                  <a:pt x="2131" y="888"/>
                </a:lnTo>
                <a:lnTo>
                  <a:pt x="2143" y="889"/>
                </a:lnTo>
                <a:lnTo>
                  <a:pt x="2156" y="891"/>
                </a:lnTo>
                <a:lnTo>
                  <a:pt x="2170" y="893"/>
                </a:lnTo>
                <a:lnTo>
                  <a:pt x="2183" y="897"/>
                </a:lnTo>
                <a:lnTo>
                  <a:pt x="2196" y="901"/>
                </a:lnTo>
                <a:lnTo>
                  <a:pt x="2211" y="907"/>
                </a:lnTo>
                <a:lnTo>
                  <a:pt x="2226" y="914"/>
                </a:lnTo>
                <a:lnTo>
                  <a:pt x="2226" y="914"/>
                </a:lnTo>
                <a:lnTo>
                  <a:pt x="2246" y="924"/>
                </a:lnTo>
                <a:lnTo>
                  <a:pt x="2265" y="934"/>
                </a:lnTo>
                <a:lnTo>
                  <a:pt x="2281" y="945"/>
                </a:lnTo>
                <a:lnTo>
                  <a:pt x="2295" y="954"/>
                </a:lnTo>
                <a:lnTo>
                  <a:pt x="2305" y="964"/>
                </a:lnTo>
                <a:lnTo>
                  <a:pt x="2312" y="971"/>
                </a:lnTo>
                <a:lnTo>
                  <a:pt x="2319" y="977"/>
                </a:lnTo>
                <a:lnTo>
                  <a:pt x="2319" y="977"/>
                </a:lnTo>
                <a:lnTo>
                  <a:pt x="2317" y="980"/>
                </a:lnTo>
                <a:lnTo>
                  <a:pt x="2313" y="987"/>
                </a:lnTo>
                <a:lnTo>
                  <a:pt x="2305" y="998"/>
                </a:lnTo>
                <a:lnTo>
                  <a:pt x="2300" y="1005"/>
                </a:lnTo>
                <a:lnTo>
                  <a:pt x="2293" y="1012"/>
                </a:lnTo>
                <a:lnTo>
                  <a:pt x="2285" y="1018"/>
                </a:lnTo>
                <a:lnTo>
                  <a:pt x="2276" y="1025"/>
                </a:lnTo>
                <a:lnTo>
                  <a:pt x="2267" y="1031"/>
                </a:lnTo>
                <a:lnTo>
                  <a:pt x="2255" y="1036"/>
                </a:lnTo>
                <a:lnTo>
                  <a:pt x="2242" y="1041"/>
                </a:lnTo>
                <a:lnTo>
                  <a:pt x="2228" y="1045"/>
                </a:lnTo>
                <a:lnTo>
                  <a:pt x="2212" y="1049"/>
                </a:lnTo>
                <a:lnTo>
                  <a:pt x="2194" y="1050"/>
                </a:lnTo>
                <a:lnTo>
                  <a:pt x="2194" y="1050"/>
                </a:lnTo>
                <a:lnTo>
                  <a:pt x="2180" y="1051"/>
                </a:lnTo>
                <a:lnTo>
                  <a:pt x="2166" y="1050"/>
                </a:lnTo>
                <a:lnTo>
                  <a:pt x="2152" y="1048"/>
                </a:lnTo>
                <a:lnTo>
                  <a:pt x="2139" y="1044"/>
                </a:lnTo>
                <a:lnTo>
                  <a:pt x="2127" y="1041"/>
                </a:lnTo>
                <a:lnTo>
                  <a:pt x="2115" y="1037"/>
                </a:lnTo>
                <a:lnTo>
                  <a:pt x="2103" y="1033"/>
                </a:lnTo>
                <a:lnTo>
                  <a:pt x="2092" y="1027"/>
                </a:lnTo>
                <a:lnTo>
                  <a:pt x="2082" y="1022"/>
                </a:lnTo>
                <a:lnTo>
                  <a:pt x="2073" y="1016"/>
                </a:lnTo>
                <a:lnTo>
                  <a:pt x="2064" y="1010"/>
                </a:lnTo>
                <a:lnTo>
                  <a:pt x="2056" y="1003"/>
                </a:lnTo>
                <a:lnTo>
                  <a:pt x="2048" y="995"/>
                </a:lnTo>
                <a:lnTo>
                  <a:pt x="2042" y="988"/>
                </a:lnTo>
                <a:lnTo>
                  <a:pt x="2036" y="981"/>
                </a:lnTo>
                <a:lnTo>
                  <a:pt x="2031" y="974"/>
                </a:lnTo>
                <a:lnTo>
                  <a:pt x="2031" y="974"/>
                </a:lnTo>
                <a:lnTo>
                  <a:pt x="2022" y="996"/>
                </a:lnTo>
                <a:lnTo>
                  <a:pt x="2013" y="1014"/>
                </a:lnTo>
                <a:lnTo>
                  <a:pt x="2007" y="1027"/>
                </a:lnTo>
                <a:lnTo>
                  <a:pt x="2007" y="1027"/>
                </a:lnTo>
                <a:lnTo>
                  <a:pt x="2003" y="1035"/>
                </a:lnTo>
                <a:lnTo>
                  <a:pt x="2000" y="1042"/>
                </a:lnTo>
                <a:lnTo>
                  <a:pt x="1998" y="1051"/>
                </a:lnTo>
                <a:lnTo>
                  <a:pt x="1997" y="1057"/>
                </a:lnTo>
                <a:lnTo>
                  <a:pt x="1997" y="1064"/>
                </a:lnTo>
                <a:lnTo>
                  <a:pt x="1997" y="1070"/>
                </a:lnTo>
                <a:lnTo>
                  <a:pt x="1999" y="1082"/>
                </a:lnTo>
                <a:lnTo>
                  <a:pt x="2001" y="1094"/>
                </a:lnTo>
                <a:lnTo>
                  <a:pt x="2003" y="1104"/>
                </a:lnTo>
                <a:lnTo>
                  <a:pt x="2004" y="1115"/>
                </a:lnTo>
                <a:lnTo>
                  <a:pt x="2003" y="1121"/>
                </a:lnTo>
                <a:lnTo>
                  <a:pt x="2001" y="1126"/>
                </a:lnTo>
                <a:lnTo>
                  <a:pt x="2001" y="1126"/>
                </a:lnTo>
                <a:lnTo>
                  <a:pt x="1999" y="1132"/>
                </a:lnTo>
                <a:lnTo>
                  <a:pt x="1995" y="1138"/>
                </a:lnTo>
                <a:lnTo>
                  <a:pt x="1986" y="1151"/>
                </a:lnTo>
                <a:lnTo>
                  <a:pt x="1973" y="1163"/>
                </a:lnTo>
                <a:lnTo>
                  <a:pt x="1960" y="1175"/>
                </a:lnTo>
                <a:lnTo>
                  <a:pt x="1945" y="1187"/>
                </a:lnTo>
                <a:lnTo>
                  <a:pt x="1931" y="1198"/>
                </a:lnTo>
                <a:lnTo>
                  <a:pt x="1904" y="1216"/>
                </a:lnTo>
                <a:lnTo>
                  <a:pt x="1904" y="1216"/>
                </a:lnTo>
                <a:lnTo>
                  <a:pt x="1886" y="1227"/>
                </a:lnTo>
                <a:lnTo>
                  <a:pt x="1864" y="1239"/>
                </a:lnTo>
                <a:lnTo>
                  <a:pt x="1842" y="1249"/>
                </a:lnTo>
                <a:lnTo>
                  <a:pt x="1819" y="1257"/>
                </a:lnTo>
                <a:lnTo>
                  <a:pt x="1798" y="1264"/>
                </a:lnTo>
                <a:lnTo>
                  <a:pt x="1779" y="1270"/>
                </a:lnTo>
                <a:lnTo>
                  <a:pt x="1754" y="1278"/>
                </a:lnTo>
                <a:lnTo>
                  <a:pt x="1754" y="1278"/>
                </a:lnTo>
                <a:lnTo>
                  <a:pt x="1779" y="1336"/>
                </a:lnTo>
                <a:lnTo>
                  <a:pt x="1811" y="1404"/>
                </a:lnTo>
                <a:lnTo>
                  <a:pt x="1811" y="1404"/>
                </a:lnTo>
                <a:lnTo>
                  <a:pt x="1833" y="1449"/>
                </a:lnTo>
                <a:lnTo>
                  <a:pt x="1862" y="1504"/>
                </a:lnTo>
                <a:lnTo>
                  <a:pt x="1877" y="1531"/>
                </a:lnTo>
                <a:lnTo>
                  <a:pt x="1893" y="1557"/>
                </a:lnTo>
                <a:lnTo>
                  <a:pt x="1909" y="1578"/>
                </a:lnTo>
                <a:lnTo>
                  <a:pt x="1916" y="1588"/>
                </a:lnTo>
                <a:lnTo>
                  <a:pt x="1924" y="1597"/>
                </a:lnTo>
                <a:lnTo>
                  <a:pt x="1924" y="1597"/>
                </a:lnTo>
                <a:lnTo>
                  <a:pt x="1940" y="1592"/>
                </a:lnTo>
                <a:lnTo>
                  <a:pt x="1957" y="1587"/>
                </a:lnTo>
                <a:lnTo>
                  <a:pt x="1980" y="1581"/>
                </a:lnTo>
                <a:lnTo>
                  <a:pt x="2004" y="1573"/>
                </a:lnTo>
                <a:lnTo>
                  <a:pt x="2031" y="1563"/>
                </a:lnTo>
                <a:lnTo>
                  <a:pt x="2057" y="1551"/>
                </a:lnTo>
                <a:lnTo>
                  <a:pt x="2071" y="1544"/>
                </a:lnTo>
                <a:lnTo>
                  <a:pt x="2083" y="1537"/>
                </a:lnTo>
                <a:lnTo>
                  <a:pt x="2083" y="1537"/>
                </a:lnTo>
                <a:lnTo>
                  <a:pt x="2105" y="1524"/>
                </a:lnTo>
                <a:lnTo>
                  <a:pt x="2126" y="1510"/>
                </a:lnTo>
                <a:lnTo>
                  <a:pt x="2145" y="1495"/>
                </a:lnTo>
                <a:lnTo>
                  <a:pt x="2162" y="1480"/>
                </a:lnTo>
                <a:lnTo>
                  <a:pt x="2177" y="1466"/>
                </a:lnTo>
                <a:lnTo>
                  <a:pt x="2189" y="1451"/>
                </a:lnTo>
                <a:lnTo>
                  <a:pt x="2199" y="1437"/>
                </a:lnTo>
                <a:lnTo>
                  <a:pt x="2207" y="1424"/>
                </a:lnTo>
                <a:lnTo>
                  <a:pt x="2207" y="1424"/>
                </a:lnTo>
                <a:lnTo>
                  <a:pt x="2190" y="1460"/>
                </a:lnTo>
                <a:lnTo>
                  <a:pt x="2175" y="1493"/>
                </a:lnTo>
                <a:lnTo>
                  <a:pt x="2161" y="1523"/>
                </a:lnTo>
                <a:lnTo>
                  <a:pt x="2146" y="1551"/>
                </a:lnTo>
                <a:lnTo>
                  <a:pt x="2132" y="1576"/>
                </a:lnTo>
                <a:lnTo>
                  <a:pt x="2119" y="1599"/>
                </a:lnTo>
                <a:lnTo>
                  <a:pt x="2105" y="1619"/>
                </a:lnTo>
                <a:lnTo>
                  <a:pt x="2092" y="1637"/>
                </a:lnTo>
                <a:lnTo>
                  <a:pt x="2080" y="1655"/>
                </a:lnTo>
                <a:lnTo>
                  <a:pt x="2068" y="1669"/>
                </a:lnTo>
                <a:lnTo>
                  <a:pt x="2055" y="1682"/>
                </a:lnTo>
                <a:lnTo>
                  <a:pt x="2044" y="1694"/>
                </a:lnTo>
                <a:lnTo>
                  <a:pt x="2033" y="1705"/>
                </a:lnTo>
                <a:lnTo>
                  <a:pt x="2022" y="1714"/>
                </a:lnTo>
                <a:lnTo>
                  <a:pt x="2011" y="1721"/>
                </a:lnTo>
                <a:lnTo>
                  <a:pt x="2000" y="1729"/>
                </a:lnTo>
                <a:lnTo>
                  <a:pt x="2000" y="1729"/>
                </a:lnTo>
                <a:lnTo>
                  <a:pt x="1907" y="1790"/>
                </a:lnTo>
                <a:lnTo>
                  <a:pt x="1797" y="1862"/>
                </a:lnTo>
                <a:lnTo>
                  <a:pt x="1735" y="1901"/>
                </a:lnTo>
                <a:lnTo>
                  <a:pt x="1671" y="1940"/>
                </a:lnTo>
                <a:lnTo>
                  <a:pt x="1602" y="1980"/>
                </a:lnTo>
                <a:lnTo>
                  <a:pt x="1532" y="2020"/>
                </a:lnTo>
                <a:lnTo>
                  <a:pt x="1459" y="2058"/>
                </a:lnTo>
                <a:lnTo>
                  <a:pt x="1422" y="2077"/>
                </a:lnTo>
                <a:lnTo>
                  <a:pt x="1384" y="2094"/>
                </a:lnTo>
                <a:lnTo>
                  <a:pt x="1347" y="2112"/>
                </a:lnTo>
                <a:lnTo>
                  <a:pt x="1308" y="2129"/>
                </a:lnTo>
                <a:lnTo>
                  <a:pt x="1269" y="2146"/>
                </a:lnTo>
                <a:lnTo>
                  <a:pt x="1230" y="2161"/>
                </a:lnTo>
                <a:lnTo>
                  <a:pt x="1190" y="2175"/>
                </a:lnTo>
                <a:lnTo>
                  <a:pt x="1151" y="2189"/>
                </a:lnTo>
                <a:lnTo>
                  <a:pt x="1111" y="2202"/>
                </a:lnTo>
                <a:lnTo>
                  <a:pt x="1072" y="2213"/>
                </a:lnTo>
                <a:lnTo>
                  <a:pt x="1032" y="2223"/>
                </a:lnTo>
                <a:lnTo>
                  <a:pt x="992" y="2231"/>
                </a:lnTo>
                <a:lnTo>
                  <a:pt x="952" y="2240"/>
                </a:lnTo>
                <a:lnTo>
                  <a:pt x="913" y="2246"/>
                </a:lnTo>
                <a:lnTo>
                  <a:pt x="913" y="2246"/>
                </a:lnTo>
                <a:lnTo>
                  <a:pt x="901" y="2246"/>
                </a:lnTo>
                <a:lnTo>
                  <a:pt x="889" y="2245"/>
                </a:lnTo>
                <a:lnTo>
                  <a:pt x="876" y="2242"/>
                </a:lnTo>
                <a:lnTo>
                  <a:pt x="863" y="2239"/>
                </a:lnTo>
                <a:lnTo>
                  <a:pt x="850" y="2236"/>
                </a:lnTo>
                <a:lnTo>
                  <a:pt x="836" y="2230"/>
                </a:lnTo>
                <a:lnTo>
                  <a:pt x="809" y="2218"/>
                </a:lnTo>
                <a:lnTo>
                  <a:pt x="781" y="2204"/>
                </a:lnTo>
                <a:lnTo>
                  <a:pt x="754" y="2188"/>
                </a:lnTo>
                <a:lnTo>
                  <a:pt x="726" y="2170"/>
                </a:lnTo>
                <a:lnTo>
                  <a:pt x="698" y="2151"/>
                </a:lnTo>
                <a:lnTo>
                  <a:pt x="672" y="2130"/>
                </a:lnTo>
                <a:lnTo>
                  <a:pt x="646" y="2110"/>
                </a:lnTo>
                <a:lnTo>
                  <a:pt x="623" y="2089"/>
                </a:lnTo>
                <a:lnTo>
                  <a:pt x="600" y="2069"/>
                </a:lnTo>
                <a:lnTo>
                  <a:pt x="581" y="2049"/>
                </a:lnTo>
                <a:lnTo>
                  <a:pt x="563" y="2032"/>
                </a:lnTo>
                <a:lnTo>
                  <a:pt x="548" y="2017"/>
                </a:lnTo>
                <a:lnTo>
                  <a:pt x="537" y="2003"/>
                </a:lnTo>
                <a:lnTo>
                  <a:pt x="537" y="2003"/>
                </a:lnTo>
                <a:lnTo>
                  <a:pt x="533" y="1999"/>
                </a:lnTo>
                <a:lnTo>
                  <a:pt x="530" y="1995"/>
                </a:lnTo>
                <a:lnTo>
                  <a:pt x="520" y="1990"/>
                </a:lnTo>
                <a:lnTo>
                  <a:pt x="512" y="1988"/>
                </a:lnTo>
                <a:lnTo>
                  <a:pt x="502" y="1987"/>
                </a:lnTo>
                <a:lnTo>
                  <a:pt x="493" y="1987"/>
                </a:lnTo>
                <a:lnTo>
                  <a:pt x="483" y="1989"/>
                </a:lnTo>
                <a:lnTo>
                  <a:pt x="473" y="1992"/>
                </a:lnTo>
                <a:lnTo>
                  <a:pt x="464" y="1996"/>
                </a:lnTo>
                <a:lnTo>
                  <a:pt x="447" y="2004"/>
                </a:lnTo>
                <a:lnTo>
                  <a:pt x="433" y="2014"/>
                </a:lnTo>
                <a:lnTo>
                  <a:pt x="419" y="2024"/>
                </a:lnTo>
                <a:lnTo>
                  <a:pt x="419" y="2024"/>
                </a:lnTo>
                <a:lnTo>
                  <a:pt x="412" y="2023"/>
                </a:lnTo>
                <a:lnTo>
                  <a:pt x="393" y="2021"/>
                </a:lnTo>
                <a:lnTo>
                  <a:pt x="379" y="2021"/>
                </a:lnTo>
                <a:lnTo>
                  <a:pt x="364" y="2021"/>
                </a:lnTo>
                <a:lnTo>
                  <a:pt x="348" y="2022"/>
                </a:lnTo>
                <a:lnTo>
                  <a:pt x="329" y="2024"/>
                </a:lnTo>
                <a:lnTo>
                  <a:pt x="310" y="2027"/>
                </a:lnTo>
                <a:lnTo>
                  <a:pt x="290" y="2032"/>
                </a:lnTo>
                <a:lnTo>
                  <a:pt x="271" y="2038"/>
                </a:lnTo>
                <a:lnTo>
                  <a:pt x="252" y="2047"/>
                </a:lnTo>
                <a:lnTo>
                  <a:pt x="242" y="2053"/>
                </a:lnTo>
                <a:lnTo>
                  <a:pt x="233" y="2058"/>
                </a:lnTo>
                <a:lnTo>
                  <a:pt x="224" y="2064"/>
                </a:lnTo>
                <a:lnTo>
                  <a:pt x="216" y="2071"/>
                </a:lnTo>
                <a:lnTo>
                  <a:pt x="207" y="2079"/>
                </a:lnTo>
                <a:lnTo>
                  <a:pt x="199" y="2087"/>
                </a:lnTo>
                <a:lnTo>
                  <a:pt x="191" y="2097"/>
                </a:lnTo>
                <a:lnTo>
                  <a:pt x="184" y="2106"/>
                </a:lnTo>
                <a:lnTo>
                  <a:pt x="184" y="2106"/>
                </a:lnTo>
                <a:lnTo>
                  <a:pt x="183" y="2109"/>
                </a:lnTo>
                <a:lnTo>
                  <a:pt x="185" y="2111"/>
                </a:lnTo>
                <a:lnTo>
                  <a:pt x="188" y="2112"/>
                </a:lnTo>
                <a:lnTo>
                  <a:pt x="193" y="2112"/>
                </a:lnTo>
                <a:lnTo>
                  <a:pt x="210" y="2110"/>
                </a:lnTo>
                <a:lnTo>
                  <a:pt x="230" y="2108"/>
                </a:lnTo>
                <a:lnTo>
                  <a:pt x="255" y="2106"/>
                </a:lnTo>
                <a:lnTo>
                  <a:pt x="280" y="2105"/>
                </a:lnTo>
                <a:lnTo>
                  <a:pt x="293" y="2106"/>
                </a:lnTo>
                <a:lnTo>
                  <a:pt x="307" y="2107"/>
                </a:lnTo>
                <a:lnTo>
                  <a:pt x="319" y="2109"/>
                </a:lnTo>
                <a:lnTo>
                  <a:pt x="331" y="2112"/>
                </a:lnTo>
                <a:lnTo>
                  <a:pt x="331" y="2112"/>
                </a:lnTo>
                <a:lnTo>
                  <a:pt x="338" y="2115"/>
                </a:lnTo>
                <a:lnTo>
                  <a:pt x="343" y="2118"/>
                </a:lnTo>
                <a:lnTo>
                  <a:pt x="346" y="2121"/>
                </a:lnTo>
                <a:lnTo>
                  <a:pt x="347" y="2124"/>
                </a:lnTo>
                <a:lnTo>
                  <a:pt x="347" y="2127"/>
                </a:lnTo>
                <a:lnTo>
                  <a:pt x="345" y="2131"/>
                </a:lnTo>
                <a:lnTo>
                  <a:pt x="339" y="2139"/>
                </a:lnTo>
                <a:lnTo>
                  <a:pt x="332" y="2149"/>
                </a:lnTo>
                <a:lnTo>
                  <a:pt x="325" y="2160"/>
                </a:lnTo>
                <a:lnTo>
                  <a:pt x="321" y="2166"/>
                </a:lnTo>
                <a:lnTo>
                  <a:pt x="319" y="2172"/>
                </a:lnTo>
                <a:lnTo>
                  <a:pt x="317" y="2178"/>
                </a:lnTo>
                <a:lnTo>
                  <a:pt x="317" y="2185"/>
                </a:lnTo>
                <a:lnTo>
                  <a:pt x="317" y="2185"/>
                </a:lnTo>
                <a:lnTo>
                  <a:pt x="317" y="2191"/>
                </a:lnTo>
                <a:lnTo>
                  <a:pt x="319" y="2197"/>
                </a:lnTo>
                <a:lnTo>
                  <a:pt x="321" y="2202"/>
                </a:lnTo>
                <a:lnTo>
                  <a:pt x="324" y="2207"/>
                </a:lnTo>
                <a:lnTo>
                  <a:pt x="328" y="2212"/>
                </a:lnTo>
                <a:lnTo>
                  <a:pt x="333" y="2217"/>
                </a:lnTo>
                <a:lnTo>
                  <a:pt x="346" y="2227"/>
                </a:lnTo>
                <a:lnTo>
                  <a:pt x="361" y="2237"/>
                </a:lnTo>
                <a:lnTo>
                  <a:pt x="377" y="2246"/>
                </a:lnTo>
                <a:lnTo>
                  <a:pt x="397" y="2255"/>
                </a:lnTo>
                <a:lnTo>
                  <a:pt x="416" y="2263"/>
                </a:lnTo>
                <a:lnTo>
                  <a:pt x="458" y="2279"/>
                </a:lnTo>
                <a:lnTo>
                  <a:pt x="500" y="2293"/>
                </a:lnTo>
                <a:lnTo>
                  <a:pt x="571" y="2314"/>
                </a:lnTo>
                <a:lnTo>
                  <a:pt x="571" y="2314"/>
                </a:lnTo>
                <a:lnTo>
                  <a:pt x="579" y="2318"/>
                </a:lnTo>
                <a:lnTo>
                  <a:pt x="585" y="2322"/>
                </a:lnTo>
                <a:lnTo>
                  <a:pt x="588" y="2328"/>
                </a:lnTo>
                <a:lnTo>
                  <a:pt x="590" y="2333"/>
                </a:lnTo>
                <a:lnTo>
                  <a:pt x="590" y="2337"/>
                </a:lnTo>
                <a:lnTo>
                  <a:pt x="588" y="2341"/>
                </a:lnTo>
                <a:lnTo>
                  <a:pt x="585" y="2343"/>
                </a:lnTo>
                <a:lnTo>
                  <a:pt x="581" y="2344"/>
                </a:lnTo>
                <a:lnTo>
                  <a:pt x="581" y="2344"/>
                </a:lnTo>
                <a:lnTo>
                  <a:pt x="556" y="2343"/>
                </a:lnTo>
                <a:lnTo>
                  <a:pt x="532" y="2340"/>
                </a:lnTo>
                <a:lnTo>
                  <a:pt x="509" y="2337"/>
                </a:lnTo>
                <a:lnTo>
                  <a:pt x="488" y="2332"/>
                </a:lnTo>
                <a:lnTo>
                  <a:pt x="467" y="2327"/>
                </a:lnTo>
                <a:lnTo>
                  <a:pt x="448" y="2320"/>
                </a:lnTo>
                <a:lnTo>
                  <a:pt x="429" y="2314"/>
                </a:lnTo>
                <a:lnTo>
                  <a:pt x="412" y="2308"/>
                </a:lnTo>
                <a:lnTo>
                  <a:pt x="380" y="2295"/>
                </a:lnTo>
                <a:lnTo>
                  <a:pt x="352" y="2283"/>
                </a:lnTo>
                <a:lnTo>
                  <a:pt x="327" y="2271"/>
                </a:lnTo>
                <a:lnTo>
                  <a:pt x="316" y="2267"/>
                </a:lnTo>
                <a:lnTo>
                  <a:pt x="305" y="2263"/>
                </a:lnTo>
                <a:lnTo>
                  <a:pt x="305" y="2263"/>
                </a:lnTo>
                <a:lnTo>
                  <a:pt x="286" y="2258"/>
                </a:lnTo>
                <a:lnTo>
                  <a:pt x="268" y="2254"/>
                </a:lnTo>
                <a:lnTo>
                  <a:pt x="253" y="2251"/>
                </a:lnTo>
                <a:lnTo>
                  <a:pt x="237" y="2249"/>
                </a:lnTo>
                <a:lnTo>
                  <a:pt x="224" y="2248"/>
                </a:lnTo>
                <a:lnTo>
                  <a:pt x="213" y="2249"/>
                </a:lnTo>
                <a:lnTo>
                  <a:pt x="202" y="2250"/>
                </a:lnTo>
                <a:lnTo>
                  <a:pt x="192" y="2252"/>
                </a:lnTo>
                <a:lnTo>
                  <a:pt x="185" y="2256"/>
                </a:lnTo>
                <a:lnTo>
                  <a:pt x="178" y="2260"/>
                </a:lnTo>
                <a:lnTo>
                  <a:pt x="172" y="2265"/>
                </a:lnTo>
                <a:lnTo>
                  <a:pt x="167" y="2271"/>
                </a:lnTo>
                <a:lnTo>
                  <a:pt x="163" y="2277"/>
                </a:lnTo>
                <a:lnTo>
                  <a:pt x="160" y="2286"/>
                </a:lnTo>
                <a:lnTo>
                  <a:pt x="156" y="2294"/>
                </a:lnTo>
                <a:lnTo>
                  <a:pt x="155" y="2303"/>
                </a:lnTo>
                <a:lnTo>
                  <a:pt x="155" y="2303"/>
                </a:lnTo>
                <a:lnTo>
                  <a:pt x="154" y="2306"/>
                </a:lnTo>
                <a:lnTo>
                  <a:pt x="152" y="2309"/>
                </a:lnTo>
                <a:lnTo>
                  <a:pt x="150" y="2312"/>
                </a:lnTo>
                <a:lnTo>
                  <a:pt x="147" y="2314"/>
                </a:lnTo>
                <a:lnTo>
                  <a:pt x="140" y="2318"/>
                </a:lnTo>
                <a:lnTo>
                  <a:pt x="132" y="2323"/>
                </a:lnTo>
                <a:lnTo>
                  <a:pt x="109" y="2333"/>
                </a:lnTo>
                <a:lnTo>
                  <a:pt x="97" y="2339"/>
                </a:lnTo>
                <a:lnTo>
                  <a:pt x="84" y="2347"/>
                </a:lnTo>
                <a:lnTo>
                  <a:pt x="71" y="2357"/>
                </a:lnTo>
                <a:lnTo>
                  <a:pt x="57" y="2371"/>
                </a:lnTo>
                <a:lnTo>
                  <a:pt x="51" y="2378"/>
                </a:lnTo>
                <a:lnTo>
                  <a:pt x="45" y="2386"/>
                </a:lnTo>
                <a:lnTo>
                  <a:pt x="39" y="2396"/>
                </a:lnTo>
                <a:lnTo>
                  <a:pt x="33" y="2406"/>
                </a:lnTo>
                <a:lnTo>
                  <a:pt x="28" y="2418"/>
                </a:lnTo>
                <a:lnTo>
                  <a:pt x="22" y="2430"/>
                </a:lnTo>
                <a:lnTo>
                  <a:pt x="17" y="2444"/>
                </a:lnTo>
                <a:lnTo>
                  <a:pt x="13" y="2458"/>
                </a:lnTo>
                <a:lnTo>
                  <a:pt x="9" y="2475"/>
                </a:lnTo>
                <a:lnTo>
                  <a:pt x="6" y="2492"/>
                </a:lnTo>
                <a:lnTo>
                  <a:pt x="3" y="2512"/>
                </a:lnTo>
                <a:lnTo>
                  <a:pt x="0" y="2532"/>
                </a:lnTo>
                <a:lnTo>
                  <a:pt x="0" y="2532"/>
                </a:lnTo>
                <a:lnTo>
                  <a:pt x="1" y="2533"/>
                </a:lnTo>
                <a:lnTo>
                  <a:pt x="2" y="2534"/>
                </a:lnTo>
                <a:lnTo>
                  <a:pt x="6" y="2532"/>
                </a:lnTo>
                <a:lnTo>
                  <a:pt x="12" y="2527"/>
                </a:lnTo>
                <a:lnTo>
                  <a:pt x="20" y="2519"/>
                </a:lnTo>
                <a:lnTo>
                  <a:pt x="43" y="2496"/>
                </a:lnTo>
                <a:lnTo>
                  <a:pt x="69" y="2472"/>
                </a:lnTo>
                <a:lnTo>
                  <a:pt x="82" y="2459"/>
                </a:lnTo>
                <a:lnTo>
                  <a:pt x="95" y="2448"/>
                </a:lnTo>
                <a:lnTo>
                  <a:pt x="107" y="2439"/>
                </a:lnTo>
                <a:lnTo>
                  <a:pt x="119" y="2432"/>
                </a:lnTo>
                <a:lnTo>
                  <a:pt x="124" y="2429"/>
                </a:lnTo>
                <a:lnTo>
                  <a:pt x="129" y="2428"/>
                </a:lnTo>
                <a:lnTo>
                  <a:pt x="133" y="2427"/>
                </a:lnTo>
                <a:lnTo>
                  <a:pt x="137" y="2427"/>
                </a:lnTo>
                <a:lnTo>
                  <a:pt x="140" y="2429"/>
                </a:lnTo>
                <a:lnTo>
                  <a:pt x="143" y="2431"/>
                </a:lnTo>
                <a:lnTo>
                  <a:pt x="144" y="2435"/>
                </a:lnTo>
                <a:lnTo>
                  <a:pt x="146" y="2439"/>
                </a:lnTo>
                <a:lnTo>
                  <a:pt x="146" y="2439"/>
                </a:lnTo>
                <a:lnTo>
                  <a:pt x="149" y="2455"/>
                </a:lnTo>
                <a:lnTo>
                  <a:pt x="154" y="2470"/>
                </a:lnTo>
                <a:lnTo>
                  <a:pt x="162" y="2483"/>
                </a:lnTo>
                <a:lnTo>
                  <a:pt x="170" y="2493"/>
                </a:lnTo>
                <a:lnTo>
                  <a:pt x="179" y="2503"/>
                </a:lnTo>
                <a:lnTo>
                  <a:pt x="189" y="2511"/>
                </a:lnTo>
                <a:lnTo>
                  <a:pt x="200" y="2518"/>
                </a:lnTo>
                <a:lnTo>
                  <a:pt x="214" y="2523"/>
                </a:lnTo>
                <a:lnTo>
                  <a:pt x="227" y="2527"/>
                </a:lnTo>
                <a:lnTo>
                  <a:pt x="241" y="2529"/>
                </a:lnTo>
                <a:lnTo>
                  <a:pt x="256" y="2531"/>
                </a:lnTo>
                <a:lnTo>
                  <a:pt x="271" y="2532"/>
                </a:lnTo>
                <a:lnTo>
                  <a:pt x="287" y="2533"/>
                </a:lnTo>
                <a:lnTo>
                  <a:pt x="304" y="2532"/>
                </a:lnTo>
                <a:lnTo>
                  <a:pt x="337" y="2530"/>
                </a:lnTo>
                <a:lnTo>
                  <a:pt x="371" y="2526"/>
                </a:lnTo>
                <a:lnTo>
                  <a:pt x="405" y="2521"/>
                </a:lnTo>
                <a:lnTo>
                  <a:pt x="438" y="2516"/>
                </a:lnTo>
                <a:lnTo>
                  <a:pt x="468" y="2512"/>
                </a:lnTo>
                <a:lnTo>
                  <a:pt x="496" y="2510"/>
                </a:lnTo>
                <a:lnTo>
                  <a:pt x="509" y="2509"/>
                </a:lnTo>
                <a:lnTo>
                  <a:pt x="520" y="2509"/>
                </a:lnTo>
                <a:lnTo>
                  <a:pt x="531" y="2510"/>
                </a:lnTo>
                <a:lnTo>
                  <a:pt x="541" y="2512"/>
                </a:lnTo>
                <a:lnTo>
                  <a:pt x="549" y="2515"/>
                </a:lnTo>
                <a:lnTo>
                  <a:pt x="555" y="2519"/>
                </a:lnTo>
                <a:lnTo>
                  <a:pt x="555" y="2519"/>
                </a:lnTo>
                <a:lnTo>
                  <a:pt x="558" y="2522"/>
                </a:lnTo>
                <a:lnTo>
                  <a:pt x="559" y="2524"/>
                </a:lnTo>
                <a:lnTo>
                  <a:pt x="557" y="2527"/>
                </a:lnTo>
                <a:lnTo>
                  <a:pt x="554" y="2529"/>
                </a:lnTo>
                <a:lnTo>
                  <a:pt x="549" y="2532"/>
                </a:lnTo>
                <a:lnTo>
                  <a:pt x="542" y="2534"/>
                </a:lnTo>
                <a:lnTo>
                  <a:pt x="525" y="2538"/>
                </a:lnTo>
                <a:lnTo>
                  <a:pt x="475" y="2547"/>
                </a:lnTo>
                <a:lnTo>
                  <a:pt x="447" y="2553"/>
                </a:lnTo>
                <a:lnTo>
                  <a:pt x="417" y="2559"/>
                </a:lnTo>
                <a:lnTo>
                  <a:pt x="388" y="2566"/>
                </a:lnTo>
                <a:lnTo>
                  <a:pt x="359" y="2574"/>
                </a:lnTo>
                <a:lnTo>
                  <a:pt x="346" y="2578"/>
                </a:lnTo>
                <a:lnTo>
                  <a:pt x="333" y="2583"/>
                </a:lnTo>
                <a:lnTo>
                  <a:pt x="322" y="2588"/>
                </a:lnTo>
                <a:lnTo>
                  <a:pt x="312" y="2594"/>
                </a:lnTo>
                <a:lnTo>
                  <a:pt x="303" y="2601"/>
                </a:lnTo>
                <a:lnTo>
                  <a:pt x="294" y="2607"/>
                </a:lnTo>
                <a:lnTo>
                  <a:pt x="288" y="2614"/>
                </a:lnTo>
                <a:lnTo>
                  <a:pt x="284" y="2622"/>
                </a:lnTo>
                <a:lnTo>
                  <a:pt x="282" y="2630"/>
                </a:lnTo>
                <a:lnTo>
                  <a:pt x="281" y="2638"/>
                </a:lnTo>
                <a:lnTo>
                  <a:pt x="283" y="2649"/>
                </a:lnTo>
                <a:lnTo>
                  <a:pt x="287" y="2659"/>
                </a:lnTo>
                <a:lnTo>
                  <a:pt x="287" y="2659"/>
                </a:lnTo>
                <a:lnTo>
                  <a:pt x="287" y="2660"/>
                </a:lnTo>
                <a:lnTo>
                  <a:pt x="286" y="2663"/>
                </a:lnTo>
                <a:lnTo>
                  <a:pt x="283" y="2669"/>
                </a:lnTo>
                <a:lnTo>
                  <a:pt x="268" y="2686"/>
                </a:lnTo>
                <a:lnTo>
                  <a:pt x="258" y="2699"/>
                </a:lnTo>
                <a:lnTo>
                  <a:pt x="247" y="2712"/>
                </a:lnTo>
                <a:lnTo>
                  <a:pt x="237" y="2727"/>
                </a:lnTo>
                <a:lnTo>
                  <a:pt x="228" y="2744"/>
                </a:lnTo>
                <a:lnTo>
                  <a:pt x="220" y="2761"/>
                </a:lnTo>
                <a:lnTo>
                  <a:pt x="217" y="2770"/>
                </a:lnTo>
                <a:lnTo>
                  <a:pt x="214" y="2781"/>
                </a:lnTo>
                <a:lnTo>
                  <a:pt x="213" y="2790"/>
                </a:lnTo>
                <a:lnTo>
                  <a:pt x="212" y="2801"/>
                </a:lnTo>
                <a:lnTo>
                  <a:pt x="212" y="2811"/>
                </a:lnTo>
                <a:lnTo>
                  <a:pt x="213" y="2821"/>
                </a:lnTo>
                <a:lnTo>
                  <a:pt x="215" y="2833"/>
                </a:lnTo>
                <a:lnTo>
                  <a:pt x="219" y="2844"/>
                </a:lnTo>
                <a:lnTo>
                  <a:pt x="223" y="2856"/>
                </a:lnTo>
                <a:lnTo>
                  <a:pt x="229" y="2867"/>
                </a:lnTo>
                <a:lnTo>
                  <a:pt x="237" y="2880"/>
                </a:lnTo>
                <a:lnTo>
                  <a:pt x="246" y="2892"/>
                </a:lnTo>
                <a:lnTo>
                  <a:pt x="257" y="2904"/>
                </a:lnTo>
                <a:lnTo>
                  <a:pt x="270" y="2917"/>
                </a:lnTo>
                <a:lnTo>
                  <a:pt x="270" y="2917"/>
                </a:lnTo>
                <a:lnTo>
                  <a:pt x="270" y="2910"/>
                </a:lnTo>
                <a:lnTo>
                  <a:pt x="272" y="2893"/>
                </a:lnTo>
                <a:lnTo>
                  <a:pt x="277" y="2868"/>
                </a:lnTo>
                <a:lnTo>
                  <a:pt x="281" y="2855"/>
                </a:lnTo>
                <a:lnTo>
                  <a:pt x="285" y="2841"/>
                </a:lnTo>
                <a:lnTo>
                  <a:pt x="291" y="2828"/>
                </a:lnTo>
                <a:lnTo>
                  <a:pt x="298" y="2814"/>
                </a:lnTo>
                <a:lnTo>
                  <a:pt x="306" y="2801"/>
                </a:lnTo>
                <a:lnTo>
                  <a:pt x="315" y="2791"/>
                </a:lnTo>
                <a:lnTo>
                  <a:pt x="321" y="2786"/>
                </a:lnTo>
                <a:lnTo>
                  <a:pt x="326" y="2782"/>
                </a:lnTo>
                <a:lnTo>
                  <a:pt x="332" y="2777"/>
                </a:lnTo>
                <a:lnTo>
                  <a:pt x="339" y="2774"/>
                </a:lnTo>
                <a:lnTo>
                  <a:pt x="346" y="2772"/>
                </a:lnTo>
                <a:lnTo>
                  <a:pt x="354" y="2770"/>
                </a:lnTo>
                <a:lnTo>
                  <a:pt x="361" y="2770"/>
                </a:lnTo>
                <a:lnTo>
                  <a:pt x="369" y="2770"/>
                </a:lnTo>
                <a:lnTo>
                  <a:pt x="369" y="2770"/>
                </a:lnTo>
                <a:lnTo>
                  <a:pt x="383" y="2771"/>
                </a:lnTo>
                <a:lnTo>
                  <a:pt x="396" y="2774"/>
                </a:lnTo>
                <a:lnTo>
                  <a:pt x="408" y="2778"/>
                </a:lnTo>
                <a:lnTo>
                  <a:pt x="420" y="2783"/>
                </a:lnTo>
                <a:lnTo>
                  <a:pt x="443" y="2793"/>
                </a:lnTo>
                <a:lnTo>
                  <a:pt x="454" y="2797"/>
                </a:lnTo>
                <a:lnTo>
                  <a:pt x="465" y="2801"/>
                </a:lnTo>
                <a:lnTo>
                  <a:pt x="476" y="2804"/>
                </a:lnTo>
                <a:lnTo>
                  <a:pt x="489" y="2806"/>
                </a:lnTo>
                <a:lnTo>
                  <a:pt x="501" y="2807"/>
                </a:lnTo>
                <a:lnTo>
                  <a:pt x="514" y="2805"/>
                </a:lnTo>
                <a:lnTo>
                  <a:pt x="528" y="2802"/>
                </a:lnTo>
                <a:lnTo>
                  <a:pt x="542" y="2796"/>
                </a:lnTo>
                <a:lnTo>
                  <a:pt x="558" y="2788"/>
                </a:lnTo>
                <a:lnTo>
                  <a:pt x="575" y="2775"/>
                </a:lnTo>
                <a:lnTo>
                  <a:pt x="575" y="2775"/>
                </a:lnTo>
                <a:lnTo>
                  <a:pt x="588" y="2766"/>
                </a:lnTo>
                <a:lnTo>
                  <a:pt x="600" y="2755"/>
                </a:lnTo>
                <a:lnTo>
                  <a:pt x="614" y="2743"/>
                </a:lnTo>
                <a:lnTo>
                  <a:pt x="630" y="2730"/>
                </a:lnTo>
                <a:lnTo>
                  <a:pt x="651" y="2718"/>
                </a:lnTo>
                <a:lnTo>
                  <a:pt x="664" y="2711"/>
                </a:lnTo>
                <a:lnTo>
                  <a:pt x="678" y="2705"/>
                </a:lnTo>
                <a:lnTo>
                  <a:pt x="693" y="2698"/>
                </a:lnTo>
                <a:lnTo>
                  <a:pt x="712" y="2692"/>
                </a:lnTo>
                <a:lnTo>
                  <a:pt x="732" y="2684"/>
                </a:lnTo>
                <a:lnTo>
                  <a:pt x="754" y="2677"/>
                </a:lnTo>
                <a:lnTo>
                  <a:pt x="754" y="2677"/>
                </a:lnTo>
                <a:lnTo>
                  <a:pt x="756" y="2677"/>
                </a:lnTo>
                <a:lnTo>
                  <a:pt x="757" y="2678"/>
                </a:lnTo>
                <a:lnTo>
                  <a:pt x="760" y="2683"/>
                </a:lnTo>
                <a:lnTo>
                  <a:pt x="762" y="2692"/>
                </a:lnTo>
                <a:lnTo>
                  <a:pt x="765" y="2701"/>
                </a:lnTo>
                <a:lnTo>
                  <a:pt x="768" y="2713"/>
                </a:lnTo>
                <a:lnTo>
                  <a:pt x="772" y="2725"/>
                </a:lnTo>
                <a:lnTo>
                  <a:pt x="777" y="2738"/>
                </a:lnTo>
                <a:lnTo>
                  <a:pt x="783" y="2750"/>
                </a:lnTo>
                <a:lnTo>
                  <a:pt x="783" y="2750"/>
                </a:lnTo>
                <a:lnTo>
                  <a:pt x="786" y="2753"/>
                </a:lnTo>
                <a:lnTo>
                  <a:pt x="789" y="2755"/>
                </a:lnTo>
                <a:lnTo>
                  <a:pt x="797" y="2760"/>
                </a:lnTo>
                <a:lnTo>
                  <a:pt x="805" y="2763"/>
                </a:lnTo>
                <a:lnTo>
                  <a:pt x="813" y="2767"/>
                </a:lnTo>
                <a:lnTo>
                  <a:pt x="821" y="2770"/>
                </a:lnTo>
                <a:lnTo>
                  <a:pt x="827" y="2773"/>
                </a:lnTo>
                <a:lnTo>
                  <a:pt x="830" y="2775"/>
                </a:lnTo>
                <a:lnTo>
                  <a:pt x="831" y="2777"/>
                </a:lnTo>
                <a:lnTo>
                  <a:pt x="833" y="2781"/>
                </a:lnTo>
                <a:lnTo>
                  <a:pt x="833" y="2784"/>
                </a:lnTo>
                <a:lnTo>
                  <a:pt x="833" y="2784"/>
                </a:lnTo>
                <a:lnTo>
                  <a:pt x="832" y="2794"/>
                </a:lnTo>
                <a:lnTo>
                  <a:pt x="830" y="2805"/>
                </a:lnTo>
                <a:lnTo>
                  <a:pt x="826" y="2815"/>
                </a:lnTo>
                <a:lnTo>
                  <a:pt x="822" y="2824"/>
                </a:lnTo>
                <a:lnTo>
                  <a:pt x="817" y="2834"/>
                </a:lnTo>
                <a:lnTo>
                  <a:pt x="811" y="2843"/>
                </a:lnTo>
                <a:lnTo>
                  <a:pt x="798" y="2859"/>
                </a:lnTo>
                <a:lnTo>
                  <a:pt x="784" y="2873"/>
                </a:lnTo>
                <a:lnTo>
                  <a:pt x="773" y="2884"/>
                </a:lnTo>
                <a:lnTo>
                  <a:pt x="765" y="2890"/>
                </a:lnTo>
                <a:lnTo>
                  <a:pt x="763" y="2893"/>
                </a:lnTo>
                <a:lnTo>
                  <a:pt x="763" y="2893"/>
                </a:lnTo>
                <a:lnTo>
                  <a:pt x="767" y="2896"/>
                </a:lnTo>
                <a:lnTo>
                  <a:pt x="778" y="2899"/>
                </a:lnTo>
                <a:lnTo>
                  <a:pt x="785" y="2900"/>
                </a:lnTo>
                <a:lnTo>
                  <a:pt x="794" y="2901"/>
                </a:lnTo>
                <a:lnTo>
                  <a:pt x="804" y="2901"/>
                </a:lnTo>
                <a:lnTo>
                  <a:pt x="815" y="2899"/>
                </a:lnTo>
                <a:lnTo>
                  <a:pt x="826" y="2896"/>
                </a:lnTo>
                <a:lnTo>
                  <a:pt x="839" y="2891"/>
                </a:lnTo>
                <a:lnTo>
                  <a:pt x="852" y="2884"/>
                </a:lnTo>
                <a:lnTo>
                  <a:pt x="865" y="2874"/>
                </a:lnTo>
                <a:lnTo>
                  <a:pt x="879" y="2860"/>
                </a:lnTo>
                <a:lnTo>
                  <a:pt x="894" y="2844"/>
                </a:lnTo>
                <a:lnTo>
                  <a:pt x="907" y="2824"/>
                </a:lnTo>
                <a:lnTo>
                  <a:pt x="921" y="2801"/>
                </a:lnTo>
                <a:lnTo>
                  <a:pt x="921" y="2801"/>
                </a:lnTo>
                <a:lnTo>
                  <a:pt x="924" y="2797"/>
                </a:lnTo>
                <a:lnTo>
                  <a:pt x="927" y="2793"/>
                </a:lnTo>
                <a:lnTo>
                  <a:pt x="930" y="2791"/>
                </a:lnTo>
                <a:lnTo>
                  <a:pt x="935" y="2789"/>
                </a:lnTo>
                <a:lnTo>
                  <a:pt x="939" y="2788"/>
                </a:lnTo>
                <a:lnTo>
                  <a:pt x="943" y="2788"/>
                </a:lnTo>
                <a:lnTo>
                  <a:pt x="951" y="2788"/>
                </a:lnTo>
                <a:lnTo>
                  <a:pt x="970" y="2790"/>
                </a:lnTo>
                <a:lnTo>
                  <a:pt x="982" y="2790"/>
                </a:lnTo>
                <a:lnTo>
                  <a:pt x="987" y="2789"/>
                </a:lnTo>
                <a:lnTo>
                  <a:pt x="992" y="2788"/>
                </a:lnTo>
                <a:lnTo>
                  <a:pt x="992" y="2788"/>
                </a:lnTo>
                <a:lnTo>
                  <a:pt x="1010" y="2782"/>
                </a:lnTo>
                <a:lnTo>
                  <a:pt x="1017" y="2777"/>
                </a:lnTo>
                <a:lnTo>
                  <a:pt x="1024" y="2773"/>
                </a:lnTo>
                <a:lnTo>
                  <a:pt x="1029" y="2770"/>
                </a:lnTo>
                <a:lnTo>
                  <a:pt x="1033" y="2766"/>
                </a:lnTo>
                <a:lnTo>
                  <a:pt x="1036" y="2762"/>
                </a:lnTo>
                <a:lnTo>
                  <a:pt x="1039" y="2757"/>
                </a:lnTo>
                <a:lnTo>
                  <a:pt x="1041" y="2753"/>
                </a:lnTo>
                <a:lnTo>
                  <a:pt x="1042" y="2748"/>
                </a:lnTo>
                <a:lnTo>
                  <a:pt x="1043" y="2739"/>
                </a:lnTo>
                <a:lnTo>
                  <a:pt x="1042" y="2728"/>
                </a:lnTo>
                <a:lnTo>
                  <a:pt x="1040" y="2718"/>
                </a:lnTo>
                <a:lnTo>
                  <a:pt x="1035" y="2696"/>
                </a:lnTo>
                <a:lnTo>
                  <a:pt x="1034" y="2685"/>
                </a:lnTo>
                <a:lnTo>
                  <a:pt x="1033" y="2673"/>
                </a:lnTo>
                <a:lnTo>
                  <a:pt x="1034" y="2662"/>
                </a:lnTo>
                <a:lnTo>
                  <a:pt x="1036" y="2657"/>
                </a:lnTo>
                <a:lnTo>
                  <a:pt x="1038" y="2651"/>
                </a:lnTo>
                <a:lnTo>
                  <a:pt x="1040" y="2646"/>
                </a:lnTo>
                <a:lnTo>
                  <a:pt x="1044" y="2640"/>
                </a:lnTo>
                <a:lnTo>
                  <a:pt x="1048" y="2634"/>
                </a:lnTo>
                <a:lnTo>
                  <a:pt x="1054" y="2629"/>
                </a:lnTo>
                <a:lnTo>
                  <a:pt x="1054" y="2629"/>
                </a:lnTo>
                <a:lnTo>
                  <a:pt x="1069" y="2616"/>
                </a:lnTo>
                <a:lnTo>
                  <a:pt x="1084" y="2603"/>
                </a:lnTo>
                <a:lnTo>
                  <a:pt x="1099" y="2591"/>
                </a:lnTo>
                <a:lnTo>
                  <a:pt x="1115" y="2579"/>
                </a:lnTo>
                <a:lnTo>
                  <a:pt x="1146" y="2559"/>
                </a:lnTo>
                <a:lnTo>
                  <a:pt x="1178" y="2540"/>
                </a:lnTo>
                <a:lnTo>
                  <a:pt x="1210" y="2524"/>
                </a:lnTo>
                <a:lnTo>
                  <a:pt x="1241" y="2509"/>
                </a:lnTo>
                <a:lnTo>
                  <a:pt x="1273" y="2494"/>
                </a:lnTo>
                <a:lnTo>
                  <a:pt x="1304" y="2482"/>
                </a:lnTo>
                <a:lnTo>
                  <a:pt x="1304" y="2482"/>
                </a:lnTo>
                <a:lnTo>
                  <a:pt x="1303" y="2486"/>
                </a:lnTo>
                <a:lnTo>
                  <a:pt x="1299" y="2498"/>
                </a:lnTo>
                <a:lnTo>
                  <a:pt x="1294" y="2518"/>
                </a:lnTo>
                <a:lnTo>
                  <a:pt x="1291" y="2541"/>
                </a:lnTo>
                <a:lnTo>
                  <a:pt x="1290" y="2556"/>
                </a:lnTo>
                <a:lnTo>
                  <a:pt x="1290" y="2570"/>
                </a:lnTo>
                <a:lnTo>
                  <a:pt x="1291" y="2585"/>
                </a:lnTo>
                <a:lnTo>
                  <a:pt x="1292" y="2602"/>
                </a:lnTo>
                <a:lnTo>
                  <a:pt x="1296" y="2618"/>
                </a:lnTo>
                <a:lnTo>
                  <a:pt x="1301" y="2634"/>
                </a:lnTo>
                <a:lnTo>
                  <a:pt x="1306" y="2652"/>
                </a:lnTo>
                <a:lnTo>
                  <a:pt x="1314" y="2669"/>
                </a:lnTo>
                <a:lnTo>
                  <a:pt x="1640" y="2585"/>
                </a:lnTo>
                <a:lnTo>
                  <a:pt x="1640" y="2585"/>
                </a:lnTo>
                <a:lnTo>
                  <a:pt x="1634" y="2569"/>
                </a:lnTo>
                <a:lnTo>
                  <a:pt x="1631" y="2553"/>
                </a:lnTo>
                <a:lnTo>
                  <a:pt x="1629" y="2535"/>
                </a:lnTo>
                <a:lnTo>
                  <a:pt x="1629" y="2518"/>
                </a:lnTo>
                <a:lnTo>
                  <a:pt x="1631" y="2500"/>
                </a:lnTo>
                <a:lnTo>
                  <a:pt x="1634" y="2483"/>
                </a:lnTo>
                <a:lnTo>
                  <a:pt x="1638" y="2466"/>
                </a:lnTo>
                <a:lnTo>
                  <a:pt x="1644" y="2447"/>
                </a:lnTo>
                <a:lnTo>
                  <a:pt x="1651" y="2430"/>
                </a:lnTo>
                <a:lnTo>
                  <a:pt x="1660" y="2411"/>
                </a:lnTo>
                <a:lnTo>
                  <a:pt x="1669" y="2394"/>
                </a:lnTo>
                <a:lnTo>
                  <a:pt x="1679" y="2377"/>
                </a:lnTo>
                <a:lnTo>
                  <a:pt x="1689" y="2359"/>
                </a:lnTo>
                <a:lnTo>
                  <a:pt x="1701" y="2342"/>
                </a:lnTo>
                <a:lnTo>
                  <a:pt x="1725" y="2310"/>
                </a:lnTo>
                <a:lnTo>
                  <a:pt x="1725" y="2310"/>
                </a:lnTo>
                <a:lnTo>
                  <a:pt x="1726" y="2309"/>
                </a:lnTo>
                <a:lnTo>
                  <a:pt x="1727" y="2309"/>
                </a:lnTo>
                <a:lnTo>
                  <a:pt x="1728" y="2313"/>
                </a:lnTo>
                <a:lnTo>
                  <a:pt x="1725" y="2335"/>
                </a:lnTo>
                <a:lnTo>
                  <a:pt x="1721" y="2368"/>
                </a:lnTo>
                <a:lnTo>
                  <a:pt x="1715" y="2410"/>
                </a:lnTo>
                <a:lnTo>
                  <a:pt x="1713" y="2433"/>
                </a:lnTo>
                <a:lnTo>
                  <a:pt x="1711" y="2456"/>
                </a:lnTo>
                <a:lnTo>
                  <a:pt x="1711" y="2478"/>
                </a:lnTo>
                <a:lnTo>
                  <a:pt x="1711" y="2499"/>
                </a:lnTo>
                <a:lnTo>
                  <a:pt x="1713" y="2519"/>
                </a:lnTo>
                <a:lnTo>
                  <a:pt x="1716" y="2536"/>
                </a:lnTo>
                <a:lnTo>
                  <a:pt x="1719" y="2544"/>
                </a:lnTo>
                <a:lnTo>
                  <a:pt x="1722" y="2551"/>
                </a:lnTo>
                <a:lnTo>
                  <a:pt x="1726" y="2557"/>
                </a:lnTo>
                <a:lnTo>
                  <a:pt x="1730" y="2562"/>
                </a:lnTo>
                <a:lnTo>
                  <a:pt x="2050" y="2479"/>
                </a:lnTo>
                <a:lnTo>
                  <a:pt x="2050" y="2479"/>
                </a:lnTo>
                <a:lnTo>
                  <a:pt x="2046" y="2469"/>
                </a:lnTo>
                <a:lnTo>
                  <a:pt x="2043" y="2457"/>
                </a:lnTo>
                <a:lnTo>
                  <a:pt x="2041" y="2446"/>
                </a:lnTo>
                <a:lnTo>
                  <a:pt x="2039" y="2434"/>
                </a:lnTo>
                <a:lnTo>
                  <a:pt x="2038" y="2422"/>
                </a:lnTo>
                <a:lnTo>
                  <a:pt x="2038" y="2409"/>
                </a:lnTo>
                <a:lnTo>
                  <a:pt x="2039" y="2383"/>
                </a:lnTo>
                <a:lnTo>
                  <a:pt x="2043" y="2356"/>
                </a:lnTo>
                <a:lnTo>
                  <a:pt x="2048" y="2330"/>
                </a:lnTo>
                <a:lnTo>
                  <a:pt x="2055" y="2303"/>
                </a:lnTo>
                <a:lnTo>
                  <a:pt x="2064" y="2279"/>
                </a:lnTo>
                <a:lnTo>
                  <a:pt x="2064" y="2279"/>
                </a:lnTo>
                <a:lnTo>
                  <a:pt x="2072" y="2306"/>
                </a:lnTo>
                <a:lnTo>
                  <a:pt x="2079" y="2335"/>
                </a:lnTo>
                <a:lnTo>
                  <a:pt x="2088" y="2362"/>
                </a:lnTo>
                <a:lnTo>
                  <a:pt x="2098" y="2390"/>
                </a:lnTo>
                <a:lnTo>
                  <a:pt x="2108" y="2417"/>
                </a:lnTo>
                <a:lnTo>
                  <a:pt x="2121" y="2443"/>
                </a:lnTo>
                <a:lnTo>
                  <a:pt x="2135" y="2469"/>
                </a:lnTo>
                <a:lnTo>
                  <a:pt x="2149" y="2494"/>
                </a:lnTo>
                <a:lnTo>
                  <a:pt x="2166" y="2519"/>
                </a:lnTo>
                <a:lnTo>
                  <a:pt x="2183" y="2541"/>
                </a:lnTo>
                <a:lnTo>
                  <a:pt x="2201" y="2563"/>
                </a:lnTo>
                <a:lnTo>
                  <a:pt x="2222" y="2583"/>
                </a:lnTo>
                <a:lnTo>
                  <a:pt x="2244" y="2603"/>
                </a:lnTo>
                <a:lnTo>
                  <a:pt x="2268" y="2619"/>
                </a:lnTo>
                <a:lnTo>
                  <a:pt x="2280" y="2627"/>
                </a:lnTo>
                <a:lnTo>
                  <a:pt x="2292" y="2634"/>
                </a:lnTo>
                <a:lnTo>
                  <a:pt x="2306" y="2641"/>
                </a:lnTo>
                <a:lnTo>
                  <a:pt x="2320" y="2648"/>
                </a:lnTo>
                <a:lnTo>
                  <a:pt x="2320" y="2648"/>
                </a:lnTo>
                <a:lnTo>
                  <a:pt x="2365" y="2667"/>
                </a:lnTo>
                <a:lnTo>
                  <a:pt x="2410" y="2685"/>
                </a:lnTo>
                <a:lnTo>
                  <a:pt x="2454" y="2702"/>
                </a:lnTo>
                <a:lnTo>
                  <a:pt x="2499" y="2718"/>
                </a:lnTo>
                <a:lnTo>
                  <a:pt x="2544" y="2733"/>
                </a:lnTo>
                <a:lnTo>
                  <a:pt x="2589" y="2749"/>
                </a:lnTo>
                <a:lnTo>
                  <a:pt x="2683" y="2778"/>
                </a:lnTo>
                <a:lnTo>
                  <a:pt x="2782" y="2807"/>
                </a:lnTo>
                <a:lnTo>
                  <a:pt x="2889" y="2838"/>
                </a:lnTo>
                <a:lnTo>
                  <a:pt x="3005" y="2872"/>
                </a:lnTo>
                <a:lnTo>
                  <a:pt x="3133" y="2908"/>
                </a:lnTo>
                <a:lnTo>
                  <a:pt x="3133" y="2908"/>
                </a:lnTo>
                <a:lnTo>
                  <a:pt x="3205" y="2931"/>
                </a:lnTo>
                <a:lnTo>
                  <a:pt x="3273" y="2954"/>
                </a:lnTo>
                <a:lnTo>
                  <a:pt x="3305" y="2966"/>
                </a:lnTo>
                <a:lnTo>
                  <a:pt x="3333" y="2977"/>
                </a:lnTo>
                <a:lnTo>
                  <a:pt x="3358" y="2987"/>
                </a:lnTo>
                <a:lnTo>
                  <a:pt x="3377" y="2996"/>
                </a:lnTo>
                <a:lnTo>
                  <a:pt x="3377" y="2996"/>
                </a:lnTo>
                <a:lnTo>
                  <a:pt x="3383" y="2999"/>
                </a:lnTo>
                <a:lnTo>
                  <a:pt x="3389" y="3003"/>
                </a:lnTo>
                <a:lnTo>
                  <a:pt x="3393" y="3006"/>
                </a:lnTo>
                <a:lnTo>
                  <a:pt x="3397" y="3011"/>
                </a:lnTo>
                <a:lnTo>
                  <a:pt x="3399" y="3015"/>
                </a:lnTo>
                <a:lnTo>
                  <a:pt x="3401" y="3020"/>
                </a:lnTo>
                <a:lnTo>
                  <a:pt x="3402" y="3024"/>
                </a:lnTo>
                <a:lnTo>
                  <a:pt x="3402" y="3028"/>
                </a:lnTo>
                <a:lnTo>
                  <a:pt x="3401" y="3037"/>
                </a:lnTo>
                <a:lnTo>
                  <a:pt x="3397" y="3046"/>
                </a:lnTo>
                <a:lnTo>
                  <a:pt x="3392" y="3055"/>
                </a:lnTo>
                <a:lnTo>
                  <a:pt x="3386" y="3064"/>
                </a:lnTo>
                <a:lnTo>
                  <a:pt x="3378" y="3072"/>
                </a:lnTo>
                <a:lnTo>
                  <a:pt x="3371" y="3080"/>
                </a:lnTo>
                <a:lnTo>
                  <a:pt x="3357" y="3092"/>
                </a:lnTo>
                <a:lnTo>
                  <a:pt x="3346" y="3102"/>
                </a:lnTo>
                <a:lnTo>
                  <a:pt x="3341" y="3105"/>
                </a:lnTo>
                <a:lnTo>
                  <a:pt x="3341" y="3105"/>
                </a:lnTo>
                <a:lnTo>
                  <a:pt x="3355" y="3113"/>
                </a:lnTo>
                <a:lnTo>
                  <a:pt x="3371" y="3121"/>
                </a:lnTo>
                <a:lnTo>
                  <a:pt x="3411" y="3139"/>
                </a:lnTo>
                <a:lnTo>
                  <a:pt x="3435" y="3152"/>
                </a:lnTo>
                <a:lnTo>
                  <a:pt x="3461" y="3167"/>
                </a:lnTo>
                <a:lnTo>
                  <a:pt x="3492" y="3186"/>
                </a:lnTo>
                <a:lnTo>
                  <a:pt x="3527" y="3211"/>
                </a:lnTo>
                <a:lnTo>
                  <a:pt x="3527" y="3211"/>
                </a:lnTo>
                <a:lnTo>
                  <a:pt x="3545" y="3226"/>
                </a:lnTo>
                <a:lnTo>
                  <a:pt x="3563" y="3244"/>
                </a:lnTo>
                <a:lnTo>
                  <a:pt x="3580" y="3263"/>
                </a:lnTo>
                <a:lnTo>
                  <a:pt x="3595" y="3284"/>
                </a:lnTo>
                <a:lnTo>
                  <a:pt x="3608" y="3305"/>
                </a:lnTo>
                <a:lnTo>
                  <a:pt x="3622" y="3329"/>
                </a:lnTo>
                <a:lnTo>
                  <a:pt x="3634" y="3352"/>
                </a:lnTo>
                <a:lnTo>
                  <a:pt x="3645" y="3378"/>
                </a:lnTo>
                <a:lnTo>
                  <a:pt x="3655" y="3404"/>
                </a:lnTo>
                <a:lnTo>
                  <a:pt x="3665" y="3432"/>
                </a:lnTo>
                <a:lnTo>
                  <a:pt x="3674" y="3460"/>
                </a:lnTo>
                <a:lnTo>
                  <a:pt x="3682" y="3489"/>
                </a:lnTo>
                <a:lnTo>
                  <a:pt x="3698" y="3549"/>
                </a:lnTo>
                <a:lnTo>
                  <a:pt x="3714" y="3612"/>
                </a:lnTo>
                <a:lnTo>
                  <a:pt x="3714" y="3612"/>
                </a:lnTo>
                <a:lnTo>
                  <a:pt x="3725" y="3662"/>
                </a:lnTo>
                <a:lnTo>
                  <a:pt x="3734" y="3715"/>
                </a:lnTo>
                <a:lnTo>
                  <a:pt x="3742" y="3768"/>
                </a:lnTo>
                <a:lnTo>
                  <a:pt x="3744" y="3795"/>
                </a:lnTo>
                <a:lnTo>
                  <a:pt x="3746" y="3819"/>
                </a:lnTo>
                <a:lnTo>
                  <a:pt x="3748" y="3844"/>
                </a:lnTo>
                <a:lnTo>
                  <a:pt x="3749" y="3867"/>
                </a:lnTo>
                <a:lnTo>
                  <a:pt x="3748" y="3889"/>
                </a:lnTo>
                <a:lnTo>
                  <a:pt x="3745" y="3909"/>
                </a:lnTo>
                <a:lnTo>
                  <a:pt x="3742" y="3928"/>
                </a:lnTo>
                <a:lnTo>
                  <a:pt x="3737" y="3944"/>
                </a:lnTo>
                <a:lnTo>
                  <a:pt x="3731" y="3957"/>
                </a:lnTo>
                <a:lnTo>
                  <a:pt x="3728" y="3963"/>
                </a:lnTo>
                <a:lnTo>
                  <a:pt x="3724" y="3969"/>
                </a:lnTo>
                <a:lnTo>
                  <a:pt x="3724" y="3969"/>
                </a:lnTo>
                <a:lnTo>
                  <a:pt x="3715" y="3979"/>
                </a:lnTo>
                <a:lnTo>
                  <a:pt x="3705" y="3989"/>
                </a:lnTo>
                <a:lnTo>
                  <a:pt x="3691" y="3998"/>
                </a:lnTo>
                <a:lnTo>
                  <a:pt x="3683" y="4003"/>
                </a:lnTo>
                <a:lnTo>
                  <a:pt x="3673" y="4008"/>
                </a:lnTo>
                <a:lnTo>
                  <a:pt x="3663" y="4014"/>
                </a:lnTo>
                <a:lnTo>
                  <a:pt x="3650" y="4019"/>
                </a:lnTo>
                <a:lnTo>
                  <a:pt x="3621" y="4028"/>
                </a:lnTo>
                <a:lnTo>
                  <a:pt x="3582" y="4038"/>
                </a:lnTo>
                <a:lnTo>
                  <a:pt x="3535" y="4048"/>
                </a:lnTo>
                <a:lnTo>
                  <a:pt x="3560" y="4171"/>
                </a:lnTo>
                <a:lnTo>
                  <a:pt x="3560" y="4171"/>
                </a:lnTo>
                <a:lnTo>
                  <a:pt x="3579" y="4172"/>
                </a:lnTo>
                <a:lnTo>
                  <a:pt x="3597" y="4172"/>
                </a:lnTo>
                <a:lnTo>
                  <a:pt x="3615" y="4171"/>
                </a:lnTo>
                <a:lnTo>
                  <a:pt x="3631" y="4169"/>
                </a:lnTo>
                <a:lnTo>
                  <a:pt x="3646" y="4167"/>
                </a:lnTo>
                <a:lnTo>
                  <a:pt x="3662" y="4164"/>
                </a:lnTo>
                <a:lnTo>
                  <a:pt x="3688" y="4157"/>
                </a:lnTo>
                <a:lnTo>
                  <a:pt x="3711" y="4150"/>
                </a:lnTo>
                <a:lnTo>
                  <a:pt x="3728" y="4143"/>
                </a:lnTo>
                <a:lnTo>
                  <a:pt x="3742" y="4137"/>
                </a:lnTo>
                <a:lnTo>
                  <a:pt x="3742" y="4137"/>
                </a:lnTo>
                <a:lnTo>
                  <a:pt x="3736" y="4143"/>
                </a:lnTo>
                <a:lnTo>
                  <a:pt x="3730" y="4151"/>
                </a:lnTo>
                <a:lnTo>
                  <a:pt x="3722" y="4161"/>
                </a:lnTo>
                <a:lnTo>
                  <a:pt x="3722" y="4161"/>
                </a:lnTo>
                <a:lnTo>
                  <a:pt x="3711" y="4177"/>
                </a:lnTo>
                <a:lnTo>
                  <a:pt x="3700" y="4194"/>
                </a:lnTo>
                <a:lnTo>
                  <a:pt x="3692" y="4209"/>
                </a:lnTo>
                <a:lnTo>
                  <a:pt x="3685" y="4224"/>
                </a:lnTo>
                <a:lnTo>
                  <a:pt x="3680" y="4240"/>
                </a:lnTo>
                <a:lnTo>
                  <a:pt x="3675" y="4257"/>
                </a:lnTo>
                <a:lnTo>
                  <a:pt x="3672" y="4274"/>
                </a:lnTo>
                <a:lnTo>
                  <a:pt x="3669" y="4295"/>
                </a:lnTo>
                <a:lnTo>
                  <a:pt x="3799" y="4379"/>
                </a:lnTo>
                <a:lnTo>
                  <a:pt x="3799" y="4379"/>
                </a:lnTo>
                <a:lnTo>
                  <a:pt x="3812" y="4338"/>
                </a:lnTo>
                <a:lnTo>
                  <a:pt x="3826" y="4298"/>
                </a:lnTo>
                <a:lnTo>
                  <a:pt x="3841" y="4262"/>
                </a:lnTo>
                <a:lnTo>
                  <a:pt x="3855" y="4229"/>
                </a:lnTo>
                <a:lnTo>
                  <a:pt x="3870" y="4202"/>
                </a:lnTo>
                <a:lnTo>
                  <a:pt x="3877" y="4189"/>
                </a:lnTo>
                <a:lnTo>
                  <a:pt x="3885" y="4179"/>
                </a:lnTo>
                <a:lnTo>
                  <a:pt x="3892" y="4170"/>
                </a:lnTo>
                <a:lnTo>
                  <a:pt x="3899" y="4163"/>
                </a:lnTo>
                <a:lnTo>
                  <a:pt x="3906" y="4158"/>
                </a:lnTo>
                <a:lnTo>
                  <a:pt x="3913" y="4154"/>
                </a:lnTo>
                <a:lnTo>
                  <a:pt x="3913" y="4154"/>
                </a:lnTo>
                <a:lnTo>
                  <a:pt x="3919" y="4152"/>
                </a:lnTo>
                <a:lnTo>
                  <a:pt x="3926" y="4152"/>
                </a:lnTo>
                <a:lnTo>
                  <a:pt x="3935" y="4152"/>
                </a:lnTo>
                <a:lnTo>
                  <a:pt x="3944" y="4153"/>
                </a:lnTo>
                <a:lnTo>
                  <a:pt x="3954" y="4155"/>
                </a:lnTo>
                <a:lnTo>
                  <a:pt x="3965" y="4157"/>
                </a:lnTo>
                <a:lnTo>
                  <a:pt x="3990" y="4166"/>
                </a:lnTo>
                <a:lnTo>
                  <a:pt x="4017" y="4177"/>
                </a:lnTo>
                <a:lnTo>
                  <a:pt x="4047" y="4192"/>
                </a:lnTo>
                <a:lnTo>
                  <a:pt x="4078" y="4212"/>
                </a:lnTo>
                <a:lnTo>
                  <a:pt x="4110" y="4233"/>
                </a:lnTo>
                <a:lnTo>
                  <a:pt x="4127" y="4246"/>
                </a:lnTo>
                <a:lnTo>
                  <a:pt x="4143" y="4259"/>
                </a:lnTo>
                <a:lnTo>
                  <a:pt x="4160" y="4273"/>
                </a:lnTo>
                <a:lnTo>
                  <a:pt x="4176" y="4288"/>
                </a:lnTo>
                <a:lnTo>
                  <a:pt x="4192" y="4303"/>
                </a:lnTo>
                <a:lnTo>
                  <a:pt x="4208" y="4319"/>
                </a:lnTo>
                <a:lnTo>
                  <a:pt x="4224" y="4337"/>
                </a:lnTo>
                <a:lnTo>
                  <a:pt x="4239" y="4355"/>
                </a:lnTo>
                <a:lnTo>
                  <a:pt x="4254" y="4373"/>
                </a:lnTo>
                <a:lnTo>
                  <a:pt x="4268" y="4393"/>
                </a:lnTo>
                <a:lnTo>
                  <a:pt x="4282" y="4413"/>
                </a:lnTo>
                <a:lnTo>
                  <a:pt x="4296" y="4435"/>
                </a:lnTo>
                <a:lnTo>
                  <a:pt x="4308" y="4456"/>
                </a:lnTo>
                <a:lnTo>
                  <a:pt x="4320" y="4479"/>
                </a:lnTo>
                <a:lnTo>
                  <a:pt x="4331" y="4502"/>
                </a:lnTo>
                <a:lnTo>
                  <a:pt x="4342" y="4527"/>
                </a:lnTo>
                <a:lnTo>
                  <a:pt x="4342" y="4527"/>
                </a:lnTo>
                <a:lnTo>
                  <a:pt x="4347" y="4541"/>
                </a:lnTo>
                <a:lnTo>
                  <a:pt x="4352" y="4558"/>
                </a:lnTo>
                <a:lnTo>
                  <a:pt x="4356" y="4574"/>
                </a:lnTo>
                <a:lnTo>
                  <a:pt x="4360" y="4591"/>
                </a:lnTo>
                <a:lnTo>
                  <a:pt x="4363" y="4610"/>
                </a:lnTo>
                <a:lnTo>
                  <a:pt x="4366" y="4628"/>
                </a:lnTo>
                <a:lnTo>
                  <a:pt x="4370" y="4667"/>
                </a:lnTo>
                <a:lnTo>
                  <a:pt x="4372" y="4706"/>
                </a:lnTo>
                <a:lnTo>
                  <a:pt x="4371" y="4747"/>
                </a:lnTo>
                <a:lnTo>
                  <a:pt x="4370" y="4767"/>
                </a:lnTo>
                <a:lnTo>
                  <a:pt x="4369" y="4787"/>
                </a:lnTo>
                <a:lnTo>
                  <a:pt x="4366" y="4807"/>
                </a:lnTo>
                <a:lnTo>
                  <a:pt x="4363" y="4826"/>
                </a:lnTo>
                <a:lnTo>
                  <a:pt x="4360" y="4846"/>
                </a:lnTo>
                <a:lnTo>
                  <a:pt x="4356" y="4864"/>
                </a:lnTo>
                <a:lnTo>
                  <a:pt x="4351" y="4883"/>
                </a:lnTo>
                <a:lnTo>
                  <a:pt x="4345" y="4900"/>
                </a:lnTo>
                <a:lnTo>
                  <a:pt x="4339" y="4917"/>
                </a:lnTo>
                <a:lnTo>
                  <a:pt x="4332" y="4933"/>
                </a:lnTo>
                <a:lnTo>
                  <a:pt x="4324" y="4948"/>
                </a:lnTo>
                <a:lnTo>
                  <a:pt x="4316" y="4962"/>
                </a:lnTo>
                <a:lnTo>
                  <a:pt x="4307" y="4976"/>
                </a:lnTo>
                <a:lnTo>
                  <a:pt x="4298" y="4988"/>
                </a:lnTo>
                <a:lnTo>
                  <a:pt x="4287" y="4999"/>
                </a:lnTo>
                <a:lnTo>
                  <a:pt x="4276" y="5008"/>
                </a:lnTo>
                <a:lnTo>
                  <a:pt x="4264" y="5017"/>
                </a:lnTo>
                <a:lnTo>
                  <a:pt x="4252" y="5024"/>
                </a:lnTo>
                <a:lnTo>
                  <a:pt x="4238" y="5029"/>
                </a:lnTo>
                <a:lnTo>
                  <a:pt x="4224" y="5032"/>
                </a:lnTo>
                <a:lnTo>
                  <a:pt x="4224" y="5032"/>
                </a:lnTo>
                <a:lnTo>
                  <a:pt x="4216" y="5033"/>
                </a:lnTo>
                <a:lnTo>
                  <a:pt x="4208" y="5033"/>
                </a:lnTo>
                <a:lnTo>
                  <a:pt x="4198" y="5032"/>
                </a:lnTo>
                <a:lnTo>
                  <a:pt x="4188" y="5030"/>
                </a:lnTo>
                <a:lnTo>
                  <a:pt x="4168" y="5025"/>
                </a:lnTo>
                <a:lnTo>
                  <a:pt x="4145" y="5017"/>
                </a:lnTo>
                <a:lnTo>
                  <a:pt x="4123" y="5006"/>
                </a:lnTo>
                <a:lnTo>
                  <a:pt x="4099" y="4995"/>
                </a:lnTo>
                <a:lnTo>
                  <a:pt x="4051" y="4973"/>
                </a:lnTo>
                <a:lnTo>
                  <a:pt x="4028" y="4961"/>
                </a:lnTo>
                <a:lnTo>
                  <a:pt x="4005" y="4952"/>
                </a:lnTo>
                <a:lnTo>
                  <a:pt x="3984" y="4945"/>
                </a:lnTo>
                <a:lnTo>
                  <a:pt x="3964" y="4940"/>
                </a:lnTo>
                <a:lnTo>
                  <a:pt x="3955" y="4939"/>
                </a:lnTo>
                <a:lnTo>
                  <a:pt x="3947" y="4938"/>
                </a:lnTo>
                <a:lnTo>
                  <a:pt x="3939" y="4939"/>
                </a:lnTo>
                <a:lnTo>
                  <a:pt x="3932" y="4940"/>
                </a:lnTo>
                <a:lnTo>
                  <a:pt x="3924" y="4943"/>
                </a:lnTo>
                <a:lnTo>
                  <a:pt x="3919" y="4947"/>
                </a:lnTo>
                <a:lnTo>
                  <a:pt x="3914" y="4952"/>
                </a:lnTo>
                <a:lnTo>
                  <a:pt x="3909" y="4958"/>
                </a:lnTo>
                <a:lnTo>
                  <a:pt x="3909" y="4958"/>
                </a:lnTo>
                <a:lnTo>
                  <a:pt x="3905" y="4965"/>
                </a:lnTo>
                <a:lnTo>
                  <a:pt x="3900" y="4973"/>
                </a:lnTo>
                <a:lnTo>
                  <a:pt x="3893" y="4979"/>
                </a:lnTo>
                <a:lnTo>
                  <a:pt x="3886" y="4985"/>
                </a:lnTo>
                <a:lnTo>
                  <a:pt x="3869" y="4996"/>
                </a:lnTo>
                <a:lnTo>
                  <a:pt x="3851" y="5006"/>
                </a:lnTo>
                <a:lnTo>
                  <a:pt x="3810" y="5028"/>
                </a:lnTo>
                <a:lnTo>
                  <a:pt x="3789" y="5039"/>
                </a:lnTo>
                <a:lnTo>
                  <a:pt x="3770" y="5052"/>
                </a:lnTo>
                <a:lnTo>
                  <a:pt x="3761" y="5058"/>
                </a:lnTo>
                <a:lnTo>
                  <a:pt x="3752" y="5067"/>
                </a:lnTo>
                <a:lnTo>
                  <a:pt x="3743" y="5074"/>
                </a:lnTo>
                <a:lnTo>
                  <a:pt x="3735" y="5083"/>
                </a:lnTo>
                <a:lnTo>
                  <a:pt x="3728" y="5092"/>
                </a:lnTo>
                <a:lnTo>
                  <a:pt x="3722" y="5102"/>
                </a:lnTo>
                <a:lnTo>
                  <a:pt x="3717" y="5113"/>
                </a:lnTo>
                <a:lnTo>
                  <a:pt x="3713" y="5125"/>
                </a:lnTo>
                <a:lnTo>
                  <a:pt x="3710" y="5137"/>
                </a:lnTo>
                <a:lnTo>
                  <a:pt x="3708" y="5151"/>
                </a:lnTo>
                <a:lnTo>
                  <a:pt x="3707" y="5165"/>
                </a:lnTo>
                <a:lnTo>
                  <a:pt x="3707" y="5181"/>
                </a:lnTo>
                <a:lnTo>
                  <a:pt x="3709" y="5198"/>
                </a:lnTo>
                <a:lnTo>
                  <a:pt x="3713" y="5215"/>
                </a:lnTo>
                <a:lnTo>
                  <a:pt x="3718" y="5234"/>
                </a:lnTo>
                <a:lnTo>
                  <a:pt x="3724" y="5255"/>
                </a:lnTo>
                <a:lnTo>
                  <a:pt x="3724" y="5255"/>
                </a:lnTo>
                <a:lnTo>
                  <a:pt x="3741" y="5234"/>
                </a:lnTo>
                <a:lnTo>
                  <a:pt x="3759" y="5213"/>
                </a:lnTo>
                <a:lnTo>
                  <a:pt x="3776" y="5194"/>
                </a:lnTo>
                <a:lnTo>
                  <a:pt x="3794" y="5178"/>
                </a:lnTo>
                <a:lnTo>
                  <a:pt x="3802" y="5171"/>
                </a:lnTo>
                <a:lnTo>
                  <a:pt x="3811" y="5165"/>
                </a:lnTo>
                <a:lnTo>
                  <a:pt x="3819" y="5159"/>
                </a:lnTo>
                <a:lnTo>
                  <a:pt x="3827" y="5155"/>
                </a:lnTo>
                <a:lnTo>
                  <a:pt x="3835" y="5153"/>
                </a:lnTo>
                <a:lnTo>
                  <a:pt x="3843" y="5151"/>
                </a:lnTo>
                <a:lnTo>
                  <a:pt x="3850" y="5151"/>
                </a:lnTo>
                <a:lnTo>
                  <a:pt x="3857" y="5153"/>
                </a:lnTo>
                <a:lnTo>
                  <a:pt x="3857" y="5153"/>
                </a:lnTo>
                <a:lnTo>
                  <a:pt x="3861" y="5155"/>
                </a:lnTo>
                <a:lnTo>
                  <a:pt x="3864" y="5157"/>
                </a:lnTo>
                <a:lnTo>
                  <a:pt x="3870" y="5163"/>
                </a:lnTo>
                <a:lnTo>
                  <a:pt x="3875" y="5171"/>
                </a:lnTo>
                <a:lnTo>
                  <a:pt x="3879" y="5179"/>
                </a:lnTo>
                <a:lnTo>
                  <a:pt x="3888" y="5200"/>
                </a:lnTo>
                <a:lnTo>
                  <a:pt x="3894" y="5210"/>
                </a:lnTo>
                <a:lnTo>
                  <a:pt x="3901" y="5220"/>
                </a:lnTo>
                <a:lnTo>
                  <a:pt x="3901" y="5220"/>
                </a:lnTo>
                <a:lnTo>
                  <a:pt x="3904" y="5223"/>
                </a:lnTo>
                <a:lnTo>
                  <a:pt x="3908" y="5225"/>
                </a:lnTo>
                <a:lnTo>
                  <a:pt x="3913" y="5227"/>
                </a:lnTo>
                <a:lnTo>
                  <a:pt x="3919" y="5228"/>
                </a:lnTo>
                <a:lnTo>
                  <a:pt x="3934" y="5230"/>
                </a:lnTo>
                <a:lnTo>
                  <a:pt x="3950" y="5230"/>
                </a:lnTo>
                <a:lnTo>
                  <a:pt x="3968" y="5229"/>
                </a:lnTo>
                <a:lnTo>
                  <a:pt x="3989" y="5227"/>
                </a:lnTo>
                <a:lnTo>
                  <a:pt x="4032" y="5223"/>
                </a:lnTo>
                <a:lnTo>
                  <a:pt x="4074" y="5219"/>
                </a:lnTo>
                <a:lnTo>
                  <a:pt x="4093" y="5217"/>
                </a:lnTo>
                <a:lnTo>
                  <a:pt x="4110" y="5217"/>
                </a:lnTo>
                <a:lnTo>
                  <a:pt x="4126" y="5217"/>
                </a:lnTo>
                <a:lnTo>
                  <a:pt x="4137" y="5219"/>
                </a:lnTo>
                <a:lnTo>
                  <a:pt x="4142" y="5221"/>
                </a:lnTo>
                <a:lnTo>
                  <a:pt x="4146" y="5223"/>
                </a:lnTo>
                <a:lnTo>
                  <a:pt x="4148" y="5225"/>
                </a:lnTo>
                <a:lnTo>
                  <a:pt x="4150" y="5228"/>
                </a:lnTo>
                <a:lnTo>
                  <a:pt x="4150" y="5228"/>
                </a:lnTo>
                <a:lnTo>
                  <a:pt x="4151" y="5231"/>
                </a:lnTo>
                <a:lnTo>
                  <a:pt x="4150" y="5234"/>
                </a:lnTo>
                <a:lnTo>
                  <a:pt x="4149" y="5236"/>
                </a:lnTo>
                <a:lnTo>
                  <a:pt x="4148" y="5238"/>
                </a:lnTo>
                <a:lnTo>
                  <a:pt x="4143" y="5242"/>
                </a:lnTo>
                <a:lnTo>
                  <a:pt x="4136" y="5243"/>
                </a:lnTo>
                <a:lnTo>
                  <a:pt x="4118" y="5246"/>
                </a:lnTo>
                <a:lnTo>
                  <a:pt x="4100" y="5248"/>
                </a:lnTo>
                <a:lnTo>
                  <a:pt x="4100" y="5248"/>
                </a:lnTo>
                <a:lnTo>
                  <a:pt x="4021" y="5262"/>
                </a:lnTo>
                <a:lnTo>
                  <a:pt x="3981" y="5269"/>
                </a:lnTo>
                <a:lnTo>
                  <a:pt x="3943" y="5277"/>
                </a:lnTo>
                <a:lnTo>
                  <a:pt x="3925" y="5282"/>
                </a:lnTo>
                <a:lnTo>
                  <a:pt x="3909" y="5288"/>
                </a:lnTo>
                <a:lnTo>
                  <a:pt x="3894" y="5294"/>
                </a:lnTo>
                <a:lnTo>
                  <a:pt x="3881" y="5300"/>
                </a:lnTo>
                <a:lnTo>
                  <a:pt x="3869" y="5306"/>
                </a:lnTo>
                <a:lnTo>
                  <a:pt x="3860" y="5314"/>
                </a:lnTo>
                <a:lnTo>
                  <a:pt x="3853" y="5322"/>
                </a:lnTo>
                <a:lnTo>
                  <a:pt x="3850" y="5326"/>
                </a:lnTo>
                <a:lnTo>
                  <a:pt x="3848" y="5331"/>
                </a:lnTo>
                <a:lnTo>
                  <a:pt x="3848" y="5331"/>
                </a:lnTo>
                <a:lnTo>
                  <a:pt x="3846" y="5338"/>
                </a:lnTo>
                <a:lnTo>
                  <a:pt x="3846" y="5342"/>
                </a:lnTo>
                <a:lnTo>
                  <a:pt x="3847" y="5352"/>
                </a:lnTo>
                <a:lnTo>
                  <a:pt x="3847" y="5357"/>
                </a:lnTo>
                <a:lnTo>
                  <a:pt x="3846" y="5363"/>
                </a:lnTo>
                <a:lnTo>
                  <a:pt x="3845" y="5371"/>
                </a:lnTo>
                <a:lnTo>
                  <a:pt x="3842" y="5382"/>
                </a:lnTo>
                <a:lnTo>
                  <a:pt x="3842" y="5382"/>
                </a:lnTo>
                <a:lnTo>
                  <a:pt x="3837" y="5393"/>
                </a:lnTo>
                <a:lnTo>
                  <a:pt x="3831" y="5402"/>
                </a:lnTo>
                <a:lnTo>
                  <a:pt x="3823" y="5410"/>
                </a:lnTo>
                <a:lnTo>
                  <a:pt x="3815" y="5418"/>
                </a:lnTo>
                <a:lnTo>
                  <a:pt x="3796" y="5434"/>
                </a:lnTo>
                <a:lnTo>
                  <a:pt x="3786" y="5442"/>
                </a:lnTo>
                <a:lnTo>
                  <a:pt x="3776" y="5451"/>
                </a:lnTo>
                <a:lnTo>
                  <a:pt x="3767" y="5460"/>
                </a:lnTo>
                <a:lnTo>
                  <a:pt x="3758" y="5472"/>
                </a:lnTo>
                <a:lnTo>
                  <a:pt x="3750" y="5485"/>
                </a:lnTo>
                <a:lnTo>
                  <a:pt x="3742" y="5499"/>
                </a:lnTo>
                <a:lnTo>
                  <a:pt x="3736" y="5517"/>
                </a:lnTo>
                <a:lnTo>
                  <a:pt x="3732" y="5536"/>
                </a:lnTo>
                <a:lnTo>
                  <a:pt x="3730" y="5558"/>
                </a:lnTo>
                <a:lnTo>
                  <a:pt x="3730" y="5584"/>
                </a:lnTo>
                <a:lnTo>
                  <a:pt x="3730" y="5584"/>
                </a:lnTo>
                <a:lnTo>
                  <a:pt x="3732" y="5597"/>
                </a:lnTo>
                <a:lnTo>
                  <a:pt x="3735" y="5610"/>
                </a:lnTo>
                <a:lnTo>
                  <a:pt x="3739" y="5622"/>
                </a:lnTo>
                <a:lnTo>
                  <a:pt x="3744" y="5634"/>
                </a:lnTo>
                <a:lnTo>
                  <a:pt x="3751" y="5644"/>
                </a:lnTo>
                <a:lnTo>
                  <a:pt x="3757" y="5656"/>
                </a:lnTo>
                <a:lnTo>
                  <a:pt x="3763" y="5665"/>
                </a:lnTo>
                <a:lnTo>
                  <a:pt x="3770" y="5674"/>
                </a:lnTo>
                <a:lnTo>
                  <a:pt x="3784" y="5689"/>
                </a:lnTo>
                <a:lnTo>
                  <a:pt x="3797" y="5701"/>
                </a:lnTo>
                <a:lnTo>
                  <a:pt x="3807" y="5708"/>
                </a:lnTo>
                <a:lnTo>
                  <a:pt x="3810" y="5710"/>
                </a:lnTo>
                <a:lnTo>
                  <a:pt x="3813" y="5711"/>
                </a:lnTo>
                <a:lnTo>
                  <a:pt x="3813" y="5711"/>
                </a:lnTo>
                <a:lnTo>
                  <a:pt x="3814" y="5710"/>
                </a:lnTo>
                <a:lnTo>
                  <a:pt x="3815" y="5709"/>
                </a:lnTo>
                <a:lnTo>
                  <a:pt x="3816" y="5704"/>
                </a:lnTo>
                <a:lnTo>
                  <a:pt x="3818" y="5696"/>
                </a:lnTo>
                <a:lnTo>
                  <a:pt x="3818" y="5686"/>
                </a:lnTo>
                <a:lnTo>
                  <a:pt x="3820" y="5662"/>
                </a:lnTo>
                <a:lnTo>
                  <a:pt x="3823" y="5633"/>
                </a:lnTo>
                <a:lnTo>
                  <a:pt x="3825" y="5619"/>
                </a:lnTo>
                <a:lnTo>
                  <a:pt x="3828" y="5603"/>
                </a:lnTo>
                <a:lnTo>
                  <a:pt x="3831" y="5590"/>
                </a:lnTo>
                <a:lnTo>
                  <a:pt x="3836" y="5577"/>
                </a:lnTo>
                <a:lnTo>
                  <a:pt x="3843" y="5566"/>
                </a:lnTo>
                <a:lnTo>
                  <a:pt x="3847" y="5562"/>
                </a:lnTo>
                <a:lnTo>
                  <a:pt x="3851" y="5556"/>
                </a:lnTo>
                <a:lnTo>
                  <a:pt x="3855" y="5553"/>
                </a:lnTo>
                <a:lnTo>
                  <a:pt x="3860" y="5550"/>
                </a:lnTo>
                <a:lnTo>
                  <a:pt x="3865" y="5547"/>
                </a:lnTo>
                <a:lnTo>
                  <a:pt x="3871" y="5546"/>
                </a:lnTo>
                <a:lnTo>
                  <a:pt x="3871" y="5546"/>
                </a:lnTo>
                <a:lnTo>
                  <a:pt x="3877" y="5545"/>
                </a:lnTo>
                <a:lnTo>
                  <a:pt x="3882" y="5546"/>
                </a:lnTo>
                <a:lnTo>
                  <a:pt x="3888" y="5548"/>
                </a:lnTo>
                <a:lnTo>
                  <a:pt x="3892" y="5552"/>
                </a:lnTo>
                <a:lnTo>
                  <a:pt x="3902" y="5561"/>
                </a:lnTo>
                <a:lnTo>
                  <a:pt x="3911" y="5571"/>
                </a:lnTo>
                <a:lnTo>
                  <a:pt x="3921" y="5581"/>
                </a:lnTo>
                <a:lnTo>
                  <a:pt x="3926" y="5586"/>
                </a:lnTo>
                <a:lnTo>
                  <a:pt x="3933" y="5590"/>
                </a:lnTo>
                <a:lnTo>
                  <a:pt x="3940" y="5594"/>
                </a:lnTo>
                <a:lnTo>
                  <a:pt x="3946" y="5597"/>
                </a:lnTo>
                <a:lnTo>
                  <a:pt x="3954" y="5598"/>
                </a:lnTo>
                <a:lnTo>
                  <a:pt x="3962" y="5599"/>
                </a:lnTo>
                <a:lnTo>
                  <a:pt x="3962" y="5599"/>
                </a:lnTo>
                <a:lnTo>
                  <a:pt x="3970" y="5598"/>
                </a:lnTo>
                <a:lnTo>
                  <a:pt x="3979" y="5595"/>
                </a:lnTo>
                <a:lnTo>
                  <a:pt x="3987" y="5592"/>
                </a:lnTo>
                <a:lnTo>
                  <a:pt x="3996" y="5588"/>
                </a:lnTo>
                <a:lnTo>
                  <a:pt x="4005" y="5582"/>
                </a:lnTo>
                <a:lnTo>
                  <a:pt x="4014" y="5576"/>
                </a:lnTo>
                <a:lnTo>
                  <a:pt x="4035" y="5559"/>
                </a:lnTo>
                <a:lnTo>
                  <a:pt x="4055" y="5542"/>
                </a:lnTo>
                <a:lnTo>
                  <a:pt x="4077" y="5522"/>
                </a:lnTo>
                <a:lnTo>
                  <a:pt x="4122" y="5479"/>
                </a:lnTo>
                <a:lnTo>
                  <a:pt x="4144" y="5457"/>
                </a:lnTo>
                <a:lnTo>
                  <a:pt x="4166" y="5437"/>
                </a:lnTo>
                <a:lnTo>
                  <a:pt x="4187" y="5417"/>
                </a:lnTo>
                <a:lnTo>
                  <a:pt x="4208" y="5402"/>
                </a:lnTo>
                <a:lnTo>
                  <a:pt x="4227" y="5389"/>
                </a:lnTo>
                <a:lnTo>
                  <a:pt x="4236" y="5384"/>
                </a:lnTo>
                <a:lnTo>
                  <a:pt x="4245" y="5380"/>
                </a:lnTo>
                <a:lnTo>
                  <a:pt x="4254" y="5376"/>
                </a:lnTo>
                <a:lnTo>
                  <a:pt x="4262" y="5374"/>
                </a:lnTo>
                <a:lnTo>
                  <a:pt x="4270" y="5374"/>
                </a:lnTo>
                <a:lnTo>
                  <a:pt x="4277" y="5375"/>
                </a:lnTo>
                <a:lnTo>
                  <a:pt x="4277" y="5375"/>
                </a:lnTo>
                <a:lnTo>
                  <a:pt x="4278" y="5376"/>
                </a:lnTo>
                <a:lnTo>
                  <a:pt x="4279" y="5379"/>
                </a:lnTo>
                <a:lnTo>
                  <a:pt x="4278" y="5382"/>
                </a:lnTo>
                <a:lnTo>
                  <a:pt x="4277" y="5384"/>
                </a:lnTo>
                <a:lnTo>
                  <a:pt x="4272" y="5391"/>
                </a:lnTo>
                <a:lnTo>
                  <a:pt x="4264" y="5399"/>
                </a:lnTo>
                <a:lnTo>
                  <a:pt x="4241" y="5420"/>
                </a:lnTo>
                <a:lnTo>
                  <a:pt x="4212" y="5447"/>
                </a:lnTo>
                <a:lnTo>
                  <a:pt x="4181" y="5477"/>
                </a:lnTo>
                <a:lnTo>
                  <a:pt x="4167" y="5492"/>
                </a:lnTo>
                <a:lnTo>
                  <a:pt x="4152" y="5508"/>
                </a:lnTo>
                <a:lnTo>
                  <a:pt x="4140" y="5525"/>
                </a:lnTo>
                <a:lnTo>
                  <a:pt x="4129" y="5542"/>
                </a:lnTo>
                <a:lnTo>
                  <a:pt x="4121" y="5558"/>
                </a:lnTo>
                <a:lnTo>
                  <a:pt x="4118" y="5567"/>
                </a:lnTo>
                <a:lnTo>
                  <a:pt x="4116" y="5576"/>
                </a:lnTo>
                <a:lnTo>
                  <a:pt x="4116" y="5576"/>
                </a:lnTo>
                <a:lnTo>
                  <a:pt x="4114" y="5588"/>
                </a:lnTo>
                <a:lnTo>
                  <a:pt x="4114" y="5599"/>
                </a:lnTo>
                <a:lnTo>
                  <a:pt x="4115" y="5611"/>
                </a:lnTo>
                <a:lnTo>
                  <a:pt x="4119" y="5620"/>
                </a:lnTo>
                <a:lnTo>
                  <a:pt x="4123" y="5628"/>
                </a:lnTo>
                <a:lnTo>
                  <a:pt x="4129" y="5636"/>
                </a:lnTo>
                <a:lnTo>
                  <a:pt x="4135" y="5643"/>
                </a:lnTo>
                <a:lnTo>
                  <a:pt x="4142" y="5649"/>
                </a:lnTo>
                <a:lnTo>
                  <a:pt x="4157" y="5663"/>
                </a:lnTo>
                <a:lnTo>
                  <a:pt x="4163" y="5669"/>
                </a:lnTo>
                <a:lnTo>
                  <a:pt x="4169" y="5676"/>
                </a:lnTo>
                <a:lnTo>
                  <a:pt x="4175" y="5683"/>
                </a:lnTo>
                <a:lnTo>
                  <a:pt x="4179" y="5690"/>
                </a:lnTo>
                <a:lnTo>
                  <a:pt x="4182" y="5699"/>
                </a:lnTo>
                <a:lnTo>
                  <a:pt x="4183" y="5708"/>
                </a:lnTo>
                <a:lnTo>
                  <a:pt x="4183" y="5708"/>
                </a:lnTo>
                <a:lnTo>
                  <a:pt x="4184" y="5718"/>
                </a:lnTo>
                <a:lnTo>
                  <a:pt x="4186" y="5729"/>
                </a:lnTo>
                <a:lnTo>
                  <a:pt x="4189" y="5738"/>
                </a:lnTo>
                <a:lnTo>
                  <a:pt x="4193" y="5749"/>
                </a:lnTo>
                <a:lnTo>
                  <a:pt x="4198" y="5758"/>
                </a:lnTo>
                <a:lnTo>
                  <a:pt x="4205" y="5767"/>
                </a:lnTo>
                <a:lnTo>
                  <a:pt x="4212" y="5775"/>
                </a:lnTo>
                <a:lnTo>
                  <a:pt x="4220" y="5783"/>
                </a:lnTo>
                <a:lnTo>
                  <a:pt x="4228" y="5792"/>
                </a:lnTo>
                <a:lnTo>
                  <a:pt x="4237" y="5799"/>
                </a:lnTo>
                <a:lnTo>
                  <a:pt x="4257" y="5812"/>
                </a:lnTo>
                <a:lnTo>
                  <a:pt x="4278" y="5824"/>
                </a:lnTo>
                <a:lnTo>
                  <a:pt x="4300" y="5835"/>
                </a:lnTo>
                <a:lnTo>
                  <a:pt x="4322" y="5844"/>
                </a:lnTo>
                <a:lnTo>
                  <a:pt x="4344" y="5852"/>
                </a:lnTo>
                <a:lnTo>
                  <a:pt x="4364" y="5857"/>
                </a:lnTo>
                <a:lnTo>
                  <a:pt x="4382" y="5862"/>
                </a:lnTo>
                <a:lnTo>
                  <a:pt x="4399" y="5864"/>
                </a:lnTo>
                <a:lnTo>
                  <a:pt x="4412" y="5865"/>
                </a:lnTo>
                <a:lnTo>
                  <a:pt x="4421" y="5865"/>
                </a:lnTo>
                <a:lnTo>
                  <a:pt x="4424" y="5864"/>
                </a:lnTo>
                <a:lnTo>
                  <a:pt x="4426" y="5863"/>
                </a:lnTo>
                <a:lnTo>
                  <a:pt x="4426" y="5863"/>
                </a:lnTo>
                <a:lnTo>
                  <a:pt x="4427" y="5861"/>
                </a:lnTo>
                <a:lnTo>
                  <a:pt x="4427" y="5859"/>
                </a:lnTo>
                <a:lnTo>
                  <a:pt x="4425" y="5853"/>
                </a:lnTo>
                <a:lnTo>
                  <a:pt x="4420" y="5846"/>
                </a:lnTo>
                <a:lnTo>
                  <a:pt x="4412" y="5836"/>
                </a:lnTo>
                <a:lnTo>
                  <a:pt x="4393" y="5813"/>
                </a:lnTo>
                <a:lnTo>
                  <a:pt x="4369" y="5786"/>
                </a:lnTo>
                <a:lnTo>
                  <a:pt x="4358" y="5773"/>
                </a:lnTo>
                <a:lnTo>
                  <a:pt x="4348" y="5759"/>
                </a:lnTo>
                <a:lnTo>
                  <a:pt x="4339" y="5745"/>
                </a:lnTo>
                <a:lnTo>
                  <a:pt x="4330" y="5731"/>
                </a:lnTo>
                <a:lnTo>
                  <a:pt x="4325" y="5718"/>
                </a:lnTo>
                <a:lnTo>
                  <a:pt x="4324" y="5712"/>
                </a:lnTo>
                <a:lnTo>
                  <a:pt x="4323" y="5706"/>
                </a:lnTo>
                <a:lnTo>
                  <a:pt x="4323" y="5700"/>
                </a:lnTo>
                <a:lnTo>
                  <a:pt x="4324" y="5694"/>
                </a:lnTo>
                <a:lnTo>
                  <a:pt x="4326" y="5689"/>
                </a:lnTo>
                <a:lnTo>
                  <a:pt x="4329" y="5684"/>
                </a:lnTo>
                <a:lnTo>
                  <a:pt x="4329" y="5684"/>
                </a:lnTo>
                <a:lnTo>
                  <a:pt x="4333" y="5680"/>
                </a:lnTo>
                <a:lnTo>
                  <a:pt x="4337" y="5677"/>
                </a:lnTo>
                <a:lnTo>
                  <a:pt x="4343" y="5676"/>
                </a:lnTo>
                <a:lnTo>
                  <a:pt x="4347" y="5675"/>
                </a:lnTo>
                <a:lnTo>
                  <a:pt x="4352" y="5675"/>
                </a:lnTo>
                <a:lnTo>
                  <a:pt x="4358" y="5676"/>
                </a:lnTo>
                <a:lnTo>
                  <a:pt x="4370" y="5678"/>
                </a:lnTo>
                <a:lnTo>
                  <a:pt x="4384" y="5681"/>
                </a:lnTo>
                <a:lnTo>
                  <a:pt x="4392" y="5682"/>
                </a:lnTo>
                <a:lnTo>
                  <a:pt x="4399" y="5682"/>
                </a:lnTo>
                <a:lnTo>
                  <a:pt x="4408" y="5682"/>
                </a:lnTo>
                <a:lnTo>
                  <a:pt x="4416" y="5681"/>
                </a:lnTo>
                <a:lnTo>
                  <a:pt x="4425" y="5679"/>
                </a:lnTo>
                <a:lnTo>
                  <a:pt x="4436" y="5675"/>
                </a:lnTo>
                <a:lnTo>
                  <a:pt x="4436" y="5675"/>
                </a:lnTo>
                <a:lnTo>
                  <a:pt x="4437" y="5673"/>
                </a:lnTo>
                <a:lnTo>
                  <a:pt x="4438" y="5670"/>
                </a:lnTo>
                <a:lnTo>
                  <a:pt x="4438" y="5663"/>
                </a:lnTo>
                <a:lnTo>
                  <a:pt x="4436" y="5652"/>
                </a:lnTo>
                <a:lnTo>
                  <a:pt x="4434" y="5637"/>
                </a:lnTo>
                <a:lnTo>
                  <a:pt x="4431" y="5621"/>
                </a:lnTo>
                <a:lnTo>
                  <a:pt x="4428" y="5602"/>
                </a:lnTo>
                <a:lnTo>
                  <a:pt x="4426" y="5581"/>
                </a:lnTo>
                <a:lnTo>
                  <a:pt x="4426" y="5557"/>
                </a:lnTo>
                <a:lnTo>
                  <a:pt x="4428" y="5533"/>
                </a:lnTo>
                <a:lnTo>
                  <a:pt x="4431" y="5520"/>
                </a:lnTo>
                <a:lnTo>
                  <a:pt x="4434" y="5505"/>
                </a:lnTo>
                <a:lnTo>
                  <a:pt x="4437" y="5492"/>
                </a:lnTo>
                <a:lnTo>
                  <a:pt x="4441" y="5477"/>
                </a:lnTo>
                <a:lnTo>
                  <a:pt x="4446" y="5462"/>
                </a:lnTo>
                <a:lnTo>
                  <a:pt x="4453" y="5447"/>
                </a:lnTo>
                <a:lnTo>
                  <a:pt x="4460" y="5432"/>
                </a:lnTo>
                <a:lnTo>
                  <a:pt x="4469" y="5416"/>
                </a:lnTo>
                <a:lnTo>
                  <a:pt x="4479" y="5400"/>
                </a:lnTo>
                <a:lnTo>
                  <a:pt x="4490" y="5384"/>
                </a:lnTo>
                <a:lnTo>
                  <a:pt x="4503" y="5367"/>
                </a:lnTo>
                <a:lnTo>
                  <a:pt x="4516" y="5351"/>
                </a:lnTo>
                <a:lnTo>
                  <a:pt x="4533" y="5334"/>
                </a:lnTo>
                <a:lnTo>
                  <a:pt x="4550" y="5317"/>
                </a:lnTo>
                <a:lnTo>
                  <a:pt x="4550" y="5317"/>
                </a:lnTo>
                <a:lnTo>
                  <a:pt x="4557" y="5328"/>
                </a:lnTo>
                <a:lnTo>
                  <a:pt x="4566" y="5340"/>
                </a:lnTo>
                <a:lnTo>
                  <a:pt x="4578" y="5353"/>
                </a:lnTo>
                <a:lnTo>
                  <a:pt x="4586" y="5360"/>
                </a:lnTo>
                <a:lnTo>
                  <a:pt x="4594" y="5367"/>
                </a:lnTo>
                <a:lnTo>
                  <a:pt x="4603" y="5373"/>
                </a:lnTo>
                <a:lnTo>
                  <a:pt x="4614" y="5381"/>
                </a:lnTo>
                <a:lnTo>
                  <a:pt x="4624" y="5386"/>
                </a:lnTo>
                <a:lnTo>
                  <a:pt x="4636" y="5390"/>
                </a:lnTo>
                <a:lnTo>
                  <a:pt x="4648" y="5394"/>
                </a:lnTo>
                <a:lnTo>
                  <a:pt x="4662" y="5396"/>
                </a:lnTo>
                <a:lnTo>
                  <a:pt x="4662" y="5396"/>
                </a:lnTo>
                <a:lnTo>
                  <a:pt x="4668" y="5397"/>
                </a:lnTo>
                <a:lnTo>
                  <a:pt x="4673" y="5399"/>
                </a:lnTo>
                <a:lnTo>
                  <a:pt x="4677" y="5402"/>
                </a:lnTo>
                <a:lnTo>
                  <a:pt x="4681" y="5405"/>
                </a:lnTo>
                <a:lnTo>
                  <a:pt x="4685" y="5409"/>
                </a:lnTo>
                <a:lnTo>
                  <a:pt x="4688" y="5413"/>
                </a:lnTo>
                <a:lnTo>
                  <a:pt x="4692" y="5425"/>
                </a:lnTo>
                <a:lnTo>
                  <a:pt x="4696" y="5437"/>
                </a:lnTo>
                <a:lnTo>
                  <a:pt x="4698" y="5450"/>
                </a:lnTo>
                <a:lnTo>
                  <a:pt x="4698" y="5463"/>
                </a:lnTo>
                <a:lnTo>
                  <a:pt x="4698" y="5478"/>
                </a:lnTo>
                <a:lnTo>
                  <a:pt x="4696" y="5506"/>
                </a:lnTo>
                <a:lnTo>
                  <a:pt x="4694" y="5531"/>
                </a:lnTo>
                <a:lnTo>
                  <a:pt x="4692" y="5548"/>
                </a:lnTo>
                <a:lnTo>
                  <a:pt x="4692" y="5553"/>
                </a:lnTo>
                <a:lnTo>
                  <a:pt x="4693" y="5554"/>
                </a:lnTo>
                <a:lnTo>
                  <a:pt x="4694" y="5554"/>
                </a:lnTo>
                <a:lnTo>
                  <a:pt x="4694" y="5554"/>
                </a:lnTo>
                <a:lnTo>
                  <a:pt x="4697" y="5553"/>
                </a:lnTo>
                <a:lnTo>
                  <a:pt x="4702" y="5550"/>
                </a:lnTo>
                <a:lnTo>
                  <a:pt x="4708" y="5545"/>
                </a:lnTo>
                <a:lnTo>
                  <a:pt x="4714" y="5538"/>
                </a:lnTo>
                <a:lnTo>
                  <a:pt x="4721" y="5529"/>
                </a:lnTo>
                <a:lnTo>
                  <a:pt x="4729" y="5519"/>
                </a:lnTo>
                <a:lnTo>
                  <a:pt x="4736" y="5505"/>
                </a:lnTo>
                <a:lnTo>
                  <a:pt x="4743" y="5492"/>
                </a:lnTo>
                <a:lnTo>
                  <a:pt x="4751" y="5477"/>
                </a:lnTo>
                <a:lnTo>
                  <a:pt x="4758" y="5459"/>
                </a:lnTo>
                <a:lnTo>
                  <a:pt x="4763" y="5442"/>
                </a:lnTo>
                <a:lnTo>
                  <a:pt x="4768" y="5422"/>
                </a:lnTo>
                <a:lnTo>
                  <a:pt x="4771" y="5402"/>
                </a:lnTo>
                <a:lnTo>
                  <a:pt x="4773" y="5382"/>
                </a:lnTo>
                <a:lnTo>
                  <a:pt x="4772" y="5360"/>
                </a:lnTo>
                <a:lnTo>
                  <a:pt x="4770" y="5338"/>
                </a:lnTo>
                <a:lnTo>
                  <a:pt x="4770" y="5338"/>
                </a:lnTo>
                <a:lnTo>
                  <a:pt x="4778" y="5330"/>
                </a:lnTo>
                <a:lnTo>
                  <a:pt x="4798" y="5313"/>
                </a:lnTo>
                <a:lnTo>
                  <a:pt x="4809" y="5302"/>
                </a:lnTo>
                <a:lnTo>
                  <a:pt x="4819" y="5290"/>
                </a:lnTo>
                <a:lnTo>
                  <a:pt x="4827" y="5276"/>
                </a:lnTo>
                <a:lnTo>
                  <a:pt x="4830" y="5270"/>
                </a:lnTo>
                <a:lnTo>
                  <a:pt x="4832" y="5264"/>
                </a:lnTo>
                <a:lnTo>
                  <a:pt x="4832" y="5264"/>
                </a:lnTo>
                <a:lnTo>
                  <a:pt x="4834" y="5255"/>
                </a:lnTo>
                <a:lnTo>
                  <a:pt x="4835" y="5246"/>
                </a:lnTo>
                <a:lnTo>
                  <a:pt x="4836" y="5237"/>
                </a:lnTo>
                <a:lnTo>
                  <a:pt x="4835" y="5230"/>
                </a:lnTo>
                <a:lnTo>
                  <a:pt x="4834" y="5224"/>
                </a:lnTo>
                <a:lnTo>
                  <a:pt x="4832" y="5218"/>
                </a:lnTo>
                <a:lnTo>
                  <a:pt x="4830" y="5213"/>
                </a:lnTo>
                <a:lnTo>
                  <a:pt x="4827" y="5208"/>
                </a:lnTo>
                <a:lnTo>
                  <a:pt x="4819" y="5199"/>
                </a:lnTo>
                <a:lnTo>
                  <a:pt x="4810" y="5189"/>
                </a:lnTo>
                <a:lnTo>
                  <a:pt x="4800" y="5180"/>
                </a:lnTo>
                <a:lnTo>
                  <a:pt x="4789" y="5169"/>
                </a:lnTo>
                <a:lnTo>
                  <a:pt x="4778" y="5156"/>
                </a:lnTo>
                <a:lnTo>
                  <a:pt x="4772" y="5148"/>
                </a:lnTo>
                <a:lnTo>
                  <a:pt x="4767" y="5139"/>
                </a:lnTo>
                <a:lnTo>
                  <a:pt x="4762" y="5130"/>
                </a:lnTo>
                <a:lnTo>
                  <a:pt x="4757" y="5120"/>
                </a:lnTo>
                <a:lnTo>
                  <a:pt x="4753" y="5108"/>
                </a:lnTo>
                <a:lnTo>
                  <a:pt x="4749" y="5095"/>
                </a:lnTo>
                <a:lnTo>
                  <a:pt x="4744" y="5081"/>
                </a:lnTo>
                <a:lnTo>
                  <a:pt x="4741" y="5065"/>
                </a:lnTo>
                <a:lnTo>
                  <a:pt x="4738" y="5048"/>
                </a:lnTo>
                <a:lnTo>
                  <a:pt x="4736" y="5029"/>
                </a:lnTo>
                <a:lnTo>
                  <a:pt x="4735" y="5008"/>
                </a:lnTo>
                <a:lnTo>
                  <a:pt x="4734" y="4986"/>
                </a:lnTo>
                <a:lnTo>
                  <a:pt x="4734" y="4961"/>
                </a:lnTo>
                <a:lnTo>
                  <a:pt x="4735" y="4935"/>
                </a:lnTo>
                <a:lnTo>
                  <a:pt x="4735" y="4935"/>
                </a:lnTo>
                <a:lnTo>
                  <a:pt x="4735" y="4917"/>
                </a:lnTo>
                <a:lnTo>
                  <a:pt x="4734" y="4911"/>
                </a:lnTo>
                <a:lnTo>
                  <a:pt x="4733" y="4906"/>
                </a:lnTo>
                <a:lnTo>
                  <a:pt x="4731" y="4901"/>
                </a:lnTo>
                <a:lnTo>
                  <a:pt x="4729" y="4897"/>
                </a:lnTo>
                <a:lnTo>
                  <a:pt x="4727" y="4894"/>
                </a:lnTo>
                <a:lnTo>
                  <a:pt x="4724" y="4891"/>
                </a:lnTo>
                <a:lnTo>
                  <a:pt x="4716" y="4885"/>
                </a:lnTo>
                <a:lnTo>
                  <a:pt x="4706" y="4878"/>
                </a:lnTo>
                <a:lnTo>
                  <a:pt x="4693" y="4868"/>
                </a:lnTo>
                <a:lnTo>
                  <a:pt x="4679" y="4856"/>
                </a:lnTo>
                <a:lnTo>
                  <a:pt x="4679" y="4856"/>
                </a:lnTo>
                <a:lnTo>
                  <a:pt x="4671" y="4846"/>
                </a:lnTo>
                <a:lnTo>
                  <a:pt x="4664" y="4836"/>
                </a:lnTo>
                <a:lnTo>
                  <a:pt x="4659" y="4825"/>
                </a:lnTo>
                <a:lnTo>
                  <a:pt x="4655" y="4815"/>
                </a:lnTo>
                <a:lnTo>
                  <a:pt x="4654" y="4807"/>
                </a:lnTo>
                <a:lnTo>
                  <a:pt x="4654" y="4804"/>
                </a:lnTo>
                <a:lnTo>
                  <a:pt x="4654" y="4802"/>
                </a:lnTo>
                <a:lnTo>
                  <a:pt x="4657" y="4800"/>
                </a:lnTo>
                <a:lnTo>
                  <a:pt x="4659" y="4799"/>
                </a:lnTo>
                <a:lnTo>
                  <a:pt x="4661" y="4799"/>
                </a:lnTo>
                <a:lnTo>
                  <a:pt x="4665" y="4800"/>
                </a:lnTo>
                <a:lnTo>
                  <a:pt x="4665" y="4800"/>
                </a:lnTo>
                <a:lnTo>
                  <a:pt x="4679" y="4806"/>
                </a:lnTo>
                <a:lnTo>
                  <a:pt x="4693" y="4810"/>
                </a:lnTo>
                <a:lnTo>
                  <a:pt x="4708" y="4813"/>
                </a:lnTo>
                <a:lnTo>
                  <a:pt x="4723" y="4814"/>
                </a:lnTo>
                <a:lnTo>
                  <a:pt x="4737" y="4815"/>
                </a:lnTo>
                <a:lnTo>
                  <a:pt x="4752" y="4816"/>
                </a:lnTo>
                <a:lnTo>
                  <a:pt x="4765" y="4815"/>
                </a:lnTo>
                <a:lnTo>
                  <a:pt x="4778" y="4814"/>
                </a:lnTo>
                <a:lnTo>
                  <a:pt x="4802" y="4811"/>
                </a:lnTo>
                <a:lnTo>
                  <a:pt x="4819" y="4807"/>
                </a:lnTo>
                <a:lnTo>
                  <a:pt x="4835" y="4803"/>
                </a:lnTo>
                <a:lnTo>
                  <a:pt x="4835" y="4803"/>
                </a:lnTo>
                <a:lnTo>
                  <a:pt x="4844" y="4707"/>
                </a:lnTo>
                <a:lnTo>
                  <a:pt x="4849" y="4632"/>
                </a:lnTo>
                <a:lnTo>
                  <a:pt x="4851" y="4577"/>
                </a:lnTo>
                <a:lnTo>
                  <a:pt x="4851" y="4539"/>
                </a:lnTo>
                <a:lnTo>
                  <a:pt x="4849" y="4514"/>
                </a:lnTo>
                <a:lnTo>
                  <a:pt x="4847" y="4499"/>
                </a:lnTo>
                <a:lnTo>
                  <a:pt x="4845" y="4493"/>
                </a:lnTo>
                <a:lnTo>
                  <a:pt x="4844" y="4491"/>
                </a:lnTo>
                <a:lnTo>
                  <a:pt x="4844" y="4491"/>
                </a:lnTo>
                <a:lnTo>
                  <a:pt x="4825" y="4492"/>
                </a:lnTo>
                <a:lnTo>
                  <a:pt x="4808" y="4491"/>
                </a:lnTo>
                <a:lnTo>
                  <a:pt x="4791" y="4490"/>
                </a:lnTo>
                <a:lnTo>
                  <a:pt x="4776" y="4489"/>
                </a:lnTo>
                <a:lnTo>
                  <a:pt x="4763" y="4487"/>
                </a:lnTo>
                <a:lnTo>
                  <a:pt x="4750" y="4484"/>
                </a:lnTo>
                <a:lnTo>
                  <a:pt x="4737" y="4481"/>
                </a:lnTo>
                <a:lnTo>
                  <a:pt x="4726" y="4477"/>
                </a:lnTo>
                <a:lnTo>
                  <a:pt x="4716" y="4473"/>
                </a:lnTo>
                <a:lnTo>
                  <a:pt x="4707" y="4469"/>
                </a:lnTo>
                <a:lnTo>
                  <a:pt x="4698" y="4463"/>
                </a:lnTo>
                <a:lnTo>
                  <a:pt x="4690" y="4458"/>
                </a:lnTo>
                <a:lnTo>
                  <a:pt x="4683" y="4452"/>
                </a:lnTo>
                <a:lnTo>
                  <a:pt x="4676" y="4447"/>
                </a:lnTo>
                <a:lnTo>
                  <a:pt x="4665" y="4434"/>
                </a:lnTo>
                <a:lnTo>
                  <a:pt x="4665" y="4434"/>
                </a:lnTo>
                <a:lnTo>
                  <a:pt x="4677" y="4437"/>
                </a:lnTo>
                <a:lnTo>
                  <a:pt x="4690" y="4439"/>
                </a:lnTo>
                <a:lnTo>
                  <a:pt x="4717" y="4441"/>
                </a:lnTo>
                <a:lnTo>
                  <a:pt x="4742" y="4441"/>
                </a:lnTo>
                <a:lnTo>
                  <a:pt x="4768" y="4439"/>
                </a:lnTo>
                <a:lnTo>
                  <a:pt x="4790" y="4435"/>
                </a:lnTo>
                <a:lnTo>
                  <a:pt x="4812" y="4429"/>
                </a:lnTo>
                <a:lnTo>
                  <a:pt x="4821" y="4426"/>
                </a:lnTo>
                <a:lnTo>
                  <a:pt x="4829" y="4422"/>
                </a:lnTo>
                <a:lnTo>
                  <a:pt x="4838" y="4416"/>
                </a:lnTo>
                <a:lnTo>
                  <a:pt x="4844" y="4412"/>
                </a:lnTo>
                <a:lnTo>
                  <a:pt x="4844" y="4412"/>
                </a:lnTo>
                <a:lnTo>
                  <a:pt x="4843" y="4364"/>
                </a:lnTo>
                <a:lnTo>
                  <a:pt x="4841" y="4316"/>
                </a:lnTo>
                <a:lnTo>
                  <a:pt x="4838" y="4261"/>
                </a:lnTo>
                <a:lnTo>
                  <a:pt x="4833" y="4206"/>
                </a:lnTo>
                <a:lnTo>
                  <a:pt x="4831" y="4181"/>
                </a:lnTo>
                <a:lnTo>
                  <a:pt x="4828" y="4159"/>
                </a:lnTo>
                <a:lnTo>
                  <a:pt x="4825" y="4140"/>
                </a:lnTo>
                <a:lnTo>
                  <a:pt x="4822" y="4126"/>
                </a:lnTo>
                <a:lnTo>
                  <a:pt x="4820" y="4121"/>
                </a:lnTo>
                <a:lnTo>
                  <a:pt x="4818" y="4118"/>
                </a:lnTo>
                <a:lnTo>
                  <a:pt x="4816" y="4116"/>
                </a:lnTo>
                <a:lnTo>
                  <a:pt x="4814" y="4116"/>
                </a:lnTo>
                <a:lnTo>
                  <a:pt x="4814" y="4116"/>
                </a:lnTo>
                <a:lnTo>
                  <a:pt x="4786" y="4123"/>
                </a:lnTo>
                <a:lnTo>
                  <a:pt x="4760" y="4128"/>
                </a:lnTo>
                <a:lnTo>
                  <a:pt x="4746" y="4129"/>
                </a:lnTo>
                <a:lnTo>
                  <a:pt x="4734" y="4130"/>
                </a:lnTo>
                <a:lnTo>
                  <a:pt x="4722" y="4130"/>
                </a:lnTo>
                <a:lnTo>
                  <a:pt x="4711" y="4129"/>
                </a:lnTo>
                <a:lnTo>
                  <a:pt x="4698" y="4127"/>
                </a:lnTo>
                <a:lnTo>
                  <a:pt x="4687" y="4125"/>
                </a:lnTo>
                <a:lnTo>
                  <a:pt x="4675" y="4122"/>
                </a:lnTo>
                <a:lnTo>
                  <a:pt x="4664" y="4118"/>
                </a:lnTo>
                <a:lnTo>
                  <a:pt x="4652" y="4113"/>
                </a:lnTo>
                <a:lnTo>
                  <a:pt x="4640" y="4108"/>
                </a:lnTo>
                <a:lnTo>
                  <a:pt x="4629" y="4100"/>
                </a:lnTo>
                <a:lnTo>
                  <a:pt x="4618" y="4093"/>
                </a:lnTo>
                <a:lnTo>
                  <a:pt x="4618" y="4093"/>
                </a:lnTo>
                <a:lnTo>
                  <a:pt x="4613" y="4090"/>
                </a:lnTo>
                <a:lnTo>
                  <a:pt x="4608" y="4086"/>
                </a:lnTo>
                <a:lnTo>
                  <a:pt x="4602" y="4078"/>
                </a:lnTo>
                <a:lnTo>
                  <a:pt x="4597" y="4069"/>
                </a:lnTo>
                <a:lnTo>
                  <a:pt x="4594" y="4059"/>
                </a:lnTo>
                <a:lnTo>
                  <a:pt x="4592" y="4047"/>
                </a:lnTo>
                <a:lnTo>
                  <a:pt x="4591" y="4037"/>
                </a:lnTo>
                <a:lnTo>
                  <a:pt x="4590" y="4015"/>
                </a:lnTo>
                <a:lnTo>
                  <a:pt x="4589" y="3993"/>
                </a:lnTo>
                <a:lnTo>
                  <a:pt x="4587" y="3984"/>
                </a:lnTo>
                <a:lnTo>
                  <a:pt x="4585" y="3976"/>
                </a:lnTo>
                <a:lnTo>
                  <a:pt x="4581" y="3969"/>
                </a:lnTo>
                <a:lnTo>
                  <a:pt x="4575" y="3962"/>
                </a:lnTo>
                <a:lnTo>
                  <a:pt x="4571" y="3959"/>
                </a:lnTo>
                <a:lnTo>
                  <a:pt x="4567" y="3957"/>
                </a:lnTo>
                <a:lnTo>
                  <a:pt x="4561" y="3956"/>
                </a:lnTo>
                <a:lnTo>
                  <a:pt x="4556" y="3955"/>
                </a:lnTo>
                <a:lnTo>
                  <a:pt x="4556" y="3955"/>
                </a:lnTo>
                <a:lnTo>
                  <a:pt x="4534" y="3948"/>
                </a:lnTo>
                <a:lnTo>
                  <a:pt x="4511" y="3941"/>
                </a:lnTo>
                <a:lnTo>
                  <a:pt x="4489" y="3933"/>
                </a:lnTo>
                <a:lnTo>
                  <a:pt x="4468" y="3923"/>
                </a:lnTo>
                <a:lnTo>
                  <a:pt x="4448" y="3913"/>
                </a:lnTo>
                <a:lnTo>
                  <a:pt x="4428" y="3902"/>
                </a:lnTo>
                <a:lnTo>
                  <a:pt x="4410" y="3892"/>
                </a:lnTo>
                <a:lnTo>
                  <a:pt x="4394" y="3881"/>
                </a:lnTo>
                <a:lnTo>
                  <a:pt x="4377" y="3869"/>
                </a:lnTo>
                <a:lnTo>
                  <a:pt x="4363" y="3859"/>
                </a:lnTo>
                <a:lnTo>
                  <a:pt x="4337" y="3839"/>
                </a:lnTo>
                <a:lnTo>
                  <a:pt x="4318" y="3820"/>
                </a:lnTo>
                <a:lnTo>
                  <a:pt x="4306" y="3805"/>
                </a:lnTo>
                <a:lnTo>
                  <a:pt x="4306" y="3805"/>
                </a:lnTo>
                <a:lnTo>
                  <a:pt x="4297" y="3793"/>
                </a:lnTo>
                <a:lnTo>
                  <a:pt x="4288" y="3780"/>
                </a:lnTo>
                <a:lnTo>
                  <a:pt x="4282" y="3769"/>
                </a:lnTo>
                <a:lnTo>
                  <a:pt x="4277" y="3758"/>
                </a:lnTo>
                <a:lnTo>
                  <a:pt x="4273" y="3748"/>
                </a:lnTo>
                <a:lnTo>
                  <a:pt x="4270" y="3739"/>
                </a:lnTo>
                <a:lnTo>
                  <a:pt x="4266" y="3722"/>
                </a:lnTo>
                <a:lnTo>
                  <a:pt x="4265" y="3709"/>
                </a:lnTo>
                <a:lnTo>
                  <a:pt x="4265" y="3699"/>
                </a:lnTo>
                <a:lnTo>
                  <a:pt x="4266" y="3690"/>
                </a:lnTo>
                <a:lnTo>
                  <a:pt x="4266" y="3690"/>
                </a:lnTo>
                <a:lnTo>
                  <a:pt x="4284" y="3700"/>
                </a:lnTo>
                <a:lnTo>
                  <a:pt x="4302" y="3706"/>
                </a:lnTo>
                <a:lnTo>
                  <a:pt x="4321" y="3711"/>
                </a:lnTo>
                <a:lnTo>
                  <a:pt x="4340" y="3714"/>
                </a:lnTo>
                <a:lnTo>
                  <a:pt x="4358" y="3716"/>
                </a:lnTo>
                <a:lnTo>
                  <a:pt x="4377" y="3715"/>
                </a:lnTo>
                <a:lnTo>
                  <a:pt x="4396" y="3712"/>
                </a:lnTo>
                <a:lnTo>
                  <a:pt x="4414" y="3708"/>
                </a:lnTo>
                <a:lnTo>
                  <a:pt x="4434" y="3468"/>
                </a:lnTo>
                <a:lnTo>
                  <a:pt x="4434" y="3468"/>
                </a:lnTo>
                <a:lnTo>
                  <a:pt x="4425" y="3467"/>
                </a:lnTo>
                <a:lnTo>
                  <a:pt x="4405" y="3464"/>
                </a:lnTo>
                <a:lnTo>
                  <a:pt x="4392" y="3461"/>
                </a:lnTo>
                <a:lnTo>
                  <a:pt x="4377" y="3457"/>
                </a:lnTo>
                <a:lnTo>
                  <a:pt x="4362" y="3453"/>
                </a:lnTo>
                <a:lnTo>
                  <a:pt x="4348" y="3447"/>
                </a:lnTo>
                <a:lnTo>
                  <a:pt x="4348" y="3447"/>
                </a:lnTo>
                <a:lnTo>
                  <a:pt x="4339" y="3443"/>
                </a:lnTo>
                <a:lnTo>
                  <a:pt x="4331" y="3438"/>
                </a:lnTo>
                <a:lnTo>
                  <a:pt x="4323" y="3432"/>
                </a:lnTo>
                <a:lnTo>
                  <a:pt x="4316" y="3426"/>
                </a:lnTo>
                <a:lnTo>
                  <a:pt x="4302" y="3412"/>
                </a:lnTo>
                <a:lnTo>
                  <a:pt x="4289" y="3399"/>
                </a:lnTo>
                <a:lnTo>
                  <a:pt x="4280" y="3386"/>
                </a:lnTo>
                <a:lnTo>
                  <a:pt x="4273" y="3376"/>
                </a:lnTo>
                <a:lnTo>
                  <a:pt x="4267" y="3366"/>
                </a:lnTo>
                <a:lnTo>
                  <a:pt x="4267" y="3366"/>
                </a:lnTo>
                <a:lnTo>
                  <a:pt x="4274" y="3369"/>
                </a:lnTo>
                <a:lnTo>
                  <a:pt x="4293" y="3377"/>
                </a:lnTo>
                <a:lnTo>
                  <a:pt x="4321" y="3385"/>
                </a:lnTo>
                <a:lnTo>
                  <a:pt x="4339" y="3389"/>
                </a:lnTo>
                <a:lnTo>
                  <a:pt x="4356" y="3392"/>
                </a:lnTo>
                <a:lnTo>
                  <a:pt x="4356" y="3392"/>
                </a:lnTo>
                <a:lnTo>
                  <a:pt x="4375" y="3394"/>
                </a:lnTo>
                <a:lnTo>
                  <a:pt x="4392" y="3395"/>
                </a:lnTo>
                <a:lnTo>
                  <a:pt x="4407" y="3393"/>
                </a:lnTo>
                <a:lnTo>
                  <a:pt x="4419" y="3391"/>
                </a:lnTo>
                <a:lnTo>
                  <a:pt x="4430" y="3389"/>
                </a:lnTo>
                <a:lnTo>
                  <a:pt x="4438" y="3387"/>
                </a:lnTo>
                <a:lnTo>
                  <a:pt x="4444" y="3384"/>
                </a:lnTo>
                <a:lnTo>
                  <a:pt x="4477" y="3113"/>
                </a:lnTo>
                <a:lnTo>
                  <a:pt x="4477" y="3113"/>
                </a:lnTo>
                <a:lnTo>
                  <a:pt x="4451" y="3114"/>
                </a:lnTo>
                <a:lnTo>
                  <a:pt x="4427" y="3113"/>
                </a:lnTo>
                <a:lnTo>
                  <a:pt x="4408" y="3111"/>
                </a:lnTo>
                <a:lnTo>
                  <a:pt x="4392" y="3106"/>
                </a:lnTo>
                <a:lnTo>
                  <a:pt x="4377" y="3100"/>
                </a:lnTo>
                <a:lnTo>
                  <a:pt x="4365" y="3093"/>
                </a:lnTo>
                <a:lnTo>
                  <a:pt x="4356" y="3085"/>
                </a:lnTo>
                <a:lnTo>
                  <a:pt x="4348" y="3077"/>
                </a:lnTo>
                <a:lnTo>
                  <a:pt x="4343" y="3069"/>
                </a:lnTo>
                <a:lnTo>
                  <a:pt x="4337" y="3060"/>
                </a:lnTo>
                <a:lnTo>
                  <a:pt x="4335" y="3051"/>
                </a:lnTo>
                <a:lnTo>
                  <a:pt x="4333" y="3043"/>
                </a:lnTo>
                <a:lnTo>
                  <a:pt x="4332" y="3035"/>
                </a:lnTo>
                <a:lnTo>
                  <a:pt x="4331" y="3029"/>
                </a:lnTo>
                <a:lnTo>
                  <a:pt x="4332" y="3020"/>
                </a:lnTo>
                <a:lnTo>
                  <a:pt x="4332" y="3020"/>
                </a:lnTo>
                <a:lnTo>
                  <a:pt x="4357" y="3015"/>
                </a:lnTo>
                <a:lnTo>
                  <a:pt x="4381" y="3009"/>
                </a:lnTo>
                <a:lnTo>
                  <a:pt x="4405" y="3001"/>
                </a:lnTo>
                <a:lnTo>
                  <a:pt x="4428" y="2994"/>
                </a:lnTo>
                <a:lnTo>
                  <a:pt x="4451" y="2985"/>
                </a:lnTo>
                <a:lnTo>
                  <a:pt x="4473" y="2975"/>
                </a:lnTo>
                <a:lnTo>
                  <a:pt x="4495" y="2964"/>
                </a:lnTo>
                <a:lnTo>
                  <a:pt x="4515" y="2951"/>
                </a:lnTo>
                <a:lnTo>
                  <a:pt x="4536" y="2939"/>
                </a:lnTo>
                <a:lnTo>
                  <a:pt x="4555" y="2926"/>
                </a:lnTo>
                <a:lnTo>
                  <a:pt x="4574" y="2911"/>
                </a:lnTo>
                <a:lnTo>
                  <a:pt x="4592" y="2896"/>
                </a:lnTo>
                <a:lnTo>
                  <a:pt x="4609" y="2881"/>
                </a:lnTo>
                <a:lnTo>
                  <a:pt x="4627" y="2864"/>
                </a:lnTo>
                <a:lnTo>
                  <a:pt x="4642" y="2848"/>
                </a:lnTo>
                <a:lnTo>
                  <a:pt x="4659" y="2831"/>
                </a:lnTo>
                <a:lnTo>
                  <a:pt x="4673" y="2812"/>
                </a:lnTo>
                <a:lnTo>
                  <a:pt x="4688" y="2794"/>
                </a:lnTo>
                <a:lnTo>
                  <a:pt x="4702" y="2775"/>
                </a:lnTo>
                <a:lnTo>
                  <a:pt x="4715" y="2756"/>
                </a:lnTo>
                <a:lnTo>
                  <a:pt x="4727" y="2737"/>
                </a:lnTo>
                <a:lnTo>
                  <a:pt x="4738" y="2717"/>
                </a:lnTo>
                <a:lnTo>
                  <a:pt x="4750" y="2698"/>
                </a:lnTo>
                <a:lnTo>
                  <a:pt x="4760" y="2677"/>
                </a:lnTo>
                <a:lnTo>
                  <a:pt x="4770" y="2657"/>
                </a:lnTo>
                <a:lnTo>
                  <a:pt x="4779" y="2636"/>
                </a:lnTo>
                <a:lnTo>
                  <a:pt x="4787" y="2616"/>
                </a:lnTo>
                <a:lnTo>
                  <a:pt x="4796" y="2595"/>
                </a:lnTo>
                <a:lnTo>
                  <a:pt x="4803" y="2575"/>
                </a:lnTo>
                <a:lnTo>
                  <a:pt x="4809" y="2555"/>
                </a:lnTo>
                <a:lnTo>
                  <a:pt x="4815" y="2534"/>
                </a:lnTo>
                <a:lnTo>
                  <a:pt x="4820" y="2515"/>
                </a:lnTo>
                <a:lnTo>
                  <a:pt x="4820" y="2515"/>
                </a:lnTo>
                <a:lnTo>
                  <a:pt x="4831" y="2521"/>
                </a:lnTo>
                <a:lnTo>
                  <a:pt x="4847" y="2527"/>
                </a:lnTo>
                <a:lnTo>
                  <a:pt x="4864" y="2533"/>
                </a:lnTo>
                <a:lnTo>
                  <a:pt x="4882" y="2538"/>
                </a:lnTo>
                <a:lnTo>
                  <a:pt x="4903" y="2541"/>
                </a:lnTo>
                <a:lnTo>
                  <a:pt x="4913" y="2542"/>
                </a:lnTo>
                <a:lnTo>
                  <a:pt x="4923" y="2543"/>
                </a:lnTo>
                <a:lnTo>
                  <a:pt x="4935" y="2542"/>
                </a:lnTo>
                <a:lnTo>
                  <a:pt x="4945" y="2541"/>
                </a:lnTo>
                <a:lnTo>
                  <a:pt x="4955" y="2539"/>
                </a:lnTo>
                <a:lnTo>
                  <a:pt x="4965" y="2536"/>
                </a:lnTo>
                <a:lnTo>
                  <a:pt x="4965" y="2536"/>
                </a:lnTo>
                <a:lnTo>
                  <a:pt x="4967" y="2508"/>
                </a:lnTo>
                <a:lnTo>
                  <a:pt x="4970" y="2441"/>
                </a:lnTo>
                <a:lnTo>
                  <a:pt x="4972" y="2405"/>
                </a:lnTo>
                <a:lnTo>
                  <a:pt x="4973" y="2371"/>
                </a:lnTo>
                <a:lnTo>
                  <a:pt x="4972" y="2343"/>
                </a:lnTo>
                <a:lnTo>
                  <a:pt x="4972" y="2333"/>
                </a:lnTo>
                <a:lnTo>
                  <a:pt x="4970" y="2327"/>
                </a:lnTo>
                <a:lnTo>
                  <a:pt x="4970" y="2327"/>
                </a:lnTo>
                <a:lnTo>
                  <a:pt x="4955" y="2325"/>
                </a:lnTo>
                <a:lnTo>
                  <a:pt x="4938" y="2322"/>
                </a:lnTo>
                <a:lnTo>
                  <a:pt x="4919" y="2317"/>
                </a:lnTo>
                <a:lnTo>
                  <a:pt x="4911" y="2314"/>
                </a:lnTo>
                <a:lnTo>
                  <a:pt x="4902" y="2311"/>
                </a:lnTo>
                <a:lnTo>
                  <a:pt x="4893" y="2306"/>
                </a:lnTo>
                <a:lnTo>
                  <a:pt x="4885" y="2302"/>
                </a:lnTo>
                <a:lnTo>
                  <a:pt x="4876" y="2296"/>
                </a:lnTo>
                <a:lnTo>
                  <a:pt x="4868" y="2289"/>
                </a:lnTo>
                <a:lnTo>
                  <a:pt x="4861" y="2282"/>
                </a:lnTo>
                <a:lnTo>
                  <a:pt x="4854" y="2273"/>
                </a:lnTo>
                <a:lnTo>
                  <a:pt x="4848" y="2264"/>
                </a:lnTo>
                <a:lnTo>
                  <a:pt x="4842" y="225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86" name="Freeform 37"/>
          <p:cNvSpPr>
            <a:spLocks/>
          </p:cNvSpPr>
          <p:nvPr userDrawn="1"/>
        </p:nvSpPr>
        <p:spPr bwMode="auto">
          <a:xfrm>
            <a:off x="8332788" y="-385340"/>
            <a:ext cx="276225" cy="73025"/>
          </a:xfrm>
          <a:custGeom>
            <a:avLst/>
            <a:gdLst>
              <a:gd name="T0" fmla="*/ 0 w 349"/>
              <a:gd name="T1" fmla="*/ 34 h 91"/>
              <a:gd name="T2" fmla="*/ 0 w 349"/>
              <a:gd name="T3" fmla="*/ 34 h 91"/>
              <a:gd name="T4" fmla="*/ 20 w 349"/>
              <a:gd name="T5" fmla="*/ 49 h 91"/>
              <a:gd name="T6" fmla="*/ 38 w 349"/>
              <a:gd name="T7" fmla="*/ 60 h 91"/>
              <a:gd name="T8" fmla="*/ 38 w 349"/>
              <a:gd name="T9" fmla="*/ 60 h 91"/>
              <a:gd name="T10" fmla="*/ 69 w 349"/>
              <a:gd name="T11" fmla="*/ 71 h 91"/>
              <a:gd name="T12" fmla="*/ 89 w 349"/>
              <a:gd name="T13" fmla="*/ 78 h 91"/>
              <a:gd name="T14" fmla="*/ 111 w 349"/>
              <a:gd name="T15" fmla="*/ 84 h 91"/>
              <a:gd name="T16" fmla="*/ 137 w 349"/>
              <a:gd name="T17" fmla="*/ 87 h 91"/>
              <a:gd name="T18" fmla="*/ 164 w 349"/>
              <a:gd name="T19" fmla="*/ 91 h 91"/>
              <a:gd name="T20" fmla="*/ 194 w 349"/>
              <a:gd name="T21" fmla="*/ 91 h 91"/>
              <a:gd name="T22" fmla="*/ 226 w 349"/>
              <a:gd name="T23" fmla="*/ 89 h 91"/>
              <a:gd name="T24" fmla="*/ 226 w 349"/>
              <a:gd name="T25" fmla="*/ 89 h 91"/>
              <a:gd name="T26" fmla="*/ 256 w 349"/>
              <a:gd name="T27" fmla="*/ 86 h 91"/>
              <a:gd name="T28" fmla="*/ 279 w 349"/>
              <a:gd name="T29" fmla="*/ 80 h 91"/>
              <a:gd name="T30" fmla="*/ 301 w 349"/>
              <a:gd name="T31" fmla="*/ 75 h 91"/>
              <a:gd name="T32" fmla="*/ 318 w 349"/>
              <a:gd name="T33" fmla="*/ 69 h 91"/>
              <a:gd name="T34" fmla="*/ 342 w 349"/>
              <a:gd name="T35" fmla="*/ 56 h 91"/>
              <a:gd name="T36" fmla="*/ 349 w 349"/>
              <a:gd name="T37" fmla="*/ 53 h 91"/>
              <a:gd name="T38" fmla="*/ 349 w 349"/>
              <a:gd name="T39" fmla="*/ 53 h 91"/>
              <a:gd name="T40" fmla="*/ 338 w 349"/>
              <a:gd name="T41" fmla="*/ 49 h 91"/>
              <a:gd name="T42" fmla="*/ 329 w 349"/>
              <a:gd name="T43" fmla="*/ 44 h 91"/>
              <a:gd name="T44" fmla="*/ 314 w 349"/>
              <a:gd name="T45" fmla="*/ 31 h 91"/>
              <a:gd name="T46" fmla="*/ 314 w 349"/>
              <a:gd name="T47" fmla="*/ 31 h 91"/>
              <a:gd name="T48" fmla="*/ 312 w 349"/>
              <a:gd name="T49" fmla="*/ 38 h 91"/>
              <a:gd name="T50" fmla="*/ 312 w 349"/>
              <a:gd name="T51" fmla="*/ 38 h 91"/>
              <a:gd name="T52" fmla="*/ 311 w 349"/>
              <a:gd name="T53" fmla="*/ 51 h 91"/>
              <a:gd name="T54" fmla="*/ 311 w 349"/>
              <a:gd name="T55" fmla="*/ 51 h 91"/>
              <a:gd name="T56" fmla="*/ 303 w 349"/>
              <a:gd name="T57" fmla="*/ 49 h 91"/>
              <a:gd name="T58" fmla="*/ 303 w 349"/>
              <a:gd name="T59" fmla="*/ 49 h 91"/>
              <a:gd name="T60" fmla="*/ 298 w 349"/>
              <a:gd name="T61" fmla="*/ 45 h 91"/>
              <a:gd name="T62" fmla="*/ 292 w 349"/>
              <a:gd name="T63" fmla="*/ 40 h 91"/>
              <a:gd name="T64" fmla="*/ 289 w 349"/>
              <a:gd name="T65" fmla="*/ 33 h 91"/>
              <a:gd name="T66" fmla="*/ 287 w 349"/>
              <a:gd name="T67" fmla="*/ 23 h 91"/>
              <a:gd name="T68" fmla="*/ 287 w 349"/>
              <a:gd name="T69" fmla="*/ 23 h 91"/>
              <a:gd name="T70" fmla="*/ 287 w 349"/>
              <a:gd name="T71" fmla="*/ 22 h 91"/>
              <a:gd name="T72" fmla="*/ 287 w 349"/>
              <a:gd name="T73" fmla="*/ 22 h 91"/>
              <a:gd name="T74" fmla="*/ 272 w 349"/>
              <a:gd name="T75" fmla="*/ 27 h 91"/>
              <a:gd name="T76" fmla="*/ 252 w 349"/>
              <a:gd name="T77" fmla="*/ 33 h 91"/>
              <a:gd name="T78" fmla="*/ 228 w 349"/>
              <a:gd name="T79" fmla="*/ 38 h 91"/>
              <a:gd name="T80" fmla="*/ 205 w 349"/>
              <a:gd name="T81" fmla="*/ 40 h 91"/>
              <a:gd name="T82" fmla="*/ 205 w 349"/>
              <a:gd name="T83" fmla="*/ 40 h 91"/>
              <a:gd name="T84" fmla="*/ 161 w 349"/>
              <a:gd name="T85" fmla="*/ 38 h 91"/>
              <a:gd name="T86" fmla="*/ 139 w 349"/>
              <a:gd name="T87" fmla="*/ 36 h 91"/>
              <a:gd name="T88" fmla="*/ 117 w 349"/>
              <a:gd name="T89" fmla="*/ 33 h 91"/>
              <a:gd name="T90" fmla="*/ 95 w 349"/>
              <a:gd name="T91" fmla="*/ 29 h 91"/>
              <a:gd name="T92" fmla="*/ 73 w 349"/>
              <a:gd name="T93" fmla="*/ 22 h 91"/>
              <a:gd name="T94" fmla="*/ 51 w 349"/>
              <a:gd name="T95" fmla="*/ 14 h 91"/>
              <a:gd name="T96" fmla="*/ 31 w 349"/>
              <a:gd name="T97" fmla="*/ 7 h 91"/>
              <a:gd name="T98" fmla="*/ 31 w 349"/>
              <a:gd name="T99" fmla="*/ 7 h 91"/>
              <a:gd name="T100" fmla="*/ 15 w 349"/>
              <a:gd name="T101" fmla="*/ 0 h 91"/>
              <a:gd name="T102" fmla="*/ 15 w 349"/>
              <a:gd name="T103" fmla="*/ 0 h 91"/>
              <a:gd name="T104" fmla="*/ 15 w 349"/>
              <a:gd name="T105" fmla="*/ 1 h 91"/>
              <a:gd name="T106" fmla="*/ 15 w 349"/>
              <a:gd name="T107" fmla="*/ 5 h 91"/>
              <a:gd name="T108" fmla="*/ 18 w 349"/>
              <a:gd name="T109" fmla="*/ 14 h 91"/>
              <a:gd name="T110" fmla="*/ 25 w 349"/>
              <a:gd name="T111" fmla="*/ 25 h 91"/>
              <a:gd name="T112" fmla="*/ 25 w 349"/>
              <a:gd name="T113" fmla="*/ 25 h 91"/>
              <a:gd name="T114" fmla="*/ 16 w 349"/>
              <a:gd name="T115" fmla="*/ 23 h 91"/>
              <a:gd name="T116" fmla="*/ 7 w 349"/>
              <a:gd name="T117" fmla="*/ 27 h 91"/>
              <a:gd name="T118" fmla="*/ 7 w 349"/>
              <a:gd name="T119" fmla="*/ 27 h 91"/>
              <a:gd name="T120" fmla="*/ 2 w 349"/>
              <a:gd name="T121" fmla="*/ 31 h 91"/>
              <a:gd name="T122" fmla="*/ 0 w 349"/>
              <a:gd name="T123" fmla="*/ 3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9" h="91">
                <a:moveTo>
                  <a:pt x="0" y="34"/>
                </a:moveTo>
                <a:lnTo>
                  <a:pt x="0" y="34"/>
                </a:lnTo>
                <a:lnTo>
                  <a:pt x="20" y="49"/>
                </a:lnTo>
                <a:lnTo>
                  <a:pt x="38" y="60"/>
                </a:lnTo>
                <a:lnTo>
                  <a:pt x="38" y="60"/>
                </a:lnTo>
                <a:lnTo>
                  <a:pt x="69" y="71"/>
                </a:lnTo>
                <a:lnTo>
                  <a:pt x="89" y="78"/>
                </a:lnTo>
                <a:lnTo>
                  <a:pt x="111" y="84"/>
                </a:lnTo>
                <a:lnTo>
                  <a:pt x="137" y="87"/>
                </a:lnTo>
                <a:lnTo>
                  <a:pt x="164" y="91"/>
                </a:lnTo>
                <a:lnTo>
                  <a:pt x="194" y="91"/>
                </a:lnTo>
                <a:lnTo>
                  <a:pt x="226" y="89"/>
                </a:lnTo>
                <a:lnTo>
                  <a:pt x="226" y="89"/>
                </a:lnTo>
                <a:lnTo>
                  <a:pt x="256" y="86"/>
                </a:lnTo>
                <a:lnTo>
                  <a:pt x="279" y="80"/>
                </a:lnTo>
                <a:lnTo>
                  <a:pt x="301" y="75"/>
                </a:lnTo>
                <a:lnTo>
                  <a:pt x="318" y="69"/>
                </a:lnTo>
                <a:lnTo>
                  <a:pt x="342" y="56"/>
                </a:lnTo>
                <a:lnTo>
                  <a:pt x="349" y="53"/>
                </a:lnTo>
                <a:lnTo>
                  <a:pt x="349" y="53"/>
                </a:lnTo>
                <a:lnTo>
                  <a:pt x="338" y="49"/>
                </a:lnTo>
                <a:lnTo>
                  <a:pt x="329" y="44"/>
                </a:lnTo>
                <a:lnTo>
                  <a:pt x="314" y="31"/>
                </a:lnTo>
                <a:lnTo>
                  <a:pt x="314" y="31"/>
                </a:lnTo>
                <a:lnTo>
                  <a:pt x="312" y="38"/>
                </a:lnTo>
                <a:lnTo>
                  <a:pt x="312" y="38"/>
                </a:lnTo>
                <a:lnTo>
                  <a:pt x="311" y="51"/>
                </a:lnTo>
                <a:lnTo>
                  <a:pt x="311" y="51"/>
                </a:lnTo>
                <a:lnTo>
                  <a:pt x="303" y="49"/>
                </a:lnTo>
                <a:lnTo>
                  <a:pt x="303" y="49"/>
                </a:lnTo>
                <a:lnTo>
                  <a:pt x="298" y="45"/>
                </a:lnTo>
                <a:lnTo>
                  <a:pt x="292" y="40"/>
                </a:lnTo>
                <a:lnTo>
                  <a:pt x="289" y="33"/>
                </a:lnTo>
                <a:lnTo>
                  <a:pt x="287" y="23"/>
                </a:lnTo>
                <a:lnTo>
                  <a:pt x="287" y="23"/>
                </a:lnTo>
                <a:lnTo>
                  <a:pt x="287" y="22"/>
                </a:lnTo>
                <a:lnTo>
                  <a:pt x="287" y="22"/>
                </a:lnTo>
                <a:lnTo>
                  <a:pt x="272" y="27"/>
                </a:lnTo>
                <a:lnTo>
                  <a:pt x="252" y="33"/>
                </a:lnTo>
                <a:lnTo>
                  <a:pt x="228" y="38"/>
                </a:lnTo>
                <a:lnTo>
                  <a:pt x="205" y="40"/>
                </a:lnTo>
                <a:lnTo>
                  <a:pt x="205" y="40"/>
                </a:lnTo>
                <a:lnTo>
                  <a:pt x="161" y="38"/>
                </a:lnTo>
                <a:lnTo>
                  <a:pt x="139" y="36"/>
                </a:lnTo>
                <a:lnTo>
                  <a:pt x="117" y="33"/>
                </a:lnTo>
                <a:lnTo>
                  <a:pt x="95" y="29"/>
                </a:lnTo>
                <a:lnTo>
                  <a:pt x="73" y="22"/>
                </a:lnTo>
                <a:lnTo>
                  <a:pt x="51" y="14"/>
                </a:lnTo>
                <a:lnTo>
                  <a:pt x="31" y="7"/>
                </a:lnTo>
                <a:lnTo>
                  <a:pt x="31" y="7"/>
                </a:lnTo>
                <a:lnTo>
                  <a:pt x="15" y="0"/>
                </a:lnTo>
                <a:lnTo>
                  <a:pt x="15" y="0"/>
                </a:lnTo>
                <a:lnTo>
                  <a:pt x="15" y="1"/>
                </a:lnTo>
                <a:lnTo>
                  <a:pt x="15" y="5"/>
                </a:lnTo>
                <a:lnTo>
                  <a:pt x="18" y="14"/>
                </a:lnTo>
                <a:lnTo>
                  <a:pt x="25" y="25"/>
                </a:lnTo>
                <a:lnTo>
                  <a:pt x="25" y="25"/>
                </a:lnTo>
                <a:lnTo>
                  <a:pt x="16" y="23"/>
                </a:lnTo>
                <a:lnTo>
                  <a:pt x="7" y="27"/>
                </a:lnTo>
                <a:lnTo>
                  <a:pt x="7" y="27"/>
                </a:lnTo>
                <a:lnTo>
                  <a:pt x="2" y="31"/>
                </a:lnTo>
                <a:lnTo>
                  <a:pt x="0" y="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87" name="Freeform 38"/>
          <p:cNvSpPr>
            <a:spLocks/>
          </p:cNvSpPr>
          <p:nvPr userDrawn="1"/>
        </p:nvSpPr>
        <p:spPr bwMode="auto">
          <a:xfrm>
            <a:off x="8270875" y="-618703"/>
            <a:ext cx="282575" cy="201613"/>
          </a:xfrm>
          <a:custGeom>
            <a:avLst/>
            <a:gdLst>
              <a:gd name="T0" fmla="*/ 326 w 357"/>
              <a:gd name="T1" fmla="*/ 20 h 253"/>
              <a:gd name="T2" fmla="*/ 320 w 357"/>
              <a:gd name="T3" fmla="*/ 3 h 253"/>
              <a:gd name="T4" fmla="*/ 311 w 357"/>
              <a:gd name="T5" fmla="*/ 0 h 253"/>
              <a:gd name="T6" fmla="*/ 227 w 357"/>
              <a:gd name="T7" fmla="*/ 40 h 253"/>
              <a:gd name="T8" fmla="*/ 207 w 357"/>
              <a:gd name="T9" fmla="*/ 53 h 253"/>
              <a:gd name="T10" fmla="*/ 176 w 357"/>
              <a:gd name="T11" fmla="*/ 53 h 253"/>
              <a:gd name="T12" fmla="*/ 181 w 357"/>
              <a:gd name="T13" fmla="*/ 71 h 253"/>
              <a:gd name="T14" fmla="*/ 172 w 357"/>
              <a:gd name="T15" fmla="*/ 78 h 253"/>
              <a:gd name="T16" fmla="*/ 181 w 357"/>
              <a:gd name="T17" fmla="*/ 93 h 253"/>
              <a:gd name="T18" fmla="*/ 198 w 357"/>
              <a:gd name="T19" fmla="*/ 91 h 253"/>
              <a:gd name="T20" fmla="*/ 189 w 357"/>
              <a:gd name="T21" fmla="*/ 115 h 253"/>
              <a:gd name="T22" fmla="*/ 147 w 357"/>
              <a:gd name="T23" fmla="*/ 146 h 253"/>
              <a:gd name="T24" fmla="*/ 101 w 357"/>
              <a:gd name="T25" fmla="*/ 155 h 253"/>
              <a:gd name="T26" fmla="*/ 79 w 357"/>
              <a:gd name="T27" fmla="*/ 137 h 253"/>
              <a:gd name="T28" fmla="*/ 68 w 357"/>
              <a:gd name="T29" fmla="*/ 126 h 253"/>
              <a:gd name="T30" fmla="*/ 50 w 357"/>
              <a:gd name="T31" fmla="*/ 126 h 253"/>
              <a:gd name="T32" fmla="*/ 28 w 357"/>
              <a:gd name="T33" fmla="*/ 137 h 253"/>
              <a:gd name="T34" fmla="*/ 48 w 357"/>
              <a:gd name="T35" fmla="*/ 140 h 253"/>
              <a:gd name="T36" fmla="*/ 44 w 357"/>
              <a:gd name="T37" fmla="*/ 149 h 253"/>
              <a:gd name="T38" fmla="*/ 75 w 357"/>
              <a:gd name="T39" fmla="*/ 169 h 253"/>
              <a:gd name="T40" fmla="*/ 75 w 357"/>
              <a:gd name="T41" fmla="*/ 171 h 253"/>
              <a:gd name="T42" fmla="*/ 39 w 357"/>
              <a:gd name="T43" fmla="*/ 160 h 253"/>
              <a:gd name="T44" fmla="*/ 28 w 357"/>
              <a:gd name="T45" fmla="*/ 164 h 253"/>
              <a:gd name="T46" fmla="*/ 8 w 357"/>
              <a:gd name="T47" fmla="*/ 171 h 253"/>
              <a:gd name="T48" fmla="*/ 2 w 357"/>
              <a:gd name="T49" fmla="*/ 193 h 253"/>
              <a:gd name="T50" fmla="*/ 17 w 357"/>
              <a:gd name="T51" fmla="*/ 180 h 253"/>
              <a:gd name="T52" fmla="*/ 22 w 357"/>
              <a:gd name="T53" fmla="*/ 188 h 253"/>
              <a:gd name="T54" fmla="*/ 26 w 357"/>
              <a:gd name="T55" fmla="*/ 197 h 253"/>
              <a:gd name="T56" fmla="*/ 66 w 357"/>
              <a:gd name="T57" fmla="*/ 195 h 253"/>
              <a:gd name="T58" fmla="*/ 75 w 357"/>
              <a:gd name="T59" fmla="*/ 197 h 253"/>
              <a:gd name="T60" fmla="*/ 39 w 357"/>
              <a:gd name="T61" fmla="*/ 206 h 253"/>
              <a:gd name="T62" fmla="*/ 37 w 357"/>
              <a:gd name="T63" fmla="*/ 213 h 253"/>
              <a:gd name="T64" fmla="*/ 28 w 357"/>
              <a:gd name="T65" fmla="*/ 233 h 253"/>
              <a:gd name="T66" fmla="*/ 35 w 357"/>
              <a:gd name="T67" fmla="*/ 248 h 253"/>
              <a:gd name="T68" fmla="*/ 41 w 357"/>
              <a:gd name="T69" fmla="*/ 244 h 253"/>
              <a:gd name="T70" fmla="*/ 42 w 357"/>
              <a:gd name="T71" fmla="*/ 235 h 253"/>
              <a:gd name="T72" fmla="*/ 55 w 357"/>
              <a:gd name="T73" fmla="*/ 243 h 253"/>
              <a:gd name="T74" fmla="*/ 72 w 357"/>
              <a:gd name="T75" fmla="*/ 232 h 253"/>
              <a:gd name="T76" fmla="*/ 94 w 357"/>
              <a:gd name="T77" fmla="*/ 213 h 253"/>
              <a:gd name="T78" fmla="*/ 108 w 357"/>
              <a:gd name="T79" fmla="*/ 211 h 253"/>
              <a:gd name="T80" fmla="*/ 110 w 357"/>
              <a:gd name="T81" fmla="*/ 222 h 253"/>
              <a:gd name="T82" fmla="*/ 115 w 357"/>
              <a:gd name="T83" fmla="*/ 233 h 253"/>
              <a:gd name="T84" fmla="*/ 114 w 357"/>
              <a:gd name="T85" fmla="*/ 243 h 253"/>
              <a:gd name="T86" fmla="*/ 136 w 357"/>
              <a:gd name="T87" fmla="*/ 224 h 253"/>
              <a:gd name="T88" fmla="*/ 141 w 357"/>
              <a:gd name="T89" fmla="*/ 219 h 253"/>
              <a:gd name="T90" fmla="*/ 145 w 357"/>
              <a:gd name="T91" fmla="*/ 211 h 253"/>
              <a:gd name="T92" fmla="*/ 147 w 357"/>
              <a:gd name="T93" fmla="*/ 200 h 253"/>
              <a:gd name="T94" fmla="*/ 167 w 357"/>
              <a:gd name="T95" fmla="*/ 193 h 253"/>
              <a:gd name="T96" fmla="*/ 170 w 357"/>
              <a:gd name="T97" fmla="*/ 180 h 253"/>
              <a:gd name="T98" fmla="*/ 181 w 357"/>
              <a:gd name="T99" fmla="*/ 179 h 253"/>
              <a:gd name="T100" fmla="*/ 199 w 357"/>
              <a:gd name="T101" fmla="*/ 197 h 253"/>
              <a:gd name="T102" fmla="*/ 231 w 357"/>
              <a:gd name="T103" fmla="*/ 182 h 253"/>
              <a:gd name="T104" fmla="*/ 227 w 357"/>
              <a:gd name="T105" fmla="*/ 169 h 253"/>
              <a:gd name="T106" fmla="*/ 223 w 357"/>
              <a:gd name="T107" fmla="*/ 155 h 253"/>
              <a:gd name="T108" fmla="*/ 245 w 357"/>
              <a:gd name="T109" fmla="*/ 173 h 253"/>
              <a:gd name="T110" fmla="*/ 276 w 357"/>
              <a:gd name="T111" fmla="*/ 155 h 253"/>
              <a:gd name="T112" fmla="*/ 273 w 357"/>
              <a:gd name="T113" fmla="*/ 149 h 253"/>
              <a:gd name="T114" fmla="*/ 263 w 357"/>
              <a:gd name="T115" fmla="*/ 131 h 253"/>
              <a:gd name="T116" fmla="*/ 262 w 357"/>
              <a:gd name="T117" fmla="*/ 115 h 253"/>
              <a:gd name="T118" fmla="*/ 262 w 357"/>
              <a:gd name="T119" fmla="*/ 98 h 253"/>
              <a:gd name="T120" fmla="*/ 353 w 357"/>
              <a:gd name="T121" fmla="*/ 45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7" h="253">
                <a:moveTo>
                  <a:pt x="344" y="31"/>
                </a:moveTo>
                <a:lnTo>
                  <a:pt x="344" y="31"/>
                </a:lnTo>
                <a:lnTo>
                  <a:pt x="335" y="23"/>
                </a:lnTo>
                <a:lnTo>
                  <a:pt x="326" y="20"/>
                </a:lnTo>
                <a:lnTo>
                  <a:pt x="309" y="12"/>
                </a:lnTo>
                <a:lnTo>
                  <a:pt x="309" y="12"/>
                </a:lnTo>
                <a:lnTo>
                  <a:pt x="316" y="7"/>
                </a:lnTo>
                <a:lnTo>
                  <a:pt x="320" y="3"/>
                </a:lnTo>
                <a:lnTo>
                  <a:pt x="320" y="1"/>
                </a:lnTo>
                <a:lnTo>
                  <a:pt x="320" y="1"/>
                </a:lnTo>
                <a:lnTo>
                  <a:pt x="315" y="0"/>
                </a:lnTo>
                <a:lnTo>
                  <a:pt x="311" y="0"/>
                </a:lnTo>
                <a:lnTo>
                  <a:pt x="311" y="0"/>
                </a:lnTo>
                <a:lnTo>
                  <a:pt x="280" y="12"/>
                </a:lnTo>
                <a:lnTo>
                  <a:pt x="252" y="25"/>
                </a:lnTo>
                <a:lnTo>
                  <a:pt x="227" y="40"/>
                </a:lnTo>
                <a:lnTo>
                  <a:pt x="209" y="53"/>
                </a:lnTo>
                <a:lnTo>
                  <a:pt x="209" y="53"/>
                </a:lnTo>
                <a:lnTo>
                  <a:pt x="207" y="53"/>
                </a:lnTo>
                <a:lnTo>
                  <a:pt x="207" y="53"/>
                </a:lnTo>
                <a:lnTo>
                  <a:pt x="201" y="56"/>
                </a:lnTo>
                <a:lnTo>
                  <a:pt x="196" y="56"/>
                </a:lnTo>
                <a:lnTo>
                  <a:pt x="185" y="54"/>
                </a:lnTo>
                <a:lnTo>
                  <a:pt x="176" y="53"/>
                </a:lnTo>
                <a:lnTo>
                  <a:pt x="174" y="51"/>
                </a:lnTo>
                <a:lnTo>
                  <a:pt x="170" y="67"/>
                </a:lnTo>
                <a:lnTo>
                  <a:pt x="170" y="67"/>
                </a:lnTo>
                <a:lnTo>
                  <a:pt x="181" y="71"/>
                </a:lnTo>
                <a:lnTo>
                  <a:pt x="189" y="74"/>
                </a:lnTo>
                <a:lnTo>
                  <a:pt x="189" y="74"/>
                </a:lnTo>
                <a:lnTo>
                  <a:pt x="178" y="76"/>
                </a:lnTo>
                <a:lnTo>
                  <a:pt x="172" y="78"/>
                </a:lnTo>
                <a:lnTo>
                  <a:pt x="168" y="82"/>
                </a:lnTo>
                <a:lnTo>
                  <a:pt x="174" y="96"/>
                </a:lnTo>
                <a:lnTo>
                  <a:pt x="174" y="96"/>
                </a:lnTo>
                <a:lnTo>
                  <a:pt x="181" y="93"/>
                </a:lnTo>
                <a:lnTo>
                  <a:pt x="189" y="91"/>
                </a:lnTo>
                <a:lnTo>
                  <a:pt x="198" y="89"/>
                </a:lnTo>
                <a:lnTo>
                  <a:pt x="198" y="89"/>
                </a:lnTo>
                <a:lnTo>
                  <a:pt x="198" y="91"/>
                </a:lnTo>
                <a:lnTo>
                  <a:pt x="198" y="91"/>
                </a:lnTo>
                <a:lnTo>
                  <a:pt x="198" y="98"/>
                </a:lnTo>
                <a:lnTo>
                  <a:pt x="194" y="105"/>
                </a:lnTo>
                <a:lnTo>
                  <a:pt x="189" y="115"/>
                </a:lnTo>
                <a:lnTo>
                  <a:pt x="181" y="122"/>
                </a:lnTo>
                <a:lnTo>
                  <a:pt x="165" y="137"/>
                </a:lnTo>
                <a:lnTo>
                  <a:pt x="156" y="142"/>
                </a:lnTo>
                <a:lnTo>
                  <a:pt x="147" y="146"/>
                </a:lnTo>
                <a:lnTo>
                  <a:pt x="147" y="146"/>
                </a:lnTo>
                <a:lnTo>
                  <a:pt x="128" y="151"/>
                </a:lnTo>
                <a:lnTo>
                  <a:pt x="112" y="155"/>
                </a:lnTo>
                <a:lnTo>
                  <a:pt x="101" y="155"/>
                </a:lnTo>
                <a:lnTo>
                  <a:pt x="95" y="153"/>
                </a:lnTo>
                <a:lnTo>
                  <a:pt x="95" y="153"/>
                </a:lnTo>
                <a:lnTo>
                  <a:pt x="84" y="144"/>
                </a:lnTo>
                <a:lnTo>
                  <a:pt x="79" y="137"/>
                </a:lnTo>
                <a:lnTo>
                  <a:pt x="73" y="129"/>
                </a:lnTo>
                <a:lnTo>
                  <a:pt x="72" y="126"/>
                </a:lnTo>
                <a:lnTo>
                  <a:pt x="68" y="126"/>
                </a:lnTo>
                <a:lnTo>
                  <a:pt x="68" y="126"/>
                </a:lnTo>
                <a:lnTo>
                  <a:pt x="64" y="126"/>
                </a:lnTo>
                <a:lnTo>
                  <a:pt x="61" y="127"/>
                </a:lnTo>
                <a:lnTo>
                  <a:pt x="61" y="127"/>
                </a:lnTo>
                <a:lnTo>
                  <a:pt x="50" y="126"/>
                </a:lnTo>
                <a:lnTo>
                  <a:pt x="41" y="127"/>
                </a:lnTo>
                <a:lnTo>
                  <a:pt x="33" y="131"/>
                </a:lnTo>
                <a:lnTo>
                  <a:pt x="30" y="133"/>
                </a:lnTo>
                <a:lnTo>
                  <a:pt x="28" y="137"/>
                </a:lnTo>
                <a:lnTo>
                  <a:pt x="28" y="137"/>
                </a:lnTo>
                <a:lnTo>
                  <a:pt x="41" y="137"/>
                </a:lnTo>
                <a:lnTo>
                  <a:pt x="48" y="138"/>
                </a:lnTo>
                <a:lnTo>
                  <a:pt x="48" y="140"/>
                </a:lnTo>
                <a:lnTo>
                  <a:pt x="46" y="142"/>
                </a:lnTo>
                <a:lnTo>
                  <a:pt x="46" y="142"/>
                </a:lnTo>
                <a:lnTo>
                  <a:pt x="42" y="146"/>
                </a:lnTo>
                <a:lnTo>
                  <a:pt x="44" y="149"/>
                </a:lnTo>
                <a:lnTo>
                  <a:pt x="46" y="153"/>
                </a:lnTo>
                <a:lnTo>
                  <a:pt x="52" y="157"/>
                </a:lnTo>
                <a:lnTo>
                  <a:pt x="75" y="169"/>
                </a:lnTo>
                <a:lnTo>
                  <a:pt x="75" y="169"/>
                </a:lnTo>
                <a:lnTo>
                  <a:pt x="75" y="169"/>
                </a:lnTo>
                <a:lnTo>
                  <a:pt x="75" y="171"/>
                </a:lnTo>
                <a:lnTo>
                  <a:pt x="75" y="171"/>
                </a:lnTo>
                <a:lnTo>
                  <a:pt x="75" y="171"/>
                </a:lnTo>
                <a:lnTo>
                  <a:pt x="68" y="171"/>
                </a:lnTo>
                <a:lnTo>
                  <a:pt x="59" y="168"/>
                </a:lnTo>
                <a:lnTo>
                  <a:pt x="39" y="160"/>
                </a:lnTo>
                <a:lnTo>
                  <a:pt x="39" y="160"/>
                </a:lnTo>
                <a:lnTo>
                  <a:pt x="35" y="160"/>
                </a:lnTo>
                <a:lnTo>
                  <a:pt x="31" y="160"/>
                </a:lnTo>
                <a:lnTo>
                  <a:pt x="28" y="164"/>
                </a:lnTo>
                <a:lnTo>
                  <a:pt x="28" y="164"/>
                </a:lnTo>
                <a:lnTo>
                  <a:pt x="24" y="164"/>
                </a:lnTo>
                <a:lnTo>
                  <a:pt x="19" y="164"/>
                </a:lnTo>
                <a:lnTo>
                  <a:pt x="11" y="168"/>
                </a:lnTo>
                <a:lnTo>
                  <a:pt x="8" y="171"/>
                </a:lnTo>
                <a:lnTo>
                  <a:pt x="2" y="175"/>
                </a:lnTo>
                <a:lnTo>
                  <a:pt x="0" y="180"/>
                </a:lnTo>
                <a:lnTo>
                  <a:pt x="0" y="186"/>
                </a:lnTo>
                <a:lnTo>
                  <a:pt x="2" y="193"/>
                </a:lnTo>
                <a:lnTo>
                  <a:pt x="2" y="193"/>
                </a:lnTo>
                <a:lnTo>
                  <a:pt x="8" y="186"/>
                </a:lnTo>
                <a:lnTo>
                  <a:pt x="13" y="180"/>
                </a:lnTo>
                <a:lnTo>
                  <a:pt x="17" y="180"/>
                </a:lnTo>
                <a:lnTo>
                  <a:pt x="20" y="180"/>
                </a:lnTo>
                <a:lnTo>
                  <a:pt x="20" y="180"/>
                </a:lnTo>
                <a:lnTo>
                  <a:pt x="22" y="182"/>
                </a:lnTo>
                <a:lnTo>
                  <a:pt x="22" y="188"/>
                </a:lnTo>
                <a:lnTo>
                  <a:pt x="22" y="191"/>
                </a:lnTo>
                <a:lnTo>
                  <a:pt x="24" y="195"/>
                </a:lnTo>
                <a:lnTo>
                  <a:pt x="26" y="197"/>
                </a:lnTo>
                <a:lnTo>
                  <a:pt x="26" y="197"/>
                </a:lnTo>
                <a:lnTo>
                  <a:pt x="30" y="199"/>
                </a:lnTo>
                <a:lnTo>
                  <a:pt x="37" y="199"/>
                </a:lnTo>
                <a:lnTo>
                  <a:pt x="52" y="197"/>
                </a:lnTo>
                <a:lnTo>
                  <a:pt x="66" y="195"/>
                </a:lnTo>
                <a:lnTo>
                  <a:pt x="73" y="195"/>
                </a:lnTo>
                <a:lnTo>
                  <a:pt x="75" y="195"/>
                </a:lnTo>
                <a:lnTo>
                  <a:pt x="75" y="195"/>
                </a:lnTo>
                <a:lnTo>
                  <a:pt x="75" y="197"/>
                </a:lnTo>
                <a:lnTo>
                  <a:pt x="72" y="199"/>
                </a:lnTo>
                <a:lnTo>
                  <a:pt x="59" y="200"/>
                </a:lnTo>
                <a:lnTo>
                  <a:pt x="44" y="202"/>
                </a:lnTo>
                <a:lnTo>
                  <a:pt x="39" y="206"/>
                </a:lnTo>
                <a:lnTo>
                  <a:pt x="37" y="208"/>
                </a:lnTo>
                <a:lnTo>
                  <a:pt x="37" y="208"/>
                </a:lnTo>
                <a:lnTo>
                  <a:pt x="37" y="213"/>
                </a:lnTo>
                <a:lnTo>
                  <a:pt x="37" y="213"/>
                </a:lnTo>
                <a:lnTo>
                  <a:pt x="37" y="215"/>
                </a:lnTo>
                <a:lnTo>
                  <a:pt x="33" y="219"/>
                </a:lnTo>
                <a:lnTo>
                  <a:pt x="30" y="226"/>
                </a:lnTo>
                <a:lnTo>
                  <a:pt x="28" y="233"/>
                </a:lnTo>
                <a:lnTo>
                  <a:pt x="28" y="233"/>
                </a:lnTo>
                <a:lnTo>
                  <a:pt x="28" y="237"/>
                </a:lnTo>
                <a:lnTo>
                  <a:pt x="30" y="243"/>
                </a:lnTo>
                <a:lnTo>
                  <a:pt x="35" y="248"/>
                </a:lnTo>
                <a:lnTo>
                  <a:pt x="41" y="253"/>
                </a:lnTo>
                <a:lnTo>
                  <a:pt x="41" y="253"/>
                </a:lnTo>
                <a:lnTo>
                  <a:pt x="42" y="252"/>
                </a:lnTo>
                <a:lnTo>
                  <a:pt x="41" y="244"/>
                </a:lnTo>
                <a:lnTo>
                  <a:pt x="41" y="239"/>
                </a:lnTo>
                <a:lnTo>
                  <a:pt x="42" y="237"/>
                </a:lnTo>
                <a:lnTo>
                  <a:pt x="42" y="235"/>
                </a:lnTo>
                <a:lnTo>
                  <a:pt x="42" y="235"/>
                </a:lnTo>
                <a:lnTo>
                  <a:pt x="46" y="235"/>
                </a:lnTo>
                <a:lnTo>
                  <a:pt x="48" y="237"/>
                </a:lnTo>
                <a:lnTo>
                  <a:pt x="52" y="241"/>
                </a:lnTo>
                <a:lnTo>
                  <a:pt x="55" y="243"/>
                </a:lnTo>
                <a:lnTo>
                  <a:pt x="55" y="243"/>
                </a:lnTo>
                <a:lnTo>
                  <a:pt x="59" y="241"/>
                </a:lnTo>
                <a:lnTo>
                  <a:pt x="62" y="239"/>
                </a:lnTo>
                <a:lnTo>
                  <a:pt x="72" y="232"/>
                </a:lnTo>
                <a:lnTo>
                  <a:pt x="81" y="222"/>
                </a:lnTo>
                <a:lnTo>
                  <a:pt x="86" y="217"/>
                </a:lnTo>
                <a:lnTo>
                  <a:pt x="94" y="213"/>
                </a:lnTo>
                <a:lnTo>
                  <a:pt x="94" y="213"/>
                </a:lnTo>
                <a:lnTo>
                  <a:pt x="103" y="210"/>
                </a:lnTo>
                <a:lnTo>
                  <a:pt x="106" y="208"/>
                </a:lnTo>
                <a:lnTo>
                  <a:pt x="108" y="210"/>
                </a:lnTo>
                <a:lnTo>
                  <a:pt x="108" y="211"/>
                </a:lnTo>
                <a:lnTo>
                  <a:pt x="108" y="217"/>
                </a:lnTo>
                <a:lnTo>
                  <a:pt x="108" y="221"/>
                </a:lnTo>
                <a:lnTo>
                  <a:pt x="110" y="222"/>
                </a:lnTo>
                <a:lnTo>
                  <a:pt x="110" y="222"/>
                </a:lnTo>
                <a:lnTo>
                  <a:pt x="115" y="224"/>
                </a:lnTo>
                <a:lnTo>
                  <a:pt x="117" y="226"/>
                </a:lnTo>
                <a:lnTo>
                  <a:pt x="117" y="230"/>
                </a:lnTo>
                <a:lnTo>
                  <a:pt x="115" y="233"/>
                </a:lnTo>
                <a:lnTo>
                  <a:pt x="112" y="239"/>
                </a:lnTo>
                <a:lnTo>
                  <a:pt x="108" y="243"/>
                </a:lnTo>
                <a:lnTo>
                  <a:pt x="108" y="243"/>
                </a:lnTo>
                <a:lnTo>
                  <a:pt x="114" y="243"/>
                </a:lnTo>
                <a:lnTo>
                  <a:pt x="121" y="241"/>
                </a:lnTo>
                <a:lnTo>
                  <a:pt x="128" y="233"/>
                </a:lnTo>
                <a:lnTo>
                  <a:pt x="132" y="230"/>
                </a:lnTo>
                <a:lnTo>
                  <a:pt x="136" y="224"/>
                </a:lnTo>
                <a:lnTo>
                  <a:pt x="136" y="224"/>
                </a:lnTo>
                <a:lnTo>
                  <a:pt x="136" y="221"/>
                </a:lnTo>
                <a:lnTo>
                  <a:pt x="137" y="221"/>
                </a:lnTo>
                <a:lnTo>
                  <a:pt x="141" y="219"/>
                </a:lnTo>
                <a:lnTo>
                  <a:pt x="143" y="217"/>
                </a:lnTo>
                <a:lnTo>
                  <a:pt x="143" y="217"/>
                </a:lnTo>
                <a:lnTo>
                  <a:pt x="145" y="215"/>
                </a:lnTo>
                <a:lnTo>
                  <a:pt x="145" y="211"/>
                </a:lnTo>
                <a:lnTo>
                  <a:pt x="145" y="208"/>
                </a:lnTo>
                <a:lnTo>
                  <a:pt x="145" y="204"/>
                </a:lnTo>
                <a:lnTo>
                  <a:pt x="145" y="204"/>
                </a:lnTo>
                <a:lnTo>
                  <a:pt x="147" y="200"/>
                </a:lnTo>
                <a:lnTo>
                  <a:pt x="150" y="199"/>
                </a:lnTo>
                <a:lnTo>
                  <a:pt x="157" y="197"/>
                </a:lnTo>
                <a:lnTo>
                  <a:pt x="165" y="195"/>
                </a:lnTo>
                <a:lnTo>
                  <a:pt x="167" y="193"/>
                </a:lnTo>
                <a:lnTo>
                  <a:pt x="167" y="191"/>
                </a:lnTo>
                <a:lnTo>
                  <a:pt x="167" y="191"/>
                </a:lnTo>
                <a:lnTo>
                  <a:pt x="167" y="186"/>
                </a:lnTo>
                <a:lnTo>
                  <a:pt x="170" y="180"/>
                </a:lnTo>
                <a:lnTo>
                  <a:pt x="176" y="179"/>
                </a:lnTo>
                <a:lnTo>
                  <a:pt x="179" y="177"/>
                </a:lnTo>
                <a:lnTo>
                  <a:pt x="179" y="177"/>
                </a:lnTo>
                <a:lnTo>
                  <a:pt x="181" y="179"/>
                </a:lnTo>
                <a:lnTo>
                  <a:pt x="183" y="184"/>
                </a:lnTo>
                <a:lnTo>
                  <a:pt x="189" y="190"/>
                </a:lnTo>
                <a:lnTo>
                  <a:pt x="194" y="193"/>
                </a:lnTo>
                <a:lnTo>
                  <a:pt x="199" y="197"/>
                </a:lnTo>
                <a:lnTo>
                  <a:pt x="199" y="197"/>
                </a:lnTo>
                <a:lnTo>
                  <a:pt x="221" y="186"/>
                </a:lnTo>
                <a:lnTo>
                  <a:pt x="221" y="186"/>
                </a:lnTo>
                <a:lnTo>
                  <a:pt x="231" y="182"/>
                </a:lnTo>
                <a:lnTo>
                  <a:pt x="234" y="179"/>
                </a:lnTo>
                <a:lnTo>
                  <a:pt x="234" y="179"/>
                </a:lnTo>
                <a:lnTo>
                  <a:pt x="231" y="173"/>
                </a:lnTo>
                <a:lnTo>
                  <a:pt x="227" y="169"/>
                </a:lnTo>
                <a:lnTo>
                  <a:pt x="225" y="164"/>
                </a:lnTo>
                <a:lnTo>
                  <a:pt x="225" y="164"/>
                </a:lnTo>
                <a:lnTo>
                  <a:pt x="223" y="158"/>
                </a:lnTo>
                <a:lnTo>
                  <a:pt x="223" y="155"/>
                </a:lnTo>
                <a:lnTo>
                  <a:pt x="223" y="155"/>
                </a:lnTo>
                <a:lnTo>
                  <a:pt x="229" y="162"/>
                </a:lnTo>
                <a:lnTo>
                  <a:pt x="236" y="168"/>
                </a:lnTo>
                <a:lnTo>
                  <a:pt x="245" y="173"/>
                </a:lnTo>
                <a:lnTo>
                  <a:pt x="245" y="173"/>
                </a:lnTo>
                <a:lnTo>
                  <a:pt x="271" y="157"/>
                </a:lnTo>
                <a:lnTo>
                  <a:pt x="271" y="157"/>
                </a:lnTo>
                <a:lnTo>
                  <a:pt x="276" y="155"/>
                </a:lnTo>
                <a:lnTo>
                  <a:pt x="276" y="155"/>
                </a:lnTo>
                <a:lnTo>
                  <a:pt x="276" y="155"/>
                </a:lnTo>
                <a:lnTo>
                  <a:pt x="276" y="155"/>
                </a:lnTo>
                <a:lnTo>
                  <a:pt x="273" y="149"/>
                </a:lnTo>
                <a:lnTo>
                  <a:pt x="267" y="144"/>
                </a:lnTo>
                <a:lnTo>
                  <a:pt x="262" y="137"/>
                </a:lnTo>
                <a:lnTo>
                  <a:pt x="262" y="133"/>
                </a:lnTo>
                <a:lnTo>
                  <a:pt x="263" y="131"/>
                </a:lnTo>
                <a:lnTo>
                  <a:pt x="263" y="131"/>
                </a:lnTo>
                <a:lnTo>
                  <a:pt x="265" y="129"/>
                </a:lnTo>
                <a:lnTo>
                  <a:pt x="265" y="126"/>
                </a:lnTo>
                <a:lnTo>
                  <a:pt x="262" y="115"/>
                </a:lnTo>
                <a:lnTo>
                  <a:pt x="258" y="105"/>
                </a:lnTo>
                <a:lnTo>
                  <a:pt x="258" y="100"/>
                </a:lnTo>
                <a:lnTo>
                  <a:pt x="262" y="98"/>
                </a:lnTo>
                <a:lnTo>
                  <a:pt x="262" y="98"/>
                </a:lnTo>
                <a:lnTo>
                  <a:pt x="313" y="73"/>
                </a:lnTo>
                <a:lnTo>
                  <a:pt x="357" y="51"/>
                </a:lnTo>
                <a:lnTo>
                  <a:pt x="357" y="51"/>
                </a:lnTo>
                <a:lnTo>
                  <a:pt x="353" y="45"/>
                </a:lnTo>
                <a:lnTo>
                  <a:pt x="349" y="38"/>
                </a:lnTo>
                <a:lnTo>
                  <a:pt x="344" y="3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88" name="Freeform 39"/>
          <p:cNvSpPr>
            <a:spLocks/>
          </p:cNvSpPr>
          <p:nvPr userDrawn="1"/>
        </p:nvSpPr>
        <p:spPr bwMode="auto">
          <a:xfrm>
            <a:off x="8229600" y="-437728"/>
            <a:ext cx="120650" cy="115888"/>
          </a:xfrm>
          <a:custGeom>
            <a:avLst/>
            <a:gdLst>
              <a:gd name="T0" fmla="*/ 0 w 152"/>
              <a:gd name="T1" fmla="*/ 42 h 144"/>
              <a:gd name="T2" fmla="*/ 2 w 152"/>
              <a:gd name="T3" fmla="*/ 51 h 144"/>
              <a:gd name="T4" fmla="*/ 4 w 152"/>
              <a:gd name="T5" fmla="*/ 57 h 144"/>
              <a:gd name="T6" fmla="*/ 15 w 152"/>
              <a:gd name="T7" fmla="*/ 60 h 144"/>
              <a:gd name="T8" fmla="*/ 18 w 152"/>
              <a:gd name="T9" fmla="*/ 58 h 144"/>
              <a:gd name="T10" fmla="*/ 20 w 152"/>
              <a:gd name="T11" fmla="*/ 51 h 144"/>
              <a:gd name="T12" fmla="*/ 22 w 152"/>
              <a:gd name="T13" fmla="*/ 44 h 144"/>
              <a:gd name="T14" fmla="*/ 24 w 152"/>
              <a:gd name="T15" fmla="*/ 42 h 144"/>
              <a:gd name="T16" fmla="*/ 26 w 152"/>
              <a:gd name="T17" fmla="*/ 42 h 144"/>
              <a:gd name="T18" fmla="*/ 28 w 152"/>
              <a:gd name="T19" fmla="*/ 40 h 144"/>
              <a:gd name="T20" fmla="*/ 68 w 152"/>
              <a:gd name="T21" fmla="*/ 60 h 144"/>
              <a:gd name="T22" fmla="*/ 106 w 152"/>
              <a:gd name="T23" fmla="*/ 86 h 144"/>
              <a:gd name="T24" fmla="*/ 112 w 152"/>
              <a:gd name="T25" fmla="*/ 89 h 144"/>
              <a:gd name="T26" fmla="*/ 106 w 152"/>
              <a:gd name="T27" fmla="*/ 100 h 144"/>
              <a:gd name="T28" fmla="*/ 95 w 152"/>
              <a:gd name="T29" fmla="*/ 128 h 144"/>
              <a:gd name="T30" fmla="*/ 93 w 152"/>
              <a:gd name="T31" fmla="*/ 135 h 144"/>
              <a:gd name="T32" fmla="*/ 97 w 152"/>
              <a:gd name="T33" fmla="*/ 142 h 144"/>
              <a:gd name="T34" fmla="*/ 104 w 152"/>
              <a:gd name="T35" fmla="*/ 144 h 144"/>
              <a:gd name="T36" fmla="*/ 110 w 152"/>
              <a:gd name="T37" fmla="*/ 144 h 144"/>
              <a:gd name="T38" fmla="*/ 117 w 152"/>
              <a:gd name="T39" fmla="*/ 139 h 144"/>
              <a:gd name="T40" fmla="*/ 119 w 152"/>
              <a:gd name="T41" fmla="*/ 135 h 144"/>
              <a:gd name="T42" fmla="*/ 119 w 152"/>
              <a:gd name="T43" fmla="*/ 130 h 144"/>
              <a:gd name="T44" fmla="*/ 112 w 152"/>
              <a:gd name="T45" fmla="*/ 122 h 144"/>
              <a:gd name="T46" fmla="*/ 110 w 152"/>
              <a:gd name="T47" fmla="*/ 122 h 144"/>
              <a:gd name="T48" fmla="*/ 115 w 152"/>
              <a:gd name="T49" fmla="*/ 110 h 144"/>
              <a:gd name="T50" fmla="*/ 123 w 152"/>
              <a:gd name="T51" fmla="*/ 93 h 144"/>
              <a:gd name="T52" fmla="*/ 132 w 152"/>
              <a:gd name="T53" fmla="*/ 86 h 144"/>
              <a:gd name="T54" fmla="*/ 141 w 152"/>
              <a:gd name="T55" fmla="*/ 84 h 144"/>
              <a:gd name="T56" fmla="*/ 139 w 152"/>
              <a:gd name="T57" fmla="*/ 80 h 144"/>
              <a:gd name="T58" fmla="*/ 135 w 152"/>
              <a:gd name="T59" fmla="*/ 69 h 144"/>
              <a:gd name="T60" fmla="*/ 137 w 152"/>
              <a:gd name="T61" fmla="*/ 57 h 144"/>
              <a:gd name="T62" fmla="*/ 141 w 152"/>
              <a:gd name="T63" fmla="*/ 49 h 144"/>
              <a:gd name="T64" fmla="*/ 152 w 152"/>
              <a:gd name="T65" fmla="*/ 18 h 144"/>
              <a:gd name="T66" fmla="*/ 152 w 152"/>
              <a:gd name="T67" fmla="*/ 13 h 144"/>
              <a:gd name="T68" fmla="*/ 146 w 152"/>
              <a:gd name="T69" fmla="*/ 5 h 144"/>
              <a:gd name="T70" fmla="*/ 141 w 152"/>
              <a:gd name="T71" fmla="*/ 4 h 144"/>
              <a:gd name="T72" fmla="*/ 132 w 152"/>
              <a:gd name="T73" fmla="*/ 7 h 144"/>
              <a:gd name="T74" fmla="*/ 128 w 152"/>
              <a:gd name="T75" fmla="*/ 15 h 144"/>
              <a:gd name="T76" fmla="*/ 128 w 152"/>
              <a:gd name="T77" fmla="*/ 20 h 144"/>
              <a:gd name="T78" fmla="*/ 134 w 152"/>
              <a:gd name="T79" fmla="*/ 27 h 144"/>
              <a:gd name="T80" fmla="*/ 137 w 152"/>
              <a:gd name="T81" fmla="*/ 29 h 144"/>
              <a:gd name="T82" fmla="*/ 132 w 152"/>
              <a:gd name="T83" fmla="*/ 46 h 144"/>
              <a:gd name="T84" fmla="*/ 124 w 152"/>
              <a:gd name="T85" fmla="*/ 55 h 144"/>
              <a:gd name="T86" fmla="*/ 117 w 152"/>
              <a:gd name="T87" fmla="*/ 51 h 144"/>
              <a:gd name="T88" fmla="*/ 60 w 152"/>
              <a:gd name="T89" fmla="*/ 24 h 144"/>
              <a:gd name="T90" fmla="*/ 40 w 152"/>
              <a:gd name="T91" fmla="*/ 18 h 144"/>
              <a:gd name="T92" fmla="*/ 42 w 152"/>
              <a:gd name="T93" fmla="*/ 13 h 144"/>
              <a:gd name="T94" fmla="*/ 50 w 152"/>
              <a:gd name="T95" fmla="*/ 0 h 144"/>
              <a:gd name="T96" fmla="*/ 46 w 152"/>
              <a:gd name="T97" fmla="*/ 2 h 144"/>
              <a:gd name="T98" fmla="*/ 39 w 152"/>
              <a:gd name="T99" fmla="*/ 5 h 144"/>
              <a:gd name="T100" fmla="*/ 24 w 152"/>
              <a:gd name="T101" fmla="*/ 11 h 144"/>
              <a:gd name="T102" fmla="*/ 18 w 152"/>
              <a:gd name="T103" fmla="*/ 11 h 144"/>
              <a:gd name="T104" fmla="*/ 15 w 152"/>
              <a:gd name="T105" fmla="*/ 11 h 144"/>
              <a:gd name="T106" fmla="*/ 9 w 152"/>
              <a:gd name="T107" fmla="*/ 22 h 144"/>
              <a:gd name="T108" fmla="*/ 6 w 152"/>
              <a:gd name="T109" fmla="*/ 33 h 144"/>
              <a:gd name="T110" fmla="*/ 2 w 152"/>
              <a:gd name="T111" fmla="*/ 3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2" h="144">
                <a:moveTo>
                  <a:pt x="0" y="42"/>
                </a:moveTo>
                <a:lnTo>
                  <a:pt x="0" y="42"/>
                </a:lnTo>
                <a:lnTo>
                  <a:pt x="0" y="47"/>
                </a:lnTo>
                <a:lnTo>
                  <a:pt x="2" y="51"/>
                </a:lnTo>
                <a:lnTo>
                  <a:pt x="4" y="57"/>
                </a:lnTo>
                <a:lnTo>
                  <a:pt x="4" y="57"/>
                </a:lnTo>
                <a:lnTo>
                  <a:pt x="11" y="58"/>
                </a:lnTo>
                <a:lnTo>
                  <a:pt x="15" y="60"/>
                </a:lnTo>
                <a:lnTo>
                  <a:pt x="18" y="58"/>
                </a:lnTo>
                <a:lnTo>
                  <a:pt x="18" y="58"/>
                </a:lnTo>
                <a:lnTo>
                  <a:pt x="20" y="55"/>
                </a:lnTo>
                <a:lnTo>
                  <a:pt x="20" y="51"/>
                </a:lnTo>
                <a:lnTo>
                  <a:pt x="20" y="47"/>
                </a:lnTo>
                <a:lnTo>
                  <a:pt x="22" y="44"/>
                </a:lnTo>
                <a:lnTo>
                  <a:pt x="22" y="44"/>
                </a:lnTo>
                <a:lnTo>
                  <a:pt x="24" y="42"/>
                </a:lnTo>
                <a:lnTo>
                  <a:pt x="26" y="42"/>
                </a:lnTo>
                <a:lnTo>
                  <a:pt x="26" y="42"/>
                </a:lnTo>
                <a:lnTo>
                  <a:pt x="28" y="40"/>
                </a:lnTo>
                <a:lnTo>
                  <a:pt x="28" y="40"/>
                </a:lnTo>
                <a:lnTo>
                  <a:pt x="48" y="49"/>
                </a:lnTo>
                <a:lnTo>
                  <a:pt x="68" y="60"/>
                </a:lnTo>
                <a:lnTo>
                  <a:pt x="106" y="86"/>
                </a:lnTo>
                <a:lnTo>
                  <a:pt x="106" y="86"/>
                </a:lnTo>
                <a:lnTo>
                  <a:pt x="112" y="89"/>
                </a:lnTo>
                <a:lnTo>
                  <a:pt x="112" y="89"/>
                </a:lnTo>
                <a:lnTo>
                  <a:pt x="106" y="100"/>
                </a:lnTo>
                <a:lnTo>
                  <a:pt x="106" y="100"/>
                </a:lnTo>
                <a:lnTo>
                  <a:pt x="97" y="119"/>
                </a:lnTo>
                <a:lnTo>
                  <a:pt x="95" y="128"/>
                </a:lnTo>
                <a:lnTo>
                  <a:pt x="93" y="135"/>
                </a:lnTo>
                <a:lnTo>
                  <a:pt x="93" y="135"/>
                </a:lnTo>
                <a:lnTo>
                  <a:pt x="95" y="139"/>
                </a:lnTo>
                <a:lnTo>
                  <a:pt x="97" y="142"/>
                </a:lnTo>
                <a:lnTo>
                  <a:pt x="101" y="144"/>
                </a:lnTo>
                <a:lnTo>
                  <a:pt x="104" y="144"/>
                </a:lnTo>
                <a:lnTo>
                  <a:pt x="104" y="144"/>
                </a:lnTo>
                <a:lnTo>
                  <a:pt x="110" y="144"/>
                </a:lnTo>
                <a:lnTo>
                  <a:pt x="113" y="142"/>
                </a:lnTo>
                <a:lnTo>
                  <a:pt x="117" y="139"/>
                </a:lnTo>
                <a:lnTo>
                  <a:pt x="119" y="135"/>
                </a:lnTo>
                <a:lnTo>
                  <a:pt x="119" y="135"/>
                </a:lnTo>
                <a:lnTo>
                  <a:pt x="119" y="131"/>
                </a:lnTo>
                <a:lnTo>
                  <a:pt x="119" y="130"/>
                </a:lnTo>
                <a:lnTo>
                  <a:pt x="115" y="124"/>
                </a:lnTo>
                <a:lnTo>
                  <a:pt x="112" y="122"/>
                </a:lnTo>
                <a:lnTo>
                  <a:pt x="110" y="122"/>
                </a:lnTo>
                <a:lnTo>
                  <a:pt x="110" y="122"/>
                </a:lnTo>
                <a:lnTo>
                  <a:pt x="115" y="110"/>
                </a:lnTo>
                <a:lnTo>
                  <a:pt x="115" y="110"/>
                </a:lnTo>
                <a:lnTo>
                  <a:pt x="119" y="100"/>
                </a:lnTo>
                <a:lnTo>
                  <a:pt x="123" y="93"/>
                </a:lnTo>
                <a:lnTo>
                  <a:pt x="128" y="89"/>
                </a:lnTo>
                <a:lnTo>
                  <a:pt x="132" y="86"/>
                </a:lnTo>
                <a:lnTo>
                  <a:pt x="137" y="84"/>
                </a:lnTo>
                <a:lnTo>
                  <a:pt x="141" y="84"/>
                </a:lnTo>
                <a:lnTo>
                  <a:pt x="141" y="84"/>
                </a:lnTo>
                <a:lnTo>
                  <a:pt x="139" y="80"/>
                </a:lnTo>
                <a:lnTo>
                  <a:pt x="135" y="75"/>
                </a:lnTo>
                <a:lnTo>
                  <a:pt x="135" y="69"/>
                </a:lnTo>
                <a:lnTo>
                  <a:pt x="135" y="64"/>
                </a:lnTo>
                <a:lnTo>
                  <a:pt x="137" y="57"/>
                </a:lnTo>
                <a:lnTo>
                  <a:pt x="141" y="49"/>
                </a:lnTo>
                <a:lnTo>
                  <a:pt x="141" y="49"/>
                </a:lnTo>
                <a:lnTo>
                  <a:pt x="148" y="31"/>
                </a:lnTo>
                <a:lnTo>
                  <a:pt x="152" y="18"/>
                </a:lnTo>
                <a:lnTo>
                  <a:pt x="152" y="18"/>
                </a:lnTo>
                <a:lnTo>
                  <a:pt x="152" y="13"/>
                </a:lnTo>
                <a:lnTo>
                  <a:pt x="150" y="9"/>
                </a:lnTo>
                <a:lnTo>
                  <a:pt x="146" y="5"/>
                </a:lnTo>
                <a:lnTo>
                  <a:pt x="141" y="4"/>
                </a:lnTo>
                <a:lnTo>
                  <a:pt x="141" y="4"/>
                </a:lnTo>
                <a:lnTo>
                  <a:pt x="137" y="5"/>
                </a:lnTo>
                <a:lnTo>
                  <a:pt x="132" y="7"/>
                </a:lnTo>
                <a:lnTo>
                  <a:pt x="130" y="11"/>
                </a:lnTo>
                <a:lnTo>
                  <a:pt x="128" y="15"/>
                </a:lnTo>
                <a:lnTo>
                  <a:pt x="128" y="15"/>
                </a:lnTo>
                <a:lnTo>
                  <a:pt x="128" y="20"/>
                </a:lnTo>
                <a:lnTo>
                  <a:pt x="130" y="24"/>
                </a:lnTo>
                <a:lnTo>
                  <a:pt x="134" y="27"/>
                </a:lnTo>
                <a:lnTo>
                  <a:pt x="137" y="29"/>
                </a:lnTo>
                <a:lnTo>
                  <a:pt x="137" y="29"/>
                </a:lnTo>
                <a:lnTo>
                  <a:pt x="137" y="29"/>
                </a:lnTo>
                <a:lnTo>
                  <a:pt x="132" y="46"/>
                </a:lnTo>
                <a:lnTo>
                  <a:pt x="124" y="55"/>
                </a:lnTo>
                <a:lnTo>
                  <a:pt x="124" y="55"/>
                </a:lnTo>
                <a:lnTo>
                  <a:pt x="117" y="51"/>
                </a:lnTo>
                <a:lnTo>
                  <a:pt x="117" y="51"/>
                </a:lnTo>
                <a:lnTo>
                  <a:pt x="81" y="31"/>
                </a:lnTo>
                <a:lnTo>
                  <a:pt x="60" y="24"/>
                </a:lnTo>
                <a:lnTo>
                  <a:pt x="40" y="18"/>
                </a:lnTo>
                <a:lnTo>
                  <a:pt x="40" y="18"/>
                </a:lnTo>
                <a:lnTo>
                  <a:pt x="42" y="13"/>
                </a:lnTo>
                <a:lnTo>
                  <a:pt x="42" y="13"/>
                </a:lnTo>
                <a:lnTo>
                  <a:pt x="48" y="4"/>
                </a:lnTo>
                <a:lnTo>
                  <a:pt x="50" y="0"/>
                </a:lnTo>
                <a:lnTo>
                  <a:pt x="50" y="0"/>
                </a:lnTo>
                <a:lnTo>
                  <a:pt x="46" y="2"/>
                </a:lnTo>
                <a:lnTo>
                  <a:pt x="39" y="5"/>
                </a:lnTo>
                <a:lnTo>
                  <a:pt x="39" y="5"/>
                </a:lnTo>
                <a:lnTo>
                  <a:pt x="29" y="9"/>
                </a:lnTo>
                <a:lnTo>
                  <a:pt x="24" y="11"/>
                </a:lnTo>
                <a:lnTo>
                  <a:pt x="24" y="11"/>
                </a:lnTo>
                <a:lnTo>
                  <a:pt x="18" y="11"/>
                </a:lnTo>
                <a:lnTo>
                  <a:pt x="15" y="11"/>
                </a:lnTo>
                <a:lnTo>
                  <a:pt x="15" y="11"/>
                </a:lnTo>
                <a:lnTo>
                  <a:pt x="13" y="13"/>
                </a:lnTo>
                <a:lnTo>
                  <a:pt x="9" y="22"/>
                </a:lnTo>
                <a:lnTo>
                  <a:pt x="9" y="22"/>
                </a:lnTo>
                <a:lnTo>
                  <a:pt x="6" y="33"/>
                </a:lnTo>
                <a:lnTo>
                  <a:pt x="6" y="33"/>
                </a:lnTo>
                <a:lnTo>
                  <a:pt x="2" y="38"/>
                </a:lnTo>
                <a:lnTo>
                  <a:pt x="0" y="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89" name="Freeform 40"/>
          <p:cNvSpPr>
            <a:spLocks/>
          </p:cNvSpPr>
          <p:nvPr userDrawn="1"/>
        </p:nvSpPr>
        <p:spPr bwMode="auto">
          <a:xfrm>
            <a:off x="8226425" y="-921915"/>
            <a:ext cx="30163" cy="34925"/>
          </a:xfrm>
          <a:custGeom>
            <a:avLst/>
            <a:gdLst>
              <a:gd name="T0" fmla="*/ 12 w 36"/>
              <a:gd name="T1" fmla="*/ 44 h 44"/>
              <a:gd name="T2" fmla="*/ 12 w 36"/>
              <a:gd name="T3" fmla="*/ 44 h 44"/>
              <a:gd name="T4" fmla="*/ 27 w 36"/>
              <a:gd name="T5" fmla="*/ 42 h 44"/>
              <a:gd name="T6" fmla="*/ 36 w 36"/>
              <a:gd name="T7" fmla="*/ 40 h 44"/>
              <a:gd name="T8" fmla="*/ 36 w 36"/>
              <a:gd name="T9" fmla="*/ 3 h 44"/>
              <a:gd name="T10" fmla="*/ 36 w 36"/>
              <a:gd name="T11" fmla="*/ 3 h 44"/>
              <a:gd name="T12" fmla="*/ 16 w 36"/>
              <a:gd name="T13" fmla="*/ 0 h 44"/>
              <a:gd name="T14" fmla="*/ 16 w 36"/>
              <a:gd name="T15" fmla="*/ 0 h 44"/>
              <a:gd name="T16" fmla="*/ 11 w 36"/>
              <a:gd name="T17" fmla="*/ 0 h 44"/>
              <a:gd name="T18" fmla="*/ 7 w 36"/>
              <a:gd name="T19" fmla="*/ 2 h 44"/>
              <a:gd name="T20" fmla="*/ 3 w 36"/>
              <a:gd name="T21" fmla="*/ 3 h 44"/>
              <a:gd name="T22" fmla="*/ 1 w 36"/>
              <a:gd name="T23" fmla="*/ 7 h 44"/>
              <a:gd name="T24" fmla="*/ 0 w 36"/>
              <a:gd name="T25" fmla="*/ 13 h 44"/>
              <a:gd name="T26" fmla="*/ 0 w 36"/>
              <a:gd name="T27" fmla="*/ 16 h 44"/>
              <a:gd name="T28" fmla="*/ 0 w 36"/>
              <a:gd name="T29" fmla="*/ 27 h 44"/>
              <a:gd name="T30" fmla="*/ 0 w 36"/>
              <a:gd name="T31" fmla="*/ 27 h 44"/>
              <a:gd name="T32" fmla="*/ 1 w 36"/>
              <a:gd name="T33" fmla="*/ 34 h 44"/>
              <a:gd name="T34" fmla="*/ 5 w 36"/>
              <a:gd name="T35" fmla="*/ 40 h 44"/>
              <a:gd name="T36" fmla="*/ 9 w 36"/>
              <a:gd name="T37" fmla="*/ 42 h 44"/>
              <a:gd name="T38" fmla="*/ 12 w 36"/>
              <a:gd name="T3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 h="44">
                <a:moveTo>
                  <a:pt x="12" y="44"/>
                </a:moveTo>
                <a:lnTo>
                  <a:pt x="12" y="44"/>
                </a:lnTo>
                <a:lnTo>
                  <a:pt x="27" y="42"/>
                </a:lnTo>
                <a:lnTo>
                  <a:pt x="36" y="40"/>
                </a:lnTo>
                <a:lnTo>
                  <a:pt x="36" y="3"/>
                </a:lnTo>
                <a:lnTo>
                  <a:pt x="36" y="3"/>
                </a:lnTo>
                <a:lnTo>
                  <a:pt x="16" y="0"/>
                </a:lnTo>
                <a:lnTo>
                  <a:pt x="16" y="0"/>
                </a:lnTo>
                <a:lnTo>
                  <a:pt x="11" y="0"/>
                </a:lnTo>
                <a:lnTo>
                  <a:pt x="7" y="2"/>
                </a:lnTo>
                <a:lnTo>
                  <a:pt x="3" y="3"/>
                </a:lnTo>
                <a:lnTo>
                  <a:pt x="1" y="7"/>
                </a:lnTo>
                <a:lnTo>
                  <a:pt x="0" y="13"/>
                </a:lnTo>
                <a:lnTo>
                  <a:pt x="0" y="16"/>
                </a:lnTo>
                <a:lnTo>
                  <a:pt x="0" y="27"/>
                </a:lnTo>
                <a:lnTo>
                  <a:pt x="0" y="27"/>
                </a:lnTo>
                <a:lnTo>
                  <a:pt x="1" y="34"/>
                </a:lnTo>
                <a:lnTo>
                  <a:pt x="5" y="40"/>
                </a:lnTo>
                <a:lnTo>
                  <a:pt x="9" y="42"/>
                </a:lnTo>
                <a:lnTo>
                  <a:pt x="12" y="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0" name="Freeform 41"/>
          <p:cNvSpPr>
            <a:spLocks/>
          </p:cNvSpPr>
          <p:nvPr userDrawn="1"/>
        </p:nvSpPr>
        <p:spPr bwMode="auto">
          <a:xfrm>
            <a:off x="8262938" y="-928265"/>
            <a:ext cx="44450" cy="41275"/>
          </a:xfrm>
          <a:custGeom>
            <a:avLst/>
            <a:gdLst>
              <a:gd name="T0" fmla="*/ 55 w 55"/>
              <a:gd name="T1" fmla="*/ 38 h 53"/>
              <a:gd name="T2" fmla="*/ 55 w 55"/>
              <a:gd name="T3" fmla="*/ 27 h 53"/>
              <a:gd name="T4" fmla="*/ 55 w 55"/>
              <a:gd name="T5" fmla="*/ 7 h 53"/>
              <a:gd name="T6" fmla="*/ 55 w 55"/>
              <a:gd name="T7" fmla="*/ 1 h 53"/>
              <a:gd name="T8" fmla="*/ 53 w 55"/>
              <a:gd name="T9" fmla="*/ 0 h 53"/>
              <a:gd name="T10" fmla="*/ 46 w 55"/>
              <a:gd name="T11" fmla="*/ 0 h 53"/>
              <a:gd name="T12" fmla="*/ 40 w 55"/>
              <a:gd name="T13" fmla="*/ 0 h 53"/>
              <a:gd name="T14" fmla="*/ 29 w 55"/>
              <a:gd name="T15" fmla="*/ 0 h 53"/>
              <a:gd name="T16" fmla="*/ 28 w 55"/>
              <a:gd name="T17" fmla="*/ 7 h 53"/>
              <a:gd name="T18" fmla="*/ 26 w 55"/>
              <a:gd name="T19" fmla="*/ 0 h 53"/>
              <a:gd name="T20" fmla="*/ 17 w 55"/>
              <a:gd name="T21" fmla="*/ 0 h 53"/>
              <a:gd name="T22" fmla="*/ 11 w 55"/>
              <a:gd name="T23" fmla="*/ 0 h 53"/>
              <a:gd name="T24" fmla="*/ 4 w 55"/>
              <a:gd name="T25" fmla="*/ 0 h 53"/>
              <a:gd name="T26" fmla="*/ 2 w 55"/>
              <a:gd name="T27" fmla="*/ 1 h 53"/>
              <a:gd name="T28" fmla="*/ 0 w 55"/>
              <a:gd name="T29" fmla="*/ 7 h 53"/>
              <a:gd name="T30" fmla="*/ 0 w 55"/>
              <a:gd name="T31" fmla="*/ 27 h 53"/>
              <a:gd name="T32" fmla="*/ 0 w 55"/>
              <a:gd name="T33" fmla="*/ 49 h 53"/>
              <a:gd name="T34" fmla="*/ 6 w 55"/>
              <a:gd name="T35" fmla="*/ 49 h 53"/>
              <a:gd name="T36" fmla="*/ 9 w 55"/>
              <a:gd name="T37" fmla="*/ 47 h 53"/>
              <a:gd name="T38" fmla="*/ 13 w 55"/>
              <a:gd name="T39" fmla="*/ 40 h 53"/>
              <a:gd name="T40" fmla="*/ 13 w 55"/>
              <a:gd name="T41" fmla="*/ 53 h 53"/>
              <a:gd name="T42" fmla="*/ 17 w 55"/>
              <a:gd name="T43" fmla="*/ 53 h 53"/>
              <a:gd name="T44" fmla="*/ 24 w 55"/>
              <a:gd name="T45" fmla="*/ 49 h 53"/>
              <a:gd name="T46" fmla="*/ 26 w 55"/>
              <a:gd name="T47" fmla="*/ 43 h 53"/>
              <a:gd name="T48" fmla="*/ 28 w 55"/>
              <a:gd name="T49" fmla="*/ 40 h 53"/>
              <a:gd name="T50" fmla="*/ 28 w 55"/>
              <a:gd name="T51" fmla="*/ 53 h 53"/>
              <a:gd name="T52" fmla="*/ 39 w 55"/>
              <a:gd name="T53" fmla="*/ 49 h 53"/>
              <a:gd name="T54" fmla="*/ 42 w 55"/>
              <a:gd name="T55" fmla="*/ 43 h 53"/>
              <a:gd name="T56" fmla="*/ 42 w 55"/>
              <a:gd name="T57" fmla="*/ 40 h 53"/>
              <a:gd name="T58" fmla="*/ 42 w 55"/>
              <a:gd name="T59" fmla="*/ 49 h 53"/>
              <a:gd name="T60" fmla="*/ 46 w 55"/>
              <a:gd name="T61" fmla="*/ 47 h 53"/>
              <a:gd name="T62" fmla="*/ 51 w 55"/>
              <a:gd name="T63" fmla="*/ 45 h 53"/>
              <a:gd name="T64" fmla="*/ 55 w 55"/>
              <a:gd name="T65" fmla="*/ 38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5" h="53">
                <a:moveTo>
                  <a:pt x="55" y="38"/>
                </a:moveTo>
                <a:lnTo>
                  <a:pt x="55" y="38"/>
                </a:lnTo>
                <a:lnTo>
                  <a:pt x="55" y="27"/>
                </a:lnTo>
                <a:lnTo>
                  <a:pt x="55" y="27"/>
                </a:lnTo>
                <a:lnTo>
                  <a:pt x="55" y="7"/>
                </a:lnTo>
                <a:lnTo>
                  <a:pt x="55" y="7"/>
                </a:lnTo>
                <a:lnTo>
                  <a:pt x="55" y="3"/>
                </a:lnTo>
                <a:lnTo>
                  <a:pt x="55" y="1"/>
                </a:lnTo>
                <a:lnTo>
                  <a:pt x="53" y="0"/>
                </a:lnTo>
                <a:lnTo>
                  <a:pt x="53" y="0"/>
                </a:lnTo>
                <a:lnTo>
                  <a:pt x="46" y="0"/>
                </a:lnTo>
                <a:lnTo>
                  <a:pt x="46" y="0"/>
                </a:lnTo>
                <a:lnTo>
                  <a:pt x="42" y="7"/>
                </a:lnTo>
                <a:lnTo>
                  <a:pt x="40" y="0"/>
                </a:lnTo>
                <a:lnTo>
                  <a:pt x="40" y="0"/>
                </a:lnTo>
                <a:lnTo>
                  <a:pt x="29" y="0"/>
                </a:lnTo>
                <a:lnTo>
                  <a:pt x="29" y="0"/>
                </a:lnTo>
                <a:lnTo>
                  <a:pt x="28" y="7"/>
                </a:lnTo>
                <a:lnTo>
                  <a:pt x="26" y="0"/>
                </a:lnTo>
                <a:lnTo>
                  <a:pt x="26" y="0"/>
                </a:lnTo>
                <a:lnTo>
                  <a:pt x="17" y="0"/>
                </a:lnTo>
                <a:lnTo>
                  <a:pt x="17" y="0"/>
                </a:lnTo>
                <a:lnTo>
                  <a:pt x="13" y="7"/>
                </a:lnTo>
                <a:lnTo>
                  <a:pt x="11" y="0"/>
                </a:lnTo>
                <a:lnTo>
                  <a:pt x="11" y="0"/>
                </a:lnTo>
                <a:lnTo>
                  <a:pt x="4" y="0"/>
                </a:lnTo>
                <a:lnTo>
                  <a:pt x="4" y="0"/>
                </a:lnTo>
                <a:lnTo>
                  <a:pt x="2" y="1"/>
                </a:lnTo>
                <a:lnTo>
                  <a:pt x="0" y="3"/>
                </a:lnTo>
                <a:lnTo>
                  <a:pt x="0" y="7"/>
                </a:lnTo>
                <a:lnTo>
                  <a:pt x="0" y="7"/>
                </a:lnTo>
                <a:lnTo>
                  <a:pt x="0" y="27"/>
                </a:lnTo>
                <a:lnTo>
                  <a:pt x="0" y="27"/>
                </a:lnTo>
                <a:lnTo>
                  <a:pt x="0" y="49"/>
                </a:lnTo>
                <a:lnTo>
                  <a:pt x="0" y="49"/>
                </a:lnTo>
                <a:lnTo>
                  <a:pt x="6" y="49"/>
                </a:lnTo>
                <a:lnTo>
                  <a:pt x="9" y="47"/>
                </a:lnTo>
                <a:lnTo>
                  <a:pt x="9" y="47"/>
                </a:lnTo>
                <a:lnTo>
                  <a:pt x="11" y="42"/>
                </a:lnTo>
                <a:lnTo>
                  <a:pt x="13" y="40"/>
                </a:lnTo>
                <a:lnTo>
                  <a:pt x="13" y="40"/>
                </a:lnTo>
                <a:lnTo>
                  <a:pt x="13" y="53"/>
                </a:lnTo>
                <a:lnTo>
                  <a:pt x="13" y="53"/>
                </a:lnTo>
                <a:lnTo>
                  <a:pt x="17" y="53"/>
                </a:lnTo>
                <a:lnTo>
                  <a:pt x="20" y="51"/>
                </a:lnTo>
                <a:lnTo>
                  <a:pt x="24" y="49"/>
                </a:lnTo>
                <a:lnTo>
                  <a:pt x="24" y="49"/>
                </a:lnTo>
                <a:lnTo>
                  <a:pt x="26" y="43"/>
                </a:lnTo>
                <a:lnTo>
                  <a:pt x="28" y="40"/>
                </a:lnTo>
                <a:lnTo>
                  <a:pt x="28" y="40"/>
                </a:lnTo>
                <a:lnTo>
                  <a:pt x="28" y="53"/>
                </a:lnTo>
                <a:lnTo>
                  <a:pt x="28" y="53"/>
                </a:lnTo>
                <a:lnTo>
                  <a:pt x="33" y="51"/>
                </a:lnTo>
                <a:lnTo>
                  <a:pt x="39" y="49"/>
                </a:lnTo>
                <a:lnTo>
                  <a:pt x="39" y="49"/>
                </a:lnTo>
                <a:lnTo>
                  <a:pt x="42" y="43"/>
                </a:lnTo>
                <a:lnTo>
                  <a:pt x="42" y="40"/>
                </a:lnTo>
                <a:lnTo>
                  <a:pt x="42" y="40"/>
                </a:lnTo>
                <a:lnTo>
                  <a:pt x="42" y="49"/>
                </a:lnTo>
                <a:lnTo>
                  <a:pt x="42" y="49"/>
                </a:lnTo>
                <a:lnTo>
                  <a:pt x="46" y="47"/>
                </a:lnTo>
                <a:lnTo>
                  <a:pt x="46" y="47"/>
                </a:lnTo>
                <a:lnTo>
                  <a:pt x="51" y="45"/>
                </a:lnTo>
                <a:lnTo>
                  <a:pt x="51" y="45"/>
                </a:lnTo>
                <a:lnTo>
                  <a:pt x="53" y="43"/>
                </a:lnTo>
                <a:lnTo>
                  <a:pt x="55" y="3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1" name="Freeform 42"/>
          <p:cNvSpPr>
            <a:spLocks/>
          </p:cNvSpPr>
          <p:nvPr userDrawn="1"/>
        </p:nvSpPr>
        <p:spPr bwMode="auto">
          <a:xfrm>
            <a:off x="8269288" y="-926678"/>
            <a:ext cx="53975" cy="60325"/>
          </a:xfrm>
          <a:custGeom>
            <a:avLst/>
            <a:gdLst>
              <a:gd name="T0" fmla="*/ 67 w 67"/>
              <a:gd name="T1" fmla="*/ 57 h 77"/>
              <a:gd name="T2" fmla="*/ 67 w 67"/>
              <a:gd name="T3" fmla="*/ 44 h 77"/>
              <a:gd name="T4" fmla="*/ 67 w 67"/>
              <a:gd name="T5" fmla="*/ 44 h 77"/>
              <a:gd name="T6" fmla="*/ 65 w 67"/>
              <a:gd name="T7" fmla="*/ 42 h 77"/>
              <a:gd name="T8" fmla="*/ 63 w 67"/>
              <a:gd name="T9" fmla="*/ 37 h 77"/>
              <a:gd name="T10" fmla="*/ 63 w 67"/>
              <a:gd name="T11" fmla="*/ 30 h 77"/>
              <a:gd name="T12" fmla="*/ 63 w 67"/>
              <a:gd name="T13" fmla="*/ 30 h 77"/>
              <a:gd name="T14" fmla="*/ 63 w 67"/>
              <a:gd name="T15" fmla="*/ 26 h 77"/>
              <a:gd name="T16" fmla="*/ 65 w 67"/>
              <a:gd name="T17" fmla="*/ 21 h 77"/>
              <a:gd name="T18" fmla="*/ 67 w 67"/>
              <a:gd name="T19" fmla="*/ 17 h 77"/>
              <a:gd name="T20" fmla="*/ 67 w 67"/>
              <a:gd name="T21" fmla="*/ 6 h 77"/>
              <a:gd name="T22" fmla="*/ 67 w 67"/>
              <a:gd name="T23" fmla="*/ 6 h 77"/>
              <a:gd name="T24" fmla="*/ 63 w 67"/>
              <a:gd name="T25" fmla="*/ 2 h 77"/>
              <a:gd name="T26" fmla="*/ 60 w 67"/>
              <a:gd name="T27" fmla="*/ 0 h 77"/>
              <a:gd name="T28" fmla="*/ 56 w 67"/>
              <a:gd name="T29" fmla="*/ 0 h 77"/>
              <a:gd name="T30" fmla="*/ 56 w 67"/>
              <a:gd name="T31" fmla="*/ 41 h 77"/>
              <a:gd name="T32" fmla="*/ 56 w 67"/>
              <a:gd name="T33" fmla="*/ 41 h 77"/>
              <a:gd name="T34" fmla="*/ 54 w 67"/>
              <a:gd name="T35" fmla="*/ 46 h 77"/>
              <a:gd name="T36" fmla="*/ 51 w 67"/>
              <a:gd name="T37" fmla="*/ 52 h 77"/>
              <a:gd name="T38" fmla="*/ 45 w 67"/>
              <a:gd name="T39" fmla="*/ 55 h 77"/>
              <a:gd name="T40" fmla="*/ 38 w 67"/>
              <a:gd name="T41" fmla="*/ 57 h 77"/>
              <a:gd name="T42" fmla="*/ 38 w 67"/>
              <a:gd name="T43" fmla="*/ 57 h 77"/>
              <a:gd name="T44" fmla="*/ 23 w 67"/>
              <a:gd name="T45" fmla="*/ 59 h 77"/>
              <a:gd name="T46" fmla="*/ 10 w 67"/>
              <a:gd name="T47" fmla="*/ 61 h 77"/>
              <a:gd name="T48" fmla="*/ 0 w 67"/>
              <a:gd name="T49" fmla="*/ 61 h 77"/>
              <a:gd name="T50" fmla="*/ 0 w 67"/>
              <a:gd name="T51" fmla="*/ 61 h 77"/>
              <a:gd name="T52" fmla="*/ 1 w 67"/>
              <a:gd name="T53" fmla="*/ 70 h 77"/>
              <a:gd name="T54" fmla="*/ 1 w 67"/>
              <a:gd name="T55" fmla="*/ 70 h 77"/>
              <a:gd name="T56" fmla="*/ 5 w 67"/>
              <a:gd name="T57" fmla="*/ 75 h 77"/>
              <a:gd name="T58" fmla="*/ 7 w 67"/>
              <a:gd name="T59" fmla="*/ 77 h 77"/>
              <a:gd name="T60" fmla="*/ 54 w 67"/>
              <a:gd name="T61" fmla="*/ 77 h 77"/>
              <a:gd name="T62" fmla="*/ 67 w 67"/>
              <a:gd name="T63" fmla="*/ 5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7" h="77">
                <a:moveTo>
                  <a:pt x="67" y="57"/>
                </a:moveTo>
                <a:lnTo>
                  <a:pt x="67" y="44"/>
                </a:lnTo>
                <a:lnTo>
                  <a:pt x="67" y="44"/>
                </a:lnTo>
                <a:lnTo>
                  <a:pt x="65" y="42"/>
                </a:lnTo>
                <a:lnTo>
                  <a:pt x="63" y="37"/>
                </a:lnTo>
                <a:lnTo>
                  <a:pt x="63" y="30"/>
                </a:lnTo>
                <a:lnTo>
                  <a:pt x="63" y="30"/>
                </a:lnTo>
                <a:lnTo>
                  <a:pt x="63" y="26"/>
                </a:lnTo>
                <a:lnTo>
                  <a:pt x="65" y="21"/>
                </a:lnTo>
                <a:lnTo>
                  <a:pt x="67" y="17"/>
                </a:lnTo>
                <a:lnTo>
                  <a:pt x="67" y="6"/>
                </a:lnTo>
                <a:lnTo>
                  <a:pt x="67" y="6"/>
                </a:lnTo>
                <a:lnTo>
                  <a:pt x="63" y="2"/>
                </a:lnTo>
                <a:lnTo>
                  <a:pt x="60" y="0"/>
                </a:lnTo>
                <a:lnTo>
                  <a:pt x="56" y="0"/>
                </a:lnTo>
                <a:lnTo>
                  <a:pt x="56" y="41"/>
                </a:lnTo>
                <a:lnTo>
                  <a:pt x="56" y="41"/>
                </a:lnTo>
                <a:lnTo>
                  <a:pt x="54" y="46"/>
                </a:lnTo>
                <a:lnTo>
                  <a:pt x="51" y="52"/>
                </a:lnTo>
                <a:lnTo>
                  <a:pt x="45" y="55"/>
                </a:lnTo>
                <a:lnTo>
                  <a:pt x="38" y="57"/>
                </a:lnTo>
                <a:lnTo>
                  <a:pt x="38" y="57"/>
                </a:lnTo>
                <a:lnTo>
                  <a:pt x="23" y="59"/>
                </a:lnTo>
                <a:lnTo>
                  <a:pt x="10" y="61"/>
                </a:lnTo>
                <a:lnTo>
                  <a:pt x="0" y="61"/>
                </a:lnTo>
                <a:lnTo>
                  <a:pt x="0" y="61"/>
                </a:lnTo>
                <a:lnTo>
                  <a:pt x="1" y="70"/>
                </a:lnTo>
                <a:lnTo>
                  <a:pt x="1" y="70"/>
                </a:lnTo>
                <a:lnTo>
                  <a:pt x="5" y="75"/>
                </a:lnTo>
                <a:lnTo>
                  <a:pt x="7" y="77"/>
                </a:lnTo>
                <a:lnTo>
                  <a:pt x="54" y="77"/>
                </a:lnTo>
                <a:lnTo>
                  <a:pt x="67" y="5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2" name="Freeform 43"/>
          <p:cNvSpPr>
            <a:spLocks/>
          </p:cNvSpPr>
          <p:nvPr userDrawn="1"/>
        </p:nvSpPr>
        <p:spPr bwMode="auto">
          <a:xfrm>
            <a:off x="8272463" y="-858415"/>
            <a:ext cx="42863" cy="14288"/>
          </a:xfrm>
          <a:custGeom>
            <a:avLst/>
            <a:gdLst>
              <a:gd name="T0" fmla="*/ 4 w 55"/>
              <a:gd name="T1" fmla="*/ 19 h 19"/>
              <a:gd name="T2" fmla="*/ 51 w 55"/>
              <a:gd name="T3" fmla="*/ 19 h 19"/>
              <a:gd name="T4" fmla="*/ 51 w 55"/>
              <a:gd name="T5" fmla="*/ 19 h 19"/>
              <a:gd name="T6" fmla="*/ 55 w 55"/>
              <a:gd name="T7" fmla="*/ 9 h 19"/>
              <a:gd name="T8" fmla="*/ 53 w 55"/>
              <a:gd name="T9" fmla="*/ 0 h 19"/>
              <a:gd name="T10" fmla="*/ 4 w 55"/>
              <a:gd name="T11" fmla="*/ 0 h 19"/>
              <a:gd name="T12" fmla="*/ 0 w 55"/>
              <a:gd name="T13" fmla="*/ 9 h 19"/>
              <a:gd name="T14" fmla="*/ 4 w 55"/>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19">
                <a:moveTo>
                  <a:pt x="4" y="19"/>
                </a:moveTo>
                <a:lnTo>
                  <a:pt x="51" y="19"/>
                </a:lnTo>
                <a:lnTo>
                  <a:pt x="51" y="19"/>
                </a:lnTo>
                <a:lnTo>
                  <a:pt x="55" y="9"/>
                </a:lnTo>
                <a:lnTo>
                  <a:pt x="53" y="0"/>
                </a:lnTo>
                <a:lnTo>
                  <a:pt x="4" y="0"/>
                </a:lnTo>
                <a:lnTo>
                  <a:pt x="0" y="9"/>
                </a:lnTo>
                <a:lnTo>
                  <a:pt x="4" y="1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3" name="Freeform 44"/>
          <p:cNvSpPr>
            <a:spLocks/>
          </p:cNvSpPr>
          <p:nvPr userDrawn="1"/>
        </p:nvSpPr>
        <p:spPr bwMode="auto">
          <a:xfrm>
            <a:off x="8274050" y="-837778"/>
            <a:ext cx="44450" cy="50800"/>
          </a:xfrm>
          <a:custGeom>
            <a:avLst/>
            <a:gdLst>
              <a:gd name="T0" fmla="*/ 47 w 55"/>
              <a:gd name="T1" fmla="*/ 0 h 64"/>
              <a:gd name="T2" fmla="*/ 0 w 55"/>
              <a:gd name="T3" fmla="*/ 0 h 64"/>
              <a:gd name="T4" fmla="*/ 0 w 55"/>
              <a:gd name="T5" fmla="*/ 62 h 64"/>
              <a:gd name="T6" fmla="*/ 42 w 55"/>
              <a:gd name="T7" fmla="*/ 64 h 64"/>
              <a:gd name="T8" fmla="*/ 55 w 55"/>
              <a:gd name="T9" fmla="*/ 53 h 64"/>
              <a:gd name="T10" fmla="*/ 47 w 55"/>
              <a:gd name="T11" fmla="*/ 0 h 64"/>
            </a:gdLst>
            <a:ahLst/>
            <a:cxnLst>
              <a:cxn ang="0">
                <a:pos x="T0" y="T1"/>
              </a:cxn>
              <a:cxn ang="0">
                <a:pos x="T2" y="T3"/>
              </a:cxn>
              <a:cxn ang="0">
                <a:pos x="T4" y="T5"/>
              </a:cxn>
              <a:cxn ang="0">
                <a:pos x="T6" y="T7"/>
              </a:cxn>
              <a:cxn ang="0">
                <a:pos x="T8" y="T9"/>
              </a:cxn>
              <a:cxn ang="0">
                <a:pos x="T10" y="T11"/>
              </a:cxn>
            </a:cxnLst>
            <a:rect l="0" t="0" r="r" b="b"/>
            <a:pathLst>
              <a:path w="55" h="64">
                <a:moveTo>
                  <a:pt x="47" y="0"/>
                </a:moveTo>
                <a:lnTo>
                  <a:pt x="0" y="0"/>
                </a:lnTo>
                <a:lnTo>
                  <a:pt x="0" y="62"/>
                </a:lnTo>
                <a:lnTo>
                  <a:pt x="42" y="64"/>
                </a:lnTo>
                <a:lnTo>
                  <a:pt x="55" y="53"/>
                </a:lnTo>
                <a:lnTo>
                  <a:pt x="4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4" name="Freeform 45"/>
          <p:cNvSpPr>
            <a:spLocks/>
          </p:cNvSpPr>
          <p:nvPr userDrawn="1"/>
        </p:nvSpPr>
        <p:spPr bwMode="auto">
          <a:xfrm>
            <a:off x="8274050" y="-788565"/>
            <a:ext cx="57150" cy="50800"/>
          </a:xfrm>
          <a:custGeom>
            <a:avLst/>
            <a:gdLst>
              <a:gd name="T0" fmla="*/ 73 w 73"/>
              <a:gd name="T1" fmla="*/ 16 h 64"/>
              <a:gd name="T2" fmla="*/ 73 w 73"/>
              <a:gd name="T3" fmla="*/ 16 h 64"/>
              <a:gd name="T4" fmla="*/ 64 w 73"/>
              <a:gd name="T5" fmla="*/ 9 h 64"/>
              <a:gd name="T6" fmla="*/ 64 w 73"/>
              <a:gd name="T7" fmla="*/ 9 h 64"/>
              <a:gd name="T8" fmla="*/ 62 w 73"/>
              <a:gd name="T9" fmla="*/ 0 h 64"/>
              <a:gd name="T10" fmla="*/ 48 w 73"/>
              <a:gd name="T11" fmla="*/ 11 h 64"/>
              <a:gd name="T12" fmla="*/ 0 w 73"/>
              <a:gd name="T13" fmla="*/ 11 h 64"/>
              <a:gd name="T14" fmla="*/ 0 w 73"/>
              <a:gd name="T15" fmla="*/ 11 h 64"/>
              <a:gd name="T16" fmla="*/ 0 w 73"/>
              <a:gd name="T17" fmla="*/ 27 h 64"/>
              <a:gd name="T18" fmla="*/ 0 w 73"/>
              <a:gd name="T19" fmla="*/ 45 h 64"/>
              <a:gd name="T20" fmla="*/ 0 w 73"/>
              <a:gd name="T21" fmla="*/ 45 h 64"/>
              <a:gd name="T22" fmla="*/ 11 w 73"/>
              <a:gd name="T23" fmla="*/ 55 h 64"/>
              <a:gd name="T24" fmla="*/ 24 w 73"/>
              <a:gd name="T25" fmla="*/ 64 h 64"/>
              <a:gd name="T26" fmla="*/ 55 w 73"/>
              <a:gd name="T27" fmla="*/ 25 h 64"/>
              <a:gd name="T28" fmla="*/ 73 w 73"/>
              <a:gd name="T29"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64">
                <a:moveTo>
                  <a:pt x="73" y="16"/>
                </a:moveTo>
                <a:lnTo>
                  <a:pt x="73" y="16"/>
                </a:lnTo>
                <a:lnTo>
                  <a:pt x="64" y="9"/>
                </a:lnTo>
                <a:lnTo>
                  <a:pt x="64" y="9"/>
                </a:lnTo>
                <a:lnTo>
                  <a:pt x="62" y="0"/>
                </a:lnTo>
                <a:lnTo>
                  <a:pt x="48" y="11"/>
                </a:lnTo>
                <a:lnTo>
                  <a:pt x="0" y="11"/>
                </a:lnTo>
                <a:lnTo>
                  <a:pt x="0" y="11"/>
                </a:lnTo>
                <a:lnTo>
                  <a:pt x="0" y="27"/>
                </a:lnTo>
                <a:lnTo>
                  <a:pt x="0" y="45"/>
                </a:lnTo>
                <a:lnTo>
                  <a:pt x="0" y="45"/>
                </a:lnTo>
                <a:lnTo>
                  <a:pt x="11" y="55"/>
                </a:lnTo>
                <a:lnTo>
                  <a:pt x="24" y="64"/>
                </a:lnTo>
                <a:lnTo>
                  <a:pt x="55" y="25"/>
                </a:lnTo>
                <a:lnTo>
                  <a:pt x="73"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5" name="Freeform 46"/>
          <p:cNvSpPr>
            <a:spLocks/>
          </p:cNvSpPr>
          <p:nvPr userDrawn="1"/>
        </p:nvSpPr>
        <p:spPr bwMode="auto">
          <a:xfrm>
            <a:off x="8301038" y="-769515"/>
            <a:ext cx="85725" cy="50800"/>
          </a:xfrm>
          <a:custGeom>
            <a:avLst/>
            <a:gdLst>
              <a:gd name="T0" fmla="*/ 27 w 108"/>
              <a:gd name="T1" fmla="*/ 7 h 63"/>
              <a:gd name="T2" fmla="*/ 0 w 108"/>
              <a:gd name="T3" fmla="*/ 43 h 63"/>
              <a:gd name="T4" fmla="*/ 45 w 108"/>
              <a:gd name="T5" fmla="*/ 63 h 63"/>
              <a:gd name="T6" fmla="*/ 45 w 108"/>
              <a:gd name="T7" fmla="*/ 63 h 63"/>
              <a:gd name="T8" fmla="*/ 65 w 108"/>
              <a:gd name="T9" fmla="*/ 51 h 63"/>
              <a:gd name="T10" fmla="*/ 86 w 108"/>
              <a:gd name="T11" fmla="*/ 38 h 63"/>
              <a:gd name="T12" fmla="*/ 108 w 108"/>
              <a:gd name="T13" fmla="*/ 23 h 63"/>
              <a:gd name="T14" fmla="*/ 44 w 108"/>
              <a:gd name="T15" fmla="*/ 0 h 63"/>
              <a:gd name="T16" fmla="*/ 27 w 108"/>
              <a:gd name="T17" fmla="*/ 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63">
                <a:moveTo>
                  <a:pt x="27" y="7"/>
                </a:moveTo>
                <a:lnTo>
                  <a:pt x="0" y="43"/>
                </a:lnTo>
                <a:lnTo>
                  <a:pt x="45" y="63"/>
                </a:lnTo>
                <a:lnTo>
                  <a:pt x="45" y="63"/>
                </a:lnTo>
                <a:lnTo>
                  <a:pt x="65" y="51"/>
                </a:lnTo>
                <a:lnTo>
                  <a:pt x="86" y="38"/>
                </a:lnTo>
                <a:lnTo>
                  <a:pt x="108" y="23"/>
                </a:lnTo>
                <a:lnTo>
                  <a:pt x="44" y="0"/>
                </a:lnTo>
                <a:lnTo>
                  <a:pt x="2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6" name="Freeform 47"/>
          <p:cNvSpPr>
            <a:spLocks/>
          </p:cNvSpPr>
          <p:nvPr userDrawn="1"/>
        </p:nvSpPr>
        <p:spPr bwMode="auto">
          <a:xfrm>
            <a:off x="8324850" y="-952078"/>
            <a:ext cx="22225" cy="93663"/>
          </a:xfrm>
          <a:custGeom>
            <a:avLst/>
            <a:gdLst>
              <a:gd name="T0" fmla="*/ 22 w 27"/>
              <a:gd name="T1" fmla="*/ 50 h 117"/>
              <a:gd name="T2" fmla="*/ 22 w 27"/>
              <a:gd name="T3" fmla="*/ 50 h 117"/>
              <a:gd name="T4" fmla="*/ 22 w 27"/>
              <a:gd name="T5" fmla="*/ 11 h 117"/>
              <a:gd name="T6" fmla="*/ 22 w 27"/>
              <a:gd name="T7" fmla="*/ 11 h 117"/>
              <a:gd name="T8" fmla="*/ 24 w 27"/>
              <a:gd name="T9" fmla="*/ 8 h 117"/>
              <a:gd name="T10" fmla="*/ 24 w 27"/>
              <a:gd name="T11" fmla="*/ 8 h 117"/>
              <a:gd name="T12" fmla="*/ 24 w 27"/>
              <a:gd name="T13" fmla="*/ 4 h 117"/>
              <a:gd name="T14" fmla="*/ 24 w 27"/>
              <a:gd name="T15" fmla="*/ 0 h 117"/>
              <a:gd name="T16" fmla="*/ 2 w 27"/>
              <a:gd name="T17" fmla="*/ 0 h 117"/>
              <a:gd name="T18" fmla="*/ 2 w 27"/>
              <a:gd name="T19" fmla="*/ 0 h 117"/>
              <a:gd name="T20" fmla="*/ 2 w 27"/>
              <a:gd name="T21" fmla="*/ 6 h 117"/>
              <a:gd name="T22" fmla="*/ 2 w 27"/>
              <a:gd name="T23" fmla="*/ 6 h 117"/>
              <a:gd name="T24" fmla="*/ 2 w 27"/>
              <a:gd name="T25" fmla="*/ 9 h 117"/>
              <a:gd name="T26" fmla="*/ 3 w 27"/>
              <a:gd name="T27" fmla="*/ 11 h 117"/>
              <a:gd name="T28" fmla="*/ 3 w 27"/>
              <a:gd name="T29" fmla="*/ 50 h 117"/>
              <a:gd name="T30" fmla="*/ 3 w 27"/>
              <a:gd name="T31" fmla="*/ 50 h 117"/>
              <a:gd name="T32" fmla="*/ 2 w 27"/>
              <a:gd name="T33" fmla="*/ 52 h 117"/>
              <a:gd name="T34" fmla="*/ 0 w 27"/>
              <a:gd name="T35" fmla="*/ 61 h 117"/>
              <a:gd name="T36" fmla="*/ 0 w 27"/>
              <a:gd name="T37" fmla="*/ 61 h 117"/>
              <a:gd name="T38" fmla="*/ 0 w 27"/>
              <a:gd name="T39" fmla="*/ 66 h 117"/>
              <a:gd name="T40" fmla="*/ 2 w 27"/>
              <a:gd name="T41" fmla="*/ 72 h 117"/>
              <a:gd name="T42" fmla="*/ 5 w 27"/>
              <a:gd name="T43" fmla="*/ 75 h 117"/>
              <a:gd name="T44" fmla="*/ 3 w 27"/>
              <a:gd name="T45" fmla="*/ 106 h 117"/>
              <a:gd name="T46" fmla="*/ 3 w 27"/>
              <a:gd name="T47" fmla="*/ 106 h 117"/>
              <a:gd name="T48" fmla="*/ 3 w 27"/>
              <a:gd name="T49" fmla="*/ 108 h 117"/>
              <a:gd name="T50" fmla="*/ 2 w 27"/>
              <a:gd name="T51" fmla="*/ 112 h 117"/>
              <a:gd name="T52" fmla="*/ 2 w 27"/>
              <a:gd name="T53" fmla="*/ 112 h 117"/>
              <a:gd name="T54" fmla="*/ 2 w 27"/>
              <a:gd name="T55" fmla="*/ 117 h 117"/>
              <a:gd name="T56" fmla="*/ 24 w 27"/>
              <a:gd name="T57" fmla="*/ 117 h 117"/>
              <a:gd name="T58" fmla="*/ 24 w 27"/>
              <a:gd name="T59" fmla="*/ 117 h 117"/>
              <a:gd name="T60" fmla="*/ 24 w 27"/>
              <a:gd name="T61" fmla="*/ 110 h 117"/>
              <a:gd name="T62" fmla="*/ 24 w 27"/>
              <a:gd name="T63" fmla="*/ 110 h 117"/>
              <a:gd name="T64" fmla="*/ 22 w 27"/>
              <a:gd name="T65" fmla="*/ 106 h 117"/>
              <a:gd name="T66" fmla="*/ 22 w 27"/>
              <a:gd name="T67" fmla="*/ 75 h 117"/>
              <a:gd name="T68" fmla="*/ 22 w 27"/>
              <a:gd name="T69" fmla="*/ 75 h 117"/>
              <a:gd name="T70" fmla="*/ 25 w 27"/>
              <a:gd name="T71" fmla="*/ 70 h 117"/>
              <a:gd name="T72" fmla="*/ 25 w 27"/>
              <a:gd name="T73" fmla="*/ 66 h 117"/>
              <a:gd name="T74" fmla="*/ 27 w 27"/>
              <a:gd name="T75" fmla="*/ 62 h 117"/>
              <a:gd name="T76" fmla="*/ 27 w 27"/>
              <a:gd name="T77" fmla="*/ 62 h 117"/>
              <a:gd name="T78" fmla="*/ 24 w 27"/>
              <a:gd name="T79" fmla="*/ 53 h 117"/>
              <a:gd name="T80" fmla="*/ 22 w 27"/>
              <a:gd name="T81" fmla="*/ 5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7" h="117">
                <a:moveTo>
                  <a:pt x="22" y="50"/>
                </a:moveTo>
                <a:lnTo>
                  <a:pt x="22" y="50"/>
                </a:lnTo>
                <a:lnTo>
                  <a:pt x="22" y="11"/>
                </a:lnTo>
                <a:lnTo>
                  <a:pt x="22" y="11"/>
                </a:lnTo>
                <a:lnTo>
                  <a:pt x="24" y="8"/>
                </a:lnTo>
                <a:lnTo>
                  <a:pt x="24" y="8"/>
                </a:lnTo>
                <a:lnTo>
                  <a:pt x="24" y="4"/>
                </a:lnTo>
                <a:lnTo>
                  <a:pt x="24" y="0"/>
                </a:lnTo>
                <a:lnTo>
                  <a:pt x="2" y="0"/>
                </a:lnTo>
                <a:lnTo>
                  <a:pt x="2" y="0"/>
                </a:lnTo>
                <a:lnTo>
                  <a:pt x="2" y="6"/>
                </a:lnTo>
                <a:lnTo>
                  <a:pt x="2" y="6"/>
                </a:lnTo>
                <a:lnTo>
                  <a:pt x="2" y="9"/>
                </a:lnTo>
                <a:lnTo>
                  <a:pt x="3" y="11"/>
                </a:lnTo>
                <a:lnTo>
                  <a:pt x="3" y="50"/>
                </a:lnTo>
                <a:lnTo>
                  <a:pt x="3" y="50"/>
                </a:lnTo>
                <a:lnTo>
                  <a:pt x="2" y="52"/>
                </a:lnTo>
                <a:lnTo>
                  <a:pt x="0" y="61"/>
                </a:lnTo>
                <a:lnTo>
                  <a:pt x="0" y="61"/>
                </a:lnTo>
                <a:lnTo>
                  <a:pt x="0" y="66"/>
                </a:lnTo>
                <a:lnTo>
                  <a:pt x="2" y="72"/>
                </a:lnTo>
                <a:lnTo>
                  <a:pt x="5" y="75"/>
                </a:lnTo>
                <a:lnTo>
                  <a:pt x="3" y="106"/>
                </a:lnTo>
                <a:lnTo>
                  <a:pt x="3" y="106"/>
                </a:lnTo>
                <a:lnTo>
                  <a:pt x="3" y="108"/>
                </a:lnTo>
                <a:lnTo>
                  <a:pt x="2" y="112"/>
                </a:lnTo>
                <a:lnTo>
                  <a:pt x="2" y="112"/>
                </a:lnTo>
                <a:lnTo>
                  <a:pt x="2" y="117"/>
                </a:lnTo>
                <a:lnTo>
                  <a:pt x="24" y="117"/>
                </a:lnTo>
                <a:lnTo>
                  <a:pt x="24" y="117"/>
                </a:lnTo>
                <a:lnTo>
                  <a:pt x="24" y="110"/>
                </a:lnTo>
                <a:lnTo>
                  <a:pt x="24" y="110"/>
                </a:lnTo>
                <a:lnTo>
                  <a:pt x="22" y="106"/>
                </a:lnTo>
                <a:lnTo>
                  <a:pt x="22" y="75"/>
                </a:lnTo>
                <a:lnTo>
                  <a:pt x="22" y="75"/>
                </a:lnTo>
                <a:lnTo>
                  <a:pt x="25" y="70"/>
                </a:lnTo>
                <a:lnTo>
                  <a:pt x="25" y="66"/>
                </a:lnTo>
                <a:lnTo>
                  <a:pt x="27" y="62"/>
                </a:lnTo>
                <a:lnTo>
                  <a:pt x="27" y="62"/>
                </a:lnTo>
                <a:lnTo>
                  <a:pt x="24" y="53"/>
                </a:lnTo>
                <a:lnTo>
                  <a:pt x="22" y="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7" name="Freeform 48"/>
          <p:cNvSpPr>
            <a:spLocks/>
          </p:cNvSpPr>
          <p:nvPr userDrawn="1"/>
        </p:nvSpPr>
        <p:spPr bwMode="auto">
          <a:xfrm>
            <a:off x="8347075" y="-923503"/>
            <a:ext cx="60325" cy="42863"/>
          </a:xfrm>
          <a:custGeom>
            <a:avLst/>
            <a:gdLst>
              <a:gd name="T0" fmla="*/ 42 w 77"/>
              <a:gd name="T1" fmla="*/ 46 h 55"/>
              <a:gd name="T2" fmla="*/ 77 w 77"/>
              <a:gd name="T3" fmla="*/ 9 h 55"/>
              <a:gd name="T4" fmla="*/ 77 w 77"/>
              <a:gd name="T5" fmla="*/ 9 h 55"/>
              <a:gd name="T6" fmla="*/ 26 w 77"/>
              <a:gd name="T7" fmla="*/ 9 h 55"/>
              <a:gd name="T8" fmla="*/ 26 w 77"/>
              <a:gd name="T9" fmla="*/ 9 h 55"/>
              <a:gd name="T10" fmla="*/ 20 w 77"/>
              <a:gd name="T11" fmla="*/ 7 h 55"/>
              <a:gd name="T12" fmla="*/ 15 w 77"/>
              <a:gd name="T13" fmla="*/ 4 h 55"/>
              <a:gd name="T14" fmla="*/ 7 w 77"/>
              <a:gd name="T15" fmla="*/ 0 h 55"/>
              <a:gd name="T16" fmla="*/ 6 w 77"/>
              <a:gd name="T17" fmla="*/ 0 h 55"/>
              <a:gd name="T18" fmla="*/ 6 w 77"/>
              <a:gd name="T19" fmla="*/ 0 h 55"/>
              <a:gd name="T20" fmla="*/ 0 w 77"/>
              <a:gd name="T21" fmla="*/ 11 h 55"/>
              <a:gd name="T22" fmla="*/ 0 w 77"/>
              <a:gd name="T23" fmla="*/ 11 h 55"/>
              <a:gd name="T24" fmla="*/ 4 w 77"/>
              <a:gd name="T25" fmla="*/ 17 h 55"/>
              <a:gd name="T26" fmla="*/ 6 w 77"/>
              <a:gd name="T27" fmla="*/ 20 h 55"/>
              <a:gd name="T28" fmla="*/ 7 w 77"/>
              <a:gd name="T29" fmla="*/ 27 h 55"/>
              <a:gd name="T30" fmla="*/ 7 w 77"/>
              <a:gd name="T31" fmla="*/ 27 h 55"/>
              <a:gd name="T32" fmla="*/ 7 w 77"/>
              <a:gd name="T33" fmla="*/ 33 h 55"/>
              <a:gd name="T34" fmla="*/ 4 w 77"/>
              <a:gd name="T35" fmla="*/ 38 h 55"/>
              <a:gd name="T36" fmla="*/ 0 w 77"/>
              <a:gd name="T37" fmla="*/ 42 h 55"/>
              <a:gd name="T38" fmla="*/ 0 w 77"/>
              <a:gd name="T39" fmla="*/ 42 h 55"/>
              <a:gd name="T40" fmla="*/ 7 w 77"/>
              <a:gd name="T41" fmla="*/ 55 h 55"/>
              <a:gd name="T42" fmla="*/ 7 w 77"/>
              <a:gd name="T43" fmla="*/ 55 h 55"/>
              <a:gd name="T44" fmla="*/ 13 w 77"/>
              <a:gd name="T45" fmla="*/ 51 h 55"/>
              <a:gd name="T46" fmla="*/ 28 w 77"/>
              <a:gd name="T47" fmla="*/ 46 h 55"/>
              <a:gd name="T48" fmla="*/ 28 w 77"/>
              <a:gd name="T49" fmla="*/ 46 h 55"/>
              <a:gd name="T50" fmla="*/ 42 w 77"/>
              <a:gd name="T51" fmla="*/ 4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7" h="55">
                <a:moveTo>
                  <a:pt x="42" y="46"/>
                </a:moveTo>
                <a:lnTo>
                  <a:pt x="77" y="9"/>
                </a:lnTo>
                <a:lnTo>
                  <a:pt x="77" y="9"/>
                </a:lnTo>
                <a:lnTo>
                  <a:pt x="26" y="9"/>
                </a:lnTo>
                <a:lnTo>
                  <a:pt x="26" y="9"/>
                </a:lnTo>
                <a:lnTo>
                  <a:pt x="20" y="7"/>
                </a:lnTo>
                <a:lnTo>
                  <a:pt x="15" y="4"/>
                </a:lnTo>
                <a:lnTo>
                  <a:pt x="7" y="0"/>
                </a:lnTo>
                <a:lnTo>
                  <a:pt x="6" y="0"/>
                </a:lnTo>
                <a:lnTo>
                  <a:pt x="6" y="0"/>
                </a:lnTo>
                <a:lnTo>
                  <a:pt x="0" y="11"/>
                </a:lnTo>
                <a:lnTo>
                  <a:pt x="0" y="11"/>
                </a:lnTo>
                <a:lnTo>
                  <a:pt x="4" y="17"/>
                </a:lnTo>
                <a:lnTo>
                  <a:pt x="6" y="20"/>
                </a:lnTo>
                <a:lnTo>
                  <a:pt x="7" y="27"/>
                </a:lnTo>
                <a:lnTo>
                  <a:pt x="7" y="27"/>
                </a:lnTo>
                <a:lnTo>
                  <a:pt x="7" y="33"/>
                </a:lnTo>
                <a:lnTo>
                  <a:pt x="4" y="38"/>
                </a:lnTo>
                <a:lnTo>
                  <a:pt x="0" y="42"/>
                </a:lnTo>
                <a:lnTo>
                  <a:pt x="0" y="42"/>
                </a:lnTo>
                <a:lnTo>
                  <a:pt x="7" y="55"/>
                </a:lnTo>
                <a:lnTo>
                  <a:pt x="7" y="55"/>
                </a:lnTo>
                <a:lnTo>
                  <a:pt x="13" y="51"/>
                </a:lnTo>
                <a:lnTo>
                  <a:pt x="28" y="46"/>
                </a:lnTo>
                <a:lnTo>
                  <a:pt x="28" y="46"/>
                </a:lnTo>
                <a:lnTo>
                  <a:pt x="42" y="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8" name="Freeform 49"/>
          <p:cNvSpPr>
            <a:spLocks/>
          </p:cNvSpPr>
          <p:nvPr userDrawn="1"/>
        </p:nvSpPr>
        <p:spPr bwMode="auto">
          <a:xfrm>
            <a:off x="8423275" y="-982240"/>
            <a:ext cx="119063" cy="93663"/>
          </a:xfrm>
          <a:custGeom>
            <a:avLst/>
            <a:gdLst>
              <a:gd name="T0" fmla="*/ 152 w 152"/>
              <a:gd name="T1" fmla="*/ 60 h 119"/>
              <a:gd name="T2" fmla="*/ 148 w 152"/>
              <a:gd name="T3" fmla="*/ 58 h 119"/>
              <a:gd name="T4" fmla="*/ 139 w 152"/>
              <a:gd name="T5" fmla="*/ 62 h 119"/>
              <a:gd name="T6" fmla="*/ 135 w 152"/>
              <a:gd name="T7" fmla="*/ 64 h 119"/>
              <a:gd name="T8" fmla="*/ 134 w 152"/>
              <a:gd name="T9" fmla="*/ 75 h 119"/>
              <a:gd name="T10" fmla="*/ 130 w 152"/>
              <a:gd name="T11" fmla="*/ 71 h 119"/>
              <a:gd name="T12" fmla="*/ 121 w 152"/>
              <a:gd name="T13" fmla="*/ 69 h 119"/>
              <a:gd name="T14" fmla="*/ 113 w 152"/>
              <a:gd name="T15" fmla="*/ 71 h 119"/>
              <a:gd name="T16" fmla="*/ 117 w 152"/>
              <a:gd name="T17" fmla="*/ 80 h 119"/>
              <a:gd name="T18" fmla="*/ 113 w 152"/>
              <a:gd name="T19" fmla="*/ 90 h 119"/>
              <a:gd name="T20" fmla="*/ 110 w 152"/>
              <a:gd name="T21" fmla="*/ 90 h 119"/>
              <a:gd name="T22" fmla="*/ 103 w 152"/>
              <a:gd name="T23" fmla="*/ 84 h 119"/>
              <a:gd name="T24" fmla="*/ 103 w 152"/>
              <a:gd name="T25" fmla="*/ 79 h 119"/>
              <a:gd name="T26" fmla="*/ 93 w 152"/>
              <a:gd name="T27" fmla="*/ 82 h 119"/>
              <a:gd name="T28" fmla="*/ 88 w 152"/>
              <a:gd name="T29" fmla="*/ 79 h 119"/>
              <a:gd name="T30" fmla="*/ 90 w 152"/>
              <a:gd name="T31" fmla="*/ 69 h 119"/>
              <a:gd name="T32" fmla="*/ 104 w 152"/>
              <a:gd name="T33" fmla="*/ 66 h 119"/>
              <a:gd name="T34" fmla="*/ 103 w 152"/>
              <a:gd name="T35" fmla="*/ 60 h 119"/>
              <a:gd name="T36" fmla="*/ 97 w 152"/>
              <a:gd name="T37" fmla="*/ 53 h 119"/>
              <a:gd name="T38" fmla="*/ 92 w 152"/>
              <a:gd name="T39" fmla="*/ 51 h 119"/>
              <a:gd name="T40" fmla="*/ 82 w 152"/>
              <a:gd name="T41" fmla="*/ 53 h 119"/>
              <a:gd name="T42" fmla="*/ 86 w 152"/>
              <a:gd name="T43" fmla="*/ 51 h 119"/>
              <a:gd name="T44" fmla="*/ 90 w 152"/>
              <a:gd name="T45" fmla="*/ 44 h 119"/>
              <a:gd name="T46" fmla="*/ 90 w 152"/>
              <a:gd name="T47" fmla="*/ 35 h 119"/>
              <a:gd name="T48" fmla="*/ 84 w 152"/>
              <a:gd name="T49" fmla="*/ 26 h 119"/>
              <a:gd name="T50" fmla="*/ 84 w 152"/>
              <a:gd name="T51" fmla="*/ 26 h 119"/>
              <a:gd name="T52" fmla="*/ 79 w 152"/>
              <a:gd name="T53" fmla="*/ 27 h 119"/>
              <a:gd name="T54" fmla="*/ 68 w 152"/>
              <a:gd name="T55" fmla="*/ 33 h 119"/>
              <a:gd name="T56" fmla="*/ 66 w 152"/>
              <a:gd name="T57" fmla="*/ 38 h 119"/>
              <a:gd name="T58" fmla="*/ 66 w 152"/>
              <a:gd name="T59" fmla="*/ 46 h 119"/>
              <a:gd name="T60" fmla="*/ 62 w 152"/>
              <a:gd name="T61" fmla="*/ 40 h 119"/>
              <a:gd name="T62" fmla="*/ 55 w 152"/>
              <a:gd name="T63" fmla="*/ 35 h 119"/>
              <a:gd name="T64" fmla="*/ 50 w 152"/>
              <a:gd name="T65" fmla="*/ 35 h 119"/>
              <a:gd name="T66" fmla="*/ 42 w 152"/>
              <a:gd name="T67" fmla="*/ 38 h 119"/>
              <a:gd name="T68" fmla="*/ 48 w 152"/>
              <a:gd name="T69" fmla="*/ 46 h 119"/>
              <a:gd name="T70" fmla="*/ 48 w 152"/>
              <a:gd name="T71" fmla="*/ 57 h 119"/>
              <a:gd name="T72" fmla="*/ 42 w 152"/>
              <a:gd name="T73" fmla="*/ 58 h 119"/>
              <a:gd name="T74" fmla="*/ 35 w 152"/>
              <a:gd name="T75" fmla="*/ 53 h 119"/>
              <a:gd name="T76" fmla="*/ 33 w 152"/>
              <a:gd name="T77" fmla="*/ 47 h 119"/>
              <a:gd name="T78" fmla="*/ 26 w 152"/>
              <a:gd name="T79" fmla="*/ 53 h 119"/>
              <a:gd name="T80" fmla="*/ 20 w 152"/>
              <a:gd name="T81" fmla="*/ 51 h 119"/>
              <a:gd name="T82" fmla="*/ 17 w 152"/>
              <a:gd name="T83" fmla="*/ 42 h 119"/>
              <a:gd name="T84" fmla="*/ 31 w 152"/>
              <a:gd name="T85" fmla="*/ 35 h 119"/>
              <a:gd name="T86" fmla="*/ 29 w 152"/>
              <a:gd name="T87" fmla="*/ 33 h 119"/>
              <a:gd name="T88" fmla="*/ 22 w 152"/>
              <a:gd name="T89" fmla="*/ 24 h 119"/>
              <a:gd name="T90" fmla="*/ 15 w 152"/>
              <a:gd name="T91" fmla="*/ 24 h 119"/>
              <a:gd name="T92" fmla="*/ 18 w 152"/>
              <a:gd name="T93" fmla="*/ 18 h 119"/>
              <a:gd name="T94" fmla="*/ 20 w 152"/>
              <a:gd name="T95" fmla="*/ 9 h 119"/>
              <a:gd name="T96" fmla="*/ 18 w 152"/>
              <a:gd name="T97" fmla="*/ 5 h 119"/>
              <a:gd name="T98" fmla="*/ 13 w 152"/>
              <a:gd name="T99" fmla="*/ 0 h 119"/>
              <a:gd name="T100" fmla="*/ 35 w 152"/>
              <a:gd name="T101" fmla="*/ 88 h 119"/>
              <a:gd name="T102" fmla="*/ 46 w 152"/>
              <a:gd name="T103" fmla="*/ 82 h 119"/>
              <a:gd name="T104" fmla="*/ 51 w 152"/>
              <a:gd name="T105" fmla="*/ 79 h 119"/>
              <a:gd name="T106" fmla="*/ 66 w 152"/>
              <a:gd name="T107" fmla="*/ 80 h 119"/>
              <a:gd name="T108" fmla="*/ 71 w 152"/>
              <a:gd name="T109" fmla="*/ 82 h 119"/>
              <a:gd name="T110" fmla="*/ 82 w 152"/>
              <a:gd name="T111" fmla="*/ 90 h 119"/>
              <a:gd name="T112" fmla="*/ 84 w 152"/>
              <a:gd name="T113" fmla="*/ 99 h 119"/>
              <a:gd name="T114" fmla="*/ 84 w 152"/>
              <a:gd name="T115" fmla="*/ 104 h 119"/>
              <a:gd name="T116" fmla="*/ 106 w 152"/>
              <a:gd name="T117"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2" h="119">
                <a:moveTo>
                  <a:pt x="106" y="119"/>
                </a:moveTo>
                <a:lnTo>
                  <a:pt x="152" y="60"/>
                </a:lnTo>
                <a:lnTo>
                  <a:pt x="152" y="60"/>
                </a:lnTo>
                <a:lnTo>
                  <a:pt x="148" y="58"/>
                </a:lnTo>
                <a:lnTo>
                  <a:pt x="145" y="60"/>
                </a:lnTo>
                <a:lnTo>
                  <a:pt x="139" y="62"/>
                </a:lnTo>
                <a:lnTo>
                  <a:pt x="139" y="62"/>
                </a:lnTo>
                <a:lnTo>
                  <a:pt x="135" y="64"/>
                </a:lnTo>
                <a:lnTo>
                  <a:pt x="134" y="69"/>
                </a:lnTo>
                <a:lnTo>
                  <a:pt x="134" y="75"/>
                </a:lnTo>
                <a:lnTo>
                  <a:pt x="134" y="75"/>
                </a:lnTo>
                <a:lnTo>
                  <a:pt x="130" y="71"/>
                </a:lnTo>
                <a:lnTo>
                  <a:pt x="128" y="69"/>
                </a:lnTo>
                <a:lnTo>
                  <a:pt x="121" y="69"/>
                </a:lnTo>
                <a:lnTo>
                  <a:pt x="115" y="69"/>
                </a:lnTo>
                <a:lnTo>
                  <a:pt x="113" y="71"/>
                </a:lnTo>
                <a:lnTo>
                  <a:pt x="113" y="71"/>
                </a:lnTo>
                <a:lnTo>
                  <a:pt x="117" y="80"/>
                </a:lnTo>
                <a:lnTo>
                  <a:pt x="117" y="86"/>
                </a:lnTo>
                <a:lnTo>
                  <a:pt x="113" y="90"/>
                </a:lnTo>
                <a:lnTo>
                  <a:pt x="110" y="90"/>
                </a:lnTo>
                <a:lnTo>
                  <a:pt x="110" y="90"/>
                </a:lnTo>
                <a:lnTo>
                  <a:pt x="104" y="88"/>
                </a:lnTo>
                <a:lnTo>
                  <a:pt x="103" y="84"/>
                </a:lnTo>
                <a:lnTo>
                  <a:pt x="103" y="79"/>
                </a:lnTo>
                <a:lnTo>
                  <a:pt x="103" y="79"/>
                </a:lnTo>
                <a:lnTo>
                  <a:pt x="97" y="82"/>
                </a:lnTo>
                <a:lnTo>
                  <a:pt x="93" y="82"/>
                </a:lnTo>
                <a:lnTo>
                  <a:pt x="88" y="79"/>
                </a:lnTo>
                <a:lnTo>
                  <a:pt x="88" y="79"/>
                </a:lnTo>
                <a:lnTo>
                  <a:pt x="86" y="75"/>
                </a:lnTo>
                <a:lnTo>
                  <a:pt x="90" y="69"/>
                </a:lnTo>
                <a:lnTo>
                  <a:pt x="95" y="68"/>
                </a:lnTo>
                <a:lnTo>
                  <a:pt x="104" y="66"/>
                </a:lnTo>
                <a:lnTo>
                  <a:pt x="104" y="66"/>
                </a:lnTo>
                <a:lnTo>
                  <a:pt x="103" y="60"/>
                </a:lnTo>
                <a:lnTo>
                  <a:pt x="101" y="57"/>
                </a:lnTo>
                <a:lnTo>
                  <a:pt x="97" y="53"/>
                </a:lnTo>
                <a:lnTo>
                  <a:pt x="97" y="53"/>
                </a:lnTo>
                <a:lnTo>
                  <a:pt x="92" y="51"/>
                </a:lnTo>
                <a:lnTo>
                  <a:pt x="88" y="51"/>
                </a:lnTo>
                <a:lnTo>
                  <a:pt x="82" y="53"/>
                </a:lnTo>
                <a:lnTo>
                  <a:pt x="82" y="53"/>
                </a:lnTo>
                <a:lnTo>
                  <a:pt x="86" y="51"/>
                </a:lnTo>
                <a:lnTo>
                  <a:pt x="88" y="47"/>
                </a:lnTo>
                <a:lnTo>
                  <a:pt x="90" y="44"/>
                </a:lnTo>
                <a:lnTo>
                  <a:pt x="90" y="44"/>
                </a:lnTo>
                <a:lnTo>
                  <a:pt x="90" y="35"/>
                </a:lnTo>
                <a:lnTo>
                  <a:pt x="88" y="31"/>
                </a:lnTo>
                <a:lnTo>
                  <a:pt x="84" y="26"/>
                </a:lnTo>
                <a:lnTo>
                  <a:pt x="84" y="26"/>
                </a:lnTo>
                <a:lnTo>
                  <a:pt x="84" y="26"/>
                </a:lnTo>
                <a:lnTo>
                  <a:pt x="84" y="26"/>
                </a:lnTo>
                <a:lnTo>
                  <a:pt x="79" y="27"/>
                </a:lnTo>
                <a:lnTo>
                  <a:pt x="73" y="29"/>
                </a:lnTo>
                <a:lnTo>
                  <a:pt x="68" y="33"/>
                </a:lnTo>
                <a:lnTo>
                  <a:pt x="68" y="33"/>
                </a:lnTo>
                <a:lnTo>
                  <a:pt x="66" y="38"/>
                </a:lnTo>
                <a:lnTo>
                  <a:pt x="66" y="42"/>
                </a:lnTo>
                <a:lnTo>
                  <a:pt x="66" y="46"/>
                </a:lnTo>
                <a:lnTo>
                  <a:pt x="66" y="46"/>
                </a:lnTo>
                <a:lnTo>
                  <a:pt x="62" y="40"/>
                </a:lnTo>
                <a:lnTo>
                  <a:pt x="60" y="37"/>
                </a:lnTo>
                <a:lnTo>
                  <a:pt x="55" y="35"/>
                </a:lnTo>
                <a:lnTo>
                  <a:pt x="55" y="35"/>
                </a:lnTo>
                <a:lnTo>
                  <a:pt x="50" y="35"/>
                </a:lnTo>
                <a:lnTo>
                  <a:pt x="46" y="37"/>
                </a:lnTo>
                <a:lnTo>
                  <a:pt x="42" y="38"/>
                </a:lnTo>
                <a:lnTo>
                  <a:pt x="42" y="38"/>
                </a:lnTo>
                <a:lnTo>
                  <a:pt x="48" y="46"/>
                </a:lnTo>
                <a:lnTo>
                  <a:pt x="48" y="53"/>
                </a:lnTo>
                <a:lnTo>
                  <a:pt x="48" y="57"/>
                </a:lnTo>
                <a:lnTo>
                  <a:pt x="42" y="58"/>
                </a:lnTo>
                <a:lnTo>
                  <a:pt x="42" y="58"/>
                </a:lnTo>
                <a:lnTo>
                  <a:pt x="37" y="57"/>
                </a:lnTo>
                <a:lnTo>
                  <a:pt x="35" y="53"/>
                </a:lnTo>
                <a:lnTo>
                  <a:pt x="33" y="47"/>
                </a:lnTo>
                <a:lnTo>
                  <a:pt x="33" y="47"/>
                </a:lnTo>
                <a:lnTo>
                  <a:pt x="29" y="51"/>
                </a:lnTo>
                <a:lnTo>
                  <a:pt x="26" y="53"/>
                </a:lnTo>
                <a:lnTo>
                  <a:pt x="20" y="51"/>
                </a:lnTo>
                <a:lnTo>
                  <a:pt x="20" y="51"/>
                </a:lnTo>
                <a:lnTo>
                  <a:pt x="17" y="47"/>
                </a:lnTo>
                <a:lnTo>
                  <a:pt x="17" y="42"/>
                </a:lnTo>
                <a:lnTo>
                  <a:pt x="22" y="38"/>
                </a:lnTo>
                <a:lnTo>
                  <a:pt x="31" y="35"/>
                </a:lnTo>
                <a:lnTo>
                  <a:pt x="31" y="35"/>
                </a:lnTo>
                <a:lnTo>
                  <a:pt x="29" y="33"/>
                </a:lnTo>
                <a:lnTo>
                  <a:pt x="28" y="27"/>
                </a:lnTo>
                <a:lnTo>
                  <a:pt x="22" y="24"/>
                </a:lnTo>
                <a:lnTo>
                  <a:pt x="18" y="22"/>
                </a:lnTo>
                <a:lnTo>
                  <a:pt x="15" y="24"/>
                </a:lnTo>
                <a:lnTo>
                  <a:pt x="15" y="24"/>
                </a:lnTo>
                <a:lnTo>
                  <a:pt x="18" y="18"/>
                </a:lnTo>
                <a:lnTo>
                  <a:pt x="20" y="15"/>
                </a:lnTo>
                <a:lnTo>
                  <a:pt x="20" y="9"/>
                </a:lnTo>
                <a:lnTo>
                  <a:pt x="20" y="9"/>
                </a:lnTo>
                <a:lnTo>
                  <a:pt x="18" y="5"/>
                </a:lnTo>
                <a:lnTo>
                  <a:pt x="17" y="2"/>
                </a:lnTo>
                <a:lnTo>
                  <a:pt x="13" y="0"/>
                </a:lnTo>
                <a:lnTo>
                  <a:pt x="0" y="73"/>
                </a:lnTo>
                <a:lnTo>
                  <a:pt x="35" y="88"/>
                </a:lnTo>
                <a:lnTo>
                  <a:pt x="35" y="88"/>
                </a:lnTo>
                <a:lnTo>
                  <a:pt x="46" y="82"/>
                </a:lnTo>
                <a:lnTo>
                  <a:pt x="46" y="82"/>
                </a:lnTo>
                <a:lnTo>
                  <a:pt x="51" y="79"/>
                </a:lnTo>
                <a:lnTo>
                  <a:pt x="59" y="79"/>
                </a:lnTo>
                <a:lnTo>
                  <a:pt x="66" y="80"/>
                </a:lnTo>
                <a:lnTo>
                  <a:pt x="71" y="82"/>
                </a:lnTo>
                <a:lnTo>
                  <a:pt x="71" y="82"/>
                </a:lnTo>
                <a:lnTo>
                  <a:pt x="79" y="86"/>
                </a:lnTo>
                <a:lnTo>
                  <a:pt x="82" y="90"/>
                </a:lnTo>
                <a:lnTo>
                  <a:pt x="84" y="95"/>
                </a:lnTo>
                <a:lnTo>
                  <a:pt x="84" y="99"/>
                </a:lnTo>
                <a:lnTo>
                  <a:pt x="84" y="99"/>
                </a:lnTo>
                <a:lnTo>
                  <a:pt x="84" y="104"/>
                </a:lnTo>
                <a:lnTo>
                  <a:pt x="81" y="110"/>
                </a:lnTo>
                <a:lnTo>
                  <a:pt x="106" y="11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9" name="Freeform 50"/>
          <p:cNvSpPr>
            <a:spLocks/>
          </p:cNvSpPr>
          <p:nvPr userDrawn="1"/>
        </p:nvSpPr>
        <p:spPr bwMode="auto">
          <a:xfrm>
            <a:off x="8520113" y="-917153"/>
            <a:ext cx="142875" cy="25400"/>
          </a:xfrm>
          <a:custGeom>
            <a:avLst/>
            <a:gdLst>
              <a:gd name="T0" fmla="*/ 151 w 180"/>
              <a:gd name="T1" fmla="*/ 28 h 31"/>
              <a:gd name="T2" fmla="*/ 180 w 180"/>
              <a:gd name="T3" fmla="*/ 15 h 31"/>
              <a:gd name="T4" fmla="*/ 151 w 180"/>
              <a:gd name="T5" fmla="*/ 2 h 31"/>
              <a:gd name="T6" fmla="*/ 151 w 180"/>
              <a:gd name="T7" fmla="*/ 2 h 31"/>
              <a:gd name="T8" fmla="*/ 102 w 180"/>
              <a:gd name="T9" fmla="*/ 2 h 31"/>
              <a:gd name="T10" fmla="*/ 23 w 180"/>
              <a:gd name="T11" fmla="*/ 0 h 31"/>
              <a:gd name="T12" fmla="*/ 0 w 180"/>
              <a:gd name="T13" fmla="*/ 31 h 31"/>
              <a:gd name="T14" fmla="*/ 0 w 180"/>
              <a:gd name="T15" fmla="*/ 31 h 31"/>
              <a:gd name="T16" fmla="*/ 151 w 180"/>
              <a:gd name="T17"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31">
                <a:moveTo>
                  <a:pt x="151" y="28"/>
                </a:moveTo>
                <a:lnTo>
                  <a:pt x="180" y="15"/>
                </a:lnTo>
                <a:lnTo>
                  <a:pt x="151" y="2"/>
                </a:lnTo>
                <a:lnTo>
                  <a:pt x="151" y="2"/>
                </a:lnTo>
                <a:lnTo>
                  <a:pt x="102" y="2"/>
                </a:lnTo>
                <a:lnTo>
                  <a:pt x="23" y="0"/>
                </a:lnTo>
                <a:lnTo>
                  <a:pt x="0" y="31"/>
                </a:lnTo>
                <a:lnTo>
                  <a:pt x="0" y="31"/>
                </a:lnTo>
                <a:lnTo>
                  <a:pt x="151"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00" name="Freeform 51"/>
          <p:cNvSpPr>
            <a:spLocks/>
          </p:cNvSpPr>
          <p:nvPr userDrawn="1"/>
        </p:nvSpPr>
        <p:spPr bwMode="auto">
          <a:xfrm>
            <a:off x="8566150" y="-855240"/>
            <a:ext cx="85725" cy="84138"/>
          </a:xfrm>
          <a:custGeom>
            <a:avLst/>
            <a:gdLst>
              <a:gd name="T0" fmla="*/ 55 w 108"/>
              <a:gd name="T1" fmla="*/ 106 h 106"/>
              <a:gd name="T2" fmla="*/ 55 w 108"/>
              <a:gd name="T3" fmla="*/ 106 h 106"/>
              <a:gd name="T4" fmla="*/ 38 w 108"/>
              <a:gd name="T5" fmla="*/ 97 h 106"/>
              <a:gd name="T6" fmla="*/ 26 w 108"/>
              <a:gd name="T7" fmla="*/ 89 h 106"/>
              <a:gd name="T8" fmla="*/ 13 w 108"/>
              <a:gd name="T9" fmla="*/ 80 h 106"/>
              <a:gd name="T10" fmla="*/ 4 w 108"/>
              <a:gd name="T11" fmla="*/ 69 h 106"/>
              <a:gd name="T12" fmla="*/ 4 w 108"/>
              <a:gd name="T13" fmla="*/ 69 h 106"/>
              <a:gd name="T14" fmla="*/ 0 w 108"/>
              <a:gd name="T15" fmla="*/ 62 h 106"/>
              <a:gd name="T16" fmla="*/ 0 w 108"/>
              <a:gd name="T17" fmla="*/ 53 h 106"/>
              <a:gd name="T18" fmla="*/ 0 w 108"/>
              <a:gd name="T19" fmla="*/ 45 h 106"/>
              <a:gd name="T20" fmla="*/ 0 w 108"/>
              <a:gd name="T21" fmla="*/ 36 h 106"/>
              <a:gd name="T22" fmla="*/ 4 w 108"/>
              <a:gd name="T23" fmla="*/ 27 h 106"/>
              <a:gd name="T24" fmla="*/ 7 w 108"/>
              <a:gd name="T25" fmla="*/ 20 h 106"/>
              <a:gd name="T26" fmla="*/ 15 w 108"/>
              <a:gd name="T27" fmla="*/ 13 h 106"/>
              <a:gd name="T28" fmla="*/ 22 w 108"/>
              <a:gd name="T29" fmla="*/ 7 h 106"/>
              <a:gd name="T30" fmla="*/ 22 w 108"/>
              <a:gd name="T31" fmla="*/ 7 h 106"/>
              <a:gd name="T32" fmla="*/ 26 w 108"/>
              <a:gd name="T33" fmla="*/ 11 h 106"/>
              <a:gd name="T34" fmla="*/ 27 w 108"/>
              <a:gd name="T35" fmla="*/ 14 h 106"/>
              <a:gd name="T36" fmla="*/ 27 w 108"/>
              <a:gd name="T37" fmla="*/ 18 h 106"/>
              <a:gd name="T38" fmla="*/ 27 w 108"/>
              <a:gd name="T39" fmla="*/ 18 h 106"/>
              <a:gd name="T40" fmla="*/ 51 w 108"/>
              <a:gd name="T41" fmla="*/ 16 h 106"/>
              <a:gd name="T42" fmla="*/ 51 w 108"/>
              <a:gd name="T43" fmla="*/ 16 h 106"/>
              <a:gd name="T44" fmla="*/ 51 w 108"/>
              <a:gd name="T45" fmla="*/ 9 h 106"/>
              <a:gd name="T46" fmla="*/ 51 w 108"/>
              <a:gd name="T47" fmla="*/ 3 h 106"/>
              <a:gd name="T48" fmla="*/ 49 w 108"/>
              <a:gd name="T49" fmla="*/ 0 h 106"/>
              <a:gd name="T50" fmla="*/ 49 w 108"/>
              <a:gd name="T51" fmla="*/ 0 h 106"/>
              <a:gd name="T52" fmla="*/ 57 w 108"/>
              <a:gd name="T53" fmla="*/ 5 h 106"/>
              <a:gd name="T54" fmla="*/ 59 w 108"/>
              <a:gd name="T55" fmla="*/ 11 h 106"/>
              <a:gd name="T56" fmla="*/ 60 w 108"/>
              <a:gd name="T57" fmla="*/ 16 h 106"/>
              <a:gd name="T58" fmla="*/ 60 w 108"/>
              <a:gd name="T59" fmla="*/ 16 h 106"/>
              <a:gd name="T60" fmla="*/ 82 w 108"/>
              <a:gd name="T61" fmla="*/ 18 h 106"/>
              <a:gd name="T62" fmla="*/ 82 w 108"/>
              <a:gd name="T63" fmla="*/ 18 h 106"/>
              <a:gd name="T64" fmla="*/ 82 w 108"/>
              <a:gd name="T65" fmla="*/ 11 h 106"/>
              <a:gd name="T66" fmla="*/ 79 w 108"/>
              <a:gd name="T67" fmla="*/ 3 h 106"/>
              <a:gd name="T68" fmla="*/ 79 w 108"/>
              <a:gd name="T69" fmla="*/ 3 h 106"/>
              <a:gd name="T70" fmla="*/ 86 w 108"/>
              <a:gd name="T71" fmla="*/ 9 h 106"/>
              <a:gd name="T72" fmla="*/ 93 w 108"/>
              <a:gd name="T73" fmla="*/ 13 h 106"/>
              <a:gd name="T74" fmla="*/ 99 w 108"/>
              <a:gd name="T75" fmla="*/ 20 h 106"/>
              <a:gd name="T76" fmla="*/ 102 w 108"/>
              <a:gd name="T77" fmla="*/ 25 h 106"/>
              <a:gd name="T78" fmla="*/ 106 w 108"/>
              <a:gd name="T79" fmla="*/ 38 h 106"/>
              <a:gd name="T80" fmla="*/ 108 w 108"/>
              <a:gd name="T81" fmla="*/ 49 h 106"/>
              <a:gd name="T82" fmla="*/ 108 w 108"/>
              <a:gd name="T83" fmla="*/ 49 h 106"/>
              <a:gd name="T84" fmla="*/ 106 w 108"/>
              <a:gd name="T85" fmla="*/ 62 h 106"/>
              <a:gd name="T86" fmla="*/ 102 w 108"/>
              <a:gd name="T87" fmla="*/ 73 h 106"/>
              <a:gd name="T88" fmla="*/ 95 w 108"/>
              <a:gd name="T89" fmla="*/ 82 h 106"/>
              <a:gd name="T90" fmla="*/ 86 w 108"/>
              <a:gd name="T91" fmla="*/ 89 h 106"/>
              <a:gd name="T92" fmla="*/ 86 w 108"/>
              <a:gd name="T93" fmla="*/ 89 h 106"/>
              <a:gd name="T94" fmla="*/ 69 w 108"/>
              <a:gd name="T95" fmla="*/ 98 h 106"/>
              <a:gd name="T96" fmla="*/ 55 w 108"/>
              <a:gd name="T97"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 h="106">
                <a:moveTo>
                  <a:pt x="55" y="106"/>
                </a:moveTo>
                <a:lnTo>
                  <a:pt x="55" y="106"/>
                </a:lnTo>
                <a:lnTo>
                  <a:pt x="38" y="97"/>
                </a:lnTo>
                <a:lnTo>
                  <a:pt x="26" y="89"/>
                </a:lnTo>
                <a:lnTo>
                  <a:pt x="13" y="80"/>
                </a:lnTo>
                <a:lnTo>
                  <a:pt x="4" y="69"/>
                </a:lnTo>
                <a:lnTo>
                  <a:pt x="4" y="69"/>
                </a:lnTo>
                <a:lnTo>
                  <a:pt x="0" y="62"/>
                </a:lnTo>
                <a:lnTo>
                  <a:pt x="0" y="53"/>
                </a:lnTo>
                <a:lnTo>
                  <a:pt x="0" y="45"/>
                </a:lnTo>
                <a:lnTo>
                  <a:pt x="0" y="36"/>
                </a:lnTo>
                <a:lnTo>
                  <a:pt x="4" y="27"/>
                </a:lnTo>
                <a:lnTo>
                  <a:pt x="7" y="20"/>
                </a:lnTo>
                <a:lnTo>
                  <a:pt x="15" y="13"/>
                </a:lnTo>
                <a:lnTo>
                  <a:pt x="22" y="7"/>
                </a:lnTo>
                <a:lnTo>
                  <a:pt x="22" y="7"/>
                </a:lnTo>
                <a:lnTo>
                  <a:pt x="26" y="11"/>
                </a:lnTo>
                <a:lnTo>
                  <a:pt x="27" y="14"/>
                </a:lnTo>
                <a:lnTo>
                  <a:pt x="27" y="18"/>
                </a:lnTo>
                <a:lnTo>
                  <a:pt x="27" y="18"/>
                </a:lnTo>
                <a:lnTo>
                  <a:pt x="51" y="16"/>
                </a:lnTo>
                <a:lnTo>
                  <a:pt x="51" y="16"/>
                </a:lnTo>
                <a:lnTo>
                  <a:pt x="51" y="9"/>
                </a:lnTo>
                <a:lnTo>
                  <a:pt x="51" y="3"/>
                </a:lnTo>
                <a:lnTo>
                  <a:pt x="49" y="0"/>
                </a:lnTo>
                <a:lnTo>
                  <a:pt x="49" y="0"/>
                </a:lnTo>
                <a:lnTo>
                  <a:pt x="57" y="5"/>
                </a:lnTo>
                <a:lnTo>
                  <a:pt x="59" y="11"/>
                </a:lnTo>
                <a:lnTo>
                  <a:pt x="60" y="16"/>
                </a:lnTo>
                <a:lnTo>
                  <a:pt x="60" y="16"/>
                </a:lnTo>
                <a:lnTo>
                  <a:pt x="82" y="18"/>
                </a:lnTo>
                <a:lnTo>
                  <a:pt x="82" y="18"/>
                </a:lnTo>
                <a:lnTo>
                  <a:pt x="82" y="11"/>
                </a:lnTo>
                <a:lnTo>
                  <a:pt x="79" y="3"/>
                </a:lnTo>
                <a:lnTo>
                  <a:pt x="79" y="3"/>
                </a:lnTo>
                <a:lnTo>
                  <a:pt x="86" y="9"/>
                </a:lnTo>
                <a:lnTo>
                  <a:pt x="93" y="13"/>
                </a:lnTo>
                <a:lnTo>
                  <a:pt x="99" y="20"/>
                </a:lnTo>
                <a:lnTo>
                  <a:pt x="102" y="25"/>
                </a:lnTo>
                <a:lnTo>
                  <a:pt x="106" y="38"/>
                </a:lnTo>
                <a:lnTo>
                  <a:pt x="108" y="49"/>
                </a:lnTo>
                <a:lnTo>
                  <a:pt x="108" y="49"/>
                </a:lnTo>
                <a:lnTo>
                  <a:pt x="106" y="62"/>
                </a:lnTo>
                <a:lnTo>
                  <a:pt x="102" y="73"/>
                </a:lnTo>
                <a:lnTo>
                  <a:pt x="95" y="82"/>
                </a:lnTo>
                <a:lnTo>
                  <a:pt x="86" y="89"/>
                </a:lnTo>
                <a:lnTo>
                  <a:pt x="86" y="89"/>
                </a:lnTo>
                <a:lnTo>
                  <a:pt x="69" y="98"/>
                </a:lnTo>
                <a:lnTo>
                  <a:pt x="55" y="1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01" name="Freeform 52"/>
          <p:cNvSpPr>
            <a:spLocks/>
          </p:cNvSpPr>
          <p:nvPr userDrawn="1"/>
        </p:nvSpPr>
        <p:spPr bwMode="auto">
          <a:xfrm>
            <a:off x="8589963" y="-648865"/>
            <a:ext cx="1588" cy="1588"/>
          </a:xfrm>
          <a:custGeom>
            <a:avLst/>
            <a:gdLst>
              <a:gd name="T0" fmla="*/ 4 w 4"/>
              <a:gd name="T1" fmla="*/ 2 h 2"/>
              <a:gd name="T2" fmla="*/ 4 w 4"/>
              <a:gd name="T3" fmla="*/ 2 h 2"/>
              <a:gd name="T4" fmla="*/ 2 w 4"/>
              <a:gd name="T5" fmla="*/ 0 h 2"/>
              <a:gd name="T6" fmla="*/ 2 w 4"/>
              <a:gd name="T7" fmla="*/ 0 h 2"/>
              <a:gd name="T8" fmla="*/ 0 w 4"/>
              <a:gd name="T9" fmla="*/ 0 h 2"/>
              <a:gd name="T10" fmla="*/ 0 w 4"/>
              <a:gd name="T11" fmla="*/ 0 h 2"/>
              <a:gd name="T12" fmla="*/ 4 w 4"/>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2"/>
                </a:moveTo>
                <a:lnTo>
                  <a:pt x="4" y="2"/>
                </a:lnTo>
                <a:lnTo>
                  <a:pt x="2" y="0"/>
                </a:lnTo>
                <a:lnTo>
                  <a:pt x="2" y="0"/>
                </a:lnTo>
                <a:lnTo>
                  <a:pt x="0" y="0"/>
                </a:lnTo>
                <a:lnTo>
                  <a:pt x="0" y="0"/>
                </a:lnTo>
                <a:lnTo>
                  <a:pt x="4"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02" name="Freeform 53"/>
          <p:cNvSpPr>
            <a:spLocks/>
          </p:cNvSpPr>
          <p:nvPr userDrawn="1"/>
        </p:nvSpPr>
        <p:spPr bwMode="auto">
          <a:xfrm>
            <a:off x="8405813" y="-885403"/>
            <a:ext cx="15875" cy="9525"/>
          </a:xfrm>
          <a:custGeom>
            <a:avLst/>
            <a:gdLst>
              <a:gd name="T0" fmla="*/ 20 w 20"/>
              <a:gd name="T1" fmla="*/ 10 h 11"/>
              <a:gd name="T2" fmla="*/ 20 w 20"/>
              <a:gd name="T3" fmla="*/ 10 h 11"/>
              <a:gd name="T4" fmla="*/ 19 w 20"/>
              <a:gd name="T5" fmla="*/ 10 h 11"/>
              <a:gd name="T6" fmla="*/ 11 w 20"/>
              <a:gd name="T7" fmla="*/ 11 h 11"/>
              <a:gd name="T8" fmla="*/ 2 w 20"/>
              <a:gd name="T9" fmla="*/ 11 h 11"/>
              <a:gd name="T10" fmla="*/ 2 w 20"/>
              <a:gd name="T11" fmla="*/ 11 h 11"/>
              <a:gd name="T12" fmla="*/ 0 w 20"/>
              <a:gd name="T13" fmla="*/ 8 h 11"/>
              <a:gd name="T14" fmla="*/ 0 w 20"/>
              <a:gd name="T15" fmla="*/ 0 h 11"/>
              <a:gd name="T16" fmla="*/ 0 w 20"/>
              <a:gd name="T17" fmla="*/ 0 h 11"/>
              <a:gd name="T18" fmla="*/ 4 w 20"/>
              <a:gd name="T19" fmla="*/ 0 h 11"/>
              <a:gd name="T20" fmla="*/ 11 w 20"/>
              <a:gd name="T21" fmla="*/ 2 h 11"/>
              <a:gd name="T22" fmla="*/ 17 w 20"/>
              <a:gd name="T23" fmla="*/ 4 h 11"/>
              <a:gd name="T24" fmla="*/ 20 w 20"/>
              <a:gd name="T25"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1">
                <a:moveTo>
                  <a:pt x="20" y="10"/>
                </a:moveTo>
                <a:lnTo>
                  <a:pt x="20" y="10"/>
                </a:lnTo>
                <a:lnTo>
                  <a:pt x="19" y="10"/>
                </a:lnTo>
                <a:lnTo>
                  <a:pt x="11" y="11"/>
                </a:lnTo>
                <a:lnTo>
                  <a:pt x="2" y="11"/>
                </a:lnTo>
                <a:lnTo>
                  <a:pt x="2" y="11"/>
                </a:lnTo>
                <a:lnTo>
                  <a:pt x="0" y="8"/>
                </a:lnTo>
                <a:lnTo>
                  <a:pt x="0" y="0"/>
                </a:lnTo>
                <a:lnTo>
                  <a:pt x="0" y="0"/>
                </a:lnTo>
                <a:lnTo>
                  <a:pt x="4" y="0"/>
                </a:lnTo>
                <a:lnTo>
                  <a:pt x="11" y="2"/>
                </a:lnTo>
                <a:lnTo>
                  <a:pt x="17" y="4"/>
                </a:lnTo>
                <a:lnTo>
                  <a:pt x="20"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03" name="Freeform 54"/>
          <p:cNvSpPr>
            <a:spLocks/>
          </p:cNvSpPr>
          <p:nvPr userDrawn="1"/>
        </p:nvSpPr>
        <p:spPr bwMode="auto">
          <a:xfrm>
            <a:off x="8197850" y="-917153"/>
            <a:ext cx="492125" cy="579438"/>
          </a:xfrm>
          <a:custGeom>
            <a:avLst/>
            <a:gdLst>
              <a:gd name="T0" fmla="*/ 592 w 619"/>
              <a:gd name="T1" fmla="*/ 245 h 729"/>
              <a:gd name="T2" fmla="*/ 588 w 619"/>
              <a:gd name="T3" fmla="*/ 150 h 729"/>
              <a:gd name="T4" fmla="*/ 513 w 619"/>
              <a:gd name="T5" fmla="*/ 57 h 729"/>
              <a:gd name="T6" fmla="*/ 446 w 619"/>
              <a:gd name="T7" fmla="*/ 150 h 729"/>
              <a:gd name="T8" fmla="*/ 460 w 619"/>
              <a:gd name="T9" fmla="*/ 243 h 729"/>
              <a:gd name="T10" fmla="*/ 490 w 619"/>
              <a:gd name="T11" fmla="*/ 256 h 729"/>
              <a:gd name="T12" fmla="*/ 506 w 619"/>
              <a:gd name="T13" fmla="*/ 240 h 729"/>
              <a:gd name="T14" fmla="*/ 568 w 619"/>
              <a:gd name="T15" fmla="*/ 250 h 729"/>
              <a:gd name="T16" fmla="*/ 533 w 619"/>
              <a:gd name="T17" fmla="*/ 345 h 729"/>
              <a:gd name="T18" fmla="*/ 429 w 619"/>
              <a:gd name="T19" fmla="*/ 291 h 729"/>
              <a:gd name="T20" fmla="*/ 417 w 619"/>
              <a:gd name="T21" fmla="*/ 198 h 729"/>
              <a:gd name="T22" fmla="*/ 418 w 619"/>
              <a:gd name="T23" fmla="*/ 183 h 729"/>
              <a:gd name="T24" fmla="*/ 375 w 619"/>
              <a:gd name="T25" fmla="*/ 121 h 729"/>
              <a:gd name="T26" fmla="*/ 424 w 619"/>
              <a:gd name="T27" fmla="*/ 77 h 729"/>
              <a:gd name="T28" fmla="*/ 353 w 619"/>
              <a:gd name="T29" fmla="*/ 28 h 729"/>
              <a:gd name="T30" fmla="*/ 247 w 619"/>
              <a:gd name="T31" fmla="*/ 33 h 729"/>
              <a:gd name="T32" fmla="*/ 225 w 619"/>
              <a:gd name="T33" fmla="*/ 73 h 729"/>
              <a:gd name="T34" fmla="*/ 243 w 619"/>
              <a:gd name="T35" fmla="*/ 104 h 729"/>
              <a:gd name="T36" fmla="*/ 292 w 619"/>
              <a:gd name="T37" fmla="*/ 88 h 729"/>
              <a:gd name="T38" fmla="*/ 219 w 619"/>
              <a:gd name="T39" fmla="*/ 115 h 729"/>
              <a:gd name="T40" fmla="*/ 190 w 619"/>
              <a:gd name="T41" fmla="*/ 110 h 729"/>
              <a:gd name="T42" fmla="*/ 258 w 619"/>
              <a:gd name="T43" fmla="*/ 112 h 729"/>
              <a:gd name="T44" fmla="*/ 261 w 619"/>
              <a:gd name="T45" fmla="*/ 128 h 729"/>
              <a:gd name="T46" fmla="*/ 238 w 619"/>
              <a:gd name="T47" fmla="*/ 152 h 729"/>
              <a:gd name="T48" fmla="*/ 259 w 619"/>
              <a:gd name="T49" fmla="*/ 192 h 729"/>
              <a:gd name="T50" fmla="*/ 133 w 619"/>
              <a:gd name="T51" fmla="*/ 276 h 729"/>
              <a:gd name="T52" fmla="*/ 53 w 619"/>
              <a:gd name="T53" fmla="*/ 252 h 729"/>
              <a:gd name="T54" fmla="*/ 42 w 619"/>
              <a:gd name="T55" fmla="*/ 267 h 729"/>
              <a:gd name="T56" fmla="*/ 51 w 619"/>
              <a:gd name="T57" fmla="*/ 287 h 729"/>
              <a:gd name="T58" fmla="*/ 2 w 619"/>
              <a:gd name="T59" fmla="*/ 305 h 729"/>
              <a:gd name="T60" fmla="*/ 58 w 619"/>
              <a:gd name="T61" fmla="*/ 313 h 729"/>
              <a:gd name="T62" fmla="*/ 37 w 619"/>
              <a:gd name="T63" fmla="*/ 331 h 729"/>
              <a:gd name="T64" fmla="*/ 53 w 619"/>
              <a:gd name="T65" fmla="*/ 345 h 729"/>
              <a:gd name="T66" fmla="*/ 104 w 619"/>
              <a:gd name="T67" fmla="*/ 345 h 729"/>
              <a:gd name="T68" fmla="*/ 117 w 619"/>
              <a:gd name="T69" fmla="*/ 347 h 729"/>
              <a:gd name="T70" fmla="*/ 163 w 619"/>
              <a:gd name="T71" fmla="*/ 309 h 729"/>
              <a:gd name="T72" fmla="*/ 214 w 619"/>
              <a:gd name="T73" fmla="*/ 300 h 729"/>
              <a:gd name="T74" fmla="*/ 283 w 619"/>
              <a:gd name="T75" fmla="*/ 325 h 729"/>
              <a:gd name="T76" fmla="*/ 417 w 619"/>
              <a:gd name="T77" fmla="*/ 386 h 729"/>
              <a:gd name="T78" fmla="*/ 466 w 619"/>
              <a:gd name="T79" fmla="*/ 492 h 729"/>
              <a:gd name="T80" fmla="*/ 464 w 619"/>
              <a:gd name="T81" fmla="*/ 517 h 729"/>
              <a:gd name="T82" fmla="*/ 512 w 619"/>
              <a:gd name="T83" fmla="*/ 526 h 729"/>
              <a:gd name="T84" fmla="*/ 526 w 619"/>
              <a:gd name="T85" fmla="*/ 627 h 729"/>
              <a:gd name="T86" fmla="*/ 462 w 619"/>
              <a:gd name="T87" fmla="*/ 638 h 729"/>
              <a:gd name="T88" fmla="*/ 491 w 619"/>
              <a:gd name="T89" fmla="*/ 651 h 729"/>
              <a:gd name="T90" fmla="*/ 479 w 619"/>
              <a:gd name="T91" fmla="*/ 663 h 729"/>
              <a:gd name="T92" fmla="*/ 475 w 619"/>
              <a:gd name="T93" fmla="*/ 711 h 729"/>
              <a:gd name="T94" fmla="*/ 502 w 619"/>
              <a:gd name="T95" fmla="*/ 693 h 729"/>
              <a:gd name="T96" fmla="*/ 513 w 619"/>
              <a:gd name="T97" fmla="*/ 700 h 729"/>
              <a:gd name="T98" fmla="*/ 544 w 619"/>
              <a:gd name="T99" fmla="*/ 720 h 729"/>
              <a:gd name="T100" fmla="*/ 554 w 619"/>
              <a:gd name="T101" fmla="*/ 678 h 729"/>
              <a:gd name="T102" fmla="*/ 586 w 619"/>
              <a:gd name="T103" fmla="*/ 689 h 729"/>
              <a:gd name="T104" fmla="*/ 590 w 619"/>
              <a:gd name="T105" fmla="*/ 625 h 729"/>
              <a:gd name="T106" fmla="*/ 603 w 619"/>
              <a:gd name="T107" fmla="*/ 598 h 729"/>
              <a:gd name="T108" fmla="*/ 599 w 619"/>
              <a:gd name="T109" fmla="*/ 552 h 729"/>
              <a:gd name="T110" fmla="*/ 574 w 619"/>
              <a:gd name="T111" fmla="*/ 508 h 729"/>
              <a:gd name="T112" fmla="*/ 532 w 619"/>
              <a:gd name="T113" fmla="*/ 462 h 729"/>
              <a:gd name="T114" fmla="*/ 532 w 619"/>
              <a:gd name="T115" fmla="*/ 419 h 729"/>
              <a:gd name="T116" fmla="*/ 539 w 619"/>
              <a:gd name="T117" fmla="*/ 377 h 729"/>
              <a:gd name="T118" fmla="*/ 618 w 619"/>
              <a:gd name="T119" fmla="*/ 316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9" h="729">
                <a:moveTo>
                  <a:pt x="603" y="280"/>
                </a:moveTo>
                <a:lnTo>
                  <a:pt x="603" y="280"/>
                </a:lnTo>
                <a:lnTo>
                  <a:pt x="612" y="282"/>
                </a:lnTo>
                <a:lnTo>
                  <a:pt x="619" y="280"/>
                </a:lnTo>
                <a:lnTo>
                  <a:pt x="619" y="280"/>
                </a:lnTo>
                <a:lnTo>
                  <a:pt x="618" y="269"/>
                </a:lnTo>
                <a:lnTo>
                  <a:pt x="616" y="252"/>
                </a:lnTo>
                <a:lnTo>
                  <a:pt x="616" y="252"/>
                </a:lnTo>
                <a:lnTo>
                  <a:pt x="610" y="252"/>
                </a:lnTo>
                <a:lnTo>
                  <a:pt x="605" y="252"/>
                </a:lnTo>
                <a:lnTo>
                  <a:pt x="599" y="250"/>
                </a:lnTo>
                <a:lnTo>
                  <a:pt x="592" y="245"/>
                </a:lnTo>
                <a:lnTo>
                  <a:pt x="592" y="245"/>
                </a:lnTo>
                <a:lnTo>
                  <a:pt x="588" y="238"/>
                </a:lnTo>
                <a:lnTo>
                  <a:pt x="588" y="238"/>
                </a:lnTo>
                <a:lnTo>
                  <a:pt x="577" y="223"/>
                </a:lnTo>
                <a:lnTo>
                  <a:pt x="565" y="212"/>
                </a:lnTo>
                <a:lnTo>
                  <a:pt x="552" y="203"/>
                </a:lnTo>
                <a:lnTo>
                  <a:pt x="541" y="196"/>
                </a:lnTo>
                <a:lnTo>
                  <a:pt x="541" y="196"/>
                </a:lnTo>
                <a:lnTo>
                  <a:pt x="559" y="185"/>
                </a:lnTo>
                <a:lnTo>
                  <a:pt x="572" y="174"/>
                </a:lnTo>
                <a:lnTo>
                  <a:pt x="581" y="165"/>
                </a:lnTo>
                <a:lnTo>
                  <a:pt x="585" y="157"/>
                </a:lnTo>
                <a:lnTo>
                  <a:pt x="585" y="157"/>
                </a:lnTo>
                <a:lnTo>
                  <a:pt x="588" y="150"/>
                </a:lnTo>
                <a:lnTo>
                  <a:pt x="592" y="139"/>
                </a:lnTo>
                <a:lnTo>
                  <a:pt x="592" y="128"/>
                </a:lnTo>
                <a:lnTo>
                  <a:pt x="592" y="115"/>
                </a:lnTo>
                <a:lnTo>
                  <a:pt x="588" y="103"/>
                </a:lnTo>
                <a:lnTo>
                  <a:pt x="583" y="90"/>
                </a:lnTo>
                <a:lnTo>
                  <a:pt x="574" y="79"/>
                </a:lnTo>
                <a:lnTo>
                  <a:pt x="566" y="73"/>
                </a:lnTo>
                <a:lnTo>
                  <a:pt x="559" y="68"/>
                </a:lnTo>
                <a:lnTo>
                  <a:pt x="559" y="68"/>
                </a:lnTo>
                <a:lnTo>
                  <a:pt x="548" y="62"/>
                </a:lnTo>
                <a:lnTo>
                  <a:pt x="535" y="59"/>
                </a:lnTo>
                <a:lnTo>
                  <a:pt x="524" y="57"/>
                </a:lnTo>
                <a:lnTo>
                  <a:pt x="513" y="57"/>
                </a:lnTo>
                <a:lnTo>
                  <a:pt x="495" y="60"/>
                </a:lnTo>
                <a:lnTo>
                  <a:pt x="481" y="64"/>
                </a:lnTo>
                <a:lnTo>
                  <a:pt x="481" y="64"/>
                </a:lnTo>
                <a:lnTo>
                  <a:pt x="471" y="70"/>
                </a:lnTo>
                <a:lnTo>
                  <a:pt x="462" y="77"/>
                </a:lnTo>
                <a:lnTo>
                  <a:pt x="455" y="84"/>
                </a:lnTo>
                <a:lnTo>
                  <a:pt x="449" y="93"/>
                </a:lnTo>
                <a:lnTo>
                  <a:pt x="446" y="104"/>
                </a:lnTo>
                <a:lnTo>
                  <a:pt x="442" y="115"/>
                </a:lnTo>
                <a:lnTo>
                  <a:pt x="442" y="126"/>
                </a:lnTo>
                <a:lnTo>
                  <a:pt x="442" y="141"/>
                </a:lnTo>
                <a:lnTo>
                  <a:pt x="442" y="141"/>
                </a:lnTo>
                <a:lnTo>
                  <a:pt x="446" y="150"/>
                </a:lnTo>
                <a:lnTo>
                  <a:pt x="449" y="159"/>
                </a:lnTo>
                <a:lnTo>
                  <a:pt x="455" y="168"/>
                </a:lnTo>
                <a:lnTo>
                  <a:pt x="460" y="174"/>
                </a:lnTo>
                <a:lnTo>
                  <a:pt x="477" y="185"/>
                </a:lnTo>
                <a:lnTo>
                  <a:pt x="495" y="196"/>
                </a:lnTo>
                <a:lnTo>
                  <a:pt x="495" y="196"/>
                </a:lnTo>
                <a:lnTo>
                  <a:pt x="481" y="203"/>
                </a:lnTo>
                <a:lnTo>
                  <a:pt x="470" y="214"/>
                </a:lnTo>
                <a:lnTo>
                  <a:pt x="466" y="219"/>
                </a:lnTo>
                <a:lnTo>
                  <a:pt x="464" y="227"/>
                </a:lnTo>
                <a:lnTo>
                  <a:pt x="462" y="234"/>
                </a:lnTo>
                <a:lnTo>
                  <a:pt x="460" y="243"/>
                </a:lnTo>
                <a:lnTo>
                  <a:pt x="460" y="243"/>
                </a:lnTo>
                <a:lnTo>
                  <a:pt x="462" y="254"/>
                </a:lnTo>
                <a:lnTo>
                  <a:pt x="466" y="267"/>
                </a:lnTo>
                <a:lnTo>
                  <a:pt x="468" y="282"/>
                </a:lnTo>
                <a:lnTo>
                  <a:pt x="468" y="291"/>
                </a:lnTo>
                <a:lnTo>
                  <a:pt x="466" y="300"/>
                </a:lnTo>
                <a:lnTo>
                  <a:pt x="466" y="300"/>
                </a:lnTo>
                <a:lnTo>
                  <a:pt x="468" y="300"/>
                </a:lnTo>
                <a:lnTo>
                  <a:pt x="475" y="298"/>
                </a:lnTo>
                <a:lnTo>
                  <a:pt x="484" y="291"/>
                </a:lnTo>
                <a:lnTo>
                  <a:pt x="484" y="291"/>
                </a:lnTo>
                <a:lnTo>
                  <a:pt x="488" y="280"/>
                </a:lnTo>
                <a:lnTo>
                  <a:pt x="490" y="269"/>
                </a:lnTo>
                <a:lnTo>
                  <a:pt x="490" y="256"/>
                </a:lnTo>
                <a:lnTo>
                  <a:pt x="490" y="256"/>
                </a:lnTo>
                <a:lnTo>
                  <a:pt x="493" y="261"/>
                </a:lnTo>
                <a:lnTo>
                  <a:pt x="495" y="271"/>
                </a:lnTo>
                <a:lnTo>
                  <a:pt x="495" y="278"/>
                </a:lnTo>
                <a:lnTo>
                  <a:pt x="493" y="285"/>
                </a:lnTo>
                <a:lnTo>
                  <a:pt x="493" y="285"/>
                </a:lnTo>
                <a:lnTo>
                  <a:pt x="501" y="282"/>
                </a:lnTo>
                <a:lnTo>
                  <a:pt x="504" y="278"/>
                </a:lnTo>
                <a:lnTo>
                  <a:pt x="508" y="274"/>
                </a:lnTo>
                <a:lnTo>
                  <a:pt x="508" y="274"/>
                </a:lnTo>
                <a:lnTo>
                  <a:pt x="510" y="261"/>
                </a:lnTo>
                <a:lnTo>
                  <a:pt x="510" y="249"/>
                </a:lnTo>
                <a:lnTo>
                  <a:pt x="506" y="240"/>
                </a:lnTo>
                <a:lnTo>
                  <a:pt x="504" y="232"/>
                </a:lnTo>
                <a:lnTo>
                  <a:pt x="504" y="232"/>
                </a:lnTo>
                <a:lnTo>
                  <a:pt x="502" y="225"/>
                </a:lnTo>
                <a:lnTo>
                  <a:pt x="504" y="218"/>
                </a:lnTo>
                <a:lnTo>
                  <a:pt x="510" y="210"/>
                </a:lnTo>
                <a:lnTo>
                  <a:pt x="515" y="207"/>
                </a:lnTo>
                <a:lnTo>
                  <a:pt x="515" y="207"/>
                </a:lnTo>
                <a:lnTo>
                  <a:pt x="533" y="216"/>
                </a:lnTo>
                <a:lnTo>
                  <a:pt x="533" y="216"/>
                </a:lnTo>
                <a:lnTo>
                  <a:pt x="541" y="221"/>
                </a:lnTo>
                <a:lnTo>
                  <a:pt x="552" y="230"/>
                </a:lnTo>
                <a:lnTo>
                  <a:pt x="563" y="243"/>
                </a:lnTo>
                <a:lnTo>
                  <a:pt x="568" y="250"/>
                </a:lnTo>
                <a:lnTo>
                  <a:pt x="572" y="260"/>
                </a:lnTo>
                <a:lnTo>
                  <a:pt x="572" y="260"/>
                </a:lnTo>
                <a:lnTo>
                  <a:pt x="577" y="271"/>
                </a:lnTo>
                <a:lnTo>
                  <a:pt x="579" y="282"/>
                </a:lnTo>
                <a:lnTo>
                  <a:pt x="579" y="291"/>
                </a:lnTo>
                <a:lnTo>
                  <a:pt x="579" y="300"/>
                </a:lnTo>
                <a:lnTo>
                  <a:pt x="576" y="313"/>
                </a:lnTo>
                <a:lnTo>
                  <a:pt x="572" y="320"/>
                </a:lnTo>
                <a:lnTo>
                  <a:pt x="572" y="320"/>
                </a:lnTo>
                <a:lnTo>
                  <a:pt x="565" y="329"/>
                </a:lnTo>
                <a:lnTo>
                  <a:pt x="557" y="338"/>
                </a:lnTo>
                <a:lnTo>
                  <a:pt x="546" y="344"/>
                </a:lnTo>
                <a:lnTo>
                  <a:pt x="533" y="345"/>
                </a:lnTo>
                <a:lnTo>
                  <a:pt x="533" y="345"/>
                </a:lnTo>
                <a:lnTo>
                  <a:pt x="532" y="345"/>
                </a:lnTo>
                <a:lnTo>
                  <a:pt x="532" y="345"/>
                </a:lnTo>
                <a:lnTo>
                  <a:pt x="517" y="345"/>
                </a:lnTo>
                <a:lnTo>
                  <a:pt x="517" y="345"/>
                </a:lnTo>
                <a:lnTo>
                  <a:pt x="504" y="342"/>
                </a:lnTo>
                <a:lnTo>
                  <a:pt x="504" y="342"/>
                </a:lnTo>
                <a:lnTo>
                  <a:pt x="493" y="338"/>
                </a:lnTo>
                <a:lnTo>
                  <a:pt x="493" y="338"/>
                </a:lnTo>
                <a:lnTo>
                  <a:pt x="482" y="333"/>
                </a:lnTo>
                <a:lnTo>
                  <a:pt x="466" y="322"/>
                </a:lnTo>
                <a:lnTo>
                  <a:pt x="448" y="309"/>
                </a:lnTo>
                <a:lnTo>
                  <a:pt x="429" y="291"/>
                </a:lnTo>
                <a:lnTo>
                  <a:pt x="429" y="291"/>
                </a:lnTo>
                <a:lnTo>
                  <a:pt x="406" y="261"/>
                </a:lnTo>
                <a:lnTo>
                  <a:pt x="389" y="241"/>
                </a:lnTo>
                <a:lnTo>
                  <a:pt x="389" y="241"/>
                </a:lnTo>
                <a:lnTo>
                  <a:pt x="398" y="245"/>
                </a:lnTo>
                <a:lnTo>
                  <a:pt x="406" y="245"/>
                </a:lnTo>
                <a:lnTo>
                  <a:pt x="415" y="245"/>
                </a:lnTo>
                <a:lnTo>
                  <a:pt x="415" y="245"/>
                </a:lnTo>
                <a:lnTo>
                  <a:pt x="417" y="229"/>
                </a:lnTo>
                <a:lnTo>
                  <a:pt x="417" y="212"/>
                </a:lnTo>
                <a:lnTo>
                  <a:pt x="417" y="212"/>
                </a:lnTo>
                <a:lnTo>
                  <a:pt x="417" y="198"/>
                </a:lnTo>
                <a:lnTo>
                  <a:pt x="417" y="198"/>
                </a:lnTo>
                <a:lnTo>
                  <a:pt x="411" y="198"/>
                </a:lnTo>
                <a:lnTo>
                  <a:pt x="398" y="194"/>
                </a:lnTo>
                <a:lnTo>
                  <a:pt x="393" y="192"/>
                </a:lnTo>
                <a:lnTo>
                  <a:pt x="386" y="188"/>
                </a:lnTo>
                <a:lnTo>
                  <a:pt x="380" y="185"/>
                </a:lnTo>
                <a:lnTo>
                  <a:pt x="376" y="179"/>
                </a:lnTo>
                <a:lnTo>
                  <a:pt x="376" y="179"/>
                </a:lnTo>
                <a:lnTo>
                  <a:pt x="382" y="181"/>
                </a:lnTo>
                <a:lnTo>
                  <a:pt x="387" y="183"/>
                </a:lnTo>
                <a:lnTo>
                  <a:pt x="395" y="185"/>
                </a:lnTo>
                <a:lnTo>
                  <a:pt x="395" y="185"/>
                </a:lnTo>
                <a:lnTo>
                  <a:pt x="411" y="183"/>
                </a:lnTo>
                <a:lnTo>
                  <a:pt x="418" y="183"/>
                </a:lnTo>
                <a:lnTo>
                  <a:pt x="418" y="183"/>
                </a:lnTo>
                <a:lnTo>
                  <a:pt x="420" y="166"/>
                </a:lnTo>
                <a:lnTo>
                  <a:pt x="420" y="152"/>
                </a:lnTo>
                <a:lnTo>
                  <a:pt x="420" y="152"/>
                </a:lnTo>
                <a:lnTo>
                  <a:pt x="420" y="137"/>
                </a:lnTo>
                <a:lnTo>
                  <a:pt x="420" y="137"/>
                </a:lnTo>
                <a:lnTo>
                  <a:pt x="409" y="137"/>
                </a:lnTo>
                <a:lnTo>
                  <a:pt x="396" y="135"/>
                </a:lnTo>
                <a:lnTo>
                  <a:pt x="396" y="135"/>
                </a:lnTo>
                <a:lnTo>
                  <a:pt x="384" y="130"/>
                </a:lnTo>
                <a:lnTo>
                  <a:pt x="378" y="126"/>
                </a:lnTo>
                <a:lnTo>
                  <a:pt x="375" y="121"/>
                </a:lnTo>
                <a:lnTo>
                  <a:pt x="375" y="121"/>
                </a:lnTo>
                <a:lnTo>
                  <a:pt x="380" y="123"/>
                </a:lnTo>
                <a:lnTo>
                  <a:pt x="395" y="126"/>
                </a:lnTo>
                <a:lnTo>
                  <a:pt x="395" y="126"/>
                </a:lnTo>
                <a:lnTo>
                  <a:pt x="404" y="126"/>
                </a:lnTo>
                <a:lnTo>
                  <a:pt x="413" y="124"/>
                </a:lnTo>
                <a:lnTo>
                  <a:pt x="420" y="124"/>
                </a:lnTo>
                <a:lnTo>
                  <a:pt x="422" y="123"/>
                </a:lnTo>
                <a:lnTo>
                  <a:pt x="422" y="123"/>
                </a:lnTo>
                <a:lnTo>
                  <a:pt x="422" y="93"/>
                </a:lnTo>
                <a:lnTo>
                  <a:pt x="422" y="93"/>
                </a:lnTo>
                <a:lnTo>
                  <a:pt x="424" y="86"/>
                </a:lnTo>
                <a:lnTo>
                  <a:pt x="424" y="77"/>
                </a:lnTo>
                <a:lnTo>
                  <a:pt x="424" y="77"/>
                </a:lnTo>
                <a:lnTo>
                  <a:pt x="418" y="77"/>
                </a:lnTo>
                <a:lnTo>
                  <a:pt x="407" y="75"/>
                </a:lnTo>
                <a:lnTo>
                  <a:pt x="395" y="70"/>
                </a:lnTo>
                <a:lnTo>
                  <a:pt x="389" y="66"/>
                </a:lnTo>
                <a:lnTo>
                  <a:pt x="382" y="60"/>
                </a:lnTo>
                <a:lnTo>
                  <a:pt x="382" y="60"/>
                </a:lnTo>
                <a:lnTo>
                  <a:pt x="380" y="57"/>
                </a:lnTo>
                <a:lnTo>
                  <a:pt x="380" y="53"/>
                </a:lnTo>
                <a:lnTo>
                  <a:pt x="382" y="46"/>
                </a:lnTo>
                <a:lnTo>
                  <a:pt x="382" y="46"/>
                </a:lnTo>
                <a:lnTo>
                  <a:pt x="349" y="31"/>
                </a:lnTo>
                <a:lnTo>
                  <a:pt x="349" y="31"/>
                </a:lnTo>
                <a:lnTo>
                  <a:pt x="353" y="28"/>
                </a:lnTo>
                <a:lnTo>
                  <a:pt x="356" y="22"/>
                </a:lnTo>
                <a:lnTo>
                  <a:pt x="356" y="18"/>
                </a:lnTo>
                <a:lnTo>
                  <a:pt x="356" y="18"/>
                </a:lnTo>
                <a:lnTo>
                  <a:pt x="354" y="13"/>
                </a:lnTo>
                <a:lnTo>
                  <a:pt x="349" y="9"/>
                </a:lnTo>
                <a:lnTo>
                  <a:pt x="343" y="8"/>
                </a:lnTo>
                <a:lnTo>
                  <a:pt x="336" y="8"/>
                </a:lnTo>
                <a:lnTo>
                  <a:pt x="336" y="8"/>
                </a:lnTo>
                <a:lnTo>
                  <a:pt x="329" y="9"/>
                </a:lnTo>
                <a:lnTo>
                  <a:pt x="325" y="13"/>
                </a:lnTo>
                <a:lnTo>
                  <a:pt x="320" y="18"/>
                </a:lnTo>
                <a:lnTo>
                  <a:pt x="280" y="0"/>
                </a:lnTo>
                <a:lnTo>
                  <a:pt x="247" y="33"/>
                </a:lnTo>
                <a:lnTo>
                  <a:pt x="247" y="33"/>
                </a:lnTo>
                <a:lnTo>
                  <a:pt x="245" y="35"/>
                </a:lnTo>
                <a:lnTo>
                  <a:pt x="245" y="39"/>
                </a:lnTo>
                <a:lnTo>
                  <a:pt x="245" y="42"/>
                </a:lnTo>
                <a:lnTo>
                  <a:pt x="245" y="42"/>
                </a:lnTo>
                <a:lnTo>
                  <a:pt x="245" y="44"/>
                </a:lnTo>
                <a:lnTo>
                  <a:pt x="243" y="46"/>
                </a:lnTo>
                <a:lnTo>
                  <a:pt x="243" y="46"/>
                </a:lnTo>
                <a:lnTo>
                  <a:pt x="234" y="57"/>
                </a:lnTo>
                <a:lnTo>
                  <a:pt x="234" y="57"/>
                </a:lnTo>
                <a:lnTo>
                  <a:pt x="228" y="66"/>
                </a:lnTo>
                <a:lnTo>
                  <a:pt x="228" y="66"/>
                </a:lnTo>
                <a:lnTo>
                  <a:pt x="225" y="73"/>
                </a:lnTo>
                <a:lnTo>
                  <a:pt x="223" y="79"/>
                </a:lnTo>
                <a:lnTo>
                  <a:pt x="223" y="79"/>
                </a:lnTo>
                <a:lnTo>
                  <a:pt x="221" y="81"/>
                </a:lnTo>
                <a:lnTo>
                  <a:pt x="221" y="84"/>
                </a:lnTo>
                <a:lnTo>
                  <a:pt x="225" y="92"/>
                </a:lnTo>
                <a:lnTo>
                  <a:pt x="234" y="99"/>
                </a:lnTo>
                <a:lnTo>
                  <a:pt x="234" y="101"/>
                </a:lnTo>
                <a:lnTo>
                  <a:pt x="234" y="101"/>
                </a:lnTo>
                <a:lnTo>
                  <a:pt x="236" y="99"/>
                </a:lnTo>
                <a:lnTo>
                  <a:pt x="238" y="99"/>
                </a:lnTo>
                <a:lnTo>
                  <a:pt x="238" y="99"/>
                </a:lnTo>
                <a:lnTo>
                  <a:pt x="243" y="104"/>
                </a:lnTo>
                <a:lnTo>
                  <a:pt x="243" y="104"/>
                </a:lnTo>
                <a:lnTo>
                  <a:pt x="245" y="101"/>
                </a:lnTo>
                <a:lnTo>
                  <a:pt x="248" y="95"/>
                </a:lnTo>
                <a:lnTo>
                  <a:pt x="248" y="95"/>
                </a:lnTo>
                <a:lnTo>
                  <a:pt x="254" y="88"/>
                </a:lnTo>
                <a:lnTo>
                  <a:pt x="261" y="82"/>
                </a:lnTo>
                <a:lnTo>
                  <a:pt x="261" y="82"/>
                </a:lnTo>
                <a:lnTo>
                  <a:pt x="269" y="79"/>
                </a:lnTo>
                <a:lnTo>
                  <a:pt x="276" y="79"/>
                </a:lnTo>
                <a:lnTo>
                  <a:pt x="276" y="79"/>
                </a:lnTo>
                <a:lnTo>
                  <a:pt x="283" y="79"/>
                </a:lnTo>
                <a:lnTo>
                  <a:pt x="289" y="82"/>
                </a:lnTo>
                <a:lnTo>
                  <a:pt x="289" y="82"/>
                </a:lnTo>
                <a:lnTo>
                  <a:pt x="292" y="88"/>
                </a:lnTo>
                <a:lnTo>
                  <a:pt x="294" y="95"/>
                </a:lnTo>
                <a:lnTo>
                  <a:pt x="294" y="103"/>
                </a:lnTo>
                <a:lnTo>
                  <a:pt x="294" y="108"/>
                </a:lnTo>
                <a:lnTo>
                  <a:pt x="294" y="108"/>
                </a:lnTo>
                <a:lnTo>
                  <a:pt x="290" y="104"/>
                </a:lnTo>
                <a:lnTo>
                  <a:pt x="290" y="104"/>
                </a:lnTo>
                <a:lnTo>
                  <a:pt x="285" y="103"/>
                </a:lnTo>
                <a:lnTo>
                  <a:pt x="276" y="101"/>
                </a:lnTo>
                <a:lnTo>
                  <a:pt x="265" y="101"/>
                </a:lnTo>
                <a:lnTo>
                  <a:pt x="254" y="103"/>
                </a:lnTo>
                <a:lnTo>
                  <a:pt x="254" y="103"/>
                </a:lnTo>
                <a:lnTo>
                  <a:pt x="241" y="108"/>
                </a:lnTo>
                <a:lnTo>
                  <a:pt x="219" y="115"/>
                </a:lnTo>
                <a:lnTo>
                  <a:pt x="219" y="115"/>
                </a:lnTo>
                <a:lnTo>
                  <a:pt x="214" y="117"/>
                </a:lnTo>
                <a:lnTo>
                  <a:pt x="208" y="117"/>
                </a:lnTo>
                <a:lnTo>
                  <a:pt x="205" y="113"/>
                </a:lnTo>
                <a:lnTo>
                  <a:pt x="203" y="110"/>
                </a:lnTo>
                <a:lnTo>
                  <a:pt x="203" y="110"/>
                </a:lnTo>
                <a:lnTo>
                  <a:pt x="203" y="104"/>
                </a:lnTo>
                <a:lnTo>
                  <a:pt x="203" y="101"/>
                </a:lnTo>
                <a:lnTo>
                  <a:pt x="205" y="97"/>
                </a:lnTo>
                <a:lnTo>
                  <a:pt x="205" y="97"/>
                </a:lnTo>
                <a:lnTo>
                  <a:pt x="199" y="101"/>
                </a:lnTo>
                <a:lnTo>
                  <a:pt x="194" y="104"/>
                </a:lnTo>
                <a:lnTo>
                  <a:pt x="190" y="110"/>
                </a:lnTo>
                <a:lnTo>
                  <a:pt x="190" y="110"/>
                </a:lnTo>
                <a:lnTo>
                  <a:pt x="190" y="117"/>
                </a:lnTo>
                <a:lnTo>
                  <a:pt x="192" y="124"/>
                </a:lnTo>
                <a:lnTo>
                  <a:pt x="195" y="128"/>
                </a:lnTo>
                <a:lnTo>
                  <a:pt x="201" y="132"/>
                </a:lnTo>
                <a:lnTo>
                  <a:pt x="201" y="132"/>
                </a:lnTo>
                <a:lnTo>
                  <a:pt x="208" y="132"/>
                </a:lnTo>
                <a:lnTo>
                  <a:pt x="217" y="130"/>
                </a:lnTo>
                <a:lnTo>
                  <a:pt x="234" y="123"/>
                </a:lnTo>
                <a:lnTo>
                  <a:pt x="234" y="123"/>
                </a:lnTo>
                <a:lnTo>
                  <a:pt x="250" y="113"/>
                </a:lnTo>
                <a:lnTo>
                  <a:pt x="250" y="113"/>
                </a:lnTo>
                <a:lnTo>
                  <a:pt x="258" y="112"/>
                </a:lnTo>
                <a:lnTo>
                  <a:pt x="263" y="110"/>
                </a:lnTo>
                <a:lnTo>
                  <a:pt x="270" y="112"/>
                </a:lnTo>
                <a:lnTo>
                  <a:pt x="278" y="113"/>
                </a:lnTo>
                <a:lnTo>
                  <a:pt x="278" y="113"/>
                </a:lnTo>
                <a:lnTo>
                  <a:pt x="285" y="119"/>
                </a:lnTo>
                <a:lnTo>
                  <a:pt x="289" y="121"/>
                </a:lnTo>
                <a:lnTo>
                  <a:pt x="289" y="121"/>
                </a:lnTo>
                <a:lnTo>
                  <a:pt x="285" y="126"/>
                </a:lnTo>
                <a:lnTo>
                  <a:pt x="281" y="130"/>
                </a:lnTo>
                <a:lnTo>
                  <a:pt x="274" y="130"/>
                </a:lnTo>
                <a:lnTo>
                  <a:pt x="274" y="130"/>
                </a:lnTo>
                <a:lnTo>
                  <a:pt x="267" y="130"/>
                </a:lnTo>
                <a:lnTo>
                  <a:pt x="261" y="128"/>
                </a:lnTo>
                <a:lnTo>
                  <a:pt x="256" y="124"/>
                </a:lnTo>
                <a:lnTo>
                  <a:pt x="254" y="121"/>
                </a:lnTo>
                <a:lnTo>
                  <a:pt x="254" y="121"/>
                </a:lnTo>
                <a:lnTo>
                  <a:pt x="250" y="128"/>
                </a:lnTo>
                <a:lnTo>
                  <a:pt x="250" y="128"/>
                </a:lnTo>
                <a:lnTo>
                  <a:pt x="248" y="132"/>
                </a:lnTo>
                <a:lnTo>
                  <a:pt x="248" y="135"/>
                </a:lnTo>
                <a:lnTo>
                  <a:pt x="250" y="137"/>
                </a:lnTo>
                <a:lnTo>
                  <a:pt x="248" y="141"/>
                </a:lnTo>
                <a:lnTo>
                  <a:pt x="248" y="141"/>
                </a:lnTo>
                <a:lnTo>
                  <a:pt x="247" y="143"/>
                </a:lnTo>
                <a:lnTo>
                  <a:pt x="245" y="146"/>
                </a:lnTo>
                <a:lnTo>
                  <a:pt x="238" y="152"/>
                </a:lnTo>
                <a:lnTo>
                  <a:pt x="238" y="152"/>
                </a:lnTo>
                <a:lnTo>
                  <a:pt x="227" y="157"/>
                </a:lnTo>
                <a:lnTo>
                  <a:pt x="219" y="159"/>
                </a:lnTo>
                <a:lnTo>
                  <a:pt x="219" y="159"/>
                </a:lnTo>
                <a:lnTo>
                  <a:pt x="227" y="176"/>
                </a:lnTo>
                <a:lnTo>
                  <a:pt x="227" y="176"/>
                </a:lnTo>
                <a:lnTo>
                  <a:pt x="232" y="187"/>
                </a:lnTo>
                <a:lnTo>
                  <a:pt x="236" y="194"/>
                </a:lnTo>
                <a:lnTo>
                  <a:pt x="239" y="199"/>
                </a:lnTo>
                <a:lnTo>
                  <a:pt x="239" y="199"/>
                </a:lnTo>
                <a:lnTo>
                  <a:pt x="247" y="198"/>
                </a:lnTo>
                <a:lnTo>
                  <a:pt x="259" y="192"/>
                </a:lnTo>
                <a:lnTo>
                  <a:pt x="259" y="192"/>
                </a:lnTo>
                <a:lnTo>
                  <a:pt x="269" y="185"/>
                </a:lnTo>
                <a:lnTo>
                  <a:pt x="274" y="177"/>
                </a:lnTo>
                <a:lnTo>
                  <a:pt x="274" y="177"/>
                </a:lnTo>
                <a:lnTo>
                  <a:pt x="267" y="194"/>
                </a:lnTo>
                <a:lnTo>
                  <a:pt x="261" y="203"/>
                </a:lnTo>
                <a:lnTo>
                  <a:pt x="254" y="210"/>
                </a:lnTo>
                <a:lnTo>
                  <a:pt x="248" y="216"/>
                </a:lnTo>
                <a:lnTo>
                  <a:pt x="248" y="216"/>
                </a:lnTo>
                <a:lnTo>
                  <a:pt x="225" y="232"/>
                </a:lnTo>
                <a:lnTo>
                  <a:pt x="192" y="250"/>
                </a:lnTo>
                <a:lnTo>
                  <a:pt x="172" y="261"/>
                </a:lnTo>
                <a:lnTo>
                  <a:pt x="153" y="269"/>
                </a:lnTo>
                <a:lnTo>
                  <a:pt x="133" y="276"/>
                </a:lnTo>
                <a:lnTo>
                  <a:pt x="113" y="280"/>
                </a:lnTo>
                <a:lnTo>
                  <a:pt x="113" y="280"/>
                </a:lnTo>
                <a:lnTo>
                  <a:pt x="108" y="278"/>
                </a:lnTo>
                <a:lnTo>
                  <a:pt x="100" y="276"/>
                </a:lnTo>
                <a:lnTo>
                  <a:pt x="88" y="267"/>
                </a:lnTo>
                <a:lnTo>
                  <a:pt x="75" y="258"/>
                </a:lnTo>
                <a:lnTo>
                  <a:pt x="68" y="249"/>
                </a:lnTo>
                <a:lnTo>
                  <a:pt x="68" y="249"/>
                </a:lnTo>
                <a:lnTo>
                  <a:pt x="66" y="249"/>
                </a:lnTo>
                <a:lnTo>
                  <a:pt x="62" y="247"/>
                </a:lnTo>
                <a:lnTo>
                  <a:pt x="58" y="249"/>
                </a:lnTo>
                <a:lnTo>
                  <a:pt x="53" y="252"/>
                </a:lnTo>
                <a:lnTo>
                  <a:pt x="53" y="252"/>
                </a:lnTo>
                <a:lnTo>
                  <a:pt x="49" y="252"/>
                </a:lnTo>
                <a:lnTo>
                  <a:pt x="42" y="252"/>
                </a:lnTo>
                <a:lnTo>
                  <a:pt x="31" y="254"/>
                </a:lnTo>
                <a:lnTo>
                  <a:pt x="27" y="258"/>
                </a:lnTo>
                <a:lnTo>
                  <a:pt x="24" y="261"/>
                </a:lnTo>
                <a:lnTo>
                  <a:pt x="24" y="261"/>
                </a:lnTo>
                <a:lnTo>
                  <a:pt x="24" y="263"/>
                </a:lnTo>
                <a:lnTo>
                  <a:pt x="29" y="263"/>
                </a:lnTo>
                <a:lnTo>
                  <a:pt x="35" y="261"/>
                </a:lnTo>
                <a:lnTo>
                  <a:pt x="42" y="263"/>
                </a:lnTo>
                <a:lnTo>
                  <a:pt x="42" y="263"/>
                </a:lnTo>
                <a:lnTo>
                  <a:pt x="44" y="265"/>
                </a:lnTo>
                <a:lnTo>
                  <a:pt x="42" y="267"/>
                </a:lnTo>
                <a:lnTo>
                  <a:pt x="40" y="269"/>
                </a:lnTo>
                <a:lnTo>
                  <a:pt x="40" y="272"/>
                </a:lnTo>
                <a:lnTo>
                  <a:pt x="40" y="272"/>
                </a:lnTo>
                <a:lnTo>
                  <a:pt x="40" y="274"/>
                </a:lnTo>
                <a:lnTo>
                  <a:pt x="44" y="278"/>
                </a:lnTo>
                <a:lnTo>
                  <a:pt x="53" y="282"/>
                </a:lnTo>
                <a:lnTo>
                  <a:pt x="71" y="289"/>
                </a:lnTo>
                <a:lnTo>
                  <a:pt x="71" y="289"/>
                </a:lnTo>
                <a:lnTo>
                  <a:pt x="73" y="291"/>
                </a:lnTo>
                <a:lnTo>
                  <a:pt x="73" y="293"/>
                </a:lnTo>
                <a:lnTo>
                  <a:pt x="73" y="293"/>
                </a:lnTo>
                <a:lnTo>
                  <a:pt x="60" y="291"/>
                </a:lnTo>
                <a:lnTo>
                  <a:pt x="51" y="287"/>
                </a:lnTo>
                <a:lnTo>
                  <a:pt x="38" y="282"/>
                </a:lnTo>
                <a:lnTo>
                  <a:pt x="38" y="282"/>
                </a:lnTo>
                <a:lnTo>
                  <a:pt x="29" y="280"/>
                </a:lnTo>
                <a:lnTo>
                  <a:pt x="24" y="280"/>
                </a:lnTo>
                <a:lnTo>
                  <a:pt x="22" y="283"/>
                </a:lnTo>
                <a:lnTo>
                  <a:pt x="20" y="287"/>
                </a:lnTo>
                <a:lnTo>
                  <a:pt x="20" y="287"/>
                </a:lnTo>
                <a:lnTo>
                  <a:pt x="18" y="289"/>
                </a:lnTo>
                <a:lnTo>
                  <a:pt x="16" y="289"/>
                </a:lnTo>
                <a:lnTo>
                  <a:pt x="11" y="293"/>
                </a:lnTo>
                <a:lnTo>
                  <a:pt x="7" y="294"/>
                </a:lnTo>
                <a:lnTo>
                  <a:pt x="4" y="300"/>
                </a:lnTo>
                <a:lnTo>
                  <a:pt x="2" y="305"/>
                </a:lnTo>
                <a:lnTo>
                  <a:pt x="0" y="314"/>
                </a:lnTo>
                <a:lnTo>
                  <a:pt x="0" y="314"/>
                </a:lnTo>
                <a:lnTo>
                  <a:pt x="4" y="313"/>
                </a:lnTo>
                <a:lnTo>
                  <a:pt x="9" y="307"/>
                </a:lnTo>
                <a:lnTo>
                  <a:pt x="15" y="303"/>
                </a:lnTo>
                <a:lnTo>
                  <a:pt x="18" y="302"/>
                </a:lnTo>
                <a:lnTo>
                  <a:pt x="18" y="303"/>
                </a:lnTo>
                <a:lnTo>
                  <a:pt x="18" y="303"/>
                </a:lnTo>
                <a:lnTo>
                  <a:pt x="22" y="311"/>
                </a:lnTo>
                <a:lnTo>
                  <a:pt x="27" y="314"/>
                </a:lnTo>
                <a:lnTo>
                  <a:pt x="35" y="314"/>
                </a:lnTo>
                <a:lnTo>
                  <a:pt x="42" y="314"/>
                </a:lnTo>
                <a:lnTo>
                  <a:pt x="58" y="313"/>
                </a:lnTo>
                <a:lnTo>
                  <a:pt x="66" y="313"/>
                </a:lnTo>
                <a:lnTo>
                  <a:pt x="69" y="313"/>
                </a:lnTo>
                <a:lnTo>
                  <a:pt x="69" y="313"/>
                </a:lnTo>
                <a:lnTo>
                  <a:pt x="69" y="314"/>
                </a:lnTo>
                <a:lnTo>
                  <a:pt x="69" y="314"/>
                </a:lnTo>
                <a:lnTo>
                  <a:pt x="66" y="316"/>
                </a:lnTo>
                <a:lnTo>
                  <a:pt x="53" y="318"/>
                </a:lnTo>
                <a:lnTo>
                  <a:pt x="46" y="320"/>
                </a:lnTo>
                <a:lnTo>
                  <a:pt x="38" y="324"/>
                </a:lnTo>
                <a:lnTo>
                  <a:pt x="37" y="325"/>
                </a:lnTo>
                <a:lnTo>
                  <a:pt x="35" y="329"/>
                </a:lnTo>
                <a:lnTo>
                  <a:pt x="37" y="331"/>
                </a:lnTo>
                <a:lnTo>
                  <a:pt x="37" y="331"/>
                </a:lnTo>
                <a:lnTo>
                  <a:pt x="33" y="335"/>
                </a:lnTo>
                <a:lnTo>
                  <a:pt x="29" y="342"/>
                </a:lnTo>
                <a:lnTo>
                  <a:pt x="27" y="345"/>
                </a:lnTo>
                <a:lnTo>
                  <a:pt x="27" y="351"/>
                </a:lnTo>
                <a:lnTo>
                  <a:pt x="29" y="356"/>
                </a:lnTo>
                <a:lnTo>
                  <a:pt x="35" y="364"/>
                </a:lnTo>
                <a:lnTo>
                  <a:pt x="35" y="364"/>
                </a:lnTo>
                <a:lnTo>
                  <a:pt x="37" y="353"/>
                </a:lnTo>
                <a:lnTo>
                  <a:pt x="40" y="347"/>
                </a:lnTo>
                <a:lnTo>
                  <a:pt x="42" y="345"/>
                </a:lnTo>
                <a:lnTo>
                  <a:pt x="46" y="345"/>
                </a:lnTo>
                <a:lnTo>
                  <a:pt x="46" y="345"/>
                </a:lnTo>
                <a:lnTo>
                  <a:pt x="53" y="345"/>
                </a:lnTo>
                <a:lnTo>
                  <a:pt x="58" y="349"/>
                </a:lnTo>
                <a:lnTo>
                  <a:pt x="64" y="349"/>
                </a:lnTo>
                <a:lnTo>
                  <a:pt x="71" y="345"/>
                </a:lnTo>
                <a:lnTo>
                  <a:pt x="71" y="345"/>
                </a:lnTo>
                <a:lnTo>
                  <a:pt x="79" y="340"/>
                </a:lnTo>
                <a:lnTo>
                  <a:pt x="84" y="336"/>
                </a:lnTo>
                <a:lnTo>
                  <a:pt x="95" y="333"/>
                </a:lnTo>
                <a:lnTo>
                  <a:pt x="95" y="333"/>
                </a:lnTo>
                <a:lnTo>
                  <a:pt x="95" y="336"/>
                </a:lnTo>
                <a:lnTo>
                  <a:pt x="99" y="342"/>
                </a:lnTo>
                <a:lnTo>
                  <a:pt x="99" y="342"/>
                </a:lnTo>
                <a:lnTo>
                  <a:pt x="102" y="344"/>
                </a:lnTo>
                <a:lnTo>
                  <a:pt x="104" y="345"/>
                </a:lnTo>
                <a:lnTo>
                  <a:pt x="104" y="345"/>
                </a:lnTo>
                <a:lnTo>
                  <a:pt x="104" y="345"/>
                </a:lnTo>
                <a:lnTo>
                  <a:pt x="102" y="351"/>
                </a:lnTo>
                <a:lnTo>
                  <a:pt x="99" y="356"/>
                </a:lnTo>
                <a:lnTo>
                  <a:pt x="95" y="360"/>
                </a:lnTo>
                <a:lnTo>
                  <a:pt x="95" y="360"/>
                </a:lnTo>
                <a:lnTo>
                  <a:pt x="97" y="360"/>
                </a:lnTo>
                <a:lnTo>
                  <a:pt x="102" y="360"/>
                </a:lnTo>
                <a:lnTo>
                  <a:pt x="108" y="358"/>
                </a:lnTo>
                <a:lnTo>
                  <a:pt x="111" y="355"/>
                </a:lnTo>
                <a:lnTo>
                  <a:pt x="115" y="349"/>
                </a:lnTo>
                <a:lnTo>
                  <a:pt x="115" y="349"/>
                </a:lnTo>
                <a:lnTo>
                  <a:pt x="117" y="347"/>
                </a:lnTo>
                <a:lnTo>
                  <a:pt x="119" y="347"/>
                </a:lnTo>
                <a:lnTo>
                  <a:pt x="124" y="347"/>
                </a:lnTo>
                <a:lnTo>
                  <a:pt x="124" y="347"/>
                </a:lnTo>
                <a:lnTo>
                  <a:pt x="128" y="345"/>
                </a:lnTo>
                <a:lnTo>
                  <a:pt x="130" y="344"/>
                </a:lnTo>
                <a:lnTo>
                  <a:pt x="130" y="338"/>
                </a:lnTo>
                <a:lnTo>
                  <a:pt x="130" y="333"/>
                </a:lnTo>
                <a:lnTo>
                  <a:pt x="130" y="329"/>
                </a:lnTo>
                <a:lnTo>
                  <a:pt x="132" y="327"/>
                </a:lnTo>
                <a:lnTo>
                  <a:pt x="132" y="327"/>
                </a:lnTo>
                <a:lnTo>
                  <a:pt x="139" y="322"/>
                </a:lnTo>
                <a:lnTo>
                  <a:pt x="146" y="316"/>
                </a:lnTo>
                <a:lnTo>
                  <a:pt x="163" y="309"/>
                </a:lnTo>
                <a:lnTo>
                  <a:pt x="163" y="309"/>
                </a:lnTo>
                <a:lnTo>
                  <a:pt x="161" y="316"/>
                </a:lnTo>
                <a:lnTo>
                  <a:pt x="161" y="324"/>
                </a:lnTo>
                <a:lnTo>
                  <a:pt x="164" y="333"/>
                </a:lnTo>
                <a:lnTo>
                  <a:pt x="205" y="322"/>
                </a:lnTo>
                <a:lnTo>
                  <a:pt x="205" y="322"/>
                </a:lnTo>
                <a:lnTo>
                  <a:pt x="203" y="313"/>
                </a:lnTo>
                <a:lnTo>
                  <a:pt x="205" y="305"/>
                </a:lnTo>
                <a:lnTo>
                  <a:pt x="210" y="296"/>
                </a:lnTo>
                <a:lnTo>
                  <a:pt x="216" y="287"/>
                </a:lnTo>
                <a:lnTo>
                  <a:pt x="216" y="287"/>
                </a:lnTo>
                <a:lnTo>
                  <a:pt x="216" y="291"/>
                </a:lnTo>
                <a:lnTo>
                  <a:pt x="214" y="300"/>
                </a:lnTo>
                <a:lnTo>
                  <a:pt x="214" y="311"/>
                </a:lnTo>
                <a:lnTo>
                  <a:pt x="214" y="316"/>
                </a:lnTo>
                <a:lnTo>
                  <a:pt x="216" y="318"/>
                </a:lnTo>
                <a:lnTo>
                  <a:pt x="256" y="309"/>
                </a:lnTo>
                <a:lnTo>
                  <a:pt x="256" y="309"/>
                </a:lnTo>
                <a:lnTo>
                  <a:pt x="254" y="303"/>
                </a:lnTo>
                <a:lnTo>
                  <a:pt x="254" y="296"/>
                </a:lnTo>
                <a:lnTo>
                  <a:pt x="258" y="283"/>
                </a:lnTo>
                <a:lnTo>
                  <a:pt x="258" y="283"/>
                </a:lnTo>
                <a:lnTo>
                  <a:pt x="261" y="298"/>
                </a:lnTo>
                <a:lnTo>
                  <a:pt x="269" y="311"/>
                </a:lnTo>
                <a:lnTo>
                  <a:pt x="278" y="322"/>
                </a:lnTo>
                <a:lnTo>
                  <a:pt x="283" y="325"/>
                </a:lnTo>
                <a:lnTo>
                  <a:pt x="289" y="329"/>
                </a:lnTo>
                <a:lnTo>
                  <a:pt x="289" y="329"/>
                </a:lnTo>
                <a:lnTo>
                  <a:pt x="311" y="338"/>
                </a:lnTo>
                <a:lnTo>
                  <a:pt x="334" y="345"/>
                </a:lnTo>
                <a:lnTo>
                  <a:pt x="391" y="362"/>
                </a:lnTo>
                <a:lnTo>
                  <a:pt x="391" y="362"/>
                </a:lnTo>
                <a:lnTo>
                  <a:pt x="407" y="367"/>
                </a:lnTo>
                <a:lnTo>
                  <a:pt x="420" y="373"/>
                </a:lnTo>
                <a:lnTo>
                  <a:pt x="420" y="373"/>
                </a:lnTo>
                <a:lnTo>
                  <a:pt x="424" y="375"/>
                </a:lnTo>
                <a:lnTo>
                  <a:pt x="424" y="377"/>
                </a:lnTo>
                <a:lnTo>
                  <a:pt x="422" y="382"/>
                </a:lnTo>
                <a:lnTo>
                  <a:pt x="417" y="386"/>
                </a:lnTo>
                <a:lnTo>
                  <a:pt x="417" y="386"/>
                </a:lnTo>
                <a:lnTo>
                  <a:pt x="424" y="391"/>
                </a:lnTo>
                <a:lnTo>
                  <a:pt x="438" y="400"/>
                </a:lnTo>
                <a:lnTo>
                  <a:pt x="438" y="400"/>
                </a:lnTo>
                <a:lnTo>
                  <a:pt x="448" y="409"/>
                </a:lnTo>
                <a:lnTo>
                  <a:pt x="453" y="420"/>
                </a:lnTo>
                <a:lnTo>
                  <a:pt x="459" y="435"/>
                </a:lnTo>
                <a:lnTo>
                  <a:pt x="462" y="450"/>
                </a:lnTo>
                <a:lnTo>
                  <a:pt x="462" y="450"/>
                </a:lnTo>
                <a:lnTo>
                  <a:pt x="466" y="462"/>
                </a:lnTo>
                <a:lnTo>
                  <a:pt x="466" y="475"/>
                </a:lnTo>
                <a:lnTo>
                  <a:pt x="466" y="486"/>
                </a:lnTo>
                <a:lnTo>
                  <a:pt x="466" y="492"/>
                </a:lnTo>
                <a:lnTo>
                  <a:pt x="464" y="493"/>
                </a:lnTo>
                <a:lnTo>
                  <a:pt x="464" y="493"/>
                </a:lnTo>
                <a:lnTo>
                  <a:pt x="460" y="497"/>
                </a:lnTo>
                <a:lnTo>
                  <a:pt x="457" y="499"/>
                </a:lnTo>
                <a:lnTo>
                  <a:pt x="451" y="501"/>
                </a:lnTo>
                <a:lnTo>
                  <a:pt x="440" y="504"/>
                </a:lnTo>
                <a:lnTo>
                  <a:pt x="444" y="519"/>
                </a:lnTo>
                <a:lnTo>
                  <a:pt x="444" y="519"/>
                </a:lnTo>
                <a:lnTo>
                  <a:pt x="451" y="519"/>
                </a:lnTo>
                <a:lnTo>
                  <a:pt x="459" y="517"/>
                </a:lnTo>
                <a:lnTo>
                  <a:pt x="466" y="515"/>
                </a:lnTo>
                <a:lnTo>
                  <a:pt x="466" y="515"/>
                </a:lnTo>
                <a:lnTo>
                  <a:pt x="464" y="517"/>
                </a:lnTo>
                <a:lnTo>
                  <a:pt x="464" y="517"/>
                </a:lnTo>
                <a:lnTo>
                  <a:pt x="459" y="526"/>
                </a:lnTo>
                <a:lnTo>
                  <a:pt x="457" y="534"/>
                </a:lnTo>
                <a:lnTo>
                  <a:pt x="473" y="545"/>
                </a:lnTo>
                <a:lnTo>
                  <a:pt x="473" y="545"/>
                </a:lnTo>
                <a:lnTo>
                  <a:pt x="481" y="526"/>
                </a:lnTo>
                <a:lnTo>
                  <a:pt x="484" y="521"/>
                </a:lnTo>
                <a:lnTo>
                  <a:pt x="488" y="517"/>
                </a:lnTo>
                <a:lnTo>
                  <a:pt x="488" y="517"/>
                </a:lnTo>
                <a:lnTo>
                  <a:pt x="491" y="517"/>
                </a:lnTo>
                <a:lnTo>
                  <a:pt x="497" y="519"/>
                </a:lnTo>
                <a:lnTo>
                  <a:pt x="504" y="523"/>
                </a:lnTo>
                <a:lnTo>
                  <a:pt x="512" y="526"/>
                </a:lnTo>
                <a:lnTo>
                  <a:pt x="521" y="534"/>
                </a:lnTo>
                <a:lnTo>
                  <a:pt x="528" y="543"/>
                </a:lnTo>
                <a:lnTo>
                  <a:pt x="535" y="552"/>
                </a:lnTo>
                <a:lnTo>
                  <a:pt x="541" y="563"/>
                </a:lnTo>
                <a:lnTo>
                  <a:pt x="541" y="563"/>
                </a:lnTo>
                <a:lnTo>
                  <a:pt x="543" y="572"/>
                </a:lnTo>
                <a:lnTo>
                  <a:pt x="544" y="581"/>
                </a:lnTo>
                <a:lnTo>
                  <a:pt x="544" y="590"/>
                </a:lnTo>
                <a:lnTo>
                  <a:pt x="543" y="601"/>
                </a:lnTo>
                <a:lnTo>
                  <a:pt x="541" y="610"/>
                </a:lnTo>
                <a:lnTo>
                  <a:pt x="537" y="618"/>
                </a:lnTo>
                <a:lnTo>
                  <a:pt x="532" y="623"/>
                </a:lnTo>
                <a:lnTo>
                  <a:pt x="526" y="627"/>
                </a:lnTo>
                <a:lnTo>
                  <a:pt x="526" y="627"/>
                </a:lnTo>
                <a:lnTo>
                  <a:pt x="521" y="627"/>
                </a:lnTo>
                <a:lnTo>
                  <a:pt x="517" y="625"/>
                </a:lnTo>
                <a:lnTo>
                  <a:pt x="504" y="620"/>
                </a:lnTo>
                <a:lnTo>
                  <a:pt x="493" y="614"/>
                </a:lnTo>
                <a:lnTo>
                  <a:pt x="490" y="614"/>
                </a:lnTo>
                <a:lnTo>
                  <a:pt x="486" y="618"/>
                </a:lnTo>
                <a:lnTo>
                  <a:pt x="486" y="618"/>
                </a:lnTo>
                <a:lnTo>
                  <a:pt x="484" y="620"/>
                </a:lnTo>
                <a:lnTo>
                  <a:pt x="479" y="623"/>
                </a:lnTo>
                <a:lnTo>
                  <a:pt x="470" y="629"/>
                </a:lnTo>
                <a:lnTo>
                  <a:pt x="466" y="632"/>
                </a:lnTo>
                <a:lnTo>
                  <a:pt x="462" y="638"/>
                </a:lnTo>
                <a:lnTo>
                  <a:pt x="462" y="645"/>
                </a:lnTo>
                <a:lnTo>
                  <a:pt x="464" y="654"/>
                </a:lnTo>
                <a:lnTo>
                  <a:pt x="464" y="654"/>
                </a:lnTo>
                <a:lnTo>
                  <a:pt x="473" y="645"/>
                </a:lnTo>
                <a:lnTo>
                  <a:pt x="477" y="641"/>
                </a:lnTo>
                <a:lnTo>
                  <a:pt x="481" y="641"/>
                </a:lnTo>
                <a:lnTo>
                  <a:pt x="481" y="641"/>
                </a:lnTo>
                <a:lnTo>
                  <a:pt x="482" y="643"/>
                </a:lnTo>
                <a:lnTo>
                  <a:pt x="482" y="645"/>
                </a:lnTo>
                <a:lnTo>
                  <a:pt x="486" y="649"/>
                </a:lnTo>
                <a:lnTo>
                  <a:pt x="486" y="649"/>
                </a:lnTo>
                <a:lnTo>
                  <a:pt x="488" y="651"/>
                </a:lnTo>
                <a:lnTo>
                  <a:pt x="491" y="651"/>
                </a:lnTo>
                <a:lnTo>
                  <a:pt x="502" y="651"/>
                </a:lnTo>
                <a:lnTo>
                  <a:pt x="512" y="649"/>
                </a:lnTo>
                <a:lnTo>
                  <a:pt x="515" y="649"/>
                </a:lnTo>
                <a:lnTo>
                  <a:pt x="517" y="651"/>
                </a:lnTo>
                <a:lnTo>
                  <a:pt x="517" y="651"/>
                </a:lnTo>
                <a:lnTo>
                  <a:pt x="517" y="652"/>
                </a:lnTo>
                <a:lnTo>
                  <a:pt x="515" y="652"/>
                </a:lnTo>
                <a:lnTo>
                  <a:pt x="510" y="652"/>
                </a:lnTo>
                <a:lnTo>
                  <a:pt x="510" y="652"/>
                </a:lnTo>
                <a:lnTo>
                  <a:pt x="491" y="656"/>
                </a:lnTo>
                <a:lnTo>
                  <a:pt x="484" y="660"/>
                </a:lnTo>
                <a:lnTo>
                  <a:pt x="479" y="663"/>
                </a:lnTo>
                <a:lnTo>
                  <a:pt x="479" y="663"/>
                </a:lnTo>
                <a:lnTo>
                  <a:pt x="479" y="665"/>
                </a:lnTo>
                <a:lnTo>
                  <a:pt x="479" y="669"/>
                </a:lnTo>
                <a:lnTo>
                  <a:pt x="479" y="669"/>
                </a:lnTo>
                <a:lnTo>
                  <a:pt x="475" y="674"/>
                </a:lnTo>
                <a:lnTo>
                  <a:pt x="470" y="678"/>
                </a:lnTo>
                <a:lnTo>
                  <a:pt x="466" y="683"/>
                </a:lnTo>
                <a:lnTo>
                  <a:pt x="464" y="689"/>
                </a:lnTo>
                <a:lnTo>
                  <a:pt x="464" y="694"/>
                </a:lnTo>
                <a:lnTo>
                  <a:pt x="464" y="694"/>
                </a:lnTo>
                <a:lnTo>
                  <a:pt x="466" y="702"/>
                </a:lnTo>
                <a:lnTo>
                  <a:pt x="470" y="705"/>
                </a:lnTo>
                <a:lnTo>
                  <a:pt x="475" y="711"/>
                </a:lnTo>
                <a:lnTo>
                  <a:pt x="475" y="711"/>
                </a:lnTo>
                <a:lnTo>
                  <a:pt x="475" y="707"/>
                </a:lnTo>
                <a:lnTo>
                  <a:pt x="477" y="702"/>
                </a:lnTo>
                <a:lnTo>
                  <a:pt x="479" y="694"/>
                </a:lnTo>
                <a:lnTo>
                  <a:pt x="479" y="691"/>
                </a:lnTo>
                <a:lnTo>
                  <a:pt x="482" y="691"/>
                </a:lnTo>
                <a:lnTo>
                  <a:pt x="482" y="691"/>
                </a:lnTo>
                <a:lnTo>
                  <a:pt x="484" y="691"/>
                </a:lnTo>
                <a:lnTo>
                  <a:pt x="488" y="693"/>
                </a:lnTo>
                <a:lnTo>
                  <a:pt x="490" y="696"/>
                </a:lnTo>
                <a:lnTo>
                  <a:pt x="493" y="696"/>
                </a:lnTo>
                <a:lnTo>
                  <a:pt x="493" y="696"/>
                </a:lnTo>
                <a:lnTo>
                  <a:pt x="497" y="696"/>
                </a:lnTo>
                <a:lnTo>
                  <a:pt x="502" y="693"/>
                </a:lnTo>
                <a:lnTo>
                  <a:pt x="513" y="682"/>
                </a:lnTo>
                <a:lnTo>
                  <a:pt x="524" y="672"/>
                </a:lnTo>
                <a:lnTo>
                  <a:pt x="528" y="669"/>
                </a:lnTo>
                <a:lnTo>
                  <a:pt x="532" y="669"/>
                </a:lnTo>
                <a:lnTo>
                  <a:pt x="532" y="669"/>
                </a:lnTo>
                <a:lnTo>
                  <a:pt x="533" y="671"/>
                </a:lnTo>
                <a:lnTo>
                  <a:pt x="532" y="672"/>
                </a:lnTo>
                <a:lnTo>
                  <a:pt x="524" y="678"/>
                </a:lnTo>
                <a:lnTo>
                  <a:pt x="517" y="685"/>
                </a:lnTo>
                <a:lnTo>
                  <a:pt x="513" y="689"/>
                </a:lnTo>
                <a:lnTo>
                  <a:pt x="512" y="694"/>
                </a:lnTo>
                <a:lnTo>
                  <a:pt x="512" y="694"/>
                </a:lnTo>
                <a:lnTo>
                  <a:pt x="513" y="700"/>
                </a:lnTo>
                <a:lnTo>
                  <a:pt x="515" y="704"/>
                </a:lnTo>
                <a:lnTo>
                  <a:pt x="519" y="707"/>
                </a:lnTo>
                <a:lnTo>
                  <a:pt x="521" y="711"/>
                </a:lnTo>
                <a:lnTo>
                  <a:pt x="521" y="711"/>
                </a:lnTo>
                <a:lnTo>
                  <a:pt x="523" y="715"/>
                </a:lnTo>
                <a:lnTo>
                  <a:pt x="526" y="720"/>
                </a:lnTo>
                <a:lnTo>
                  <a:pt x="530" y="724"/>
                </a:lnTo>
                <a:lnTo>
                  <a:pt x="535" y="725"/>
                </a:lnTo>
                <a:lnTo>
                  <a:pt x="546" y="729"/>
                </a:lnTo>
                <a:lnTo>
                  <a:pt x="552" y="729"/>
                </a:lnTo>
                <a:lnTo>
                  <a:pt x="552" y="729"/>
                </a:lnTo>
                <a:lnTo>
                  <a:pt x="550" y="725"/>
                </a:lnTo>
                <a:lnTo>
                  <a:pt x="544" y="720"/>
                </a:lnTo>
                <a:lnTo>
                  <a:pt x="539" y="713"/>
                </a:lnTo>
                <a:lnTo>
                  <a:pt x="539" y="711"/>
                </a:lnTo>
                <a:lnTo>
                  <a:pt x="539" y="707"/>
                </a:lnTo>
                <a:lnTo>
                  <a:pt x="539" y="707"/>
                </a:lnTo>
                <a:lnTo>
                  <a:pt x="541" y="705"/>
                </a:lnTo>
                <a:lnTo>
                  <a:pt x="544" y="707"/>
                </a:lnTo>
                <a:lnTo>
                  <a:pt x="548" y="707"/>
                </a:lnTo>
                <a:lnTo>
                  <a:pt x="552" y="705"/>
                </a:lnTo>
                <a:lnTo>
                  <a:pt x="552" y="705"/>
                </a:lnTo>
                <a:lnTo>
                  <a:pt x="552" y="702"/>
                </a:lnTo>
                <a:lnTo>
                  <a:pt x="552" y="691"/>
                </a:lnTo>
                <a:lnTo>
                  <a:pt x="552" y="685"/>
                </a:lnTo>
                <a:lnTo>
                  <a:pt x="554" y="678"/>
                </a:lnTo>
                <a:lnTo>
                  <a:pt x="559" y="671"/>
                </a:lnTo>
                <a:lnTo>
                  <a:pt x="566" y="662"/>
                </a:lnTo>
                <a:lnTo>
                  <a:pt x="566" y="662"/>
                </a:lnTo>
                <a:lnTo>
                  <a:pt x="570" y="667"/>
                </a:lnTo>
                <a:lnTo>
                  <a:pt x="574" y="669"/>
                </a:lnTo>
                <a:lnTo>
                  <a:pt x="581" y="671"/>
                </a:lnTo>
                <a:lnTo>
                  <a:pt x="581" y="671"/>
                </a:lnTo>
                <a:lnTo>
                  <a:pt x="583" y="672"/>
                </a:lnTo>
                <a:lnTo>
                  <a:pt x="585" y="674"/>
                </a:lnTo>
                <a:lnTo>
                  <a:pt x="585" y="682"/>
                </a:lnTo>
                <a:lnTo>
                  <a:pt x="585" y="691"/>
                </a:lnTo>
                <a:lnTo>
                  <a:pt x="585" y="691"/>
                </a:lnTo>
                <a:lnTo>
                  <a:pt x="586" y="689"/>
                </a:lnTo>
                <a:lnTo>
                  <a:pt x="590" y="683"/>
                </a:lnTo>
                <a:lnTo>
                  <a:pt x="594" y="674"/>
                </a:lnTo>
                <a:lnTo>
                  <a:pt x="594" y="663"/>
                </a:lnTo>
                <a:lnTo>
                  <a:pt x="594" y="663"/>
                </a:lnTo>
                <a:lnTo>
                  <a:pt x="597" y="662"/>
                </a:lnTo>
                <a:lnTo>
                  <a:pt x="601" y="654"/>
                </a:lnTo>
                <a:lnTo>
                  <a:pt x="601" y="654"/>
                </a:lnTo>
                <a:lnTo>
                  <a:pt x="603" y="651"/>
                </a:lnTo>
                <a:lnTo>
                  <a:pt x="601" y="649"/>
                </a:lnTo>
                <a:lnTo>
                  <a:pt x="596" y="643"/>
                </a:lnTo>
                <a:lnTo>
                  <a:pt x="594" y="640"/>
                </a:lnTo>
                <a:lnTo>
                  <a:pt x="592" y="634"/>
                </a:lnTo>
                <a:lnTo>
                  <a:pt x="590" y="625"/>
                </a:lnTo>
                <a:lnTo>
                  <a:pt x="590" y="614"/>
                </a:lnTo>
                <a:lnTo>
                  <a:pt x="590" y="614"/>
                </a:lnTo>
                <a:lnTo>
                  <a:pt x="590" y="610"/>
                </a:lnTo>
                <a:lnTo>
                  <a:pt x="588" y="609"/>
                </a:lnTo>
                <a:lnTo>
                  <a:pt x="583" y="605"/>
                </a:lnTo>
                <a:lnTo>
                  <a:pt x="583" y="605"/>
                </a:lnTo>
                <a:lnTo>
                  <a:pt x="579" y="599"/>
                </a:lnTo>
                <a:lnTo>
                  <a:pt x="579" y="598"/>
                </a:lnTo>
                <a:lnTo>
                  <a:pt x="581" y="598"/>
                </a:lnTo>
                <a:lnTo>
                  <a:pt x="581" y="598"/>
                </a:lnTo>
                <a:lnTo>
                  <a:pt x="588" y="599"/>
                </a:lnTo>
                <a:lnTo>
                  <a:pt x="596" y="599"/>
                </a:lnTo>
                <a:lnTo>
                  <a:pt x="603" y="598"/>
                </a:lnTo>
                <a:lnTo>
                  <a:pt x="603" y="598"/>
                </a:lnTo>
                <a:lnTo>
                  <a:pt x="603" y="576"/>
                </a:lnTo>
                <a:lnTo>
                  <a:pt x="605" y="565"/>
                </a:lnTo>
                <a:lnTo>
                  <a:pt x="603" y="559"/>
                </a:lnTo>
                <a:lnTo>
                  <a:pt x="603" y="559"/>
                </a:lnTo>
                <a:lnTo>
                  <a:pt x="596" y="559"/>
                </a:lnTo>
                <a:lnTo>
                  <a:pt x="588" y="557"/>
                </a:lnTo>
                <a:lnTo>
                  <a:pt x="585" y="556"/>
                </a:lnTo>
                <a:lnTo>
                  <a:pt x="581" y="552"/>
                </a:lnTo>
                <a:lnTo>
                  <a:pt x="581" y="552"/>
                </a:lnTo>
                <a:lnTo>
                  <a:pt x="586" y="552"/>
                </a:lnTo>
                <a:lnTo>
                  <a:pt x="594" y="552"/>
                </a:lnTo>
                <a:lnTo>
                  <a:pt x="599" y="552"/>
                </a:lnTo>
                <a:lnTo>
                  <a:pt x="603" y="548"/>
                </a:lnTo>
                <a:lnTo>
                  <a:pt x="603" y="548"/>
                </a:lnTo>
                <a:lnTo>
                  <a:pt x="603" y="530"/>
                </a:lnTo>
                <a:lnTo>
                  <a:pt x="601" y="517"/>
                </a:lnTo>
                <a:lnTo>
                  <a:pt x="601" y="514"/>
                </a:lnTo>
                <a:lnTo>
                  <a:pt x="599" y="512"/>
                </a:lnTo>
                <a:lnTo>
                  <a:pt x="599" y="512"/>
                </a:lnTo>
                <a:lnTo>
                  <a:pt x="592" y="514"/>
                </a:lnTo>
                <a:lnTo>
                  <a:pt x="586" y="514"/>
                </a:lnTo>
                <a:lnTo>
                  <a:pt x="581" y="512"/>
                </a:lnTo>
                <a:lnTo>
                  <a:pt x="576" y="510"/>
                </a:lnTo>
                <a:lnTo>
                  <a:pt x="576" y="510"/>
                </a:lnTo>
                <a:lnTo>
                  <a:pt x="574" y="508"/>
                </a:lnTo>
                <a:lnTo>
                  <a:pt x="572" y="504"/>
                </a:lnTo>
                <a:lnTo>
                  <a:pt x="572" y="499"/>
                </a:lnTo>
                <a:lnTo>
                  <a:pt x="570" y="495"/>
                </a:lnTo>
                <a:lnTo>
                  <a:pt x="570" y="493"/>
                </a:lnTo>
                <a:lnTo>
                  <a:pt x="568" y="492"/>
                </a:lnTo>
                <a:lnTo>
                  <a:pt x="568" y="492"/>
                </a:lnTo>
                <a:lnTo>
                  <a:pt x="557" y="488"/>
                </a:lnTo>
                <a:lnTo>
                  <a:pt x="546" y="482"/>
                </a:lnTo>
                <a:lnTo>
                  <a:pt x="541" y="477"/>
                </a:lnTo>
                <a:lnTo>
                  <a:pt x="535" y="473"/>
                </a:lnTo>
                <a:lnTo>
                  <a:pt x="535" y="473"/>
                </a:lnTo>
                <a:lnTo>
                  <a:pt x="532" y="468"/>
                </a:lnTo>
                <a:lnTo>
                  <a:pt x="532" y="462"/>
                </a:lnTo>
                <a:lnTo>
                  <a:pt x="532" y="459"/>
                </a:lnTo>
                <a:lnTo>
                  <a:pt x="532" y="459"/>
                </a:lnTo>
                <a:lnTo>
                  <a:pt x="541" y="462"/>
                </a:lnTo>
                <a:lnTo>
                  <a:pt x="544" y="462"/>
                </a:lnTo>
                <a:lnTo>
                  <a:pt x="550" y="461"/>
                </a:lnTo>
                <a:lnTo>
                  <a:pt x="552" y="431"/>
                </a:lnTo>
                <a:lnTo>
                  <a:pt x="552" y="431"/>
                </a:lnTo>
                <a:lnTo>
                  <a:pt x="548" y="431"/>
                </a:lnTo>
                <a:lnTo>
                  <a:pt x="541" y="430"/>
                </a:lnTo>
                <a:lnTo>
                  <a:pt x="541" y="430"/>
                </a:lnTo>
                <a:lnTo>
                  <a:pt x="537" y="426"/>
                </a:lnTo>
                <a:lnTo>
                  <a:pt x="533" y="422"/>
                </a:lnTo>
                <a:lnTo>
                  <a:pt x="532" y="419"/>
                </a:lnTo>
                <a:lnTo>
                  <a:pt x="532" y="419"/>
                </a:lnTo>
                <a:lnTo>
                  <a:pt x="535" y="420"/>
                </a:lnTo>
                <a:lnTo>
                  <a:pt x="543" y="422"/>
                </a:lnTo>
                <a:lnTo>
                  <a:pt x="543" y="422"/>
                </a:lnTo>
                <a:lnTo>
                  <a:pt x="550" y="422"/>
                </a:lnTo>
                <a:lnTo>
                  <a:pt x="554" y="420"/>
                </a:lnTo>
                <a:lnTo>
                  <a:pt x="557" y="387"/>
                </a:lnTo>
                <a:lnTo>
                  <a:pt x="557" y="387"/>
                </a:lnTo>
                <a:lnTo>
                  <a:pt x="552" y="387"/>
                </a:lnTo>
                <a:lnTo>
                  <a:pt x="546" y="386"/>
                </a:lnTo>
                <a:lnTo>
                  <a:pt x="541" y="384"/>
                </a:lnTo>
                <a:lnTo>
                  <a:pt x="539" y="378"/>
                </a:lnTo>
                <a:lnTo>
                  <a:pt x="539" y="377"/>
                </a:lnTo>
                <a:lnTo>
                  <a:pt x="539" y="377"/>
                </a:lnTo>
                <a:lnTo>
                  <a:pt x="552" y="373"/>
                </a:lnTo>
                <a:lnTo>
                  <a:pt x="563" y="367"/>
                </a:lnTo>
                <a:lnTo>
                  <a:pt x="572" y="360"/>
                </a:lnTo>
                <a:lnTo>
                  <a:pt x="579" y="353"/>
                </a:lnTo>
                <a:lnTo>
                  <a:pt x="586" y="344"/>
                </a:lnTo>
                <a:lnTo>
                  <a:pt x="592" y="333"/>
                </a:lnTo>
                <a:lnTo>
                  <a:pt x="597" y="324"/>
                </a:lnTo>
                <a:lnTo>
                  <a:pt x="599" y="313"/>
                </a:lnTo>
                <a:lnTo>
                  <a:pt x="599" y="313"/>
                </a:lnTo>
                <a:lnTo>
                  <a:pt x="608" y="316"/>
                </a:lnTo>
                <a:lnTo>
                  <a:pt x="614" y="316"/>
                </a:lnTo>
                <a:lnTo>
                  <a:pt x="618" y="316"/>
                </a:lnTo>
                <a:lnTo>
                  <a:pt x="618" y="316"/>
                </a:lnTo>
                <a:lnTo>
                  <a:pt x="619" y="303"/>
                </a:lnTo>
                <a:lnTo>
                  <a:pt x="619" y="289"/>
                </a:lnTo>
                <a:lnTo>
                  <a:pt x="619" y="289"/>
                </a:lnTo>
                <a:lnTo>
                  <a:pt x="610" y="287"/>
                </a:lnTo>
                <a:lnTo>
                  <a:pt x="607" y="285"/>
                </a:lnTo>
                <a:lnTo>
                  <a:pt x="603" y="28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pic>
        <p:nvPicPr>
          <p:cNvPr id="53" name="Picture 3">
            <a:extLst>
              <a:ext uri="{FF2B5EF4-FFF2-40B4-BE49-F238E27FC236}">
                <a16:creationId xmlns:a16="http://schemas.microsoft.com/office/drawing/2014/main" id="{F1689B57-8BAA-BF42-B648-10782572357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804248" y="4443958"/>
            <a:ext cx="2088034" cy="397877"/>
          </a:xfrm>
          <a:prstGeom prst="rect">
            <a:avLst/>
          </a:prstGeom>
        </p:spPr>
      </p:pic>
      <p:pic>
        <p:nvPicPr>
          <p:cNvPr id="55" name="Picture 5">
            <a:extLst>
              <a:ext uri="{FF2B5EF4-FFF2-40B4-BE49-F238E27FC236}">
                <a16:creationId xmlns:a16="http://schemas.microsoft.com/office/drawing/2014/main" id="{4F591584-9FCE-5A4F-A985-77C337C3AB8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04448" y="235340"/>
            <a:ext cx="305495" cy="419486"/>
          </a:xfrm>
          <a:prstGeom prst="rect">
            <a:avLst/>
          </a:prstGeom>
        </p:spPr>
      </p:pic>
    </p:spTree>
    <p:extLst>
      <p:ext uri="{BB962C8B-B14F-4D97-AF65-F5344CB8AC3E}">
        <p14:creationId xmlns:p14="http://schemas.microsoft.com/office/powerpoint/2010/main" val="22647966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4_Väliotsikko">
    <p:spTree>
      <p:nvGrpSpPr>
        <p:cNvPr id="1" name=""/>
        <p:cNvGrpSpPr/>
        <p:nvPr/>
      </p:nvGrpSpPr>
      <p:grpSpPr>
        <a:xfrm>
          <a:off x="0" y="0"/>
          <a:ext cx="0" cy="0"/>
          <a:chOff x="0" y="0"/>
          <a:chExt cx="0" cy="0"/>
        </a:xfrm>
      </p:grpSpPr>
      <p:sp>
        <p:nvSpPr>
          <p:cNvPr id="58" name="Rectangle 57"/>
          <p:cNvSpPr/>
          <p:nvPr userDrawn="1"/>
        </p:nvSpPr>
        <p:spPr>
          <a:xfrm rot="10800000" flipV="1">
            <a:off x="4427982" y="-21804"/>
            <a:ext cx="4716017" cy="516530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51" name="Rectangle 50"/>
          <p:cNvSpPr/>
          <p:nvPr userDrawn="1"/>
        </p:nvSpPr>
        <p:spPr>
          <a:xfrm rot="10800000" flipV="1">
            <a:off x="-10667" y="-21804"/>
            <a:ext cx="4582667" cy="5165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54" name="Freeform 7"/>
          <p:cNvSpPr>
            <a:spLocks/>
          </p:cNvSpPr>
          <p:nvPr userDrawn="1"/>
        </p:nvSpPr>
        <p:spPr bwMode="auto">
          <a:xfrm rot="10800000" flipV="1">
            <a:off x="3392894" y="-21803"/>
            <a:ext cx="4279900" cy="5165302"/>
          </a:xfrm>
          <a:custGeom>
            <a:avLst/>
            <a:gdLst>
              <a:gd name="T0" fmla="*/ 2425 w 2696"/>
              <a:gd name="T1" fmla="*/ 3240 h 3240"/>
              <a:gd name="T2" fmla="*/ 2398 w 2696"/>
              <a:gd name="T3" fmla="*/ 3171 h 3240"/>
              <a:gd name="T4" fmla="*/ 2372 w 2696"/>
              <a:gd name="T5" fmla="*/ 3103 h 3240"/>
              <a:gd name="T6" fmla="*/ 2325 w 2696"/>
              <a:gd name="T7" fmla="*/ 2966 h 3240"/>
              <a:gd name="T8" fmla="*/ 2283 w 2696"/>
              <a:gd name="T9" fmla="*/ 2828 h 3240"/>
              <a:gd name="T10" fmla="*/ 2248 w 2696"/>
              <a:gd name="T11" fmla="*/ 2689 h 3240"/>
              <a:gd name="T12" fmla="*/ 2219 w 2696"/>
              <a:gd name="T13" fmla="*/ 2550 h 3240"/>
              <a:gd name="T14" fmla="*/ 2196 w 2696"/>
              <a:gd name="T15" fmla="*/ 2411 h 3240"/>
              <a:gd name="T16" fmla="*/ 2178 w 2696"/>
              <a:gd name="T17" fmla="*/ 2273 h 3240"/>
              <a:gd name="T18" fmla="*/ 2164 w 2696"/>
              <a:gd name="T19" fmla="*/ 2133 h 3240"/>
              <a:gd name="T20" fmla="*/ 2157 w 2696"/>
              <a:gd name="T21" fmla="*/ 1995 h 3240"/>
              <a:gd name="T22" fmla="*/ 2156 w 2696"/>
              <a:gd name="T23" fmla="*/ 1856 h 3240"/>
              <a:gd name="T24" fmla="*/ 2160 w 2696"/>
              <a:gd name="T25" fmla="*/ 1718 h 3240"/>
              <a:gd name="T26" fmla="*/ 2170 w 2696"/>
              <a:gd name="T27" fmla="*/ 1581 h 3240"/>
              <a:gd name="T28" fmla="*/ 2183 w 2696"/>
              <a:gd name="T29" fmla="*/ 1445 h 3240"/>
              <a:gd name="T30" fmla="*/ 2203 w 2696"/>
              <a:gd name="T31" fmla="*/ 1310 h 3240"/>
              <a:gd name="T32" fmla="*/ 2228 w 2696"/>
              <a:gd name="T33" fmla="*/ 1175 h 3240"/>
              <a:gd name="T34" fmla="*/ 2259 w 2696"/>
              <a:gd name="T35" fmla="*/ 1042 h 3240"/>
              <a:gd name="T36" fmla="*/ 2274 w 2696"/>
              <a:gd name="T37" fmla="*/ 977 h 3240"/>
              <a:gd name="T38" fmla="*/ 2313 w 2696"/>
              <a:gd name="T39" fmla="*/ 845 h 3240"/>
              <a:gd name="T40" fmla="*/ 2354 w 2696"/>
              <a:gd name="T41" fmla="*/ 716 h 3240"/>
              <a:gd name="T42" fmla="*/ 2400 w 2696"/>
              <a:gd name="T43" fmla="*/ 590 h 3240"/>
              <a:gd name="T44" fmla="*/ 2452 w 2696"/>
              <a:gd name="T45" fmla="*/ 466 h 3240"/>
              <a:gd name="T46" fmla="*/ 2507 w 2696"/>
              <a:gd name="T47" fmla="*/ 345 h 3240"/>
              <a:gd name="T48" fmla="*/ 2566 w 2696"/>
              <a:gd name="T49" fmla="*/ 227 h 3240"/>
              <a:gd name="T50" fmla="*/ 2630 w 2696"/>
              <a:gd name="T51" fmla="*/ 113 h 3240"/>
              <a:gd name="T52" fmla="*/ 2696 w 2696"/>
              <a:gd name="T53" fmla="*/ 0 h 3240"/>
              <a:gd name="T54" fmla="*/ 0 w 2696"/>
              <a:gd name="T55" fmla="*/ 0 h 3240"/>
              <a:gd name="T56" fmla="*/ 72 w 2696"/>
              <a:gd name="T57" fmla="*/ 207 h 3240"/>
              <a:gd name="T58" fmla="*/ 150 w 2696"/>
              <a:gd name="T59" fmla="*/ 414 h 3240"/>
              <a:gd name="T60" fmla="*/ 187 w 2696"/>
              <a:gd name="T61" fmla="*/ 510 h 3240"/>
              <a:gd name="T62" fmla="*/ 266 w 2696"/>
              <a:gd name="T63" fmla="*/ 701 h 3240"/>
              <a:gd name="T64" fmla="*/ 349 w 2696"/>
              <a:gd name="T65" fmla="*/ 890 h 3240"/>
              <a:gd name="T66" fmla="*/ 436 w 2696"/>
              <a:gd name="T67" fmla="*/ 1077 h 3240"/>
              <a:gd name="T68" fmla="*/ 527 w 2696"/>
              <a:gd name="T69" fmla="*/ 1262 h 3240"/>
              <a:gd name="T70" fmla="*/ 622 w 2696"/>
              <a:gd name="T71" fmla="*/ 1446 h 3240"/>
              <a:gd name="T72" fmla="*/ 722 w 2696"/>
              <a:gd name="T73" fmla="*/ 1627 h 3240"/>
              <a:gd name="T74" fmla="*/ 826 w 2696"/>
              <a:gd name="T75" fmla="*/ 1807 h 3240"/>
              <a:gd name="T76" fmla="*/ 934 w 2696"/>
              <a:gd name="T77" fmla="*/ 1983 h 3240"/>
              <a:gd name="T78" fmla="*/ 1046 w 2696"/>
              <a:gd name="T79" fmla="*/ 2159 h 3240"/>
              <a:gd name="T80" fmla="*/ 1162 w 2696"/>
              <a:gd name="T81" fmla="*/ 2332 h 3240"/>
              <a:gd name="T82" fmla="*/ 1282 w 2696"/>
              <a:gd name="T83" fmla="*/ 2503 h 3240"/>
              <a:gd name="T84" fmla="*/ 1406 w 2696"/>
              <a:gd name="T85" fmla="*/ 2671 h 3240"/>
              <a:gd name="T86" fmla="*/ 1535 w 2696"/>
              <a:gd name="T87" fmla="*/ 2837 h 3240"/>
              <a:gd name="T88" fmla="*/ 1667 w 2696"/>
              <a:gd name="T89" fmla="*/ 3000 h 3240"/>
              <a:gd name="T90" fmla="*/ 1804 w 2696"/>
              <a:gd name="T91" fmla="*/ 3160 h 3240"/>
              <a:gd name="T92" fmla="*/ 1874 w 2696"/>
              <a:gd name="T93" fmla="*/ 3240 h 3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96" h="3240">
                <a:moveTo>
                  <a:pt x="1874" y="3240"/>
                </a:moveTo>
                <a:lnTo>
                  <a:pt x="2425" y="3240"/>
                </a:lnTo>
                <a:lnTo>
                  <a:pt x="2425" y="3240"/>
                </a:lnTo>
                <a:lnTo>
                  <a:pt x="2398" y="3171"/>
                </a:lnTo>
                <a:lnTo>
                  <a:pt x="2398" y="3171"/>
                </a:lnTo>
                <a:lnTo>
                  <a:pt x="2372" y="3103"/>
                </a:lnTo>
                <a:lnTo>
                  <a:pt x="2347" y="3034"/>
                </a:lnTo>
                <a:lnTo>
                  <a:pt x="2325" y="2966"/>
                </a:lnTo>
                <a:lnTo>
                  <a:pt x="2304" y="2897"/>
                </a:lnTo>
                <a:lnTo>
                  <a:pt x="2283" y="2828"/>
                </a:lnTo>
                <a:lnTo>
                  <a:pt x="2265" y="2759"/>
                </a:lnTo>
                <a:lnTo>
                  <a:pt x="2248" y="2689"/>
                </a:lnTo>
                <a:lnTo>
                  <a:pt x="2233" y="2620"/>
                </a:lnTo>
                <a:lnTo>
                  <a:pt x="2219" y="2550"/>
                </a:lnTo>
                <a:lnTo>
                  <a:pt x="2207" y="2481"/>
                </a:lnTo>
                <a:lnTo>
                  <a:pt x="2196" y="2411"/>
                </a:lnTo>
                <a:lnTo>
                  <a:pt x="2185" y="2342"/>
                </a:lnTo>
                <a:lnTo>
                  <a:pt x="2178" y="2273"/>
                </a:lnTo>
                <a:lnTo>
                  <a:pt x="2170" y="2203"/>
                </a:lnTo>
                <a:lnTo>
                  <a:pt x="2164" y="2133"/>
                </a:lnTo>
                <a:lnTo>
                  <a:pt x="2161" y="2063"/>
                </a:lnTo>
                <a:lnTo>
                  <a:pt x="2157" y="1995"/>
                </a:lnTo>
                <a:lnTo>
                  <a:pt x="2156" y="1925"/>
                </a:lnTo>
                <a:lnTo>
                  <a:pt x="2156" y="1856"/>
                </a:lnTo>
                <a:lnTo>
                  <a:pt x="2157" y="1787"/>
                </a:lnTo>
                <a:lnTo>
                  <a:pt x="2160" y="1718"/>
                </a:lnTo>
                <a:lnTo>
                  <a:pt x="2164" y="1649"/>
                </a:lnTo>
                <a:lnTo>
                  <a:pt x="2170" y="1581"/>
                </a:lnTo>
                <a:lnTo>
                  <a:pt x="2175" y="1513"/>
                </a:lnTo>
                <a:lnTo>
                  <a:pt x="2183" y="1445"/>
                </a:lnTo>
                <a:lnTo>
                  <a:pt x="2193" y="1377"/>
                </a:lnTo>
                <a:lnTo>
                  <a:pt x="2203" y="1310"/>
                </a:lnTo>
                <a:lnTo>
                  <a:pt x="2215" y="1242"/>
                </a:lnTo>
                <a:lnTo>
                  <a:pt x="2228" y="1175"/>
                </a:lnTo>
                <a:lnTo>
                  <a:pt x="2243" y="1108"/>
                </a:lnTo>
                <a:lnTo>
                  <a:pt x="2259" y="1042"/>
                </a:lnTo>
                <a:lnTo>
                  <a:pt x="2274" y="977"/>
                </a:lnTo>
                <a:lnTo>
                  <a:pt x="2274" y="977"/>
                </a:lnTo>
                <a:lnTo>
                  <a:pt x="2293" y="910"/>
                </a:lnTo>
                <a:lnTo>
                  <a:pt x="2313" y="845"/>
                </a:lnTo>
                <a:lnTo>
                  <a:pt x="2333" y="780"/>
                </a:lnTo>
                <a:lnTo>
                  <a:pt x="2354" y="716"/>
                </a:lnTo>
                <a:lnTo>
                  <a:pt x="2377" y="653"/>
                </a:lnTo>
                <a:lnTo>
                  <a:pt x="2400" y="590"/>
                </a:lnTo>
                <a:lnTo>
                  <a:pt x="2426" y="528"/>
                </a:lnTo>
                <a:lnTo>
                  <a:pt x="2452" y="466"/>
                </a:lnTo>
                <a:lnTo>
                  <a:pt x="2479" y="405"/>
                </a:lnTo>
                <a:lnTo>
                  <a:pt x="2507" y="345"/>
                </a:lnTo>
                <a:lnTo>
                  <a:pt x="2536" y="286"/>
                </a:lnTo>
                <a:lnTo>
                  <a:pt x="2566" y="227"/>
                </a:lnTo>
                <a:lnTo>
                  <a:pt x="2597" y="169"/>
                </a:lnTo>
                <a:lnTo>
                  <a:pt x="2630" y="113"/>
                </a:lnTo>
                <a:lnTo>
                  <a:pt x="2662" y="55"/>
                </a:lnTo>
                <a:lnTo>
                  <a:pt x="2696" y="0"/>
                </a:lnTo>
                <a:lnTo>
                  <a:pt x="0" y="0"/>
                </a:lnTo>
                <a:lnTo>
                  <a:pt x="0" y="0"/>
                </a:lnTo>
                <a:lnTo>
                  <a:pt x="35" y="104"/>
                </a:lnTo>
                <a:lnTo>
                  <a:pt x="72" y="207"/>
                </a:lnTo>
                <a:lnTo>
                  <a:pt x="111" y="311"/>
                </a:lnTo>
                <a:lnTo>
                  <a:pt x="150" y="414"/>
                </a:lnTo>
                <a:lnTo>
                  <a:pt x="150" y="414"/>
                </a:lnTo>
                <a:lnTo>
                  <a:pt x="187" y="510"/>
                </a:lnTo>
                <a:lnTo>
                  <a:pt x="226" y="605"/>
                </a:lnTo>
                <a:lnTo>
                  <a:pt x="266" y="701"/>
                </a:lnTo>
                <a:lnTo>
                  <a:pt x="306" y="795"/>
                </a:lnTo>
                <a:lnTo>
                  <a:pt x="349" y="890"/>
                </a:lnTo>
                <a:lnTo>
                  <a:pt x="392" y="983"/>
                </a:lnTo>
                <a:lnTo>
                  <a:pt x="436" y="1077"/>
                </a:lnTo>
                <a:lnTo>
                  <a:pt x="481" y="1169"/>
                </a:lnTo>
                <a:lnTo>
                  <a:pt x="527" y="1262"/>
                </a:lnTo>
                <a:lnTo>
                  <a:pt x="574" y="1353"/>
                </a:lnTo>
                <a:lnTo>
                  <a:pt x="622" y="1446"/>
                </a:lnTo>
                <a:lnTo>
                  <a:pt x="672" y="1537"/>
                </a:lnTo>
                <a:lnTo>
                  <a:pt x="722" y="1627"/>
                </a:lnTo>
                <a:lnTo>
                  <a:pt x="773" y="1717"/>
                </a:lnTo>
                <a:lnTo>
                  <a:pt x="826" y="1807"/>
                </a:lnTo>
                <a:lnTo>
                  <a:pt x="879" y="1896"/>
                </a:lnTo>
                <a:lnTo>
                  <a:pt x="934" y="1983"/>
                </a:lnTo>
                <a:lnTo>
                  <a:pt x="989" y="2072"/>
                </a:lnTo>
                <a:lnTo>
                  <a:pt x="1046" y="2159"/>
                </a:lnTo>
                <a:lnTo>
                  <a:pt x="1104" y="2246"/>
                </a:lnTo>
                <a:lnTo>
                  <a:pt x="1162" y="2332"/>
                </a:lnTo>
                <a:lnTo>
                  <a:pt x="1222" y="2418"/>
                </a:lnTo>
                <a:lnTo>
                  <a:pt x="1282" y="2503"/>
                </a:lnTo>
                <a:lnTo>
                  <a:pt x="1344" y="2588"/>
                </a:lnTo>
                <a:lnTo>
                  <a:pt x="1406" y="2671"/>
                </a:lnTo>
                <a:lnTo>
                  <a:pt x="1470" y="2754"/>
                </a:lnTo>
                <a:lnTo>
                  <a:pt x="1535" y="2837"/>
                </a:lnTo>
                <a:lnTo>
                  <a:pt x="1601" y="2918"/>
                </a:lnTo>
                <a:lnTo>
                  <a:pt x="1667" y="3000"/>
                </a:lnTo>
                <a:lnTo>
                  <a:pt x="1736" y="3080"/>
                </a:lnTo>
                <a:lnTo>
                  <a:pt x="1804" y="3160"/>
                </a:lnTo>
                <a:lnTo>
                  <a:pt x="1874" y="3240"/>
                </a:lnTo>
                <a:lnTo>
                  <a:pt x="1874" y="3240"/>
                </a:lnTo>
                <a:close/>
              </a:path>
            </a:pathLst>
          </a:custGeom>
          <a:solidFill>
            <a:srgbClr val="EA006F"/>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10" name="Otsikko 1"/>
          <p:cNvSpPr>
            <a:spLocks noGrp="1"/>
          </p:cNvSpPr>
          <p:nvPr userDrawn="1">
            <p:ph type="ctrTitle"/>
          </p:nvPr>
        </p:nvSpPr>
        <p:spPr>
          <a:xfrm>
            <a:off x="366651" y="411510"/>
            <a:ext cx="3485269" cy="2967062"/>
          </a:xfrm>
        </p:spPr>
        <p:txBody>
          <a:bodyPr anchor="b" anchorCtr="0">
            <a:noAutofit/>
          </a:bodyPr>
          <a:lstStyle>
            <a:lvl1pPr algn="l">
              <a:defRPr sz="4000">
                <a:solidFill>
                  <a:schemeClr val="accent4"/>
                </a:solidFill>
              </a:defRPr>
            </a:lvl1pPr>
          </a:lstStyle>
          <a:p>
            <a:r>
              <a:rPr lang="en-US" dirty="0"/>
              <a:t>Click to edit Master title style</a:t>
            </a:r>
            <a:endParaRPr lang="fi-FI" dirty="0"/>
          </a:p>
        </p:txBody>
      </p:sp>
      <p:sp>
        <p:nvSpPr>
          <p:cNvPr id="11" name="Alaotsikko 2"/>
          <p:cNvSpPr>
            <a:spLocks noGrp="1"/>
          </p:cNvSpPr>
          <p:nvPr userDrawn="1">
            <p:ph type="subTitle" idx="1"/>
          </p:nvPr>
        </p:nvSpPr>
        <p:spPr>
          <a:xfrm>
            <a:off x="366651" y="3507854"/>
            <a:ext cx="3485270" cy="1512168"/>
          </a:xfrm>
        </p:spPr>
        <p:txBody>
          <a:bodyPr>
            <a:normAutofit/>
          </a:bodyPr>
          <a:lstStyle>
            <a:lvl1pPr marL="0" indent="0" algn="l">
              <a:spcBef>
                <a:spcPts val="0"/>
              </a:spcBef>
              <a:buNone/>
              <a:defRPr sz="1800">
                <a:solidFill>
                  <a:srgbClr val="59596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fi-FI" dirty="0"/>
          </a:p>
        </p:txBody>
      </p:sp>
      <p:sp>
        <p:nvSpPr>
          <p:cNvPr id="32" name="Freeform 30"/>
          <p:cNvSpPr>
            <a:spLocks/>
          </p:cNvSpPr>
          <p:nvPr userDrawn="1"/>
        </p:nvSpPr>
        <p:spPr bwMode="auto">
          <a:xfrm>
            <a:off x="7331075" y="1931690"/>
            <a:ext cx="371475" cy="98425"/>
          </a:xfrm>
          <a:custGeom>
            <a:avLst/>
            <a:gdLst>
              <a:gd name="T0" fmla="*/ 87 w 2807"/>
              <a:gd name="T1" fmla="*/ 343 h 743"/>
              <a:gd name="T2" fmla="*/ 203 w 2807"/>
              <a:gd name="T3" fmla="*/ 417 h 743"/>
              <a:gd name="T4" fmla="*/ 319 w 2807"/>
              <a:gd name="T5" fmla="*/ 479 h 743"/>
              <a:gd name="T6" fmla="*/ 430 w 2807"/>
              <a:gd name="T7" fmla="*/ 529 h 743"/>
              <a:gd name="T8" fmla="*/ 603 w 2807"/>
              <a:gd name="T9" fmla="*/ 595 h 743"/>
              <a:gd name="T10" fmla="*/ 724 w 2807"/>
              <a:gd name="T11" fmla="*/ 633 h 743"/>
              <a:gd name="T12" fmla="*/ 857 w 2807"/>
              <a:gd name="T13" fmla="*/ 666 h 743"/>
              <a:gd name="T14" fmla="*/ 1001 w 2807"/>
              <a:gd name="T15" fmla="*/ 696 h 743"/>
              <a:gd name="T16" fmla="*/ 1157 w 2807"/>
              <a:gd name="T17" fmla="*/ 719 h 743"/>
              <a:gd name="T18" fmla="*/ 1324 w 2807"/>
              <a:gd name="T19" fmla="*/ 736 h 743"/>
              <a:gd name="T20" fmla="*/ 1502 w 2807"/>
              <a:gd name="T21" fmla="*/ 743 h 743"/>
              <a:gd name="T22" fmla="*/ 1689 w 2807"/>
              <a:gd name="T23" fmla="*/ 738 h 743"/>
              <a:gd name="T24" fmla="*/ 1819 w 2807"/>
              <a:gd name="T25" fmla="*/ 729 h 743"/>
              <a:gd name="T26" fmla="*/ 1999 w 2807"/>
              <a:gd name="T27" fmla="*/ 706 h 743"/>
              <a:gd name="T28" fmla="*/ 2159 w 2807"/>
              <a:gd name="T29" fmla="*/ 678 h 743"/>
              <a:gd name="T30" fmla="*/ 2302 w 2807"/>
              <a:gd name="T31" fmla="*/ 643 h 743"/>
              <a:gd name="T32" fmla="*/ 2426 w 2807"/>
              <a:gd name="T33" fmla="*/ 605 h 743"/>
              <a:gd name="T34" fmla="*/ 2533 w 2807"/>
              <a:gd name="T35" fmla="*/ 566 h 743"/>
              <a:gd name="T36" fmla="*/ 2672 w 2807"/>
              <a:gd name="T37" fmla="*/ 505 h 743"/>
              <a:gd name="T38" fmla="*/ 2773 w 2807"/>
              <a:gd name="T39" fmla="*/ 449 h 743"/>
              <a:gd name="T40" fmla="*/ 2807 w 2807"/>
              <a:gd name="T41" fmla="*/ 426 h 743"/>
              <a:gd name="T42" fmla="*/ 2745 w 2807"/>
              <a:gd name="T43" fmla="*/ 402 h 743"/>
              <a:gd name="T44" fmla="*/ 2688 w 2807"/>
              <a:gd name="T45" fmla="*/ 372 h 743"/>
              <a:gd name="T46" fmla="*/ 2586 w 2807"/>
              <a:gd name="T47" fmla="*/ 303 h 743"/>
              <a:gd name="T48" fmla="*/ 2529 w 2807"/>
              <a:gd name="T49" fmla="*/ 256 h 743"/>
              <a:gd name="T50" fmla="*/ 2518 w 2807"/>
              <a:gd name="T51" fmla="*/ 294 h 743"/>
              <a:gd name="T52" fmla="*/ 2507 w 2807"/>
              <a:gd name="T53" fmla="*/ 381 h 743"/>
              <a:gd name="T54" fmla="*/ 2499 w 2807"/>
              <a:gd name="T55" fmla="*/ 413 h 743"/>
              <a:gd name="T56" fmla="*/ 2443 w 2807"/>
              <a:gd name="T57" fmla="*/ 391 h 743"/>
              <a:gd name="T58" fmla="*/ 2423 w 2807"/>
              <a:gd name="T59" fmla="*/ 381 h 743"/>
              <a:gd name="T60" fmla="*/ 2392 w 2807"/>
              <a:gd name="T61" fmla="*/ 357 h 743"/>
              <a:gd name="T62" fmla="*/ 2361 w 2807"/>
              <a:gd name="T63" fmla="*/ 324 h 743"/>
              <a:gd name="T64" fmla="*/ 2334 w 2807"/>
              <a:gd name="T65" fmla="*/ 283 h 743"/>
              <a:gd name="T66" fmla="*/ 2316 w 2807"/>
              <a:gd name="T67" fmla="*/ 235 h 743"/>
              <a:gd name="T68" fmla="*/ 2310 w 2807"/>
              <a:gd name="T69" fmla="*/ 199 h 743"/>
              <a:gd name="T70" fmla="*/ 2252 w 2807"/>
              <a:gd name="T71" fmla="*/ 195 h 743"/>
              <a:gd name="T72" fmla="*/ 2110 w 2807"/>
              <a:gd name="T73" fmla="*/ 243 h 743"/>
              <a:gd name="T74" fmla="*/ 1984 w 2807"/>
              <a:gd name="T75" fmla="*/ 277 h 743"/>
              <a:gd name="T76" fmla="*/ 1843 w 2807"/>
              <a:gd name="T77" fmla="*/ 303 h 743"/>
              <a:gd name="T78" fmla="*/ 1697 w 2807"/>
              <a:gd name="T79" fmla="*/ 319 h 743"/>
              <a:gd name="T80" fmla="*/ 1558 w 2807"/>
              <a:gd name="T81" fmla="*/ 322 h 743"/>
              <a:gd name="T82" fmla="*/ 1293 w 2807"/>
              <a:gd name="T83" fmla="*/ 312 h 743"/>
              <a:gd name="T84" fmla="*/ 1030 w 2807"/>
              <a:gd name="T85" fmla="*/ 282 h 743"/>
              <a:gd name="T86" fmla="*/ 855 w 2807"/>
              <a:gd name="T87" fmla="*/ 251 h 743"/>
              <a:gd name="T88" fmla="*/ 725 w 2807"/>
              <a:gd name="T89" fmla="*/ 221 h 743"/>
              <a:gd name="T90" fmla="*/ 594 w 2807"/>
              <a:gd name="T91" fmla="*/ 185 h 743"/>
              <a:gd name="T92" fmla="*/ 465 w 2807"/>
              <a:gd name="T93" fmla="*/ 143 h 743"/>
              <a:gd name="T94" fmla="*/ 336 w 2807"/>
              <a:gd name="T95" fmla="*/ 94 h 743"/>
              <a:gd name="T96" fmla="*/ 251 w 2807"/>
              <a:gd name="T97" fmla="*/ 58 h 743"/>
              <a:gd name="T98" fmla="*/ 122 w 2807"/>
              <a:gd name="T99" fmla="*/ 0 h 743"/>
              <a:gd name="T100" fmla="*/ 119 w 2807"/>
              <a:gd name="T101" fmla="*/ 19 h 743"/>
              <a:gd name="T102" fmla="*/ 121 w 2807"/>
              <a:gd name="T103" fmla="*/ 51 h 743"/>
              <a:gd name="T104" fmla="*/ 136 w 2807"/>
              <a:gd name="T105" fmla="*/ 96 h 743"/>
              <a:gd name="T106" fmla="*/ 171 w 2807"/>
              <a:gd name="T107" fmla="*/ 156 h 743"/>
              <a:gd name="T108" fmla="*/ 207 w 2807"/>
              <a:gd name="T109" fmla="*/ 204 h 743"/>
              <a:gd name="T110" fmla="*/ 151 w 2807"/>
              <a:gd name="T111" fmla="*/ 199 h 743"/>
              <a:gd name="T112" fmla="*/ 98 w 2807"/>
              <a:gd name="T113" fmla="*/ 204 h 743"/>
              <a:gd name="T114" fmla="*/ 69 w 2807"/>
              <a:gd name="T115" fmla="*/ 215 h 743"/>
              <a:gd name="T116" fmla="*/ 32 w 2807"/>
              <a:gd name="T117" fmla="*/ 244 h 743"/>
              <a:gd name="T118" fmla="*/ 7 w 2807"/>
              <a:gd name="T119" fmla="*/ 272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07" h="743">
                <a:moveTo>
                  <a:pt x="0" y="284"/>
                </a:moveTo>
                <a:lnTo>
                  <a:pt x="0" y="284"/>
                </a:lnTo>
                <a:lnTo>
                  <a:pt x="87" y="343"/>
                </a:lnTo>
                <a:lnTo>
                  <a:pt x="127" y="369"/>
                </a:lnTo>
                <a:lnTo>
                  <a:pt x="166" y="394"/>
                </a:lnTo>
                <a:lnTo>
                  <a:pt x="203" y="417"/>
                </a:lnTo>
                <a:lnTo>
                  <a:pt x="241" y="438"/>
                </a:lnTo>
                <a:lnTo>
                  <a:pt x="280" y="460"/>
                </a:lnTo>
                <a:lnTo>
                  <a:pt x="319" y="479"/>
                </a:lnTo>
                <a:lnTo>
                  <a:pt x="319" y="479"/>
                </a:lnTo>
                <a:lnTo>
                  <a:pt x="372" y="504"/>
                </a:lnTo>
                <a:lnTo>
                  <a:pt x="430" y="529"/>
                </a:lnTo>
                <a:lnTo>
                  <a:pt x="495" y="556"/>
                </a:lnTo>
                <a:lnTo>
                  <a:pt x="565" y="581"/>
                </a:lnTo>
                <a:lnTo>
                  <a:pt x="603" y="595"/>
                </a:lnTo>
                <a:lnTo>
                  <a:pt x="642" y="607"/>
                </a:lnTo>
                <a:lnTo>
                  <a:pt x="682" y="620"/>
                </a:lnTo>
                <a:lnTo>
                  <a:pt x="724" y="633"/>
                </a:lnTo>
                <a:lnTo>
                  <a:pt x="767" y="644"/>
                </a:lnTo>
                <a:lnTo>
                  <a:pt x="811" y="655"/>
                </a:lnTo>
                <a:lnTo>
                  <a:pt x="857" y="666"/>
                </a:lnTo>
                <a:lnTo>
                  <a:pt x="903" y="677"/>
                </a:lnTo>
                <a:lnTo>
                  <a:pt x="952" y="687"/>
                </a:lnTo>
                <a:lnTo>
                  <a:pt x="1001" y="696"/>
                </a:lnTo>
                <a:lnTo>
                  <a:pt x="1052" y="705"/>
                </a:lnTo>
                <a:lnTo>
                  <a:pt x="1104" y="713"/>
                </a:lnTo>
                <a:lnTo>
                  <a:pt x="1157" y="719"/>
                </a:lnTo>
                <a:lnTo>
                  <a:pt x="1212" y="727"/>
                </a:lnTo>
                <a:lnTo>
                  <a:pt x="1267" y="732"/>
                </a:lnTo>
                <a:lnTo>
                  <a:pt x="1324" y="736"/>
                </a:lnTo>
                <a:lnTo>
                  <a:pt x="1382" y="739"/>
                </a:lnTo>
                <a:lnTo>
                  <a:pt x="1442" y="741"/>
                </a:lnTo>
                <a:lnTo>
                  <a:pt x="1502" y="743"/>
                </a:lnTo>
                <a:lnTo>
                  <a:pt x="1563" y="742"/>
                </a:lnTo>
                <a:lnTo>
                  <a:pt x="1626" y="741"/>
                </a:lnTo>
                <a:lnTo>
                  <a:pt x="1689" y="738"/>
                </a:lnTo>
                <a:lnTo>
                  <a:pt x="1754" y="734"/>
                </a:lnTo>
                <a:lnTo>
                  <a:pt x="1819" y="729"/>
                </a:lnTo>
                <a:lnTo>
                  <a:pt x="1819" y="729"/>
                </a:lnTo>
                <a:lnTo>
                  <a:pt x="1881" y="723"/>
                </a:lnTo>
                <a:lnTo>
                  <a:pt x="1941" y="714"/>
                </a:lnTo>
                <a:lnTo>
                  <a:pt x="1999" y="706"/>
                </a:lnTo>
                <a:lnTo>
                  <a:pt x="2054" y="697"/>
                </a:lnTo>
                <a:lnTo>
                  <a:pt x="2108" y="688"/>
                </a:lnTo>
                <a:lnTo>
                  <a:pt x="2159" y="678"/>
                </a:lnTo>
                <a:lnTo>
                  <a:pt x="2209" y="666"/>
                </a:lnTo>
                <a:lnTo>
                  <a:pt x="2257" y="655"/>
                </a:lnTo>
                <a:lnTo>
                  <a:pt x="2302" y="643"/>
                </a:lnTo>
                <a:lnTo>
                  <a:pt x="2346" y="631"/>
                </a:lnTo>
                <a:lnTo>
                  <a:pt x="2387" y="618"/>
                </a:lnTo>
                <a:lnTo>
                  <a:pt x="2426" y="605"/>
                </a:lnTo>
                <a:lnTo>
                  <a:pt x="2464" y="593"/>
                </a:lnTo>
                <a:lnTo>
                  <a:pt x="2500" y="579"/>
                </a:lnTo>
                <a:lnTo>
                  <a:pt x="2533" y="566"/>
                </a:lnTo>
                <a:lnTo>
                  <a:pt x="2564" y="554"/>
                </a:lnTo>
                <a:lnTo>
                  <a:pt x="2622" y="528"/>
                </a:lnTo>
                <a:lnTo>
                  <a:pt x="2672" y="505"/>
                </a:lnTo>
                <a:lnTo>
                  <a:pt x="2713" y="483"/>
                </a:lnTo>
                <a:lnTo>
                  <a:pt x="2747" y="465"/>
                </a:lnTo>
                <a:lnTo>
                  <a:pt x="2773" y="449"/>
                </a:lnTo>
                <a:lnTo>
                  <a:pt x="2792" y="436"/>
                </a:lnTo>
                <a:lnTo>
                  <a:pt x="2807" y="426"/>
                </a:lnTo>
                <a:lnTo>
                  <a:pt x="2807" y="426"/>
                </a:lnTo>
                <a:lnTo>
                  <a:pt x="2786" y="419"/>
                </a:lnTo>
                <a:lnTo>
                  <a:pt x="2766" y="410"/>
                </a:lnTo>
                <a:lnTo>
                  <a:pt x="2745" y="402"/>
                </a:lnTo>
                <a:lnTo>
                  <a:pt x="2726" y="391"/>
                </a:lnTo>
                <a:lnTo>
                  <a:pt x="2706" y="382"/>
                </a:lnTo>
                <a:lnTo>
                  <a:pt x="2688" y="372"/>
                </a:lnTo>
                <a:lnTo>
                  <a:pt x="2651" y="349"/>
                </a:lnTo>
                <a:lnTo>
                  <a:pt x="2618" y="327"/>
                </a:lnTo>
                <a:lnTo>
                  <a:pt x="2586" y="303"/>
                </a:lnTo>
                <a:lnTo>
                  <a:pt x="2556" y="280"/>
                </a:lnTo>
                <a:lnTo>
                  <a:pt x="2529" y="256"/>
                </a:lnTo>
                <a:lnTo>
                  <a:pt x="2529" y="256"/>
                </a:lnTo>
                <a:lnTo>
                  <a:pt x="2524" y="266"/>
                </a:lnTo>
                <a:lnTo>
                  <a:pt x="2521" y="279"/>
                </a:lnTo>
                <a:lnTo>
                  <a:pt x="2518" y="294"/>
                </a:lnTo>
                <a:lnTo>
                  <a:pt x="2515" y="312"/>
                </a:lnTo>
                <a:lnTo>
                  <a:pt x="2515" y="312"/>
                </a:lnTo>
                <a:lnTo>
                  <a:pt x="2507" y="381"/>
                </a:lnTo>
                <a:lnTo>
                  <a:pt x="2503" y="414"/>
                </a:lnTo>
                <a:lnTo>
                  <a:pt x="2503" y="414"/>
                </a:lnTo>
                <a:lnTo>
                  <a:pt x="2499" y="413"/>
                </a:lnTo>
                <a:lnTo>
                  <a:pt x="2489" y="410"/>
                </a:lnTo>
                <a:lnTo>
                  <a:pt x="2470" y="403"/>
                </a:lnTo>
                <a:lnTo>
                  <a:pt x="2443" y="391"/>
                </a:lnTo>
                <a:lnTo>
                  <a:pt x="2443" y="391"/>
                </a:lnTo>
                <a:lnTo>
                  <a:pt x="2433" y="387"/>
                </a:lnTo>
                <a:lnTo>
                  <a:pt x="2423" y="381"/>
                </a:lnTo>
                <a:lnTo>
                  <a:pt x="2413" y="374"/>
                </a:lnTo>
                <a:lnTo>
                  <a:pt x="2403" y="366"/>
                </a:lnTo>
                <a:lnTo>
                  <a:pt x="2392" y="357"/>
                </a:lnTo>
                <a:lnTo>
                  <a:pt x="2381" y="347"/>
                </a:lnTo>
                <a:lnTo>
                  <a:pt x="2371" y="336"/>
                </a:lnTo>
                <a:lnTo>
                  <a:pt x="2361" y="324"/>
                </a:lnTo>
                <a:lnTo>
                  <a:pt x="2351" y="312"/>
                </a:lnTo>
                <a:lnTo>
                  <a:pt x="2342" y="297"/>
                </a:lnTo>
                <a:lnTo>
                  <a:pt x="2334" y="283"/>
                </a:lnTo>
                <a:lnTo>
                  <a:pt x="2326" y="268"/>
                </a:lnTo>
                <a:lnTo>
                  <a:pt x="2320" y="251"/>
                </a:lnTo>
                <a:lnTo>
                  <a:pt x="2316" y="235"/>
                </a:lnTo>
                <a:lnTo>
                  <a:pt x="2312" y="216"/>
                </a:lnTo>
                <a:lnTo>
                  <a:pt x="2310" y="199"/>
                </a:lnTo>
                <a:lnTo>
                  <a:pt x="2310" y="199"/>
                </a:lnTo>
                <a:lnTo>
                  <a:pt x="2309" y="174"/>
                </a:lnTo>
                <a:lnTo>
                  <a:pt x="2309" y="174"/>
                </a:lnTo>
                <a:lnTo>
                  <a:pt x="2252" y="195"/>
                </a:lnTo>
                <a:lnTo>
                  <a:pt x="2186" y="218"/>
                </a:lnTo>
                <a:lnTo>
                  <a:pt x="2149" y="231"/>
                </a:lnTo>
                <a:lnTo>
                  <a:pt x="2110" y="243"/>
                </a:lnTo>
                <a:lnTo>
                  <a:pt x="2069" y="254"/>
                </a:lnTo>
                <a:lnTo>
                  <a:pt x="2028" y="266"/>
                </a:lnTo>
                <a:lnTo>
                  <a:pt x="1984" y="277"/>
                </a:lnTo>
                <a:lnTo>
                  <a:pt x="1938" y="286"/>
                </a:lnTo>
                <a:lnTo>
                  <a:pt x="1892" y="295"/>
                </a:lnTo>
                <a:lnTo>
                  <a:pt x="1843" y="303"/>
                </a:lnTo>
                <a:lnTo>
                  <a:pt x="1795" y="311"/>
                </a:lnTo>
                <a:lnTo>
                  <a:pt x="1746" y="316"/>
                </a:lnTo>
                <a:lnTo>
                  <a:pt x="1697" y="319"/>
                </a:lnTo>
                <a:lnTo>
                  <a:pt x="1647" y="321"/>
                </a:lnTo>
                <a:lnTo>
                  <a:pt x="1647" y="321"/>
                </a:lnTo>
                <a:lnTo>
                  <a:pt x="1558" y="322"/>
                </a:lnTo>
                <a:lnTo>
                  <a:pt x="1470" y="321"/>
                </a:lnTo>
                <a:lnTo>
                  <a:pt x="1382" y="317"/>
                </a:lnTo>
                <a:lnTo>
                  <a:pt x="1293" y="312"/>
                </a:lnTo>
                <a:lnTo>
                  <a:pt x="1205" y="304"/>
                </a:lnTo>
                <a:lnTo>
                  <a:pt x="1118" y="294"/>
                </a:lnTo>
                <a:lnTo>
                  <a:pt x="1030" y="282"/>
                </a:lnTo>
                <a:lnTo>
                  <a:pt x="943" y="268"/>
                </a:lnTo>
                <a:lnTo>
                  <a:pt x="899" y="259"/>
                </a:lnTo>
                <a:lnTo>
                  <a:pt x="855" y="251"/>
                </a:lnTo>
                <a:lnTo>
                  <a:pt x="812" y="241"/>
                </a:lnTo>
                <a:lnTo>
                  <a:pt x="768" y="231"/>
                </a:lnTo>
                <a:lnTo>
                  <a:pt x="725" y="221"/>
                </a:lnTo>
                <a:lnTo>
                  <a:pt x="681" y="209"/>
                </a:lnTo>
                <a:lnTo>
                  <a:pt x="638" y="197"/>
                </a:lnTo>
                <a:lnTo>
                  <a:pt x="594" y="185"/>
                </a:lnTo>
                <a:lnTo>
                  <a:pt x="551" y="171"/>
                </a:lnTo>
                <a:lnTo>
                  <a:pt x="508" y="157"/>
                </a:lnTo>
                <a:lnTo>
                  <a:pt x="465" y="143"/>
                </a:lnTo>
                <a:lnTo>
                  <a:pt x="422" y="127"/>
                </a:lnTo>
                <a:lnTo>
                  <a:pt x="379" y="111"/>
                </a:lnTo>
                <a:lnTo>
                  <a:pt x="336" y="94"/>
                </a:lnTo>
                <a:lnTo>
                  <a:pt x="294" y="76"/>
                </a:lnTo>
                <a:lnTo>
                  <a:pt x="251" y="58"/>
                </a:lnTo>
                <a:lnTo>
                  <a:pt x="251" y="58"/>
                </a:lnTo>
                <a:lnTo>
                  <a:pt x="165" y="19"/>
                </a:lnTo>
                <a:lnTo>
                  <a:pt x="122" y="0"/>
                </a:lnTo>
                <a:lnTo>
                  <a:pt x="122" y="0"/>
                </a:lnTo>
                <a:lnTo>
                  <a:pt x="121" y="3"/>
                </a:lnTo>
                <a:lnTo>
                  <a:pt x="119" y="12"/>
                </a:lnTo>
                <a:lnTo>
                  <a:pt x="119" y="19"/>
                </a:lnTo>
                <a:lnTo>
                  <a:pt x="119" y="28"/>
                </a:lnTo>
                <a:lnTo>
                  <a:pt x="119" y="39"/>
                </a:lnTo>
                <a:lnTo>
                  <a:pt x="121" y="51"/>
                </a:lnTo>
                <a:lnTo>
                  <a:pt x="125" y="64"/>
                </a:lnTo>
                <a:lnTo>
                  <a:pt x="129" y="79"/>
                </a:lnTo>
                <a:lnTo>
                  <a:pt x="136" y="96"/>
                </a:lnTo>
                <a:lnTo>
                  <a:pt x="145" y="114"/>
                </a:lnTo>
                <a:lnTo>
                  <a:pt x="156" y="135"/>
                </a:lnTo>
                <a:lnTo>
                  <a:pt x="171" y="156"/>
                </a:lnTo>
                <a:lnTo>
                  <a:pt x="187" y="180"/>
                </a:lnTo>
                <a:lnTo>
                  <a:pt x="207" y="204"/>
                </a:lnTo>
                <a:lnTo>
                  <a:pt x="207" y="204"/>
                </a:lnTo>
                <a:lnTo>
                  <a:pt x="189" y="201"/>
                </a:lnTo>
                <a:lnTo>
                  <a:pt x="170" y="199"/>
                </a:lnTo>
                <a:lnTo>
                  <a:pt x="151" y="199"/>
                </a:lnTo>
                <a:lnTo>
                  <a:pt x="132" y="199"/>
                </a:lnTo>
                <a:lnTo>
                  <a:pt x="114" y="201"/>
                </a:lnTo>
                <a:lnTo>
                  <a:pt x="98" y="204"/>
                </a:lnTo>
                <a:lnTo>
                  <a:pt x="83" y="209"/>
                </a:lnTo>
                <a:lnTo>
                  <a:pt x="69" y="215"/>
                </a:lnTo>
                <a:lnTo>
                  <a:pt x="69" y="215"/>
                </a:lnTo>
                <a:lnTo>
                  <a:pt x="55" y="224"/>
                </a:lnTo>
                <a:lnTo>
                  <a:pt x="42" y="234"/>
                </a:lnTo>
                <a:lnTo>
                  <a:pt x="32" y="244"/>
                </a:lnTo>
                <a:lnTo>
                  <a:pt x="21" y="253"/>
                </a:lnTo>
                <a:lnTo>
                  <a:pt x="13" y="262"/>
                </a:lnTo>
                <a:lnTo>
                  <a:pt x="7" y="272"/>
                </a:lnTo>
                <a:lnTo>
                  <a:pt x="0" y="28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3" name="Freeform 31"/>
          <p:cNvSpPr>
            <a:spLocks/>
          </p:cNvSpPr>
          <p:nvPr userDrawn="1"/>
        </p:nvSpPr>
        <p:spPr bwMode="auto">
          <a:xfrm>
            <a:off x="7248525" y="1618953"/>
            <a:ext cx="377825" cy="271463"/>
          </a:xfrm>
          <a:custGeom>
            <a:avLst/>
            <a:gdLst>
              <a:gd name="T0" fmla="*/ 2491 w 2863"/>
              <a:gd name="T1" fmla="*/ 103 h 2054"/>
              <a:gd name="T2" fmla="*/ 2575 w 2863"/>
              <a:gd name="T3" fmla="*/ 23 h 2054"/>
              <a:gd name="T4" fmla="*/ 2196 w 2863"/>
              <a:gd name="T5" fmla="*/ 132 h 2054"/>
              <a:gd name="T6" fmla="*/ 1671 w 2863"/>
              <a:gd name="T7" fmla="*/ 429 h 2054"/>
              <a:gd name="T8" fmla="*/ 1528 w 2863"/>
              <a:gd name="T9" fmla="*/ 462 h 2054"/>
              <a:gd name="T10" fmla="*/ 1416 w 2863"/>
              <a:gd name="T11" fmla="*/ 568 h 2054"/>
              <a:gd name="T12" fmla="*/ 1409 w 2863"/>
              <a:gd name="T13" fmla="*/ 634 h 2054"/>
              <a:gd name="T14" fmla="*/ 1479 w 2863"/>
              <a:gd name="T15" fmla="*/ 748 h 2054"/>
              <a:gd name="T16" fmla="*/ 1586 w 2863"/>
              <a:gd name="T17" fmla="*/ 787 h 2054"/>
              <a:gd name="T18" fmla="*/ 1476 w 2863"/>
              <a:gd name="T19" fmla="*/ 974 h 2054"/>
              <a:gd name="T20" fmla="*/ 1133 w 2863"/>
              <a:gd name="T21" fmla="*/ 1199 h 2054"/>
              <a:gd name="T22" fmla="*/ 799 w 2863"/>
              <a:gd name="T23" fmla="*/ 1254 h 2054"/>
              <a:gd name="T24" fmla="*/ 634 w 2863"/>
              <a:gd name="T25" fmla="*/ 1102 h 2054"/>
              <a:gd name="T26" fmla="*/ 539 w 2863"/>
              <a:gd name="T27" fmla="*/ 1015 h 2054"/>
              <a:gd name="T28" fmla="*/ 406 w 2863"/>
              <a:gd name="T29" fmla="*/ 1023 h 2054"/>
              <a:gd name="T30" fmla="*/ 231 w 2863"/>
              <a:gd name="T31" fmla="*/ 1090 h 2054"/>
              <a:gd name="T32" fmla="*/ 382 w 2863"/>
              <a:gd name="T33" fmla="*/ 1121 h 2054"/>
              <a:gd name="T34" fmla="*/ 351 w 2863"/>
              <a:gd name="T35" fmla="*/ 1168 h 2054"/>
              <a:gd name="T36" fmla="*/ 418 w 2863"/>
              <a:gd name="T37" fmla="*/ 1270 h 2054"/>
              <a:gd name="T38" fmla="*/ 608 w 2863"/>
              <a:gd name="T39" fmla="*/ 1387 h 2054"/>
              <a:gd name="T40" fmla="*/ 314 w 2863"/>
              <a:gd name="T41" fmla="*/ 1296 h 2054"/>
              <a:gd name="T42" fmla="*/ 234 w 2863"/>
              <a:gd name="T43" fmla="*/ 1324 h 2054"/>
              <a:gd name="T44" fmla="*/ 77 w 2863"/>
              <a:gd name="T45" fmla="*/ 1367 h 2054"/>
              <a:gd name="T46" fmla="*/ 0 w 2863"/>
              <a:gd name="T47" fmla="*/ 1480 h 2054"/>
              <a:gd name="T48" fmla="*/ 63 w 2863"/>
              <a:gd name="T49" fmla="*/ 1501 h 2054"/>
              <a:gd name="T50" fmla="*/ 166 w 2863"/>
              <a:gd name="T51" fmla="*/ 1461 h 2054"/>
              <a:gd name="T52" fmla="*/ 187 w 2863"/>
              <a:gd name="T53" fmla="*/ 1573 h 2054"/>
              <a:gd name="T54" fmla="*/ 354 w 2863"/>
              <a:gd name="T55" fmla="*/ 1597 h 2054"/>
              <a:gd name="T56" fmla="*/ 616 w 2863"/>
              <a:gd name="T57" fmla="*/ 1588 h 2054"/>
              <a:gd name="T58" fmla="*/ 382 w 2863"/>
              <a:gd name="T59" fmla="*/ 1636 h 2054"/>
              <a:gd name="T60" fmla="*/ 295 w 2863"/>
              <a:gd name="T61" fmla="*/ 1696 h 2054"/>
              <a:gd name="T62" fmla="*/ 254 w 2863"/>
              <a:gd name="T63" fmla="*/ 1795 h 2054"/>
              <a:gd name="T64" fmla="*/ 239 w 2863"/>
              <a:gd name="T65" fmla="*/ 1953 h 2054"/>
              <a:gd name="T66" fmla="*/ 335 w 2863"/>
              <a:gd name="T67" fmla="*/ 2045 h 2054"/>
              <a:gd name="T68" fmla="*/ 341 w 2863"/>
              <a:gd name="T69" fmla="*/ 1906 h 2054"/>
              <a:gd name="T70" fmla="*/ 417 w 2863"/>
              <a:gd name="T71" fmla="*/ 1946 h 2054"/>
              <a:gd name="T72" fmla="*/ 509 w 2863"/>
              <a:gd name="T73" fmla="*/ 1935 h 2054"/>
              <a:gd name="T74" fmla="*/ 732 w 2863"/>
              <a:gd name="T75" fmla="*/ 1733 h 2054"/>
              <a:gd name="T76" fmla="*/ 874 w 2863"/>
              <a:gd name="T77" fmla="*/ 1691 h 2054"/>
              <a:gd name="T78" fmla="*/ 870 w 2863"/>
              <a:gd name="T79" fmla="*/ 1786 h 2054"/>
              <a:gd name="T80" fmla="*/ 945 w 2863"/>
              <a:gd name="T81" fmla="*/ 1834 h 2054"/>
              <a:gd name="T82" fmla="*/ 875 w 2863"/>
              <a:gd name="T83" fmla="*/ 1948 h 2054"/>
              <a:gd name="T84" fmla="*/ 1004 w 2863"/>
              <a:gd name="T85" fmla="*/ 1919 h 2054"/>
              <a:gd name="T86" fmla="*/ 1100 w 2863"/>
              <a:gd name="T87" fmla="*/ 1787 h 2054"/>
              <a:gd name="T88" fmla="*/ 1159 w 2863"/>
              <a:gd name="T89" fmla="*/ 1734 h 2054"/>
              <a:gd name="T90" fmla="*/ 1183 w 2863"/>
              <a:gd name="T91" fmla="*/ 1628 h 2054"/>
              <a:gd name="T92" fmla="*/ 1338 w 2863"/>
              <a:gd name="T93" fmla="*/ 1564 h 2054"/>
              <a:gd name="T94" fmla="*/ 1370 w 2863"/>
              <a:gd name="T95" fmla="*/ 1465 h 2054"/>
              <a:gd name="T96" fmla="*/ 1461 w 2863"/>
              <a:gd name="T97" fmla="*/ 1462 h 2054"/>
              <a:gd name="T98" fmla="*/ 1684 w 2863"/>
              <a:gd name="T99" fmla="*/ 1556 h 2054"/>
              <a:gd name="T100" fmla="*/ 1888 w 2863"/>
              <a:gd name="T101" fmla="*/ 1440 h 2054"/>
              <a:gd name="T102" fmla="*/ 1799 w 2863"/>
              <a:gd name="T103" fmla="*/ 1308 h 2054"/>
              <a:gd name="T104" fmla="*/ 1857 w 2863"/>
              <a:gd name="T105" fmla="*/ 1327 h 2054"/>
              <a:gd name="T106" fmla="*/ 2183 w 2863"/>
              <a:gd name="T107" fmla="*/ 1273 h 2054"/>
              <a:gd name="T108" fmla="*/ 2142 w 2863"/>
              <a:gd name="T109" fmla="*/ 1164 h 2054"/>
              <a:gd name="T110" fmla="*/ 2112 w 2863"/>
              <a:gd name="T111" fmla="*/ 1069 h 2054"/>
              <a:gd name="T112" fmla="*/ 2121 w 2863"/>
              <a:gd name="T113" fmla="*/ 977 h 2054"/>
              <a:gd name="T114" fmla="*/ 2085 w 2863"/>
              <a:gd name="T115" fmla="*/ 807 h 2054"/>
              <a:gd name="T116" fmla="*/ 2859 w 2863"/>
              <a:gd name="T117" fmla="*/ 408 h 2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63" h="2054">
                <a:moveTo>
                  <a:pt x="2759" y="252"/>
                </a:moveTo>
                <a:lnTo>
                  <a:pt x="2759" y="252"/>
                </a:lnTo>
                <a:lnTo>
                  <a:pt x="2742" y="239"/>
                </a:lnTo>
                <a:lnTo>
                  <a:pt x="2725" y="227"/>
                </a:lnTo>
                <a:lnTo>
                  <a:pt x="2708" y="214"/>
                </a:lnTo>
                <a:lnTo>
                  <a:pt x="2690" y="203"/>
                </a:lnTo>
                <a:lnTo>
                  <a:pt x="2655" y="184"/>
                </a:lnTo>
                <a:lnTo>
                  <a:pt x="2621" y="165"/>
                </a:lnTo>
                <a:lnTo>
                  <a:pt x="2586" y="148"/>
                </a:lnTo>
                <a:lnTo>
                  <a:pt x="2553" y="133"/>
                </a:lnTo>
                <a:lnTo>
                  <a:pt x="2522" y="118"/>
                </a:lnTo>
                <a:lnTo>
                  <a:pt x="2491" y="103"/>
                </a:lnTo>
                <a:lnTo>
                  <a:pt x="2491" y="103"/>
                </a:lnTo>
                <a:lnTo>
                  <a:pt x="2507" y="93"/>
                </a:lnTo>
                <a:lnTo>
                  <a:pt x="2523" y="82"/>
                </a:lnTo>
                <a:lnTo>
                  <a:pt x="2540" y="68"/>
                </a:lnTo>
                <a:lnTo>
                  <a:pt x="2556" y="54"/>
                </a:lnTo>
                <a:lnTo>
                  <a:pt x="2570" y="41"/>
                </a:lnTo>
                <a:lnTo>
                  <a:pt x="2574" y="35"/>
                </a:lnTo>
                <a:lnTo>
                  <a:pt x="2577" y="30"/>
                </a:lnTo>
                <a:lnTo>
                  <a:pt x="2577" y="26"/>
                </a:lnTo>
                <a:lnTo>
                  <a:pt x="2577" y="24"/>
                </a:lnTo>
                <a:lnTo>
                  <a:pt x="2575" y="23"/>
                </a:lnTo>
                <a:lnTo>
                  <a:pt x="2575" y="23"/>
                </a:lnTo>
                <a:lnTo>
                  <a:pt x="2562" y="16"/>
                </a:lnTo>
                <a:lnTo>
                  <a:pt x="2550" y="10"/>
                </a:lnTo>
                <a:lnTo>
                  <a:pt x="2538" y="6"/>
                </a:lnTo>
                <a:lnTo>
                  <a:pt x="2527" y="4"/>
                </a:lnTo>
                <a:lnTo>
                  <a:pt x="2508" y="1"/>
                </a:lnTo>
                <a:lnTo>
                  <a:pt x="2501" y="0"/>
                </a:lnTo>
                <a:lnTo>
                  <a:pt x="2501" y="0"/>
                </a:lnTo>
                <a:lnTo>
                  <a:pt x="2440" y="24"/>
                </a:lnTo>
                <a:lnTo>
                  <a:pt x="2377" y="50"/>
                </a:lnTo>
                <a:lnTo>
                  <a:pt x="2317" y="76"/>
                </a:lnTo>
                <a:lnTo>
                  <a:pt x="2256" y="103"/>
                </a:lnTo>
                <a:lnTo>
                  <a:pt x="2196" y="132"/>
                </a:lnTo>
                <a:lnTo>
                  <a:pt x="2138" y="160"/>
                </a:lnTo>
                <a:lnTo>
                  <a:pt x="2081" y="189"/>
                </a:lnTo>
                <a:lnTo>
                  <a:pt x="2026" y="219"/>
                </a:lnTo>
                <a:lnTo>
                  <a:pt x="1972" y="247"/>
                </a:lnTo>
                <a:lnTo>
                  <a:pt x="1921" y="276"/>
                </a:lnTo>
                <a:lnTo>
                  <a:pt x="1872" y="303"/>
                </a:lnTo>
                <a:lnTo>
                  <a:pt x="1825" y="331"/>
                </a:lnTo>
                <a:lnTo>
                  <a:pt x="1782" y="358"/>
                </a:lnTo>
                <a:lnTo>
                  <a:pt x="1741" y="383"/>
                </a:lnTo>
                <a:lnTo>
                  <a:pt x="1705" y="407"/>
                </a:lnTo>
                <a:lnTo>
                  <a:pt x="1671" y="429"/>
                </a:lnTo>
                <a:lnTo>
                  <a:pt x="1671" y="429"/>
                </a:lnTo>
                <a:lnTo>
                  <a:pt x="1666" y="432"/>
                </a:lnTo>
                <a:lnTo>
                  <a:pt x="1666" y="432"/>
                </a:lnTo>
                <a:lnTo>
                  <a:pt x="1654" y="439"/>
                </a:lnTo>
                <a:lnTo>
                  <a:pt x="1643" y="446"/>
                </a:lnTo>
                <a:lnTo>
                  <a:pt x="1632" y="451"/>
                </a:lnTo>
                <a:lnTo>
                  <a:pt x="1620" y="455"/>
                </a:lnTo>
                <a:lnTo>
                  <a:pt x="1608" y="458"/>
                </a:lnTo>
                <a:lnTo>
                  <a:pt x="1597" y="461"/>
                </a:lnTo>
                <a:lnTo>
                  <a:pt x="1585" y="462"/>
                </a:lnTo>
                <a:lnTo>
                  <a:pt x="1574" y="463"/>
                </a:lnTo>
                <a:lnTo>
                  <a:pt x="1550" y="464"/>
                </a:lnTo>
                <a:lnTo>
                  <a:pt x="1528" y="462"/>
                </a:lnTo>
                <a:lnTo>
                  <a:pt x="1505" y="459"/>
                </a:lnTo>
                <a:lnTo>
                  <a:pt x="1485" y="454"/>
                </a:lnTo>
                <a:lnTo>
                  <a:pt x="1465" y="449"/>
                </a:lnTo>
                <a:lnTo>
                  <a:pt x="1448" y="442"/>
                </a:lnTo>
                <a:lnTo>
                  <a:pt x="1433" y="436"/>
                </a:lnTo>
                <a:lnTo>
                  <a:pt x="1418" y="430"/>
                </a:lnTo>
                <a:lnTo>
                  <a:pt x="1399" y="420"/>
                </a:lnTo>
                <a:lnTo>
                  <a:pt x="1393" y="416"/>
                </a:lnTo>
                <a:lnTo>
                  <a:pt x="1372" y="544"/>
                </a:lnTo>
                <a:lnTo>
                  <a:pt x="1372" y="544"/>
                </a:lnTo>
                <a:lnTo>
                  <a:pt x="1395" y="557"/>
                </a:lnTo>
                <a:lnTo>
                  <a:pt x="1416" y="568"/>
                </a:lnTo>
                <a:lnTo>
                  <a:pt x="1437" y="577"/>
                </a:lnTo>
                <a:lnTo>
                  <a:pt x="1454" y="586"/>
                </a:lnTo>
                <a:lnTo>
                  <a:pt x="1470" y="592"/>
                </a:lnTo>
                <a:lnTo>
                  <a:pt x="1486" y="596"/>
                </a:lnTo>
                <a:lnTo>
                  <a:pt x="1499" y="600"/>
                </a:lnTo>
                <a:lnTo>
                  <a:pt x="1510" y="602"/>
                </a:lnTo>
                <a:lnTo>
                  <a:pt x="1510" y="602"/>
                </a:lnTo>
                <a:lnTo>
                  <a:pt x="1491" y="606"/>
                </a:lnTo>
                <a:lnTo>
                  <a:pt x="1470" y="611"/>
                </a:lnTo>
                <a:lnTo>
                  <a:pt x="1450" y="617"/>
                </a:lnTo>
                <a:lnTo>
                  <a:pt x="1428" y="625"/>
                </a:lnTo>
                <a:lnTo>
                  <a:pt x="1409" y="634"/>
                </a:lnTo>
                <a:lnTo>
                  <a:pt x="1391" y="645"/>
                </a:lnTo>
                <a:lnTo>
                  <a:pt x="1381" y="650"/>
                </a:lnTo>
                <a:lnTo>
                  <a:pt x="1373" y="656"/>
                </a:lnTo>
                <a:lnTo>
                  <a:pt x="1366" y="663"/>
                </a:lnTo>
                <a:lnTo>
                  <a:pt x="1360" y="670"/>
                </a:lnTo>
                <a:lnTo>
                  <a:pt x="1404" y="788"/>
                </a:lnTo>
                <a:lnTo>
                  <a:pt x="1404" y="788"/>
                </a:lnTo>
                <a:lnTo>
                  <a:pt x="1416" y="779"/>
                </a:lnTo>
                <a:lnTo>
                  <a:pt x="1432" y="770"/>
                </a:lnTo>
                <a:lnTo>
                  <a:pt x="1453" y="758"/>
                </a:lnTo>
                <a:lnTo>
                  <a:pt x="1465" y="753"/>
                </a:lnTo>
                <a:lnTo>
                  <a:pt x="1479" y="748"/>
                </a:lnTo>
                <a:lnTo>
                  <a:pt x="1494" y="743"/>
                </a:lnTo>
                <a:lnTo>
                  <a:pt x="1509" y="738"/>
                </a:lnTo>
                <a:lnTo>
                  <a:pt x="1527" y="734"/>
                </a:lnTo>
                <a:lnTo>
                  <a:pt x="1545" y="731"/>
                </a:lnTo>
                <a:lnTo>
                  <a:pt x="1564" y="729"/>
                </a:lnTo>
                <a:lnTo>
                  <a:pt x="1585" y="728"/>
                </a:lnTo>
                <a:lnTo>
                  <a:pt x="1585" y="728"/>
                </a:lnTo>
                <a:lnTo>
                  <a:pt x="1588" y="744"/>
                </a:lnTo>
                <a:lnTo>
                  <a:pt x="1588" y="744"/>
                </a:lnTo>
                <a:lnTo>
                  <a:pt x="1588" y="758"/>
                </a:lnTo>
                <a:lnTo>
                  <a:pt x="1588" y="773"/>
                </a:lnTo>
                <a:lnTo>
                  <a:pt x="1586" y="787"/>
                </a:lnTo>
                <a:lnTo>
                  <a:pt x="1583" y="802"/>
                </a:lnTo>
                <a:lnTo>
                  <a:pt x="1578" y="818"/>
                </a:lnTo>
                <a:lnTo>
                  <a:pt x="1573" y="833"/>
                </a:lnTo>
                <a:lnTo>
                  <a:pt x="1565" y="848"/>
                </a:lnTo>
                <a:lnTo>
                  <a:pt x="1557" y="864"/>
                </a:lnTo>
                <a:lnTo>
                  <a:pt x="1549" y="880"/>
                </a:lnTo>
                <a:lnTo>
                  <a:pt x="1539" y="895"/>
                </a:lnTo>
                <a:lnTo>
                  <a:pt x="1528" y="912"/>
                </a:lnTo>
                <a:lnTo>
                  <a:pt x="1516" y="927"/>
                </a:lnTo>
                <a:lnTo>
                  <a:pt x="1503" y="943"/>
                </a:lnTo>
                <a:lnTo>
                  <a:pt x="1490" y="959"/>
                </a:lnTo>
                <a:lnTo>
                  <a:pt x="1476" y="974"/>
                </a:lnTo>
                <a:lnTo>
                  <a:pt x="1461" y="989"/>
                </a:lnTo>
                <a:lnTo>
                  <a:pt x="1429" y="1020"/>
                </a:lnTo>
                <a:lnTo>
                  <a:pt x="1396" y="1049"/>
                </a:lnTo>
                <a:lnTo>
                  <a:pt x="1360" y="1076"/>
                </a:lnTo>
                <a:lnTo>
                  <a:pt x="1323" y="1102"/>
                </a:lnTo>
                <a:lnTo>
                  <a:pt x="1285" y="1126"/>
                </a:lnTo>
                <a:lnTo>
                  <a:pt x="1247" y="1148"/>
                </a:lnTo>
                <a:lnTo>
                  <a:pt x="1209" y="1167"/>
                </a:lnTo>
                <a:lnTo>
                  <a:pt x="1189" y="1177"/>
                </a:lnTo>
                <a:lnTo>
                  <a:pt x="1171" y="1185"/>
                </a:lnTo>
                <a:lnTo>
                  <a:pt x="1171" y="1185"/>
                </a:lnTo>
                <a:lnTo>
                  <a:pt x="1133" y="1199"/>
                </a:lnTo>
                <a:lnTo>
                  <a:pt x="1095" y="1211"/>
                </a:lnTo>
                <a:lnTo>
                  <a:pt x="1060" y="1223"/>
                </a:lnTo>
                <a:lnTo>
                  <a:pt x="1026" y="1232"/>
                </a:lnTo>
                <a:lnTo>
                  <a:pt x="993" y="1240"/>
                </a:lnTo>
                <a:lnTo>
                  <a:pt x="962" y="1246"/>
                </a:lnTo>
                <a:lnTo>
                  <a:pt x="933" y="1250"/>
                </a:lnTo>
                <a:lnTo>
                  <a:pt x="905" y="1254"/>
                </a:lnTo>
                <a:lnTo>
                  <a:pt x="879" y="1256"/>
                </a:lnTo>
                <a:lnTo>
                  <a:pt x="856" y="1257"/>
                </a:lnTo>
                <a:lnTo>
                  <a:pt x="834" y="1257"/>
                </a:lnTo>
                <a:lnTo>
                  <a:pt x="815" y="1256"/>
                </a:lnTo>
                <a:lnTo>
                  <a:pt x="799" y="1254"/>
                </a:lnTo>
                <a:lnTo>
                  <a:pt x="785" y="1251"/>
                </a:lnTo>
                <a:lnTo>
                  <a:pt x="774" y="1247"/>
                </a:lnTo>
                <a:lnTo>
                  <a:pt x="765" y="1243"/>
                </a:lnTo>
                <a:lnTo>
                  <a:pt x="765" y="1243"/>
                </a:lnTo>
                <a:lnTo>
                  <a:pt x="741" y="1227"/>
                </a:lnTo>
                <a:lnTo>
                  <a:pt x="720" y="1209"/>
                </a:lnTo>
                <a:lnTo>
                  <a:pt x="701" y="1191"/>
                </a:lnTo>
                <a:lnTo>
                  <a:pt x="685" y="1172"/>
                </a:lnTo>
                <a:lnTo>
                  <a:pt x="670" y="1155"/>
                </a:lnTo>
                <a:lnTo>
                  <a:pt x="656" y="1137"/>
                </a:lnTo>
                <a:lnTo>
                  <a:pt x="645" y="1119"/>
                </a:lnTo>
                <a:lnTo>
                  <a:pt x="634" y="1102"/>
                </a:lnTo>
                <a:lnTo>
                  <a:pt x="615" y="1071"/>
                </a:lnTo>
                <a:lnTo>
                  <a:pt x="605" y="1057"/>
                </a:lnTo>
                <a:lnTo>
                  <a:pt x="596" y="1045"/>
                </a:lnTo>
                <a:lnTo>
                  <a:pt x="587" y="1033"/>
                </a:lnTo>
                <a:lnTo>
                  <a:pt x="577" y="1025"/>
                </a:lnTo>
                <a:lnTo>
                  <a:pt x="565" y="1018"/>
                </a:lnTo>
                <a:lnTo>
                  <a:pt x="559" y="1015"/>
                </a:lnTo>
                <a:lnTo>
                  <a:pt x="553" y="1013"/>
                </a:lnTo>
                <a:lnTo>
                  <a:pt x="553" y="1013"/>
                </a:lnTo>
                <a:lnTo>
                  <a:pt x="549" y="1013"/>
                </a:lnTo>
                <a:lnTo>
                  <a:pt x="546" y="1013"/>
                </a:lnTo>
                <a:lnTo>
                  <a:pt x="539" y="1015"/>
                </a:lnTo>
                <a:lnTo>
                  <a:pt x="532" y="1018"/>
                </a:lnTo>
                <a:lnTo>
                  <a:pt x="524" y="1022"/>
                </a:lnTo>
                <a:lnTo>
                  <a:pt x="516" y="1026"/>
                </a:lnTo>
                <a:lnTo>
                  <a:pt x="507" y="1029"/>
                </a:lnTo>
                <a:lnTo>
                  <a:pt x="499" y="1031"/>
                </a:lnTo>
                <a:lnTo>
                  <a:pt x="494" y="1031"/>
                </a:lnTo>
                <a:lnTo>
                  <a:pt x="489" y="1031"/>
                </a:lnTo>
                <a:lnTo>
                  <a:pt x="489" y="1031"/>
                </a:lnTo>
                <a:lnTo>
                  <a:pt x="468" y="1028"/>
                </a:lnTo>
                <a:lnTo>
                  <a:pt x="448" y="1025"/>
                </a:lnTo>
                <a:lnTo>
                  <a:pt x="427" y="1024"/>
                </a:lnTo>
                <a:lnTo>
                  <a:pt x="406" y="1023"/>
                </a:lnTo>
                <a:lnTo>
                  <a:pt x="386" y="1023"/>
                </a:lnTo>
                <a:lnTo>
                  <a:pt x="366" y="1025"/>
                </a:lnTo>
                <a:lnTo>
                  <a:pt x="347" y="1027"/>
                </a:lnTo>
                <a:lnTo>
                  <a:pt x="327" y="1031"/>
                </a:lnTo>
                <a:lnTo>
                  <a:pt x="309" y="1035"/>
                </a:lnTo>
                <a:lnTo>
                  <a:pt x="292" y="1043"/>
                </a:lnTo>
                <a:lnTo>
                  <a:pt x="276" y="1050"/>
                </a:lnTo>
                <a:lnTo>
                  <a:pt x="262" y="1059"/>
                </a:lnTo>
                <a:lnTo>
                  <a:pt x="248" y="1070"/>
                </a:lnTo>
                <a:lnTo>
                  <a:pt x="242" y="1076"/>
                </a:lnTo>
                <a:lnTo>
                  <a:pt x="236" y="1082"/>
                </a:lnTo>
                <a:lnTo>
                  <a:pt x="231" y="1090"/>
                </a:lnTo>
                <a:lnTo>
                  <a:pt x="227" y="1098"/>
                </a:lnTo>
                <a:lnTo>
                  <a:pt x="223" y="1105"/>
                </a:lnTo>
                <a:lnTo>
                  <a:pt x="219" y="1114"/>
                </a:lnTo>
                <a:lnTo>
                  <a:pt x="219" y="1114"/>
                </a:lnTo>
                <a:lnTo>
                  <a:pt x="257" y="1112"/>
                </a:lnTo>
                <a:lnTo>
                  <a:pt x="292" y="1111"/>
                </a:lnTo>
                <a:lnTo>
                  <a:pt x="312" y="1111"/>
                </a:lnTo>
                <a:lnTo>
                  <a:pt x="331" y="1112"/>
                </a:lnTo>
                <a:lnTo>
                  <a:pt x="349" y="1113"/>
                </a:lnTo>
                <a:lnTo>
                  <a:pt x="364" y="1116"/>
                </a:lnTo>
                <a:lnTo>
                  <a:pt x="377" y="1119"/>
                </a:lnTo>
                <a:lnTo>
                  <a:pt x="382" y="1121"/>
                </a:lnTo>
                <a:lnTo>
                  <a:pt x="387" y="1123"/>
                </a:lnTo>
                <a:lnTo>
                  <a:pt x="389" y="1126"/>
                </a:lnTo>
                <a:lnTo>
                  <a:pt x="391" y="1130"/>
                </a:lnTo>
                <a:lnTo>
                  <a:pt x="391" y="1133"/>
                </a:lnTo>
                <a:lnTo>
                  <a:pt x="389" y="1137"/>
                </a:lnTo>
                <a:lnTo>
                  <a:pt x="386" y="1141"/>
                </a:lnTo>
                <a:lnTo>
                  <a:pt x="381" y="1146"/>
                </a:lnTo>
                <a:lnTo>
                  <a:pt x="374" y="1151"/>
                </a:lnTo>
                <a:lnTo>
                  <a:pt x="366" y="1156"/>
                </a:lnTo>
                <a:lnTo>
                  <a:pt x="366" y="1156"/>
                </a:lnTo>
                <a:lnTo>
                  <a:pt x="357" y="1162"/>
                </a:lnTo>
                <a:lnTo>
                  <a:pt x="351" y="1168"/>
                </a:lnTo>
                <a:lnTo>
                  <a:pt x="346" y="1175"/>
                </a:lnTo>
                <a:lnTo>
                  <a:pt x="344" y="1182"/>
                </a:lnTo>
                <a:lnTo>
                  <a:pt x="343" y="1189"/>
                </a:lnTo>
                <a:lnTo>
                  <a:pt x="344" y="1195"/>
                </a:lnTo>
                <a:lnTo>
                  <a:pt x="346" y="1202"/>
                </a:lnTo>
                <a:lnTo>
                  <a:pt x="349" y="1209"/>
                </a:lnTo>
                <a:lnTo>
                  <a:pt x="354" y="1217"/>
                </a:lnTo>
                <a:lnTo>
                  <a:pt x="360" y="1225"/>
                </a:lnTo>
                <a:lnTo>
                  <a:pt x="368" y="1232"/>
                </a:lnTo>
                <a:lnTo>
                  <a:pt x="376" y="1239"/>
                </a:lnTo>
                <a:lnTo>
                  <a:pt x="396" y="1254"/>
                </a:lnTo>
                <a:lnTo>
                  <a:pt x="418" y="1270"/>
                </a:lnTo>
                <a:lnTo>
                  <a:pt x="442" y="1285"/>
                </a:lnTo>
                <a:lnTo>
                  <a:pt x="467" y="1299"/>
                </a:lnTo>
                <a:lnTo>
                  <a:pt x="519" y="1327"/>
                </a:lnTo>
                <a:lnTo>
                  <a:pt x="565" y="1350"/>
                </a:lnTo>
                <a:lnTo>
                  <a:pt x="585" y="1361"/>
                </a:lnTo>
                <a:lnTo>
                  <a:pt x="601" y="1370"/>
                </a:lnTo>
                <a:lnTo>
                  <a:pt x="601" y="1370"/>
                </a:lnTo>
                <a:lnTo>
                  <a:pt x="608" y="1375"/>
                </a:lnTo>
                <a:lnTo>
                  <a:pt x="611" y="1379"/>
                </a:lnTo>
                <a:lnTo>
                  <a:pt x="613" y="1382"/>
                </a:lnTo>
                <a:lnTo>
                  <a:pt x="611" y="1385"/>
                </a:lnTo>
                <a:lnTo>
                  <a:pt x="608" y="1387"/>
                </a:lnTo>
                <a:lnTo>
                  <a:pt x="604" y="1389"/>
                </a:lnTo>
                <a:lnTo>
                  <a:pt x="598" y="1390"/>
                </a:lnTo>
                <a:lnTo>
                  <a:pt x="598" y="1390"/>
                </a:lnTo>
                <a:lnTo>
                  <a:pt x="588" y="1390"/>
                </a:lnTo>
                <a:lnTo>
                  <a:pt x="576" y="1388"/>
                </a:lnTo>
                <a:lnTo>
                  <a:pt x="561" y="1385"/>
                </a:lnTo>
                <a:lnTo>
                  <a:pt x="545" y="1380"/>
                </a:lnTo>
                <a:lnTo>
                  <a:pt x="509" y="1369"/>
                </a:lnTo>
                <a:lnTo>
                  <a:pt x="469" y="1354"/>
                </a:lnTo>
                <a:lnTo>
                  <a:pt x="387" y="1323"/>
                </a:lnTo>
                <a:lnTo>
                  <a:pt x="349" y="1307"/>
                </a:lnTo>
                <a:lnTo>
                  <a:pt x="314" y="1296"/>
                </a:lnTo>
                <a:lnTo>
                  <a:pt x="314" y="1296"/>
                </a:lnTo>
                <a:lnTo>
                  <a:pt x="303" y="1293"/>
                </a:lnTo>
                <a:lnTo>
                  <a:pt x="292" y="1291"/>
                </a:lnTo>
                <a:lnTo>
                  <a:pt x="283" y="1291"/>
                </a:lnTo>
                <a:lnTo>
                  <a:pt x="275" y="1292"/>
                </a:lnTo>
                <a:lnTo>
                  <a:pt x="268" y="1294"/>
                </a:lnTo>
                <a:lnTo>
                  <a:pt x="262" y="1297"/>
                </a:lnTo>
                <a:lnTo>
                  <a:pt x="257" y="1300"/>
                </a:lnTo>
                <a:lnTo>
                  <a:pt x="253" y="1303"/>
                </a:lnTo>
                <a:lnTo>
                  <a:pt x="244" y="1312"/>
                </a:lnTo>
                <a:lnTo>
                  <a:pt x="238" y="1319"/>
                </a:lnTo>
                <a:lnTo>
                  <a:pt x="234" y="1324"/>
                </a:lnTo>
                <a:lnTo>
                  <a:pt x="231" y="1325"/>
                </a:lnTo>
                <a:lnTo>
                  <a:pt x="229" y="1326"/>
                </a:lnTo>
                <a:lnTo>
                  <a:pt x="229" y="1326"/>
                </a:lnTo>
                <a:lnTo>
                  <a:pt x="220" y="1325"/>
                </a:lnTo>
                <a:lnTo>
                  <a:pt x="210" y="1324"/>
                </a:lnTo>
                <a:lnTo>
                  <a:pt x="198" y="1325"/>
                </a:lnTo>
                <a:lnTo>
                  <a:pt x="188" y="1325"/>
                </a:lnTo>
                <a:lnTo>
                  <a:pt x="166" y="1329"/>
                </a:lnTo>
                <a:lnTo>
                  <a:pt x="143" y="1335"/>
                </a:lnTo>
                <a:lnTo>
                  <a:pt x="121" y="1343"/>
                </a:lnTo>
                <a:lnTo>
                  <a:pt x="98" y="1353"/>
                </a:lnTo>
                <a:lnTo>
                  <a:pt x="77" y="1367"/>
                </a:lnTo>
                <a:lnTo>
                  <a:pt x="66" y="1374"/>
                </a:lnTo>
                <a:lnTo>
                  <a:pt x="57" y="1381"/>
                </a:lnTo>
                <a:lnTo>
                  <a:pt x="48" y="1389"/>
                </a:lnTo>
                <a:lnTo>
                  <a:pt x="40" y="1397"/>
                </a:lnTo>
                <a:lnTo>
                  <a:pt x="32" y="1407"/>
                </a:lnTo>
                <a:lnTo>
                  <a:pt x="25" y="1416"/>
                </a:lnTo>
                <a:lnTo>
                  <a:pt x="18" y="1426"/>
                </a:lnTo>
                <a:lnTo>
                  <a:pt x="12" y="1435"/>
                </a:lnTo>
                <a:lnTo>
                  <a:pt x="8" y="1446"/>
                </a:lnTo>
                <a:lnTo>
                  <a:pt x="4" y="1458"/>
                </a:lnTo>
                <a:lnTo>
                  <a:pt x="2" y="1469"/>
                </a:lnTo>
                <a:lnTo>
                  <a:pt x="0" y="1480"/>
                </a:lnTo>
                <a:lnTo>
                  <a:pt x="0" y="1492"/>
                </a:lnTo>
                <a:lnTo>
                  <a:pt x="0" y="1505"/>
                </a:lnTo>
                <a:lnTo>
                  <a:pt x="3" y="1518"/>
                </a:lnTo>
                <a:lnTo>
                  <a:pt x="6" y="1530"/>
                </a:lnTo>
                <a:lnTo>
                  <a:pt x="11" y="1544"/>
                </a:lnTo>
                <a:lnTo>
                  <a:pt x="17" y="1558"/>
                </a:lnTo>
                <a:lnTo>
                  <a:pt x="17" y="1558"/>
                </a:lnTo>
                <a:lnTo>
                  <a:pt x="20" y="1553"/>
                </a:lnTo>
                <a:lnTo>
                  <a:pt x="30" y="1540"/>
                </a:lnTo>
                <a:lnTo>
                  <a:pt x="45" y="1521"/>
                </a:lnTo>
                <a:lnTo>
                  <a:pt x="53" y="1511"/>
                </a:lnTo>
                <a:lnTo>
                  <a:pt x="63" y="1501"/>
                </a:lnTo>
                <a:lnTo>
                  <a:pt x="75" y="1490"/>
                </a:lnTo>
                <a:lnTo>
                  <a:pt x="86" y="1481"/>
                </a:lnTo>
                <a:lnTo>
                  <a:pt x="98" y="1473"/>
                </a:lnTo>
                <a:lnTo>
                  <a:pt x="111" y="1466"/>
                </a:lnTo>
                <a:lnTo>
                  <a:pt x="125" y="1461"/>
                </a:lnTo>
                <a:lnTo>
                  <a:pt x="131" y="1459"/>
                </a:lnTo>
                <a:lnTo>
                  <a:pt x="138" y="1458"/>
                </a:lnTo>
                <a:lnTo>
                  <a:pt x="145" y="1458"/>
                </a:lnTo>
                <a:lnTo>
                  <a:pt x="151" y="1458"/>
                </a:lnTo>
                <a:lnTo>
                  <a:pt x="159" y="1459"/>
                </a:lnTo>
                <a:lnTo>
                  <a:pt x="166" y="1461"/>
                </a:lnTo>
                <a:lnTo>
                  <a:pt x="166" y="1461"/>
                </a:lnTo>
                <a:lnTo>
                  <a:pt x="171" y="1463"/>
                </a:lnTo>
                <a:lnTo>
                  <a:pt x="174" y="1467"/>
                </a:lnTo>
                <a:lnTo>
                  <a:pt x="175" y="1473"/>
                </a:lnTo>
                <a:lnTo>
                  <a:pt x="176" y="1479"/>
                </a:lnTo>
                <a:lnTo>
                  <a:pt x="176" y="1496"/>
                </a:lnTo>
                <a:lnTo>
                  <a:pt x="174" y="1514"/>
                </a:lnTo>
                <a:lnTo>
                  <a:pt x="174" y="1524"/>
                </a:lnTo>
                <a:lnTo>
                  <a:pt x="174" y="1534"/>
                </a:lnTo>
                <a:lnTo>
                  <a:pt x="176" y="1545"/>
                </a:lnTo>
                <a:lnTo>
                  <a:pt x="178" y="1554"/>
                </a:lnTo>
                <a:lnTo>
                  <a:pt x="182" y="1564"/>
                </a:lnTo>
                <a:lnTo>
                  <a:pt x="187" y="1573"/>
                </a:lnTo>
                <a:lnTo>
                  <a:pt x="195" y="1581"/>
                </a:lnTo>
                <a:lnTo>
                  <a:pt x="205" y="1589"/>
                </a:lnTo>
                <a:lnTo>
                  <a:pt x="205" y="1589"/>
                </a:lnTo>
                <a:lnTo>
                  <a:pt x="213" y="1593"/>
                </a:lnTo>
                <a:lnTo>
                  <a:pt x="221" y="1596"/>
                </a:lnTo>
                <a:lnTo>
                  <a:pt x="231" y="1599"/>
                </a:lnTo>
                <a:lnTo>
                  <a:pt x="242" y="1600"/>
                </a:lnTo>
                <a:lnTo>
                  <a:pt x="254" y="1602"/>
                </a:lnTo>
                <a:lnTo>
                  <a:pt x="267" y="1602"/>
                </a:lnTo>
                <a:lnTo>
                  <a:pt x="293" y="1602"/>
                </a:lnTo>
                <a:lnTo>
                  <a:pt x="323" y="1600"/>
                </a:lnTo>
                <a:lnTo>
                  <a:pt x="354" y="1597"/>
                </a:lnTo>
                <a:lnTo>
                  <a:pt x="418" y="1589"/>
                </a:lnTo>
                <a:lnTo>
                  <a:pt x="481" y="1580"/>
                </a:lnTo>
                <a:lnTo>
                  <a:pt x="510" y="1576"/>
                </a:lnTo>
                <a:lnTo>
                  <a:pt x="538" y="1574"/>
                </a:lnTo>
                <a:lnTo>
                  <a:pt x="562" y="1573"/>
                </a:lnTo>
                <a:lnTo>
                  <a:pt x="583" y="1574"/>
                </a:lnTo>
                <a:lnTo>
                  <a:pt x="592" y="1575"/>
                </a:lnTo>
                <a:lnTo>
                  <a:pt x="600" y="1577"/>
                </a:lnTo>
                <a:lnTo>
                  <a:pt x="607" y="1580"/>
                </a:lnTo>
                <a:lnTo>
                  <a:pt x="613" y="1585"/>
                </a:lnTo>
                <a:lnTo>
                  <a:pt x="613" y="1585"/>
                </a:lnTo>
                <a:lnTo>
                  <a:pt x="616" y="1588"/>
                </a:lnTo>
                <a:lnTo>
                  <a:pt x="617" y="1591"/>
                </a:lnTo>
                <a:lnTo>
                  <a:pt x="616" y="1593"/>
                </a:lnTo>
                <a:lnTo>
                  <a:pt x="611" y="1596"/>
                </a:lnTo>
                <a:lnTo>
                  <a:pt x="607" y="1598"/>
                </a:lnTo>
                <a:lnTo>
                  <a:pt x="600" y="1601"/>
                </a:lnTo>
                <a:lnTo>
                  <a:pt x="583" y="1605"/>
                </a:lnTo>
                <a:lnTo>
                  <a:pt x="560" y="1609"/>
                </a:lnTo>
                <a:lnTo>
                  <a:pt x="535" y="1612"/>
                </a:lnTo>
                <a:lnTo>
                  <a:pt x="474" y="1620"/>
                </a:lnTo>
                <a:lnTo>
                  <a:pt x="443" y="1624"/>
                </a:lnTo>
                <a:lnTo>
                  <a:pt x="412" y="1629"/>
                </a:lnTo>
                <a:lnTo>
                  <a:pt x="382" y="1636"/>
                </a:lnTo>
                <a:lnTo>
                  <a:pt x="356" y="1642"/>
                </a:lnTo>
                <a:lnTo>
                  <a:pt x="344" y="1646"/>
                </a:lnTo>
                <a:lnTo>
                  <a:pt x="332" y="1650"/>
                </a:lnTo>
                <a:lnTo>
                  <a:pt x="322" y="1654"/>
                </a:lnTo>
                <a:lnTo>
                  <a:pt x="314" y="1659"/>
                </a:lnTo>
                <a:lnTo>
                  <a:pt x="307" y="1664"/>
                </a:lnTo>
                <a:lnTo>
                  <a:pt x="302" y="1669"/>
                </a:lnTo>
                <a:lnTo>
                  <a:pt x="298" y="1676"/>
                </a:lnTo>
                <a:lnTo>
                  <a:pt x="296" y="1682"/>
                </a:lnTo>
                <a:lnTo>
                  <a:pt x="296" y="1682"/>
                </a:lnTo>
                <a:lnTo>
                  <a:pt x="295" y="1687"/>
                </a:lnTo>
                <a:lnTo>
                  <a:pt x="295" y="1696"/>
                </a:lnTo>
                <a:lnTo>
                  <a:pt x="296" y="1707"/>
                </a:lnTo>
                <a:lnTo>
                  <a:pt x="298" y="1713"/>
                </a:lnTo>
                <a:lnTo>
                  <a:pt x="300" y="1718"/>
                </a:lnTo>
                <a:lnTo>
                  <a:pt x="300" y="1718"/>
                </a:lnTo>
                <a:lnTo>
                  <a:pt x="301" y="1725"/>
                </a:lnTo>
                <a:lnTo>
                  <a:pt x="301" y="1731"/>
                </a:lnTo>
                <a:lnTo>
                  <a:pt x="298" y="1737"/>
                </a:lnTo>
                <a:lnTo>
                  <a:pt x="293" y="1743"/>
                </a:lnTo>
                <a:lnTo>
                  <a:pt x="283" y="1757"/>
                </a:lnTo>
                <a:lnTo>
                  <a:pt x="269" y="1775"/>
                </a:lnTo>
                <a:lnTo>
                  <a:pt x="261" y="1785"/>
                </a:lnTo>
                <a:lnTo>
                  <a:pt x="254" y="1795"/>
                </a:lnTo>
                <a:lnTo>
                  <a:pt x="246" y="1807"/>
                </a:lnTo>
                <a:lnTo>
                  <a:pt x="240" y="1820"/>
                </a:lnTo>
                <a:lnTo>
                  <a:pt x="234" y="1834"/>
                </a:lnTo>
                <a:lnTo>
                  <a:pt x="230" y="1849"/>
                </a:lnTo>
                <a:lnTo>
                  <a:pt x="226" y="1866"/>
                </a:lnTo>
                <a:lnTo>
                  <a:pt x="225" y="1884"/>
                </a:lnTo>
                <a:lnTo>
                  <a:pt x="225" y="1884"/>
                </a:lnTo>
                <a:lnTo>
                  <a:pt x="225" y="1893"/>
                </a:lnTo>
                <a:lnTo>
                  <a:pt x="225" y="1902"/>
                </a:lnTo>
                <a:lnTo>
                  <a:pt x="228" y="1920"/>
                </a:lnTo>
                <a:lnTo>
                  <a:pt x="233" y="1937"/>
                </a:lnTo>
                <a:lnTo>
                  <a:pt x="239" y="1953"/>
                </a:lnTo>
                <a:lnTo>
                  <a:pt x="247" y="1968"/>
                </a:lnTo>
                <a:lnTo>
                  <a:pt x="257" y="1982"/>
                </a:lnTo>
                <a:lnTo>
                  <a:pt x="267" y="1995"/>
                </a:lnTo>
                <a:lnTo>
                  <a:pt x="277" y="2007"/>
                </a:lnTo>
                <a:lnTo>
                  <a:pt x="287" y="2017"/>
                </a:lnTo>
                <a:lnTo>
                  <a:pt x="298" y="2026"/>
                </a:lnTo>
                <a:lnTo>
                  <a:pt x="315" y="2042"/>
                </a:lnTo>
                <a:lnTo>
                  <a:pt x="327" y="2050"/>
                </a:lnTo>
                <a:lnTo>
                  <a:pt x="332" y="2054"/>
                </a:lnTo>
                <a:lnTo>
                  <a:pt x="332" y="2054"/>
                </a:lnTo>
                <a:lnTo>
                  <a:pt x="334" y="2050"/>
                </a:lnTo>
                <a:lnTo>
                  <a:pt x="335" y="2045"/>
                </a:lnTo>
                <a:lnTo>
                  <a:pt x="335" y="2036"/>
                </a:lnTo>
                <a:lnTo>
                  <a:pt x="334" y="2027"/>
                </a:lnTo>
                <a:lnTo>
                  <a:pt x="331" y="2006"/>
                </a:lnTo>
                <a:lnTo>
                  <a:pt x="328" y="1980"/>
                </a:lnTo>
                <a:lnTo>
                  <a:pt x="327" y="1968"/>
                </a:lnTo>
                <a:lnTo>
                  <a:pt x="326" y="1955"/>
                </a:lnTo>
                <a:lnTo>
                  <a:pt x="326" y="1943"/>
                </a:lnTo>
                <a:lnTo>
                  <a:pt x="328" y="1932"/>
                </a:lnTo>
                <a:lnTo>
                  <a:pt x="330" y="1922"/>
                </a:lnTo>
                <a:lnTo>
                  <a:pt x="334" y="1913"/>
                </a:lnTo>
                <a:lnTo>
                  <a:pt x="337" y="1910"/>
                </a:lnTo>
                <a:lnTo>
                  <a:pt x="341" y="1906"/>
                </a:lnTo>
                <a:lnTo>
                  <a:pt x="344" y="1904"/>
                </a:lnTo>
                <a:lnTo>
                  <a:pt x="348" y="1901"/>
                </a:lnTo>
                <a:lnTo>
                  <a:pt x="348" y="1901"/>
                </a:lnTo>
                <a:lnTo>
                  <a:pt x="353" y="1900"/>
                </a:lnTo>
                <a:lnTo>
                  <a:pt x="357" y="1900"/>
                </a:lnTo>
                <a:lnTo>
                  <a:pt x="362" y="1901"/>
                </a:lnTo>
                <a:lnTo>
                  <a:pt x="366" y="1905"/>
                </a:lnTo>
                <a:lnTo>
                  <a:pt x="375" y="1912"/>
                </a:lnTo>
                <a:lnTo>
                  <a:pt x="386" y="1921"/>
                </a:lnTo>
                <a:lnTo>
                  <a:pt x="397" y="1932"/>
                </a:lnTo>
                <a:lnTo>
                  <a:pt x="410" y="1941"/>
                </a:lnTo>
                <a:lnTo>
                  <a:pt x="417" y="1946"/>
                </a:lnTo>
                <a:lnTo>
                  <a:pt x="424" y="1950"/>
                </a:lnTo>
                <a:lnTo>
                  <a:pt x="434" y="1953"/>
                </a:lnTo>
                <a:lnTo>
                  <a:pt x="442" y="1955"/>
                </a:lnTo>
                <a:lnTo>
                  <a:pt x="442" y="1955"/>
                </a:lnTo>
                <a:lnTo>
                  <a:pt x="451" y="1955"/>
                </a:lnTo>
                <a:lnTo>
                  <a:pt x="460" y="1955"/>
                </a:lnTo>
                <a:lnTo>
                  <a:pt x="468" y="1954"/>
                </a:lnTo>
                <a:lnTo>
                  <a:pt x="478" y="1952"/>
                </a:lnTo>
                <a:lnTo>
                  <a:pt x="486" y="1948"/>
                </a:lnTo>
                <a:lnTo>
                  <a:pt x="494" y="1944"/>
                </a:lnTo>
                <a:lnTo>
                  <a:pt x="501" y="1940"/>
                </a:lnTo>
                <a:lnTo>
                  <a:pt x="509" y="1935"/>
                </a:lnTo>
                <a:lnTo>
                  <a:pt x="525" y="1923"/>
                </a:lnTo>
                <a:lnTo>
                  <a:pt x="539" y="1909"/>
                </a:lnTo>
                <a:lnTo>
                  <a:pt x="554" y="1892"/>
                </a:lnTo>
                <a:lnTo>
                  <a:pt x="571" y="1875"/>
                </a:lnTo>
                <a:lnTo>
                  <a:pt x="604" y="1836"/>
                </a:lnTo>
                <a:lnTo>
                  <a:pt x="624" y="1817"/>
                </a:lnTo>
                <a:lnTo>
                  <a:pt x="644" y="1797"/>
                </a:lnTo>
                <a:lnTo>
                  <a:pt x="667" y="1777"/>
                </a:lnTo>
                <a:lnTo>
                  <a:pt x="691" y="1758"/>
                </a:lnTo>
                <a:lnTo>
                  <a:pt x="705" y="1749"/>
                </a:lnTo>
                <a:lnTo>
                  <a:pt x="718" y="1741"/>
                </a:lnTo>
                <a:lnTo>
                  <a:pt x="732" y="1733"/>
                </a:lnTo>
                <a:lnTo>
                  <a:pt x="747" y="1725"/>
                </a:lnTo>
                <a:lnTo>
                  <a:pt x="747" y="1725"/>
                </a:lnTo>
                <a:lnTo>
                  <a:pt x="787" y="1706"/>
                </a:lnTo>
                <a:lnTo>
                  <a:pt x="819" y="1694"/>
                </a:lnTo>
                <a:lnTo>
                  <a:pt x="831" y="1689"/>
                </a:lnTo>
                <a:lnTo>
                  <a:pt x="843" y="1686"/>
                </a:lnTo>
                <a:lnTo>
                  <a:pt x="852" y="1685"/>
                </a:lnTo>
                <a:lnTo>
                  <a:pt x="859" y="1684"/>
                </a:lnTo>
                <a:lnTo>
                  <a:pt x="865" y="1684"/>
                </a:lnTo>
                <a:lnTo>
                  <a:pt x="869" y="1686"/>
                </a:lnTo>
                <a:lnTo>
                  <a:pt x="872" y="1688"/>
                </a:lnTo>
                <a:lnTo>
                  <a:pt x="874" y="1691"/>
                </a:lnTo>
                <a:lnTo>
                  <a:pt x="876" y="1694"/>
                </a:lnTo>
                <a:lnTo>
                  <a:pt x="876" y="1698"/>
                </a:lnTo>
                <a:lnTo>
                  <a:pt x="875" y="1708"/>
                </a:lnTo>
                <a:lnTo>
                  <a:pt x="872" y="1720"/>
                </a:lnTo>
                <a:lnTo>
                  <a:pt x="868" y="1734"/>
                </a:lnTo>
                <a:lnTo>
                  <a:pt x="865" y="1747"/>
                </a:lnTo>
                <a:lnTo>
                  <a:pt x="863" y="1759"/>
                </a:lnTo>
                <a:lnTo>
                  <a:pt x="863" y="1765"/>
                </a:lnTo>
                <a:lnTo>
                  <a:pt x="863" y="1772"/>
                </a:lnTo>
                <a:lnTo>
                  <a:pt x="865" y="1777"/>
                </a:lnTo>
                <a:lnTo>
                  <a:pt x="867" y="1782"/>
                </a:lnTo>
                <a:lnTo>
                  <a:pt x="870" y="1786"/>
                </a:lnTo>
                <a:lnTo>
                  <a:pt x="875" y="1790"/>
                </a:lnTo>
                <a:lnTo>
                  <a:pt x="881" y="1793"/>
                </a:lnTo>
                <a:lnTo>
                  <a:pt x="889" y="1795"/>
                </a:lnTo>
                <a:lnTo>
                  <a:pt x="889" y="1795"/>
                </a:lnTo>
                <a:lnTo>
                  <a:pt x="901" y="1799"/>
                </a:lnTo>
                <a:lnTo>
                  <a:pt x="912" y="1802"/>
                </a:lnTo>
                <a:lnTo>
                  <a:pt x="921" y="1807"/>
                </a:lnTo>
                <a:lnTo>
                  <a:pt x="928" y="1811"/>
                </a:lnTo>
                <a:lnTo>
                  <a:pt x="935" y="1817"/>
                </a:lnTo>
                <a:lnTo>
                  <a:pt x="940" y="1822"/>
                </a:lnTo>
                <a:lnTo>
                  <a:pt x="943" y="1828"/>
                </a:lnTo>
                <a:lnTo>
                  <a:pt x="945" y="1834"/>
                </a:lnTo>
                <a:lnTo>
                  <a:pt x="947" y="1840"/>
                </a:lnTo>
                <a:lnTo>
                  <a:pt x="947" y="1846"/>
                </a:lnTo>
                <a:lnTo>
                  <a:pt x="946" y="1853"/>
                </a:lnTo>
                <a:lnTo>
                  <a:pt x="945" y="1860"/>
                </a:lnTo>
                <a:lnTo>
                  <a:pt x="943" y="1867"/>
                </a:lnTo>
                <a:lnTo>
                  <a:pt x="940" y="1874"/>
                </a:lnTo>
                <a:lnTo>
                  <a:pt x="932" y="1887"/>
                </a:lnTo>
                <a:lnTo>
                  <a:pt x="922" y="1900"/>
                </a:lnTo>
                <a:lnTo>
                  <a:pt x="912" y="1913"/>
                </a:lnTo>
                <a:lnTo>
                  <a:pt x="902" y="1924"/>
                </a:lnTo>
                <a:lnTo>
                  <a:pt x="892" y="1934"/>
                </a:lnTo>
                <a:lnTo>
                  <a:pt x="875" y="1948"/>
                </a:lnTo>
                <a:lnTo>
                  <a:pt x="869" y="1955"/>
                </a:lnTo>
                <a:lnTo>
                  <a:pt x="869" y="1955"/>
                </a:lnTo>
                <a:lnTo>
                  <a:pt x="877" y="1959"/>
                </a:lnTo>
                <a:lnTo>
                  <a:pt x="888" y="1961"/>
                </a:lnTo>
                <a:lnTo>
                  <a:pt x="899" y="1962"/>
                </a:lnTo>
                <a:lnTo>
                  <a:pt x="912" y="1961"/>
                </a:lnTo>
                <a:lnTo>
                  <a:pt x="926" y="1958"/>
                </a:lnTo>
                <a:lnTo>
                  <a:pt x="941" y="1954"/>
                </a:lnTo>
                <a:lnTo>
                  <a:pt x="957" y="1947"/>
                </a:lnTo>
                <a:lnTo>
                  <a:pt x="972" y="1939"/>
                </a:lnTo>
                <a:lnTo>
                  <a:pt x="989" y="1930"/>
                </a:lnTo>
                <a:lnTo>
                  <a:pt x="1004" y="1919"/>
                </a:lnTo>
                <a:lnTo>
                  <a:pt x="1019" y="1906"/>
                </a:lnTo>
                <a:lnTo>
                  <a:pt x="1035" y="1891"/>
                </a:lnTo>
                <a:lnTo>
                  <a:pt x="1048" y="1874"/>
                </a:lnTo>
                <a:lnTo>
                  <a:pt x="1061" y="1855"/>
                </a:lnTo>
                <a:lnTo>
                  <a:pt x="1073" y="1835"/>
                </a:lnTo>
                <a:lnTo>
                  <a:pt x="1083" y="1814"/>
                </a:lnTo>
                <a:lnTo>
                  <a:pt x="1083" y="1814"/>
                </a:lnTo>
                <a:lnTo>
                  <a:pt x="1086" y="1805"/>
                </a:lnTo>
                <a:lnTo>
                  <a:pt x="1089" y="1799"/>
                </a:lnTo>
                <a:lnTo>
                  <a:pt x="1092" y="1794"/>
                </a:lnTo>
                <a:lnTo>
                  <a:pt x="1096" y="1790"/>
                </a:lnTo>
                <a:lnTo>
                  <a:pt x="1100" y="1787"/>
                </a:lnTo>
                <a:lnTo>
                  <a:pt x="1103" y="1784"/>
                </a:lnTo>
                <a:lnTo>
                  <a:pt x="1111" y="1781"/>
                </a:lnTo>
                <a:lnTo>
                  <a:pt x="1120" y="1778"/>
                </a:lnTo>
                <a:lnTo>
                  <a:pt x="1129" y="1774"/>
                </a:lnTo>
                <a:lnTo>
                  <a:pt x="1138" y="1768"/>
                </a:lnTo>
                <a:lnTo>
                  <a:pt x="1143" y="1763"/>
                </a:lnTo>
                <a:lnTo>
                  <a:pt x="1148" y="1758"/>
                </a:lnTo>
                <a:lnTo>
                  <a:pt x="1148" y="1758"/>
                </a:lnTo>
                <a:lnTo>
                  <a:pt x="1151" y="1752"/>
                </a:lnTo>
                <a:lnTo>
                  <a:pt x="1154" y="1746"/>
                </a:lnTo>
                <a:lnTo>
                  <a:pt x="1158" y="1740"/>
                </a:lnTo>
                <a:lnTo>
                  <a:pt x="1159" y="1734"/>
                </a:lnTo>
                <a:lnTo>
                  <a:pt x="1160" y="1719"/>
                </a:lnTo>
                <a:lnTo>
                  <a:pt x="1160" y="1705"/>
                </a:lnTo>
                <a:lnTo>
                  <a:pt x="1160" y="1690"/>
                </a:lnTo>
                <a:lnTo>
                  <a:pt x="1160" y="1676"/>
                </a:lnTo>
                <a:lnTo>
                  <a:pt x="1162" y="1661"/>
                </a:lnTo>
                <a:lnTo>
                  <a:pt x="1164" y="1655"/>
                </a:lnTo>
                <a:lnTo>
                  <a:pt x="1166" y="1649"/>
                </a:lnTo>
                <a:lnTo>
                  <a:pt x="1166" y="1649"/>
                </a:lnTo>
                <a:lnTo>
                  <a:pt x="1170" y="1643"/>
                </a:lnTo>
                <a:lnTo>
                  <a:pt x="1174" y="1638"/>
                </a:lnTo>
                <a:lnTo>
                  <a:pt x="1178" y="1633"/>
                </a:lnTo>
                <a:lnTo>
                  <a:pt x="1183" y="1628"/>
                </a:lnTo>
                <a:lnTo>
                  <a:pt x="1195" y="1620"/>
                </a:lnTo>
                <a:lnTo>
                  <a:pt x="1209" y="1614"/>
                </a:lnTo>
                <a:lnTo>
                  <a:pt x="1223" y="1609"/>
                </a:lnTo>
                <a:lnTo>
                  <a:pt x="1237" y="1605"/>
                </a:lnTo>
                <a:lnTo>
                  <a:pt x="1268" y="1597"/>
                </a:lnTo>
                <a:lnTo>
                  <a:pt x="1298" y="1591"/>
                </a:lnTo>
                <a:lnTo>
                  <a:pt x="1310" y="1587"/>
                </a:lnTo>
                <a:lnTo>
                  <a:pt x="1321" y="1581"/>
                </a:lnTo>
                <a:lnTo>
                  <a:pt x="1329" y="1575"/>
                </a:lnTo>
                <a:lnTo>
                  <a:pt x="1333" y="1572"/>
                </a:lnTo>
                <a:lnTo>
                  <a:pt x="1335" y="1568"/>
                </a:lnTo>
                <a:lnTo>
                  <a:pt x="1338" y="1564"/>
                </a:lnTo>
                <a:lnTo>
                  <a:pt x="1340" y="1559"/>
                </a:lnTo>
                <a:lnTo>
                  <a:pt x="1340" y="1554"/>
                </a:lnTo>
                <a:lnTo>
                  <a:pt x="1340" y="1549"/>
                </a:lnTo>
                <a:lnTo>
                  <a:pt x="1340" y="1549"/>
                </a:lnTo>
                <a:lnTo>
                  <a:pt x="1338" y="1534"/>
                </a:lnTo>
                <a:lnTo>
                  <a:pt x="1338" y="1521"/>
                </a:lnTo>
                <a:lnTo>
                  <a:pt x="1341" y="1509"/>
                </a:lnTo>
                <a:lnTo>
                  <a:pt x="1345" y="1499"/>
                </a:lnTo>
                <a:lnTo>
                  <a:pt x="1350" y="1488"/>
                </a:lnTo>
                <a:lnTo>
                  <a:pt x="1355" y="1480"/>
                </a:lnTo>
                <a:lnTo>
                  <a:pt x="1362" y="1472"/>
                </a:lnTo>
                <a:lnTo>
                  <a:pt x="1370" y="1465"/>
                </a:lnTo>
                <a:lnTo>
                  <a:pt x="1378" y="1459"/>
                </a:lnTo>
                <a:lnTo>
                  <a:pt x="1388" y="1453"/>
                </a:lnTo>
                <a:lnTo>
                  <a:pt x="1406" y="1443"/>
                </a:lnTo>
                <a:lnTo>
                  <a:pt x="1424" y="1435"/>
                </a:lnTo>
                <a:lnTo>
                  <a:pt x="1441" y="1428"/>
                </a:lnTo>
                <a:lnTo>
                  <a:pt x="1441" y="1428"/>
                </a:lnTo>
                <a:lnTo>
                  <a:pt x="1443" y="1428"/>
                </a:lnTo>
                <a:lnTo>
                  <a:pt x="1444" y="1429"/>
                </a:lnTo>
                <a:lnTo>
                  <a:pt x="1447" y="1431"/>
                </a:lnTo>
                <a:lnTo>
                  <a:pt x="1449" y="1436"/>
                </a:lnTo>
                <a:lnTo>
                  <a:pt x="1453" y="1443"/>
                </a:lnTo>
                <a:lnTo>
                  <a:pt x="1461" y="1462"/>
                </a:lnTo>
                <a:lnTo>
                  <a:pt x="1467" y="1473"/>
                </a:lnTo>
                <a:lnTo>
                  <a:pt x="1474" y="1485"/>
                </a:lnTo>
                <a:lnTo>
                  <a:pt x="1484" y="1498"/>
                </a:lnTo>
                <a:lnTo>
                  <a:pt x="1494" y="1511"/>
                </a:lnTo>
                <a:lnTo>
                  <a:pt x="1506" y="1525"/>
                </a:lnTo>
                <a:lnTo>
                  <a:pt x="1522" y="1539"/>
                </a:lnTo>
                <a:lnTo>
                  <a:pt x="1539" y="1552"/>
                </a:lnTo>
                <a:lnTo>
                  <a:pt x="1559" y="1564"/>
                </a:lnTo>
                <a:lnTo>
                  <a:pt x="1583" y="1576"/>
                </a:lnTo>
                <a:lnTo>
                  <a:pt x="1609" y="1587"/>
                </a:lnTo>
                <a:lnTo>
                  <a:pt x="1609" y="1587"/>
                </a:lnTo>
                <a:lnTo>
                  <a:pt x="1684" y="1556"/>
                </a:lnTo>
                <a:lnTo>
                  <a:pt x="1730" y="1534"/>
                </a:lnTo>
                <a:lnTo>
                  <a:pt x="1757" y="1521"/>
                </a:lnTo>
                <a:lnTo>
                  <a:pt x="1786" y="1506"/>
                </a:lnTo>
                <a:lnTo>
                  <a:pt x="1786" y="1506"/>
                </a:lnTo>
                <a:lnTo>
                  <a:pt x="1818" y="1489"/>
                </a:lnTo>
                <a:lnTo>
                  <a:pt x="1848" y="1472"/>
                </a:lnTo>
                <a:lnTo>
                  <a:pt x="1860" y="1464"/>
                </a:lnTo>
                <a:lnTo>
                  <a:pt x="1871" y="1457"/>
                </a:lnTo>
                <a:lnTo>
                  <a:pt x="1881" y="1449"/>
                </a:lnTo>
                <a:lnTo>
                  <a:pt x="1889" y="1442"/>
                </a:lnTo>
                <a:lnTo>
                  <a:pt x="1889" y="1442"/>
                </a:lnTo>
                <a:lnTo>
                  <a:pt x="1888" y="1440"/>
                </a:lnTo>
                <a:lnTo>
                  <a:pt x="1887" y="1438"/>
                </a:lnTo>
                <a:lnTo>
                  <a:pt x="1879" y="1431"/>
                </a:lnTo>
                <a:lnTo>
                  <a:pt x="1868" y="1420"/>
                </a:lnTo>
                <a:lnTo>
                  <a:pt x="1855" y="1406"/>
                </a:lnTo>
                <a:lnTo>
                  <a:pt x="1840" y="1388"/>
                </a:lnTo>
                <a:lnTo>
                  <a:pt x="1825" y="1369"/>
                </a:lnTo>
                <a:lnTo>
                  <a:pt x="1818" y="1358"/>
                </a:lnTo>
                <a:lnTo>
                  <a:pt x="1812" y="1345"/>
                </a:lnTo>
                <a:lnTo>
                  <a:pt x="1807" y="1334"/>
                </a:lnTo>
                <a:lnTo>
                  <a:pt x="1802" y="1321"/>
                </a:lnTo>
                <a:lnTo>
                  <a:pt x="1802" y="1321"/>
                </a:lnTo>
                <a:lnTo>
                  <a:pt x="1799" y="1308"/>
                </a:lnTo>
                <a:lnTo>
                  <a:pt x="1796" y="1297"/>
                </a:lnTo>
                <a:lnTo>
                  <a:pt x="1794" y="1288"/>
                </a:lnTo>
                <a:lnTo>
                  <a:pt x="1794" y="1279"/>
                </a:lnTo>
                <a:lnTo>
                  <a:pt x="1794" y="1272"/>
                </a:lnTo>
                <a:lnTo>
                  <a:pt x="1794" y="1267"/>
                </a:lnTo>
                <a:lnTo>
                  <a:pt x="1795" y="1263"/>
                </a:lnTo>
                <a:lnTo>
                  <a:pt x="1796" y="1261"/>
                </a:lnTo>
                <a:lnTo>
                  <a:pt x="1796" y="1261"/>
                </a:lnTo>
                <a:lnTo>
                  <a:pt x="1809" y="1278"/>
                </a:lnTo>
                <a:lnTo>
                  <a:pt x="1824" y="1295"/>
                </a:lnTo>
                <a:lnTo>
                  <a:pt x="1845" y="1316"/>
                </a:lnTo>
                <a:lnTo>
                  <a:pt x="1857" y="1327"/>
                </a:lnTo>
                <a:lnTo>
                  <a:pt x="1869" y="1338"/>
                </a:lnTo>
                <a:lnTo>
                  <a:pt x="1883" y="1349"/>
                </a:lnTo>
                <a:lnTo>
                  <a:pt x="1899" y="1361"/>
                </a:lnTo>
                <a:lnTo>
                  <a:pt x="1915" y="1372"/>
                </a:lnTo>
                <a:lnTo>
                  <a:pt x="1932" y="1381"/>
                </a:lnTo>
                <a:lnTo>
                  <a:pt x="1949" y="1390"/>
                </a:lnTo>
                <a:lnTo>
                  <a:pt x="1967" y="1398"/>
                </a:lnTo>
                <a:lnTo>
                  <a:pt x="1967" y="1398"/>
                </a:lnTo>
                <a:lnTo>
                  <a:pt x="2021" y="1370"/>
                </a:lnTo>
                <a:lnTo>
                  <a:pt x="2075" y="1340"/>
                </a:lnTo>
                <a:lnTo>
                  <a:pt x="2129" y="1307"/>
                </a:lnTo>
                <a:lnTo>
                  <a:pt x="2183" y="1273"/>
                </a:lnTo>
                <a:lnTo>
                  <a:pt x="2183" y="1273"/>
                </a:lnTo>
                <a:lnTo>
                  <a:pt x="2218" y="1249"/>
                </a:lnTo>
                <a:lnTo>
                  <a:pt x="2218" y="1249"/>
                </a:lnTo>
                <a:lnTo>
                  <a:pt x="2219" y="1248"/>
                </a:lnTo>
                <a:lnTo>
                  <a:pt x="2219" y="1248"/>
                </a:lnTo>
                <a:lnTo>
                  <a:pt x="2220" y="1246"/>
                </a:lnTo>
                <a:lnTo>
                  <a:pt x="2219" y="1244"/>
                </a:lnTo>
                <a:lnTo>
                  <a:pt x="2215" y="1237"/>
                </a:lnTo>
                <a:lnTo>
                  <a:pt x="2207" y="1228"/>
                </a:lnTo>
                <a:lnTo>
                  <a:pt x="2196" y="1217"/>
                </a:lnTo>
                <a:lnTo>
                  <a:pt x="2171" y="1193"/>
                </a:lnTo>
                <a:lnTo>
                  <a:pt x="2142" y="1164"/>
                </a:lnTo>
                <a:lnTo>
                  <a:pt x="2129" y="1150"/>
                </a:lnTo>
                <a:lnTo>
                  <a:pt x="2118" y="1136"/>
                </a:lnTo>
                <a:lnTo>
                  <a:pt x="2108" y="1121"/>
                </a:lnTo>
                <a:lnTo>
                  <a:pt x="2104" y="1114"/>
                </a:lnTo>
                <a:lnTo>
                  <a:pt x="2101" y="1108"/>
                </a:lnTo>
                <a:lnTo>
                  <a:pt x="2100" y="1101"/>
                </a:lnTo>
                <a:lnTo>
                  <a:pt x="2099" y="1095"/>
                </a:lnTo>
                <a:lnTo>
                  <a:pt x="2099" y="1089"/>
                </a:lnTo>
                <a:lnTo>
                  <a:pt x="2100" y="1084"/>
                </a:lnTo>
                <a:lnTo>
                  <a:pt x="2102" y="1078"/>
                </a:lnTo>
                <a:lnTo>
                  <a:pt x="2106" y="1073"/>
                </a:lnTo>
                <a:lnTo>
                  <a:pt x="2112" y="1069"/>
                </a:lnTo>
                <a:lnTo>
                  <a:pt x="2119" y="1065"/>
                </a:lnTo>
                <a:lnTo>
                  <a:pt x="2119" y="1065"/>
                </a:lnTo>
                <a:lnTo>
                  <a:pt x="2125" y="1061"/>
                </a:lnTo>
                <a:lnTo>
                  <a:pt x="2130" y="1056"/>
                </a:lnTo>
                <a:lnTo>
                  <a:pt x="2133" y="1051"/>
                </a:lnTo>
                <a:lnTo>
                  <a:pt x="2135" y="1045"/>
                </a:lnTo>
                <a:lnTo>
                  <a:pt x="2136" y="1039"/>
                </a:lnTo>
                <a:lnTo>
                  <a:pt x="2136" y="1030"/>
                </a:lnTo>
                <a:lnTo>
                  <a:pt x="2136" y="1023"/>
                </a:lnTo>
                <a:lnTo>
                  <a:pt x="2134" y="1014"/>
                </a:lnTo>
                <a:lnTo>
                  <a:pt x="2129" y="997"/>
                </a:lnTo>
                <a:lnTo>
                  <a:pt x="2121" y="977"/>
                </a:lnTo>
                <a:lnTo>
                  <a:pt x="2102" y="935"/>
                </a:lnTo>
                <a:lnTo>
                  <a:pt x="2093" y="914"/>
                </a:lnTo>
                <a:lnTo>
                  <a:pt x="2085" y="893"/>
                </a:lnTo>
                <a:lnTo>
                  <a:pt x="2078" y="873"/>
                </a:lnTo>
                <a:lnTo>
                  <a:pt x="2076" y="863"/>
                </a:lnTo>
                <a:lnTo>
                  <a:pt x="2074" y="853"/>
                </a:lnTo>
                <a:lnTo>
                  <a:pt x="2074" y="844"/>
                </a:lnTo>
                <a:lnTo>
                  <a:pt x="2074" y="836"/>
                </a:lnTo>
                <a:lnTo>
                  <a:pt x="2075" y="828"/>
                </a:lnTo>
                <a:lnTo>
                  <a:pt x="2077" y="821"/>
                </a:lnTo>
                <a:lnTo>
                  <a:pt x="2080" y="814"/>
                </a:lnTo>
                <a:lnTo>
                  <a:pt x="2085" y="807"/>
                </a:lnTo>
                <a:lnTo>
                  <a:pt x="2091" y="801"/>
                </a:lnTo>
                <a:lnTo>
                  <a:pt x="2099" y="797"/>
                </a:lnTo>
                <a:lnTo>
                  <a:pt x="2099" y="797"/>
                </a:lnTo>
                <a:lnTo>
                  <a:pt x="2200" y="744"/>
                </a:lnTo>
                <a:lnTo>
                  <a:pt x="2306" y="693"/>
                </a:lnTo>
                <a:lnTo>
                  <a:pt x="2410" y="642"/>
                </a:lnTo>
                <a:lnTo>
                  <a:pt x="2513" y="592"/>
                </a:lnTo>
                <a:lnTo>
                  <a:pt x="2705" y="501"/>
                </a:lnTo>
                <a:lnTo>
                  <a:pt x="2788" y="461"/>
                </a:lnTo>
                <a:lnTo>
                  <a:pt x="2863" y="424"/>
                </a:lnTo>
                <a:lnTo>
                  <a:pt x="2863" y="424"/>
                </a:lnTo>
                <a:lnTo>
                  <a:pt x="2859" y="408"/>
                </a:lnTo>
                <a:lnTo>
                  <a:pt x="2853" y="389"/>
                </a:lnTo>
                <a:lnTo>
                  <a:pt x="2843" y="366"/>
                </a:lnTo>
                <a:lnTo>
                  <a:pt x="2836" y="354"/>
                </a:lnTo>
                <a:lnTo>
                  <a:pt x="2829" y="339"/>
                </a:lnTo>
                <a:lnTo>
                  <a:pt x="2821" y="325"/>
                </a:lnTo>
                <a:lnTo>
                  <a:pt x="2812" y="311"/>
                </a:lnTo>
                <a:lnTo>
                  <a:pt x="2801" y="296"/>
                </a:lnTo>
                <a:lnTo>
                  <a:pt x="2788" y="281"/>
                </a:lnTo>
                <a:lnTo>
                  <a:pt x="2774" y="267"/>
                </a:lnTo>
                <a:lnTo>
                  <a:pt x="2759" y="25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5" name="Freeform 32"/>
          <p:cNvSpPr>
            <a:spLocks/>
          </p:cNvSpPr>
          <p:nvPr userDrawn="1"/>
        </p:nvSpPr>
        <p:spPr bwMode="auto">
          <a:xfrm>
            <a:off x="7194550" y="1861840"/>
            <a:ext cx="161925" cy="153988"/>
          </a:xfrm>
          <a:custGeom>
            <a:avLst/>
            <a:gdLst>
              <a:gd name="T0" fmla="*/ 2 w 1226"/>
              <a:gd name="T1" fmla="*/ 386 h 1168"/>
              <a:gd name="T2" fmla="*/ 22 w 1226"/>
              <a:gd name="T3" fmla="*/ 434 h 1168"/>
              <a:gd name="T4" fmla="*/ 61 w 1226"/>
              <a:gd name="T5" fmla="*/ 466 h 1168"/>
              <a:gd name="T6" fmla="*/ 120 w 1226"/>
              <a:gd name="T7" fmla="*/ 479 h 1168"/>
              <a:gd name="T8" fmla="*/ 142 w 1226"/>
              <a:gd name="T9" fmla="*/ 469 h 1168"/>
              <a:gd name="T10" fmla="*/ 160 w 1226"/>
              <a:gd name="T11" fmla="*/ 436 h 1168"/>
              <a:gd name="T12" fmla="*/ 164 w 1226"/>
              <a:gd name="T13" fmla="*/ 370 h 1168"/>
              <a:gd name="T14" fmla="*/ 174 w 1226"/>
              <a:gd name="T15" fmla="*/ 344 h 1168"/>
              <a:gd name="T16" fmla="*/ 198 w 1226"/>
              <a:gd name="T17" fmla="*/ 331 h 1168"/>
              <a:gd name="T18" fmla="*/ 223 w 1226"/>
              <a:gd name="T19" fmla="*/ 318 h 1168"/>
              <a:gd name="T20" fmla="*/ 427 w 1226"/>
              <a:gd name="T21" fmla="*/ 416 h 1168"/>
              <a:gd name="T22" fmla="*/ 628 w 1226"/>
              <a:gd name="T23" fmla="*/ 534 h 1168"/>
              <a:gd name="T24" fmla="*/ 876 w 1226"/>
              <a:gd name="T25" fmla="*/ 703 h 1168"/>
              <a:gd name="T26" fmla="*/ 868 w 1226"/>
              <a:gd name="T27" fmla="*/ 783 h 1168"/>
              <a:gd name="T28" fmla="*/ 779 w 1226"/>
              <a:gd name="T29" fmla="*/ 957 h 1168"/>
              <a:gd name="T30" fmla="*/ 753 w 1226"/>
              <a:gd name="T31" fmla="*/ 1040 h 1168"/>
              <a:gd name="T32" fmla="*/ 754 w 1226"/>
              <a:gd name="T33" fmla="*/ 1090 h 1168"/>
              <a:gd name="T34" fmla="*/ 771 w 1226"/>
              <a:gd name="T35" fmla="*/ 1130 h 1168"/>
              <a:gd name="T36" fmla="*/ 801 w 1226"/>
              <a:gd name="T37" fmla="*/ 1157 h 1168"/>
              <a:gd name="T38" fmla="*/ 842 w 1226"/>
              <a:gd name="T39" fmla="*/ 1168 h 1168"/>
              <a:gd name="T40" fmla="*/ 880 w 1226"/>
              <a:gd name="T41" fmla="*/ 1163 h 1168"/>
              <a:gd name="T42" fmla="*/ 919 w 1226"/>
              <a:gd name="T43" fmla="*/ 1140 h 1168"/>
              <a:gd name="T44" fmla="*/ 944 w 1226"/>
              <a:gd name="T45" fmla="*/ 1107 h 1168"/>
              <a:gd name="T46" fmla="*/ 952 w 1226"/>
              <a:gd name="T47" fmla="*/ 1060 h 1168"/>
              <a:gd name="T48" fmla="*/ 930 w 1226"/>
              <a:gd name="T49" fmla="*/ 1010 h 1168"/>
              <a:gd name="T50" fmla="*/ 885 w 1226"/>
              <a:gd name="T51" fmla="*/ 989 h 1168"/>
              <a:gd name="T52" fmla="*/ 919 w 1226"/>
              <a:gd name="T53" fmla="*/ 879 h 1168"/>
              <a:gd name="T54" fmla="*/ 954 w 1226"/>
              <a:gd name="T55" fmla="*/ 807 h 1168"/>
              <a:gd name="T56" fmla="*/ 1024 w 1226"/>
              <a:gd name="T57" fmla="*/ 715 h 1168"/>
              <a:gd name="T58" fmla="*/ 1095 w 1226"/>
              <a:gd name="T59" fmla="*/ 673 h 1168"/>
              <a:gd name="T60" fmla="*/ 1125 w 1226"/>
              <a:gd name="T61" fmla="*/ 670 h 1168"/>
              <a:gd name="T62" fmla="*/ 1099 w 1226"/>
              <a:gd name="T63" fmla="*/ 633 h 1168"/>
              <a:gd name="T64" fmla="*/ 1083 w 1226"/>
              <a:gd name="T65" fmla="*/ 543 h 1168"/>
              <a:gd name="T66" fmla="*/ 1096 w 1226"/>
              <a:gd name="T67" fmla="*/ 477 h 1168"/>
              <a:gd name="T68" fmla="*/ 1132 w 1226"/>
              <a:gd name="T69" fmla="*/ 395 h 1168"/>
              <a:gd name="T70" fmla="*/ 1195 w 1226"/>
              <a:gd name="T71" fmla="*/ 258 h 1168"/>
              <a:gd name="T72" fmla="*/ 1225 w 1226"/>
              <a:gd name="T73" fmla="*/ 141 h 1168"/>
              <a:gd name="T74" fmla="*/ 1217 w 1226"/>
              <a:gd name="T75" fmla="*/ 95 h 1168"/>
              <a:gd name="T76" fmla="*/ 1187 w 1226"/>
              <a:gd name="T77" fmla="*/ 55 h 1168"/>
              <a:gd name="T78" fmla="*/ 1144 w 1226"/>
              <a:gd name="T79" fmla="*/ 34 h 1168"/>
              <a:gd name="T80" fmla="*/ 1104 w 1226"/>
              <a:gd name="T81" fmla="*/ 35 h 1168"/>
              <a:gd name="T82" fmla="*/ 1061 w 1226"/>
              <a:gd name="T83" fmla="*/ 57 h 1168"/>
              <a:gd name="T84" fmla="*/ 1033 w 1226"/>
              <a:gd name="T85" fmla="*/ 94 h 1168"/>
              <a:gd name="T86" fmla="*/ 1025 w 1226"/>
              <a:gd name="T87" fmla="*/ 139 h 1168"/>
              <a:gd name="T88" fmla="*/ 1048 w 1226"/>
              <a:gd name="T89" fmla="*/ 205 h 1168"/>
              <a:gd name="T90" fmla="*/ 1095 w 1226"/>
              <a:gd name="T91" fmla="*/ 230 h 1168"/>
              <a:gd name="T92" fmla="*/ 1107 w 1226"/>
              <a:gd name="T93" fmla="*/ 240 h 1168"/>
              <a:gd name="T94" fmla="*/ 1044 w 1226"/>
              <a:gd name="T95" fmla="*/ 390 h 1168"/>
              <a:gd name="T96" fmla="*/ 975 w 1226"/>
              <a:gd name="T97" fmla="*/ 431 h 1168"/>
              <a:gd name="T98" fmla="*/ 717 w 1226"/>
              <a:gd name="T99" fmla="*/ 289 h 1168"/>
              <a:gd name="T100" fmla="*/ 529 w 1226"/>
              <a:gd name="T101" fmla="*/ 205 h 1168"/>
              <a:gd name="T102" fmla="*/ 317 w 1226"/>
              <a:gd name="T103" fmla="*/ 140 h 1168"/>
              <a:gd name="T104" fmla="*/ 378 w 1226"/>
              <a:gd name="T105" fmla="*/ 31 h 1168"/>
              <a:gd name="T106" fmla="*/ 389 w 1226"/>
              <a:gd name="T107" fmla="*/ 0 h 1168"/>
              <a:gd name="T108" fmla="*/ 367 w 1226"/>
              <a:gd name="T109" fmla="*/ 10 h 1168"/>
              <a:gd name="T110" fmla="*/ 285 w 1226"/>
              <a:gd name="T111" fmla="*/ 57 h 1168"/>
              <a:gd name="T112" fmla="*/ 211 w 1226"/>
              <a:gd name="T113" fmla="*/ 85 h 1168"/>
              <a:gd name="T114" fmla="*/ 147 w 1226"/>
              <a:gd name="T115" fmla="*/ 85 h 1168"/>
              <a:gd name="T116" fmla="*/ 114 w 1226"/>
              <a:gd name="T117" fmla="*/ 85 h 1168"/>
              <a:gd name="T118" fmla="*/ 87 w 1226"/>
              <a:gd name="T119" fmla="*/ 134 h 1168"/>
              <a:gd name="T120" fmla="*/ 42 w 1226"/>
              <a:gd name="T121" fmla="*/ 261 h 1168"/>
              <a:gd name="T122" fmla="*/ 6 w 1226"/>
              <a:gd name="T123" fmla="*/ 327 h 1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6" h="1168">
                <a:moveTo>
                  <a:pt x="1" y="345"/>
                </a:moveTo>
                <a:lnTo>
                  <a:pt x="1" y="345"/>
                </a:lnTo>
                <a:lnTo>
                  <a:pt x="0" y="359"/>
                </a:lnTo>
                <a:lnTo>
                  <a:pt x="0" y="370"/>
                </a:lnTo>
                <a:lnTo>
                  <a:pt x="2" y="386"/>
                </a:lnTo>
                <a:lnTo>
                  <a:pt x="5" y="401"/>
                </a:lnTo>
                <a:lnTo>
                  <a:pt x="8" y="409"/>
                </a:lnTo>
                <a:lnTo>
                  <a:pt x="11" y="417"/>
                </a:lnTo>
                <a:lnTo>
                  <a:pt x="16" y="425"/>
                </a:lnTo>
                <a:lnTo>
                  <a:pt x="22" y="434"/>
                </a:lnTo>
                <a:lnTo>
                  <a:pt x="28" y="442"/>
                </a:lnTo>
                <a:lnTo>
                  <a:pt x="36" y="449"/>
                </a:lnTo>
                <a:lnTo>
                  <a:pt x="36" y="449"/>
                </a:lnTo>
                <a:lnTo>
                  <a:pt x="48" y="458"/>
                </a:lnTo>
                <a:lnTo>
                  <a:pt x="61" y="466"/>
                </a:lnTo>
                <a:lnTo>
                  <a:pt x="76" y="473"/>
                </a:lnTo>
                <a:lnTo>
                  <a:pt x="91" y="478"/>
                </a:lnTo>
                <a:lnTo>
                  <a:pt x="105" y="480"/>
                </a:lnTo>
                <a:lnTo>
                  <a:pt x="113" y="480"/>
                </a:lnTo>
                <a:lnTo>
                  <a:pt x="120" y="479"/>
                </a:lnTo>
                <a:lnTo>
                  <a:pt x="126" y="478"/>
                </a:lnTo>
                <a:lnTo>
                  <a:pt x="132" y="476"/>
                </a:lnTo>
                <a:lnTo>
                  <a:pt x="137" y="473"/>
                </a:lnTo>
                <a:lnTo>
                  <a:pt x="142" y="469"/>
                </a:lnTo>
                <a:lnTo>
                  <a:pt x="142" y="469"/>
                </a:lnTo>
                <a:lnTo>
                  <a:pt x="147" y="464"/>
                </a:lnTo>
                <a:lnTo>
                  <a:pt x="152" y="457"/>
                </a:lnTo>
                <a:lnTo>
                  <a:pt x="155" y="451"/>
                </a:lnTo>
                <a:lnTo>
                  <a:pt x="158" y="444"/>
                </a:lnTo>
                <a:lnTo>
                  <a:pt x="160" y="436"/>
                </a:lnTo>
                <a:lnTo>
                  <a:pt x="161" y="428"/>
                </a:lnTo>
                <a:lnTo>
                  <a:pt x="162" y="411"/>
                </a:lnTo>
                <a:lnTo>
                  <a:pt x="162" y="395"/>
                </a:lnTo>
                <a:lnTo>
                  <a:pt x="163" y="378"/>
                </a:lnTo>
                <a:lnTo>
                  <a:pt x="164" y="370"/>
                </a:lnTo>
                <a:lnTo>
                  <a:pt x="166" y="362"/>
                </a:lnTo>
                <a:lnTo>
                  <a:pt x="168" y="355"/>
                </a:lnTo>
                <a:lnTo>
                  <a:pt x="172" y="347"/>
                </a:lnTo>
                <a:lnTo>
                  <a:pt x="172" y="347"/>
                </a:lnTo>
                <a:lnTo>
                  <a:pt x="174" y="344"/>
                </a:lnTo>
                <a:lnTo>
                  <a:pt x="178" y="341"/>
                </a:lnTo>
                <a:lnTo>
                  <a:pt x="187" y="335"/>
                </a:lnTo>
                <a:lnTo>
                  <a:pt x="195" y="332"/>
                </a:lnTo>
                <a:lnTo>
                  <a:pt x="198" y="331"/>
                </a:lnTo>
                <a:lnTo>
                  <a:pt x="198" y="331"/>
                </a:lnTo>
                <a:lnTo>
                  <a:pt x="205" y="329"/>
                </a:lnTo>
                <a:lnTo>
                  <a:pt x="211" y="326"/>
                </a:lnTo>
                <a:lnTo>
                  <a:pt x="217" y="323"/>
                </a:lnTo>
                <a:lnTo>
                  <a:pt x="223" y="318"/>
                </a:lnTo>
                <a:lnTo>
                  <a:pt x="223" y="318"/>
                </a:lnTo>
                <a:lnTo>
                  <a:pt x="264" y="337"/>
                </a:lnTo>
                <a:lnTo>
                  <a:pt x="305" y="355"/>
                </a:lnTo>
                <a:lnTo>
                  <a:pt x="347" y="374"/>
                </a:lnTo>
                <a:lnTo>
                  <a:pt x="388" y="395"/>
                </a:lnTo>
                <a:lnTo>
                  <a:pt x="427" y="416"/>
                </a:lnTo>
                <a:lnTo>
                  <a:pt x="468" y="439"/>
                </a:lnTo>
                <a:lnTo>
                  <a:pt x="509" y="461"/>
                </a:lnTo>
                <a:lnTo>
                  <a:pt x="549" y="485"/>
                </a:lnTo>
                <a:lnTo>
                  <a:pt x="589" y="509"/>
                </a:lnTo>
                <a:lnTo>
                  <a:pt x="628" y="534"/>
                </a:lnTo>
                <a:lnTo>
                  <a:pt x="706" y="584"/>
                </a:lnTo>
                <a:lnTo>
                  <a:pt x="782" y="636"/>
                </a:lnTo>
                <a:lnTo>
                  <a:pt x="857" y="689"/>
                </a:lnTo>
                <a:lnTo>
                  <a:pt x="857" y="689"/>
                </a:lnTo>
                <a:lnTo>
                  <a:pt x="876" y="703"/>
                </a:lnTo>
                <a:lnTo>
                  <a:pt x="894" y="714"/>
                </a:lnTo>
                <a:lnTo>
                  <a:pt x="894" y="714"/>
                </a:lnTo>
                <a:lnTo>
                  <a:pt x="887" y="736"/>
                </a:lnTo>
                <a:lnTo>
                  <a:pt x="878" y="759"/>
                </a:lnTo>
                <a:lnTo>
                  <a:pt x="868" y="783"/>
                </a:lnTo>
                <a:lnTo>
                  <a:pt x="856" y="809"/>
                </a:lnTo>
                <a:lnTo>
                  <a:pt x="856" y="809"/>
                </a:lnTo>
                <a:lnTo>
                  <a:pt x="816" y="885"/>
                </a:lnTo>
                <a:lnTo>
                  <a:pt x="797" y="921"/>
                </a:lnTo>
                <a:lnTo>
                  <a:pt x="779" y="957"/>
                </a:lnTo>
                <a:lnTo>
                  <a:pt x="772" y="975"/>
                </a:lnTo>
                <a:lnTo>
                  <a:pt x="766" y="992"/>
                </a:lnTo>
                <a:lnTo>
                  <a:pt x="760" y="1008"/>
                </a:lnTo>
                <a:lnTo>
                  <a:pt x="756" y="1025"/>
                </a:lnTo>
                <a:lnTo>
                  <a:pt x="753" y="1040"/>
                </a:lnTo>
                <a:lnTo>
                  <a:pt x="751" y="1054"/>
                </a:lnTo>
                <a:lnTo>
                  <a:pt x="751" y="1069"/>
                </a:lnTo>
                <a:lnTo>
                  <a:pt x="752" y="1081"/>
                </a:lnTo>
                <a:lnTo>
                  <a:pt x="752" y="1081"/>
                </a:lnTo>
                <a:lnTo>
                  <a:pt x="754" y="1090"/>
                </a:lnTo>
                <a:lnTo>
                  <a:pt x="756" y="1099"/>
                </a:lnTo>
                <a:lnTo>
                  <a:pt x="759" y="1107"/>
                </a:lnTo>
                <a:lnTo>
                  <a:pt x="762" y="1116"/>
                </a:lnTo>
                <a:lnTo>
                  <a:pt x="766" y="1123"/>
                </a:lnTo>
                <a:lnTo>
                  <a:pt x="771" y="1130"/>
                </a:lnTo>
                <a:lnTo>
                  <a:pt x="776" y="1136"/>
                </a:lnTo>
                <a:lnTo>
                  <a:pt x="781" y="1142"/>
                </a:lnTo>
                <a:lnTo>
                  <a:pt x="787" y="1147"/>
                </a:lnTo>
                <a:lnTo>
                  <a:pt x="794" y="1152"/>
                </a:lnTo>
                <a:lnTo>
                  <a:pt x="801" y="1157"/>
                </a:lnTo>
                <a:lnTo>
                  <a:pt x="808" y="1160"/>
                </a:lnTo>
                <a:lnTo>
                  <a:pt x="816" y="1163"/>
                </a:lnTo>
                <a:lnTo>
                  <a:pt x="824" y="1165"/>
                </a:lnTo>
                <a:lnTo>
                  <a:pt x="833" y="1167"/>
                </a:lnTo>
                <a:lnTo>
                  <a:pt x="842" y="1168"/>
                </a:lnTo>
                <a:lnTo>
                  <a:pt x="842" y="1168"/>
                </a:lnTo>
                <a:lnTo>
                  <a:pt x="852" y="1168"/>
                </a:lnTo>
                <a:lnTo>
                  <a:pt x="862" y="1167"/>
                </a:lnTo>
                <a:lnTo>
                  <a:pt x="871" y="1165"/>
                </a:lnTo>
                <a:lnTo>
                  <a:pt x="880" y="1163"/>
                </a:lnTo>
                <a:lnTo>
                  <a:pt x="889" y="1160"/>
                </a:lnTo>
                <a:lnTo>
                  <a:pt x="897" y="1155"/>
                </a:lnTo>
                <a:lnTo>
                  <a:pt x="905" y="1151"/>
                </a:lnTo>
                <a:lnTo>
                  <a:pt x="912" y="1146"/>
                </a:lnTo>
                <a:lnTo>
                  <a:pt x="919" y="1140"/>
                </a:lnTo>
                <a:lnTo>
                  <a:pt x="925" y="1135"/>
                </a:lnTo>
                <a:lnTo>
                  <a:pt x="931" y="1129"/>
                </a:lnTo>
                <a:lnTo>
                  <a:pt x="936" y="1122"/>
                </a:lnTo>
                <a:lnTo>
                  <a:pt x="940" y="1115"/>
                </a:lnTo>
                <a:lnTo>
                  <a:pt x="944" y="1107"/>
                </a:lnTo>
                <a:lnTo>
                  <a:pt x="947" y="1100"/>
                </a:lnTo>
                <a:lnTo>
                  <a:pt x="949" y="1092"/>
                </a:lnTo>
                <a:lnTo>
                  <a:pt x="949" y="1092"/>
                </a:lnTo>
                <a:lnTo>
                  <a:pt x="951" y="1076"/>
                </a:lnTo>
                <a:lnTo>
                  <a:pt x="952" y="1060"/>
                </a:lnTo>
                <a:lnTo>
                  <a:pt x="950" y="1048"/>
                </a:lnTo>
                <a:lnTo>
                  <a:pt x="947" y="1036"/>
                </a:lnTo>
                <a:lnTo>
                  <a:pt x="942" y="1027"/>
                </a:lnTo>
                <a:lnTo>
                  <a:pt x="937" y="1017"/>
                </a:lnTo>
                <a:lnTo>
                  <a:pt x="930" y="1010"/>
                </a:lnTo>
                <a:lnTo>
                  <a:pt x="922" y="1005"/>
                </a:lnTo>
                <a:lnTo>
                  <a:pt x="915" y="1000"/>
                </a:lnTo>
                <a:lnTo>
                  <a:pt x="908" y="996"/>
                </a:lnTo>
                <a:lnTo>
                  <a:pt x="894" y="991"/>
                </a:lnTo>
                <a:lnTo>
                  <a:pt x="885" y="989"/>
                </a:lnTo>
                <a:lnTo>
                  <a:pt x="880" y="989"/>
                </a:lnTo>
                <a:lnTo>
                  <a:pt x="880" y="989"/>
                </a:lnTo>
                <a:lnTo>
                  <a:pt x="896" y="944"/>
                </a:lnTo>
                <a:lnTo>
                  <a:pt x="908" y="908"/>
                </a:lnTo>
                <a:lnTo>
                  <a:pt x="919" y="879"/>
                </a:lnTo>
                <a:lnTo>
                  <a:pt x="919" y="879"/>
                </a:lnTo>
                <a:lnTo>
                  <a:pt x="927" y="859"/>
                </a:lnTo>
                <a:lnTo>
                  <a:pt x="937" y="841"/>
                </a:lnTo>
                <a:lnTo>
                  <a:pt x="945" y="823"/>
                </a:lnTo>
                <a:lnTo>
                  <a:pt x="954" y="807"/>
                </a:lnTo>
                <a:lnTo>
                  <a:pt x="962" y="792"/>
                </a:lnTo>
                <a:lnTo>
                  <a:pt x="971" y="777"/>
                </a:lnTo>
                <a:lnTo>
                  <a:pt x="989" y="753"/>
                </a:lnTo>
                <a:lnTo>
                  <a:pt x="1006" y="732"/>
                </a:lnTo>
                <a:lnTo>
                  <a:pt x="1024" y="715"/>
                </a:lnTo>
                <a:lnTo>
                  <a:pt x="1040" y="702"/>
                </a:lnTo>
                <a:lnTo>
                  <a:pt x="1055" y="690"/>
                </a:lnTo>
                <a:lnTo>
                  <a:pt x="1070" y="683"/>
                </a:lnTo>
                <a:lnTo>
                  <a:pt x="1083" y="677"/>
                </a:lnTo>
                <a:lnTo>
                  <a:pt x="1095" y="673"/>
                </a:lnTo>
                <a:lnTo>
                  <a:pt x="1105" y="671"/>
                </a:lnTo>
                <a:lnTo>
                  <a:pt x="1114" y="670"/>
                </a:lnTo>
                <a:lnTo>
                  <a:pt x="1120" y="670"/>
                </a:lnTo>
                <a:lnTo>
                  <a:pt x="1125" y="670"/>
                </a:lnTo>
                <a:lnTo>
                  <a:pt x="1125" y="670"/>
                </a:lnTo>
                <a:lnTo>
                  <a:pt x="1121" y="666"/>
                </a:lnTo>
                <a:lnTo>
                  <a:pt x="1116" y="661"/>
                </a:lnTo>
                <a:lnTo>
                  <a:pt x="1111" y="653"/>
                </a:lnTo>
                <a:lnTo>
                  <a:pt x="1104" y="644"/>
                </a:lnTo>
                <a:lnTo>
                  <a:pt x="1099" y="633"/>
                </a:lnTo>
                <a:lnTo>
                  <a:pt x="1093" y="620"/>
                </a:lnTo>
                <a:lnTo>
                  <a:pt x="1088" y="603"/>
                </a:lnTo>
                <a:lnTo>
                  <a:pt x="1085" y="586"/>
                </a:lnTo>
                <a:lnTo>
                  <a:pt x="1083" y="566"/>
                </a:lnTo>
                <a:lnTo>
                  <a:pt x="1083" y="543"/>
                </a:lnTo>
                <a:lnTo>
                  <a:pt x="1084" y="531"/>
                </a:lnTo>
                <a:lnTo>
                  <a:pt x="1086" y="519"/>
                </a:lnTo>
                <a:lnTo>
                  <a:pt x="1088" y="505"/>
                </a:lnTo>
                <a:lnTo>
                  <a:pt x="1092" y="491"/>
                </a:lnTo>
                <a:lnTo>
                  <a:pt x="1096" y="477"/>
                </a:lnTo>
                <a:lnTo>
                  <a:pt x="1101" y="461"/>
                </a:lnTo>
                <a:lnTo>
                  <a:pt x="1107" y="446"/>
                </a:lnTo>
                <a:lnTo>
                  <a:pt x="1115" y="430"/>
                </a:lnTo>
                <a:lnTo>
                  <a:pt x="1123" y="412"/>
                </a:lnTo>
                <a:lnTo>
                  <a:pt x="1132" y="395"/>
                </a:lnTo>
                <a:lnTo>
                  <a:pt x="1132" y="395"/>
                </a:lnTo>
                <a:lnTo>
                  <a:pt x="1152" y="358"/>
                </a:lnTo>
                <a:lnTo>
                  <a:pt x="1169" y="322"/>
                </a:lnTo>
                <a:lnTo>
                  <a:pt x="1184" y="289"/>
                </a:lnTo>
                <a:lnTo>
                  <a:pt x="1195" y="258"/>
                </a:lnTo>
                <a:lnTo>
                  <a:pt x="1206" y="227"/>
                </a:lnTo>
                <a:lnTo>
                  <a:pt x="1214" y="197"/>
                </a:lnTo>
                <a:lnTo>
                  <a:pt x="1220" y="169"/>
                </a:lnTo>
                <a:lnTo>
                  <a:pt x="1225" y="141"/>
                </a:lnTo>
                <a:lnTo>
                  <a:pt x="1225" y="141"/>
                </a:lnTo>
                <a:lnTo>
                  <a:pt x="1226" y="132"/>
                </a:lnTo>
                <a:lnTo>
                  <a:pt x="1225" y="123"/>
                </a:lnTo>
                <a:lnTo>
                  <a:pt x="1224" y="114"/>
                </a:lnTo>
                <a:lnTo>
                  <a:pt x="1221" y="104"/>
                </a:lnTo>
                <a:lnTo>
                  <a:pt x="1217" y="95"/>
                </a:lnTo>
                <a:lnTo>
                  <a:pt x="1213" y="87"/>
                </a:lnTo>
                <a:lnTo>
                  <a:pt x="1208" y="78"/>
                </a:lnTo>
                <a:lnTo>
                  <a:pt x="1202" y="70"/>
                </a:lnTo>
                <a:lnTo>
                  <a:pt x="1194" y="63"/>
                </a:lnTo>
                <a:lnTo>
                  <a:pt x="1187" y="55"/>
                </a:lnTo>
                <a:lnTo>
                  <a:pt x="1179" y="49"/>
                </a:lnTo>
                <a:lnTo>
                  <a:pt x="1171" y="44"/>
                </a:lnTo>
                <a:lnTo>
                  <a:pt x="1163" y="39"/>
                </a:lnTo>
                <a:lnTo>
                  <a:pt x="1153" y="36"/>
                </a:lnTo>
                <a:lnTo>
                  <a:pt x="1144" y="34"/>
                </a:lnTo>
                <a:lnTo>
                  <a:pt x="1134" y="32"/>
                </a:lnTo>
                <a:lnTo>
                  <a:pt x="1134" y="32"/>
                </a:lnTo>
                <a:lnTo>
                  <a:pt x="1124" y="32"/>
                </a:lnTo>
                <a:lnTo>
                  <a:pt x="1115" y="33"/>
                </a:lnTo>
                <a:lnTo>
                  <a:pt x="1104" y="35"/>
                </a:lnTo>
                <a:lnTo>
                  <a:pt x="1095" y="38"/>
                </a:lnTo>
                <a:lnTo>
                  <a:pt x="1086" y="42"/>
                </a:lnTo>
                <a:lnTo>
                  <a:pt x="1078" y="46"/>
                </a:lnTo>
                <a:lnTo>
                  <a:pt x="1070" y="52"/>
                </a:lnTo>
                <a:lnTo>
                  <a:pt x="1061" y="57"/>
                </a:lnTo>
                <a:lnTo>
                  <a:pt x="1054" y="65"/>
                </a:lnTo>
                <a:lnTo>
                  <a:pt x="1048" y="71"/>
                </a:lnTo>
                <a:lnTo>
                  <a:pt x="1042" y="78"/>
                </a:lnTo>
                <a:lnTo>
                  <a:pt x="1037" y="86"/>
                </a:lnTo>
                <a:lnTo>
                  <a:pt x="1033" y="94"/>
                </a:lnTo>
                <a:lnTo>
                  <a:pt x="1029" y="102"/>
                </a:lnTo>
                <a:lnTo>
                  <a:pt x="1027" y="111"/>
                </a:lnTo>
                <a:lnTo>
                  <a:pt x="1026" y="119"/>
                </a:lnTo>
                <a:lnTo>
                  <a:pt x="1026" y="119"/>
                </a:lnTo>
                <a:lnTo>
                  <a:pt x="1025" y="139"/>
                </a:lnTo>
                <a:lnTo>
                  <a:pt x="1026" y="158"/>
                </a:lnTo>
                <a:lnTo>
                  <a:pt x="1030" y="173"/>
                </a:lnTo>
                <a:lnTo>
                  <a:pt x="1035" y="185"/>
                </a:lnTo>
                <a:lnTo>
                  <a:pt x="1041" y="195"/>
                </a:lnTo>
                <a:lnTo>
                  <a:pt x="1048" y="205"/>
                </a:lnTo>
                <a:lnTo>
                  <a:pt x="1056" y="212"/>
                </a:lnTo>
                <a:lnTo>
                  <a:pt x="1065" y="217"/>
                </a:lnTo>
                <a:lnTo>
                  <a:pt x="1073" y="221"/>
                </a:lnTo>
                <a:lnTo>
                  <a:pt x="1081" y="225"/>
                </a:lnTo>
                <a:lnTo>
                  <a:pt x="1095" y="230"/>
                </a:lnTo>
                <a:lnTo>
                  <a:pt x="1101" y="232"/>
                </a:lnTo>
                <a:lnTo>
                  <a:pt x="1104" y="234"/>
                </a:lnTo>
                <a:lnTo>
                  <a:pt x="1107" y="237"/>
                </a:lnTo>
                <a:lnTo>
                  <a:pt x="1107" y="240"/>
                </a:lnTo>
                <a:lnTo>
                  <a:pt x="1107" y="240"/>
                </a:lnTo>
                <a:lnTo>
                  <a:pt x="1096" y="276"/>
                </a:lnTo>
                <a:lnTo>
                  <a:pt x="1084" y="309"/>
                </a:lnTo>
                <a:lnTo>
                  <a:pt x="1071" y="339"/>
                </a:lnTo>
                <a:lnTo>
                  <a:pt x="1057" y="365"/>
                </a:lnTo>
                <a:lnTo>
                  <a:pt x="1044" y="390"/>
                </a:lnTo>
                <a:lnTo>
                  <a:pt x="1031" y="411"/>
                </a:lnTo>
                <a:lnTo>
                  <a:pt x="1016" y="431"/>
                </a:lnTo>
                <a:lnTo>
                  <a:pt x="1002" y="447"/>
                </a:lnTo>
                <a:lnTo>
                  <a:pt x="1002" y="447"/>
                </a:lnTo>
                <a:lnTo>
                  <a:pt x="975" y="431"/>
                </a:lnTo>
                <a:lnTo>
                  <a:pt x="942" y="411"/>
                </a:lnTo>
                <a:lnTo>
                  <a:pt x="942" y="411"/>
                </a:lnTo>
                <a:lnTo>
                  <a:pt x="865" y="369"/>
                </a:lnTo>
                <a:lnTo>
                  <a:pt x="790" y="328"/>
                </a:lnTo>
                <a:lnTo>
                  <a:pt x="717" y="289"/>
                </a:lnTo>
                <a:lnTo>
                  <a:pt x="680" y="271"/>
                </a:lnTo>
                <a:lnTo>
                  <a:pt x="643" y="254"/>
                </a:lnTo>
                <a:lnTo>
                  <a:pt x="606" y="236"/>
                </a:lnTo>
                <a:lnTo>
                  <a:pt x="568" y="221"/>
                </a:lnTo>
                <a:lnTo>
                  <a:pt x="529" y="205"/>
                </a:lnTo>
                <a:lnTo>
                  <a:pt x="489" y="190"/>
                </a:lnTo>
                <a:lnTo>
                  <a:pt x="448" y="176"/>
                </a:lnTo>
                <a:lnTo>
                  <a:pt x="406" y="164"/>
                </a:lnTo>
                <a:lnTo>
                  <a:pt x="362" y="151"/>
                </a:lnTo>
                <a:lnTo>
                  <a:pt x="317" y="140"/>
                </a:lnTo>
                <a:lnTo>
                  <a:pt x="317" y="140"/>
                </a:lnTo>
                <a:lnTo>
                  <a:pt x="334" y="107"/>
                </a:lnTo>
                <a:lnTo>
                  <a:pt x="334" y="107"/>
                </a:lnTo>
                <a:lnTo>
                  <a:pt x="360" y="63"/>
                </a:lnTo>
                <a:lnTo>
                  <a:pt x="378" y="31"/>
                </a:lnTo>
                <a:lnTo>
                  <a:pt x="385" y="20"/>
                </a:lnTo>
                <a:lnTo>
                  <a:pt x="389" y="10"/>
                </a:lnTo>
                <a:lnTo>
                  <a:pt x="391" y="4"/>
                </a:lnTo>
                <a:lnTo>
                  <a:pt x="390" y="2"/>
                </a:lnTo>
                <a:lnTo>
                  <a:pt x="389" y="0"/>
                </a:lnTo>
                <a:lnTo>
                  <a:pt x="389" y="0"/>
                </a:lnTo>
                <a:lnTo>
                  <a:pt x="388" y="0"/>
                </a:lnTo>
                <a:lnTo>
                  <a:pt x="387" y="0"/>
                </a:lnTo>
                <a:lnTo>
                  <a:pt x="381" y="1"/>
                </a:lnTo>
                <a:lnTo>
                  <a:pt x="367" y="10"/>
                </a:lnTo>
                <a:lnTo>
                  <a:pt x="343" y="26"/>
                </a:lnTo>
                <a:lnTo>
                  <a:pt x="326" y="35"/>
                </a:lnTo>
                <a:lnTo>
                  <a:pt x="307" y="46"/>
                </a:lnTo>
                <a:lnTo>
                  <a:pt x="307" y="46"/>
                </a:lnTo>
                <a:lnTo>
                  <a:pt x="285" y="57"/>
                </a:lnTo>
                <a:lnTo>
                  <a:pt x="267" y="67"/>
                </a:lnTo>
                <a:lnTo>
                  <a:pt x="252" y="73"/>
                </a:lnTo>
                <a:lnTo>
                  <a:pt x="237" y="78"/>
                </a:lnTo>
                <a:lnTo>
                  <a:pt x="224" y="82"/>
                </a:lnTo>
                <a:lnTo>
                  <a:pt x="211" y="85"/>
                </a:lnTo>
                <a:lnTo>
                  <a:pt x="183" y="89"/>
                </a:lnTo>
                <a:lnTo>
                  <a:pt x="183" y="89"/>
                </a:lnTo>
                <a:lnTo>
                  <a:pt x="174" y="89"/>
                </a:lnTo>
                <a:lnTo>
                  <a:pt x="165" y="88"/>
                </a:lnTo>
                <a:lnTo>
                  <a:pt x="147" y="85"/>
                </a:lnTo>
                <a:lnTo>
                  <a:pt x="132" y="81"/>
                </a:lnTo>
                <a:lnTo>
                  <a:pt x="125" y="81"/>
                </a:lnTo>
                <a:lnTo>
                  <a:pt x="120" y="82"/>
                </a:lnTo>
                <a:lnTo>
                  <a:pt x="120" y="82"/>
                </a:lnTo>
                <a:lnTo>
                  <a:pt x="114" y="85"/>
                </a:lnTo>
                <a:lnTo>
                  <a:pt x="107" y="91"/>
                </a:lnTo>
                <a:lnTo>
                  <a:pt x="102" y="98"/>
                </a:lnTo>
                <a:lnTo>
                  <a:pt x="97" y="107"/>
                </a:lnTo>
                <a:lnTo>
                  <a:pt x="92" y="120"/>
                </a:lnTo>
                <a:lnTo>
                  <a:pt x="87" y="134"/>
                </a:lnTo>
                <a:lnTo>
                  <a:pt x="74" y="171"/>
                </a:lnTo>
                <a:lnTo>
                  <a:pt x="74" y="171"/>
                </a:lnTo>
                <a:lnTo>
                  <a:pt x="49" y="242"/>
                </a:lnTo>
                <a:lnTo>
                  <a:pt x="42" y="261"/>
                </a:lnTo>
                <a:lnTo>
                  <a:pt x="42" y="261"/>
                </a:lnTo>
                <a:lnTo>
                  <a:pt x="34" y="279"/>
                </a:lnTo>
                <a:lnTo>
                  <a:pt x="27" y="293"/>
                </a:lnTo>
                <a:lnTo>
                  <a:pt x="14" y="312"/>
                </a:lnTo>
                <a:lnTo>
                  <a:pt x="10" y="320"/>
                </a:lnTo>
                <a:lnTo>
                  <a:pt x="6" y="327"/>
                </a:lnTo>
                <a:lnTo>
                  <a:pt x="3" y="335"/>
                </a:lnTo>
                <a:lnTo>
                  <a:pt x="1" y="34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6" name="Freeform 33"/>
          <p:cNvSpPr>
            <a:spLocks/>
          </p:cNvSpPr>
          <p:nvPr userDrawn="1"/>
        </p:nvSpPr>
        <p:spPr bwMode="auto">
          <a:xfrm>
            <a:off x="7189787" y="1214140"/>
            <a:ext cx="39688" cy="46038"/>
          </a:xfrm>
          <a:custGeom>
            <a:avLst/>
            <a:gdLst>
              <a:gd name="T0" fmla="*/ 103 w 296"/>
              <a:gd name="T1" fmla="*/ 350 h 350"/>
              <a:gd name="T2" fmla="*/ 103 w 296"/>
              <a:gd name="T3" fmla="*/ 350 h 350"/>
              <a:gd name="T4" fmla="*/ 132 w 296"/>
              <a:gd name="T5" fmla="*/ 349 h 350"/>
              <a:gd name="T6" fmla="*/ 164 w 296"/>
              <a:gd name="T7" fmla="*/ 346 h 350"/>
              <a:gd name="T8" fmla="*/ 196 w 296"/>
              <a:gd name="T9" fmla="*/ 343 h 350"/>
              <a:gd name="T10" fmla="*/ 226 w 296"/>
              <a:gd name="T11" fmla="*/ 339 h 350"/>
              <a:gd name="T12" fmla="*/ 276 w 296"/>
              <a:gd name="T13" fmla="*/ 333 h 350"/>
              <a:gd name="T14" fmla="*/ 296 w 296"/>
              <a:gd name="T15" fmla="*/ 329 h 350"/>
              <a:gd name="T16" fmla="*/ 293 w 296"/>
              <a:gd name="T17" fmla="*/ 25 h 350"/>
              <a:gd name="T18" fmla="*/ 293 w 296"/>
              <a:gd name="T19" fmla="*/ 25 h 350"/>
              <a:gd name="T20" fmla="*/ 244 w 296"/>
              <a:gd name="T21" fmla="*/ 18 h 350"/>
              <a:gd name="T22" fmla="*/ 142 w 296"/>
              <a:gd name="T23" fmla="*/ 2 h 350"/>
              <a:gd name="T24" fmla="*/ 142 w 296"/>
              <a:gd name="T25" fmla="*/ 2 h 350"/>
              <a:gd name="T26" fmla="*/ 129 w 296"/>
              <a:gd name="T27" fmla="*/ 1 h 350"/>
              <a:gd name="T28" fmla="*/ 117 w 296"/>
              <a:gd name="T29" fmla="*/ 0 h 350"/>
              <a:gd name="T30" fmla="*/ 105 w 296"/>
              <a:gd name="T31" fmla="*/ 0 h 350"/>
              <a:gd name="T32" fmla="*/ 94 w 296"/>
              <a:gd name="T33" fmla="*/ 1 h 350"/>
              <a:gd name="T34" fmla="*/ 84 w 296"/>
              <a:gd name="T35" fmla="*/ 3 h 350"/>
              <a:gd name="T36" fmla="*/ 75 w 296"/>
              <a:gd name="T37" fmla="*/ 6 h 350"/>
              <a:gd name="T38" fmla="*/ 66 w 296"/>
              <a:gd name="T39" fmla="*/ 9 h 350"/>
              <a:gd name="T40" fmla="*/ 59 w 296"/>
              <a:gd name="T41" fmla="*/ 13 h 350"/>
              <a:gd name="T42" fmla="*/ 51 w 296"/>
              <a:gd name="T43" fmla="*/ 17 h 350"/>
              <a:gd name="T44" fmla="*/ 44 w 296"/>
              <a:gd name="T45" fmla="*/ 22 h 350"/>
              <a:gd name="T46" fmla="*/ 38 w 296"/>
              <a:gd name="T47" fmla="*/ 27 h 350"/>
              <a:gd name="T48" fmla="*/ 33 w 296"/>
              <a:gd name="T49" fmla="*/ 32 h 350"/>
              <a:gd name="T50" fmla="*/ 24 w 296"/>
              <a:gd name="T51" fmla="*/ 45 h 350"/>
              <a:gd name="T52" fmla="*/ 17 w 296"/>
              <a:gd name="T53" fmla="*/ 57 h 350"/>
              <a:gd name="T54" fmla="*/ 11 w 296"/>
              <a:gd name="T55" fmla="*/ 70 h 350"/>
              <a:gd name="T56" fmla="*/ 6 w 296"/>
              <a:gd name="T57" fmla="*/ 83 h 350"/>
              <a:gd name="T58" fmla="*/ 3 w 296"/>
              <a:gd name="T59" fmla="*/ 96 h 350"/>
              <a:gd name="T60" fmla="*/ 1 w 296"/>
              <a:gd name="T61" fmla="*/ 106 h 350"/>
              <a:gd name="T62" fmla="*/ 0 w 296"/>
              <a:gd name="T63" fmla="*/ 123 h 350"/>
              <a:gd name="T64" fmla="*/ 0 w 296"/>
              <a:gd name="T65" fmla="*/ 129 h 350"/>
              <a:gd name="T66" fmla="*/ 4 w 296"/>
              <a:gd name="T67" fmla="*/ 213 h 350"/>
              <a:gd name="T68" fmla="*/ 4 w 296"/>
              <a:gd name="T69" fmla="*/ 213 h 350"/>
              <a:gd name="T70" fmla="*/ 4 w 296"/>
              <a:gd name="T71" fmla="*/ 219 h 350"/>
              <a:gd name="T72" fmla="*/ 6 w 296"/>
              <a:gd name="T73" fmla="*/ 235 h 350"/>
              <a:gd name="T74" fmla="*/ 11 w 296"/>
              <a:gd name="T75" fmla="*/ 256 h 350"/>
              <a:gd name="T76" fmla="*/ 15 w 296"/>
              <a:gd name="T77" fmla="*/ 268 h 350"/>
              <a:gd name="T78" fmla="*/ 19 w 296"/>
              <a:gd name="T79" fmla="*/ 282 h 350"/>
              <a:gd name="T80" fmla="*/ 24 w 296"/>
              <a:gd name="T81" fmla="*/ 294 h 350"/>
              <a:gd name="T82" fmla="*/ 31 w 296"/>
              <a:gd name="T83" fmla="*/ 306 h 350"/>
              <a:gd name="T84" fmla="*/ 39 w 296"/>
              <a:gd name="T85" fmla="*/ 319 h 350"/>
              <a:gd name="T86" fmla="*/ 48 w 296"/>
              <a:gd name="T87" fmla="*/ 329 h 350"/>
              <a:gd name="T88" fmla="*/ 53 w 296"/>
              <a:gd name="T89" fmla="*/ 333 h 350"/>
              <a:gd name="T90" fmla="*/ 60 w 296"/>
              <a:gd name="T91" fmla="*/ 337 h 350"/>
              <a:gd name="T92" fmla="*/ 66 w 296"/>
              <a:gd name="T93" fmla="*/ 341 h 350"/>
              <a:gd name="T94" fmla="*/ 72 w 296"/>
              <a:gd name="T95" fmla="*/ 344 h 350"/>
              <a:gd name="T96" fmla="*/ 79 w 296"/>
              <a:gd name="T97" fmla="*/ 346 h 350"/>
              <a:gd name="T98" fmla="*/ 86 w 296"/>
              <a:gd name="T99" fmla="*/ 348 h 350"/>
              <a:gd name="T100" fmla="*/ 94 w 296"/>
              <a:gd name="T101" fmla="*/ 349 h 350"/>
              <a:gd name="T102" fmla="*/ 103 w 296"/>
              <a:gd name="T103" fmla="*/ 35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6" h="350">
                <a:moveTo>
                  <a:pt x="103" y="350"/>
                </a:moveTo>
                <a:lnTo>
                  <a:pt x="103" y="350"/>
                </a:lnTo>
                <a:lnTo>
                  <a:pt x="132" y="349"/>
                </a:lnTo>
                <a:lnTo>
                  <a:pt x="164" y="346"/>
                </a:lnTo>
                <a:lnTo>
                  <a:pt x="196" y="343"/>
                </a:lnTo>
                <a:lnTo>
                  <a:pt x="226" y="339"/>
                </a:lnTo>
                <a:lnTo>
                  <a:pt x="276" y="333"/>
                </a:lnTo>
                <a:lnTo>
                  <a:pt x="296" y="329"/>
                </a:lnTo>
                <a:lnTo>
                  <a:pt x="293" y="25"/>
                </a:lnTo>
                <a:lnTo>
                  <a:pt x="293" y="25"/>
                </a:lnTo>
                <a:lnTo>
                  <a:pt x="244" y="18"/>
                </a:lnTo>
                <a:lnTo>
                  <a:pt x="142" y="2"/>
                </a:lnTo>
                <a:lnTo>
                  <a:pt x="142" y="2"/>
                </a:lnTo>
                <a:lnTo>
                  <a:pt x="129" y="1"/>
                </a:lnTo>
                <a:lnTo>
                  <a:pt x="117" y="0"/>
                </a:lnTo>
                <a:lnTo>
                  <a:pt x="105" y="0"/>
                </a:lnTo>
                <a:lnTo>
                  <a:pt x="94" y="1"/>
                </a:lnTo>
                <a:lnTo>
                  <a:pt x="84" y="3"/>
                </a:lnTo>
                <a:lnTo>
                  <a:pt x="75" y="6"/>
                </a:lnTo>
                <a:lnTo>
                  <a:pt x="66" y="9"/>
                </a:lnTo>
                <a:lnTo>
                  <a:pt x="59" y="13"/>
                </a:lnTo>
                <a:lnTo>
                  <a:pt x="51" y="17"/>
                </a:lnTo>
                <a:lnTo>
                  <a:pt x="44" y="22"/>
                </a:lnTo>
                <a:lnTo>
                  <a:pt x="38" y="27"/>
                </a:lnTo>
                <a:lnTo>
                  <a:pt x="33" y="32"/>
                </a:lnTo>
                <a:lnTo>
                  <a:pt x="24" y="45"/>
                </a:lnTo>
                <a:lnTo>
                  <a:pt x="17" y="57"/>
                </a:lnTo>
                <a:lnTo>
                  <a:pt x="11" y="70"/>
                </a:lnTo>
                <a:lnTo>
                  <a:pt x="6" y="83"/>
                </a:lnTo>
                <a:lnTo>
                  <a:pt x="3" y="96"/>
                </a:lnTo>
                <a:lnTo>
                  <a:pt x="1" y="106"/>
                </a:lnTo>
                <a:lnTo>
                  <a:pt x="0" y="123"/>
                </a:lnTo>
                <a:lnTo>
                  <a:pt x="0" y="129"/>
                </a:lnTo>
                <a:lnTo>
                  <a:pt x="4" y="213"/>
                </a:lnTo>
                <a:lnTo>
                  <a:pt x="4" y="213"/>
                </a:lnTo>
                <a:lnTo>
                  <a:pt x="4" y="219"/>
                </a:lnTo>
                <a:lnTo>
                  <a:pt x="6" y="235"/>
                </a:lnTo>
                <a:lnTo>
                  <a:pt x="11" y="256"/>
                </a:lnTo>
                <a:lnTo>
                  <a:pt x="15" y="268"/>
                </a:lnTo>
                <a:lnTo>
                  <a:pt x="19" y="282"/>
                </a:lnTo>
                <a:lnTo>
                  <a:pt x="24" y="294"/>
                </a:lnTo>
                <a:lnTo>
                  <a:pt x="31" y="306"/>
                </a:lnTo>
                <a:lnTo>
                  <a:pt x="39" y="319"/>
                </a:lnTo>
                <a:lnTo>
                  <a:pt x="48" y="329"/>
                </a:lnTo>
                <a:lnTo>
                  <a:pt x="53" y="333"/>
                </a:lnTo>
                <a:lnTo>
                  <a:pt x="60" y="337"/>
                </a:lnTo>
                <a:lnTo>
                  <a:pt x="66" y="341"/>
                </a:lnTo>
                <a:lnTo>
                  <a:pt x="72" y="344"/>
                </a:lnTo>
                <a:lnTo>
                  <a:pt x="79" y="346"/>
                </a:lnTo>
                <a:lnTo>
                  <a:pt x="86" y="348"/>
                </a:lnTo>
                <a:lnTo>
                  <a:pt x="94" y="349"/>
                </a:lnTo>
                <a:lnTo>
                  <a:pt x="103" y="3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7" name="Freeform 34"/>
          <p:cNvSpPr>
            <a:spLocks/>
          </p:cNvSpPr>
          <p:nvPr userDrawn="1"/>
        </p:nvSpPr>
        <p:spPr bwMode="auto">
          <a:xfrm>
            <a:off x="7237412" y="1203028"/>
            <a:ext cx="60325" cy="57150"/>
          </a:xfrm>
          <a:custGeom>
            <a:avLst/>
            <a:gdLst>
              <a:gd name="T0" fmla="*/ 450 w 450"/>
              <a:gd name="T1" fmla="*/ 290 h 425"/>
              <a:gd name="T2" fmla="*/ 450 w 450"/>
              <a:gd name="T3" fmla="*/ 225 h 425"/>
              <a:gd name="T4" fmla="*/ 449 w 450"/>
              <a:gd name="T5" fmla="*/ 54 h 425"/>
              <a:gd name="T6" fmla="*/ 444 w 450"/>
              <a:gd name="T7" fmla="*/ 20 h 425"/>
              <a:gd name="T8" fmla="*/ 436 w 450"/>
              <a:gd name="T9" fmla="*/ 3 h 425"/>
              <a:gd name="T10" fmla="*/ 429 w 450"/>
              <a:gd name="T11" fmla="*/ 0 h 425"/>
              <a:gd name="T12" fmla="*/ 367 w 450"/>
              <a:gd name="T13" fmla="*/ 2 h 425"/>
              <a:gd name="T14" fmla="*/ 362 w 450"/>
              <a:gd name="T15" fmla="*/ 14 h 425"/>
              <a:gd name="T16" fmla="*/ 347 w 450"/>
              <a:gd name="T17" fmla="*/ 59 h 425"/>
              <a:gd name="T18" fmla="*/ 325 w 450"/>
              <a:gd name="T19" fmla="*/ 2 h 425"/>
              <a:gd name="T20" fmla="*/ 261 w 450"/>
              <a:gd name="T21" fmla="*/ 2 h 425"/>
              <a:gd name="T22" fmla="*/ 242 w 450"/>
              <a:gd name="T23" fmla="*/ 16 h 425"/>
              <a:gd name="T24" fmla="*/ 224 w 450"/>
              <a:gd name="T25" fmla="*/ 64 h 425"/>
              <a:gd name="T26" fmla="*/ 192 w 450"/>
              <a:gd name="T27" fmla="*/ 4 h 425"/>
              <a:gd name="T28" fmla="*/ 135 w 450"/>
              <a:gd name="T29" fmla="*/ 6 h 425"/>
              <a:gd name="T30" fmla="*/ 127 w 450"/>
              <a:gd name="T31" fmla="*/ 11 h 425"/>
              <a:gd name="T32" fmla="*/ 110 w 450"/>
              <a:gd name="T33" fmla="*/ 53 h 425"/>
              <a:gd name="T34" fmla="*/ 86 w 450"/>
              <a:gd name="T35" fmla="*/ 6 h 425"/>
              <a:gd name="T36" fmla="*/ 38 w 450"/>
              <a:gd name="T37" fmla="*/ 6 h 425"/>
              <a:gd name="T38" fmla="*/ 25 w 450"/>
              <a:gd name="T39" fmla="*/ 10 h 425"/>
              <a:gd name="T40" fmla="*/ 10 w 450"/>
              <a:gd name="T41" fmla="*/ 28 h 425"/>
              <a:gd name="T42" fmla="*/ 1 w 450"/>
              <a:gd name="T43" fmla="*/ 55 h 425"/>
              <a:gd name="T44" fmla="*/ 1 w 450"/>
              <a:gd name="T45" fmla="*/ 141 h 425"/>
              <a:gd name="T46" fmla="*/ 5 w 450"/>
              <a:gd name="T47" fmla="*/ 324 h 425"/>
              <a:gd name="T48" fmla="*/ 27 w 450"/>
              <a:gd name="T49" fmla="*/ 401 h 425"/>
              <a:gd name="T50" fmla="*/ 54 w 450"/>
              <a:gd name="T51" fmla="*/ 396 h 425"/>
              <a:gd name="T52" fmla="*/ 74 w 450"/>
              <a:gd name="T53" fmla="*/ 384 h 425"/>
              <a:gd name="T54" fmla="*/ 83 w 450"/>
              <a:gd name="T55" fmla="*/ 374 h 425"/>
              <a:gd name="T56" fmla="*/ 100 w 450"/>
              <a:gd name="T57" fmla="*/ 341 h 425"/>
              <a:gd name="T58" fmla="*/ 105 w 450"/>
              <a:gd name="T59" fmla="*/ 317 h 425"/>
              <a:gd name="T60" fmla="*/ 105 w 450"/>
              <a:gd name="T61" fmla="*/ 367 h 425"/>
              <a:gd name="T62" fmla="*/ 108 w 450"/>
              <a:gd name="T63" fmla="*/ 420 h 425"/>
              <a:gd name="T64" fmla="*/ 116 w 450"/>
              <a:gd name="T65" fmla="*/ 424 h 425"/>
              <a:gd name="T66" fmla="*/ 150 w 450"/>
              <a:gd name="T67" fmla="*/ 423 h 425"/>
              <a:gd name="T68" fmla="*/ 176 w 450"/>
              <a:gd name="T69" fmla="*/ 412 h 425"/>
              <a:gd name="T70" fmla="*/ 189 w 450"/>
              <a:gd name="T71" fmla="*/ 402 h 425"/>
              <a:gd name="T72" fmla="*/ 209 w 450"/>
              <a:gd name="T73" fmla="*/ 368 h 425"/>
              <a:gd name="T74" fmla="*/ 224 w 450"/>
              <a:gd name="T75" fmla="*/ 317 h 425"/>
              <a:gd name="T76" fmla="*/ 225 w 450"/>
              <a:gd name="T77" fmla="*/ 381 h 425"/>
              <a:gd name="T78" fmla="*/ 229 w 450"/>
              <a:gd name="T79" fmla="*/ 419 h 425"/>
              <a:gd name="T80" fmla="*/ 237 w 450"/>
              <a:gd name="T81" fmla="*/ 421 h 425"/>
              <a:gd name="T82" fmla="*/ 266 w 450"/>
              <a:gd name="T83" fmla="*/ 418 h 425"/>
              <a:gd name="T84" fmla="*/ 300 w 450"/>
              <a:gd name="T85" fmla="*/ 405 h 425"/>
              <a:gd name="T86" fmla="*/ 309 w 450"/>
              <a:gd name="T87" fmla="*/ 397 h 425"/>
              <a:gd name="T88" fmla="*/ 331 w 450"/>
              <a:gd name="T89" fmla="*/ 367 h 425"/>
              <a:gd name="T90" fmla="*/ 342 w 450"/>
              <a:gd name="T91" fmla="*/ 334 h 425"/>
              <a:gd name="T92" fmla="*/ 345 w 450"/>
              <a:gd name="T93" fmla="*/ 346 h 425"/>
              <a:gd name="T94" fmla="*/ 348 w 450"/>
              <a:gd name="T95" fmla="*/ 391 h 425"/>
              <a:gd name="T96" fmla="*/ 379 w 450"/>
              <a:gd name="T97" fmla="*/ 386 h 425"/>
              <a:gd name="T98" fmla="*/ 404 w 450"/>
              <a:gd name="T99" fmla="*/ 375 h 425"/>
              <a:gd name="T100" fmla="*/ 425 w 450"/>
              <a:gd name="T101" fmla="*/ 360 h 425"/>
              <a:gd name="T102" fmla="*/ 439 w 450"/>
              <a:gd name="T103" fmla="*/ 342 h 425"/>
              <a:gd name="T104" fmla="*/ 448 w 450"/>
              <a:gd name="T105" fmla="*/ 311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0" h="425">
                <a:moveTo>
                  <a:pt x="448" y="311"/>
                </a:moveTo>
                <a:lnTo>
                  <a:pt x="448" y="311"/>
                </a:lnTo>
                <a:lnTo>
                  <a:pt x="450" y="290"/>
                </a:lnTo>
                <a:lnTo>
                  <a:pt x="450" y="268"/>
                </a:lnTo>
                <a:lnTo>
                  <a:pt x="450" y="225"/>
                </a:lnTo>
                <a:lnTo>
                  <a:pt x="450" y="225"/>
                </a:lnTo>
                <a:lnTo>
                  <a:pt x="449" y="64"/>
                </a:lnTo>
                <a:lnTo>
                  <a:pt x="449" y="64"/>
                </a:lnTo>
                <a:lnTo>
                  <a:pt x="449" y="54"/>
                </a:lnTo>
                <a:lnTo>
                  <a:pt x="448" y="44"/>
                </a:lnTo>
                <a:lnTo>
                  <a:pt x="447" y="33"/>
                </a:lnTo>
                <a:lnTo>
                  <a:pt x="444" y="20"/>
                </a:lnTo>
                <a:lnTo>
                  <a:pt x="441" y="10"/>
                </a:lnTo>
                <a:lnTo>
                  <a:pt x="439" y="6"/>
                </a:lnTo>
                <a:lnTo>
                  <a:pt x="436" y="3"/>
                </a:lnTo>
                <a:lnTo>
                  <a:pt x="433" y="1"/>
                </a:lnTo>
                <a:lnTo>
                  <a:pt x="429" y="0"/>
                </a:lnTo>
                <a:lnTo>
                  <a:pt x="429" y="0"/>
                </a:lnTo>
                <a:lnTo>
                  <a:pt x="396" y="0"/>
                </a:lnTo>
                <a:lnTo>
                  <a:pt x="378" y="1"/>
                </a:lnTo>
                <a:lnTo>
                  <a:pt x="367" y="2"/>
                </a:lnTo>
                <a:lnTo>
                  <a:pt x="367" y="2"/>
                </a:lnTo>
                <a:lnTo>
                  <a:pt x="364" y="7"/>
                </a:lnTo>
                <a:lnTo>
                  <a:pt x="362" y="14"/>
                </a:lnTo>
                <a:lnTo>
                  <a:pt x="356" y="33"/>
                </a:lnTo>
                <a:lnTo>
                  <a:pt x="350" y="52"/>
                </a:lnTo>
                <a:lnTo>
                  <a:pt x="347" y="59"/>
                </a:lnTo>
                <a:lnTo>
                  <a:pt x="345" y="64"/>
                </a:lnTo>
                <a:lnTo>
                  <a:pt x="325" y="2"/>
                </a:lnTo>
                <a:lnTo>
                  <a:pt x="325" y="2"/>
                </a:lnTo>
                <a:lnTo>
                  <a:pt x="309" y="1"/>
                </a:lnTo>
                <a:lnTo>
                  <a:pt x="286" y="1"/>
                </a:lnTo>
                <a:lnTo>
                  <a:pt x="261" y="2"/>
                </a:lnTo>
                <a:lnTo>
                  <a:pt x="247" y="4"/>
                </a:lnTo>
                <a:lnTo>
                  <a:pt x="247" y="4"/>
                </a:lnTo>
                <a:lnTo>
                  <a:pt x="242" y="16"/>
                </a:lnTo>
                <a:lnTo>
                  <a:pt x="236" y="34"/>
                </a:lnTo>
                <a:lnTo>
                  <a:pt x="229" y="52"/>
                </a:lnTo>
                <a:lnTo>
                  <a:pt x="224" y="64"/>
                </a:lnTo>
                <a:lnTo>
                  <a:pt x="205" y="5"/>
                </a:lnTo>
                <a:lnTo>
                  <a:pt x="205" y="5"/>
                </a:lnTo>
                <a:lnTo>
                  <a:pt x="192" y="4"/>
                </a:lnTo>
                <a:lnTo>
                  <a:pt x="168" y="4"/>
                </a:lnTo>
                <a:lnTo>
                  <a:pt x="144" y="5"/>
                </a:lnTo>
                <a:lnTo>
                  <a:pt x="135" y="6"/>
                </a:lnTo>
                <a:lnTo>
                  <a:pt x="131" y="6"/>
                </a:lnTo>
                <a:lnTo>
                  <a:pt x="131" y="6"/>
                </a:lnTo>
                <a:lnTo>
                  <a:pt x="127" y="11"/>
                </a:lnTo>
                <a:lnTo>
                  <a:pt x="124" y="18"/>
                </a:lnTo>
                <a:lnTo>
                  <a:pt x="117" y="36"/>
                </a:lnTo>
                <a:lnTo>
                  <a:pt x="110" y="53"/>
                </a:lnTo>
                <a:lnTo>
                  <a:pt x="105" y="64"/>
                </a:lnTo>
                <a:lnTo>
                  <a:pt x="86" y="6"/>
                </a:lnTo>
                <a:lnTo>
                  <a:pt x="86" y="6"/>
                </a:lnTo>
                <a:lnTo>
                  <a:pt x="69" y="6"/>
                </a:lnTo>
                <a:lnTo>
                  <a:pt x="38" y="6"/>
                </a:lnTo>
                <a:lnTo>
                  <a:pt x="38" y="6"/>
                </a:lnTo>
                <a:lnTo>
                  <a:pt x="33" y="7"/>
                </a:lnTo>
                <a:lnTo>
                  <a:pt x="29" y="8"/>
                </a:lnTo>
                <a:lnTo>
                  <a:pt x="25" y="10"/>
                </a:lnTo>
                <a:lnTo>
                  <a:pt x="21" y="12"/>
                </a:lnTo>
                <a:lnTo>
                  <a:pt x="15" y="19"/>
                </a:lnTo>
                <a:lnTo>
                  <a:pt x="10" y="28"/>
                </a:lnTo>
                <a:lnTo>
                  <a:pt x="5" y="36"/>
                </a:lnTo>
                <a:lnTo>
                  <a:pt x="2" y="46"/>
                </a:lnTo>
                <a:lnTo>
                  <a:pt x="1" y="55"/>
                </a:lnTo>
                <a:lnTo>
                  <a:pt x="0" y="63"/>
                </a:lnTo>
                <a:lnTo>
                  <a:pt x="0" y="63"/>
                </a:lnTo>
                <a:lnTo>
                  <a:pt x="1" y="141"/>
                </a:lnTo>
                <a:lnTo>
                  <a:pt x="2" y="220"/>
                </a:lnTo>
                <a:lnTo>
                  <a:pt x="2" y="220"/>
                </a:lnTo>
                <a:lnTo>
                  <a:pt x="5" y="324"/>
                </a:lnTo>
                <a:lnTo>
                  <a:pt x="8" y="402"/>
                </a:lnTo>
                <a:lnTo>
                  <a:pt x="8" y="402"/>
                </a:lnTo>
                <a:lnTo>
                  <a:pt x="27" y="401"/>
                </a:lnTo>
                <a:lnTo>
                  <a:pt x="37" y="399"/>
                </a:lnTo>
                <a:lnTo>
                  <a:pt x="45" y="398"/>
                </a:lnTo>
                <a:lnTo>
                  <a:pt x="54" y="396"/>
                </a:lnTo>
                <a:lnTo>
                  <a:pt x="62" y="393"/>
                </a:lnTo>
                <a:lnTo>
                  <a:pt x="68" y="388"/>
                </a:lnTo>
                <a:lnTo>
                  <a:pt x="74" y="384"/>
                </a:lnTo>
                <a:lnTo>
                  <a:pt x="74" y="384"/>
                </a:lnTo>
                <a:lnTo>
                  <a:pt x="79" y="379"/>
                </a:lnTo>
                <a:lnTo>
                  <a:pt x="83" y="374"/>
                </a:lnTo>
                <a:lnTo>
                  <a:pt x="90" y="363"/>
                </a:lnTo>
                <a:lnTo>
                  <a:pt x="95" y="352"/>
                </a:lnTo>
                <a:lnTo>
                  <a:pt x="100" y="341"/>
                </a:lnTo>
                <a:lnTo>
                  <a:pt x="103" y="331"/>
                </a:lnTo>
                <a:lnTo>
                  <a:pt x="104" y="324"/>
                </a:lnTo>
                <a:lnTo>
                  <a:pt x="105" y="317"/>
                </a:lnTo>
                <a:lnTo>
                  <a:pt x="105" y="317"/>
                </a:lnTo>
                <a:lnTo>
                  <a:pt x="105" y="337"/>
                </a:lnTo>
                <a:lnTo>
                  <a:pt x="105" y="367"/>
                </a:lnTo>
                <a:lnTo>
                  <a:pt x="106" y="397"/>
                </a:lnTo>
                <a:lnTo>
                  <a:pt x="108" y="420"/>
                </a:lnTo>
                <a:lnTo>
                  <a:pt x="108" y="420"/>
                </a:lnTo>
                <a:lnTo>
                  <a:pt x="108" y="421"/>
                </a:lnTo>
                <a:lnTo>
                  <a:pt x="110" y="422"/>
                </a:lnTo>
                <a:lnTo>
                  <a:pt x="116" y="424"/>
                </a:lnTo>
                <a:lnTo>
                  <a:pt x="125" y="425"/>
                </a:lnTo>
                <a:lnTo>
                  <a:pt x="136" y="425"/>
                </a:lnTo>
                <a:lnTo>
                  <a:pt x="150" y="423"/>
                </a:lnTo>
                <a:lnTo>
                  <a:pt x="163" y="418"/>
                </a:lnTo>
                <a:lnTo>
                  <a:pt x="169" y="415"/>
                </a:lnTo>
                <a:lnTo>
                  <a:pt x="176" y="412"/>
                </a:lnTo>
                <a:lnTo>
                  <a:pt x="182" y="407"/>
                </a:lnTo>
                <a:lnTo>
                  <a:pt x="189" y="402"/>
                </a:lnTo>
                <a:lnTo>
                  <a:pt x="189" y="402"/>
                </a:lnTo>
                <a:lnTo>
                  <a:pt x="197" y="392"/>
                </a:lnTo>
                <a:lnTo>
                  <a:pt x="204" y="380"/>
                </a:lnTo>
                <a:lnTo>
                  <a:pt x="209" y="368"/>
                </a:lnTo>
                <a:lnTo>
                  <a:pt x="213" y="356"/>
                </a:lnTo>
                <a:lnTo>
                  <a:pt x="220" y="333"/>
                </a:lnTo>
                <a:lnTo>
                  <a:pt x="224" y="317"/>
                </a:lnTo>
                <a:lnTo>
                  <a:pt x="224" y="317"/>
                </a:lnTo>
                <a:lnTo>
                  <a:pt x="224" y="348"/>
                </a:lnTo>
                <a:lnTo>
                  <a:pt x="225" y="381"/>
                </a:lnTo>
                <a:lnTo>
                  <a:pt x="227" y="408"/>
                </a:lnTo>
                <a:lnTo>
                  <a:pt x="228" y="417"/>
                </a:lnTo>
                <a:lnTo>
                  <a:pt x="229" y="419"/>
                </a:lnTo>
                <a:lnTo>
                  <a:pt x="230" y="420"/>
                </a:lnTo>
                <a:lnTo>
                  <a:pt x="230" y="420"/>
                </a:lnTo>
                <a:lnTo>
                  <a:pt x="237" y="421"/>
                </a:lnTo>
                <a:lnTo>
                  <a:pt x="245" y="421"/>
                </a:lnTo>
                <a:lnTo>
                  <a:pt x="255" y="420"/>
                </a:lnTo>
                <a:lnTo>
                  <a:pt x="266" y="418"/>
                </a:lnTo>
                <a:lnTo>
                  <a:pt x="277" y="415"/>
                </a:lnTo>
                <a:lnTo>
                  <a:pt x="289" y="411"/>
                </a:lnTo>
                <a:lnTo>
                  <a:pt x="300" y="405"/>
                </a:lnTo>
                <a:lnTo>
                  <a:pt x="305" y="401"/>
                </a:lnTo>
                <a:lnTo>
                  <a:pt x="309" y="397"/>
                </a:lnTo>
                <a:lnTo>
                  <a:pt x="309" y="397"/>
                </a:lnTo>
                <a:lnTo>
                  <a:pt x="317" y="387"/>
                </a:lnTo>
                <a:lnTo>
                  <a:pt x="325" y="377"/>
                </a:lnTo>
                <a:lnTo>
                  <a:pt x="331" y="367"/>
                </a:lnTo>
                <a:lnTo>
                  <a:pt x="336" y="356"/>
                </a:lnTo>
                <a:lnTo>
                  <a:pt x="339" y="345"/>
                </a:lnTo>
                <a:lnTo>
                  <a:pt x="342" y="334"/>
                </a:lnTo>
                <a:lnTo>
                  <a:pt x="345" y="317"/>
                </a:lnTo>
                <a:lnTo>
                  <a:pt x="345" y="317"/>
                </a:lnTo>
                <a:lnTo>
                  <a:pt x="345" y="346"/>
                </a:lnTo>
                <a:lnTo>
                  <a:pt x="346" y="370"/>
                </a:lnTo>
                <a:lnTo>
                  <a:pt x="348" y="391"/>
                </a:lnTo>
                <a:lnTo>
                  <a:pt x="348" y="391"/>
                </a:lnTo>
                <a:lnTo>
                  <a:pt x="362" y="390"/>
                </a:lnTo>
                <a:lnTo>
                  <a:pt x="371" y="388"/>
                </a:lnTo>
                <a:lnTo>
                  <a:pt x="379" y="386"/>
                </a:lnTo>
                <a:lnTo>
                  <a:pt x="379" y="386"/>
                </a:lnTo>
                <a:lnTo>
                  <a:pt x="393" y="380"/>
                </a:lnTo>
                <a:lnTo>
                  <a:pt x="404" y="375"/>
                </a:lnTo>
                <a:lnTo>
                  <a:pt x="415" y="368"/>
                </a:lnTo>
                <a:lnTo>
                  <a:pt x="415" y="368"/>
                </a:lnTo>
                <a:lnTo>
                  <a:pt x="425" y="360"/>
                </a:lnTo>
                <a:lnTo>
                  <a:pt x="430" y="355"/>
                </a:lnTo>
                <a:lnTo>
                  <a:pt x="435" y="349"/>
                </a:lnTo>
                <a:lnTo>
                  <a:pt x="439" y="342"/>
                </a:lnTo>
                <a:lnTo>
                  <a:pt x="443" y="333"/>
                </a:lnTo>
                <a:lnTo>
                  <a:pt x="446" y="323"/>
                </a:lnTo>
                <a:lnTo>
                  <a:pt x="448" y="3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8" name="Freeform 35"/>
          <p:cNvSpPr>
            <a:spLocks/>
          </p:cNvSpPr>
          <p:nvPr userDrawn="1"/>
        </p:nvSpPr>
        <p:spPr bwMode="auto">
          <a:xfrm>
            <a:off x="7245350" y="1206203"/>
            <a:ext cx="73025" cy="80963"/>
          </a:xfrm>
          <a:custGeom>
            <a:avLst/>
            <a:gdLst>
              <a:gd name="T0" fmla="*/ 554 w 554"/>
              <a:gd name="T1" fmla="*/ 356 h 620"/>
              <a:gd name="T2" fmla="*/ 549 w 554"/>
              <a:gd name="T3" fmla="*/ 350 h 620"/>
              <a:gd name="T4" fmla="*/ 535 w 554"/>
              <a:gd name="T5" fmla="*/ 331 h 620"/>
              <a:gd name="T6" fmla="*/ 525 w 554"/>
              <a:gd name="T7" fmla="*/ 306 h 620"/>
              <a:gd name="T8" fmla="*/ 520 w 554"/>
              <a:gd name="T9" fmla="*/ 285 h 620"/>
              <a:gd name="T10" fmla="*/ 516 w 554"/>
              <a:gd name="T11" fmla="*/ 258 h 620"/>
              <a:gd name="T12" fmla="*/ 515 w 554"/>
              <a:gd name="T13" fmla="*/ 243 h 620"/>
              <a:gd name="T14" fmla="*/ 516 w 554"/>
              <a:gd name="T15" fmla="*/ 222 h 620"/>
              <a:gd name="T16" fmla="*/ 520 w 554"/>
              <a:gd name="T17" fmla="*/ 202 h 620"/>
              <a:gd name="T18" fmla="*/ 532 w 554"/>
              <a:gd name="T19" fmla="*/ 167 h 620"/>
              <a:gd name="T20" fmla="*/ 546 w 554"/>
              <a:gd name="T21" fmla="*/ 142 h 620"/>
              <a:gd name="T22" fmla="*/ 551 w 554"/>
              <a:gd name="T23" fmla="*/ 43 h 620"/>
              <a:gd name="T24" fmla="*/ 542 w 554"/>
              <a:gd name="T25" fmla="*/ 36 h 620"/>
              <a:gd name="T26" fmla="*/ 504 w 554"/>
              <a:gd name="T27" fmla="*/ 13 h 620"/>
              <a:gd name="T28" fmla="*/ 482 w 554"/>
              <a:gd name="T29" fmla="*/ 2 h 620"/>
              <a:gd name="T30" fmla="*/ 470 w 554"/>
              <a:gd name="T31" fmla="*/ 0 h 620"/>
              <a:gd name="T32" fmla="*/ 465 w 554"/>
              <a:gd name="T33" fmla="*/ 327 h 620"/>
              <a:gd name="T34" fmla="*/ 465 w 554"/>
              <a:gd name="T35" fmla="*/ 339 h 620"/>
              <a:gd name="T36" fmla="*/ 458 w 554"/>
              <a:gd name="T37" fmla="*/ 360 h 620"/>
              <a:gd name="T38" fmla="*/ 444 w 554"/>
              <a:gd name="T39" fmla="*/ 382 h 620"/>
              <a:gd name="T40" fmla="*/ 426 w 554"/>
              <a:gd name="T41" fmla="*/ 402 h 620"/>
              <a:gd name="T42" fmla="*/ 405 w 554"/>
              <a:gd name="T43" fmla="*/ 421 h 620"/>
              <a:gd name="T44" fmla="*/ 380 w 554"/>
              <a:gd name="T45" fmla="*/ 437 h 620"/>
              <a:gd name="T46" fmla="*/ 353 w 554"/>
              <a:gd name="T47" fmla="*/ 449 h 620"/>
              <a:gd name="T48" fmla="*/ 327 w 554"/>
              <a:gd name="T49" fmla="*/ 458 h 620"/>
              <a:gd name="T50" fmla="*/ 314 w 554"/>
              <a:gd name="T51" fmla="*/ 461 h 620"/>
              <a:gd name="T52" fmla="*/ 255 w 554"/>
              <a:gd name="T53" fmla="*/ 471 h 620"/>
              <a:gd name="T54" fmla="*/ 199 w 554"/>
              <a:gd name="T55" fmla="*/ 477 h 620"/>
              <a:gd name="T56" fmla="*/ 98 w 554"/>
              <a:gd name="T57" fmla="*/ 482 h 620"/>
              <a:gd name="T58" fmla="*/ 27 w 554"/>
              <a:gd name="T59" fmla="*/ 482 h 620"/>
              <a:gd name="T60" fmla="*/ 0 w 554"/>
              <a:gd name="T61" fmla="*/ 481 h 620"/>
              <a:gd name="T62" fmla="*/ 4 w 554"/>
              <a:gd name="T63" fmla="*/ 508 h 620"/>
              <a:gd name="T64" fmla="*/ 13 w 554"/>
              <a:gd name="T65" fmla="*/ 550 h 620"/>
              <a:gd name="T66" fmla="*/ 18 w 554"/>
              <a:gd name="T67" fmla="*/ 566 h 620"/>
              <a:gd name="T68" fmla="*/ 29 w 554"/>
              <a:gd name="T69" fmla="*/ 586 h 620"/>
              <a:gd name="T70" fmla="*/ 44 w 554"/>
              <a:gd name="T71" fmla="*/ 604 h 620"/>
              <a:gd name="T72" fmla="*/ 62 w 554"/>
              <a:gd name="T73" fmla="*/ 620 h 620"/>
              <a:gd name="T74" fmla="*/ 554 w 554"/>
              <a:gd name="T75" fmla="*/ 450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4" h="620">
                <a:moveTo>
                  <a:pt x="554" y="450"/>
                </a:moveTo>
                <a:lnTo>
                  <a:pt x="554" y="356"/>
                </a:lnTo>
                <a:lnTo>
                  <a:pt x="554" y="356"/>
                </a:lnTo>
                <a:lnTo>
                  <a:pt x="549" y="350"/>
                </a:lnTo>
                <a:lnTo>
                  <a:pt x="543" y="342"/>
                </a:lnTo>
                <a:lnTo>
                  <a:pt x="535" y="331"/>
                </a:lnTo>
                <a:lnTo>
                  <a:pt x="528" y="315"/>
                </a:lnTo>
                <a:lnTo>
                  <a:pt x="525" y="306"/>
                </a:lnTo>
                <a:lnTo>
                  <a:pt x="522" y="296"/>
                </a:lnTo>
                <a:lnTo>
                  <a:pt x="520" y="285"/>
                </a:lnTo>
                <a:lnTo>
                  <a:pt x="517" y="271"/>
                </a:lnTo>
                <a:lnTo>
                  <a:pt x="516" y="258"/>
                </a:lnTo>
                <a:lnTo>
                  <a:pt x="515" y="243"/>
                </a:lnTo>
                <a:lnTo>
                  <a:pt x="515" y="243"/>
                </a:lnTo>
                <a:lnTo>
                  <a:pt x="515" y="232"/>
                </a:lnTo>
                <a:lnTo>
                  <a:pt x="516" y="222"/>
                </a:lnTo>
                <a:lnTo>
                  <a:pt x="517" y="212"/>
                </a:lnTo>
                <a:lnTo>
                  <a:pt x="520" y="202"/>
                </a:lnTo>
                <a:lnTo>
                  <a:pt x="526" y="183"/>
                </a:lnTo>
                <a:lnTo>
                  <a:pt x="532" y="167"/>
                </a:lnTo>
                <a:lnTo>
                  <a:pt x="540" y="154"/>
                </a:lnTo>
                <a:lnTo>
                  <a:pt x="546" y="142"/>
                </a:lnTo>
                <a:lnTo>
                  <a:pt x="552" y="133"/>
                </a:lnTo>
                <a:lnTo>
                  <a:pt x="551" y="43"/>
                </a:lnTo>
                <a:lnTo>
                  <a:pt x="551" y="43"/>
                </a:lnTo>
                <a:lnTo>
                  <a:pt x="542" y="36"/>
                </a:lnTo>
                <a:lnTo>
                  <a:pt x="518" y="21"/>
                </a:lnTo>
                <a:lnTo>
                  <a:pt x="504" y="13"/>
                </a:lnTo>
                <a:lnTo>
                  <a:pt x="489" y="5"/>
                </a:lnTo>
                <a:lnTo>
                  <a:pt x="482" y="2"/>
                </a:lnTo>
                <a:lnTo>
                  <a:pt x="476" y="1"/>
                </a:lnTo>
                <a:lnTo>
                  <a:pt x="470" y="0"/>
                </a:lnTo>
                <a:lnTo>
                  <a:pt x="464" y="0"/>
                </a:lnTo>
                <a:lnTo>
                  <a:pt x="465" y="327"/>
                </a:lnTo>
                <a:lnTo>
                  <a:pt x="465" y="327"/>
                </a:lnTo>
                <a:lnTo>
                  <a:pt x="465" y="339"/>
                </a:lnTo>
                <a:lnTo>
                  <a:pt x="462" y="349"/>
                </a:lnTo>
                <a:lnTo>
                  <a:pt x="458" y="360"/>
                </a:lnTo>
                <a:lnTo>
                  <a:pt x="452" y="370"/>
                </a:lnTo>
                <a:lnTo>
                  <a:pt x="444" y="382"/>
                </a:lnTo>
                <a:lnTo>
                  <a:pt x="436" y="392"/>
                </a:lnTo>
                <a:lnTo>
                  <a:pt x="426" y="402"/>
                </a:lnTo>
                <a:lnTo>
                  <a:pt x="416" y="411"/>
                </a:lnTo>
                <a:lnTo>
                  <a:pt x="405" y="421"/>
                </a:lnTo>
                <a:lnTo>
                  <a:pt x="392" y="429"/>
                </a:lnTo>
                <a:lnTo>
                  <a:pt x="380" y="437"/>
                </a:lnTo>
                <a:lnTo>
                  <a:pt x="367" y="443"/>
                </a:lnTo>
                <a:lnTo>
                  <a:pt x="353" y="449"/>
                </a:lnTo>
                <a:lnTo>
                  <a:pt x="340" y="454"/>
                </a:lnTo>
                <a:lnTo>
                  <a:pt x="327" y="458"/>
                </a:lnTo>
                <a:lnTo>
                  <a:pt x="314" y="461"/>
                </a:lnTo>
                <a:lnTo>
                  <a:pt x="314" y="461"/>
                </a:lnTo>
                <a:lnTo>
                  <a:pt x="284" y="467"/>
                </a:lnTo>
                <a:lnTo>
                  <a:pt x="255" y="471"/>
                </a:lnTo>
                <a:lnTo>
                  <a:pt x="227" y="474"/>
                </a:lnTo>
                <a:lnTo>
                  <a:pt x="199" y="477"/>
                </a:lnTo>
                <a:lnTo>
                  <a:pt x="146" y="480"/>
                </a:lnTo>
                <a:lnTo>
                  <a:pt x="98" y="482"/>
                </a:lnTo>
                <a:lnTo>
                  <a:pt x="58" y="482"/>
                </a:lnTo>
                <a:lnTo>
                  <a:pt x="27" y="482"/>
                </a:lnTo>
                <a:lnTo>
                  <a:pt x="0" y="481"/>
                </a:lnTo>
                <a:lnTo>
                  <a:pt x="0" y="481"/>
                </a:lnTo>
                <a:lnTo>
                  <a:pt x="1" y="488"/>
                </a:lnTo>
                <a:lnTo>
                  <a:pt x="4" y="508"/>
                </a:lnTo>
                <a:lnTo>
                  <a:pt x="10" y="535"/>
                </a:lnTo>
                <a:lnTo>
                  <a:pt x="13" y="550"/>
                </a:lnTo>
                <a:lnTo>
                  <a:pt x="18" y="566"/>
                </a:lnTo>
                <a:lnTo>
                  <a:pt x="18" y="566"/>
                </a:lnTo>
                <a:lnTo>
                  <a:pt x="23" y="576"/>
                </a:lnTo>
                <a:lnTo>
                  <a:pt x="29" y="586"/>
                </a:lnTo>
                <a:lnTo>
                  <a:pt x="36" y="595"/>
                </a:lnTo>
                <a:lnTo>
                  <a:pt x="44" y="604"/>
                </a:lnTo>
                <a:lnTo>
                  <a:pt x="57" y="616"/>
                </a:lnTo>
                <a:lnTo>
                  <a:pt x="62" y="620"/>
                </a:lnTo>
                <a:lnTo>
                  <a:pt x="451" y="620"/>
                </a:lnTo>
                <a:lnTo>
                  <a:pt x="554" y="4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9" name="Freeform 36"/>
          <p:cNvSpPr>
            <a:spLocks/>
          </p:cNvSpPr>
          <p:nvPr userDrawn="1"/>
        </p:nvSpPr>
        <p:spPr bwMode="auto">
          <a:xfrm>
            <a:off x="7251700" y="1298278"/>
            <a:ext cx="57150" cy="17463"/>
          </a:xfrm>
          <a:custGeom>
            <a:avLst/>
            <a:gdLst>
              <a:gd name="T0" fmla="*/ 20 w 435"/>
              <a:gd name="T1" fmla="*/ 142 h 142"/>
              <a:gd name="T2" fmla="*/ 411 w 435"/>
              <a:gd name="T3" fmla="*/ 142 h 142"/>
              <a:gd name="T4" fmla="*/ 411 w 435"/>
              <a:gd name="T5" fmla="*/ 142 h 142"/>
              <a:gd name="T6" fmla="*/ 422 w 435"/>
              <a:gd name="T7" fmla="*/ 109 h 142"/>
              <a:gd name="T8" fmla="*/ 430 w 435"/>
              <a:gd name="T9" fmla="*/ 83 h 142"/>
              <a:gd name="T10" fmla="*/ 433 w 435"/>
              <a:gd name="T11" fmla="*/ 72 h 142"/>
              <a:gd name="T12" fmla="*/ 435 w 435"/>
              <a:gd name="T13" fmla="*/ 63 h 142"/>
              <a:gd name="T14" fmla="*/ 417 w 435"/>
              <a:gd name="T15" fmla="*/ 0 h 142"/>
              <a:gd name="T16" fmla="*/ 22 w 435"/>
              <a:gd name="T17" fmla="*/ 0 h 142"/>
              <a:gd name="T18" fmla="*/ 0 w 435"/>
              <a:gd name="T19" fmla="*/ 65 h 142"/>
              <a:gd name="T20" fmla="*/ 20 w 435"/>
              <a:gd name="T2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5" h="142">
                <a:moveTo>
                  <a:pt x="20" y="142"/>
                </a:moveTo>
                <a:lnTo>
                  <a:pt x="411" y="142"/>
                </a:lnTo>
                <a:lnTo>
                  <a:pt x="411" y="142"/>
                </a:lnTo>
                <a:lnTo>
                  <a:pt x="422" y="109"/>
                </a:lnTo>
                <a:lnTo>
                  <a:pt x="430" y="83"/>
                </a:lnTo>
                <a:lnTo>
                  <a:pt x="433" y="72"/>
                </a:lnTo>
                <a:lnTo>
                  <a:pt x="435" y="63"/>
                </a:lnTo>
                <a:lnTo>
                  <a:pt x="417" y="0"/>
                </a:lnTo>
                <a:lnTo>
                  <a:pt x="22" y="0"/>
                </a:lnTo>
                <a:lnTo>
                  <a:pt x="0" y="65"/>
                </a:lnTo>
                <a:lnTo>
                  <a:pt x="20" y="1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0" name="Freeform 37"/>
          <p:cNvSpPr>
            <a:spLocks/>
          </p:cNvSpPr>
          <p:nvPr userDrawn="1"/>
        </p:nvSpPr>
        <p:spPr bwMode="auto">
          <a:xfrm>
            <a:off x="7254875" y="1326853"/>
            <a:ext cx="57150" cy="66675"/>
          </a:xfrm>
          <a:custGeom>
            <a:avLst/>
            <a:gdLst>
              <a:gd name="T0" fmla="*/ 384 w 436"/>
              <a:gd name="T1" fmla="*/ 0 h 514"/>
              <a:gd name="T2" fmla="*/ 2 w 436"/>
              <a:gd name="T3" fmla="*/ 0 h 514"/>
              <a:gd name="T4" fmla="*/ 0 w 436"/>
              <a:gd name="T5" fmla="*/ 505 h 514"/>
              <a:gd name="T6" fmla="*/ 331 w 436"/>
              <a:gd name="T7" fmla="*/ 514 h 514"/>
              <a:gd name="T8" fmla="*/ 436 w 436"/>
              <a:gd name="T9" fmla="*/ 431 h 514"/>
              <a:gd name="T10" fmla="*/ 384 w 436"/>
              <a:gd name="T11" fmla="*/ 0 h 514"/>
            </a:gdLst>
            <a:ahLst/>
            <a:cxnLst>
              <a:cxn ang="0">
                <a:pos x="T0" y="T1"/>
              </a:cxn>
              <a:cxn ang="0">
                <a:pos x="T2" y="T3"/>
              </a:cxn>
              <a:cxn ang="0">
                <a:pos x="T4" y="T5"/>
              </a:cxn>
              <a:cxn ang="0">
                <a:pos x="T6" y="T7"/>
              </a:cxn>
              <a:cxn ang="0">
                <a:pos x="T8" y="T9"/>
              </a:cxn>
              <a:cxn ang="0">
                <a:pos x="T10" y="T11"/>
              </a:cxn>
            </a:cxnLst>
            <a:rect l="0" t="0" r="r" b="b"/>
            <a:pathLst>
              <a:path w="436" h="514">
                <a:moveTo>
                  <a:pt x="384" y="0"/>
                </a:moveTo>
                <a:lnTo>
                  <a:pt x="2" y="0"/>
                </a:lnTo>
                <a:lnTo>
                  <a:pt x="0" y="505"/>
                </a:lnTo>
                <a:lnTo>
                  <a:pt x="331" y="514"/>
                </a:lnTo>
                <a:lnTo>
                  <a:pt x="436" y="431"/>
                </a:lnTo>
                <a:lnTo>
                  <a:pt x="3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1" name="Freeform 38"/>
          <p:cNvSpPr>
            <a:spLocks/>
          </p:cNvSpPr>
          <p:nvPr userDrawn="1"/>
        </p:nvSpPr>
        <p:spPr bwMode="auto">
          <a:xfrm>
            <a:off x="7251700" y="1391940"/>
            <a:ext cx="77788" cy="68263"/>
          </a:xfrm>
          <a:custGeom>
            <a:avLst/>
            <a:gdLst>
              <a:gd name="T0" fmla="*/ 586 w 586"/>
              <a:gd name="T1" fmla="*/ 139 h 523"/>
              <a:gd name="T2" fmla="*/ 586 w 586"/>
              <a:gd name="T3" fmla="*/ 139 h 523"/>
              <a:gd name="T4" fmla="*/ 552 w 586"/>
              <a:gd name="T5" fmla="*/ 115 h 523"/>
              <a:gd name="T6" fmla="*/ 527 w 586"/>
              <a:gd name="T7" fmla="*/ 97 h 523"/>
              <a:gd name="T8" fmla="*/ 519 w 586"/>
              <a:gd name="T9" fmla="*/ 90 h 523"/>
              <a:gd name="T10" fmla="*/ 514 w 586"/>
              <a:gd name="T11" fmla="*/ 85 h 523"/>
              <a:gd name="T12" fmla="*/ 514 w 586"/>
              <a:gd name="T13" fmla="*/ 85 h 523"/>
              <a:gd name="T14" fmla="*/ 512 w 586"/>
              <a:gd name="T15" fmla="*/ 79 h 523"/>
              <a:gd name="T16" fmla="*/ 510 w 586"/>
              <a:gd name="T17" fmla="*/ 69 h 523"/>
              <a:gd name="T18" fmla="*/ 506 w 586"/>
              <a:gd name="T19" fmla="*/ 40 h 523"/>
              <a:gd name="T20" fmla="*/ 503 w 586"/>
              <a:gd name="T21" fmla="*/ 0 h 523"/>
              <a:gd name="T22" fmla="*/ 381 w 586"/>
              <a:gd name="T23" fmla="*/ 98 h 523"/>
              <a:gd name="T24" fmla="*/ 8 w 586"/>
              <a:gd name="T25" fmla="*/ 97 h 523"/>
              <a:gd name="T26" fmla="*/ 8 w 586"/>
              <a:gd name="T27" fmla="*/ 97 h 523"/>
              <a:gd name="T28" fmla="*/ 8 w 586"/>
              <a:gd name="T29" fmla="*/ 98 h 523"/>
              <a:gd name="T30" fmla="*/ 7 w 586"/>
              <a:gd name="T31" fmla="*/ 100 h 523"/>
              <a:gd name="T32" fmla="*/ 5 w 586"/>
              <a:gd name="T33" fmla="*/ 108 h 523"/>
              <a:gd name="T34" fmla="*/ 3 w 586"/>
              <a:gd name="T35" fmla="*/ 139 h 523"/>
              <a:gd name="T36" fmla="*/ 2 w 586"/>
              <a:gd name="T37" fmla="*/ 183 h 523"/>
              <a:gd name="T38" fmla="*/ 1 w 586"/>
              <a:gd name="T39" fmla="*/ 233 h 523"/>
              <a:gd name="T40" fmla="*/ 0 w 586"/>
              <a:gd name="T41" fmla="*/ 327 h 523"/>
              <a:gd name="T42" fmla="*/ 0 w 586"/>
              <a:gd name="T43" fmla="*/ 369 h 523"/>
              <a:gd name="T44" fmla="*/ 0 w 586"/>
              <a:gd name="T45" fmla="*/ 369 h 523"/>
              <a:gd name="T46" fmla="*/ 29 w 586"/>
              <a:gd name="T47" fmla="*/ 395 h 523"/>
              <a:gd name="T48" fmla="*/ 95 w 586"/>
              <a:gd name="T49" fmla="*/ 448 h 523"/>
              <a:gd name="T50" fmla="*/ 131 w 586"/>
              <a:gd name="T51" fmla="*/ 477 h 523"/>
              <a:gd name="T52" fmla="*/ 162 w 586"/>
              <a:gd name="T53" fmla="*/ 501 h 523"/>
              <a:gd name="T54" fmla="*/ 186 w 586"/>
              <a:gd name="T55" fmla="*/ 517 h 523"/>
              <a:gd name="T56" fmla="*/ 193 w 586"/>
              <a:gd name="T57" fmla="*/ 522 h 523"/>
              <a:gd name="T58" fmla="*/ 195 w 586"/>
              <a:gd name="T59" fmla="*/ 523 h 523"/>
              <a:gd name="T60" fmla="*/ 197 w 586"/>
              <a:gd name="T61" fmla="*/ 523 h 523"/>
              <a:gd name="T62" fmla="*/ 448 w 586"/>
              <a:gd name="T63" fmla="*/ 206 h 523"/>
              <a:gd name="T64" fmla="*/ 586 w 586"/>
              <a:gd name="T65" fmla="*/ 139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86" h="523">
                <a:moveTo>
                  <a:pt x="586" y="139"/>
                </a:moveTo>
                <a:lnTo>
                  <a:pt x="586" y="139"/>
                </a:lnTo>
                <a:lnTo>
                  <a:pt x="552" y="115"/>
                </a:lnTo>
                <a:lnTo>
                  <a:pt x="527" y="97"/>
                </a:lnTo>
                <a:lnTo>
                  <a:pt x="519" y="90"/>
                </a:lnTo>
                <a:lnTo>
                  <a:pt x="514" y="85"/>
                </a:lnTo>
                <a:lnTo>
                  <a:pt x="514" y="85"/>
                </a:lnTo>
                <a:lnTo>
                  <a:pt x="512" y="79"/>
                </a:lnTo>
                <a:lnTo>
                  <a:pt x="510" y="69"/>
                </a:lnTo>
                <a:lnTo>
                  <a:pt x="506" y="40"/>
                </a:lnTo>
                <a:lnTo>
                  <a:pt x="503" y="0"/>
                </a:lnTo>
                <a:lnTo>
                  <a:pt x="381" y="98"/>
                </a:lnTo>
                <a:lnTo>
                  <a:pt x="8" y="97"/>
                </a:lnTo>
                <a:lnTo>
                  <a:pt x="8" y="97"/>
                </a:lnTo>
                <a:lnTo>
                  <a:pt x="8" y="98"/>
                </a:lnTo>
                <a:lnTo>
                  <a:pt x="7" y="100"/>
                </a:lnTo>
                <a:lnTo>
                  <a:pt x="5" y="108"/>
                </a:lnTo>
                <a:lnTo>
                  <a:pt x="3" y="139"/>
                </a:lnTo>
                <a:lnTo>
                  <a:pt x="2" y="183"/>
                </a:lnTo>
                <a:lnTo>
                  <a:pt x="1" y="233"/>
                </a:lnTo>
                <a:lnTo>
                  <a:pt x="0" y="327"/>
                </a:lnTo>
                <a:lnTo>
                  <a:pt x="0" y="369"/>
                </a:lnTo>
                <a:lnTo>
                  <a:pt x="0" y="369"/>
                </a:lnTo>
                <a:lnTo>
                  <a:pt x="29" y="395"/>
                </a:lnTo>
                <a:lnTo>
                  <a:pt x="95" y="448"/>
                </a:lnTo>
                <a:lnTo>
                  <a:pt x="131" y="477"/>
                </a:lnTo>
                <a:lnTo>
                  <a:pt x="162" y="501"/>
                </a:lnTo>
                <a:lnTo>
                  <a:pt x="186" y="517"/>
                </a:lnTo>
                <a:lnTo>
                  <a:pt x="193" y="522"/>
                </a:lnTo>
                <a:lnTo>
                  <a:pt x="195" y="523"/>
                </a:lnTo>
                <a:lnTo>
                  <a:pt x="197" y="523"/>
                </a:lnTo>
                <a:lnTo>
                  <a:pt x="448" y="206"/>
                </a:lnTo>
                <a:lnTo>
                  <a:pt x="586" y="13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2" name="Freeform 39"/>
          <p:cNvSpPr>
            <a:spLocks/>
          </p:cNvSpPr>
          <p:nvPr userDrawn="1"/>
        </p:nvSpPr>
        <p:spPr bwMode="auto">
          <a:xfrm>
            <a:off x="7288212" y="1417340"/>
            <a:ext cx="115888" cy="66675"/>
          </a:xfrm>
          <a:custGeom>
            <a:avLst/>
            <a:gdLst>
              <a:gd name="T0" fmla="*/ 226 w 879"/>
              <a:gd name="T1" fmla="*/ 65 h 509"/>
              <a:gd name="T2" fmla="*/ 0 w 879"/>
              <a:gd name="T3" fmla="*/ 355 h 509"/>
              <a:gd name="T4" fmla="*/ 369 w 879"/>
              <a:gd name="T5" fmla="*/ 509 h 509"/>
              <a:gd name="T6" fmla="*/ 369 w 879"/>
              <a:gd name="T7" fmla="*/ 509 h 509"/>
              <a:gd name="T8" fmla="*/ 409 w 879"/>
              <a:gd name="T9" fmla="*/ 487 h 509"/>
              <a:gd name="T10" fmla="*/ 452 w 879"/>
              <a:gd name="T11" fmla="*/ 464 h 509"/>
              <a:gd name="T12" fmla="*/ 495 w 879"/>
              <a:gd name="T13" fmla="*/ 439 h 509"/>
              <a:gd name="T14" fmla="*/ 538 w 879"/>
              <a:gd name="T15" fmla="*/ 413 h 509"/>
              <a:gd name="T16" fmla="*/ 623 w 879"/>
              <a:gd name="T17" fmla="*/ 361 h 509"/>
              <a:gd name="T18" fmla="*/ 703 w 879"/>
              <a:gd name="T19" fmla="*/ 311 h 509"/>
              <a:gd name="T20" fmla="*/ 773 w 879"/>
              <a:gd name="T21" fmla="*/ 266 h 509"/>
              <a:gd name="T22" fmla="*/ 829 w 879"/>
              <a:gd name="T23" fmla="*/ 229 h 509"/>
              <a:gd name="T24" fmla="*/ 879 w 879"/>
              <a:gd name="T25" fmla="*/ 196 h 509"/>
              <a:gd name="T26" fmla="*/ 359 w 879"/>
              <a:gd name="T27" fmla="*/ 0 h 509"/>
              <a:gd name="T28" fmla="*/ 226 w 879"/>
              <a:gd name="T29" fmla="*/ 65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9" h="509">
                <a:moveTo>
                  <a:pt x="226" y="65"/>
                </a:moveTo>
                <a:lnTo>
                  <a:pt x="0" y="355"/>
                </a:lnTo>
                <a:lnTo>
                  <a:pt x="369" y="509"/>
                </a:lnTo>
                <a:lnTo>
                  <a:pt x="369" y="509"/>
                </a:lnTo>
                <a:lnTo>
                  <a:pt x="409" y="487"/>
                </a:lnTo>
                <a:lnTo>
                  <a:pt x="452" y="464"/>
                </a:lnTo>
                <a:lnTo>
                  <a:pt x="495" y="439"/>
                </a:lnTo>
                <a:lnTo>
                  <a:pt x="538" y="413"/>
                </a:lnTo>
                <a:lnTo>
                  <a:pt x="623" y="361"/>
                </a:lnTo>
                <a:lnTo>
                  <a:pt x="703" y="311"/>
                </a:lnTo>
                <a:lnTo>
                  <a:pt x="773" y="266"/>
                </a:lnTo>
                <a:lnTo>
                  <a:pt x="829" y="229"/>
                </a:lnTo>
                <a:lnTo>
                  <a:pt x="879" y="196"/>
                </a:lnTo>
                <a:lnTo>
                  <a:pt x="359" y="0"/>
                </a:lnTo>
                <a:lnTo>
                  <a:pt x="226" y="6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3" name="Freeform 40"/>
          <p:cNvSpPr>
            <a:spLocks/>
          </p:cNvSpPr>
          <p:nvPr userDrawn="1"/>
        </p:nvSpPr>
        <p:spPr bwMode="auto">
          <a:xfrm>
            <a:off x="7323137" y="1172865"/>
            <a:ext cx="26988" cy="123825"/>
          </a:xfrm>
          <a:custGeom>
            <a:avLst/>
            <a:gdLst>
              <a:gd name="T0" fmla="*/ 170 w 211"/>
              <a:gd name="T1" fmla="*/ 388 h 928"/>
              <a:gd name="T2" fmla="*/ 169 w 211"/>
              <a:gd name="T3" fmla="*/ 133 h 928"/>
              <a:gd name="T4" fmla="*/ 171 w 211"/>
              <a:gd name="T5" fmla="*/ 84 h 928"/>
              <a:gd name="T6" fmla="*/ 172 w 211"/>
              <a:gd name="T7" fmla="*/ 79 h 928"/>
              <a:gd name="T8" fmla="*/ 182 w 211"/>
              <a:gd name="T9" fmla="*/ 64 h 928"/>
              <a:gd name="T10" fmla="*/ 188 w 211"/>
              <a:gd name="T11" fmla="*/ 53 h 928"/>
              <a:gd name="T12" fmla="*/ 192 w 211"/>
              <a:gd name="T13" fmla="*/ 36 h 928"/>
              <a:gd name="T14" fmla="*/ 191 w 211"/>
              <a:gd name="T15" fmla="*/ 18 h 928"/>
              <a:gd name="T16" fmla="*/ 188 w 211"/>
              <a:gd name="T17" fmla="*/ 0 h 928"/>
              <a:gd name="T18" fmla="*/ 6 w 211"/>
              <a:gd name="T19" fmla="*/ 0 h 928"/>
              <a:gd name="T20" fmla="*/ 4 w 211"/>
              <a:gd name="T21" fmla="*/ 8 h 928"/>
              <a:gd name="T22" fmla="*/ 5 w 211"/>
              <a:gd name="T23" fmla="*/ 33 h 928"/>
              <a:gd name="T24" fmla="*/ 7 w 211"/>
              <a:gd name="T25" fmla="*/ 43 h 928"/>
              <a:gd name="T26" fmla="*/ 17 w 211"/>
              <a:gd name="T27" fmla="*/ 65 h 928"/>
              <a:gd name="T28" fmla="*/ 28 w 211"/>
              <a:gd name="T29" fmla="*/ 80 h 928"/>
              <a:gd name="T30" fmla="*/ 33 w 211"/>
              <a:gd name="T31" fmla="*/ 388 h 928"/>
              <a:gd name="T32" fmla="*/ 29 w 211"/>
              <a:gd name="T33" fmla="*/ 395 h 928"/>
              <a:gd name="T34" fmla="*/ 19 w 211"/>
              <a:gd name="T35" fmla="*/ 412 h 928"/>
              <a:gd name="T36" fmla="*/ 9 w 211"/>
              <a:gd name="T37" fmla="*/ 443 h 928"/>
              <a:gd name="T38" fmla="*/ 0 w 211"/>
              <a:gd name="T39" fmla="*/ 487 h 928"/>
              <a:gd name="T40" fmla="*/ 0 w 211"/>
              <a:gd name="T41" fmla="*/ 498 h 928"/>
              <a:gd name="T42" fmla="*/ 1 w 211"/>
              <a:gd name="T43" fmla="*/ 518 h 928"/>
              <a:gd name="T44" fmla="*/ 10 w 211"/>
              <a:gd name="T45" fmla="*/ 546 h 928"/>
              <a:gd name="T46" fmla="*/ 23 w 211"/>
              <a:gd name="T47" fmla="*/ 576 h 928"/>
              <a:gd name="T48" fmla="*/ 35 w 211"/>
              <a:gd name="T49" fmla="*/ 594 h 928"/>
              <a:gd name="T50" fmla="*/ 31 w 211"/>
              <a:gd name="T51" fmla="*/ 850 h 928"/>
              <a:gd name="T52" fmla="*/ 23 w 211"/>
              <a:gd name="T53" fmla="*/ 859 h 928"/>
              <a:gd name="T54" fmla="*/ 18 w 211"/>
              <a:gd name="T55" fmla="*/ 871 h 928"/>
              <a:gd name="T56" fmla="*/ 14 w 211"/>
              <a:gd name="T57" fmla="*/ 888 h 928"/>
              <a:gd name="T58" fmla="*/ 14 w 211"/>
              <a:gd name="T59" fmla="*/ 898 h 928"/>
              <a:gd name="T60" fmla="*/ 15 w 211"/>
              <a:gd name="T61" fmla="*/ 919 h 928"/>
              <a:gd name="T62" fmla="*/ 18 w 211"/>
              <a:gd name="T63" fmla="*/ 928 h 928"/>
              <a:gd name="T64" fmla="*/ 188 w 211"/>
              <a:gd name="T65" fmla="*/ 928 h 928"/>
              <a:gd name="T66" fmla="*/ 191 w 211"/>
              <a:gd name="T67" fmla="*/ 906 h 928"/>
              <a:gd name="T68" fmla="*/ 190 w 211"/>
              <a:gd name="T69" fmla="*/ 881 h 928"/>
              <a:gd name="T70" fmla="*/ 188 w 211"/>
              <a:gd name="T71" fmla="*/ 873 h 928"/>
              <a:gd name="T72" fmla="*/ 179 w 211"/>
              <a:gd name="T73" fmla="*/ 857 h 928"/>
              <a:gd name="T74" fmla="*/ 169 w 211"/>
              <a:gd name="T75" fmla="*/ 846 h 928"/>
              <a:gd name="T76" fmla="*/ 168 w 211"/>
              <a:gd name="T77" fmla="*/ 594 h 928"/>
              <a:gd name="T78" fmla="*/ 190 w 211"/>
              <a:gd name="T79" fmla="*/ 561 h 928"/>
              <a:gd name="T80" fmla="*/ 202 w 211"/>
              <a:gd name="T81" fmla="*/ 537 h 928"/>
              <a:gd name="T82" fmla="*/ 210 w 211"/>
              <a:gd name="T83" fmla="*/ 507 h 928"/>
              <a:gd name="T84" fmla="*/ 211 w 211"/>
              <a:gd name="T85" fmla="*/ 491 h 928"/>
              <a:gd name="T86" fmla="*/ 211 w 211"/>
              <a:gd name="T87" fmla="*/ 482 h 928"/>
              <a:gd name="T88" fmla="*/ 206 w 211"/>
              <a:gd name="T89" fmla="*/ 458 h 928"/>
              <a:gd name="T90" fmla="*/ 195 w 211"/>
              <a:gd name="T91" fmla="*/ 428 h 928"/>
              <a:gd name="T92" fmla="*/ 181 w 211"/>
              <a:gd name="T93" fmla="*/ 405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1" h="928">
                <a:moveTo>
                  <a:pt x="170" y="388"/>
                </a:moveTo>
                <a:lnTo>
                  <a:pt x="170" y="388"/>
                </a:lnTo>
                <a:lnTo>
                  <a:pt x="169" y="238"/>
                </a:lnTo>
                <a:lnTo>
                  <a:pt x="169" y="133"/>
                </a:lnTo>
                <a:lnTo>
                  <a:pt x="170" y="96"/>
                </a:lnTo>
                <a:lnTo>
                  <a:pt x="171" y="84"/>
                </a:lnTo>
                <a:lnTo>
                  <a:pt x="172" y="79"/>
                </a:lnTo>
                <a:lnTo>
                  <a:pt x="172" y="79"/>
                </a:lnTo>
                <a:lnTo>
                  <a:pt x="177" y="71"/>
                </a:lnTo>
                <a:lnTo>
                  <a:pt x="182" y="64"/>
                </a:lnTo>
                <a:lnTo>
                  <a:pt x="188" y="53"/>
                </a:lnTo>
                <a:lnTo>
                  <a:pt x="188" y="53"/>
                </a:lnTo>
                <a:lnTo>
                  <a:pt x="191" y="45"/>
                </a:lnTo>
                <a:lnTo>
                  <a:pt x="192" y="36"/>
                </a:lnTo>
                <a:lnTo>
                  <a:pt x="192" y="28"/>
                </a:lnTo>
                <a:lnTo>
                  <a:pt x="191" y="18"/>
                </a:lnTo>
                <a:lnTo>
                  <a:pt x="189" y="5"/>
                </a:lnTo>
                <a:lnTo>
                  <a:pt x="188" y="0"/>
                </a:lnTo>
                <a:lnTo>
                  <a:pt x="6" y="0"/>
                </a:lnTo>
                <a:lnTo>
                  <a:pt x="6" y="0"/>
                </a:lnTo>
                <a:lnTo>
                  <a:pt x="5" y="4"/>
                </a:lnTo>
                <a:lnTo>
                  <a:pt x="4" y="8"/>
                </a:lnTo>
                <a:lnTo>
                  <a:pt x="4" y="20"/>
                </a:lnTo>
                <a:lnTo>
                  <a:pt x="5" y="33"/>
                </a:lnTo>
                <a:lnTo>
                  <a:pt x="7" y="43"/>
                </a:lnTo>
                <a:lnTo>
                  <a:pt x="7" y="43"/>
                </a:lnTo>
                <a:lnTo>
                  <a:pt x="11" y="54"/>
                </a:lnTo>
                <a:lnTo>
                  <a:pt x="17" y="65"/>
                </a:lnTo>
                <a:lnTo>
                  <a:pt x="24" y="76"/>
                </a:lnTo>
                <a:lnTo>
                  <a:pt x="28" y="80"/>
                </a:lnTo>
                <a:lnTo>
                  <a:pt x="33" y="83"/>
                </a:lnTo>
                <a:lnTo>
                  <a:pt x="33" y="388"/>
                </a:lnTo>
                <a:lnTo>
                  <a:pt x="33" y="388"/>
                </a:lnTo>
                <a:lnTo>
                  <a:pt x="29" y="395"/>
                </a:lnTo>
                <a:lnTo>
                  <a:pt x="24" y="402"/>
                </a:lnTo>
                <a:lnTo>
                  <a:pt x="19" y="412"/>
                </a:lnTo>
                <a:lnTo>
                  <a:pt x="14" y="426"/>
                </a:lnTo>
                <a:lnTo>
                  <a:pt x="9" y="443"/>
                </a:lnTo>
                <a:lnTo>
                  <a:pt x="4" y="463"/>
                </a:lnTo>
                <a:lnTo>
                  <a:pt x="0" y="487"/>
                </a:lnTo>
                <a:lnTo>
                  <a:pt x="0" y="487"/>
                </a:lnTo>
                <a:lnTo>
                  <a:pt x="0" y="498"/>
                </a:lnTo>
                <a:lnTo>
                  <a:pt x="0" y="508"/>
                </a:lnTo>
                <a:lnTo>
                  <a:pt x="1" y="518"/>
                </a:lnTo>
                <a:lnTo>
                  <a:pt x="4" y="529"/>
                </a:lnTo>
                <a:lnTo>
                  <a:pt x="10" y="546"/>
                </a:lnTo>
                <a:lnTo>
                  <a:pt x="16" y="562"/>
                </a:lnTo>
                <a:lnTo>
                  <a:pt x="23" y="576"/>
                </a:lnTo>
                <a:lnTo>
                  <a:pt x="29" y="585"/>
                </a:lnTo>
                <a:lnTo>
                  <a:pt x="35" y="594"/>
                </a:lnTo>
                <a:lnTo>
                  <a:pt x="31" y="850"/>
                </a:lnTo>
                <a:lnTo>
                  <a:pt x="31" y="850"/>
                </a:lnTo>
                <a:lnTo>
                  <a:pt x="29" y="852"/>
                </a:lnTo>
                <a:lnTo>
                  <a:pt x="23" y="859"/>
                </a:lnTo>
                <a:lnTo>
                  <a:pt x="20" y="864"/>
                </a:lnTo>
                <a:lnTo>
                  <a:pt x="18" y="871"/>
                </a:lnTo>
                <a:lnTo>
                  <a:pt x="15" y="879"/>
                </a:lnTo>
                <a:lnTo>
                  <a:pt x="14" y="888"/>
                </a:lnTo>
                <a:lnTo>
                  <a:pt x="14" y="888"/>
                </a:lnTo>
                <a:lnTo>
                  <a:pt x="14" y="898"/>
                </a:lnTo>
                <a:lnTo>
                  <a:pt x="14" y="906"/>
                </a:lnTo>
                <a:lnTo>
                  <a:pt x="15" y="919"/>
                </a:lnTo>
                <a:lnTo>
                  <a:pt x="17" y="926"/>
                </a:lnTo>
                <a:lnTo>
                  <a:pt x="18" y="928"/>
                </a:lnTo>
                <a:lnTo>
                  <a:pt x="188" y="928"/>
                </a:lnTo>
                <a:lnTo>
                  <a:pt x="188" y="928"/>
                </a:lnTo>
                <a:lnTo>
                  <a:pt x="190" y="920"/>
                </a:lnTo>
                <a:lnTo>
                  <a:pt x="191" y="906"/>
                </a:lnTo>
                <a:lnTo>
                  <a:pt x="190" y="889"/>
                </a:lnTo>
                <a:lnTo>
                  <a:pt x="190" y="881"/>
                </a:lnTo>
                <a:lnTo>
                  <a:pt x="188" y="873"/>
                </a:lnTo>
                <a:lnTo>
                  <a:pt x="188" y="873"/>
                </a:lnTo>
                <a:lnTo>
                  <a:pt x="185" y="864"/>
                </a:lnTo>
                <a:lnTo>
                  <a:pt x="179" y="857"/>
                </a:lnTo>
                <a:lnTo>
                  <a:pt x="174" y="851"/>
                </a:lnTo>
                <a:lnTo>
                  <a:pt x="169" y="846"/>
                </a:lnTo>
                <a:lnTo>
                  <a:pt x="168" y="594"/>
                </a:lnTo>
                <a:lnTo>
                  <a:pt x="168" y="594"/>
                </a:lnTo>
                <a:lnTo>
                  <a:pt x="181" y="573"/>
                </a:lnTo>
                <a:lnTo>
                  <a:pt x="190" y="561"/>
                </a:lnTo>
                <a:lnTo>
                  <a:pt x="196" y="550"/>
                </a:lnTo>
                <a:lnTo>
                  <a:pt x="202" y="537"/>
                </a:lnTo>
                <a:lnTo>
                  <a:pt x="207" y="522"/>
                </a:lnTo>
                <a:lnTo>
                  <a:pt x="210" y="507"/>
                </a:lnTo>
                <a:lnTo>
                  <a:pt x="211" y="499"/>
                </a:lnTo>
                <a:lnTo>
                  <a:pt x="211" y="491"/>
                </a:lnTo>
                <a:lnTo>
                  <a:pt x="211" y="491"/>
                </a:lnTo>
                <a:lnTo>
                  <a:pt x="211" y="482"/>
                </a:lnTo>
                <a:lnTo>
                  <a:pt x="210" y="473"/>
                </a:lnTo>
                <a:lnTo>
                  <a:pt x="206" y="458"/>
                </a:lnTo>
                <a:lnTo>
                  <a:pt x="201" y="443"/>
                </a:lnTo>
                <a:lnTo>
                  <a:pt x="195" y="428"/>
                </a:lnTo>
                <a:lnTo>
                  <a:pt x="189" y="416"/>
                </a:lnTo>
                <a:lnTo>
                  <a:pt x="181" y="405"/>
                </a:lnTo>
                <a:lnTo>
                  <a:pt x="170" y="3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4" name="Freeform 41"/>
          <p:cNvSpPr>
            <a:spLocks/>
          </p:cNvSpPr>
          <p:nvPr userDrawn="1"/>
        </p:nvSpPr>
        <p:spPr bwMode="auto">
          <a:xfrm>
            <a:off x="7351712" y="1209378"/>
            <a:ext cx="80963" cy="58738"/>
          </a:xfrm>
          <a:custGeom>
            <a:avLst/>
            <a:gdLst>
              <a:gd name="T0" fmla="*/ 617 w 617"/>
              <a:gd name="T1" fmla="*/ 73 h 442"/>
              <a:gd name="T2" fmla="*/ 433 w 617"/>
              <a:gd name="T3" fmla="*/ 70 h 442"/>
              <a:gd name="T4" fmla="*/ 202 w 617"/>
              <a:gd name="T5" fmla="*/ 68 h 442"/>
              <a:gd name="T6" fmla="*/ 195 w 617"/>
              <a:gd name="T7" fmla="*/ 67 h 442"/>
              <a:gd name="T8" fmla="*/ 174 w 617"/>
              <a:gd name="T9" fmla="*/ 61 h 442"/>
              <a:gd name="T10" fmla="*/ 137 w 617"/>
              <a:gd name="T11" fmla="*/ 44 h 442"/>
              <a:gd name="T12" fmla="*/ 84 w 617"/>
              <a:gd name="T13" fmla="*/ 16 h 442"/>
              <a:gd name="T14" fmla="*/ 53 w 617"/>
              <a:gd name="T15" fmla="*/ 2 h 442"/>
              <a:gd name="T16" fmla="*/ 40 w 617"/>
              <a:gd name="T17" fmla="*/ 0 h 442"/>
              <a:gd name="T18" fmla="*/ 37 w 617"/>
              <a:gd name="T19" fmla="*/ 2 h 442"/>
              <a:gd name="T20" fmla="*/ 22 w 617"/>
              <a:gd name="T21" fmla="*/ 38 h 442"/>
              <a:gd name="T22" fmla="*/ 1 w 617"/>
              <a:gd name="T23" fmla="*/ 91 h 442"/>
              <a:gd name="T24" fmla="*/ 19 w 617"/>
              <a:gd name="T25" fmla="*/ 113 h 442"/>
              <a:gd name="T26" fmla="*/ 38 w 617"/>
              <a:gd name="T27" fmla="*/ 147 h 442"/>
              <a:gd name="T28" fmla="*/ 47 w 617"/>
              <a:gd name="T29" fmla="*/ 169 h 442"/>
              <a:gd name="T30" fmla="*/ 52 w 617"/>
              <a:gd name="T31" fmla="*/ 191 h 442"/>
              <a:gd name="T32" fmla="*/ 55 w 617"/>
              <a:gd name="T33" fmla="*/ 216 h 442"/>
              <a:gd name="T34" fmla="*/ 53 w 617"/>
              <a:gd name="T35" fmla="*/ 235 h 442"/>
              <a:gd name="T36" fmla="*/ 48 w 617"/>
              <a:gd name="T37" fmla="*/ 265 h 442"/>
              <a:gd name="T38" fmla="*/ 42 w 617"/>
              <a:gd name="T39" fmla="*/ 283 h 442"/>
              <a:gd name="T40" fmla="*/ 32 w 617"/>
              <a:gd name="T41" fmla="*/ 304 h 442"/>
              <a:gd name="T42" fmla="*/ 19 w 617"/>
              <a:gd name="T43" fmla="*/ 324 h 442"/>
              <a:gd name="T44" fmla="*/ 0 w 617"/>
              <a:gd name="T45" fmla="*/ 345 h 442"/>
              <a:gd name="T46" fmla="*/ 23 w 617"/>
              <a:gd name="T47" fmla="*/ 391 h 442"/>
              <a:gd name="T48" fmla="*/ 47 w 617"/>
              <a:gd name="T49" fmla="*/ 435 h 442"/>
              <a:gd name="T50" fmla="*/ 52 w 617"/>
              <a:gd name="T51" fmla="*/ 442 h 442"/>
              <a:gd name="T52" fmla="*/ 84 w 617"/>
              <a:gd name="T53" fmla="*/ 423 h 442"/>
              <a:gd name="T54" fmla="*/ 129 w 617"/>
              <a:gd name="T55" fmla="*/ 400 h 442"/>
              <a:gd name="T56" fmla="*/ 183 w 617"/>
              <a:gd name="T57" fmla="*/ 378 h 442"/>
              <a:gd name="T58" fmla="*/ 211 w 617"/>
              <a:gd name="T59" fmla="*/ 371 h 442"/>
              <a:gd name="T60" fmla="*/ 224 w 617"/>
              <a:gd name="T61" fmla="*/ 369 h 442"/>
              <a:gd name="T62" fmla="*/ 330 w 617"/>
              <a:gd name="T63" fmla="*/ 363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17" h="442">
                <a:moveTo>
                  <a:pt x="330" y="363"/>
                </a:moveTo>
                <a:lnTo>
                  <a:pt x="617" y="73"/>
                </a:lnTo>
                <a:lnTo>
                  <a:pt x="617" y="73"/>
                </a:lnTo>
                <a:lnTo>
                  <a:pt x="433" y="70"/>
                </a:lnTo>
                <a:lnTo>
                  <a:pt x="324" y="69"/>
                </a:lnTo>
                <a:lnTo>
                  <a:pt x="202" y="68"/>
                </a:lnTo>
                <a:lnTo>
                  <a:pt x="202" y="68"/>
                </a:lnTo>
                <a:lnTo>
                  <a:pt x="195" y="67"/>
                </a:lnTo>
                <a:lnTo>
                  <a:pt x="185" y="65"/>
                </a:lnTo>
                <a:lnTo>
                  <a:pt x="174" y="61"/>
                </a:lnTo>
                <a:lnTo>
                  <a:pt x="163" y="56"/>
                </a:lnTo>
                <a:lnTo>
                  <a:pt x="137" y="44"/>
                </a:lnTo>
                <a:lnTo>
                  <a:pt x="110" y="30"/>
                </a:lnTo>
                <a:lnTo>
                  <a:pt x="84" y="16"/>
                </a:lnTo>
                <a:lnTo>
                  <a:pt x="63" y="6"/>
                </a:lnTo>
                <a:lnTo>
                  <a:pt x="53" y="2"/>
                </a:lnTo>
                <a:lnTo>
                  <a:pt x="45" y="1"/>
                </a:lnTo>
                <a:lnTo>
                  <a:pt x="40" y="0"/>
                </a:lnTo>
                <a:lnTo>
                  <a:pt x="38" y="1"/>
                </a:lnTo>
                <a:lnTo>
                  <a:pt x="37" y="2"/>
                </a:lnTo>
                <a:lnTo>
                  <a:pt x="37" y="2"/>
                </a:lnTo>
                <a:lnTo>
                  <a:pt x="22" y="38"/>
                </a:lnTo>
                <a:lnTo>
                  <a:pt x="1" y="91"/>
                </a:lnTo>
                <a:lnTo>
                  <a:pt x="1" y="91"/>
                </a:lnTo>
                <a:lnTo>
                  <a:pt x="10" y="101"/>
                </a:lnTo>
                <a:lnTo>
                  <a:pt x="19" y="113"/>
                </a:lnTo>
                <a:lnTo>
                  <a:pt x="29" y="129"/>
                </a:lnTo>
                <a:lnTo>
                  <a:pt x="38" y="147"/>
                </a:lnTo>
                <a:lnTo>
                  <a:pt x="43" y="157"/>
                </a:lnTo>
                <a:lnTo>
                  <a:pt x="47" y="169"/>
                </a:lnTo>
                <a:lnTo>
                  <a:pt x="50" y="180"/>
                </a:lnTo>
                <a:lnTo>
                  <a:pt x="52" y="191"/>
                </a:lnTo>
                <a:lnTo>
                  <a:pt x="55" y="203"/>
                </a:lnTo>
                <a:lnTo>
                  <a:pt x="55" y="216"/>
                </a:lnTo>
                <a:lnTo>
                  <a:pt x="55" y="216"/>
                </a:lnTo>
                <a:lnTo>
                  <a:pt x="53" y="235"/>
                </a:lnTo>
                <a:lnTo>
                  <a:pt x="51" y="248"/>
                </a:lnTo>
                <a:lnTo>
                  <a:pt x="48" y="265"/>
                </a:lnTo>
                <a:lnTo>
                  <a:pt x="45" y="274"/>
                </a:lnTo>
                <a:lnTo>
                  <a:pt x="42" y="283"/>
                </a:lnTo>
                <a:lnTo>
                  <a:pt x="38" y="293"/>
                </a:lnTo>
                <a:lnTo>
                  <a:pt x="32" y="304"/>
                </a:lnTo>
                <a:lnTo>
                  <a:pt x="26" y="313"/>
                </a:lnTo>
                <a:lnTo>
                  <a:pt x="19" y="324"/>
                </a:lnTo>
                <a:lnTo>
                  <a:pt x="11" y="334"/>
                </a:lnTo>
                <a:lnTo>
                  <a:pt x="0" y="345"/>
                </a:lnTo>
                <a:lnTo>
                  <a:pt x="0" y="345"/>
                </a:lnTo>
                <a:lnTo>
                  <a:pt x="23" y="391"/>
                </a:lnTo>
                <a:lnTo>
                  <a:pt x="40" y="423"/>
                </a:lnTo>
                <a:lnTo>
                  <a:pt x="47" y="435"/>
                </a:lnTo>
                <a:lnTo>
                  <a:pt x="52" y="442"/>
                </a:lnTo>
                <a:lnTo>
                  <a:pt x="52" y="442"/>
                </a:lnTo>
                <a:lnTo>
                  <a:pt x="67" y="433"/>
                </a:lnTo>
                <a:lnTo>
                  <a:pt x="84" y="423"/>
                </a:lnTo>
                <a:lnTo>
                  <a:pt x="105" y="412"/>
                </a:lnTo>
                <a:lnTo>
                  <a:pt x="129" y="400"/>
                </a:lnTo>
                <a:lnTo>
                  <a:pt x="156" y="388"/>
                </a:lnTo>
                <a:lnTo>
                  <a:pt x="183" y="378"/>
                </a:lnTo>
                <a:lnTo>
                  <a:pt x="198" y="374"/>
                </a:lnTo>
                <a:lnTo>
                  <a:pt x="211" y="371"/>
                </a:lnTo>
                <a:lnTo>
                  <a:pt x="211" y="371"/>
                </a:lnTo>
                <a:lnTo>
                  <a:pt x="224" y="369"/>
                </a:lnTo>
                <a:lnTo>
                  <a:pt x="248" y="367"/>
                </a:lnTo>
                <a:lnTo>
                  <a:pt x="330" y="36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5" name="Freeform 42"/>
          <p:cNvSpPr>
            <a:spLocks/>
          </p:cNvSpPr>
          <p:nvPr userDrawn="1"/>
        </p:nvSpPr>
        <p:spPr bwMode="auto">
          <a:xfrm>
            <a:off x="7453312" y="1131590"/>
            <a:ext cx="158750" cy="127000"/>
          </a:xfrm>
          <a:custGeom>
            <a:avLst/>
            <a:gdLst>
              <a:gd name="T0" fmla="*/ 1179 w 1207"/>
              <a:gd name="T1" fmla="*/ 480 h 962"/>
              <a:gd name="T2" fmla="*/ 1115 w 1207"/>
              <a:gd name="T3" fmla="*/ 496 h 962"/>
              <a:gd name="T4" fmla="*/ 1079 w 1207"/>
              <a:gd name="T5" fmla="*/ 532 h 962"/>
              <a:gd name="T6" fmla="*/ 1057 w 1207"/>
              <a:gd name="T7" fmla="*/ 600 h 962"/>
              <a:gd name="T8" fmla="*/ 1046 w 1207"/>
              <a:gd name="T9" fmla="*/ 585 h 962"/>
              <a:gd name="T10" fmla="*/ 1007 w 1207"/>
              <a:gd name="T11" fmla="*/ 556 h 962"/>
              <a:gd name="T12" fmla="*/ 935 w 1207"/>
              <a:gd name="T13" fmla="*/ 562 h 962"/>
              <a:gd name="T14" fmla="*/ 930 w 1207"/>
              <a:gd name="T15" fmla="*/ 613 h 962"/>
              <a:gd name="T16" fmla="*/ 935 w 1207"/>
              <a:gd name="T17" fmla="*/ 696 h 962"/>
              <a:gd name="T18" fmla="*/ 890 w 1207"/>
              <a:gd name="T19" fmla="*/ 725 h 962"/>
              <a:gd name="T20" fmla="*/ 842 w 1207"/>
              <a:gd name="T21" fmla="*/ 709 h 962"/>
              <a:gd name="T22" fmla="*/ 816 w 1207"/>
              <a:gd name="T23" fmla="*/ 658 h 962"/>
              <a:gd name="T24" fmla="*/ 805 w 1207"/>
              <a:gd name="T25" fmla="*/ 643 h 962"/>
              <a:gd name="T26" fmla="*/ 749 w 1207"/>
              <a:gd name="T27" fmla="*/ 659 h 962"/>
              <a:gd name="T28" fmla="*/ 701 w 1207"/>
              <a:gd name="T29" fmla="*/ 634 h 962"/>
              <a:gd name="T30" fmla="*/ 694 w 1207"/>
              <a:gd name="T31" fmla="*/ 581 h 962"/>
              <a:gd name="T32" fmla="*/ 754 w 1207"/>
              <a:gd name="T33" fmla="*/ 540 h 962"/>
              <a:gd name="T34" fmla="*/ 824 w 1207"/>
              <a:gd name="T35" fmla="*/ 520 h 962"/>
              <a:gd name="T36" fmla="*/ 805 w 1207"/>
              <a:gd name="T37" fmla="*/ 460 h 962"/>
              <a:gd name="T38" fmla="*/ 764 w 1207"/>
              <a:gd name="T39" fmla="*/ 421 h 962"/>
              <a:gd name="T40" fmla="*/ 698 w 1207"/>
              <a:gd name="T41" fmla="*/ 414 h 962"/>
              <a:gd name="T42" fmla="*/ 672 w 1207"/>
              <a:gd name="T43" fmla="*/ 415 h 962"/>
              <a:gd name="T44" fmla="*/ 712 w 1207"/>
              <a:gd name="T45" fmla="*/ 360 h 962"/>
              <a:gd name="T46" fmla="*/ 709 w 1207"/>
              <a:gd name="T47" fmla="*/ 285 h 962"/>
              <a:gd name="T48" fmla="*/ 668 w 1207"/>
              <a:gd name="T49" fmla="*/ 214 h 962"/>
              <a:gd name="T50" fmla="*/ 606 w 1207"/>
              <a:gd name="T51" fmla="*/ 224 h 962"/>
              <a:gd name="T52" fmla="*/ 535 w 1207"/>
              <a:gd name="T53" fmla="*/ 272 h 962"/>
              <a:gd name="T54" fmla="*/ 516 w 1207"/>
              <a:gd name="T55" fmla="*/ 334 h 962"/>
              <a:gd name="T56" fmla="*/ 508 w 1207"/>
              <a:gd name="T57" fmla="*/ 341 h 962"/>
              <a:gd name="T58" fmla="*/ 458 w 1207"/>
              <a:gd name="T59" fmla="*/ 287 h 962"/>
              <a:gd name="T60" fmla="*/ 404 w 1207"/>
              <a:gd name="T61" fmla="*/ 278 h 962"/>
              <a:gd name="T62" fmla="*/ 345 w 1207"/>
              <a:gd name="T63" fmla="*/ 300 h 962"/>
              <a:gd name="T64" fmla="*/ 362 w 1207"/>
              <a:gd name="T65" fmla="*/ 357 h 962"/>
              <a:gd name="T66" fmla="*/ 382 w 1207"/>
              <a:gd name="T67" fmla="*/ 432 h 962"/>
              <a:gd name="T68" fmla="*/ 347 w 1207"/>
              <a:gd name="T69" fmla="*/ 472 h 962"/>
              <a:gd name="T70" fmla="*/ 292 w 1207"/>
              <a:gd name="T71" fmla="*/ 462 h 962"/>
              <a:gd name="T72" fmla="*/ 262 w 1207"/>
              <a:gd name="T73" fmla="*/ 417 h 962"/>
              <a:gd name="T74" fmla="*/ 249 w 1207"/>
              <a:gd name="T75" fmla="*/ 398 h 962"/>
              <a:gd name="T76" fmla="*/ 194 w 1207"/>
              <a:gd name="T77" fmla="*/ 421 h 962"/>
              <a:gd name="T78" fmla="*/ 147 w 1207"/>
              <a:gd name="T79" fmla="*/ 404 h 962"/>
              <a:gd name="T80" fmla="*/ 128 w 1207"/>
              <a:gd name="T81" fmla="*/ 354 h 962"/>
              <a:gd name="T82" fmla="*/ 178 w 1207"/>
              <a:gd name="T83" fmla="*/ 300 h 962"/>
              <a:gd name="T84" fmla="*/ 233 w 1207"/>
              <a:gd name="T85" fmla="*/ 262 h 962"/>
              <a:gd name="T86" fmla="*/ 195 w 1207"/>
              <a:gd name="T87" fmla="*/ 203 h 962"/>
              <a:gd name="T88" fmla="*/ 145 w 1207"/>
              <a:gd name="T89" fmla="*/ 185 h 962"/>
              <a:gd name="T90" fmla="*/ 115 w 1207"/>
              <a:gd name="T91" fmla="*/ 191 h 962"/>
              <a:gd name="T92" fmla="*/ 153 w 1207"/>
              <a:gd name="T93" fmla="*/ 136 h 962"/>
              <a:gd name="T94" fmla="*/ 157 w 1207"/>
              <a:gd name="T95" fmla="*/ 76 h 962"/>
              <a:gd name="T96" fmla="*/ 134 w 1207"/>
              <a:gd name="T97" fmla="*/ 28 h 962"/>
              <a:gd name="T98" fmla="*/ 269 w 1207"/>
              <a:gd name="T99" fmla="*/ 712 h 962"/>
              <a:gd name="T100" fmla="*/ 354 w 1207"/>
              <a:gd name="T101" fmla="*/ 656 h 962"/>
              <a:gd name="T102" fmla="*/ 437 w 1207"/>
              <a:gd name="T103" fmla="*/ 636 h 962"/>
              <a:gd name="T104" fmla="*/ 517 w 1207"/>
              <a:gd name="T105" fmla="*/ 643 h 962"/>
              <a:gd name="T106" fmla="*/ 610 w 1207"/>
              <a:gd name="T107" fmla="*/ 683 h 962"/>
              <a:gd name="T108" fmla="*/ 658 w 1207"/>
              <a:gd name="T109" fmla="*/ 735 h 962"/>
              <a:gd name="T110" fmla="*/ 673 w 1207"/>
              <a:gd name="T111" fmla="*/ 793 h 962"/>
              <a:gd name="T112" fmla="*/ 646 w 1207"/>
              <a:gd name="T113" fmla="*/ 877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07" h="962">
                <a:moveTo>
                  <a:pt x="841" y="962"/>
                </a:moveTo>
                <a:lnTo>
                  <a:pt x="1207" y="484"/>
                </a:lnTo>
                <a:lnTo>
                  <a:pt x="1207" y="484"/>
                </a:lnTo>
                <a:lnTo>
                  <a:pt x="1200" y="482"/>
                </a:lnTo>
                <a:lnTo>
                  <a:pt x="1190" y="481"/>
                </a:lnTo>
                <a:lnTo>
                  <a:pt x="1179" y="480"/>
                </a:lnTo>
                <a:lnTo>
                  <a:pt x="1166" y="480"/>
                </a:lnTo>
                <a:lnTo>
                  <a:pt x="1149" y="483"/>
                </a:lnTo>
                <a:lnTo>
                  <a:pt x="1141" y="485"/>
                </a:lnTo>
                <a:lnTo>
                  <a:pt x="1133" y="488"/>
                </a:lnTo>
                <a:lnTo>
                  <a:pt x="1124" y="492"/>
                </a:lnTo>
                <a:lnTo>
                  <a:pt x="1115" y="496"/>
                </a:lnTo>
                <a:lnTo>
                  <a:pt x="1115" y="496"/>
                </a:lnTo>
                <a:lnTo>
                  <a:pt x="1106" y="502"/>
                </a:lnTo>
                <a:lnTo>
                  <a:pt x="1097" y="508"/>
                </a:lnTo>
                <a:lnTo>
                  <a:pt x="1090" y="515"/>
                </a:lnTo>
                <a:lnTo>
                  <a:pt x="1084" y="523"/>
                </a:lnTo>
                <a:lnTo>
                  <a:pt x="1079" y="532"/>
                </a:lnTo>
                <a:lnTo>
                  <a:pt x="1074" y="540"/>
                </a:lnTo>
                <a:lnTo>
                  <a:pt x="1070" y="548"/>
                </a:lnTo>
                <a:lnTo>
                  <a:pt x="1067" y="557"/>
                </a:lnTo>
                <a:lnTo>
                  <a:pt x="1062" y="574"/>
                </a:lnTo>
                <a:lnTo>
                  <a:pt x="1058" y="589"/>
                </a:lnTo>
                <a:lnTo>
                  <a:pt x="1057" y="600"/>
                </a:lnTo>
                <a:lnTo>
                  <a:pt x="1058" y="605"/>
                </a:lnTo>
                <a:lnTo>
                  <a:pt x="1059" y="608"/>
                </a:lnTo>
                <a:lnTo>
                  <a:pt x="1059" y="608"/>
                </a:lnTo>
                <a:lnTo>
                  <a:pt x="1055" y="599"/>
                </a:lnTo>
                <a:lnTo>
                  <a:pt x="1051" y="592"/>
                </a:lnTo>
                <a:lnTo>
                  <a:pt x="1046" y="585"/>
                </a:lnTo>
                <a:lnTo>
                  <a:pt x="1041" y="579"/>
                </a:lnTo>
                <a:lnTo>
                  <a:pt x="1036" y="574"/>
                </a:lnTo>
                <a:lnTo>
                  <a:pt x="1031" y="568"/>
                </a:lnTo>
                <a:lnTo>
                  <a:pt x="1025" y="564"/>
                </a:lnTo>
                <a:lnTo>
                  <a:pt x="1020" y="561"/>
                </a:lnTo>
                <a:lnTo>
                  <a:pt x="1007" y="556"/>
                </a:lnTo>
                <a:lnTo>
                  <a:pt x="994" y="554"/>
                </a:lnTo>
                <a:lnTo>
                  <a:pt x="982" y="553"/>
                </a:lnTo>
                <a:lnTo>
                  <a:pt x="970" y="554"/>
                </a:lnTo>
                <a:lnTo>
                  <a:pt x="957" y="556"/>
                </a:lnTo>
                <a:lnTo>
                  <a:pt x="946" y="558"/>
                </a:lnTo>
                <a:lnTo>
                  <a:pt x="935" y="562"/>
                </a:lnTo>
                <a:lnTo>
                  <a:pt x="927" y="565"/>
                </a:lnTo>
                <a:lnTo>
                  <a:pt x="913" y="572"/>
                </a:lnTo>
                <a:lnTo>
                  <a:pt x="908" y="574"/>
                </a:lnTo>
                <a:lnTo>
                  <a:pt x="908" y="574"/>
                </a:lnTo>
                <a:lnTo>
                  <a:pt x="920" y="594"/>
                </a:lnTo>
                <a:lnTo>
                  <a:pt x="930" y="613"/>
                </a:lnTo>
                <a:lnTo>
                  <a:pt x="936" y="632"/>
                </a:lnTo>
                <a:lnTo>
                  <a:pt x="940" y="647"/>
                </a:lnTo>
                <a:lnTo>
                  <a:pt x="941" y="663"/>
                </a:lnTo>
                <a:lnTo>
                  <a:pt x="941" y="675"/>
                </a:lnTo>
                <a:lnTo>
                  <a:pt x="939" y="687"/>
                </a:lnTo>
                <a:lnTo>
                  <a:pt x="935" y="696"/>
                </a:lnTo>
                <a:lnTo>
                  <a:pt x="930" y="705"/>
                </a:lnTo>
                <a:lnTo>
                  <a:pt x="924" y="712"/>
                </a:lnTo>
                <a:lnTo>
                  <a:pt x="915" y="718"/>
                </a:lnTo>
                <a:lnTo>
                  <a:pt x="907" y="722"/>
                </a:lnTo>
                <a:lnTo>
                  <a:pt x="899" y="724"/>
                </a:lnTo>
                <a:lnTo>
                  <a:pt x="890" y="725"/>
                </a:lnTo>
                <a:lnTo>
                  <a:pt x="881" y="725"/>
                </a:lnTo>
                <a:lnTo>
                  <a:pt x="871" y="724"/>
                </a:lnTo>
                <a:lnTo>
                  <a:pt x="871" y="724"/>
                </a:lnTo>
                <a:lnTo>
                  <a:pt x="859" y="720"/>
                </a:lnTo>
                <a:lnTo>
                  <a:pt x="850" y="715"/>
                </a:lnTo>
                <a:lnTo>
                  <a:pt x="842" y="709"/>
                </a:lnTo>
                <a:lnTo>
                  <a:pt x="835" y="702"/>
                </a:lnTo>
                <a:lnTo>
                  <a:pt x="829" y="695"/>
                </a:lnTo>
                <a:lnTo>
                  <a:pt x="825" y="688"/>
                </a:lnTo>
                <a:lnTo>
                  <a:pt x="821" y="680"/>
                </a:lnTo>
                <a:lnTo>
                  <a:pt x="819" y="673"/>
                </a:lnTo>
                <a:lnTo>
                  <a:pt x="816" y="658"/>
                </a:lnTo>
                <a:lnTo>
                  <a:pt x="816" y="646"/>
                </a:lnTo>
                <a:lnTo>
                  <a:pt x="816" y="638"/>
                </a:lnTo>
                <a:lnTo>
                  <a:pt x="816" y="635"/>
                </a:lnTo>
                <a:lnTo>
                  <a:pt x="816" y="635"/>
                </a:lnTo>
                <a:lnTo>
                  <a:pt x="813" y="637"/>
                </a:lnTo>
                <a:lnTo>
                  <a:pt x="805" y="643"/>
                </a:lnTo>
                <a:lnTo>
                  <a:pt x="793" y="650"/>
                </a:lnTo>
                <a:lnTo>
                  <a:pt x="785" y="653"/>
                </a:lnTo>
                <a:lnTo>
                  <a:pt x="777" y="656"/>
                </a:lnTo>
                <a:lnTo>
                  <a:pt x="768" y="658"/>
                </a:lnTo>
                <a:lnTo>
                  <a:pt x="759" y="659"/>
                </a:lnTo>
                <a:lnTo>
                  <a:pt x="749" y="659"/>
                </a:lnTo>
                <a:lnTo>
                  <a:pt x="739" y="658"/>
                </a:lnTo>
                <a:lnTo>
                  <a:pt x="729" y="655"/>
                </a:lnTo>
                <a:lnTo>
                  <a:pt x="720" y="650"/>
                </a:lnTo>
                <a:lnTo>
                  <a:pt x="710" y="643"/>
                </a:lnTo>
                <a:lnTo>
                  <a:pt x="701" y="634"/>
                </a:lnTo>
                <a:lnTo>
                  <a:pt x="701" y="634"/>
                </a:lnTo>
                <a:lnTo>
                  <a:pt x="694" y="625"/>
                </a:lnTo>
                <a:lnTo>
                  <a:pt x="690" y="616"/>
                </a:lnTo>
                <a:lnTo>
                  <a:pt x="688" y="607"/>
                </a:lnTo>
                <a:lnTo>
                  <a:pt x="689" y="598"/>
                </a:lnTo>
                <a:lnTo>
                  <a:pt x="690" y="589"/>
                </a:lnTo>
                <a:lnTo>
                  <a:pt x="694" y="581"/>
                </a:lnTo>
                <a:lnTo>
                  <a:pt x="701" y="572"/>
                </a:lnTo>
                <a:lnTo>
                  <a:pt x="708" y="564"/>
                </a:lnTo>
                <a:lnTo>
                  <a:pt x="717" y="557"/>
                </a:lnTo>
                <a:lnTo>
                  <a:pt x="727" y="550"/>
                </a:lnTo>
                <a:lnTo>
                  <a:pt x="740" y="544"/>
                </a:lnTo>
                <a:lnTo>
                  <a:pt x="754" y="540"/>
                </a:lnTo>
                <a:lnTo>
                  <a:pt x="769" y="536"/>
                </a:lnTo>
                <a:lnTo>
                  <a:pt x="786" y="533"/>
                </a:lnTo>
                <a:lnTo>
                  <a:pt x="804" y="532"/>
                </a:lnTo>
                <a:lnTo>
                  <a:pt x="823" y="531"/>
                </a:lnTo>
                <a:lnTo>
                  <a:pt x="823" y="531"/>
                </a:lnTo>
                <a:lnTo>
                  <a:pt x="824" y="520"/>
                </a:lnTo>
                <a:lnTo>
                  <a:pt x="823" y="509"/>
                </a:lnTo>
                <a:lnTo>
                  <a:pt x="820" y="494"/>
                </a:lnTo>
                <a:lnTo>
                  <a:pt x="817" y="486"/>
                </a:lnTo>
                <a:lnTo>
                  <a:pt x="814" y="477"/>
                </a:lnTo>
                <a:lnTo>
                  <a:pt x="810" y="469"/>
                </a:lnTo>
                <a:lnTo>
                  <a:pt x="805" y="460"/>
                </a:lnTo>
                <a:lnTo>
                  <a:pt x="799" y="451"/>
                </a:lnTo>
                <a:lnTo>
                  <a:pt x="792" y="443"/>
                </a:lnTo>
                <a:lnTo>
                  <a:pt x="782" y="435"/>
                </a:lnTo>
                <a:lnTo>
                  <a:pt x="772" y="426"/>
                </a:lnTo>
                <a:lnTo>
                  <a:pt x="772" y="426"/>
                </a:lnTo>
                <a:lnTo>
                  <a:pt x="764" y="421"/>
                </a:lnTo>
                <a:lnTo>
                  <a:pt x="755" y="417"/>
                </a:lnTo>
                <a:lnTo>
                  <a:pt x="745" y="415"/>
                </a:lnTo>
                <a:lnTo>
                  <a:pt x="735" y="413"/>
                </a:lnTo>
                <a:lnTo>
                  <a:pt x="725" y="412"/>
                </a:lnTo>
                <a:lnTo>
                  <a:pt x="716" y="412"/>
                </a:lnTo>
                <a:lnTo>
                  <a:pt x="698" y="414"/>
                </a:lnTo>
                <a:lnTo>
                  <a:pt x="681" y="418"/>
                </a:lnTo>
                <a:lnTo>
                  <a:pt x="668" y="421"/>
                </a:lnTo>
                <a:lnTo>
                  <a:pt x="657" y="425"/>
                </a:lnTo>
                <a:lnTo>
                  <a:pt x="657" y="425"/>
                </a:lnTo>
                <a:lnTo>
                  <a:pt x="664" y="421"/>
                </a:lnTo>
                <a:lnTo>
                  <a:pt x="672" y="415"/>
                </a:lnTo>
                <a:lnTo>
                  <a:pt x="681" y="408"/>
                </a:lnTo>
                <a:lnTo>
                  <a:pt x="691" y="397"/>
                </a:lnTo>
                <a:lnTo>
                  <a:pt x="701" y="384"/>
                </a:lnTo>
                <a:lnTo>
                  <a:pt x="705" y="376"/>
                </a:lnTo>
                <a:lnTo>
                  <a:pt x="709" y="369"/>
                </a:lnTo>
                <a:lnTo>
                  <a:pt x="712" y="360"/>
                </a:lnTo>
                <a:lnTo>
                  <a:pt x="714" y="351"/>
                </a:lnTo>
                <a:lnTo>
                  <a:pt x="714" y="351"/>
                </a:lnTo>
                <a:lnTo>
                  <a:pt x="716" y="336"/>
                </a:lnTo>
                <a:lnTo>
                  <a:pt x="715" y="320"/>
                </a:lnTo>
                <a:lnTo>
                  <a:pt x="713" y="303"/>
                </a:lnTo>
                <a:lnTo>
                  <a:pt x="709" y="285"/>
                </a:lnTo>
                <a:lnTo>
                  <a:pt x="702" y="267"/>
                </a:lnTo>
                <a:lnTo>
                  <a:pt x="693" y="249"/>
                </a:lnTo>
                <a:lnTo>
                  <a:pt x="682" y="232"/>
                </a:lnTo>
                <a:lnTo>
                  <a:pt x="676" y="223"/>
                </a:lnTo>
                <a:lnTo>
                  <a:pt x="669" y="216"/>
                </a:lnTo>
                <a:lnTo>
                  <a:pt x="668" y="214"/>
                </a:lnTo>
                <a:lnTo>
                  <a:pt x="665" y="214"/>
                </a:lnTo>
                <a:lnTo>
                  <a:pt x="665" y="214"/>
                </a:lnTo>
                <a:lnTo>
                  <a:pt x="655" y="214"/>
                </a:lnTo>
                <a:lnTo>
                  <a:pt x="644" y="215"/>
                </a:lnTo>
                <a:lnTo>
                  <a:pt x="624" y="219"/>
                </a:lnTo>
                <a:lnTo>
                  <a:pt x="606" y="224"/>
                </a:lnTo>
                <a:lnTo>
                  <a:pt x="587" y="232"/>
                </a:lnTo>
                <a:lnTo>
                  <a:pt x="572" y="240"/>
                </a:lnTo>
                <a:lnTo>
                  <a:pt x="557" y="250"/>
                </a:lnTo>
                <a:lnTo>
                  <a:pt x="545" y="261"/>
                </a:lnTo>
                <a:lnTo>
                  <a:pt x="535" y="272"/>
                </a:lnTo>
                <a:lnTo>
                  <a:pt x="535" y="272"/>
                </a:lnTo>
                <a:lnTo>
                  <a:pt x="530" y="280"/>
                </a:lnTo>
                <a:lnTo>
                  <a:pt x="526" y="288"/>
                </a:lnTo>
                <a:lnTo>
                  <a:pt x="523" y="297"/>
                </a:lnTo>
                <a:lnTo>
                  <a:pt x="520" y="305"/>
                </a:lnTo>
                <a:lnTo>
                  <a:pt x="517" y="320"/>
                </a:lnTo>
                <a:lnTo>
                  <a:pt x="516" y="334"/>
                </a:lnTo>
                <a:lnTo>
                  <a:pt x="516" y="347"/>
                </a:lnTo>
                <a:lnTo>
                  <a:pt x="517" y="357"/>
                </a:lnTo>
                <a:lnTo>
                  <a:pt x="519" y="365"/>
                </a:lnTo>
                <a:lnTo>
                  <a:pt x="519" y="365"/>
                </a:lnTo>
                <a:lnTo>
                  <a:pt x="513" y="354"/>
                </a:lnTo>
                <a:lnTo>
                  <a:pt x="508" y="341"/>
                </a:lnTo>
                <a:lnTo>
                  <a:pt x="499" y="327"/>
                </a:lnTo>
                <a:lnTo>
                  <a:pt x="488" y="313"/>
                </a:lnTo>
                <a:lnTo>
                  <a:pt x="482" y="306"/>
                </a:lnTo>
                <a:lnTo>
                  <a:pt x="475" y="299"/>
                </a:lnTo>
                <a:lnTo>
                  <a:pt x="467" y="292"/>
                </a:lnTo>
                <a:lnTo>
                  <a:pt x="458" y="287"/>
                </a:lnTo>
                <a:lnTo>
                  <a:pt x="450" y="283"/>
                </a:lnTo>
                <a:lnTo>
                  <a:pt x="440" y="281"/>
                </a:lnTo>
                <a:lnTo>
                  <a:pt x="440" y="281"/>
                </a:lnTo>
                <a:lnTo>
                  <a:pt x="428" y="278"/>
                </a:lnTo>
                <a:lnTo>
                  <a:pt x="415" y="278"/>
                </a:lnTo>
                <a:lnTo>
                  <a:pt x="404" y="278"/>
                </a:lnTo>
                <a:lnTo>
                  <a:pt x="393" y="279"/>
                </a:lnTo>
                <a:lnTo>
                  <a:pt x="384" y="281"/>
                </a:lnTo>
                <a:lnTo>
                  <a:pt x="374" y="284"/>
                </a:lnTo>
                <a:lnTo>
                  <a:pt x="365" y="287"/>
                </a:lnTo>
                <a:lnTo>
                  <a:pt x="358" y="291"/>
                </a:lnTo>
                <a:lnTo>
                  <a:pt x="345" y="300"/>
                </a:lnTo>
                <a:lnTo>
                  <a:pt x="336" y="307"/>
                </a:lnTo>
                <a:lnTo>
                  <a:pt x="328" y="314"/>
                </a:lnTo>
                <a:lnTo>
                  <a:pt x="328" y="314"/>
                </a:lnTo>
                <a:lnTo>
                  <a:pt x="342" y="328"/>
                </a:lnTo>
                <a:lnTo>
                  <a:pt x="353" y="343"/>
                </a:lnTo>
                <a:lnTo>
                  <a:pt x="362" y="357"/>
                </a:lnTo>
                <a:lnTo>
                  <a:pt x="369" y="371"/>
                </a:lnTo>
                <a:lnTo>
                  <a:pt x="375" y="384"/>
                </a:lnTo>
                <a:lnTo>
                  <a:pt x="380" y="398"/>
                </a:lnTo>
                <a:lnTo>
                  <a:pt x="382" y="410"/>
                </a:lnTo>
                <a:lnTo>
                  <a:pt x="383" y="421"/>
                </a:lnTo>
                <a:lnTo>
                  <a:pt x="382" y="432"/>
                </a:lnTo>
                <a:lnTo>
                  <a:pt x="380" y="442"/>
                </a:lnTo>
                <a:lnTo>
                  <a:pt x="375" y="451"/>
                </a:lnTo>
                <a:lnTo>
                  <a:pt x="370" y="458"/>
                </a:lnTo>
                <a:lnTo>
                  <a:pt x="363" y="464"/>
                </a:lnTo>
                <a:lnTo>
                  <a:pt x="356" y="469"/>
                </a:lnTo>
                <a:lnTo>
                  <a:pt x="347" y="472"/>
                </a:lnTo>
                <a:lnTo>
                  <a:pt x="337" y="473"/>
                </a:lnTo>
                <a:lnTo>
                  <a:pt x="337" y="473"/>
                </a:lnTo>
                <a:lnTo>
                  <a:pt x="322" y="473"/>
                </a:lnTo>
                <a:lnTo>
                  <a:pt x="311" y="471"/>
                </a:lnTo>
                <a:lnTo>
                  <a:pt x="301" y="467"/>
                </a:lnTo>
                <a:lnTo>
                  <a:pt x="292" y="462"/>
                </a:lnTo>
                <a:lnTo>
                  <a:pt x="283" y="456"/>
                </a:lnTo>
                <a:lnTo>
                  <a:pt x="277" y="449"/>
                </a:lnTo>
                <a:lnTo>
                  <a:pt x="272" y="441"/>
                </a:lnTo>
                <a:lnTo>
                  <a:pt x="268" y="432"/>
                </a:lnTo>
                <a:lnTo>
                  <a:pt x="264" y="424"/>
                </a:lnTo>
                <a:lnTo>
                  <a:pt x="262" y="417"/>
                </a:lnTo>
                <a:lnTo>
                  <a:pt x="259" y="403"/>
                </a:lnTo>
                <a:lnTo>
                  <a:pt x="257" y="393"/>
                </a:lnTo>
                <a:lnTo>
                  <a:pt x="257" y="390"/>
                </a:lnTo>
                <a:lnTo>
                  <a:pt x="257" y="390"/>
                </a:lnTo>
                <a:lnTo>
                  <a:pt x="255" y="392"/>
                </a:lnTo>
                <a:lnTo>
                  <a:pt x="249" y="398"/>
                </a:lnTo>
                <a:lnTo>
                  <a:pt x="239" y="405"/>
                </a:lnTo>
                <a:lnTo>
                  <a:pt x="227" y="413"/>
                </a:lnTo>
                <a:lnTo>
                  <a:pt x="220" y="416"/>
                </a:lnTo>
                <a:lnTo>
                  <a:pt x="212" y="419"/>
                </a:lnTo>
                <a:lnTo>
                  <a:pt x="204" y="420"/>
                </a:lnTo>
                <a:lnTo>
                  <a:pt x="194" y="421"/>
                </a:lnTo>
                <a:lnTo>
                  <a:pt x="185" y="421"/>
                </a:lnTo>
                <a:lnTo>
                  <a:pt x="175" y="419"/>
                </a:lnTo>
                <a:lnTo>
                  <a:pt x="165" y="415"/>
                </a:lnTo>
                <a:lnTo>
                  <a:pt x="155" y="409"/>
                </a:lnTo>
                <a:lnTo>
                  <a:pt x="155" y="409"/>
                </a:lnTo>
                <a:lnTo>
                  <a:pt x="147" y="404"/>
                </a:lnTo>
                <a:lnTo>
                  <a:pt x="140" y="397"/>
                </a:lnTo>
                <a:lnTo>
                  <a:pt x="135" y="390"/>
                </a:lnTo>
                <a:lnTo>
                  <a:pt x="131" y="381"/>
                </a:lnTo>
                <a:lnTo>
                  <a:pt x="129" y="372"/>
                </a:lnTo>
                <a:lnTo>
                  <a:pt x="128" y="363"/>
                </a:lnTo>
                <a:lnTo>
                  <a:pt x="128" y="354"/>
                </a:lnTo>
                <a:lnTo>
                  <a:pt x="131" y="345"/>
                </a:lnTo>
                <a:lnTo>
                  <a:pt x="136" y="334"/>
                </a:lnTo>
                <a:lnTo>
                  <a:pt x="142" y="325"/>
                </a:lnTo>
                <a:lnTo>
                  <a:pt x="153" y="316"/>
                </a:lnTo>
                <a:lnTo>
                  <a:pt x="164" y="308"/>
                </a:lnTo>
                <a:lnTo>
                  <a:pt x="178" y="300"/>
                </a:lnTo>
                <a:lnTo>
                  <a:pt x="195" y="292"/>
                </a:lnTo>
                <a:lnTo>
                  <a:pt x="216" y="286"/>
                </a:lnTo>
                <a:lnTo>
                  <a:pt x="239" y="280"/>
                </a:lnTo>
                <a:lnTo>
                  <a:pt x="239" y="280"/>
                </a:lnTo>
                <a:lnTo>
                  <a:pt x="238" y="275"/>
                </a:lnTo>
                <a:lnTo>
                  <a:pt x="233" y="262"/>
                </a:lnTo>
                <a:lnTo>
                  <a:pt x="230" y="253"/>
                </a:lnTo>
                <a:lnTo>
                  <a:pt x="225" y="242"/>
                </a:lnTo>
                <a:lnTo>
                  <a:pt x="220" y="232"/>
                </a:lnTo>
                <a:lnTo>
                  <a:pt x="213" y="222"/>
                </a:lnTo>
                <a:lnTo>
                  <a:pt x="205" y="213"/>
                </a:lnTo>
                <a:lnTo>
                  <a:pt x="195" y="203"/>
                </a:lnTo>
                <a:lnTo>
                  <a:pt x="185" y="196"/>
                </a:lnTo>
                <a:lnTo>
                  <a:pt x="173" y="190"/>
                </a:lnTo>
                <a:lnTo>
                  <a:pt x="167" y="188"/>
                </a:lnTo>
                <a:lnTo>
                  <a:pt x="161" y="187"/>
                </a:lnTo>
                <a:lnTo>
                  <a:pt x="154" y="186"/>
                </a:lnTo>
                <a:lnTo>
                  <a:pt x="145" y="185"/>
                </a:lnTo>
                <a:lnTo>
                  <a:pt x="138" y="186"/>
                </a:lnTo>
                <a:lnTo>
                  <a:pt x="129" y="187"/>
                </a:lnTo>
                <a:lnTo>
                  <a:pt x="121" y="190"/>
                </a:lnTo>
                <a:lnTo>
                  <a:pt x="112" y="193"/>
                </a:lnTo>
                <a:lnTo>
                  <a:pt x="112" y="193"/>
                </a:lnTo>
                <a:lnTo>
                  <a:pt x="115" y="191"/>
                </a:lnTo>
                <a:lnTo>
                  <a:pt x="119" y="188"/>
                </a:lnTo>
                <a:lnTo>
                  <a:pt x="127" y="180"/>
                </a:lnTo>
                <a:lnTo>
                  <a:pt x="136" y="168"/>
                </a:lnTo>
                <a:lnTo>
                  <a:pt x="144" y="153"/>
                </a:lnTo>
                <a:lnTo>
                  <a:pt x="148" y="144"/>
                </a:lnTo>
                <a:lnTo>
                  <a:pt x="153" y="136"/>
                </a:lnTo>
                <a:lnTo>
                  <a:pt x="156" y="127"/>
                </a:lnTo>
                <a:lnTo>
                  <a:pt x="158" y="117"/>
                </a:lnTo>
                <a:lnTo>
                  <a:pt x="159" y="106"/>
                </a:lnTo>
                <a:lnTo>
                  <a:pt x="160" y="97"/>
                </a:lnTo>
                <a:lnTo>
                  <a:pt x="159" y="86"/>
                </a:lnTo>
                <a:lnTo>
                  <a:pt x="157" y="76"/>
                </a:lnTo>
                <a:lnTo>
                  <a:pt x="157" y="76"/>
                </a:lnTo>
                <a:lnTo>
                  <a:pt x="155" y="66"/>
                </a:lnTo>
                <a:lnTo>
                  <a:pt x="150" y="57"/>
                </a:lnTo>
                <a:lnTo>
                  <a:pt x="147" y="49"/>
                </a:lnTo>
                <a:lnTo>
                  <a:pt x="143" y="41"/>
                </a:lnTo>
                <a:lnTo>
                  <a:pt x="134" y="28"/>
                </a:lnTo>
                <a:lnTo>
                  <a:pt x="125" y="17"/>
                </a:lnTo>
                <a:lnTo>
                  <a:pt x="117" y="9"/>
                </a:lnTo>
                <a:lnTo>
                  <a:pt x="110" y="4"/>
                </a:lnTo>
                <a:lnTo>
                  <a:pt x="103" y="0"/>
                </a:lnTo>
                <a:lnTo>
                  <a:pt x="0" y="593"/>
                </a:lnTo>
                <a:lnTo>
                  <a:pt x="269" y="712"/>
                </a:lnTo>
                <a:lnTo>
                  <a:pt x="269" y="712"/>
                </a:lnTo>
                <a:lnTo>
                  <a:pt x="293" y="693"/>
                </a:lnTo>
                <a:lnTo>
                  <a:pt x="315" y="677"/>
                </a:lnTo>
                <a:lnTo>
                  <a:pt x="336" y="665"/>
                </a:lnTo>
                <a:lnTo>
                  <a:pt x="354" y="656"/>
                </a:lnTo>
                <a:lnTo>
                  <a:pt x="354" y="656"/>
                </a:lnTo>
                <a:lnTo>
                  <a:pt x="367" y="650"/>
                </a:lnTo>
                <a:lnTo>
                  <a:pt x="382" y="646"/>
                </a:lnTo>
                <a:lnTo>
                  <a:pt x="396" y="642"/>
                </a:lnTo>
                <a:lnTo>
                  <a:pt x="409" y="639"/>
                </a:lnTo>
                <a:lnTo>
                  <a:pt x="423" y="637"/>
                </a:lnTo>
                <a:lnTo>
                  <a:pt x="437" y="636"/>
                </a:lnTo>
                <a:lnTo>
                  <a:pt x="450" y="635"/>
                </a:lnTo>
                <a:lnTo>
                  <a:pt x="464" y="635"/>
                </a:lnTo>
                <a:lnTo>
                  <a:pt x="478" y="636"/>
                </a:lnTo>
                <a:lnTo>
                  <a:pt x="491" y="638"/>
                </a:lnTo>
                <a:lnTo>
                  <a:pt x="504" y="640"/>
                </a:lnTo>
                <a:lnTo>
                  <a:pt x="517" y="643"/>
                </a:lnTo>
                <a:lnTo>
                  <a:pt x="542" y="650"/>
                </a:lnTo>
                <a:lnTo>
                  <a:pt x="566" y="658"/>
                </a:lnTo>
                <a:lnTo>
                  <a:pt x="566" y="658"/>
                </a:lnTo>
                <a:lnTo>
                  <a:pt x="582" y="667"/>
                </a:lnTo>
                <a:lnTo>
                  <a:pt x="596" y="675"/>
                </a:lnTo>
                <a:lnTo>
                  <a:pt x="610" y="683"/>
                </a:lnTo>
                <a:lnTo>
                  <a:pt x="621" y="691"/>
                </a:lnTo>
                <a:lnTo>
                  <a:pt x="631" y="699"/>
                </a:lnTo>
                <a:lnTo>
                  <a:pt x="639" y="709"/>
                </a:lnTo>
                <a:lnTo>
                  <a:pt x="646" y="717"/>
                </a:lnTo>
                <a:lnTo>
                  <a:pt x="653" y="726"/>
                </a:lnTo>
                <a:lnTo>
                  <a:pt x="658" y="735"/>
                </a:lnTo>
                <a:lnTo>
                  <a:pt x="662" y="743"/>
                </a:lnTo>
                <a:lnTo>
                  <a:pt x="665" y="753"/>
                </a:lnTo>
                <a:lnTo>
                  <a:pt x="668" y="761"/>
                </a:lnTo>
                <a:lnTo>
                  <a:pt x="671" y="778"/>
                </a:lnTo>
                <a:lnTo>
                  <a:pt x="673" y="793"/>
                </a:lnTo>
                <a:lnTo>
                  <a:pt x="673" y="793"/>
                </a:lnTo>
                <a:lnTo>
                  <a:pt x="672" y="804"/>
                </a:lnTo>
                <a:lnTo>
                  <a:pt x="670" y="815"/>
                </a:lnTo>
                <a:lnTo>
                  <a:pt x="667" y="827"/>
                </a:lnTo>
                <a:lnTo>
                  <a:pt x="663" y="839"/>
                </a:lnTo>
                <a:lnTo>
                  <a:pt x="654" y="863"/>
                </a:lnTo>
                <a:lnTo>
                  <a:pt x="646" y="877"/>
                </a:lnTo>
                <a:lnTo>
                  <a:pt x="841" y="96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6" name="Freeform 43"/>
          <p:cNvSpPr>
            <a:spLocks/>
          </p:cNvSpPr>
          <p:nvPr userDrawn="1"/>
        </p:nvSpPr>
        <p:spPr bwMode="auto">
          <a:xfrm>
            <a:off x="7581900" y="1218903"/>
            <a:ext cx="193675" cy="33338"/>
          </a:xfrm>
          <a:custGeom>
            <a:avLst/>
            <a:gdLst>
              <a:gd name="T0" fmla="*/ 1228 w 1463"/>
              <a:gd name="T1" fmla="*/ 227 h 256"/>
              <a:gd name="T2" fmla="*/ 1463 w 1463"/>
              <a:gd name="T3" fmla="*/ 113 h 256"/>
              <a:gd name="T4" fmla="*/ 1225 w 1463"/>
              <a:gd name="T5" fmla="*/ 14 h 256"/>
              <a:gd name="T6" fmla="*/ 1225 w 1463"/>
              <a:gd name="T7" fmla="*/ 14 h 256"/>
              <a:gd name="T8" fmla="*/ 1152 w 1463"/>
              <a:gd name="T9" fmla="*/ 15 h 256"/>
              <a:gd name="T10" fmla="*/ 1060 w 1463"/>
              <a:gd name="T11" fmla="*/ 16 h 256"/>
              <a:gd name="T12" fmla="*/ 949 w 1463"/>
              <a:gd name="T13" fmla="*/ 15 h 256"/>
              <a:gd name="T14" fmla="*/ 824 w 1463"/>
              <a:gd name="T15" fmla="*/ 13 h 256"/>
              <a:gd name="T16" fmla="*/ 531 w 1463"/>
              <a:gd name="T17" fmla="*/ 7 h 256"/>
              <a:gd name="T18" fmla="*/ 197 w 1463"/>
              <a:gd name="T19" fmla="*/ 0 h 256"/>
              <a:gd name="T20" fmla="*/ 0 w 1463"/>
              <a:gd name="T21" fmla="*/ 256 h 256"/>
              <a:gd name="T22" fmla="*/ 0 w 1463"/>
              <a:gd name="T23" fmla="*/ 256 h 256"/>
              <a:gd name="T24" fmla="*/ 734 w 1463"/>
              <a:gd name="T25" fmla="*/ 240 h 256"/>
              <a:gd name="T26" fmla="*/ 1024 w 1463"/>
              <a:gd name="T27" fmla="*/ 234 h 256"/>
              <a:gd name="T28" fmla="*/ 1228 w 1463"/>
              <a:gd name="T29" fmla="*/ 22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3" h="256">
                <a:moveTo>
                  <a:pt x="1228" y="227"/>
                </a:moveTo>
                <a:lnTo>
                  <a:pt x="1463" y="113"/>
                </a:lnTo>
                <a:lnTo>
                  <a:pt x="1225" y="14"/>
                </a:lnTo>
                <a:lnTo>
                  <a:pt x="1225" y="14"/>
                </a:lnTo>
                <a:lnTo>
                  <a:pt x="1152" y="15"/>
                </a:lnTo>
                <a:lnTo>
                  <a:pt x="1060" y="16"/>
                </a:lnTo>
                <a:lnTo>
                  <a:pt x="949" y="15"/>
                </a:lnTo>
                <a:lnTo>
                  <a:pt x="824" y="13"/>
                </a:lnTo>
                <a:lnTo>
                  <a:pt x="531" y="7"/>
                </a:lnTo>
                <a:lnTo>
                  <a:pt x="197" y="0"/>
                </a:lnTo>
                <a:lnTo>
                  <a:pt x="0" y="256"/>
                </a:lnTo>
                <a:lnTo>
                  <a:pt x="0" y="256"/>
                </a:lnTo>
                <a:lnTo>
                  <a:pt x="734" y="240"/>
                </a:lnTo>
                <a:lnTo>
                  <a:pt x="1024" y="234"/>
                </a:lnTo>
                <a:lnTo>
                  <a:pt x="1228" y="22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7" name="Freeform 44"/>
          <p:cNvSpPr>
            <a:spLocks/>
          </p:cNvSpPr>
          <p:nvPr userDrawn="1"/>
        </p:nvSpPr>
        <p:spPr bwMode="auto">
          <a:xfrm>
            <a:off x="7643812" y="1301453"/>
            <a:ext cx="114300" cy="112713"/>
          </a:xfrm>
          <a:custGeom>
            <a:avLst/>
            <a:gdLst>
              <a:gd name="T0" fmla="*/ 386 w 869"/>
              <a:gd name="T1" fmla="*/ 818 h 851"/>
              <a:gd name="T2" fmla="*/ 235 w 869"/>
              <a:gd name="T3" fmla="*/ 737 h 851"/>
              <a:gd name="T4" fmla="*/ 156 w 869"/>
              <a:gd name="T5" fmla="*/ 685 h 851"/>
              <a:gd name="T6" fmla="*/ 90 w 869"/>
              <a:gd name="T7" fmla="*/ 626 h 851"/>
              <a:gd name="T8" fmla="*/ 37 w 869"/>
              <a:gd name="T9" fmla="*/ 557 h 851"/>
              <a:gd name="T10" fmla="*/ 24 w 869"/>
              <a:gd name="T11" fmla="*/ 531 h 851"/>
              <a:gd name="T12" fmla="*/ 10 w 869"/>
              <a:gd name="T13" fmla="*/ 487 h 851"/>
              <a:gd name="T14" fmla="*/ 2 w 869"/>
              <a:gd name="T15" fmla="*/ 439 h 851"/>
              <a:gd name="T16" fmla="*/ 0 w 869"/>
              <a:gd name="T17" fmla="*/ 389 h 851"/>
              <a:gd name="T18" fmla="*/ 5 w 869"/>
              <a:gd name="T19" fmla="*/ 336 h 851"/>
              <a:gd name="T20" fmla="*/ 15 w 869"/>
              <a:gd name="T21" fmla="*/ 283 h 851"/>
              <a:gd name="T22" fmla="*/ 34 w 869"/>
              <a:gd name="T23" fmla="*/ 231 h 851"/>
              <a:gd name="T24" fmla="*/ 59 w 869"/>
              <a:gd name="T25" fmla="*/ 182 h 851"/>
              <a:gd name="T26" fmla="*/ 93 w 869"/>
              <a:gd name="T27" fmla="*/ 136 h 851"/>
              <a:gd name="T28" fmla="*/ 134 w 869"/>
              <a:gd name="T29" fmla="*/ 94 h 851"/>
              <a:gd name="T30" fmla="*/ 183 w 869"/>
              <a:gd name="T31" fmla="*/ 59 h 851"/>
              <a:gd name="T32" fmla="*/ 198 w 869"/>
              <a:gd name="T33" fmla="*/ 75 h 851"/>
              <a:gd name="T34" fmla="*/ 217 w 869"/>
              <a:gd name="T35" fmla="*/ 106 h 851"/>
              <a:gd name="T36" fmla="*/ 227 w 869"/>
              <a:gd name="T37" fmla="*/ 141 h 851"/>
              <a:gd name="T38" fmla="*/ 247 w 869"/>
              <a:gd name="T39" fmla="*/ 150 h 851"/>
              <a:gd name="T40" fmla="*/ 379 w 869"/>
              <a:gd name="T41" fmla="*/ 144 h 851"/>
              <a:gd name="T42" fmla="*/ 424 w 869"/>
              <a:gd name="T43" fmla="*/ 143 h 851"/>
              <a:gd name="T44" fmla="*/ 424 w 869"/>
              <a:gd name="T45" fmla="*/ 94 h 851"/>
              <a:gd name="T46" fmla="*/ 414 w 869"/>
              <a:gd name="T47" fmla="*/ 37 h 851"/>
              <a:gd name="T48" fmla="*/ 397 w 869"/>
              <a:gd name="T49" fmla="*/ 0 h 851"/>
              <a:gd name="T50" fmla="*/ 431 w 869"/>
              <a:gd name="T51" fmla="*/ 27 h 851"/>
              <a:gd name="T52" fmla="*/ 459 w 869"/>
              <a:gd name="T53" fmla="*/ 55 h 851"/>
              <a:gd name="T54" fmla="*/ 475 w 869"/>
              <a:gd name="T55" fmla="*/ 82 h 851"/>
              <a:gd name="T56" fmla="*/ 487 w 869"/>
              <a:gd name="T57" fmla="*/ 116 h 851"/>
              <a:gd name="T58" fmla="*/ 493 w 869"/>
              <a:gd name="T59" fmla="*/ 143 h 851"/>
              <a:gd name="T60" fmla="*/ 671 w 869"/>
              <a:gd name="T61" fmla="*/ 133 h 851"/>
              <a:gd name="T62" fmla="*/ 662 w 869"/>
              <a:gd name="T63" fmla="*/ 88 h 851"/>
              <a:gd name="T64" fmla="*/ 643 w 869"/>
              <a:gd name="T65" fmla="*/ 50 h 851"/>
              <a:gd name="T66" fmla="*/ 651 w 869"/>
              <a:gd name="T67" fmla="*/ 46 h 851"/>
              <a:gd name="T68" fmla="*/ 699 w 869"/>
              <a:gd name="T69" fmla="*/ 73 h 851"/>
              <a:gd name="T70" fmla="*/ 740 w 869"/>
              <a:gd name="T71" fmla="*/ 104 h 851"/>
              <a:gd name="T72" fmla="*/ 775 w 869"/>
              <a:gd name="T73" fmla="*/ 138 h 851"/>
              <a:gd name="T74" fmla="*/ 803 w 869"/>
              <a:gd name="T75" fmla="*/ 175 h 851"/>
              <a:gd name="T76" fmla="*/ 837 w 869"/>
              <a:gd name="T77" fmla="*/ 238 h 851"/>
              <a:gd name="T78" fmla="*/ 861 w 869"/>
              <a:gd name="T79" fmla="*/ 312 h 851"/>
              <a:gd name="T80" fmla="*/ 869 w 869"/>
              <a:gd name="T81" fmla="*/ 379 h 851"/>
              <a:gd name="T82" fmla="*/ 869 w 869"/>
              <a:gd name="T83" fmla="*/ 423 h 851"/>
              <a:gd name="T84" fmla="*/ 859 w 869"/>
              <a:gd name="T85" fmla="*/ 499 h 851"/>
              <a:gd name="T86" fmla="*/ 834 w 869"/>
              <a:gd name="T87" fmla="*/ 569 h 851"/>
              <a:gd name="T88" fmla="*/ 796 w 869"/>
              <a:gd name="T89" fmla="*/ 631 h 851"/>
              <a:gd name="T90" fmla="*/ 749 w 869"/>
              <a:gd name="T91" fmla="*/ 684 h 851"/>
              <a:gd name="T92" fmla="*/ 693 w 869"/>
              <a:gd name="T93" fmla="*/ 727 h 851"/>
              <a:gd name="T94" fmla="*/ 626 w 869"/>
              <a:gd name="T95" fmla="*/ 766 h 851"/>
              <a:gd name="T96" fmla="*/ 506 w 869"/>
              <a:gd name="T97" fmla="*/ 826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9" h="851">
                <a:moveTo>
                  <a:pt x="452" y="851"/>
                </a:moveTo>
                <a:lnTo>
                  <a:pt x="452" y="851"/>
                </a:lnTo>
                <a:lnTo>
                  <a:pt x="386" y="818"/>
                </a:lnTo>
                <a:lnTo>
                  <a:pt x="323" y="785"/>
                </a:lnTo>
                <a:lnTo>
                  <a:pt x="264" y="754"/>
                </a:lnTo>
                <a:lnTo>
                  <a:pt x="235" y="737"/>
                </a:lnTo>
                <a:lnTo>
                  <a:pt x="207" y="720"/>
                </a:lnTo>
                <a:lnTo>
                  <a:pt x="181" y="703"/>
                </a:lnTo>
                <a:lnTo>
                  <a:pt x="156" y="685"/>
                </a:lnTo>
                <a:lnTo>
                  <a:pt x="133" y="666"/>
                </a:lnTo>
                <a:lnTo>
                  <a:pt x="110" y="646"/>
                </a:lnTo>
                <a:lnTo>
                  <a:pt x="90" y="626"/>
                </a:lnTo>
                <a:lnTo>
                  <a:pt x="70" y="605"/>
                </a:lnTo>
                <a:lnTo>
                  <a:pt x="53" y="581"/>
                </a:lnTo>
                <a:lnTo>
                  <a:pt x="37" y="557"/>
                </a:lnTo>
                <a:lnTo>
                  <a:pt x="37" y="557"/>
                </a:lnTo>
                <a:lnTo>
                  <a:pt x="31" y="544"/>
                </a:lnTo>
                <a:lnTo>
                  <a:pt x="24" y="531"/>
                </a:lnTo>
                <a:lnTo>
                  <a:pt x="19" y="517"/>
                </a:lnTo>
                <a:lnTo>
                  <a:pt x="14" y="502"/>
                </a:lnTo>
                <a:lnTo>
                  <a:pt x="10" y="487"/>
                </a:lnTo>
                <a:lnTo>
                  <a:pt x="7" y="472"/>
                </a:lnTo>
                <a:lnTo>
                  <a:pt x="4" y="455"/>
                </a:lnTo>
                <a:lnTo>
                  <a:pt x="2" y="439"/>
                </a:lnTo>
                <a:lnTo>
                  <a:pt x="1" y="423"/>
                </a:lnTo>
                <a:lnTo>
                  <a:pt x="0" y="405"/>
                </a:lnTo>
                <a:lnTo>
                  <a:pt x="0" y="389"/>
                </a:lnTo>
                <a:lnTo>
                  <a:pt x="1" y="371"/>
                </a:lnTo>
                <a:lnTo>
                  <a:pt x="2" y="353"/>
                </a:lnTo>
                <a:lnTo>
                  <a:pt x="5" y="336"/>
                </a:lnTo>
                <a:lnTo>
                  <a:pt x="7" y="318"/>
                </a:lnTo>
                <a:lnTo>
                  <a:pt x="11" y="301"/>
                </a:lnTo>
                <a:lnTo>
                  <a:pt x="15" y="283"/>
                </a:lnTo>
                <a:lnTo>
                  <a:pt x="21" y="266"/>
                </a:lnTo>
                <a:lnTo>
                  <a:pt x="26" y="249"/>
                </a:lnTo>
                <a:lnTo>
                  <a:pt x="34" y="231"/>
                </a:lnTo>
                <a:lnTo>
                  <a:pt x="42" y="215"/>
                </a:lnTo>
                <a:lnTo>
                  <a:pt x="50" y="199"/>
                </a:lnTo>
                <a:lnTo>
                  <a:pt x="59" y="182"/>
                </a:lnTo>
                <a:lnTo>
                  <a:pt x="69" y="166"/>
                </a:lnTo>
                <a:lnTo>
                  <a:pt x="81" y="151"/>
                </a:lnTo>
                <a:lnTo>
                  <a:pt x="93" y="136"/>
                </a:lnTo>
                <a:lnTo>
                  <a:pt x="105" y="122"/>
                </a:lnTo>
                <a:lnTo>
                  <a:pt x="120" y="108"/>
                </a:lnTo>
                <a:lnTo>
                  <a:pt x="134" y="94"/>
                </a:lnTo>
                <a:lnTo>
                  <a:pt x="149" y="82"/>
                </a:lnTo>
                <a:lnTo>
                  <a:pt x="166" y="70"/>
                </a:lnTo>
                <a:lnTo>
                  <a:pt x="183" y="59"/>
                </a:lnTo>
                <a:lnTo>
                  <a:pt x="183" y="59"/>
                </a:lnTo>
                <a:lnTo>
                  <a:pt x="191" y="67"/>
                </a:lnTo>
                <a:lnTo>
                  <a:pt x="198" y="75"/>
                </a:lnTo>
                <a:lnTo>
                  <a:pt x="203" y="82"/>
                </a:lnTo>
                <a:lnTo>
                  <a:pt x="208" y="90"/>
                </a:lnTo>
                <a:lnTo>
                  <a:pt x="217" y="106"/>
                </a:lnTo>
                <a:lnTo>
                  <a:pt x="222" y="120"/>
                </a:lnTo>
                <a:lnTo>
                  <a:pt x="225" y="132"/>
                </a:lnTo>
                <a:lnTo>
                  <a:pt x="227" y="141"/>
                </a:lnTo>
                <a:lnTo>
                  <a:pt x="227" y="150"/>
                </a:lnTo>
                <a:lnTo>
                  <a:pt x="227" y="150"/>
                </a:lnTo>
                <a:lnTo>
                  <a:pt x="247" y="150"/>
                </a:lnTo>
                <a:lnTo>
                  <a:pt x="272" y="150"/>
                </a:lnTo>
                <a:lnTo>
                  <a:pt x="325" y="146"/>
                </a:lnTo>
                <a:lnTo>
                  <a:pt x="379" y="144"/>
                </a:lnTo>
                <a:lnTo>
                  <a:pt x="404" y="143"/>
                </a:lnTo>
                <a:lnTo>
                  <a:pt x="424" y="143"/>
                </a:lnTo>
                <a:lnTo>
                  <a:pt x="424" y="143"/>
                </a:lnTo>
                <a:lnTo>
                  <a:pt x="425" y="129"/>
                </a:lnTo>
                <a:lnTo>
                  <a:pt x="425" y="112"/>
                </a:lnTo>
                <a:lnTo>
                  <a:pt x="424" y="94"/>
                </a:lnTo>
                <a:lnTo>
                  <a:pt x="422" y="76"/>
                </a:lnTo>
                <a:lnTo>
                  <a:pt x="419" y="56"/>
                </a:lnTo>
                <a:lnTo>
                  <a:pt x="414" y="37"/>
                </a:lnTo>
                <a:lnTo>
                  <a:pt x="407" y="19"/>
                </a:lnTo>
                <a:lnTo>
                  <a:pt x="402" y="9"/>
                </a:lnTo>
                <a:lnTo>
                  <a:pt x="397" y="0"/>
                </a:lnTo>
                <a:lnTo>
                  <a:pt x="397" y="0"/>
                </a:lnTo>
                <a:lnTo>
                  <a:pt x="415" y="14"/>
                </a:lnTo>
                <a:lnTo>
                  <a:pt x="431" y="27"/>
                </a:lnTo>
                <a:lnTo>
                  <a:pt x="446" y="40"/>
                </a:lnTo>
                <a:lnTo>
                  <a:pt x="453" y="47"/>
                </a:lnTo>
                <a:lnTo>
                  <a:pt x="459" y="55"/>
                </a:lnTo>
                <a:lnTo>
                  <a:pt x="465" y="64"/>
                </a:lnTo>
                <a:lnTo>
                  <a:pt x="470" y="73"/>
                </a:lnTo>
                <a:lnTo>
                  <a:pt x="475" y="82"/>
                </a:lnTo>
                <a:lnTo>
                  <a:pt x="479" y="92"/>
                </a:lnTo>
                <a:lnTo>
                  <a:pt x="484" y="104"/>
                </a:lnTo>
                <a:lnTo>
                  <a:pt x="487" y="116"/>
                </a:lnTo>
                <a:lnTo>
                  <a:pt x="490" y="129"/>
                </a:lnTo>
                <a:lnTo>
                  <a:pt x="493" y="143"/>
                </a:lnTo>
                <a:lnTo>
                  <a:pt x="493" y="143"/>
                </a:lnTo>
                <a:lnTo>
                  <a:pt x="671" y="150"/>
                </a:lnTo>
                <a:lnTo>
                  <a:pt x="671" y="150"/>
                </a:lnTo>
                <a:lnTo>
                  <a:pt x="671" y="133"/>
                </a:lnTo>
                <a:lnTo>
                  <a:pt x="670" y="118"/>
                </a:lnTo>
                <a:lnTo>
                  <a:pt x="667" y="103"/>
                </a:lnTo>
                <a:lnTo>
                  <a:pt x="662" y="88"/>
                </a:lnTo>
                <a:lnTo>
                  <a:pt x="657" y="75"/>
                </a:lnTo>
                <a:lnTo>
                  <a:pt x="651" y="62"/>
                </a:lnTo>
                <a:lnTo>
                  <a:pt x="643" y="50"/>
                </a:lnTo>
                <a:lnTo>
                  <a:pt x="634" y="38"/>
                </a:lnTo>
                <a:lnTo>
                  <a:pt x="634" y="38"/>
                </a:lnTo>
                <a:lnTo>
                  <a:pt x="651" y="46"/>
                </a:lnTo>
                <a:lnTo>
                  <a:pt x="669" y="54"/>
                </a:lnTo>
                <a:lnTo>
                  <a:pt x="684" y="64"/>
                </a:lnTo>
                <a:lnTo>
                  <a:pt x="699" y="73"/>
                </a:lnTo>
                <a:lnTo>
                  <a:pt x="714" y="83"/>
                </a:lnTo>
                <a:lnTo>
                  <a:pt x="728" y="93"/>
                </a:lnTo>
                <a:lnTo>
                  <a:pt x="740" y="104"/>
                </a:lnTo>
                <a:lnTo>
                  <a:pt x="752" y="115"/>
                </a:lnTo>
                <a:lnTo>
                  <a:pt x="764" y="126"/>
                </a:lnTo>
                <a:lnTo>
                  <a:pt x="775" y="138"/>
                </a:lnTo>
                <a:lnTo>
                  <a:pt x="785" y="151"/>
                </a:lnTo>
                <a:lnTo>
                  <a:pt x="794" y="163"/>
                </a:lnTo>
                <a:lnTo>
                  <a:pt x="803" y="175"/>
                </a:lnTo>
                <a:lnTo>
                  <a:pt x="811" y="187"/>
                </a:lnTo>
                <a:lnTo>
                  <a:pt x="825" y="213"/>
                </a:lnTo>
                <a:lnTo>
                  <a:pt x="837" y="238"/>
                </a:lnTo>
                <a:lnTo>
                  <a:pt x="848" y="263"/>
                </a:lnTo>
                <a:lnTo>
                  <a:pt x="855" y="289"/>
                </a:lnTo>
                <a:lnTo>
                  <a:pt x="861" y="312"/>
                </a:lnTo>
                <a:lnTo>
                  <a:pt x="865" y="336"/>
                </a:lnTo>
                <a:lnTo>
                  <a:pt x="868" y="358"/>
                </a:lnTo>
                <a:lnTo>
                  <a:pt x="869" y="379"/>
                </a:lnTo>
                <a:lnTo>
                  <a:pt x="869" y="397"/>
                </a:lnTo>
                <a:lnTo>
                  <a:pt x="869" y="397"/>
                </a:lnTo>
                <a:lnTo>
                  <a:pt x="869" y="423"/>
                </a:lnTo>
                <a:lnTo>
                  <a:pt x="868" y="449"/>
                </a:lnTo>
                <a:lnTo>
                  <a:pt x="864" y="474"/>
                </a:lnTo>
                <a:lnTo>
                  <a:pt x="859" y="499"/>
                </a:lnTo>
                <a:lnTo>
                  <a:pt x="852" y="523"/>
                </a:lnTo>
                <a:lnTo>
                  <a:pt x="843" y="546"/>
                </a:lnTo>
                <a:lnTo>
                  <a:pt x="834" y="569"/>
                </a:lnTo>
                <a:lnTo>
                  <a:pt x="823" y="590"/>
                </a:lnTo>
                <a:lnTo>
                  <a:pt x="811" y="612"/>
                </a:lnTo>
                <a:lnTo>
                  <a:pt x="796" y="631"/>
                </a:lnTo>
                <a:lnTo>
                  <a:pt x="782" y="651"/>
                </a:lnTo>
                <a:lnTo>
                  <a:pt x="766" y="668"/>
                </a:lnTo>
                <a:lnTo>
                  <a:pt x="749" y="684"/>
                </a:lnTo>
                <a:lnTo>
                  <a:pt x="731" y="700"/>
                </a:lnTo>
                <a:lnTo>
                  <a:pt x="713" y="714"/>
                </a:lnTo>
                <a:lnTo>
                  <a:pt x="693" y="727"/>
                </a:lnTo>
                <a:lnTo>
                  <a:pt x="693" y="727"/>
                </a:lnTo>
                <a:lnTo>
                  <a:pt x="658" y="748"/>
                </a:lnTo>
                <a:lnTo>
                  <a:pt x="626" y="766"/>
                </a:lnTo>
                <a:lnTo>
                  <a:pt x="594" y="783"/>
                </a:lnTo>
                <a:lnTo>
                  <a:pt x="563" y="799"/>
                </a:lnTo>
                <a:lnTo>
                  <a:pt x="506" y="826"/>
                </a:lnTo>
                <a:lnTo>
                  <a:pt x="452" y="85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8" name="Freeform 45"/>
          <p:cNvSpPr>
            <a:spLocks/>
          </p:cNvSpPr>
          <p:nvPr userDrawn="1"/>
        </p:nvSpPr>
        <p:spPr bwMode="auto">
          <a:xfrm>
            <a:off x="7677150" y="1579265"/>
            <a:ext cx="1588" cy="0"/>
          </a:xfrm>
          <a:custGeom>
            <a:avLst/>
            <a:gdLst>
              <a:gd name="T0" fmla="*/ 22 w 22"/>
              <a:gd name="T1" fmla="*/ 9 h 9"/>
              <a:gd name="T2" fmla="*/ 22 w 22"/>
              <a:gd name="T3" fmla="*/ 9 h 9"/>
              <a:gd name="T4" fmla="*/ 3 w 22"/>
              <a:gd name="T5" fmla="*/ 2 h 9"/>
              <a:gd name="T6" fmla="*/ 3 w 22"/>
              <a:gd name="T7" fmla="*/ 2 h 9"/>
              <a:gd name="T8" fmla="*/ 0 w 22"/>
              <a:gd name="T9" fmla="*/ 0 h 9"/>
              <a:gd name="T10" fmla="*/ 0 w 22"/>
              <a:gd name="T11" fmla="*/ 0 h 9"/>
              <a:gd name="T12" fmla="*/ 22 w 22"/>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22" h="9">
                <a:moveTo>
                  <a:pt x="22" y="9"/>
                </a:moveTo>
                <a:lnTo>
                  <a:pt x="22" y="9"/>
                </a:lnTo>
                <a:lnTo>
                  <a:pt x="3" y="2"/>
                </a:lnTo>
                <a:lnTo>
                  <a:pt x="3" y="2"/>
                </a:lnTo>
                <a:lnTo>
                  <a:pt x="0" y="0"/>
                </a:lnTo>
                <a:lnTo>
                  <a:pt x="0" y="0"/>
                </a:lnTo>
                <a:lnTo>
                  <a:pt x="22"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9" name="Freeform 46"/>
          <p:cNvSpPr>
            <a:spLocks/>
          </p:cNvSpPr>
          <p:nvPr userDrawn="1"/>
        </p:nvSpPr>
        <p:spPr bwMode="auto">
          <a:xfrm>
            <a:off x="7429500" y="1261765"/>
            <a:ext cx="20638" cy="12700"/>
          </a:xfrm>
          <a:custGeom>
            <a:avLst/>
            <a:gdLst>
              <a:gd name="T0" fmla="*/ 166 w 166"/>
              <a:gd name="T1" fmla="*/ 69 h 96"/>
              <a:gd name="T2" fmla="*/ 166 w 166"/>
              <a:gd name="T3" fmla="*/ 69 h 96"/>
              <a:gd name="T4" fmla="*/ 166 w 166"/>
              <a:gd name="T5" fmla="*/ 70 h 96"/>
              <a:gd name="T6" fmla="*/ 165 w 166"/>
              <a:gd name="T7" fmla="*/ 72 h 96"/>
              <a:gd name="T8" fmla="*/ 161 w 166"/>
              <a:gd name="T9" fmla="*/ 74 h 96"/>
              <a:gd name="T10" fmla="*/ 155 w 166"/>
              <a:gd name="T11" fmla="*/ 77 h 96"/>
              <a:gd name="T12" fmla="*/ 145 w 166"/>
              <a:gd name="T13" fmla="*/ 79 h 96"/>
              <a:gd name="T14" fmla="*/ 123 w 166"/>
              <a:gd name="T15" fmla="*/ 85 h 96"/>
              <a:gd name="T16" fmla="*/ 95 w 166"/>
              <a:gd name="T17" fmla="*/ 90 h 96"/>
              <a:gd name="T18" fmla="*/ 68 w 166"/>
              <a:gd name="T19" fmla="*/ 94 h 96"/>
              <a:gd name="T20" fmla="*/ 42 w 166"/>
              <a:gd name="T21" fmla="*/ 96 h 96"/>
              <a:gd name="T22" fmla="*/ 24 w 166"/>
              <a:gd name="T23" fmla="*/ 96 h 96"/>
              <a:gd name="T24" fmla="*/ 17 w 166"/>
              <a:gd name="T25" fmla="*/ 95 h 96"/>
              <a:gd name="T26" fmla="*/ 13 w 166"/>
              <a:gd name="T27" fmla="*/ 94 h 96"/>
              <a:gd name="T28" fmla="*/ 13 w 166"/>
              <a:gd name="T29" fmla="*/ 94 h 96"/>
              <a:gd name="T30" fmla="*/ 10 w 166"/>
              <a:gd name="T31" fmla="*/ 92 h 96"/>
              <a:gd name="T32" fmla="*/ 8 w 166"/>
              <a:gd name="T33" fmla="*/ 88 h 96"/>
              <a:gd name="T34" fmla="*/ 5 w 166"/>
              <a:gd name="T35" fmla="*/ 77 h 96"/>
              <a:gd name="T36" fmla="*/ 2 w 166"/>
              <a:gd name="T37" fmla="*/ 65 h 96"/>
              <a:gd name="T38" fmla="*/ 0 w 166"/>
              <a:gd name="T39" fmla="*/ 51 h 96"/>
              <a:gd name="T40" fmla="*/ 0 w 166"/>
              <a:gd name="T41" fmla="*/ 36 h 96"/>
              <a:gd name="T42" fmla="*/ 0 w 166"/>
              <a:gd name="T43" fmla="*/ 23 h 96"/>
              <a:gd name="T44" fmla="*/ 1 w 166"/>
              <a:gd name="T45" fmla="*/ 13 h 96"/>
              <a:gd name="T46" fmla="*/ 2 w 166"/>
              <a:gd name="T47" fmla="*/ 8 h 96"/>
              <a:gd name="T48" fmla="*/ 4 w 166"/>
              <a:gd name="T49" fmla="*/ 5 h 96"/>
              <a:gd name="T50" fmla="*/ 4 w 166"/>
              <a:gd name="T51" fmla="*/ 5 h 96"/>
              <a:gd name="T52" fmla="*/ 5 w 166"/>
              <a:gd name="T53" fmla="*/ 4 h 96"/>
              <a:gd name="T54" fmla="*/ 7 w 166"/>
              <a:gd name="T55" fmla="*/ 2 h 96"/>
              <a:gd name="T56" fmla="*/ 13 w 166"/>
              <a:gd name="T57" fmla="*/ 1 h 96"/>
              <a:gd name="T58" fmla="*/ 22 w 166"/>
              <a:gd name="T59" fmla="*/ 0 h 96"/>
              <a:gd name="T60" fmla="*/ 32 w 166"/>
              <a:gd name="T61" fmla="*/ 0 h 96"/>
              <a:gd name="T62" fmla="*/ 43 w 166"/>
              <a:gd name="T63" fmla="*/ 1 h 96"/>
              <a:gd name="T64" fmla="*/ 55 w 166"/>
              <a:gd name="T65" fmla="*/ 3 h 96"/>
              <a:gd name="T66" fmla="*/ 69 w 166"/>
              <a:gd name="T67" fmla="*/ 6 h 96"/>
              <a:gd name="T68" fmla="*/ 83 w 166"/>
              <a:gd name="T69" fmla="*/ 10 h 96"/>
              <a:gd name="T70" fmla="*/ 96 w 166"/>
              <a:gd name="T71" fmla="*/ 15 h 96"/>
              <a:gd name="T72" fmla="*/ 110 w 166"/>
              <a:gd name="T73" fmla="*/ 20 h 96"/>
              <a:gd name="T74" fmla="*/ 123 w 166"/>
              <a:gd name="T75" fmla="*/ 27 h 96"/>
              <a:gd name="T76" fmla="*/ 135 w 166"/>
              <a:gd name="T77" fmla="*/ 34 h 96"/>
              <a:gd name="T78" fmla="*/ 145 w 166"/>
              <a:gd name="T79" fmla="*/ 42 h 96"/>
              <a:gd name="T80" fmla="*/ 155 w 166"/>
              <a:gd name="T81" fmla="*/ 51 h 96"/>
              <a:gd name="T82" fmla="*/ 162 w 166"/>
              <a:gd name="T83" fmla="*/ 60 h 96"/>
              <a:gd name="T84" fmla="*/ 164 w 166"/>
              <a:gd name="T85" fmla="*/ 64 h 96"/>
              <a:gd name="T86" fmla="*/ 166 w 166"/>
              <a:gd name="T87" fmla="*/ 6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6" h="96">
                <a:moveTo>
                  <a:pt x="166" y="69"/>
                </a:moveTo>
                <a:lnTo>
                  <a:pt x="166" y="69"/>
                </a:lnTo>
                <a:lnTo>
                  <a:pt x="166" y="70"/>
                </a:lnTo>
                <a:lnTo>
                  <a:pt x="165" y="72"/>
                </a:lnTo>
                <a:lnTo>
                  <a:pt x="161" y="74"/>
                </a:lnTo>
                <a:lnTo>
                  <a:pt x="155" y="77"/>
                </a:lnTo>
                <a:lnTo>
                  <a:pt x="145" y="79"/>
                </a:lnTo>
                <a:lnTo>
                  <a:pt x="123" y="85"/>
                </a:lnTo>
                <a:lnTo>
                  <a:pt x="95" y="90"/>
                </a:lnTo>
                <a:lnTo>
                  <a:pt x="68" y="94"/>
                </a:lnTo>
                <a:lnTo>
                  <a:pt x="42" y="96"/>
                </a:lnTo>
                <a:lnTo>
                  <a:pt x="24" y="96"/>
                </a:lnTo>
                <a:lnTo>
                  <a:pt x="17" y="95"/>
                </a:lnTo>
                <a:lnTo>
                  <a:pt x="13" y="94"/>
                </a:lnTo>
                <a:lnTo>
                  <a:pt x="13" y="94"/>
                </a:lnTo>
                <a:lnTo>
                  <a:pt x="10" y="92"/>
                </a:lnTo>
                <a:lnTo>
                  <a:pt x="8" y="88"/>
                </a:lnTo>
                <a:lnTo>
                  <a:pt x="5" y="77"/>
                </a:lnTo>
                <a:lnTo>
                  <a:pt x="2" y="65"/>
                </a:lnTo>
                <a:lnTo>
                  <a:pt x="0" y="51"/>
                </a:lnTo>
                <a:lnTo>
                  <a:pt x="0" y="36"/>
                </a:lnTo>
                <a:lnTo>
                  <a:pt x="0" y="23"/>
                </a:lnTo>
                <a:lnTo>
                  <a:pt x="1" y="13"/>
                </a:lnTo>
                <a:lnTo>
                  <a:pt x="2" y="8"/>
                </a:lnTo>
                <a:lnTo>
                  <a:pt x="4" y="5"/>
                </a:lnTo>
                <a:lnTo>
                  <a:pt x="4" y="5"/>
                </a:lnTo>
                <a:lnTo>
                  <a:pt x="5" y="4"/>
                </a:lnTo>
                <a:lnTo>
                  <a:pt x="7" y="2"/>
                </a:lnTo>
                <a:lnTo>
                  <a:pt x="13" y="1"/>
                </a:lnTo>
                <a:lnTo>
                  <a:pt x="22" y="0"/>
                </a:lnTo>
                <a:lnTo>
                  <a:pt x="32" y="0"/>
                </a:lnTo>
                <a:lnTo>
                  <a:pt x="43" y="1"/>
                </a:lnTo>
                <a:lnTo>
                  <a:pt x="55" y="3"/>
                </a:lnTo>
                <a:lnTo>
                  <a:pt x="69" y="6"/>
                </a:lnTo>
                <a:lnTo>
                  <a:pt x="83" y="10"/>
                </a:lnTo>
                <a:lnTo>
                  <a:pt x="96" y="15"/>
                </a:lnTo>
                <a:lnTo>
                  <a:pt x="110" y="20"/>
                </a:lnTo>
                <a:lnTo>
                  <a:pt x="123" y="27"/>
                </a:lnTo>
                <a:lnTo>
                  <a:pt x="135" y="34"/>
                </a:lnTo>
                <a:lnTo>
                  <a:pt x="145" y="42"/>
                </a:lnTo>
                <a:lnTo>
                  <a:pt x="155" y="51"/>
                </a:lnTo>
                <a:lnTo>
                  <a:pt x="162" y="60"/>
                </a:lnTo>
                <a:lnTo>
                  <a:pt x="164" y="64"/>
                </a:lnTo>
                <a:lnTo>
                  <a:pt x="166" y="6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50" name="Freeform 47"/>
          <p:cNvSpPr>
            <a:spLocks/>
          </p:cNvSpPr>
          <p:nvPr userDrawn="1"/>
        </p:nvSpPr>
        <p:spPr bwMode="auto">
          <a:xfrm>
            <a:off x="7151687" y="1218903"/>
            <a:ext cx="657225" cy="776288"/>
          </a:xfrm>
          <a:custGeom>
            <a:avLst/>
            <a:gdLst>
              <a:gd name="T0" fmla="*/ 4703 w 4973"/>
              <a:gd name="T1" fmla="*/ 1877 h 5865"/>
              <a:gd name="T2" fmla="*/ 4733 w 4973"/>
              <a:gd name="T3" fmla="*/ 1183 h 5865"/>
              <a:gd name="T4" fmla="*/ 4302 w 4973"/>
              <a:gd name="T5" fmla="*/ 476 h 5865"/>
              <a:gd name="T6" fmla="*/ 3581 w 4973"/>
              <a:gd name="T7" fmla="*/ 813 h 5865"/>
              <a:gd name="T8" fmla="*/ 3899 w 4973"/>
              <a:gd name="T9" fmla="*/ 1529 h 5865"/>
              <a:gd name="T10" fmla="*/ 3757 w 4973"/>
              <a:gd name="T11" fmla="*/ 2227 h 5865"/>
              <a:gd name="T12" fmla="*/ 3939 w 4973"/>
              <a:gd name="T13" fmla="*/ 2068 h 5865"/>
              <a:gd name="T14" fmla="*/ 4069 w 4973"/>
              <a:gd name="T15" fmla="*/ 1928 h 5865"/>
              <a:gd name="T16" fmla="*/ 4545 w 4973"/>
              <a:gd name="T17" fmla="*/ 1985 h 5865"/>
              <a:gd name="T18" fmla="*/ 4487 w 4973"/>
              <a:gd name="T19" fmla="*/ 2697 h 5865"/>
              <a:gd name="T20" fmla="*/ 3601 w 4973"/>
              <a:gd name="T21" fmla="*/ 2477 h 5865"/>
              <a:gd name="T22" fmla="*/ 3285 w 4973"/>
              <a:gd name="T23" fmla="*/ 1581 h 5865"/>
              <a:gd name="T24" fmla="*/ 3364 w 4973"/>
              <a:gd name="T25" fmla="*/ 1421 h 5865"/>
              <a:gd name="T26" fmla="*/ 3101 w 4973"/>
              <a:gd name="T27" fmla="*/ 996 h 5865"/>
              <a:gd name="T28" fmla="*/ 3251 w 4973"/>
              <a:gd name="T29" fmla="*/ 599 h 5865"/>
              <a:gd name="T30" fmla="*/ 2863 w 4973"/>
              <a:gd name="T31" fmla="*/ 144 h 5865"/>
              <a:gd name="T32" fmla="*/ 1960 w 4973"/>
              <a:gd name="T33" fmla="*/ 304 h 5865"/>
              <a:gd name="T34" fmla="*/ 1819 w 4973"/>
              <a:gd name="T35" fmla="*/ 748 h 5865"/>
              <a:gd name="T36" fmla="*/ 2202 w 4973"/>
              <a:gd name="T37" fmla="*/ 626 h 5865"/>
              <a:gd name="T38" fmla="*/ 2215 w 4973"/>
              <a:gd name="T39" fmla="*/ 803 h 5865"/>
              <a:gd name="T40" fmla="*/ 1623 w 4973"/>
              <a:gd name="T41" fmla="*/ 851 h 5865"/>
              <a:gd name="T42" fmla="*/ 1602 w 4973"/>
              <a:gd name="T43" fmla="*/ 1055 h 5865"/>
              <a:gd name="T44" fmla="*/ 2246 w 4973"/>
              <a:gd name="T45" fmla="*/ 924 h 5865"/>
              <a:gd name="T46" fmla="*/ 2036 w 4973"/>
              <a:gd name="T47" fmla="*/ 981 h 5865"/>
              <a:gd name="T48" fmla="*/ 1754 w 4973"/>
              <a:gd name="T49" fmla="*/ 1278 h 5865"/>
              <a:gd name="T50" fmla="*/ 2105 w 4973"/>
              <a:gd name="T51" fmla="*/ 1619 h 5865"/>
              <a:gd name="T52" fmla="*/ 863 w 4973"/>
              <a:gd name="T53" fmla="*/ 2239 h 5865"/>
              <a:gd name="T54" fmla="*/ 310 w 4973"/>
              <a:gd name="T55" fmla="*/ 2027 h 5865"/>
              <a:gd name="T56" fmla="*/ 319 w 4973"/>
              <a:gd name="T57" fmla="*/ 2172 h 5865"/>
              <a:gd name="T58" fmla="*/ 380 w 4973"/>
              <a:gd name="T59" fmla="*/ 2295 h 5865"/>
              <a:gd name="T60" fmla="*/ 39 w 4973"/>
              <a:gd name="T61" fmla="*/ 2396 h 5865"/>
              <a:gd name="T62" fmla="*/ 189 w 4973"/>
              <a:gd name="T63" fmla="*/ 2511 h 5865"/>
              <a:gd name="T64" fmla="*/ 322 w 4973"/>
              <a:gd name="T65" fmla="*/ 2588 h 5865"/>
              <a:gd name="T66" fmla="*/ 272 w 4973"/>
              <a:gd name="T67" fmla="*/ 2893 h 5865"/>
              <a:gd name="T68" fmla="*/ 630 w 4973"/>
              <a:gd name="T69" fmla="*/ 2730 h 5865"/>
              <a:gd name="T70" fmla="*/ 811 w 4973"/>
              <a:gd name="T71" fmla="*/ 2843 h 5865"/>
              <a:gd name="T72" fmla="*/ 1024 w 4973"/>
              <a:gd name="T73" fmla="*/ 2773 h 5865"/>
              <a:gd name="T74" fmla="*/ 1290 w 4973"/>
              <a:gd name="T75" fmla="*/ 2556 h 5865"/>
              <a:gd name="T76" fmla="*/ 1713 w 4973"/>
              <a:gd name="T77" fmla="*/ 2519 h 5865"/>
              <a:gd name="T78" fmla="*/ 2306 w 4973"/>
              <a:gd name="T79" fmla="*/ 2641 h 5865"/>
              <a:gd name="T80" fmla="*/ 3357 w 4973"/>
              <a:gd name="T81" fmla="*/ 3092 h 5865"/>
              <a:gd name="T82" fmla="*/ 3742 w 4973"/>
              <a:gd name="T83" fmla="*/ 3928 h 5865"/>
              <a:gd name="T84" fmla="*/ 3685 w 4973"/>
              <a:gd name="T85" fmla="*/ 4224 h 5865"/>
              <a:gd name="T86" fmla="*/ 4224 w 4973"/>
              <a:gd name="T87" fmla="*/ 4337 h 5865"/>
              <a:gd name="T88" fmla="*/ 4264 w 4973"/>
              <a:gd name="T89" fmla="*/ 5017 h 5865"/>
              <a:gd name="T90" fmla="*/ 3761 w 4973"/>
              <a:gd name="T91" fmla="*/ 5058 h 5865"/>
              <a:gd name="T92" fmla="*/ 3894 w 4973"/>
              <a:gd name="T93" fmla="*/ 5210 h 5865"/>
              <a:gd name="T94" fmla="*/ 3894 w 4973"/>
              <a:gd name="T95" fmla="*/ 5294 h 5865"/>
              <a:gd name="T96" fmla="*/ 3751 w 4973"/>
              <a:gd name="T97" fmla="*/ 5644 h 5865"/>
              <a:gd name="T98" fmla="*/ 3926 w 4973"/>
              <a:gd name="T99" fmla="*/ 5586 h 5865"/>
              <a:gd name="T100" fmla="*/ 4212 w 4973"/>
              <a:gd name="T101" fmla="*/ 5447 h 5865"/>
              <a:gd name="T102" fmla="*/ 4257 w 4973"/>
              <a:gd name="T103" fmla="*/ 5812 h 5865"/>
              <a:gd name="T104" fmla="*/ 4352 w 4973"/>
              <a:gd name="T105" fmla="*/ 5675 h 5865"/>
              <a:gd name="T106" fmla="*/ 4557 w 4973"/>
              <a:gd name="T107" fmla="*/ 5328 h 5865"/>
              <a:gd name="T108" fmla="*/ 4736 w 4973"/>
              <a:gd name="T109" fmla="*/ 5505 h 5865"/>
              <a:gd name="T110" fmla="*/ 4753 w 4973"/>
              <a:gd name="T111" fmla="*/ 5108 h 5865"/>
              <a:gd name="T112" fmla="*/ 4693 w 4973"/>
              <a:gd name="T113" fmla="*/ 4810 h 5865"/>
              <a:gd name="T114" fmla="*/ 4677 w 4973"/>
              <a:gd name="T115" fmla="*/ 4437 h 5865"/>
              <a:gd name="T116" fmla="*/ 4640 w 4973"/>
              <a:gd name="T117" fmla="*/ 4108 h 5865"/>
              <a:gd name="T118" fmla="*/ 4297 w 4973"/>
              <a:gd name="T119" fmla="*/ 3793 h 5865"/>
              <a:gd name="T120" fmla="*/ 4267 w 4973"/>
              <a:gd name="T121" fmla="*/ 3366 h 5865"/>
              <a:gd name="T122" fmla="*/ 4428 w 4973"/>
              <a:gd name="T123" fmla="*/ 2994 h 5865"/>
              <a:gd name="T124" fmla="*/ 4923 w 4973"/>
              <a:gd name="T125" fmla="*/ 2543 h 5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973" h="5865">
                <a:moveTo>
                  <a:pt x="4842" y="2253"/>
                </a:moveTo>
                <a:lnTo>
                  <a:pt x="4842" y="2253"/>
                </a:lnTo>
                <a:lnTo>
                  <a:pt x="4862" y="2257"/>
                </a:lnTo>
                <a:lnTo>
                  <a:pt x="4881" y="2259"/>
                </a:lnTo>
                <a:lnTo>
                  <a:pt x="4900" y="2260"/>
                </a:lnTo>
                <a:lnTo>
                  <a:pt x="4916" y="2259"/>
                </a:lnTo>
                <a:lnTo>
                  <a:pt x="4932" y="2257"/>
                </a:lnTo>
                <a:lnTo>
                  <a:pt x="4946" y="2254"/>
                </a:lnTo>
                <a:lnTo>
                  <a:pt x="4958" y="2249"/>
                </a:lnTo>
                <a:lnTo>
                  <a:pt x="4969" y="2243"/>
                </a:lnTo>
                <a:lnTo>
                  <a:pt x="4969" y="2243"/>
                </a:lnTo>
                <a:lnTo>
                  <a:pt x="4967" y="2217"/>
                </a:lnTo>
                <a:lnTo>
                  <a:pt x="4960" y="2157"/>
                </a:lnTo>
                <a:lnTo>
                  <a:pt x="4951" y="2084"/>
                </a:lnTo>
                <a:lnTo>
                  <a:pt x="4946" y="2052"/>
                </a:lnTo>
                <a:lnTo>
                  <a:pt x="4940" y="2024"/>
                </a:lnTo>
                <a:lnTo>
                  <a:pt x="4940" y="2024"/>
                </a:lnTo>
                <a:lnTo>
                  <a:pt x="4922" y="2027"/>
                </a:lnTo>
                <a:lnTo>
                  <a:pt x="4902" y="2030"/>
                </a:lnTo>
                <a:lnTo>
                  <a:pt x="4891" y="2030"/>
                </a:lnTo>
                <a:lnTo>
                  <a:pt x="4879" y="2030"/>
                </a:lnTo>
                <a:lnTo>
                  <a:pt x="4867" y="2029"/>
                </a:lnTo>
                <a:lnTo>
                  <a:pt x="4855" y="2027"/>
                </a:lnTo>
                <a:lnTo>
                  <a:pt x="4843" y="2024"/>
                </a:lnTo>
                <a:lnTo>
                  <a:pt x="4830" y="2020"/>
                </a:lnTo>
                <a:lnTo>
                  <a:pt x="4818" y="2015"/>
                </a:lnTo>
                <a:lnTo>
                  <a:pt x="4806" y="2008"/>
                </a:lnTo>
                <a:lnTo>
                  <a:pt x="4794" y="1998"/>
                </a:lnTo>
                <a:lnTo>
                  <a:pt x="4782" y="1988"/>
                </a:lnTo>
                <a:lnTo>
                  <a:pt x="4771" y="1976"/>
                </a:lnTo>
                <a:lnTo>
                  <a:pt x="4761" y="1962"/>
                </a:lnTo>
                <a:lnTo>
                  <a:pt x="4761" y="1962"/>
                </a:lnTo>
                <a:lnTo>
                  <a:pt x="4743" y="1933"/>
                </a:lnTo>
                <a:lnTo>
                  <a:pt x="4724" y="1905"/>
                </a:lnTo>
                <a:lnTo>
                  <a:pt x="4724" y="1905"/>
                </a:lnTo>
                <a:lnTo>
                  <a:pt x="4703" y="1877"/>
                </a:lnTo>
                <a:lnTo>
                  <a:pt x="4680" y="1849"/>
                </a:lnTo>
                <a:lnTo>
                  <a:pt x="4658" y="1823"/>
                </a:lnTo>
                <a:lnTo>
                  <a:pt x="4634" y="1797"/>
                </a:lnTo>
                <a:lnTo>
                  <a:pt x="4611" y="1773"/>
                </a:lnTo>
                <a:lnTo>
                  <a:pt x="4586" y="1750"/>
                </a:lnTo>
                <a:lnTo>
                  <a:pt x="4562" y="1727"/>
                </a:lnTo>
                <a:lnTo>
                  <a:pt x="4538" y="1707"/>
                </a:lnTo>
                <a:lnTo>
                  <a:pt x="4513" y="1687"/>
                </a:lnTo>
                <a:lnTo>
                  <a:pt x="4489" y="1667"/>
                </a:lnTo>
                <a:lnTo>
                  <a:pt x="4463" y="1649"/>
                </a:lnTo>
                <a:lnTo>
                  <a:pt x="4439" y="1630"/>
                </a:lnTo>
                <a:lnTo>
                  <a:pt x="4413" y="1614"/>
                </a:lnTo>
                <a:lnTo>
                  <a:pt x="4389" y="1598"/>
                </a:lnTo>
                <a:lnTo>
                  <a:pt x="4337" y="1566"/>
                </a:lnTo>
                <a:lnTo>
                  <a:pt x="4337" y="1566"/>
                </a:lnTo>
                <a:lnTo>
                  <a:pt x="4381" y="1543"/>
                </a:lnTo>
                <a:lnTo>
                  <a:pt x="4422" y="1521"/>
                </a:lnTo>
                <a:lnTo>
                  <a:pt x="4459" y="1498"/>
                </a:lnTo>
                <a:lnTo>
                  <a:pt x="4492" y="1477"/>
                </a:lnTo>
                <a:lnTo>
                  <a:pt x="4523" y="1455"/>
                </a:lnTo>
                <a:lnTo>
                  <a:pt x="4549" y="1434"/>
                </a:lnTo>
                <a:lnTo>
                  <a:pt x="4574" y="1414"/>
                </a:lnTo>
                <a:lnTo>
                  <a:pt x="4595" y="1393"/>
                </a:lnTo>
                <a:lnTo>
                  <a:pt x="4615" y="1374"/>
                </a:lnTo>
                <a:lnTo>
                  <a:pt x="4632" y="1355"/>
                </a:lnTo>
                <a:lnTo>
                  <a:pt x="4647" y="1337"/>
                </a:lnTo>
                <a:lnTo>
                  <a:pt x="4661" y="1319"/>
                </a:lnTo>
                <a:lnTo>
                  <a:pt x="4673" y="1303"/>
                </a:lnTo>
                <a:lnTo>
                  <a:pt x="4683" y="1288"/>
                </a:lnTo>
                <a:lnTo>
                  <a:pt x="4700" y="1260"/>
                </a:lnTo>
                <a:lnTo>
                  <a:pt x="4700" y="1260"/>
                </a:lnTo>
                <a:lnTo>
                  <a:pt x="4708" y="1248"/>
                </a:lnTo>
                <a:lnTo>
                  <a:pt x="4714" y="1234"/>
                </a:lnTo>
                <a:lnTo>
                  <a:pt x="4721" y="1218"/>
                </a:lnTo>
                <a:lnTo>
                  <a:pt x="4727" y="1202"/>
                </a:lnTo>
                <a:lnTo>
                  <a:pt x="4733" y="1183"/>
                </a:lnTo>
                <a:lnTo>
                  <a:pt x="4739" y="1164"/>
                </a:lnTo>
                <a:lnTo>
                  <a:pt x="4743" y="1144"/>
                </a:lnTo>
                <a:lnTo>
                  <a:pt x="4749" y="1123"/>
                </a:lnTo>
                <a:lnTo>
                  <a:pt x="4753" y="1101"/>
                </a:lnTo>
                <a:lnTo>
                  <a:pt x="4756" y="1078"/>
                </a:lnTo>
                <a:lnTo>
                  <a:pt x="4758" y="1054"/>
                </a:lnTo>
                <a:lnTo>
                  <a:pt x="4759" y="1030"/>
                </a:lnTo>
                <a:lnTo>
                  <a:pt x="4760" y="1005"/>
                </a:lnTo>
                <a:lnTo>
                  <a:pt x="4759" y="980"/>
                </a:lnTo>
                <a:lnTo>
                  <a:pt x="4758" y="954"/>
                </a:lnTo>
                <a:lnTo>
                  <a:pt x="4755" y="928"/>
                </a:lnTo>
                <a:lnTo>
                  <a:pt x="4751" y="902"/>
                </a:lnTo>
                <a:lnTo>
                  <a:pt x="4745" y="876"/>
                </a:lnTo>
                <a:lnTo>
                  <a:pt x="4738" y="849"/>
                </a:lnTo>
                <a:lnTo>
                  <a:pt x="4730" y="824"/>
                </a:lnTo>
                <a:lnTo>
                  <a:pt x="4720" y="797"/>
                </a:lnTo>
                <a:lnTo>
                  <a:pt x="4709" y="771"/>
                </a:lnTo>
                <a:lnTo>
                  <a:pt x="4695" y="746"/>
                </a:lnTo>
                <a:lnTo>
                  <a:pt x="4681" y="721"/>
                </a:lnTo>
                <a:lnTo>
                  <a:pt x="4665" y="697"/>
                </a:lnTo>
                <a:lnTo>
                  <a:pt x="4646" y="672"/>
                </a:lnTo>
                <a:lnTo>
                  <a:pt x="4625" y="649"/>
                </a:lnTo>
                <a:lnTo>
                  <a:pt x="4602" y="626"/>
                </a:lnTo>
                <a:lnTo>
                  <a:pt x="4578" y="605"/>
                </a:lnTo>
                <a:lnTo>
                  <a:pt x="4551" y="584"/>
                </a:lnTo>
                <a:lnTo>
                  <a:pt x="4522" y="565"/>
                </a:lnTo>
                <a:lnTo>
                  <a:pt x="4490" y="545"/>
                </a:lnTo>
                <a:lnTo>
                  <a:pt x="4490" y="545"/>
                </a:lnTo>
                <a:lnTo>
                  <a:pt x="4466" y="533"/>
                </a:lnTo>
                <a:lnTo>
                  <a:pt x="4443" y="522"/>
                </a:lnTo>
                <a:lnTo>
                  <a:pt x="4419" y="512"/>
                </a:lnTo>
                <a:lnTo>
                  <a:pt x="4396" y="503"/>
                </a:lnTo>
                <a:lnTo>
                  <a:pt x="4372" y="494"/>
                </a:lnTo>
                <a:lnTo>
                  <a:pt x="4348" y="487"/>
                </a:lnTo>
                <a:lnTo>
                  <a:pt x="4325" y="481"/>
                </a:lnTo>
                <a:lnTo>
                  <a:pt x="4302" y="476"/>
                </a:lnTo>
                <a:lnTo>
                  <a:pt x="4278" y="471"/>
                </a:lnTo>
                <a:lnTo>
                  <a:pt x="4256" y="468"/>
                </a:lnTo>
                <a:lnTo>
                  <a:pt x="4233" y="465"/>
                </a:lnTo>
                <a:lnTo>
                  <a:pt x="4211" y="463"/>
                </a:lnTo>
                <a:lnTo>
                  <a:pt x="4188" y="461"/>
                </a:lnTo>
                <a:lnTo>
                  <a:pt x="4167" y="461"/>
                </a:lnTo>
                <a:lnTo>
                  <a:pt x="4145" y="461"/>
                </a:lnTo>
                <a:lnTo>
                  <a:pt x="4124" y="461"/>
                </a:lnTo>
                <a:lnTo>
                  <a:pt x="4083" y="464"/>
                </a:lnTo>
                <a:lnTo>
                  <a:pt x="4044" y="468"/>
                </a:lnTo>
                <a:lnTo>
                  <a:pt x="4007" y="474"/>
                </a:lnTo>
                <a:lnTo>
                  <a:pt x="3973" y="482"/>
                </a:lnTo>
                <a:lnTo>
                  <a:pt x="3941" y="490"/>
                </a:lnTo>
                <a:lnTo>
                  <a:pt x="3912" y="499"/>
                </a:lnTo>
                <a:lnTo>
                  <a:pt x="3887" y="510"/>
                </a:lnTo>
                <a:lnTo>
                  <a:pt x="3864" y="519"/>
                </a:lnTo>
                <a:lnTo>
                  <a:pt x="3864" y="519"/>
                </a:lnTo>
                <a:lnTo>
                  <a:pt x="3844" y="529"/>
                </a:lnTo>
                <a:lnTo>
                  <a:pt x="3824" y="539"/>
                </a:lnTo>
                <a:lnTo>
                  <a:pt x="3806" y="551"/>
                </a:lnTo>
                <a:lnTo>
                  <a:pt x="3787" y="562"/>
                </a:lnTo>
                <a:lnTo>
                  <a:pt x="3769" y="575"/>
                </a:lnTo>
                <a:lnTo>
                  <a:pt x="3752" y="587"/>
                </a:lnTo>
                <a:lnTo>
                  <a:pt x="3735" y="602"/>
                </a:lnTo>
                <a:lnTo>
                  <a:pt x="3719" y="616"/>
                </a:lnTo>
                <a:lnTo>
                  <a:pt x="3703" y="631"/>
                </a:lnTo>
                <a:lnTo>
                  <a:pt x="3687" y="647"/>
                </a:lnTo>
                <a:lnTo>
                  <a:pt x="3673" y="663"/>
                </a:lnTo>
                <a:lnTo>
                  <a:pt x="3659" y="679"/>
                </a:lnTo>
                <a:lnTo>
                  <a:pt x="3645" y="697"/>
                </a:lnTo>
                <a:lnTo>
                  <a:pt x="3633" y="715"/>
                </a:lnTo>
                <a:lnTo>
                  <a:pt x="3621" y="734"/>
                </a:lnTo>
                <a:lnTo>
                  <a:pt x="3609" y="753"/>
                </a:lnTo>
                <a:lnTo>
                  <a:pt x="3599" y="772"/>
                </a:lnTo>
                <a:lnTo>
                  <a:pt x="3589" y="793"/>
                </a:lnTo>
                <a:lnTo>
                  <a:pt x="3581" y="813"/>
                </a:lnTo>
                <a:lnTo>
                  <a:pt x="3573" y="835"/>
                </a:lnTo>
                <a:lnTo>
                  <a:pt x="3565" y="856"/>
                </a:lnTo>
                <a:lnTo>
                  <a:pt x="3559" y="879"/>
                </a:lnTo>
                <a:lnTo>
                  <a:pt x="3554" y="901"/>
                </a:lnTo>
                <a:lnTo>
                  <a:pt x="3550" y="924"/>
                </a:lnTo>
                <a:lnTo>
                  <a:pt x="3547" y="947"/>
                </a:lnTo>
                <a:lnTo>
                  <a:pt x="3545" y="972"/>
                </a:lnTo>
                <a:lnTo>
                  <a:pt x="3544" y="996"/>
                </a:lnTo>
                <a:lnTo>
                  <a:pt x="3543" y="1021"/>
                </a:lnTo>
                <a:lnTo>
                  <a:pt x="3544" y="1046"/>
                </a:lnTo>
                <a:lnTo>
                  <a:pt x="3546" y="1072"/>
                </a:lnTo>
                <a:lnTo>
                  <a:pt x="3550" y="1098"/>
                </a:lnTo>
                <a:lnTo>
                  <a:pt x="3554" y="1124"/>
                </a:lnTo>
                <a:lnTo>
                  <a:pt x="3554" y="1124"/>
                </a:lnTo>
                <a:lnTo>
                  <a:pt x="3559" y="1148"/>
                </a:lnTo>
                <a:lnTo>
                  <a:pt x="3564" y="1169"/>
                </a:lnTo>
                <a:lnTo>
                  <a:pt x="3571" y="1191"/>
                </a:lnTo>
                <a:lnTo>
                  <a:pt x="3577" y="1211"/>
                </a:lnTo>
                <a:lnTo>
                  <a:pt x="3585" y="1231"/>
                </a:lnTo>
                <a:lnTo>
                  <a:pt x="3592" y="1249"/>
                </a:lnTo>
                <a:lnTo>
                  <a:pt x="3601" y="1267"/>
                </a:lnTo>
                <a:lnTo>
                  <a:pt x="3610" y="1285"/>
                </a:lnTo>
                <a:lnTo>
                  <a:pt x="3620" y="1301"/>
                </a:lnTo>
                <a:lnTo>
                  <a:pt x="3631" y="1316"/>
                </a:lnTo>
                <a:lnTo>
                  <a:pt x="3641" y="1332"/>
                </a:lnTo>
                <a:lnTo>
                  <a:pt x="3652" y="1347"/>
                </a:lnTo>
                <a:lnTo>
                  <a:pt x="3665" y="1361"/>
                </a:lnTo>
                <a:lnTo>
                  <a:pt x="3677" y="1375"/>
                </a:lnTo>
                <a:lnTo>
                  <a:pt x="3690" y="1388"/>
                </a:lnTo>
                <a:lnTo>
                  <a:pt x="3704" y="1400"/>
                </a:lnTo>
                <a:lnTo>
                  <a:pt x="3732" y="1425"/>
                </a:lnTo>
                <a:lnTo>
                  <a:pt x="3763" y="1447"/>
                </a:lnTo>
                <a:lnTo>
                  <a:pt x="3795" y="1469"/>
                </a:lnTo>
                <a:lnTo>
                  <a:pt x="3828" y="1489"/>
                </a:lnTo>
                <a:lnTo>
                  <a:pt x="3863" y="1510"/>
                </a:lnTo>
                <a:lnTo>
                  <a:pt x="3899" y="1529"/>
                </a:lnTo>
                <a:lnTo>
                  <a:pt x="3976" y="1567"/>
                </a:lnTo>
                <a:lnTo>
                  <a:pt x="3976" y="1567"/>
                </a:lnTo>
                <a:lnTo>
                  <a:pt x="3945" y="1584"/>
                </a:lnTo>
                <a:lnTo>
                  <a:pt x="3916" y="1601"/>
                </a:lnTo>
                <a:lnTo>
                  <a:pt x="3890" y="1618"/>
                </a:lnTo>
                <a:lnTo>
                  <a:pt x="3864" y="1636"/>
                </a:lnTo>
                <a:lnTo>
                  <a:pt x="3840" y="1656"/>
                </a:lnTo>
                <a:lnTo>
                  <a:pt x="3817" y="1675"/>
                </a:lnTo>
                <a:lnTo>
                  <a:pt x="3797" y="1696"/>
                </a:lnTo>
                <a:lnTo>
                  <a:pt x="3778" y="1717"/>
                </a:lnTo>
                <a:lnTo>
                  <a:pt x="3761" y="1741"/>
                </a:lnTo>
                <a:lnTo>
                  <a:pt x="3754" y="1753"/>
                </a:lnTo>
                <a:lnTo>
                  <a:pt x="3746" y="1765"/>
                </a:lnTo>
                <a:lnTo>
                  <a:pt x="3739" y="1778"/>
                </a:lnTo>
                <a:lnTo>
                  <a:pt x="3733" y="1791"/>
                </a:lnTo>
                <a:lnTo>
                  <a:pt x="3728" y="1804"/>
                </a:lnTo>
                <a:lnTo>
                  <a:pt x="3723" y="1818"/>
                </a:lnTo>
                <a:lnTo>
                  <a:pt x="3718" y="1833"/>
                </a:lnTo>
                <a:lnTo>
                  <a:pt x="3714" y="1848"/>
                </a:lnTo>
                <a:lnTo>
                  <a:pt x="3711" y="1863"/>
                </a:lnTo>
                <a:lnTo>
                  <a:pt x="3708" y="1879"/>
                </a:lnTo>
                <a:lnTo>
                  <a:pt x="3706" y="1895"/>
                </a:lnTo>
                <a:lnTo>
                  <a:pt x="3705" y="1912"/>
                </a:lnTo>
                <a:lnTo>
                  <a:pt x="3704" y="1930"/>
                </a:lnTo>
                <a:lnTo>
                  <a:pt x="3703" y="1947"/>
                </a:lnTo>
                <a:lnTo>
                  <a:pt x="3703" y="1947"/>
                </a:lnTo>
                <a:lnTo>
                  <a:pt x="3704" y="1970"/>
                </a:lnTo>
                <a:lnTo>
                  <a:pt x="3707" y="1993"/>
                </a:lnTo>
                <a:lnTo>
                  <a:pt x="3711" y="2016"/>
                </a:lnTo>
                <a:lnTo>
                  <a:pt x="3716" y="2039"/>
                </a:lnTo>
                <a:lnTo>
                  <a:pt x="3729" y="2087"/>
                </a:lnTo>
                <a:lnTo>
                  <a:pt x="3736" y="2113"/>
                </a:lnTo>
                <a:lnTo>
                  <a:pt x="3742" y="2139"/>
                </a:lnTo>
                <a:lnTo>
                  <a:pt x="3749" y="2168"/>
                </a:lnTo>
                <a:lnTo>
                  <a:pt x="3753" y="2197"/>
                </a:lnTo>
                <a:lnTo>
                  <a:pt x="3757" y="2227"/>
                </a:lnTo>
                <a:lnTo>
                  <a:pt x="3758" y="2260"/>
                </a:lnTo>
                <a:lnTo>
                  <a:pt x="3758" y="2295"/>
                </a:lnTo>
                <a:lnTo>
                  <a:pt x="3757" y="2313"/>
                </a:lnTo>
                <a:lnTo>
                  <a:pt x="3755" y="2332"/>
                </a:lnTo>
                <a:lnTo>
                  <a:pt x="3753" y="2350"/>
                </a:lnTo>
                <a:lnTo>
                  <a:pt x="3750" y="2371"/>
                </a:lnTo>
                <a:lnTo>
                  <a:pt x="3745" y="2391"/>
                </a:lnTo>
                <a:lnTo>
                  <a:pt x="3741" y="2411"/>
                </a:lnTo>
                <a:lnTo>
                  <a:pt x="3741" y="2411"/>
                </a:lnTo>
                <a:lnTo>
                  <a:pt x="3741" y="2413"/>
                </a:lnTo>
                <a:lnTo>
                  <a:pt x="3741" y="2414"/>
                </a:lnTo>
                <a:lnTo>
                  <a:pt x="3743" y="2414"/>
                </a:lnTo>
                <a:lnTo>
                  <a:pt x="3745" y="2416"/>
                </a:lnTo>
                <a:lnTo>
                  <a:pt x="3753" y="2413"/>
                </a:lnTo>
                <a:lnTo>
                  <a:pt x="3762" y="2411"/>
                </a:lnTo>
                <a:lnTo>
                  <a:pt x="3785" y="2401"/>
                </a:lnTo>
                <a:lnTo>
                  <a:pt x="3814" y="2389"/>
                </a:lnTo>
                <a:lnTo>
                  <a:pt x="3842" y="2374"/>
                </a:lnTo>
                <a:lnTo>
                  <a:pt x="3867" y="2360"/>
                </a:lnTo>
                <a:lnTo>
                  <a:pt x="3886" y="2349"/>
                </a:lnTo>
                <a:lnTo>
                  <a:pt x="3891" y="2345"/>
                </a:lnTo>
                <a:lnTo>
                  <a:pt x="3894" y="2343"/>
                </a:lnTo>
                <a:lnTo>
                  <a:pt x="3894" y="2343"/>
                </a:lnTo>
                <a:lnTo>
                  <a:pt x="3903" y="2319"/>
                </a:lnTo>
                <a:lnTo>
                  <a:pt x="3910" y="2296"/>
                </a:lnTo>
                <a:lnTo>
                  <a:pt x="3916" y="2272"/>
                </a:lnTo>
                <a:lnTo>
                  <a:pt x="3921" y="2248"/>
                </a:lnTo>
                <a:lnTo>
                  <a:pt x="3925" y="2224"/>
                </a:lnTo>
                <a:lnTo>
                  <a:pt x="3928" y="2201"/>
                </a:lnTo>
                <a:lnTo>
                  <a:pt x="3930" y="2178"/>
                </a:lnTo>
                <a:lnTo>
                  <a:pt x="3932" y="2156"/>
                </a:lnTo>
                <a:lnTo>
                  <a:pt x="3932" y="2117"/>
                </a:lnTo>
                <a:lnTo>
                  <a:pt x="3931" y="2086"/>
                </a:lnTo>
                <a:lnTo>
                  <a:pt x="3928" y="2059"/>
                </a:lnTo>
                <a:lnTo>
                  <a:pt x="3928" y="2059"/>
                </a:lnTo>
                <a:lnTo>
                  <a:pt x="3939" y="2068"/>
                </a:lnTo>
                <a:lnTo>
                  <a:pt x="3947" y="2079"/>
                </a:lnTo>
                <a:lnTo>
                  <a:pt x="3954" y="2091"/>
                </a:lnTo>
                <a:lnTo>
                  <a:pt x="3960" y="2105"/>
                </a:lnTo>
                <a:lnTo>
                  <a:pt x="3964" y="2120"/>
                </a:lnTo>
                <a:lnTo>
                  <a:pt x="3968" y="2135"/>
                </a:lnTo>
                <a:lnTo>
                  <a:pt x="3971" y="2152"/>
                </a:lnTo>
                <a:lnTo>
                  <a:pt x="3973" y="2168"/>
                </a:lnTo>
                <a:lnTo>
                  <a:pt x="3975" y="2185"/>
                </a:lnTo>
                <a:lnTo>
                  <a:pt x="3976" y="2203"/>
                </a:lnTo>
                <a:lnTo>
                  <a:pt x="3976" y="2219"/>
                </a:lnTo>
                <a:lnTo>
                  <a:pt x="3975" y="2237"/>
                </a:lnTo>
                <a:lnTo>
                  <a:pt x="3971" y="2268"/>
                </a:lnTo>
                <a:lnTo>
                  <a:pt x="3965" y="2297"/>
                </a:lnTo>
                <a:lnTo>
                  <a:pt x="3965" y="2297"/>
                </a:lnTo>
                <a:lnTo>
                  <a:pt x="3982" y="2288"/>
                </a:lnTo>
                <a:lnTo>
                  <a:pt x="3998" y="2276"/>
                </a:lnTo>
                <a:lnTo>
                  <a:pt x="4016" y="2263"/>
                </a:lnTo>
                <a:lnTo>
                  <a:pt x="4036" y="2249"/>
                </a:lnTo>
                <a:lnTo>
                  <a:pt x="4053" y="2234"/>
                </a:lnTo>
                <a:lnTo>
                  <a:pt x="4061" y="2226"/>
                </a:lnTo>
                <a:lnTo>
                  <a:pt x="4068" y="2219"/>
                </a:lnTo>
                <a:lnTo>
                  <a:pt x="4072" y="2212"/>
                </a:lnTo>
                <a:lnTo>
                  <a:pt x="4075" y="2206"/>
                </a:lnTo>
                <a:lnTo>
                  <a:pt x="4075" y="2206"/>
                </a:lnTo>
                <a:lnTo>
                  <a:pt x="4083" y="2176"/>
                </a:lnTo>
                <a:lnTo>
                  <a:pt x="4090" y="2148"/>
                </a:lnTo>
                <a:lnTo>
                  <a:pt x="4094" y="2121"/>
                </a:lnTo>
                <a:lnTo>
                  <a:pt x="4096" y="2095"/>
                </a:lnTo>
                <a:lnTo>
                  <a:pt x="4096" y="2071"/>
                </a:lnTo>
                <a:lnTo>
                  <a:pt x="4095" y="2047"/>
                </a:lnTo>
                <a:lnTo>
                  <a:pt x="4093" y="2025"/>
                </a:lnTo>
                <a:lnTo>
                  <a:pt x="4090" y="2003"/>
                </a:lnTo>
                <a:lnTo>
                  <a:pt x="4085" y="1983"/>
                </a:lnTo>
                <a:lnTo>
                  <a:pt x="4080" y="1964"/>
                </a:lnTo>
                <a:lnTo>
                  <a:pt x="4075" y="1945"/>
                </a:lnTo>
                <a:lnTo>
                  <a:pt x="4069" y="1928"/>
                </a:lnTo>
                <a:lnTo>
                  <a:pt x="4055" y="1894"/>
                </a:lnTo>
                <a:lnTo>
                  <a:pt x="4043" y="1862"/>
                </a:lnTo>
                <a:lnTo>
                  <a:pt x="4043" y="1862"/>
                </a:lnTo>
                <a:lnTo>
                  <a:pt x="4038" y="1847"/>
                </a:lnTo>
                <a:lnTo>
                  <a:pt x="4035" y="1832"/>
                </a:lnTo>
                <a:lnTo>
                  <a:pt x="4034" y="1817"/>
                </a:lnTo>
                <a:lnTo>
                  <a:pt x="4035" y="1802"/>
                </a:lnTo>
                <a:lnTo>
                  <a:pt x="4037" y="1788"/>
                </a:lnTo>
                <a:lnTo>
                  <a:pt x="4041" y="1773"/>
                </a:lnTo>
                <a:lnTo>
                  <a:pt x="4046" y="1759"/>
                </a:lnTo>
                <a:lnTo>
                  <a:pt x="4053" y="1746"/>
                </a:lnTo>
                <a:lnTo>
                  <a:pt x="4061" y="1733"/>
                </a:lnTo>
                <a:lnTo>
                  <a:pt x="4071" y="1719"/>
                </a:lnTo>
                <a:lnTo>
                  <a:pt x="4081" y="1707"/>
                </a:lnTo>
                <a:lnTo>
                  <a:pt x="4092" y="1696"/>
                </a:lnTo>
                <a:lnTo>
                  <a:pt x="4103" y="1684"/>
                </a:lnTo>
                <a:lnTo>
                  <a:pt x="4117" y="1673"/>
                </a:lnTo>
                <a:lnTo>
                  <a:pt x="4130" y="1664"/>
                </a:lnTo>
                <a:lnTo>
                  <a:pt x="4145" y="1655"/>
                </a:lnTo>
                <a:lnTo>
                  <a:pt x="4145" y="1655"/>
                </a:lnTo>
                <a:lnTo>
                  <a:pt x="4180" y="1674"/>
                </a:lnTo>
                <a:lnTo>
                  <a:pt x="4215" y="1695"/>
                </a:lnTo>
                <a:lnTo>
                  <a:pt x="4251" y="1716"/>
                </a:lnTo>
                <a:lnTo>
                  <a:pt x="4286" y="1740"/>
                </a:lnTo>
                <a:lnTo>
                  <a:pt x="4286" y="1740"/>
                </a:lnTo>
                <a:lnTo>
                  <a:pt x="4307" y="1754"/>
                </a:lnTo>
                <a:lnTo>
                  <a:pt x="4341" y="1779"/>
                </a:lnTo>
                <a:lnTo>
                  <a:pt x="4361" y="1794"/>
                </a:lnTo>
                <a:lnTo>
                  <a:pt x="4382" y="1812"/>
                </a:lnTo>
                <a:lnTo>
                  <a:pt x="4405" y="1832"/>
                </a:lnTo>
                <a:lnTo>
                  <a:pt x="4430" y="1853"/>
                </a:lnTo>
                <a:lnTo>
                  <a:pt x="4453" y="1877"/>
                </a:lnTo>
                <a:lnTo>
                  <a:pt x="4478" y="1901"/>
                </a:lnTo>
                <a:lnTo>
                  <a:pt x="4501" y="1928"/>
                </a:lnTo>
                <a:lnTo>
                  <a:pt x="4524" y="1956"/>
                </a:lnTo>
                <a:lnTo>
                  <a:pt x="4545" y="1985"/>
                </a:lnTo>
                <a:lnTo>
                  <a:pt x="4564" y="2016"/>
                </a:lnTo>
                <a:lnTo>
                  <a:pt x="4574" y="2031"/>
                </a:lnTo>
                <a:lnTo>
                  <a:pt x="4582" y="2047"/>
                </a:lnTo>
                <a:lnTo>
                  <a:pt x="4590" y="2064"/>
                </a:lnTo>
                <a:lnTo>
                  <a:pt x="4596" y="2080"/>
                </a:lnTo>
                <a:lnTo>
                  <a:pt x="4596" y="2080"/>
                </a:lnTo>
                <a:lnTo>
                  <a:pt x="4606" y="2106"/>
                </a:lnTo>
                <a:lnTo>
                  <a:pt x="4616" y="2130"/>
                </a:lnTo>
                <a:lnTo>
                  <a:pt x="4624" y="2155"/>
                </a:lnTo>
                <a:lnTo>
                  <a:pt x="4630" y="2178"/>
                </a:lnTo>
                <a:lnTo>
                  <a:pt x="4636" y="2202"/>
                </a:lnTo>
                <a:lnTo>
                  <a:pt x="4641" y="2224"/>
                </a:lnTo>
                <a:lnTo>
                  <a:pt x="4645" y="2246"/>
                </a:lnTo>
                <a:lnTo>
                  <a:pt x="4649" y="2266"/>
                </a:lnTo>
                <a:lnTo>
                  <a:pt x="4651" y="2287"/>
                </a:lnTo>
                <a:lnTo>
                  <a:pt x="4653" y="2306"/>
                </a:lnTo>
                <a:lnTo>
                  <a:pt x="4654" y="2325"/>
                </a:lnTo>
                <a:lnTo>
                  <a:pt x="4655" y="2343"/>
                </a:lnTo>
                <a:lnTo>
                  <a:pt x="4654" y="2377"/>
                </a:lnTo>
                <a:lnTo>
                  <a:pt x="4652" y="2408"/>
                </a:lnTo>
                <a:lnTo>
                  <a:pt x="4648" y="2437"/>
                </a:lnTo>
                <a:lnTo>
                  <a:pt x="4642" y="2464"/>
                </a:lnTo>
                <a:lnTo>
                  <a:pt x="4635" y="2487"/>
                </a:lnTo>
                <a:lnTo>
                  <a:pt x="4628" y="2509"/>
                </a:lnTo>
                <a:lnTo>
                  <a:pt x="4620" y="2527"/>
                </a:lnTo>
                <a:lnTo>
                  <a:pt x="4612" y="2544"/>
                </a:lnTo>
                <a:lnTo>
                  <a:pt x="4603" y="2559"/>
                </a:lnTo>
                <a:lnTo>
                  <a:pt x="4596" y="2570"/>
                </a:lnTo>
                <a:lnTo>
                  <a:pt x="4596" y="2570"/>
                </a:lnTo>
                <a:lnTo>
                  <a:pt x="4582" y="2590"/>
                </a:lnTo>
                <a:lnTo>
                  <a:pt x="4568" y="2611"/>
                </a:lnTo>
                <a:lnTo>
                  <a:pt x="4553" y="2629"/>
                </a:lnTo>
                <a:lnTo>
                  <a:pt x="4538" y="2648"/>
                </a:lnTo>
                <a:lnTo>
                  <a:pt x="4522" y="2665"/>
                </a:lnTo>
                <a:lnTo>
                  <a:pt x="4505" y="2681"/>
                </a:lnTo>
                <a:lnTo>
                  <a:pt x="4487" y="2697"/>
                </a:lnTo>
                <a:lnTo>
                  <a:pt x="4469" y="2711"/>
                </a:lnTo>
                <a:lnTo>
                  <a:pt x="4450" y="2724"/>
                </a:lnTo>
                <a:lnTo>
                  <a:pt x="4430" y="2736"/>
                </a:lnTo>
                <a:lnTo>
                  <a:pt x="4409" y="2747"/>
                </a:lnTo>
                <a:lnTo>
                  <a:pt x="4388" y="2756"/>
                </a:lnTo>
                <a:lnTo>
                  <a:pt x="4364" y="2764"/>
                </a:lnTo>
                <a:lnTo>
                  <a:pt x="4341" y="2771"/>
                </a:lnTo>
                <a:lnTo>
                  <a:pt x="4316" y="2776"/>
                </a:lnTo>
                <a:lnTo>
                  <a:pt x="4290" y="2779"/>
                </a:lnTo>
                <a:lnTo>
                  <a:pt x="4290" y="2779"/>
                </a:lnTo>
                <a:lnTo>
                  <a:pt x="4283" y="2778"/>
                </a:lnTo>
                <a:lnTo>
                  <a:pt x="4275" y="2778"/>
                </a:lnTo>
                <a:lnTo>
                  <a:pt x="4275" y="2778"/>
                </a:lnTo>
                <a:lnTo>
                  <a:pt x="4242" y="2779"/>
                </a:lnTo>
                <a:lnTo>
                  <a:pt x="4213" y="2779"/>
                </a:lnTo>
                <a:lnTo>
                  <a:pt x="4185" y="2778"/>
                </a:lnTo>
                <a:lnTo>
                  <a:pt x="4159" y="2775"/>
                </a:lnTo>
                <a:lnTo>
                  <a:pt x="4159" y="2775"/>
                </a:lnTo>
                <a:lnTo>
                  <a:pt x="4131" y="2770"/>
                </a:lnTo>
                <a:lnTo>
                  <a:pt x="4103" y="2765"/>
                </a:lnTo>
                <a:lnTo>
                  <a:pt x="4077" y="2758"/>
                </a:lnTo>
                <a:lnTo>
                  <a:pt x="4052" y="2751"/>
                </a:lnTo>
                <a:lnTo>
                  <a:pt x="4052" y="2751"/>
                </a:lnTo>
                <a:lnTo>
                  <a:pt x="4009" y="2736"/>
                </a:lnTo>
                <a:lnTo>
                  <a:pt x="3965" y="2717"/>
                </a:lnTo>
                <a:lnTo>
                  <a:pt x="3965" y="2717"/>
                </a:lnTo>
                <a:lnTo>
                  <a:pt x="3925" y="2697"/>
                </a:lnTo>
                <a:lnTo>
                  <a:pt x="3874" y="2669"/>
                </a:lnTo>
                <a:lnTo>
                  <a:pt x="3846" y="2652"/>
                </a:lnTo>
                <a:lnTo>
                  <a:pt x="3815" y="2632"/>
                </a:lnTo>
                <a:lnTo>
                  <a:pt x="3782" y="2612"/>
                </a:lnTo>
                <a:lnTo>
                  <a:pt x="3748" y="2588"/>
                </a:lnTo>
                <a:lnTo>
                  <a:pt x="3712" y="2564"/>
                </a:lnTo>
                <a:lnTo>
                  <a:pt x="3676" y="2536"/>
                </a:lnTo>
                <a:lnTo>
                  <a:pt x="3638" y="2508"/>
                </a:lnTo>
                <a:lnTo>
                  <a:pt x="3601" y="2477"/>
                </a:lnTo>
                <a:lnTo>
                  <a:pt x="3563" y="2444"/>
                </a:lnTo>
                <a:lnTo>
                  <a:pt x="3526" y="2409"/>
                </a:lnTo>
                <a:lnTo>
                  <a:pt x="3488" y="2373"/>
                </a:lnTo>
                <a:lnTo>
                  <a:pt x="3451" y="2335"/>
                </a:lnTo>
                <a:lnTo>
                  <a:pt x="3451" y="2335"/>
                </a:lnTo>
                <a:lnTo>
                  <a:pt x="3394" y="2271"/>
                </a:lnTo>
                <a:lnTo>
                  <a:pt x="3342" y="2212"/>
                </a:lnTo>
                <a:lnTo>
                  <a:pt x="3295" y="2157"/>
                </a:lnTo>
                <a:lnTo>
                  <a:pt x="3253" y="2107"/>
                </a:lnTo>
                <a:lnTo>
                  <a:pt x="3215" y="2060"/>
                </a:lnTo>
                <a:lnTo>
                  <a:pt x="3180" y="2017"/>
                </a:lnTo>
                <a:lnTo>
                  <a:pt x="3120" y="1940"/>
                </a:lnTo>
                <a:lnTo>
                  <a:pt x="3120" y="1940"/>
                </a:lnTo>
                <a:lnTo>
                  <a:pt x="3138" y="1947"/>
                </a:lnTo>
                <a:lnTo>
                  <a:pt x="3156" y="1953"/>
                </a:lnTo>
                <a:lnTo>
                  <a:pt x="3175" y="1958"/>
                </a:lnTo>
                <a:lnTo>
                  <a:pt x="3193" y="1963"/>
                </a:lnTo>
                <a:lnTo>
                  <a:pt x="3211" y="1966"/>
                </a:lnTo>
                <a:lnTo>
                  <a:pt x="3229" y="1968"/>
                </a:lnTo>
                <a:lnTo>
                  <a:pt x="3262" y="1971"/>
                </a:lnTo>
                <a:lnTo>
                  <a:pt x="3289" y="1971"/>
                </a:lnTo>
                <a:lnTo>
                  <a:pt x="3312" y="1970"/>
                </a:lnTo>
                <a:lnTo>
                  <a:pt x="3332" y="1968"/>
                </a:lnTo>
                <a:lnTo>
                  <a:pt x="3332" y="1968"/>
                </a:lnTo>
                <a:lnTo>
                  <a:pt x="3336" y="1918"/>
                </a:lnTo>
                <a:lnTo>
                  <a:pt x="3338" y="1873"/>
                </a:lnTo>
                <a:lnTo>
                  <a:pt x="3340" y="1833"/>
                </a:lnTo>
                <a:lnTo>
                  <a:pt x="3346" y="1698"/>
                </a:lnTo>
                <a:lnTo>
                  <a:pt x="3346" y="1698"/>
                </a:lnTo>
                <a:lnTo>
                  <a:pt x="3349" y="1661"/>
                </a:lnTo>
                <a:lnTo>
                  <a:pt x="3351" y="1626"/>
                </a:lnTo>
                <a:lnTo>
                  <a:pt x="3352" y="1589"/>
                </a:lnTo>
                <a:lnTo>
                  <a:pt x="3352" y="1589"/>
                </a:lnTo>
                <a:lnTo>
                  <a:pt x="3340" y="1588"/>
                </a:lnTo>
                <a:lnTo>
                  <a:pt x="3307" y="1584"/>
                </a:lnTo>
                <a:lnTo>
                  <a:pt x="3285" y="1581"/>
                </a:lnTo>
                <a:lnTo>
                  <a:pt x="3260" y="1576"/>
                </a:lnTo>
                <a:lnTo>
                  <a:pt x="3233" y="1571"/>
                </a:lnTo>
                <a:lnTo>
                  <a:pt x="3206" y="1564"/>
                </a:lnTo>
                <a:lnTo>
                  <a:pt x="3176" y="1555"/>
                </a:lnTo>
                <a:lnTo>
                  <a:pt x="3147" y="1544"/>
                </a:lnTo>
                <a:lnTo>
                  <a:pt x="3120" y="1532"/>
                </a:lnTo>
                <a:lnTo>
                  <a:pt x="3106" y="1526"/>
                </a:lnTo>
                <a:lnTo>
                  <a:pt x="3093" y="1519"/>
                </a:lnTo>
                <a:lnTo>
                  <a:pt x="3081" y="1511"/>
                </a:lnTo>
                <a:lnTo>
                  <a:pt x="3070" y="1502"/>
                </a:lnTo>
                <a:lnTo>
                  <a:pt x="3058" y="1493"/>
                </a:lnTo>
                <a:lnTo>
                  <a:pt x="3049" y="1484"/>
                </a:lnTo>
                <a:lnTo>
                  <a:pt x="3040" y="1474"/>
                </a:lnTo>
                <a:lnTo>
                  <a:pt x="3032" y="1463"/>
                </a:lnTo>
                <a:lnTo>
                  <a:pt x="3025" y="1451"/>
                </a:lnTo>
                <a:lnTo>
                  <a:pt x="3019" y="1439"/>
                </a:lnTo>
                <a:lnTo>
                  <a:pt x="3019" y="1439"/>
                </a:lnTo>
                <a:lnTo>
                  <a:pt x="3030" y="1445"/>
                </a:lnTo>
                <a:lnTo>
                  <a:pt x="3042" y="1450"/>
                </a:lnTo>
                <a:lnTo>
                  <a:pt x="3059" y="1457"/>
                </a:lnTo>
                <a:lnTo>
                  <a:pt x="3081" y="1465"/>
                </a:lnTo>
                <a:lnTo>
                  <a:pt x="3106" y="1472"/>
                </a:lnTo>
                <a:lnTo>
                  <a:pt x="3136" y="1477"/>
                </a:lnTo>
                <a:lnTo>
                  <a:pt x="3152" y="1479"/>
                </a:lnTo>
                <a:lnTo>
                  <a:pt x="3169" y="1480"/>
                </a:lnTo>
                <a:lnTo>
                  <a:pt x="3169" y="1480"/>
                </a:lnTo>
                <a:lnTo>
                  <a:pt x="3201" y="1481"/>
                </a:lnTo>
                <a:lnTo>
                  <a:pt x="3234" y="1481"/>
                </a:lnTo>
                <a:lnTo>
                  <a:pt x="3266" y="1479"/>
                </a:lnTo>
                <a:lnTo>
                  <a:pt x="3295" y="1477"/>
                </a:lnTo>
                <a:lnTo>
                  <a:pt x="3340" y="1471"/>
                </a:lnTo>
                <a:lnTo>
                  <a:pt x="3357" y="1469"/>
                </a:lnTo>
                <a:lnTo>
                  <a:pt x="3357" y="1469"/>
                </a:lnTo>
                <a:lnTo>
                  <a:pt x="3359" y="1463"/>
                </a:lnTo>
                <a:lnTo>
                  <a:pt x="3361" y="1451"/>
                </a:lnTo>
                <a:lnTo>
                  <a:pt x="3364" y="1421"/>
                </a:lnTo>
                <a:lnTo>
                  <a:pt x="3367" y="1381"/>
                </a:lnTo>
                <a:lnTo>
                  <a:pt x="3369" y="1337"/>
                </a:lnTo>
                <a:lnTo>
                  <a:pt x="3373" y="1257"/>
                </a:lnTo>
                <a:lnTo>
                  <a:pt x="3375" y="1222"/>
                </a:lnTo>
                <a:lnTo>
                  <a:pt x="3375" y="1222"/>
                </a:lnTo>
                <a:lnTo>
                  <a:pt x="3376" y="1194"/>
                </a:lnTo>
                <a:lnTo>
                  <a:pt x="3377" y="1154"/>
                </a:lnTo>
                <a:lnTo>
                  <a:pt x="3377" y="1105"/>
                </a:lnTo>
                <a:lnTo>
                  <a:pt x="3377" y="1105"/>
                </a:lnTo>
                <a:lnTo>
                  <a:pt x="3369" y="1107"/>
                </a:lnTo>
                <a:lnTo>
                  <a:pt x="3359" y="1108"/>
                </a:lnTo>
                <a:lnTo>
                  <a:pt x="3338" y="1110"/>
                </a:lnTo>
                <a:lnTo>
                  <a:pt x="3315" y="1109"/>
                </a:lnTo>
                <a:lnTo>
                  <a:pt x="3290" y="1107"/>
                </a:lnTo>
                <a:lnTo>
                  <a:pt x="3264" y="1104"/>
                </a:lnTo>
                <a:lnTo>
                  <a:pt x="3236" y="1100"/>
                </a:lnTo>
                <a:lnTo>
                  <a:pt x="3208" y="1094"/>
                </a:lnTo>
                <a:lnTo>
                  <a:pt x="3178" y="1086"/>
                </a:lnTo>
                <a:lnTo>
                  <a:pt x="3178" y="1086"/>
                </a:lnTo>
                <a:lnTo>
                  <a:pt x="3158" y="1080"/>
                </a:lnTo>
                <a:lnTo>
                  <a:pt x="3135" y="1071"/>
                </a:lnTo>
                <a:lnTo>
                  <a:pt x="3112" y="1059"/>
                </a:lnTo>
                <a:lnTo>
                  <a:pt x="3088" y="1044"/>
                </a:lnTo>
                <a:lnTo>
                  <a:pt x="3064" y="1028"/>
                </a:lnTo>
                <a:lnTo>
                  <a:pt x="3053" y="1019"/>
                </a:lnTo>
                <a:lnTo>
                  <a:pt x="3043" y="1010"/>
                </a:lnTo>
                <a:lnTo>
                  <a:pt x="3034" y="999"/>
                </a:lnTo>
                <a:lnTo>
                  <a:pt x="3025" y="990"/>
                </a:lnTo>
                <a:lnTo>
                  <a:pt x="3017" y="980"/>
                </a:lnTo>
                <a:lnTo>
                  <a:pt x="3010" y="969"/>
                </a:lnTo>
                <a:lnTo>
                  <a:pt x="3010" y="969"/>
                </a:lnTo>
                <a:lnTo>
                  <a:pt x="3022" y="974"/>
                </a:lnTo>
                <a:lnTo>
                  <a:pt x="3035" y="978"/>
                </a:lnTo>
                <a:lnTo>
                  <a:pt x="3052" y="984"/>
                </a:lnTo>
                <a:lnTo>
                  <a:pt x="3075" y="990"/>
                </a:lnTo>
                <a:lnTo>
                  <a:pt x="3101" y="996"/>
                </a:lnTo>
                <a:lnTo>
                  <a:pt x="3132" y="1003"/>
                </a:lnTo>
                <a:lnTo>
                  <a:pt x="3167" y="1008"/>
                </a:lnTo>
                <a:lnTo>
                  <a:pt x="3167" y="1008"/>
                </a:lnTo>
                <a:lnTo>
                  <a:pt x="3187" y="1010"/>
                </a:lnTo>
                <a:lnTo>
                  <a:pt x="3207" y="1011"/>
                </a:lnTo>
                <a:lnTo>
                  <a:pt x="3226" y="1012"/>
                </a:lnTo>
                <a:lnTo>
                  <a:pt x="3245" y="1012"/>
                </a:lnTo>
                <a:lnTo>
                  <a:pt x="3283" y="1010"/>
                </a:lnTo>
                <a:lnTo>
                  <a:pt x="3317" y="1007"/>
                </a:lnTo>
                <a:lnTo>
                  <a:pt x="3346" y="1001"/>
                </a:lnTo>
                <a:lnTo>
                  <a:pt x="3369" y="996"/>
                </a:lnTo>
                <a:lnTo>
                  <a:pt x="3377" y="993"/>
                </a:lnTo>
                <a:lnTo>
                  <a:pt x="3383" y="991"/>
                </a:lnTo>
                <a:lnTo>
                  <a:pt x="3388" y="988"/>
                </a:lnTo>
                <a:lnTo>
                  <a:pt x="3390" y="985"/>
                </a:lnTo>
                <a:lnTo>
                  <a:pt x="3390" y="985"/>
                </a:lnTo>
                <a:lnTo>
                  <a:pt x="3392" y="959"/>
                </a:lnTo>
                <a:lnTo>
                  <a:pt x="3393" y="925"/>
                </a:lnTo>
                <a:lnTo>
                  <a:pt x="3394" y="848"/>
                </a:lnTo>
                <a:lnTo>
                  <a:pt x="3394" y="750"/>
                </a:lnTo>
                <a:lnTo>
                  <a:pt x="3394" y="750"/>
                </a:lnTo>
                <a:lnTo>
                  <a:pt x="3399" y="686"/>
                </a:lnTo>
                <a:lnTo>
                  <a:pt x="3400" y="642"/>
                </a:lnTo>
                <a:lnTo>
                  <a:pt x="3400" y="627"/>
                </a:lnTo>
                <a:lnTo>
                  <a:pt x="3399" y="623"/>
                </a:lnTo>
                <a:lnTo>
                  <a:pt x="3398" y="622"/>
                </a:lnTo>
                <a:lnTo>
                  <a:pt x="3398" y="622"/>
                </a:lnTo>
                <a:lnTo>
                  <a:pt x="3392" y="622"/>
                </a:lnTo>
                <a:lnTo>
                  <a:pt x="3381" y="623"/>
                </a:lnTo>
                <a:lnTo>
                  <a:pt x="3368" y="623"/>
                </a:lnTo>
                <a:lnTo>
                  <a:pt x="3354" y="622"/>
                </a:lnTo>
                <a:lnTo>
                  <a:pt x="3336" y="620"/>
                </a:lnTo>
                <a:lnTo>
                  <a:pt x="3317" y="617"/>
                </a:lnTo>
                <a:lnTo>
                  <a:pt x="3297" y="612"/>
                </a:lnTo>
                <a:lnTo>
                  <a:pt x="3274" y="607"/>
                </a:lnTo>
                <a:lnTo>
                  <a:pt x="3251" y="599"/>
                </a:lnTo>
                <a:lnTo>
                  <a:pt x="3226" y="589"/>
                </a:lnTo>
                <a:lnTo>
                  <a:pt x="3200" y="578"/>
                </a:lnTo>
                <a:lnTo>
                  <a:pt x="3175" y="564"/>
                </a:lnTo>
                <a:lnTo>
                  <a:pt x="3149" y="548"/>
                </a:lnTo>
                <a:lnTo>
                  <a:pt x="3123" y="529"/>
                </a:lnTo>
                <a:lnTo>
                  <a:pt x="3110" y="519"/>
                </a:lnTo>
                <a:lnTo>
                  <a:pt x="3097" y="508"/>
                </a:lnTo>
                <a:lnTo>
                  <a:pt x="3085" y="495"/>
                </a:lnTo>
                <a:lnTo>
                  <a:pt x="3073" y="483"/>
                </a:lnTo>
                <a:lnTo>
                  <a:pt x="3073" y="483"/>
                </a:lnTo>
                <a:lnTo>
                  <a:pt x="3071" y="481"/>
                </a:lnTo>
                <a:lnTo>
                  <a:pt x="3065" y="476"/>
                </a:lnTo>
                <a:lnTo>
                  <a:pt x="3059" y="467"/>
                </a:lnTo>
                <a:lnTo>
                  <a:pt x="3056" y="461"/>
                </a:lnTo>
                <a:lnTo>
                  <a:pt x="3053" y="454"/>
                </a:lnTo>
                <a:lnTo>
                  <a:pt x="3051" y="447"/>
                </a:lnTo>
                <a:lnTo>
                  <a:pt x="3050" y="439"/>
                </a:lnTo>
                <a:lnTo>
                  <a:pt x="3049" y="430"/>
                </a:lnTo>
                <a:lnTo>
                  <a:pt x="3050" y="420"/>
                </a:lnTo>
                <a:lnTo>
                  <a:pt x="3053" y="410"/>
                </a:lnTo>
                <a:lnTo>
                  <a:pt x="3056" y="398"/>
                </a:lnTo>
                <a:lnTo>
                  <a:pt x="3062" y="386"/>
                </a:lnTo>
                <a:lnTo>
                  <a:pt x="3071" y="373"/>
                </a:lnTo>
                <a:lnTo>
                  <a:pt x="3071" y="373"/>
                </a:lnTo>
                <a:lnTo>
                  <a:pt x="2806" y="254"/>
                </a:lnTo>
                <a:lnTo>
                  <a:pt x="2806" y="254"/>
                </a:lnTo>
                <a:lnTo>
                  <a:pt x="2815" y="245"/>
                </a:lnTo>
                <a:lnTo>
                  <a:pt x="2824" y="234"/>
                </a:lnTo>
                <a:lnTo>
                  <a:pt x="2834" y="219"/>
                </a:lnTo>
                <a:lnTo>
                  <a:pt x="2845" y="203"/>
                </a:lnTo>
                <a:lnTo>
                  <a:pt x="2850" y="194"/>
                </a:lnTo>
                <a:lnTo>
                  <a:pt x="2854" y="185"/>
                </a:lnTo>
                <a:lnTo>
                  <a:pt x="2858" y="174"/>
                </a:lnTo>
                <a:lnTo>
                  <a:pt x="2861" y="164"/>
                </a:lnTo>
                <a:lnTo>
                  <a:pt x="2863" y="154"/>
                </a:lnTo>
                <a:lnTo>
                  <a:pt x="2863" y="144"/>
                </a:lnTo>
                <a:lnTo>
                  <a:pt x="2863" y="144"/>
                </a:lnTo>
                <a:lnTo>
                  <a:pt x="2863" y="132"/>
                </a:lnTo>
                <a:lnTo>
                  <a:pt x="2860" y="122"/>
                </a:lnTo>
                <a:lnTo>
                  <a:pt x="2855" y="112"/>
                </a:lnTo>
                <a:lnTo>
                  <a:pt x="2849" y="103"/>
                </a:lnTo>
                <a:lnTo>
                  <a:pt x="2841" y="94"/>
                </a:lnTo>
                <a:lnTo>
                  <a:pt x="2830" y="86"/>
                </a:lnTo>
                <a:lnTo>
                  <a:pt x="2820" y="79"/>
                </a:lnTo>
                <a:lnTo>
                  <a:pt x="2808" y="73"/>
                </a:lnTo>
                <a:lnTo>
                  <a:pt x="2795" y="68"/>
                </a:lnTo>
                <a:lnTo>
                  <a:pt x="2781" y="64"/>
                </a:lnTo>
                <a:lnTo>
                  <a:pt x="2767" y="60"/>
                </a:lnTo>
                <a:lnTo>
                  <a:pt x="2753" y="58"/>
                </a:lnTo>
                <a:lnTo>
                  <a:pt x="2738" y="56"/>
                </a:lnTo>
                <a:lnTo>
                  <a:pt x="2723" y="56"/>
                </a:lnTo>
                <a:lnTo>
                  <a:pt x="2709" y="57"/>
                </a:lnTo>
                <a:lnTo>
                  <a:pt x="2694" y="59"/>
                </a:lnTo>
                <a:lnTo>
                  <a:pt x="2694" y="59"/>
                </a:lnTo>
                <a:lnTo>
                  <a:pt x="2681" y="62"/>
                </a:lnTo>
                <a:lnTo>
                  <a:pt x="2669" y="66"/>
                </a:lnTo>
                <a:lnTo>
                  <a:pt x="2656" y="71"/>
                </a:lnTo>
                <a:lnTo>
                  <a:pt x="2644" y="77"/>
                </a:lnTo>
                <a:lnTo>
                  <a:pt x="2634" y="84"/>
                </a:lnTo>
                <a:lnTo>
                  <a:pt x="2623" y="92"/>
                </a:lnTo>
                <a:lnTo>
                  <a:pt x="2604" y="107"/>
                </a:lnTo>
                <a:lnTo>
                  <a:pt x="2589" y="122"/>
                </a:lnTo>
                <a:lnTo>
                  <a:pt x="2578" y="134"/>
                </a:lnTo>
                <a:lnTo>
                  <a:pt x="2569" y="147"/>
                </a:lnTo>
                <a:lnTo>
                  <a:pt x="2238" y="0"/>
                </a:lnTo>
                <a:lnTo>
                  <a:pt x="1977" y="263"/>
                </a:lnTo>
                <a:lnTo>
                  <a:pt x="1977" y="263"/>
                </a:lnTo>
                <a:lnTo>
                  <a:pt x="1972" y="268"/>
                </a:lnTo>
                <a:lnTo>
                  <a:pt x="1966" y="280"/>
                </a:lnTo>
                <a:lnTo>
                  <a:pt x="1963" y="287"/>
                </a:lnTo>
                <a:lnTo>
                  <a:pt x="1961" y="295"/>
                </a:lnTo>
                <a:lnTo>
                  <a:pt x="1960" y="304"/>
                </a:lnTo>
                <a:lnTo>
                  <a:pt x="1960" y="313"/>
                </a:lnTo>
                <a:lnTo>
                  <a:pt x="1964" y="337"/>
                </a:lnTo>
                <a:lnTo>
                  <a:pt x="1964" y="337"/>
                </a:lnTo>
                <a:lnTo>
                  <a:pt x="1964" y="343"/>
                </a:lnTo>
                <a:lnTo>
                  <a:pt x="1963" y="349"/>
                </a:lnTo>
                <a:lnTo>
                  <a:pt x="1962" y="354"/>
                </a:lnTo>
                <a:lnTo>
                  <a:pt x="1961" y="358"/>
                </a:lnTo>
                <a:lnTo>
                  <a:pt x="1957" y="366"/>
                </a:lnTo>
                <a:lnTo>
                  <a:pt x="1955" y="370"/>
                </a:lnTo>
                <a:lnTo>
                  <a:pt x="1955" y="370"/>
                </a:lnTo>
                <a:lnTo>
                  <a:pt x="1936" y="392"/>
                </a:lnTo>
                <a:lnTo>
                  <a:pt x="1916" y="416"/>
                </a:lnTo>
                <a:lnTo>
                  <a:pt x="1896" y="438"/>
                </a:lnTo>
                <a:lnTo>
                  <a:pt x="1876" y="461"/>
                </a:lnTo>
                <a:lnTo>
                  <a:pt x="1876" y="461"/>
                </a:lnTo>
                <a:lnTo>
                  <a:pt x="1847" y="499"/>
                </a:lnTo>
                <a:lnTo>
                  <a:pt x="1836" y="515"/>
                </a:lnTo>
                <a:lnTo>
                  <a:pt x="1828" y="527"/>
                </a:lnTo>
                <a:lnTo>
                  <a:pt x="1828" y="527"/>
                </a:lnTo>
                <a:lnTo>
                  <a:pt x="1819" y="542"/>
                </a:lnTo>
                <a:lnTo>
                  <a:pt x="1811" y="558"/>
                </a:lnTo>
                <a:lnTo>
                  <a:pt x="1799" y="583"/>
                </a:lnTo>
                <a:lnTo>
                  <a:pt x="1789" y="607"/>
                </a:lnTo>
                <a:lnTo>
                  <a:pt x="1781" y="628"/>
                </a:lnTo>
                <a:lnTo>
                  <a:pt x="1781" y="628"/>
                </a:lnTo>
                <a:lnTo>
                  <a:pt x="1780" y="631"/>
                </a:lnTo>
                <a:lnTo>
                  <a:pt x="1778" y="642"/>
                </a:lnTo>
                <a:lnTo>
                  <a:pt x="1778" y="649"/>
                </a:lnTo>
                <a:lnTo>
                  <a:pt x="1777" y="657"/>
                </a:lnTo>
                <a:lnTo>
                  <a:pt x="1778" y="666"/>
                </a:lnTo>
                <a:lnTo>
                  <a:pt x="1780" y="677"/>
                </a:lnTo>
                <a:lnTo>
                  <a:pt x="1784" y="690"/>
                </a:lnTo>
                <a:lnTo>
                  <a:pt x="1789" y="703"/>
                </a:lnTo>
                <a:lnTo>
                  <a:pt x="1797" y="716"/>
                </a:lnTo>
                <a:lnTo>
                  <a:pt x="1807" y="732"/>
                </a:lnTo>
                <a:lnTo>
                  <a:pt x="1819" y="748"/>
                </a:lnTo>
                <a:lnTo>
                  <a:pt x="1833" y="764"/>
                </a:lnTo>
                <a:lnTo>
                  <a:pt x="1852" y="782"/>
                </a:lnTo>
                <a:lnTo>
                  <a:pt x="1874" y="800"/>
                </a:lnTo>
                <a:lnTo>
                  <a:pt x="1881" y="806"/>
                </a:lnTo>
                <a:lnTo>
                  <a:pt x="1881" y="806"/>
                </a:lnTo>
                <a:lnTo>
                  <a:pt x="1894" y="789"/>
                </a:lnTo>
                <a:lnTo>
                  <a:pt x="1905" y="800"/>
                </a:lnTo>
                <a:lnTo>
                  <a:pt x="1905" y="800"/>
                </a:lnTo>
                <a:lnTo>
                  <a:pt x="1914" y="809"/>
                </a:lnTo>
                <a:lnTo>
                  <a:pt x="1926" y="820"/>
                </a:lnTo>
                <a:lnTo>
                  <a:pt x="1941" y="832"/>
                </a:lnTo>
                <a:lnTo>
                  <a:pt x="1957" y="842"/>
                </a:lnTo>
                <a:lnTo>
                  <a:pt x="1957" y="842"/>
                </a:lnTo>
                <a:lnTo>
                  <a:pt x="1959" y="835"/>
                </a:lnTo>
                <a:lnTo>
                  <a:pt x="1964" y="815"/>
                </a:lnTo>
                <a:lnTo>
                  <a:pt x="1969" y="802"/>
                </a:lnTo>
                <a:lnTo>
                  <a:pt x="1975" y="789"/>
                </a:lnTo>
                <a:lnTo>
                  <a:pt x="1983" y="775"/>
                </a:lnTo>
                <a:lnTo>
                  <a:pt x="1991" y="760"/>
                </a:lnTo>
                <a:lnTo>
                  <a:pt x="1991" y="760"/>
                </a:lnTo>
                <a:lnTo>
                  <a:pt x="2000" y="748"/>
                </a:lnTo>
                <a:lnTo>
                  <a:pt x="2011" y="736"/>
                </a:lnTo>
                <a:lnTo>
                  <a:pt x="2025" y="722"/>
                </a:lnTo>
                <a:lnTo>
                  <a:pt x="2038" y="709"/>
                </a:lnTo>
                <a:lnTo>
                  <a:pt x="2052" y="697"/>
                </a:lnTo>
                <a:lnTo>
                  <a:pt x="2065" y="686"/>
                </a:lnTo>
                <a:lnTo>
                  <a:pt x="2080" y="675"/>
                </a:lnTo>
                <a:lnTo>
                  <a:pt x="2092" y="667"/>
                </a:lnTo>
                <a:lnTo>
                  <a:pt x="2092" y="667"/>
                </a:lnTo>
                <a:lnTo>
                  <a:pt x="2107" y="658"/>
                </a:lnTo>
                <a:lnTo>
                  <a:pt x="2123" y="650"/>
                </a:lnTo>
                <a:lnTo>
                  <a:pt x="2138" y="643"/>
                </a:lnTo>
                <a:lnTo>
                  <a:pt x="2154" y="636"/>
                </a:lnTo>
                <a:lnTo>
                  <a:pt x="2170" y="632"/>
                </a:lnTo>
                <a:lnTo>
                  <a:pt x="2186" y="629"/>
                </a:lnTo>
                <a:lnTo>
                  <a:pt x="2202" y="626"/>
                </a:lnTo>
                <a:lnTo>
                  <a:pt x="2220" y="625"/>
                </a:lnTo>
                <a:lnTo>
                  <a:pt x="2220" y="625"/>
                </a:lnTo>
                <a:lnTo>
                  <a:pt x="2234" y="626"/>
                </a:lnTo>
                <a:lnTo>
                  <a:pt x="2247" y="627"/>
                </a:lnTo>
                <a:lnTo>
                  <a:pt x="2261" y="630"/>
                </a:lnTo>
                <a:lnTo>
                  <a:pt x="2272" y="635"/>
                </a:lnTo>
                <a:lnTo>
                  <a:pt x="2283" y="642"/>
                </a:lnTo>
                <a:lnTo>
                  <a:pt x="2295" y="649"/>
                </a:lnTo>
                <a:lnTo>
                  <a:pt x="2305" y="658"/>
                </a:lnTo>
                <a:lnTo>
                  <a:pt x="2316" y="668"/>
                </a:lnTo>
                <a:lnTo>
                  <a:pt x="2316" y="668"/>
                </a:lnTo>
                <a:lnTo>
                  <a:pt x="2323" y="676"/>
                </a:lnTo>
                <a:lnTo>
                  <a:pt x="2330" y="687"/>
                </a:lnTo>
                <a:lnTo>
                  <a:pt x="2336" y="698"/>
                </a:lnTo>
                <a:lnTo>
                  <a:pt x="2342" y="710"/>
                </a:lnTo>
                <a:lnTo>
                  <a:pt x="2347" y="722"/>
                </a:lnTo>
                <a:lnTo>
                  <a:pt x="2351" y="736"/>
                </a:lnTo>
                <a:lnTo>
                  <a:pt x="2355" y="750"/>
                </a:lnTo>
                <a:lnTo>
                  <a:pt x="2358" y="764"/>
                </a:lnTo>
                <a:lnTo>
                  <a:pt x="2360" y="778"/>
                </a:lnTo>
                <a:lnTo>
                  <a:pt x="2362" y="792"/>
                </a:lnTo>
                <a:lnTo>
                  <a:pt x="2363" y="805"/>
                </a:lnTo>
                <a:lnTo>
                  <a:pt x="2364" y="818"/>
                </a:lnTo>
                <a:lnTo>
                  <a:pt x="2364" y="831"/>
                </a:lnTo>
                <a:lnTo>
                  <a:pt x="2363" y="842"/>
                </a:lnTo>
                <a:lnTo>
                  <a:pt x="2361" y="852"/>
                </a:lnTo>
                <a:lnTo>
                  <a:pt x="2359" y="861"/>
                </a:lnTo>
                <a:lnTo>
                  <a:pt x="2359" y="861"/>
                </a:lnTo>
                <a:lnTo>
                  <a:pt x="2330" y="843"/>
                </a:lnTo>
                <a:lnTo>
                  <a:pt x="2330" y="843"/>
                </a:lnTo>
                <a:lnTo>
                  <a:pt x="2309" y="832"/>
                </a:lnTo>
                <a:lnTo>
                  <a:pt x="2281" y="822"/>
                </a:lnTo>
                <a:lnTo>
                  <a:pt x="2266" y="815"/>
                </a:lnTo>
                <a:lnTo>
                  <a:pt x="2251" y="811"/>
                </a:lnTo>
                <a:lnTo>
                  <a:pt x="2233" y="807"/>
                </a:lnTo>
                <a:lnTo>
                  <a:pt x="2215" y="803"/>
                </a:lnTo>
                <a:lnTo>
                  <a:pt x="2195" y="801"/>
                </a:lnTo>
                <a:lnTo>
                  <a:pt x="2175" y="800"/>
                </a:lnTo>
                <a:lnTo>
                  <a:pt x="2154" y="800"/>
                </a:lnTo>
                <a:lnTo>
                  <a:pt x="2132" y="802"/>
                </a:lnTo>
                <a:lnTo>
                  <a:pt x="2109" y="805"/>
                </a:lnTo>
                <a:lnTo>
                  <a:pt x="2086" y="810"/>
                </a:lnTo>
                <a:lnTo>
                  <a:pt x="2062" y="818"/>
                </a:lnTo>
                <a:lnTo>
                  <a:pt x="2037" y="829"/>
                </a:lnTo>
                <a:lnTo>
                  <a:pt x="2037" y="829"/>
                </a:lnTo>
                <a:lnTo>
                  <a:pt x="1995" y="847"/>
                </a:lnTo>
                <a:lnTo>
                  <a:pt x="1967" y="859"/>
                </a:lnTo>
                <a:lnTo>
                  <a:pt x="1936" y="872"/>
                </a:lnTo>
                <a:lnTo>
                  <a:pt x="1900" y="886"/>
                </a:lnTo>
                <a:lnTo>
                  <a:pt x="1860" y="900"/>
                </a:lnTo>
                <a:lnTo>
                  <a:pt x="1814" y="916"/>
                </a:lnTo>
                <a:lnTo>
                  <a:pt x="1764" y="931"/>
                </a:lnTo>
                <a:lnTo>
                  <a:pt x="1764" y="931"/>
                </a:lnTo>
                <a:lnTo>
                  <a:pt x="1737" y="938"/>
                </a:lnTo>
                <a:lnTo>
                  <a:pt x="1725" y="940"/>
                </a:lnTo>
                <a:lnTo>
                  <a:pt x="1713" y="941"/>
                </a:lnTo>
                <a:lnTo>
                  <a:pt x="1701" y="941"/>
                </a:lnTo>
                <a:lnTo>
                  <a:pt x="1691" y="941"/>
                </a:lnTo>
                <a:lnTo>
                  <a:pt x="1681" y="940"/>
                </a:lnTo>
                <a:lnTo>
                  <a:pt x="1672" y="938"/>
                </a:lnTo>
                <a:lnTo>
                  <a:pt x="1664" y="935"/>
                </a:lnTo>
                <a:lnTo>
                  <a:pt x="1655" y="930"/>
                </a:lnTo>
                <a:lnTo>
                  <a:pt x="1649" y="925"/>
                </a:lnTo>
                <a:lnTo>
                  <a:pt x="1642" y="919"/>
                </a:lnTo>
                <a:lnTo>
                  <a:pt x="1637" y="912"/>
                </a:lnTo>
                <a:lnTo>
                  <a:pt x="1633" y="902"/>
                </a:lnTo>
                <a:lnTo>
                  <a:pt x="1629" y="892"/>
                </a:lnTo>
                <a:lnTo>
                  <a:pt x="1626" y="881"/>
                </a:lnTo>
                <a:lnTo>
                  <a:pt x="1626" y="881"/>
                </a:lnTo>
                <a:lnTo>
                  <a:pt x="1624" y="871"/>
                </a:lnTo>
                <a:lnTo>
                  <a:pt x="1623" y="860"/>
                </a:lnTo>
                <a:lnTo>
                  <a:pt x="1623" y="851"/>
                </a:lnTo>
                <a:lnTo>
                  <a:pt x="1623" y="842"/>
                </a:lnTo>
                <a:lnTo>
                  <a:pt x="1625" y="826"/>
                </a:lnTo>
                <a:lnTo>
                  <a:pt x="1629" y="811"/>
                </a:lnTo>
                <a:lnTo>
                  <a:pt x="1633" y="800"/>
                </a:lnTo>
                <a:lnTo>
                  <a:pt x="1636" y="792"/>
                </a:lnTo>
                <a:lnTo>
                  <a:pt x="1640" y="784"/>
                </a:lnTo>
                <a:lnTo>
                  <a:pt x="1640" y="784"/>
                </a:lnTo>
                <a:lnTo>
                  <a:pt x="1636" y="785"/>
                </a:lnTo>
                <a:lnTo>
                  <a:pt x="1626" y="788"/>
                </a:lnTo>
                <a:lnTo>
                  <a:pt x="1610" y="794"/>
                </a:lnTo>
                <a:lnTo>
                  <a:pt x="1601" y="797"/>
                </a:lnTo>
                <a:lnTo>
                  <a:pt x="1592" y="802"/>
                </a:lnTo>
                <a:lnTo>
                  <a:pt x="1582" y="808"/>
                </a:lnTo>
                <a:lnTo>
                  <a:pt x="1573" y="814"/>
                </a:lnTo>
                <a:lnTo>
                  <a:pt x="1563" y="823"/>
                </a:lnTo>
                <a:lnTo>
                  <a:pt x="1554" y="832"/>
                </a:lnTo>
                <a:lnTo>
                  <a:pt x="1546" y="842"/>
                </a:lnTo>
                <a:lnTo>
                  <a:pt x="1539" y="853"/>
                </a:lnTo>
                <a:lnTo>
                  <a:pt x="1533" y="867"/>
                </a:lnTo>
                <a:lnTo>
                  <a:pt x="1528" y="881"/>
                </a:lnTo>
                <a:lnTo>
                  <a:pt x="1528" y="881"/>
                </a:lnTo>
                <a:lnTo>
                  <a:pt x="1525" y="896"/>
                </a:lnTo>
                <a:lnTo>
                  <a:pt x="1523" y="912"/>
                </a:lnTo>
                <a:lnTo>
                  <a:pt x="1523" y="927"/>
                </a:lnTo>
                <a:lnTo>
                  <a:pt x="1523" y="941"/>
                </a:lnTo>
                <a:lnTo>
                  <a:pt x="1524" y="954"/>
                </a:lnTo>
                <a:lnTo>
                  <a:pt x="1527" y="969"/>
                </a:lnTo>
                <a:lnTo>
                  <a:pt x="1531" y="981"/>
                </a:lnTo>
                <a:lnTo>
                  <a:pt x="1536" y="993"/>
                </a:lnTo>
                <a:lnTo>
                  <a:pt x="1542" y="1006"/>
                </a:lnTo>
                <a:lnTo>
                  <a:pt x="1549" y="1016"/>
                </a:lnTo>
                <a:lnTo>
                  <a:pt x="1557" y="1026"/>
                </a:lnTo>
                <a:lnTo>
                  <a:pt x="1568" y="1034"/>
                </a:lnTo>
                <a:lnTo>
                  <a:pt x="1578" y="1042"/>
                </a:lnTo>
                <a:lnTo>
                  <a:pt x="1590" y="1049"/>
                </a:lnTo>
                <a:lnTo>
                  <a:pt x="1602" y="1055"/>
                </a:lnTo>
                <a:lnTo>
                  <a:pt x="1617" y="1059"/>
                </a:lnTo>
                <a:lnTo>
                  <a:pt x="1617" y="1059"/>
                </a:lnTo>
                <a:lnTo>
                  <a:pt x="1630" y="1062"/>
                </a:lnTo>
                <a:lnTo>
                  <a:pt x="1644" y="1063"/>
                </a:lnTo>
                <a:lnTo>
                  <a:pt x="1660" y="1062"/>
                </a:lnTo>
                <a:lnTo>
                  <a:pt x="1676" y="1060"/>
                </a:lnTo>
                <a:lnTo>
                  <a:pt x="1692" y="1058"/>
                </a:lnTo>
                <a:lnTo>
                  <a:pt x="1710" y="1054"/>
                </a:lnTo>
                <a:lnTo>
                  <a:pt x="1727" y="1049"/>
                </a:lnTo>
                <a:lnTo>
                  <a:pt x="1744" y="1043"/>
                </a:lnTo>
                <a:lnTo>
                  <a:pt x="1779" y="1029"/>
                </a:lnTo>
                <a:lnTo>
                  <a:pt x="1815" y="1014"/>
                </a:lnTo>
                <a:lnTo>
                  <a:pt x="1849" y="997"/>
                </a:lnTo>
                <a:lnTo>
                  <a:pt x="1880" y="981"/>
                </a:lnTo>
                <a:lnTo>
                  <a:pt x="1880" y="981"/>
                </a:lnTo>
                <a:lnTo>
                  <a:pt x="1942" y="949"/>
                </a:lnTo>
                <a:lnTo>
                  <a:pt x="1979" y="931"/>
                </a:lnTo>
                <a:lnTo>
                  <a:pt x="2013" y="915"/>
                </a:lnTo>
                <a:lnTo>
                  <a:pt x="2013" y="915"/>
                </a:lnTo>
                <a:lnTo>
                  <a:pt x="2041" y="903"/>
                </a:lnTo>
                <a:lnTo>
                  <a:pt x="2054" y="899"/>
                </a:lnTo>
                <a:lnTo>
                  <a:pt x="2068" y="895"/>
                </a:lnTo>
                <a:lnTo>
                  <a:pt x="2081" y="892"/>
                </a:lnTo>
                <a:lnTo>
                  <a:pt x="2093" y="890"/>
                </a:lnTo>
                <a:lnTo>
                  <a:pt x="2105" y="888"/>
                </a:lnTo>
                <a:lnTo>
                  <a:pt x="2119" y="888"/>
                </a:lnTo>
                <a:lnTo>
                  <a:pt x="2131" y="888"/>
                </a:lnTo>
                <a:lnTo>
                  <a:pt x="2143" y="889"/>
                </a:lnTo>
                <a:lnTo>
                  <a:pt x="2156" y="891"/>
                </a:lnTo>
                <a:lnTo>
                  <a:pt x="2170" y="893"/>
                </a:lnTo>
                <a:lnTo>
                  <a:pt x="2183" y="897"/>
                </a:lnTo>
                <a:lnTo>
                  <a:pt x="2196" y="901"/>
                </a:lnTo>
                <a:lnTo>
                  <a:pt x="2211" y="907"/>
                </a:lnTo>
                <a:lnTo>
                  <a:pt x="2226" y="914"/>
                </a:lnTo>
                <a:lnTo>
                  <a:pt x="2226" y="914"/>
                </a:lnTo>
                <a:lnTo>
                  <a:pt x="2246" y="924"/>
                </a:lnTo>
                <a:lnTo>
                  <a:pt x="2265" y="934"/>
                </a:lnTo>
                <a:lnTo>
                  <a:pt x="2281" y="945"/>
                </a:lnTo>
                <a:lnTo>
                  <a:pt x="2295" y="954"/>
                </a:lnTo>
                <a:lnTo>
                  <a:pt x="2305" y="964"/>
                </a:lnTo>
                <a:lnTo>
                  <a:pt x="2312" y="971"/>
                </a:lnTo>
                <a:lnTo>
                  <a:pt x="2319" y="977"/>
                </a:lnTo>
                <a:lnTo>
                  <a:pt x="2319" y="977"/>
                </a:lnTo>
                <a:lnTo>
                  <a:pt x="2317" y="980"/>
                </a:lnTo>
                <a:lnTo>
                  <a:pt x="2313" y="987"/>
                </a:lnTo>
                <a:lnTo>
                  <a:pt x="2305" y="998"/>
                </a:lnTo>
                <a:lnTo>
                  <a:pt x="2300" y="1005"/>
                </a:lnTo>
                <a:lnTo>
                  <a:pt x="2293" y="1012"/>
                </a:lnTo>
                <a:lnTo>
                  <a:pt x="2285" y="1018"/>
                </a:lnTo>
                <a:lnTo>
                  <a:pt x="2276" y="1025"/>
                </a:lnTo>
                <a:lnTo>
                  <a:pt x="2267" y="1031"/>
                </a:lnTo>
                <a:lnTo>
                  <a:pt x="2255" y="1036"/>
                </a:lnTo>
                <a:lnTo>
                  <a:pt x="2242" y="1041"/>
                </a:lnTo>
                <a:lnTo>
                  <a:pt x="2228" y="1045"/>
                </a:lnTo>
                <a:lnTo>
                  <a:pt x="2212" y="1049"/>
                </a:lnTo>
                <a:lnTo>
                  <a:pt x="2194" y="1050"/>
                </a:lnTo>
                <a:lnTo>
                  <a:pt x="2194" y="1050"/>
                </a:lnTo>
                <a:lnTo>
                  <a:pt x="2180" y="1051"/>
                </a:lnTo>
                <a:lnTo>
                  <a:pt x="2166" y="1050"/>
                </a:lnTo>
                <a:lnTo>
                  <a:pt x="2152" y="1048"/>
                </a:lnTo>
                <a:lnTo>
                  <a:pt x="2139" y="1044"/>
                </a:lnTo>
                <a:lnTo>
                  <a:pt x="2127" y="1041"/>
                </a:lnTo>
                <a:lnTo>
                  <a:pt x="2115" y="1037"/>
                </a:lnTo>
                <a:lnTo>
                  <a:pt x="2103" y="1033"/>
                </a:lnTo>
                <a:lnTo>
                  <a:pt x="2092" y="1027"/>
                </a:lnTo>
                <a:lnTo>
                  <a:pt x="2082" y="1022"/>
                </a:lnTo>
                <a:lnTo>
                  <a:pt x="2073" y="1016"/>
                </a:lnTo>
                <a:lnTo>
                  <a:pt x="2064" y="1010"/>
                </a:lnTo>
                <a:lnTo>
                  <a:pt x="2056" y="1003"/>
                </a:lnTo>
                <a:lnTo>
                  <a:pt x="2048" y="995"/>
                </a:lnTo>
                <a:lnTo>
                  <a:pt x="2042" y="988"/>
                </a:lnTo>
                <a:lnTo>
                  <a:pt x="2036" y="981"/>
                </a:lnTo>
                <a:lnTo>
                  <a:pt x="2031" y="974"/>
                </a:lnTo>
                <a:lnTo>
                  <a:pt x="2031" y="974"/>
                </a:lnTo>
                <a:lnTo>
                  <a:pt x="2022" y="996"/>
                </a:lnTo>
                <a:lnTo>
                  <a:pt x="2013" y="1014"/>
                </a:lnTo>
                <a:lnTo>
                  <a:pt x="2007" y="1027"/>
                </a:lnTo>
                <a:lnTo>
                  <a:pt x="2007" y="1027"/>
                </a:lnTo>
                <a:lnTo>
                  <a:pt x="2003" y="1035"/>
                </a:lnTo>
                <a:lnTo>
                  <a:pt x="2000" y="1042"/>
                </a:lnTo>
                <a:lnTo>
                  <a:pt x="1998" y="1051"/>
                </a:lnTo>
                <a:lnTo>
                  <a:pt x="1997" y="1057"/>
                </a:lnTo>
                <a:lnTo>
                  <a:pt x="1997" y="1064"/>
                </a:lnTo>
                <a:lnTo>
                  <a:pt x="1997" y="1070"/>
                </a:lnTo>
                <a:lnTo>
                  <a:pt x="1999" y="1082"/>
                </a:lnTo>
                <a:lnTo>
                  <a:pt x="2001" y="1094"/>
                </a:lnTo>
                <a:lnTo>
                  <a:pt x="2003" y="1104"/>
                </a:lnTo>
                <a:lnTo>
                  <a:pt x="2004" y="1115"/>
                </a:lnTo>
                <a:lnTo>
                  <a:pt x="2003" y="1121"/>
                </a:lnTo>
                <a:lnTo>
                  <a:pt x="2001" y="1126"/>
                </a:lnTo>
                <a:lnTo>
                  <a:pt x="2001" y="1126"/>
                </a:lnTo>
                <a:lnTo>
                  <a:pt x="1999" y="1132"/>
                </a:lnTo>
                <a:lnTo>
                  <a:pt x="1995" y="1138"/>
                </a:lnTo>
                <a:lnTo>
                  <a:pt x="1986" y="1151"/>
                </a:lnTo>
                <a:lnTo>
                  <a:pt x="1973" y="1163"/>
                </a:lnTo>
                <a:lnTo>
                  <a:pt x="1960" y="1175"/>
                </a:lnTo>
                <a:lnTo>
                  <a:pt x="1945" y="1187"/>
                </a:lnTo>
                <a:lnTo>
                  <a:pt x="1931" y="1198"/>
                </a:lnTo>
                <a:lnTo>
                  <a:pt x="1904" y="1216"/>
                </a:lnTo>
                <a:lnTo>
                  <a:pt x="1904" y="1216"/>
                </a:lnTo>
                <a:lnTo>
                  <a:pt x="1886" y="1227"/>
                </a:lnTo>
                <a:lnTo>
                  <a:pt x="1864" y="1239"/>
                </a:lnTo>
                <a:lnTo>
                  <a:pt x="1842" y="1249"/>
                </a:lnTo>
                <a:lnTo>
                  <a:pt x="1819" y="1257"/>
                </a:lnTo>
                <a:lnTo>
                  <a:pt x="1798" y="1264"/>
                </a:lnTo>
                <a:lnTo>
                  <a:pt x="1779" y="1270"/>
                </a:lnTo>
                <a:lnTo>
                  <a:pt x="1754" y="1278"/>
                </a:lnTo>
                <a:lnTo>
                  <a:pt x="1754" y="1278"/>
                </a:lnTo>
                <a:lnTo>
                  <a:pt x="1779" y="1336"/>
                </a:lnTo>
                <a:lnTo>
                  <a:pt x="1811" y="1404"/>
                </a:lnTo>
                <a:lnTo>
                  <a:pt x="1811" y="1404"/>
                </a:lnTo>
                <a:lnTo>
                  <a:pt x="1833" y="1449"/>
                </a:lnTo>
                <a:lnTo>
                  <a:pt x="1862" y="1504"/>
                </a:lnTo>
                <a:lnTo>
                  <a:pt x="1877" y="1531"/>
                </a:lnTo>
                <a:lnTo>
                  <a:pt x="1893" y="1557"/>
                </a:lnTo>
                <a:lnTo>
                  <a:pt x="1909" y="1578"/>
                </a:lnTo>
                <a:lnTo>
                  <a:pt x="1916" y="1588"/>
                </a:lnTo>
                <a:lnTo>
                  <a:pt x="1924" y="1597"/>
                </a:lnTo>
                <a:lnTo>
                  <a:pt x="1924" y="1597"/>
                </a:lnTo>
                <a:lnTo>
                  <a:pt x="1940" y="1592"/>
                </a:lnTo>
                <a:lnTo>
                  <a:pt x="1957" y="1587"/>
                </a:lnTo>
                <a:lnTo>
                  <a:pt x="1980" y="1581"/>
                </a:lnTo>
                <a:lnTo>
                  <a:pt x="2004" y="1573"/>
                </a:lnTo>
                <a:lnTo>
                  <a:pt x="2031" y="1563"/>
                </a:lnTo>
                <a:lnTo>
                  <a:pt x="2057" y="1551"/>
                </a:lnTo>
                <a:lnTo>
                  <a:pt x="2071" y="1544"/>
                </a:lnTo>
                <a:lnTo>
                  <a:pt x="2083" y="1537"/>
                </a:lnTo>
                <a:lnTo>
                  <a:pt x="2083" y="1537"/>
                </a:lnTo>
                <a:lnTo>
                  <a:pt x="2105" y="1524"/>
                </a:lnTo>
                <a:lnTo>
                  <a:pt x="2126" y="1510"/>
                </a:lnTo>
                <a:lnTo>
                  <a:pt x="2145" y="1495"/>
                </a:lnTo>
                <a:lnTo>
                  <a:pt x="2162" y="1480"/>
                </a:lnTo>
                <a:lnTo>
                  <a:pt x="2177" y="1466"/>
                </a:lnTo>
                <a:lnTo>
                  <a:pt x="2189" y="1451"/>
                </a:lnTo>
                <a:lnTo>
                  <a:pt x="2199" y="1437"/>
                </a:lnTo>
                <a:lnTo>
                  <a:pt x="2207" y="1424"/>
                </a:lnTo>
                <a:lnTo>
                  <a:pt x="2207" y="1424"/>
                </a:lnTo>
                <a:lnTo>
                  <a:pt x="2190" y="1460"/>
                </a:lnTo>
                <a:lnTo>
                  <a:pt x="2175" y="1493"/>
                </a:lnTo>
                <a:lnTo>
                  <a:pt x="2161" y="1523"/>
                </a:lnTo>
                <a:lnTo>
                  <a:pt x="2146" y="1551"/>
                </a:lnTo>
                <a:lnTo>
                  <a:pt x="2132" y="1576"/>
                </a:lnTo>
                <a:lnTo>
                  <a:pt x="2119" y="1599"/>
                </a:lnTo>
                <a:lnTo>
                  <a:pt x="2105" y="1619"/>
                </a:lnTo>
                <a:lnTo>
                  <a:pt x="2092" y="1637"/>
                </a:lnTo>
                <a:lnTo>
                  <a:pt x="2080" y="1655"/>
                </a:lnTo>
                <a:lnTo>
                  <a:pt x="2068" y="1669"/>
                </a:lnTo>
                <a:lnTo>
                  <a:pt x="2055" y="1682"/>
                </a:lnTo>
                <a:lnTo>
                  <a:pt x="2044" y="1694"/>
                </a:lnTo>
                <a:lnTo>
                  <a:pt x="2033" y="1705"/>
                </a:lnTo>
                <a:lnTo>
                  <a:pt x="2022" y="1714"/>
                </a:lnTo>
                <a:lnTo>
                  <a:pt x="2011" y="1721"/>
                </a:lnTo>
                <a:lnTo>
                  <a:pt x="2000" y="1729"/>
                </a:lnTo>
                <a:lnTo>
                  <a:pt x="2000" y="1729"/>
                </a:lnTo>
                <a:lnTo>
                  <a:pt x="1907" y="1790"/>
                </a:lnTo>
                <a:lnTo>
                  <a:pt x="1797" y="1862"/>
                </a:lnTo>
                <a:lnTo>
                  <a:pt x="1735" y="1901"/>
                </a:lnTo>
                <a:lnTo>
                  <a:pt x="1671" y="1940"/>
                </a:lnTo>
                <a:lnTo>
                  <a:pt x="1602" y="1980"/>
                </a:lnTo>
                <a:lnTo>
                  <a:pt x="1532" y="2020"/>
                </a:lnTo>
                <a:lnTo>
                  <a:pt x="1459" y="2058"/>
                </a:lnTo>
                <a:lnTo>
                  <a:pt x="1422" y="2077"/>
                </a:lnTo>
                <a:lnTo>
                  <a:pt x="1384" y="2094"/>
                </a:lnTo>
                <a:lnTo>
                  <a:pt x="1347" y="2112"/>
                </a:lnTo>
                <a:lnTo>
                  <a:pt x="1308" y="2129"/>
                </a:lnTo>
                <a:lnTo>
                  <a:pt x="1269" y="2146"/>
                </a:lnTo>
                <a:lnTo>
                  <a:pt x="1230" y="2161"/>
                </a:lnTo>
                <a:lnTo>
                  <a:pt x="1190" y="2175"/>
                </a:lnTo>
                <a:lnTo>
                  <a:pt x="1151" y="2189"/>
                </a:lnTo>
                <a:lnTo>
                  <a:pt x="1111" y="2202"/>
                </a:lnTo>
                <a:lnTo>
                  <a:pt x="1072" y="2213"/>
                </a:lnTo>
                <a:lnTo>
                  <a:pt x="1032" y="2223"/>
                </a:lnTo>
                <a:lnTo>
                  <a:pt x="992" y="2231"/>
                </a:lnTo>
                <a:lnTo>
                  <a:pt x="952" y="2240"/>
                </a:lnTo>
                <a:lnTo>
                  <a:pt x="913" y="2246"/>
                </a:lnTo>
                <a:lnTo>
                  <a:pt x="913" y="2246"/>
                </a:lnTo>
                <a:lnTo>
                  <a:pt x="901" y="2246"/>
                </a:lnTo>
                <a:lnTo>
                  <a:pt x="889" y="2245"/>
                </a:lnTo>
                <a:lnTo>
                  <a:pt x="876" y="2242"/>
                </a:lnTo>
                <a:lnTo>
                  <a:pt x="863" y="2239"/>
                </a:lnTo>
                <a:lnTo>
                  <a:pt x="850" y="2236"/>
                </a:lnTo>
                <a:lnTo>
                  <a:pt x="836" y="2230"/>
                </a:lnTo>
                <a:lnTo>
                  <a:pt x="809" y="2218"/>
                </a:lnTo>
                <a:lnTo>
                  <a:pt x="781" y="2204"/>
                </a:lnTo>
                <a:lnTo>
                  <a:pt x="754" y="2188"/>
                </a:lnTo>
                <a:lnTo>
                  <a:pt x="726" y="2170"/>
                </a:lnTo>
                <a:lnTo>
                  <a:pt x="698" y="2151"/>
                </a:lnTo>
                <a:lnTo>
                  <a:pt x="672" y="2130"/>
                </a:lnTo>
                <a:lnTo>
                  <a:pt x="646" y="2110"/>
                </a:lnTo>
                <a:lnTo>
                  <a:pt x="623" y="2089"/>
                </a:lnTo>
                <a:lnTo>
                  <a:pt x="600" y="2069"/>
                </a:lnTo>
                <a:lnTo>
                  <a:pt x="581" y="2049"/>
                </a:lnTo>
                <a:lnTo>
                  <a:pt x="563" y="2032"/>
                </a:lnTo>
                <a:lnTo>
                  <a:pt x="548" y="2017"/>
                </a:lnTo>
                <a:lnTo>
                  <a:pt x="537" y="2003"/>
                </a:lnTo>
                <a:lnTo>
                  <a:pt x="537" y="2003"/>
                </a:lnTo>
                <a:lnTo>
                  <a:pt x="533" y="1999"/>
                </a:lnTo>
                <a:lnTo>
                  <a:pt x="530" y="1995"/>
                </a:lnTo>
                <a:lnTo>
                  <a:pt x="520" y="1990"/>
                </a:lnTo>
                <a:lnTo>
                  <a:pt x="512" y="1988"/>
                </a:lnTo>
                <a:lnTo>
                  <a:pt x="502" y="1987"/>
                </a:lnTo>
                <a:lnTo>
                  <a:pt x="493" y="1987"/>
                </a:lnTo>
                <a:lnTo>
                  <a:pt x="483" y="1989"/>
                </a:lnTo>
                <a:lnTo>
                  <a:pt x="473" y="1992"/>
                </a:lnTo>
                <a:lnTo>
                  <a:pt x="464" y="1996"/>
                </a:lnTo>
                <a:lnTo>
                  <a:pt x="447" y="2004"/>
                </a:lnTo>
                <a:lnTo>
                  <a:pt x="433" y="2014"/>
                </a:lnTo>
                <a:lnTo>
                  <a:pt x="419" y="2024"/>
                </a:lnTo>
                <a:lnTo>
                  <a:pt x="419" y="2024"/>
                </a:lnTo>
                <a:lnTo>
                  <a:pt x="412" y="2023"/>
                </a:lnTo>
                <a:lnTo>
                  <a:pt x="393" y="2021"/>
                </a:lnTo>
                <a:lnTo>
                  <a:pt x="379" y="2021"/>
                </a:lnTo>
                <a:lnTo>
                  <a:pt x="364" y="2021"/>
                </a:lnTo>
                <a:lnTo>
                  <a:pt x="348" y="2022"/>
                </a:lnTo>
                <a:lnTo>
                  <a:pt x="329" y="2024"/>
                </a:lnTo>
                <a:lnTo>
                  <a:pt x="310" y="2027"/>
                </a:lnTo>
                <a:lnTo>
                  <a:pt x="290" y="2032"/>
                </a:lnTo>
                <a:lnTo>
                  <a:pt x="271" y="2038"/>
                </a:lnTo>
                <a:lnTo>
                  <a:pt x="252" y="2047"/>
                </a:lnTo>
                <a:lnTo>
                  <a:pt x="242" y="2053"/>
                </a:lnTo>
                <a:lnTo>
                  <a:pt x="233" y="2058"/>
                </a:lnTo>
                <a:lnTo>
                  <a:pt x="224" y="2064"/>
                </a:lnTo>
                <a:lnTo>
                  <a:pt x="216" y="2071"/>
                </a:lnTo>
                <a:lnTo>
                  <a:pt x="207" y="2079"/>
                </a:lnTo>
                <a:lnTo>
                  <a:pt x="199" y="2087"/>
                </a:lnTo>
                <a:lnTo>
                  <a:pt x="191" y="2097"/>
                </a:lnTo>
                <a:lnTo>
                  <a:pt x="184" y="2106"/>
                </a:lnTo>
                <a:lnTo>
                  <a:pt x="184" y="2106"/>
                </a:lnTo>
                <a:lnTo>
                  <a:pt x="183" y="2109"/>
                </a:lnTo>
                <a:lnTo>
                  <a:pt x="185" y="2111"/>
                </a:lnTo>
                <a:lnTo>
                  <a:pt x="188" y="2112"/>
                </a:lnTo>
                <a:lnTo>
                  <a:pt x="193" y="2112"/>
                </a:lnTo>
                <a:lnTo>
                  <a:pt x="210" y="2110"/>
                </a:lnTo>
                <a:lnTo>
                  <a:pt x="230" y="2108"/>
                </a:lnTo>
                <a:lnTo>
                  <a:pt x="255" y="2106"/>
                </a:lnTo>
                <a:lnTo>
                  <a:pt x="280" y="2105"/>
                </a:lnTo>
                <a:lnTo>
                  <a:pt x="293" y="2106"/>
                </a:lnTo>
                <a:lnTo>
                  <a:pt x="307" y="2107"/>
                </a:lnTo>
                <a:lnTo>
                  <a:pt x="319" y="2109"/>
                </a:lnTo>
                <a:lnTo>
                  <a:pt x="331" y="2112"/>
                </a:lnTo>
                <a:lnTo>
                  <a:pt x="331" y="2112"/>
                </a:lnTo>
                <a:lnTo>
                  <a:pt x="338" y="2115"/>
                </a:lnTo>
                <a:lnTo>
                  <a:pt x="343" y="2118"/>
                </a:lnTo>
                <a:lnTo>
                  <a:pt x="346" y="2121"/>
                </a:lnTo>
                <a:lnTo>
                  <a:pt x="347" y="2124"/>
                </a:lnTo>
                <a:lnTo>
                  <a:pt x="347" y="2127"/>
                </a:lnTo>
                <a:lnTo>
                  <a:pt x="345" y="2131"/>
                </a:lnTo>
                <a:lnTo>
                  <a:pt x="339" y="2139"/>
                </a:lnTo>
                <a:lnTo>
                  <a:pt x="332" y="2149"/>
                </a:lnTo>
                <a:lnTo>
                  <a:pt x="325" y="2160"/>
                </a:lnTo>
                <a:lnTo>
                  <a:pt x="321" y="2166"/>
                </a:lnTo>
                <a:lnTo>
                  <a:pt x="319" y="2172"/>
                </a:lnTo>
                <a:lnTo>
                  <a:pt x="317" y="2178"/>
                </a:lnTo>
                <a:lnTo>
                  <a:pt x="317" y="2185"/>
                </a:lnTo>
                <a:lnTo>
                  <a:pt x="317" y="2185"/>
                </a:lnTo>
                <a:lnTo>
                  <a:pt x="317" y="2191"/>
                </a:lnTo>
                <a:lnTo>
                  <a:pt x="319" y="2197"/>
                </a:lnTo>
                <a:lnTo>
                  <a:pt x="321" y="2202"/>
                </a:lnTo>
                <a:lnTo>
                  <a:pt x="324" y="2207"/>
                </a:lnTo>
                <a:lnTo>
                  <a:pt x="328" y="2212"/>
                </a:lnTo>
                <a:lnTo>
                  <a:pt x="333" y="2217"/>
                </a:lnTo>
                <a:lnTo>
                  <a:pt x="346" y="2227"/>
                </a:lnTo>
                <a:lnTo>
                  <a:pt x="361" y="2237"/>
                </a:lnTo>
                <a:lnTo>
                  <a:pt x="377" y="2246"/>
                </a:lnTo>
                <a:lnTo>
                  <a:pt x="397" y="2255"/>
                </a:lnTo>
                <a:lnTo>
                  <a:pt x="416" y="2263"/>
                </a:lnTo>
                <a:lnTo>
                  <a:pt x="458" y="2279"/>
                </a:lnTo>
                <a:lnTo>
                  <a:pt x="500" y="2293"/>
                </a:lnTo>
                <a:lnTo>
                  <a:pt x="571" y="2314"/>
                </a:lnTo>
                <a:lnTo>
                  <a:pt x="571" y="2314"/>
                </a:lnTo>
                <a:lnTo>
                  <a:pt x="579" y="2318"/>
                </a:lnTo>
                <a:lnTo>
                  <a:pt x="585" y="2322"/>
                </a:lnTo>
                <a:lnTo>
                  <a:pt x="588" y="2328"/>
                </a:lnTo>
                <a:lnTo>
                  <a:pt x="590" y="2333"/>
                </a:lnTo>
                <a:lnTo>
                  <a:pt x="590" y="2337"/>
                </a:lnTo>
                <a:lnTo>
                  <a:pt x="588" y="2341"/>
                </a:lnTo>
                <a:lnTo>
                  <a:pt x="585" y="2343"/>
                </a:lnTo>
                <a:lnTo>
                  <a:pt x="581" y="2344"/>
                </a:lnTo>
                <a:lnTo>
                  <a:pt x="581" y="2344"/>
                </a:lnTo>
                <a:lnTo>
                  <a:pt x="556" y="2343"/>
                </a:lnTo>
                <a:lnTo>
                  <a:pt x="532" y="2340"/>
                </a:lnTo>
                <a:lnTo>
                  <a:pt x="509" y="2337"/>
                </a:lnTo>
                <a:lnTo>
                  <a:pt x="488" y="2332"/>
                </a:lnTo>
                <a:lnTo>
                  <a:pt x="467" y="2327"/>
                </a:lnTo>
                <a:lnTo>
                  <a:pt x="448" y="2320"/>
                </a:lnTo>
                <a:lnTo>
                  <a:pt x="429" y="2314"/>
                </a:lnTo>
                <a:lnTo>
                  <a:pt x="412" y="2308"/>
                </a:lnTo>
                <a:lnTo>
                  <a:pt x="380" y="2295"/>
                </a:lnTo>
                <a:lnTo>
                  <a:pt x="352" y="2283"/>
                </a:lnTo>
                <a:lnTo>
                  <a:pt x="327" y="2271"/>
                </a:lnTo>
                <a:lnTo>
                  <a:pt x="316" y="2267"/>
                </a:lnTo>
                <a:lnTo>
                  <a:pt x="305" y="2263"/>
                </a:lnTo>
                <a:lnTo>
                  <a:pt x="305" y="2263"/>
                </a:lnTo>
                <a:lnTo>
                  <a:pt x="286" y="2258"/>
                </a:lnTo>
                <a:lnTo>
                  <a:pt x="268" y="2254"/>
                </a:lnTo>
                <a:lnTo>
                  <a:pt x="253" y="2251"/>
                </a:lnTo>
                <a:lnTo>
                  <a:pt x="237" y="2249"/>
                </a:lnTo>
                <a:lnTo>
                  <a:pt x="224" y="2248"/>
                </a:lnTo>
                <a:lnTo>
                  <a:pt x="213" y="2249"/>
                </a:lnTo>
                <a:lnTo>
                  <a:pt x="202" y="2250"/>
                </a:lnTo>
                <a:lnTo>
                  <a:pt x="192" y="2252"/>
                </a:lnTo>
                <a:lnTo>
                  <a:pt x="185" y="2256"/>
                </a:lnTo>
                <a:lnTo>
                  <a:pt x="178" y="2260"/>
                </a:lnTo>
                <a:lnTo>
                  <a:pt x="172" y="2265"/>
                </a:lnTo>
                <a:lnTo>
                  <a:pt x="167" y="2271"/>
                </a:lnTo>
                <a:lnTo>
                  <a:pt x="163" y="2277"/>
                </a:lnTo>
                <a:lnTo>
                  <a:pt x="160" y="2286"/>
                </a:lnTo>
                <a:lnTo>
                  <a:pt x="156" y="2294"/>
                </a:lnTo>
                <a:lnTo>
                  <a:pt x="155" y="2303"/>
                </a:lnTo>
                <a:lnTo>
                  <a:pt x="155" y="2303"/>
                </a:lnTo>
                <a:lnTo>
                  <a:pt x="154" y="2306"/>
                </a:lnTo>
                <a:lnTo>
                  <a:pt x="152" y="2309"/>
                </a:lnTo>
                <a:lnTo>
                  <a:pt x="150" y="2312"/>
                </a:lnTo>
                <a:lnTo>
                  <a:pt x="147" y="2314"/>
                </a:lnTo>
                <a:lnTo>
                  <a:pt x="140" y="2318"/>
                </a:lnTo>
                <a:lnTo>
                  <a:pt x="132" y="2323"/>
                </a:lnTo>
                <a:lnTo>
                  <a:pt x="109" y="2333"/>
                </a:lnTo>
                <a:lnTo>
                  <a:pt x="97" y="2339"/>
                </a:lnTo>
                <a:lnTo>
                  <a:pt x="84" y="2347"/>
                </a:lnTo>
                <a:lnTo>
                  <a:pt x="71" y="2357"/>
                </a:lnTo>
                <a:lnTo>
                  <a:pt x="57" y="2371"/>
                </a:lnTo>
                <a:lnTo>
                  <a:pt x="51" y="2378"/>
                </a:lnTo>
                <a:lnTo>
                  <a:pt x="45" y="2386"/>
                </a:lnTo>
                <a:lnTo>
                  <a:pt x="39" y="2396"/>
                </a:lnTo>
                <a:lnTo>
                  <a:pt x="33" y="2406"/>
                </a:lnTo>
                <a:lnTo>
                  <a:pt x="28" y="2418"/>
                </a:lnTo>
                <a:lnTo>
                  <a:pt x="22" y="2430"/>
                </a:lnTo>
                <a:lnTo>
                  <a:pt x="17" y="2444"/>
                </a:lnTo>
                <a:lnTo>
                  <a:pt x="13" y="2458"/>
                </a:lnTo>
                <a:lnTo>
                  <a:pt x="9" y="2475"/>
                </a:lnTo>
                <a:lnTo>
                  <a:pt x="6" y="2492"/>
                </a:lnTo>
                <a:lnTo>
                  <a:pt x="3" y="2512"/>
                </a:lnTo>
                <a:lnTo>
                  <a:pt x="0" y="2532"/>
                </a:lnTo>
                <a:lnTo>
                  <a:pt x="0" y="2532"/>
                </a:lnTo>
                <a:lnTo>
                  <a:pt x="1" y="2533"/>
                </a:lnTo>
                <a:lnTo>
                  <a:pt x="2" y="2534"/>
                </a:lnTo>
                <a:lnTo>
                  <a:pt x="6" y="2532"/>
                </a:lnTo>
                <a:lnTo>
                  <a:pt x="12" y="2527"/>
                </a:lnTo>
                <a:lnTo>
                  <a:pt x="20" y="2519"/>
                </a:lnTo>
                <a:lnTo>
                  <a:pt x="43" y="2496"/>
                </a:lnTo>
                <a:lnTo>
                  <a:pt x="69" y="2472"/>
                </a:lnTo>
                <a:lnTo>
                  <a:pt x="82" y="2459"/>
                </a:lnTo>
                <a:lnTo>
                  <a:pt x="95" y="2448"/>
                </a:lnTo>
                <a:lnTo>
                  <a:pt x="107" y="2439"/>
                </a:lnTo>
                <a:lnTo>
                  <a:pt x="119" y="2432"/>
                </a:lnTo>
                <a:lnTo>
                  <a:pt x="124" y="2429"/>
                </a:lnTo>
                <a:lnTo>
                  <a:pt x="129" y="2428"/>
                </a:lnTo>
                <a:lnTo>
                  <a:pt x="133" y="2427"/>
                </a:lnTo>
                <a:lnTo>
                  <a:pt x="137" y="2427"/>
                </a:lnTo>
                <a:lnTo>
                  <a:pt x="140" y="2429"/>
                </a:lnTo>
                <a:lnTo>
                  <a:pt x="143" y="2431"/>
                </a:lnTo>
                <a:lnTo>
                  <a:pt x="144" y="2435"/>
                </a:lnTo>
                <a:lnTo>
                  <a:pt x="146" y="2439"/>
                </a:lnTo>
                <a:lnTo>
                  <a:pt x="146" y="2439"/>
                </a:lnTo>
                <a:lnTo>
                  <a:pt x="149" y="2455"/>
                </a:lnTo>
                <a:lnTo>
                  <a:pt x="154" y="2470"/>
                </a:lnTo>
                <a:lnTo>
                  <a:pt x="162" y="2483"/>
                </a:lnTo>
                <a:lnTo>
                  <a:pt x="170" y="2493"/>
                </a:lnTo>
                <a:lnTo>
                  <a:pt x="179" y="2503"/>
                </a:lnTo>
                <a:lnTo>
                  <a:pt x="189" y="2511"/>
                </a:lnTo>
                <a:lnTo>
                  <a:pt x="200" y="2518"/>
                </a:lnTo>
                <a:lnTo>
                  <a:pt x="214" y="2523"/>
                </a:lnTo>
                <a:lnTo>
                  <a:pt x="227" y="2527"/>
                </a:lnTo>
                <a:lnTo>
                  <a:pt x="241" y="2529"/>
                </a:lnTo>
                <a:lnTo>
                  <a:pt x="256" y="2531"/>
                </a:lnTo>
                <a:lnTo>
                  <a:pt x="271" y="2532"/>
                </a:lnTo>
                <a:lnTo>
                  <a:pt x="287" y="2533"/>
                </a:lnTo>
                <a:lnTo>
                  <a:pt x="304" y="2532"/>
                </a:lnTo>
                <a:lnTo>
                  <a:pt x="337" y="2530"/>
                </a:lnTo>
                <a:lnTo>
                  <a:pt x="371" y="2526"/>
                </a:lnTo>
                <a:lnTo>
                  <a:pt x="405" y="2521"/>
                </a:lnTo>
                <a:lnTo>
                  <a:pt x="438" y="2516"/>
                </a:lnTo>
                <a:lnTo>
                  <a:pt x="468" y="2512"/>
                </a:lnTo>
                <a:lnTo>
                  <a:pt x="496" y="2510"/>
                </a:lnTo>
                <a:lnTo>
                  <a:pt x="509" y="2509"/>
                </a:lnTo>
                <a:lnTo>
                  <a:pt x="520" y="2509"/>
                </a:lnTo>
                <a:lnTo>
                  <a:pt x="531" y="2510"/>
                </a:lnTo>
                <a:lnTo>
                  <a:pt x="541" y="2512"/>
                </a:lnTo>
                <a:lnTo>
                  <a:pt x="549" y="2515"/>
                </a:lnTo>
                <a:lnTo>
                  <a:pt x="555" y="2519"/>
                </a:lnTo>
                <a:lnTo>
                  <a:pt x="555" y="2519"/>
                </a:lnTo>
                <a:lnTo>
                  <a:pt x="558" y="2522"/>
                </a:lnTo>
                <a:lnTo>
                  <a:pt x="559" y="2524"/>
                </a:lnTo>
                <a:lnTo>
                  <a:pt x="557" y="2527"/>
                </a:lnTo>
                <a:lnTo>
                  <a:pt x="554" y="2529"/>
                </a:lnTo>
                <a:lnTo>
                  <a:pt x="549" y="2532"/>
                </a:lnTo>
                <a:lnTo>
                  <a:pt x="542" y="2534"/>
                </a:lnTo>
                <a:lnTo>
                  <a:pt x="525" y="2538"/>
                </a:lnTo>
                <a:lnTo>
                  <a:pt x="475" y="2547"/>
                </a:lnTo>
                <a:lnTo>
                  <a:pt x="447" y="2553"/>
                </a:lnTo>
                <a:lnTo>
                  <a:pt x="417" y="2559"/>
                </a:lnTo>
                <a:lnTo>
                  <a:pt x="388" y="2566"/>
                </a:lnTo>
                <a:lnTo>
                  <a:pt x="359" y="2574"/>
                </a:lnTo>
                <a:lnTo>
                  <a:pt x="346" y="2578"/>
                </a:lnTo>
                <a:lnTo>
                  <a:pt x="333" y="2583"/>
                </a:lnTo>
                <a:lnTo>
                  <a:pt x="322" y="2588"/>
                </a:lnTo>
                <a:lnTo>
                  <a:pt x="312" y="2594"/>
                </a:lnTo>
                <a:lnTo>
                  <a:pt x="303" y="2601"/>
                </a:lnTo>
                <a:lnTo>
                  <a:pt x="294" y="2607"/>
                </a:lnTo>
                <a:lnTo>
                  <a:pt x="288" y="2614"/>
                </a:lnTo>
                <a:lnTo>
                  <a:pt x="284" y="2622"/>
                </a:lnTo>
                <a:lnTo>
                  <a:pt x="282" y="2630"/>
                </a:lnTo>
                <a:lnTo>
                  <a:pt x="281" y="2638"/>
                </a:lnTo>
                <a:lnTo>
                  <a:pt x="283" y="2649"/>
                </a:lnTo>
                <a:lnTo>
                  <a:pt x="287" y="2659"/>
                </a:lnTo>
                <a:lnTo>
                  <a:pt x="287" y="2659"/>
                </a:lnTo>
                <a:lnTo>
                  <a:pt x="287" y="2660"/>
                </a:lnTo>
                <a:lnTo>
                  <a:pt x="286" y="2663"/>
                </a:lnTo>
                <a:lnTo>
                  <a:pt x="283" y="2669"/>
                </a:lnTo>
                <a:lnTo>
                  <a:pt x="268" y="2686"/>
                </a:lnTo>
                <a:lnTo>
                  <a:pt x="258" y="2699"/>
                </a:lnTo>
                <a:lnTo>
                  <a:pt x="247" y="2712"/>
                </a:lnTo>
                <a:lnTo>
                  <a:pt x="237" y="2727"/>
                </a:lnTo>
                <a:lnTo>
                  <a:pt x="228" y="2744"/>
                </a:lnTo>
                <a:lnTo>
                  <a:pt x="220" y="2761"/>
                </a:lnTo>
                <a:lnTo>
                  <a:pt x="217" y="2770"/>
                </a:lnTo>
                <a:lnTo>
                  <a:pt x="214" y="2781"/>
                </a:lnTo>
                <a:lnTo>
                  <a:pt x="213" y="2790"/>
                </a:lnTo>
                <a:lnTo>
                  <a:pt x="212" y="2801"/>
                </a:lnTo>
                <a:lnTo>
                  <a:pt x="212" y="2811"/>
                </a:lnTo>
                <a:lnTo>
                  <a:pt x="213" y="2821"/>
                </a:lnTo>
                <a:lnTo>
                  <a:pt x="215" y="2833"/>
                </a:lnTo>
                <a:lnTo>
                  <a:pt x="219" y="2844"/>
                </a:lnTo>
                <a:lnTo>
                  <a:pt x="223" y="2856"/>
                </a:lnTo>
                <a:lnTo>
                  <a:pt x="229" y="2867"/>
                </a:lnTo>
                <a:lnTo>
                  <a:pt x="237" y="2880"/>
                </a:lnTo>
                <a:lnTo>
                  <a:pt x="246" y="2892"/>
                </a:lnTo>
                <a:lnTo>
                  <a:pt x="257" y="2904"/>
                </a:lnTo>
                <a:lnTo>
                  <a:pt x="270" y="2917"/>
                </a:lnTo>
                <a:lnTo>
                  <a:pt x="270" y="2917"/>
                </a:lnTo>
                <a:lnTo>
                  <a:pt x="270" y="2910"/>
                </a:lnTo>
                <a:lnTo>
                  <a:pt x="272" y="2893"/>
                </a:lnTo>
                <a:lnTo>
                  <a:pt x="277" y="2868"/>
                </a:lnTo>
                <a:lnTo>
                  <a:pt x="281" y="2855"/>
                </a:lnTo>
                <a:lnTo>
                  <a:pt x="285" y="2841"/>
                </a:lnTo>
                <a:lnTo>
                  <a:pt x="291" y="2828"/>
                </a:lnTo>
                <a:lnTo>
                  <a:pt x="298" y="2814"/>
                </a:lnTo>
                <a:lnTo>
                  <a:pt x="306" y="2801"/>
                </a:lnTo>
                <a:lnTo>
                  <a:pt x="315" y="2791"/>
                </a:lnTo>
                <a:lnTo>
                  <a:pt x="321" y="2786"/>
                </a:lnTo>
                <a:lnTo>
                  <a:pt x="326" y="2782"/>
                </a:lnTo>
                <a:lnTo>
                  <a:pt x="332" y="2777"/>
                </a:lnTo>
                <a:lnTo>
                  <a:pt x="339" y="2774"/>
                </a:lnTo>
                <a:lnTo>
                  <a:pt x="346" y="2772"/>
                </a:lnTo>
                <a:lnTo>
                  <a:pt x="354" y="2770"/>
                </a:lnTo>
                <a:lnTo>
                  <a:pt x="361" y="2770"/>
                </a:lnTo>
                <a:lnTo>
                  <a:pt x="369" y="2770"/>
                </a:lnTo>
                <a:lnTo>
                  <a:pt x="369" y="2770"/>
                </a:lnTo>
                <a:lnTo>
                  <a:pt x="383" y="2771"/>
                </a:lnTo>
                <a:lnTo>
                  <a:pt x="396" y="2774"/>
                </a:lnTo>
                <a:lnTo>
                  <a:pt x="408" y="2778"/>
                </a:lnTo>
                <a:lnTo>
                  <a:pt x="420" y="2783"/>
                </a:lnTo>
                <a:lnTo>
                  <a:pt x="443" y="2793"/>
                </a:lnTo>
                <a:lnTo>
                  <a:pt x="454" y="2797"/>
                </a:lnTo>
                <a:lnTo>
                  <a:pt x="465" y="2801"/>
                </a:lnTo>
                <a:lnTo>
                  <a:pt x="476" y="2804"/>
                </a:lnTo>
                <a:lnTo>
                  <a:pt x="489" y="2806"/>
                </a:lnTo>
                <a:lnTo>
                  <a:pt x="501" y="2807"/>
                </a:lnTo>
                <a:lnTo>
                  <a:pt x="514" y="2805"/>
                </a:lnTo>
                <a:lnTo>
                  <a:pt x="528" y="2802"/>
                </a:lnTo>
                <a:lnTo>
                  <a:pt x="542" y="2796"/>
                </a:lnTo>
                <a:lnTo>
                  <a:pt x="558" y="2788"/>
                </a:lnTo>
                <a:lnTo>
                  <a:pt x="575" y="2775"/>
                </a:lnTo>
                <a:lnTo>
                  <a:pt x="575" y="2775"/>
                </a:lnTo>
                <a:lnTo>
                  <a:pt x="588" y="2766"/>
                </a:lnTo>
                <a:lnTo>
                  <a:pt x="600" y="2755"/>
                </a:lnTo>
                <a:lnTo>
                  <a:pt x="614" y="2743"/>
                </a:lnTo>
                <a:lnTo>
                  <a:pt x="630" y="2730"/>
                </a:lnTo>
                <a:lnTo>
                  <a:pt x="651" y="2718"/>
                </a:lnTo>
                <a:lnTo>
                  <a:pt x="664" y="2711"/>
                </a:lnTo>
                <a:lnTo>
                  <a:pt x="678" y="2705"/>
                </a:lnTo>
                <a:lnTo>
                  <a:pt x="693" y="2698"/>
                </a:lnTo>
                <a:lnTo>
                  <a:pt x="712" y="2692"/>
                </a:lnTo>
                <a:lnTo>
                  <a:pt x="732" y="2684"/>
                </a:lnTo>
                <a:lnTo>
                  <a:pt x="754" y="2677"/>
                </a:lnTo>
                <a:lnTo>
                  <a:pt x="754" y="2677"/>
                </a:lnTo>
                <a:lnTo>
                  <a:pt x="756" y="2677"/>
                </a:lnTo>
                <a:lnTo>
                  <a:pt x="757" y="2678"/>
                </a:lnTo>
                <a:lnTo>
                  <a:pt x="760" y="2683"/>
                </a:lnTo>
                <a:lnTo>
                  <a:pt x="762" y="2692"/>
                </a:lnTo>
                <a:lnTo>
                  <a:pt x="765" y="2701"/>
                </a:lnTo>
                <a:lnTo>
                  <a:pt x="768" y="2713"/>
                </a:lnTo>
                <a:lnTo>
                  <a:pt x="772" y="2725"/>
                </a:lnTo>
                <a:lnTo>
                  <a:pt x="777" y="2738"/>
                </a:lnTo>
                <a:lnTo>
                  <a:pt x="783" y="2750"/>
                </a:lnTo>
                <a:lnTo>
                  <a:pt x="783" y="2750"/>
                </a:lnTo>
                <a:lnTo>
                  <a:pt x="786" y="2753"/>
                </a:lnTo>
                <a:lnTo>
                  <a:pt x="789" y="2755"/>
                </a:lnTo>
                <a:lnTo>
                  <a:pt x="797" y="2760"/>
                </a:lnTo>
                <a:lnTo>
                  <a:pt x="805" y="2763"/>
                </a:lnTo>
                <a:lnTo>
                  <a:pt x="813" y="2767"/>
                </a:lnTo>
                <a:lnTo>
                  <a:pt x="821" y="2770"/>
                </a:lnTo>
                <a:lnTo>
                  <a:pt x="827" y="2773"/>
                </a:lnTo>
                <a:lnTo>
                  <a:pt x="830" y="2775"/>
                </a:lnTo>
                <a:lnTo>
                  <a:pt x="831" y="2777"/>
                </a:lnTo>
                <a:lnTo>
                  <a:pt x="833" y="2781"/>
                </a:lnTo>
                <a:lnTo>
                  <a:pt x="833" y="2784"/>
                </a:lnTo>
                <a:lnTo>
                  <a:pt x="833" y="2784"/>
                </a:lnTo>
                <a:lnTo>
                  <a:pt x="832" y="2794"/>
                </a:lnTo>
                <a:lnTo>
                  <a:pt x="830" y="2805"/>
                </a:lnTo>
                <a:lnTo>
                  <a:pt x="826" y="2815"/>
                </a:lnTo>
                <a:lnTo>
                  <a:pt x="822" y="2824"/>
                </a:lnTo>
                <a:lnTo>
                  <a:pt x="817" y="2834"/>
                </a:lnTo>
                <a:lnTo>
                  <a:pt x="811" y="2843"/>
                </a:lnTo>
                <a:lnTo>
                  <a:pt x="798" y="2859"/>
                </a:lnTo>
                <a:lnTo>
                  <a:pt x="784" y="2873"/>
                </a:lnTo>
                <a:lnTo>
                  <a:pt x="773" y="2884"/>
                </a:lnTo>
                <a:lnTo>
                  <a:pt x="765" y="2890"/>
                </a:lnTo>
                <a:lnTo>
                  <a:pt x="763" y="2893"/>
                </a:lnTo>
                <a:lnTo>
                  <a:pt x="763" y="2893"/>
                </a:lnTo>
                <a:lnTo>
                  <a:pt x="767" y="2896"/>
                </a:lnTo>
                <a:lnTo>
                  <a:pt x="778" y="2899"/>
                </a:lnTo>
                <a:lnTo>
                  <a:pt x="785" y="2900"/>
                </a:lnTo>
                <a:lnTo>
                  <a:pt x="794" y="2901"/>
                </a:lnTo>
                <a:lnTo>
                  <a:pt x="804" y="2901"/>
                </a:lnTo>
                <a:lnTo>
                  <a:pt x="815" y="2899"/>
                </a:lnTo>
                <a:lnTo>
                  <a:pt x="826" y="2896"/>
                </a:lnTo>
                <a:lnTo>
                  <a:pt x="839" y="2891"/>
                </a:lnTo>
                <a:lnTo>
                  <a:pt x="852" y="2884"/>
                </a:lnTo>
                <a:lnTo>
                  <a:pt x="865" y="2874"/>
                </a:lnTo>
                <a:lnTo>
                  <a:pt x="879" y="2860"/>
                </a:lnTo>
                <a:lnTo>
                  <a:pt x="894" y="2844"/>
                </a:lnTo>
                <a:lnTo>
                  <a:pt x="907" y="2824"/>
                </a:lnTo>
                <a:lnTo>
                  <a:pt x="921" y="2801"/>
                </a:lnTo>
                <a:lnTo>
                  <a:pt x="921" y="2801"/>
                </a:lnTo>
                <a:lnTo>
                  <a:pt x="924" y="2797"/>
                </a:lnTo>
                <a:lnTo>
                  <a:pt x="927" y="2793"/>
                </a:lnTo>
                <a:lnTo>
                  <a:pt x="930" y="2791"/>
                </a:lnTo>
                <a:lnTo>
                  <a:pt x="935" y="2789"/>
                </a:lnTo>
                <a:lnTo>
                  <a:pt x="939" y="2788"/>
                </a:lnTo>
                <a:lnTo>
                  <a:pt x="943" y="2788"/>
                </a:lnTo>
                <a:lnTo>
                  <a:pt x="951" y="2788"/>
                </a:lnTo>
                <a:lnTo>
                  <a:pt x="970" y="2790"/>
                </a:lnTo>
                <a:lnTo>
                  <a:pt x="982" y="2790"/>
                </a:lnTo>
                <a:lnTo>
                  <a:pt x="987" y="2789"/>
                </a:lnTo>
                <a:lnTo>
                  <a:pt x="992" y="2788"/>
                </a:lnTo>
                <a:lnTo>
                  <a:pt x="992" y="2788"/>
                </a:lnTo>
                <a:lnTo>
                  <a:pt x="1010" y="2782"/>
                </a:lnTo>
                <a:lnTo>
                  <a:pt x="1017" y="2777"/>
                </a:lnTo>
                <a:lnTo>
                  <a:pt x="1024" y="2773"/>
                </a:lnTo>
                <a:lnTo>
                  <a:pt x="1029" y="2770"/>
                </a:lnTo>
                <a:lnTo>
                  <a:pt x="1033" y="2766"/>
                </a:lnTo>
                <a:lnTo>
                  <a:pt x="1036" y="2762"/>
                </a:lnTo>
                <a:lnTo>
                  <a:pt x="1039" y="2757"/>
                </a:lnTo>
                <a:lnTo>
                  <a:pt x="1041" y="2753"/>
                </a:lnTo>
                <a:lnTo>
                  <a:pt x="1042" y="2748"/>
                </a:lnTo>
                <a:lnTo>
                  <a:pt x="1043" y="2739"/>
                </a:lnTo>
                <a:lnTo>
                  <a:pt x="1042" y="2728"/>
                </a:lnTo>
                <a:lnTo>
                  <a:pt x="1040" y="2718"/>
                </a:lnTo>
                <a:lnTo>
                  <a:pt x="1035" y="2696"/>
                </a:lnTo>
                <a:lnTo>
                  <a:pt x="1034" y="2685"/>
                </a:lnTo>
                <a:lnTo>
                  <a:pt x="1033" y="2673"/>
                </a:lnTo>
                <a:lnTo>
                  <a:pt x="1034" y="2662"/>
                </a:lnTo>
                <a:lnTo>
                  <a:pt x="1036" y="2657"/>
                </a:lnTo>
                <a:lnTo>
                  <a:pt x="1038" y="2651"/>
                </a:lnTo>
                <a:lnTo>
                  <a:pt x="1040" y="2646"/>
                </a:lnTo>
                <a:lnTo>
                  <a:pt x="1044" y="2640"/>
                </a:lnTo>
                <a:lnTo>
                  <a:pt x="1048" y="2634"/>
                </a:lnTo>
                <a:lnTo>
                  <a:pt x="1054" y="2629"/>
                </a:lnTo>
                <a:lnTo>
                  <a:pt x="1054" y="2629"/>
                </a:lnTo>
                <a:lnTo>
                  <a:pt x="1069" y="2616"/>
                </a:lnTo>
                <a:lnTo>
                  <a:pt x="1084" y="2603"/>
                </a:lnTo>
                <a:lnTo>
                  <a:pt x="1099" y="2591"/>
                </a:lnTo>
                <a:lnTo>
                  <a:pt x="1115" y="2579"/>
                </a:lnTo>
                <a:lnTo>
                  <a:pt x="1146" y="2559"/>
                </a:lnTo>
                <a:lnTo>
                  <a:pt x="1178" y="2540"/>
                </a:lnTo>
                <a:lnTo>
                  <a:pt x="1210" y="2524"/>
                </a:lnTo>
                <a:lnTo>
                  <a:pt x="1241" y="2509"/>
                </a:lnTo>
                <a:lnTo>
                  <a:pt x="1273" y="2494"/>
                </a:lnTo>
                <a:lnTo>
                  <a:pt x="1304" y="2482"/>
                </a:lnTo>
                <a:lnTo>
                  <a:pt x="1304" y="2482"/>
                </a:lnTo>
                <a:lnTo>
                  <a:pt x="1303" y="2486"/>
                </a:lnTo>
                <a:lnTo>
                  <a:pt x="1299" y="2498"/>
                </a:lnTo>
                <a:lnTo>
                  <a:pt x="1294" y="2518"/>
                </a:lnTo>
                <a:lnTo>
                  <a:pt x="1291" y="2541"/>
                </a:lnTo>
                <a:lnTo>
                  <a:pt x="1290" y="2556"/>
                </a:lnTo>
                <a:lnTo>
                  <a:pt x="1290" y="2570"/>
                </a:lnTo>
                <a:lnTo>
                  <a:pt x="1291" y="2585"/>
                </a:lnTo>
                <a:lnTo>
                  <a:pt x="1292" y="2602"/>
                </a:lnTo>
                <a:lnTo>
                  <a:pt x="1296" y="2618"/>
                </a:lnTo>
                <a:lnTo>
                  <a:pt x="1301" y="2634"/>
                </a:lnTo>
                <a:lnTo>
                  <a:pt x="1306" y="2652"/>
                </a:lnTo>
                <a:lnTo>
                  <a:pt x="1314" y="2669"/>
                </a:lnTo>
                <a:lnTo>
                  <a:pt x="1640" y="2585"/>
                </a:lnTo>
                <a:lnTo>
                  <a:pt x="1640" y="2585"/>
                </a:lnTo>
                <a:lnTo>
                  <a:pt x="1634" y="2569"/>
                </a:lnTo>
                <a:lnTo>
                  <a:pt x="1631" y="2553"/>
                </a:lnTo>
                <a:lnTo>
                  <a:pt x="1629" y="2535"/>
                </a:lnTo>
                <a:lnTo>
                  <a:pt x="1629" y="2518"/>
                </a:lnTo>
                <a:lnTo>
                  <a:pt x="1631" y="2500"/>
                </a:lnTo>
                <a:lnTo>
                  <a:pt x="1634" y="2483"/>
                </a:lnTo>
                <a:lnTo>
                  <a:pt x="1638" y="2466"/>
                </a:lnTo>
                <a:lnTo>
                  <a:pt x="1644" y="2447"/>
                </a:lnTo>
                <a:lnTo>
                  <a:pt x="1651" y="2430"/>
                </a:lnTo>
                <a:lnTo>
                  <a:pt x="1660" y="2411"/>
                </a:lnTo>
                <a:lnTo>
                  <a:pt x="1669" y="2394"/>
                </a:lnTo>
                <a:lnTo>
                  <a:pt x="1679" y="2377"/>
                </a:lnTo>
                <a:lnTo>
                  <a:pt x="1689" y="2359"/>
                </a:lnTo>
                <a:lnTo>
                  <a:pt x="1701" y="2342"/>
                </a:lnTo>
                <a:lnTo>
                  <a:pt x="1725" y="2310"/>
                </a:lnTo>
                <a:lnTo>
                  <a:pt x="1725" y="2310"/>
                </a:lnTo>
                <a:lnTo>
                  <a:pt x="1726" y="2309"/>
                </a:lnTo>
                <a:lnTo>
                  <a:pt x="1727" y="2309"/>
                </a:lnTo>
                <a:lnTo>
                  <a:pt x="1728" y="2313"/>
                </a:lnTo>
                <a:lnTo>
                  <a:pt x="1725" y="2335"/>
                </a:lnTo>
                <a:lnTo>
                  <a:pt x="1721" y="2368"/>
                </a:lnTo>
                <a:lnTo>
                  <a:pt x="1715" y="2410"/>
                </a:lnTo>
                <a:lnTo>
                  <a:pt x="1713" y="2433"/>
                </a:lnTo>
                <a:lnTo>
                  <a:pt x="1711" y="2456"/>
                </a:lnTo>
                <a:lnTo>
                  <a:pt x="1711" y="2478"/>
                </a:lnTo>
                <a:lnTo>
                  <a:pt x="1711" y="2499"/>
                </a:lnTo>
                <a:lnTo>
                  <a:pt x="1713" y="2519"/>
                </a:lnTo>
                <a:lnTo>
                  <a:pt x="1716" y="2536"/>
                </a:lnTo>
                <a:lnTo>
                  <a:pt x="1719" y="2544"/>
                </a:lnTo>
                <a:lnTo>
                  <a:pt x="1722" y="2551"/>
                </a:lnTo>
                <a:lnTo>
                  <a:pt x="1726" y="2557"/>
                </a:lnTo>
                <a:lnTo>
                  <a:pt x="1730" y="2562"/>
                </a:lnTo>
                <a:lnTo>
                  <a:pt x="2050" y="2479"/>
                </a:lnTo>
                <a:lnTo>
                  <a:pt x="2050" y="2479"/>
                </a:lnTo>
                <a:lnTo>
                  <a:pt x="2046" y="2469"/>
                </a:lnTo>
                <a:lnTo>
                  <a:pt x="2043" y="2457"/>
                </a:lnTo>
                <a:lnTo>
                  <a:pt x="2041" y="2446"/>
                </a:lnTo>
                <a:lnTo>
                  <a:pt x="2039" y="2434"/>
                </a:lnTo>
                <a:lnTo>
                  <a:pt x="2038" y="2422"/>
                </a:lnTo>
                <a:lnTo>
                  <a:pt x="2038" y="2409"/>
                </a:lnTo>
                <a:lnTo>
                  <a:pt x="2039" y="2383"/>
                </a:lnTo>
                <a:lnTo>
                  <a:pt x="2043" y="2356"/>
                </a:lnTo>
                <a:lnTo>
                  <a:pt x="2048" y="2330"/>
                </a:lnTo>
                <a:lnTo>
                  <a:pt x="2055" y="2303"/>
                </a:lnTo>
                <a:lnTo>
                  <a:pt x="2064" y="2279"/>
                </a:lnTo>
                <a:lnTo>
                  <a:pt x="2064" y="2279"/>
                </a:lnTo>
                <a:lnTo>
                  <a:pt x="2072" y="2306"/>
                </a:lnTo>
                <a:lnTo>
                  <a:pt x="2079" y="2335"/>
                </a:lnTo>
                <a:lnTo>
                  <a:pt x="2088" y="2362"/>
                </a:lnTo>
                <a:lnTo>
                  <a:pt x="2098" y="2390"/>
                </a:lnTo>
                <a:lnTo>
                  <a:pt x="2108" y="2417"/>
                </a:lnTo>
                <a:lnTo>
                  <a:pt x="2121" y="2443"/>
                </a:lnTo>
                <a:lnTo>
                  <a:pt x="2135" y="2469"/>
                </a:lnTo>
                <a:lnTo>
                  <a:pt x="2149" y="2494"/>
                </a:lnTo>
                <a:lnTo>
                  <a:pt x="2166" y="2519"/>
                </a:lnTo>
                <a:lnTo>
                  <a:pt x="2183" y="2541"/>
                </a:lnTo>
                <a:lnTo>
                  <a:pt x="2201" y="2563"/>
                </a:lnTo>
                <a:lnTo>
                  <a:pt x="2222" y="2583"/>
                </a:lnTo>
                <a:lnTo>
                  <a:pt x="2244" y="2603"/>
                </a:lnTo>
                <a:lnTo>
                  <a:pt x="2268" y="2619"/>
                </a:lnTo>
                <a:lnTo>
                  <a:pt x="2280" y="2627"/>
                </a:lnTo>
                <a:lnTo>
                  <a:pt x="2292" y="2634"/>
                </a:lnTo>
                <a:lnTo>
                  <a:pt x="2306" y="2641"/>
                </a:lnTo>
                <a:lnTo>
                  <a:pt x="2320" y="2648"/>
                </a:lnTo>
                <a:lnTo>
                  <a:pt x="2320" y="2648"/>
                </a:lnTo>
                <a:lnTo>
                  <a:pt x="2365" y="2667"/>
                </a:lnTo>
                <a:lnTo>
                  <a:pt x="2410" y="2685"/>
                </a:lnTo>
                <a:lnTo>
                  <a:pt x="2454" y="2702"/>
                </a:lnTo>
                <a:lnTo>
                  <a:pt x="2499" y="2718"/>
                </a:lnTo>
                <a:lnTo>
                  <a:pt x="2544" y="2733"/>
                </a:lnTo>
                <a:lnTo>
                  <a:pt x="2589" y="2749"/>
                </a:lnTo>
                <a:lnTo>
                  <a:pt x="2683" y="2778"/>
                </a:lnTo>
                <a:lnTo>
                  <a:pt x="2782" y="2807"/>
                </a:lnTo>
                <a:lnTo>
                  <a:pt x="2889" y="2838"/>
                </a:lnTo>
                <a:lnTo>
                  <a:pt x="3005" y="2872"/>
                </a:lnTo>
                <a:lnTo>
                  <a:pt x="3133" y="2908"/>
                </a:lnTo>
                <a:lnTo>
                  <a:pt x="3133" y="2908"/>
                </a:lnTo>
                <a:lnTo>
                  <a:pt x="3205" y="2931"/>
                </a:lnTo>
                <a:lnTo>
                  <a:pt x="3273" y="2954"/>
                </a:lnTo>
                <a:lnTo>
                  <a:pt x="3305" y="2966"/>
                </a:lnTo>
                <a:lnTo>
                  <a:pt x="3333" y="2977"/>
                </a:lnTo>
                <a:lnTo>
                  <a:pt x="3358" y="2987"/>
                </a:lnTo>
                <a:lnTo>
                  <a:pt x="3377" y="2996"/>
                </a:lnTo>
                <a:lnTo>
                  <a:pt x="3377" y="2996"/>
                </a:lnTo>
                <a:lnTo>
                  <a:pt x="3383" y="2999"/>
                </a:lnTo>
                <a:lnTo>
                  <a:pt x="3389" y="3003"/>
                </a:lnTo>
                <a:lnTo>
                  <a:pt x="3393" y="3006"/>
                </a:lnTo>
                <a:lnTo>
                  <a:pt x="3397" y="3011"/>
                </a:lnTo>
                <a:lnTo>
                  <a:pt x="3399" y="3015"/>
                </a:lnTo>
                <a:lnTo>
                  <a:pt x="3401" y="3020"/>
                </a:lnTo>
                <a:lnTo>
                  <a:pt x="3402" y="3024"/>
                </a:lnTo>
                <a:lnTo>
                  <a:pt x="3402" y="3028"/>
                </a:lnTo>
                <a:lnTo>
                  <a:pt x="3401" y="3037"/>
                </a:lnTo>
                <a:lnTo>
                  <a:pt x="3397" y="3046"/>
                </a:lnTo>
                <a:lnTo>
                  <a:pt x="3392" y="3055"/>
                </a:lnTo>
                <a:lnTo>
                  <a:pt x="3386" y="3064"/>
                </a:lnTo>
                <a:lnTo>
                  <a:pt x="3378" y="3072"/>
                </a:lnTo>
                <a:lnTo>
                  <a:pt x="3371" y="3080"/>
                </a:lnTo>
                <a:lnTo>
                  <a:pt x="3357" y="3092"/>
                </a:lnTo>
                <a:lnTo>
                  <a:pt x="3346" y="3102"/>
                </a:lnTo>
                <a:lnTo>
                  <a:pt x="3341" y="3105"/>
                </a:lnTo>
                <a:lnTo>
                  <a:pt x="3341" y="3105"/>
                </a:lnTo>
                <a:lnTo>
                  <a:pt x="3355" y="3113"/>
                </a:lnTo>
                <a:lnTo>
                  <a:pt x="3371" y="3121"/>
                </a:lnTo>
                <a:lnTo>
                  <a:pt x="3411" y="3139"/>
                </a:lnTo>
                <a:lnTo>
                  <a:pt x="3435" y="3152"/>
                </a:lnTo>
                <a:lnTo>
                  <a:pt x="3461" y="3167"/>
                </a:lnTo>
                <a:lnTo>
                  <a:pt x="3492" y="3186"/>
                </a:lnTo>
                <a:lnTo>
                  <a:pt x="3527" y="3211"/>
                </a:lnTo>
                <a:lnTo>
                  <a:pt x="3527" y="3211"/>
                </a:lnTo>
                <a:lnTo>
                  <a:pt x="3545" y="3226"/>
                </a:lnTo>
                <a:lnTo>
                  <a:pt x="3563" y="3244"/>
                </a:lnTo>
                <a:lnTo>
                  <a:pt x="3580" y="3263"/>
                </a:lnTo>
                <a:lnTo>
                  <a:pt x="3595" y="3284"/>
                </a:lnTo>
                <a:lnTo>
                  <a:pt x="3608" y="3305"/>
                </a:lnTo>
                <a:lnTo>
                  <a:pt x="3622" y="3329"/>
                </a:lnTo>
                <a:lnTo>
                  <a:pt x="3634" y="3352"/>
                </a:lnTo>
                <a:lnTo>
                  <a:pt x="3645" y="3378"/>
                </a:lnTo>
                <a:lnTo>
                  <a:pt x="3655" y="3404"/>
                </a:lnTo>
                <a:lnTo>
                  <a:pt x="3665" y="3432"/>
                </a:lnTo>
                <a:lnTo>
                  <a:pt x="3674" y="3460"/>
                </a:lnTo>
                <a:lnTo>
                  <a:pt x="3682" y="3489"/>
                </a:lnTo>
                <a:lnTo>
                  <a:pt x="3698" y="3549"/>
                </a:lnTo>
                <a:lnTo>
                  <a:pt x="3714" y="3612"/>
                </a:lnTo>
                <a:lnTo>
                  <a:pt x="3714" y="3612"/>
                </a:lnTo>
                <a:lnTo>
                  <a:pt x="3725" y="3662"/>
                </a:lnTo>
                <a:lnTo>
                  <a:pt x="3734" y="3715"/>
                </a:lnTo>
                <a:lnTo>
                  <a:pt x="3742" y="3768"/>
                </a:lnTo>
                <a:lnTo>
                  <a:pt x="3744" y="3795"/>
                </a:lnTo>
                <a:lnTo>
                  <a:pt x="3746" y="3819"/>
                </a:lnTo>
                <a:lnTo>
                  <a:pt x="3748" y="3844"/>
                </a:lnTo>
                <a:lnTo>
                  <a:pt x="3749" y="3867"/>
                </a:lnTo>
                <a:lnTo>
                  <a:pt x="3748" y="3889"/>
                </a:lnTo>
                <a:lnTo>
                  <a:pt x="3745" y="3909"/>
                </a:lnTo>
                <a:lnTo>
                  <a:pt x="3742" y="3928"/>
                </a:lnTo>
                <a:lnTo>
                  <a:pt x="3737" y="3944"/>
                </a:lnTo>
                <a:lnTo>
                  <a:pt x="3731" y="3957"/>
                </a:lnTo>
                <a:lnTo>
                  <a:pt x="3728" y="3963"/>
                </a:lnTo>
                <a:lnTo>
                  <a:pt x="3724" y="3969"/>
                </a:lnTo>
                <a:lnTo>
                  <a:pt x="3724" y="3969"/>
                </a:lnTo>
                <a:lnTo>
                  <a:pt x="3715" y="3979"/>
                </a:lnTo>
                <a:lnTo>
                  <a:pt x="3705" y="3989"/>
                </a:lnTo>
                <a:lnTo>
                  <a:pt x="3691" y="3998"/>
                </a:lnTo>
                <a:lnTo>
                  <a:pt x="3683" y="4003"/>
                </a:lnTo>
                <a:lnTo>
                  <a:pt x="3673" y="4008"/>
                </a:lnTo>
                <a:lnTo>
                  <a:pt x="3663" y="4014"/>
                </a:lnTo>
                <a:lnTo>
                  <a:pt x="3650" y="4019"/>
                </a:lnTo>
                <a:lnTo>
                  <a:pt x="3621" y="4028"/>
                </a:lnTo>
                <a:lnTo>
                  <a:pt x="3582" y="4038"/>
                </a:lnTo>
                <a:lnTo>
                  <a:pt x="3535" y="4048"/>
                </a:lnTo>
                <a:lnTo>
                  <a:pt x="3560" y="4171"/>
                </a:lnTo>
                <a:lnTo>
                  <a:pt x="3560" y="4171"/>
                </a:lnTo>
                <a:lnTo>
                  <a:pt x="3579" y="4172"/>
                </a:lnTo>
                <a:lnTo>
                  <a:pt x="3597" y="4172"/>
                </a:lnTo>
                <a:lnTo>
                  <a:pt x="3615" y="4171"/>
                </a:lnTo>
                <a:lnTo>
                  <a:pt x="3631" y="4169"/>
                </a:lnTo>
                <a:lnTo>
                  <a:pt x="3646" y="4167"/>
                </a:lnTo>
                <a:lnTo>
                  <a:pt x="3662" y="4164"/>
                </a:lnTo>
                <a:lnTo>
                  <a:pt x="3688" y="4157"/>
                </a:lnTo>
                <a:lnTo>
                  <a:pt x="3711" y="4150"/>
                </a:lnTo>
                <a:lnTo>
                  <a:pt x="3728" y="4143"/>
                </a:lnTo>
                <a:lnTo>
                  <a:pt x="3742" y="4137"/>
                </a:lnTo>
                <a:lnTo>
                  <a:pt x="3742" y="4137"/>
                </a:lnTo>
                <a:lnTo>
                  <a:pt x="3736" y="4143"/>
                </a:lnTo>
                <a:lnTo>
                  <a:pt x="3730" y="4151"/>
                </a:lnTo>
                <a:lnTo>
                  <a:pt x="3722" y="4161"/>
                </a:lnTo>
                <a:lnTo>
                  <a:pt x="3722" y="4161"/>
                </a:lnTo>
                <a:lnTo>
                  <a:pt x="3711" y="4177"/>
                </a:lnTo>
                <a:lnTo>
                  <a:pt x="3700" y="4194"/>
                </a:lnTo>
                <a:lnTo>
                  <a:pt x="3692" y="4209"/>
                </a:lnTo>
                <a:lnTo>
                  <a:pt x="3685" y="4224"/>
                </a:lnTo>
                <a:lnTo>
                  <a:pt x="3680" y="4240"/>
                </a:lnTo>
                <a:lnTo>
                  <a:pt x="3675" y="4257"/>
                </a:lnTo>
                <a:lnTo>
                  <a:pt x="3672" y="4274"/>
                </a:lnTo>
                <a:lnTo>
                  <a:pt x="3669" y="4295"/>
                </a:lnTo>
                <a:lnTo>
                  <a:pt x="3799" y="4379"/>
                </a:lnTo>
                <a:lnTo>
                  <a:pt x="3799" y="4379"/>
                </a:lnTo>
                <a:lnTo>
                  <a:pt x="3812" y="4338"/>
                </a:lnTo>
                <a:lnTo>
                  <a:pt x="3826" y="4298"/>
                </a:lnTo>
                <a:lnTo>
                  <a:pt x="3841" y="4262"/>
                </a:lnTo>
                <a:lnTo>
                  <a:pt x="3855" y="4229"/>
                </a:lnTo>
                <a:lnTo>
                  <a:pt x="3870" y="4202"/>
                </a:lnTo>
                <a:lnTo>
                  <a:pt x="3877" y="4189"/>
                </a:lnTo>
                <a:lnTo>
                  <a:pt x="3885" y="4179"/>
                </a:lnTo>
                <a:lnTo>
                  <a:pt x="3892" y="4170"/>
                </a:lnTo>
                <a:lnTo>
                  <a:pt x="3899" y="4163"/>
                </a:lnTo>
                <a:lnTo>
                  <a:pt x="3906" y="4158"/>
                </a:lnTo>
                <a:lnTo>
                  <a:pt x="3913" y="4154"/>
                </a:lnTo>
                <a:lnTo>
                  <a:pt x="3913" y="4154"/>
                </a:lnTo>
                <a:lnTo>
                  <a:pt x="3919" y="4152"/>
                </a:lnTo>
                <a:lnTo>
                  <a:pt x="3926" y="4152"/>
                </a:lnTo>
                <a:lnTo>
                  <a:pt x="3935" y="4152"/>
                </a:lnTo>
                <a:lnTo>
                  <a:pt x="3944" y="4153"/>
                </a:lnTo>
                <a:lnTo>
                  <a:pt x="3954" y="4155"/>
                </a:lnTo>
                <a:lnTo>
                  <a:pt x="3965" y="4157"/>
                </a:lnTo>
                <a:lnTo>
                  <a:pt x="3990" y="4166"/>
                </a:lnTo>
                <a:lnTo>
                  <a:pt x="4017" y="4177"/>
                </a:lnTo>
                <a:lnTo>
                  <a:pt x="4047" y="4192"/>
                </a:lnTo>
                <a:lnTo>
                  <a:pt x="4078" y="4212"/>
                </a:lnTo>
                <a:lnTo>
                  <a:pt x="4110" y="4233"/>
                </a:lnTo>
                <a:lnTo>
                  <a:pt x="4127" y="4246"/>
                </a:lnTo>
                <a:lnTo>
                  <a:pt x="4143" y="4259"/>
                </a:lnTo>
                <a:lnTo>
                  <a:pt x="4160" y="4273"/>
                </a:lnTo>
                <a:lnTo>
                  <a:pt x="4176" y="4288"/>
                </a:lnTo>
                <a:lnTo>
                  <a:pt x="4192" y="4303"/>
                </a:lnTo>
                <a:lnTo>
                  <a:pt x="4208" y="4319"/>
                </a:lnTo>
                <a:lnTo>
                  <a:pt x="4224" y="4337"/>
                </a:lnTo>
                <a:lnTo>
                  <a:pt x="4239" y="4355"/>
                </a:lnTo>
                <a:lnTo>
                  <a:pt x="4254" y="4373"/>
                </a:lnTo>
                <a:lnTo>
                  <a:pt x="4268" y="4393"/>
                </a:lnTo>
                <a:lnTo>
                  <a:pt x="4282" y="4413"/>
                </a:lnTo>
                <a:lnTo>
                  <a:pt x="4296" y="4435"/>
                </a:lnTo>
                <a:lnTo>
                  <a:pt x="4308" y="4456"/>
                </a:lnTo>
                <a:lnTo>
                  <a:pt x="4320" y="4479"/>
                </a:lnTo>
                <a:lnTo>
                  <a:pt x="4331" y="4502"/>
                </a:lnTo>
                <a:lnTo>
                  <a:pt x="4342" y="4527"/>
                </a:lnTo>
                <a:lnTo>
                  <a:pt x="4342" y="4527"/>
                </a:lnTo>
                <a:lnTo>
                  <a:pt x="4347" y="4541"/>
                </a:lnTo>
                <a:lnTo>
                  <a:pt x="4352" y="4558"/>
                </a:lnTo>
                <a:lnTo>
                  <a:pt x="4356" y="4574"/>
                </a:lnTo>
                <a:lnTo>
                  <a:pt x="4360" y="4591"/>
                </a:lnTo>
                <a:lnTo>
                  <a:pt x="4363" y="4610"/>
                </a:lnTo>
                <a:lnTo>
                  <a:pt x="4366" y="4628"/>
                </a:lnTo>
                <a:lnTo>
                  <a:pt x="4370" y="4667"/>
                </a:lnTo>
                <a:lnTo>
                  <a:pt x="4372" y="4706"/>
                </a:lnTo>
                <a:lnTo>
                  <a:pt x="4371" y="4747"/>
                </a:lnTo>
                <a:lnTo>
                  <a:pt x="4370" y="4767"/>
                </a:lnTo>
                <a:lnTo>
                  <a:pt x="4369" y="4787"/>
                </a:lnTo>
                <a:lnTo>
                  <a:pt x="4366" y="4807"/>
                </a:lnTo>
                <a:lnTo>
                  <a:pt x="4363" y="4826"/>
                </a:lnTo>
                <a:lnTo>
                  <a:pt x="4360" y="4846"/>
                </a:lnTo>
                <a:lnTo>
                  <a:pt x="4356" y="4864"/>
                </a:lnTo>
                <a:lnTo>
                  <a:pt x="4351" y="4883"/>
                </a:lnTo>
                <a:lnTo>
                  <a:pt x="4345" y="4900"/>
                </a:lnTo>
                <a:lnTo>
                  <a:pt x="4339" y="4917"/>
                </a:lnTo>
                <a:lnTo>
                  <a:pt x="4332" y="4933"/>
                </a:lnTo>
                <a:lnTo>
                  <a:pt x="4324" y="4948"/>
                </a:lnTo>
                <a:lnTo>
                  <a:pt x="4316" y="4962"/>
                </a:lnTo>
                <a:lnTo>
                  <a:pt x="4307" y="4976"/>
                </a:lnTo>
                <a:lnTo>
                  <a:pt x="4298" y="4988"/>
                </a:lnTo>
                <a:lnTo>
                  <a:pt x="4287" y="4999"/>
                </a:lnTo>
                <a:lnTo>
                  <a:pt x="4276" y="5008"/>
                </a:lnTo>
                <a:lnTo>
                  <a:pt x="4264" y="5017"/>
                </a:lnTo>
                <a:lnTo>
                  <a:pt x="4252" y="5024"/>
                </a:lnTo>
                <a:lnTo>
                  <a:pt x="4238" y="5029"/>
                </a:lnTo>
                <a:lnTo>
                  <a:pt x="4224" y="5032"/>
                </a:lnTo>
                <a:lnTo>
                  <a:pt x="4224" y="5032"/>
                </a:lnTo>
                <a:lnTo>
                  <a:pt x="4216" y="5033"/>
                </a:lnTo>
                <a:lnTo>
                  <a:pt x="4208" y="5033"/>
                </a:lnTo>
                <a:lnTo>
                  <a:pt x="4198" y="5032"/>
                </a:lnTo>
                <a:lnTo>
                  <a:pt x="4188" y="5030"/>
                </a:lnTo>
                <a:lnTo>
                  <a:pt x="4168" y="5025"/>
                </a:lnTo>
                <a:lnTo>
                  <a:pt x="4145" y="5017"/>
                </a:lnTo>
                <a:lnTo>
                  <a:pt x="4123" y="5006"/>
                </a:lnTo>
                <a:lnTo>
                  <a:pt x="4099" y="4995"/>
                </a:lnTo>
                <a:lnTo>
                  <a:pt x="4051" y="4973"/>
                </a:lnTo>
                <a:lnTo>
                  <a:pt x="4028" y="4961"/>
                </a:lnTo>
                <a:lnTo>
                  <a:pt x="4005" y="4952"/>
                </a:lnTo>
                <a:lnTo>
                  <a:pt x="3984" y="4945"/>
                </a:lnTo>
                <a:lnTo>
                  <a:pt x="3964" y="4940"/>
                </a:lnTo>
                <a:lnTo>
                  <a:pt x="3955" y="4939"/>
                </a:lnTo>
                <a:lnTo>
                  <a:pt x="3947" y="4938"/>
                </a:lnTo>
                <a:lnTo>
                  <a:pt x="3939" y="4939"/>
                </a:lnTo>
                <a:lnTo>
                  <a:pt x="3932" y="4940"/>
                </a:lnTo>
                <a:lnTo>
                  <a:pt x="3924" y="4943"/>
                </a:lnTo>
                <a:lnTo>
                  <a:pt x="3919" y="4947"/>
                </a:lnTo>
                <a:lnTo>
                  <a:pt x="3914" y="4952"/>
                </a:lnTo>
                <a:lnTo>
                  <a:pt x="3909" y="4958"/>
                </a:lnTo>
                <a:lnTo>
                  <a:pt x="3909" y="4958"/>
                </a:lnTo>
                <a:lnTo>
                  <a:pt x="3905" y="4965"/>
                </a:lnTo>
                <a:lnTo>
                  <a:pt x="3900" y="4973"/>
                </a:lnTo>
                <a:lnTo>
                  <a:pt x="3893" y="4979"/>
                </a:lnTo>
                <a:lnTo>
                  <a:pt x="3886" y="4985"/>
                </a:lnTo>
                <a:lnTo>
                  <a:pt x="3869" y="4996"/>
                </a:lnTo>
                <a:lnTo>
                  <a:pt x="3851" y="5006"/>
                </a:lnTo>
                <a:lnTo>
                  <a:pt x="3810" y="5028"/>
                </a:lnTo>
                <a:lnTo>
                  <a:pt x="3789" y="5039"/>
                </a:lnTo>
                <a:lnTo>
                  <a:pt x="3770" y="5052"/>
                </a:lnTo>
                <a:lnTo>
                  <a:pt x="3761" y="5058"/>
                </a:lnTo>
                <a:lnTo>
                  <a:pt x="3752" y="5067"/>
                </a:lnTo>
                <a:lnTo>
                  <a:pt x="3743" y="5074"/>
                </a:lnTo>
                <a:lnTo>
                  <a:pt x="3735" y="5083"/>
                </a:lnTo>
                <a:lnTo>
                  <a:pt x="3728" y="5092"/>
                </a:lnTo>
                <a:lnTo>
                  <a:pt x="3722" y="5102"/>
                </a:lnTo>
                <a:lnTo>
                  <a:pt x="3717" y="5113"/>
                </a:lnTo>
                <a:lnTo>
                  <a:pt x="3713" y="5125"/>
                </a:lnTo>
                <a:lnTo>
                  <a:pt x="3710" y="5137"/>
                </a:lnTo>
                <a:lnTo>
                  <a:pt x="3708" y="5151"/>
                </a:lnTo>
                <a:lnTo>
                  <a:pt x="3707" y="5165"/>
                </a:lnTo>
                <a:lnTo>
                  <a:pt x="3707" y="5181"/>
                </a:lnTo>
                <a:lnTo>
                  <a:pt x="3709" y="5198"/>
                </a:lnTo>
                <a:lnTo>
                  <a:pt x="3713" y="5215"/>
                </a:lnTo>
                <a:lnTo>
                  <a:pt x="3718" y="5234"/>
                </a:lnTo>
                <a:lnTo>
                  <a:pt x="3724" y="5255"/>
                </a:lnTo>
                <a:lnTo>
                  <a:pt x="3724" y="5255"/>
                </a:lnTo>
                <a:lnTo>
                  <a:pt x="3741" y="5234"/>
                </a:lnTo>
                <a:lnTo>
                  <a:pt x="3759" y="5213"/>
                </a:lnTo>
                <a:lnTo>
                  <a:pt x="3776" y="5194"/>
                </a:lnTo>
                <a:lnTo>
                  <a:pt x="3794" y="5178"/>
                </a:lnTo>
                <a:lnTo>
                  <a:pt x="3802" y="5171"/>
                </a:lnTo>
                <a:lnTo>
                  <a:pt x="3811" y="5165"/>
                </a:lnTo>
                <a:lnTo>
                  <a:pt x="3819" y="5159"/>
                </a:lnTo>
                <a:lnTo>
                  <a:pt x="3827" y="5155"/>
                </a:lnTo>
                <a:lnTo>
                  <a:pt x="3835" y="5153"/>
                </a:lnTo>
                <a:lnTo>
                  <a:pt x="3843" y="5151"/>
                </a:lnTo>
                <a:lnTo>
                  <a:pt x="3850" y="5151"/>
                </a:lnTo>
                <a:lnTo>
                  <a:pt x="3857" y="5153"/>
                </a:lnTo>
                <a:lnTo>
                  <a:pt x="3857" y="5153"/>
                </a:lnTo>
                <a:lnTo>
                  <a:pt x="3861" y="5155"/>
                </a:lnTo>
                <a:lnTo>
                  <a:pt x="3864" y="5157"/>
                </a:lnTo>
                <a:lnTo>
                  <a:pt x="3870" y="5163"/>
                </a:lnTo>
                <a:lnTo>
                  <a:pt x="3875" y="5171"/>
                </a:lnTo>
                <a:lnTo>
                  <a:pt x="3879" y="5179"/>
                </a:lnTo>
                <a:lnTo>
                  <a:pt x="3888" y="5200"/>
                </a:lnTo>
                <a:lnTo>
                  <a:pt x="3894" y="5210"/>
                </a:lnTo>
                <a:lnTo>
                  <a:pt x="3901" y="5220"/>
                </a:lnTo>
                <a:lnTo>
                  <a:pt x="3901" y="5220"/>
                </a:lnTo>
                <a:lnTo>
                  <a:pt x="3904" y="5223"/>
                </a:lnTo>
                <a:lnTo>
                  <a:pt x="3908" y="5225"/>
                </a:lnTo>
                <a:lnTo>
                  <a:pt x="3913" y="5227"/>
                </a:lnTo>
                <a:lnTo>
                  <a:pt x="3919" y="5228"/>
                </a:lnTo>
                <a:lnTo>
                  <a:pt x="3934" y="5230"/>
                </a:lnTo>
                <a:lnTo>
                  <a:pt x="3950" y="5230"/>
                </a:lnTo>
                <a:lnTo>
                  <a:pt x="3968" y="5229"/>
                </a:lnTo>
                <a:lnTo>
                  <a:pt x="3989" y="5227"/>
                </a:lnTo>
                <a:lnTo>
                  <a:pt x="4032" y="5223"/>
                </a:lnTo>
                <a:lnTo>
                  <a:pt x="4074" y="5219"/>
                </a:lnTo>
                <a:lnTo>
                  <a:pt x="4093" y="5217"/>
                </a:lnTo>
                <a:lnTo>
                  <a:pt x="4110" y="5217"/>
                </a:lnTo>
                <a:lnTo>
                  <a:pt x="4126" y="5217"/>
                </a:lnTo>
                <a:lnTo>
                  <a:pt x="4137" y="5219"/>
                </a:lnTo>
                <a:lnTo>
                  <a:pt x="4142" y="5221"/>
                </a:lnTo>
                <a:lnTo>
                  <a:pt x="4146" y="5223"/>
                </a:lnTo>
                <a:lnTo>
                  <a:pt x="4148" y="5225"/>
                </a:lnTo>
                <a:lnTo>
                  <a:pt x="4150" y="5228"/>
                </a:lnTo>
                <a:lnTo>
                  <a:pt x="4150" y="5228"/>
                </a:lnTo>
                <a:lnTo>
                  <a:pt x="4151" y="5231"/>
                </a:lnTo>
                <a:lnTo>
                  <a:pt x="4150" y="5234"/>
                </a:lnTo>
                <a:lnTo>
                  <a:pt x="4149" y="5236"/>
                </a:lnTo>
                <a:lnTo>
                  <a:pt x="4148" y="5238"/>
                </a:lnTo>
                <a:lnTo>
                  <a:pt x="4143" y="5242"/>
                </a:lnTo>
                <a:lnTo>
                  <a:pt x="4136" y="5243"/>
                </a:lnTo>
                <a:lnTo>
                  <a:pt x="4118" y="5246"/>
                </a:lnTo>
                <a:lnTo>
                  <a:pt x="4100" y="5248"/>
                </a:lnTo>
                <a:lnTo>
                  <a:pt x="4100" y="5248"/>
                </a:lnTo>
                <a:lnTo>
                  <a:pt x="4021" y="5262"/>
                </a:lnTo>
                <a:lnTo>
                  <a:pt x="3981" y="5269"/>
                </a:lnTo>
                <a:lnTo>
                  <a:pt x="3943" y="5277"/>
                </a:lnTo>
                <a:lnTo>
                  <a:pt x="3925" y="5282"/>
                </a:lnTo>
                <a:lnTo>
                  <a:pt x="3909" y="5288"/>
                </a:lnTo>
                <a:lnTo>
                  <a:pt x="3894" y="5294"/>
                </a:lnTo>
                <a:lnTo>
                  <a:pt x="3881" y="5300"/>
                </a:lnTo>
                <a:lnTo>
                  <a:pt x="3869" y="5306"/>
                </a:lnTo>
                <a:lnTo>
                  <a:pt x="3860" y="5314"/>
                </a:lnTo>
                <a:lnTo>
                  <a:pt x="3853" y="5322"/>
                </a:lnTo>
                <a:lnTo>
                  <a:pt x="3850" y="5326"/>
                </a:lnTo>
                <a:lnTo>
                  <a:pt x="3848" y="5331"/>
                </a:lnTo>
                <a:lnTo>
                  <a:pt x="3848" y="5331"/>
                </a:lnTo>
                <a:lnTo>
                  <a:pt x="3846" y="5338"/>
                </a:lnTo>
                <a:lnTo>
                  <a:pt x="3846" y="5342"/>
                </a:lnTo>
                <a:lnTo>
                  <a:pt x="3847" y="5352"/>
                </a:lnTo>
                <a:lnTo>
                  <a:pt x="3847" y="5357"/>
                </a:lnTo>
                <a:lnTo>
                  <a:pt x="3846" y="5363"/>
                </a:lnTo>
                <a:lnTo>
                  <a:pt x="3845" y="5371"/>
                </a:lnTo>
                <a:lnTo>
                  <a:pt x="3842" y="5382"/>
                </a:lnTo>
                <a:lnTo>
                  <a:pt x="3842" y="5382"/>
                </a:lnTo>
                <a:lnTo>
                  <a:pt x="3837" y="5393"/>
                </a:lnTo>
                <a:lnTo>
                  <a:pt x="3831" y="5402"/>
                </a:lnTo>
                <a:lnTo>
                  <a:pt x="3823" y="5410"/>
                </a:lnTo>
                <a:lnTo>
                  <a:pt x="3815" y="5418"/>
                </a:lnTo>
                <a:lnTo>
                  <a:pt x="3796" y="5434"/>
                </a:lnTo>
                <a:lnTo>
                  <a:pt x="3786" y="5442"/>
                </a:lnTo>
                <a:lnTo>
                  <a:pt x="3776" y="5451"/>
                </a:lnTo>
                <a:lnTo>
                  <a:pt x="3767" y="5460"/>
                </a:lnTo>
                <a:lnTo>
                  <a:pt x="3758" y="5472"/>
                </a:lnTo>
                <a:lnTo>
                  <a:pt x="3750" y="5485"/>
                </a:lnTo>
                <a:lnTo>
                  <a:pt x="3742" y="5499"/>
                </a:lnTo>
                <a:lnTo>
                  <a:pt x="3736" y="5517"/>
                </a:lnTo>
                <a:lnTo>
                  <a:pt x="3732" y="5536"/>
                </a:lnTo>
                <a:lnTo>
                  <a:pt x="3730" y="5558"/>
                </a:lnTo>
                <a:lnTo>
                  <a:pt x="3730" y="5584"/>
                </a:lnTo>
                <a:lnTo>
                  <a:pt x="3730" y="5584"/>
                </a:lnTo>
                <a:lnTo>
                  <a:pt x="3732" y="5597"/>
                </a:lnTo>
                <a:lnTo>
                  <a:pt x="3735" y="5610"/>
                </a:lnTo>
                <a:lnTo>
                  <a:pt x="3739" y="5622"/>
                </a:lnTo>
                <a:lnTo>
                  <a:pt x="3744" y="5634"/>
                </a:lnTo>
                <a:lnTo>
                  <a:pt x="3751" y="5644"/>
                </a:lnTo>
                <a:lnTo>
                  <a:pt x="3757" y="5656"/>
                </a:lnTo>
                <a:lnTo>
                  <a:pt x="3763" y="5665"/>
                </a:lnTo>
                <a:lnTo>
                  <a:pt x="3770" y="5674"/>
                </a:lnTo>
                <a:lnTo>
                  <a:pt x="3784" y="5689"/>
                </a:lnTo>
                <a:lnTo>
                  <a:pt x="3797" y="5701"/>
                </a:lnTo>
                <a:lnTo>
                  <a:pt x="3807" y="5708"/>
                </a:lnTo>
                <a:lnTo>
                  <a:pt x="3810" y="5710"/>
                </a:lnTo>
                <a:lnTo>
                  <a:pt x="3813" y="5711"/>
                </a:lnTo>
                <a:lnTo>
                  <a:pt x="3813" y="5711"/>
                </a:lnTo>
                <a:lnTo>
                  <a:pt x="3814" y="5710"/>
                </a:lnTo>
                <a:lnTo>
                  <a:pt x="3815" y="5709"/>
                </a:lnTo>
                <a:lnTo>
                  <a:pt x="3816" y="5704"/>
                </a:lnTo>
                <a:lnTo>
                  <a:pt x="3818" y="5696"/>
                </a:lnTo>
                <a:lnTo>
                  <a:pt x="3818" y="5686"/>
                </a:lnTo>
                <a:lnTo>
                  <a:pt x="3820" y="5662"/>
                </a:lnTo>
                <a:lnTo>
                  <a:pt x="3823" y="5633"/>
                </a:lnTo>
                <a:lnTo>
                  <a:pt x="3825" y="5619"/>
                </a:lnTo>
                <a:lnTo>
                  <a:pt x="3828" y="5603"/>
                </a:lnTo>
                <a:lnTo>
                  <a:pt x="3831" y="5590"/>
                </a:lnTo>
                <a:lnTo>
                  <a:pt x="3836" y="5577"/>
                </a:lnTo>
                <a:lnTo>
                  <a:pt x="3843" y="5566"/>
                </a:lnTo>
                <a:lnTo>
                  <a:pt x="3847" y="5562"/>
                </a:lnTo>
                <a:lnTo>
                  <a:pt x="3851" y="5556"/>
                </a:lnTo>
                <a:lnTo>
                  <a:pt x="3855" y="5553"/>
                </a:lnTo>
                <a:lnTo>
                  <a:pt x="3860" y="5550"/>
                </a:lnTo>
                <a:lnTo>
                  <a:pt x="3865" y="5547"/>
                </a:lnTo>
                <a:lnTo>
                  <a:pt x="3871" y="5546"/>
                </a:lnTo>
                <a:lnTo>
                  <a:pt x="3871" y="5546"/>
                </a:lnTo>
                <a:lnTo>
                  <a:pt x="3877" y="5545"/>
                </a:lnTo>
                <a:lnTo>
                  <a:pt x="3882" y="5546"/>
                </a:lnTo>
                <a:lnTo>
                  <a:pt x="3888" y="5548"/>
                </a:lnTo>
                <a:lnTo>
                  <a:pt x="3892" y="5552"/>
                </a:lnTo>
                <a:lnTo>
                  <a:pt x="3902" y="5561"/>
                </a:lnTo>
                <a:lnTo>
                  <a:pt x="3911" y="5571"/>
                </a:lnTo>
                <a:lnTo>
                  <a:pt x="3921" y="5581"/>
                </a:lnTo>
                <a:lnTo>
                  <a:pt x="3926" y="5586"/>
                </a:lnTo>
                <a:lnTo>
                  <a:pt x="3933" y="5590"/>
                </a:lnTo>
                <a:lnTo>
                  <a:pt x="3940" y="5594"/>
                </a:lnTo>
                <a:lnTo>
                  <a:pt x="3946" y="5597"/>
                </a:lnTo>
                <a:lnTo>
                  <a:pt x="3954" y="5598"/>
                </a:lnTo>
                <a:lnTo>
                  <a:pt x="3962" y="5599"/>
                </a:lnTo>
                <a:lnTo>
                  <a:pt x="3962" y="5599"/>
                </a:lnTo>
                <a:lnTo>
                  <a:pt x="3970" y="5598"/>
                </a:lnTo>
                <a:lnTo>
                  <a:pt x="3979" y="5595"/>
                </a:lnTo>
                <a:lnTo>
                  <a:pt x="3987" y="5592"/>
                </a:lnTo>
                <a:lnTo>
                  <a:pt x="3996" y="5588"/>
                </a:lnTo>
                <a:lnTo>
                  <a:pt x="4005" y="5582"/>
                </a:lnTo>
                <a:lnTo>
                  <a:pt x="4014" y="5576"/>
                </a:lnTo>
                <a:lnTo>
                  <a:pt x="4035" y="5559"/>
                </a:lnTo>
                <a:lnTo>
                  <a:pt x="4055" y="5542"/>
                </a:lnTo>
                <a:lnTo>
                  <a:pt x="4077" y="5522"/>
                </a:lnTo>
                <a:lnTo>
                  <a:pt x="4122" y="5479"/>
                </a:lnTo>
                <a:lnTo>
                  <a:pt x="4144" y="5457"/>
                </a:lnTo>
                <a:lnTo>
                  <a:pt x="4166" y="5437"/>
                </a:lnTo>
                <a:lnTo>
                  <a:pt x="4187" y="5417"/>
                </a:lnTo>
                <a:lnTo>
                  <a:pt x="4208" y="5402"/>
                </a:lnTo>
                <a:lnTo>
                  <a:pt x="4227" y="5389"/>
                </a:lnTo>
                <a:lnTo>
                  <a:pt x="4236" y="5384"/>
                </a:lnTo>
                <a:lnTo>
                  <a:pt x="4245" y="5380"/>
                </a:lnTo>
                <a:lnTo>
                  <a:pt x="4254" y="5376"/>
                </a:lnTo>
                <a:lnTo>
                  <a:pt x="4262" y="5374"/>
                </a:lnTo>
                <a:lnTo>
                  <a:pt x="4270" y="5374"/>
                </a:lnTo>
                <a:lnTo>
                  <a:pt x="4277" y="5375"/>
                </a:lnTo>
                <a:lnTo>
                  <a:pt x="4277" y="5375"/>
                </a:lnTo>
                <a:lnTo>
                  <a:pt x="4278" y="5376"/>
                </a:lnTo>
                <a:lnTo>
                  <a:pt x="4279" y="5379"/>
                </a:lnTo>
                <a:lnTo>
                  <a:pt x="4278" y="5382"/>
                </a:lnTo>
                <a:lnTo>
                  <a:pt x="4277" y="5384"/>
                </a:lnTo>
                <a:lnTo>
                  <a:pt x="4272" y="5391"/>
                </a:lnTo>
                <a:lnTo>
                  <a:pt x="4264" y="5399"/>
                </a:lnTo>
                <a:lnTo>
                  <a:pt x="4241" y="5420"/>
                </a:lnTo>
                <a:lnTo>
                  <a:pt x="4212" y="5447"/>
                </a:lnTo>
                <a:lnTo>
                  <a:pt x="4181" y="5477"/>
                </a:lnTo>
                <a:lnTo>
                  <a:pt x="4167" y="5492"/>
                </a:lnTo>
                <a:lnTo>
                  <a:pt x="4152" y="5508"/>
                </a:lnTo>
                <a:lnTo>
                  <a:pt x="4140" y="5525"/>
                </a:lnTo>
                <a:lnTo>
                  <a:pt x="4129" y="5542"/>
                </a:lnTo>
                <a:lnTo>
                  <a:pt x="4121" y="5558"/>
                </a:lnTo>
                <a:lnTo>
                  <a:pt x="4118" y="5567"/>
                </a:lnTo>
                <a:lnTo>
                  <a:pt x="4116" y="5576"/>
                </a:lnTo>
                <a:lnTo>
                  <a:pt x="4116" y="5576"/>
                </a:lnTo>
                <a:lnTo>
                  <a:pt x="4114" y="5588"/>
                </a:lnTo>
                <a:lnTo>
                  <a:pt x="4114" y="5599"/>
                </a:lnTo>
                <a:lnTo>
                  <a:pt x="4115" y="5611"/>
                </a:lnTo>
                <a:lnTo>
                  <a:pt x="4119" y="5620"/>
                </a:lnTo>
                <a:lnTo>
                  <a:pt x="4123" y="5628"/>
                </a:lnTo>
                <a:lnTo>
                  <a:pt x="4129" y="5636"/>
                </a:lnTo>
                <a:lnTo>
                  <a:pt x="4135" y="5643"/>
                </a:lnTo>
                <a:lnTo>
                  <a:pt x="4142" y="5649"/>
                </a:lnTo>
                <a:lnTo>
                  <a:pt x="4157" y="5663"/>
                </a:lnTo>
                <a:lnTo>
                  <a:pt x="4163" y="5669"/>
                </a:lnTo>
                <a:lnTo>
                  <a:pt x="4169" y="5676"/>
                </a:lnTo>
                <a:lnTo>
                  <a:pt x="4175" y="5683"/>
                </a:lnTo>
                <a:lnTo>
                  <a:pt x="4179" y="5690"/>
                </a:lnTo>
                <a:lnTo>
                  <a:pt x="4182" y="5699"/>
                </a:lnTo>
                <a:lnTo>
                  <a:pt x="4183" y="5708"/>
                </a:lnTo>
                <a:lnTo>
                  <a:pt x="4183" y="5708"/>
                </a:lnTo>
                <a:lnTo>
                  <a:pt x="4184" y="5718"/>
                </a:lnTo>
                <a:lnTo>
                  <a:pt x="4186" y="5729"/>
                </a:lnTo>
                <a:lnTo>
                  <a:pt x="4189" y="5738"/>
                </a:lnTo>
                <a:lnTo>
                  <a:pt x="4193" y="5749"/>
                </a:lnTo>
                <a:lnTo>
                  <a:pt x="4198" y="5758"/>
                </a:lnTo>
                <a:lnTo>
                  <a:pt x="4205" y="5767"/>
                </a:lnTo>
                <a:lnTo>
                  <a:pt x="4212" y="5775"/>
                </a:lnTo>
                <a:lnTo>
                  <a:pt x="4220" y="5783"/>
                </a:lnTo>
                <a:lnTo>
                  <a:pt x="4228" y="5792"/>
                </a:lnTo>
                <a:lnTo>
                  <a:pt x="4237" y="5799"/>
                </a:lnTo>
                <a:lnTo>
                  <a:pt x="4257" y="5812"/>
                </a:lnTo>
                <a:lnTo>
                  <a:pt x="4278" y="5824"/>
                </a:lnTo>
                <a:lnTo>
                  <a:pt x="4300" y="5835"/>
                </a:lnTo>
                <a:lnTo>
                  <a:pt x="4322" y="5844"/>
                </a:lnTo>
                <a:lnTo>
                  <a:pt x="4344" y="5852"/>
                </a:lnTo>
                <a:lnTo>
                  <a:pt x="4364" y="5857"/>
                </a:lnTo>
                <a:lnTo>
                  <a:pt x="4382" y="5862"/>
                </a:lnTo>
                <a:lnTo>
                  <a:pt x="4399" y="5864"/>
                </a:lnTo>
                <a:lnTo>
                  <a:pt x="4412" y="5865"/>
                </a:lnTo>
                <a:lnTo>
                  <a:pt x="4421" y="5865"/>
                </a:lnTo>
                <a:lnTo>
                  <a:pt x="4424" y="5864"/>
                </a:lnTo>
                <a:lnTo>
                  <a:pt x="4426" y="5863"/>
                </a:lnTo>
                <a:lnTo>
                  <a:pt x="4426" y="5863"/>
                </a:lnTo>
                <a:lnTo>
                  <a:pt x="4427" y="5861"/>
                </a:lnTo>
                <a:lnTo>
                  <a:pt x="4427" y="5859"/>
                </a:lnTo>
                <a:lnTo>
                  <a:pt x="4425" y="5853"/>
                </a:lnTo>
                <a:lnTo>
                  <a:pt x="4420" y="5846"/>
                </a:lnTo>
                <a:lnTo>
                  <a:pt x="4412" y="5836"/>
                </a:lnTo>
                <a:lnTo>
                  <a:pt x="4393" y="5813"/>
                </a:lnTo>
                <a:lnTo>
                  <a:pt x="4369" y="5786"/>
                </a:lnTo>
                <a:lnTo>
                  <a:pt x="4358" y="5773"/>
                </a:lnTo>
                <a:lnTo>
                  <a:pt x="4348" y="5759"/>
                </a:lnTo>
                <a:lnTo>
                  <a:pt x="4339" y="5745"/>
                </a:lnTo>
                <a:lnTo>
                  <a:pt x="4330" y="5731"/>
                </a:lnTo>
                <a:lnTo>
                  <a:pt x="4325" y="5718"/>
                </a:lnTo>
                <a:lnTo>
                  <a:pt x="4324" y="5712"/>
                </a:lnTo>
                <a:lnTo>
                  <a:pt x="4323" y="5706"/>
                </a:lnTo>
                <a:lnTo>
                  <a:pt x="4323" y="5700"/>
                </a:lnTo>
                <a:lnTo>
                  <a:pt x="4324" y="5694"/>
                </a:lnTo>
                <a:lnTo>
                  <a:pt x="4326" y="5689"/>
                </a:lnTo>
                <a:lnTo>
                  <a:pt x="4329" y="5684"/>
                </a:lnTo>
                <a:lnTo>
                  <a:pt x="4329" y="5684"/>
                </a:lnTo>
                <a:lnTo>
                  <a:pt x="4333" y="5680"/>
                </a:lnTo>
                <a:lnTo>
                  <a:pt x="4337" y="5677"/>
                </a:lnTo>
                <a:lnTo>
                  <a:pt x="4343" y="5676"/>
                </a:lnTo>
                <a:lnTo>
                  <a:pt x="4347" y="5675"/>
                </a:lnTo>
                <a:lnTo>
                  <a:pt x="4352" y="5675"/>
                </a:lnTo>
                <a:lnTo>
                  <a:pt x="4358" y="5676"/>
                </a:lnTo>
                <a:lnTo>
                  <a:pt x="4370" y="5678"/>
                </a:lnTo>
                <a:lnTo>
                  <a:pt x="4384" y="5681"/>
                </a:lnTo>
                <a:lnTo>
                  <a:pt x="4392" y="5682"/>
                </a:lnTo>
                <a:lnTo>
                  <a:pt x="4399" y="5682"/>
                </a:lnTo>
                <a:lnTo>
                  <a:pt x="4408" y="5682"/>
                </a:lnTo>
                <a:lnTo>
                  <a:pt x="4416" y="5681"/>
                </a:lnTo>
                <a:lnTo>
                  <a:pt x="4425" y="5679"/>
                </a:lnTo>
                <a:lnTo>
                  <a:pt x="4436" y="5675"/>
                </a:lnTo>
                <a:lnTo>
                  <a:pt x="4436" y="5675"/>
                </a:lnTo>
                <a:lnTo>
                  <a:pt x="4437" y="5673"/>
                </a:lnTo>
                <a:lnTo>
                  <a:pt x="4438" y="5670"/>
                </a:lnTo>
                <a:lnTo>
                  <a:pt x="4438" y="5663"/>
                </a:lnTo>
                <a:lnTo>
                  <a:pt x="4436" y="5652"/>
                </a:lnTo>
                <a:lnTo>
                  <a:pt x="4434" y="5637"/>
                </a:lnTo>
                <a:lnTo>
                  <a:pt x="4431" y="5621"/>
                </a:lnTo>
                <a:lnTo>
                  <a:pt x="4428" y="5602"/>
                </a:lnTo>
                <a:lnTo>
                  <a:pt x="4426" y="5581"/>
                </a:lnTo>
                <a:lnTo>
                  <a:pt x="4426" y="5557"/>
                </a:lnTo>
                <a:lnTo>
                  <a:pt x="4428" y="5533"/>
                </a:lnTo>
                <a:lnTo>
                  <a:pt x="4431" y="5520"/>
                </a:lnTo>
                <a:lnTo>
                  <a:pt x="4434" y="5505"/>
                </a:lnTo>
                <a:lnTo>
                  <a:pt x="4437" y="5492"/>
                </a:lnTo>
                <a:lnTo>
                  <a:pt x="4441" y="5477"/>
                </a:lnTo>
                <a:lnTo>
                  <a:pt x="4446" y="5462"/>
                </a:lnTo>
                <a:lnTo>
                  <a:pt x="4453" y="5447"/>
                </a:lnTo>
                <a:lnTo>
                  <a:pt x="4460" y="5432"/>
                </a:lnTo>
                <a:lnTo>
                  <a:pt x="4469" y="5416"/>
                </a:lnTo>
                <a:lnTo>
                  <a:pt x="4479" y="5400"/>
                </a:lnTo>
                <a:lnTo>
                  <a:pt x="4490" y="5384"/>
                </a:lnTo>
                <a:lnTo>
                  <a:pt x="4503" y="5367"/>
                </a:lnTo>
                <a:lnTo>
                  <a:pt x="4516" y="5351"/>
                </a:lnTo>
                <a:lnTo>
                  <a:pt x="4533" y="5334"/>
                </a:lnTo>
                <a:lnTo>
                  <a:pt x="4550" y="5317"/>
                </a:lnTo>
                <a:lnTo>
                  <a:pt x="4550" y="5317"/>
                </a:lnTo>
                <a:lnTo>
                  <a:pt x="4557" y="5328"/>
                </a:lnTo>
                <a:lnTo>
                  <a:pt x="4566" y="5340"/>
                </a:lnTo>
                <a:lnTo>
                  <a:pt x="4578" y="5353"/>
                </a:lnTo>
                <a:lnTo>
                  <a:pt x="4586" y="5360"/>
                </a:lnTo>
                <a:lnTo>
                  <a:pt x="4594" y="5367"/>
                </a:lnTo>
                <a:lnTo>
                  <a:pt x="4603" y="5373"/>
                </a:lnTo>
                <a:lnTo>
                  <a:pt x="4614" y="5381"/>
                </a:lnTo>
                <a:lnTo>
                  <a:pt x="4624" y="5386"/>
                </a:lnTo>
                <a:lnTo>
                  <a:pt x="4636" y="5390"/>
                </a:lnTo>
                <a:lnTo>
                  <a:pt x="4648" y="5394"/>
                </a:lnTo>
                <a:lnTo>
                  <a:pt x="4662" y="5396"/>
                </a:lnTo>
                <a:lnTo>
                  <a:pt x="4662" y="5396"/>
                </a:lnTo>
                <a:lnTo>
                  <a:pt x="4668" y="5397"/>
                </a:lnTo>
                <a:lnTo>
                  <a:pt x="4673" y="5399"/>
                </a:lnTo>
                <a:lnTo>
                  <a:pt x="4677" y="5402"/>
                </a:lnTo>
                <a:lnTo>
                  <a:pt x="4681" y="5405"/>
                </a:lnTo>
                <a:lnTo>
                  <a:pt x="4685" y="5409"/>
                </a:lnTo>
                <a:lnTo>
                  <a:pt x="4688" y="5413"/>
                </a:lnTo>
                <a:lnTo>
                  <a:pt x="4692" y="5425"/>
                </a:lnTo>
                <a:lnTo>
                  <a:pt x="4696" y="5437"/>
                </a:lnTo>
                <a:lnTo>
                  <a:pt x="4698" y="5450"/>
                </a:lnTo>
                <a:lnTo>
                  <a:pt x="4698" y="5463"/>
                </a:lnTo>
                <a:lnTo>
                  <a:pt x="4698" y="5478"/>
                </a:lnTo>
                <a:lnTo>
                  <a:pt x="4696" y="5506"/>
                </a:lnTo>
                <a:lnTo>
                  <a:pt x="4694" y="5531"/>
                </a:lnTo>
                <a:lnTo>
                  <a:pt x="4692" y="5548"/>
                </a:lnTo>
                <a:lnTo>
                  <a:pt x="4692" y="5553"/>
                </a:lnTo>
                <a:lnTo>
                  <a:pt x="4693" y="5554"/>
                </a:lnTo>
                <a:lnTo>
                  <a:pt x="4694" y="5554"/>
                </a:lnTo>
                <a:lnTo>
                  <a:pt x="4694" y="5554"/>
                </a:lnTo>
                <a:lnTo>
                  <a:pt x="4697" y="5553"/>
                </a:lnTo>
                <a:lnTo>
                  <a:pt x="4702" y="5550"/>
                </a:lnTo>
                <a:lnTo>
                  <a:pt x="4708" y="5545"/>
                </a:lnTo>
                <a:lnTo>
                  <a:pt x="4714" y="5538"/>
                </a:lnTo>
                <a:lnTo>
                  <a:pt x="4721" y="5529"/>
                </a:lnTo>
                <a:lnTo>
                  <a:pt x="4729" y="5519"/>
                </a:lnTo>
                <a:lnTo>
                  <a:pt x="4736" y="5505"/>
                </a:lnTo>
                <a:lnTo>
                  <a:pt x="4743" y="5492"/>
                </a:lnTo>
                <a:lnTo>
                  <a:pt x="4751" y="5477"/>
                </a:lnTo>
                <a:lnTo>
                  <a:pt x="4758" y="5459"/>
                </a:lnTo>
                <a:lnTo>
                  <a:pt x="4763" y="5442"/>
                </a:lnTo>
                <a:lnTo>
                  <a:pt x="4768" y="5422"/>
                </a:lnTo>
                <a:lnTo>
                  <a:pt x="4771" y="5402"/>
                </a:lnTo>
                <a:lnTo>
                  <a:pt x="4773" y="5382"/>
                </a:lnTo>
                <a:lnTo>
                  <a:pt x="4772" y="5360"/>
                </a:lnTo>
                <a:lnTo>
                  <a:pt x="4770" y="5338"/>
                </a:lnTo>
                <a:lnTo>
                  <a:pt x="4770" y="5338"/>
                </a:lnTo>
                <a:lnTo>
                  <a:pt x="4778" y="5330"/>
                </a:lnTo>
                <a:lnTo>
                  <a:pt x="4798" y="5313"/>
                </a:lnTo>
                <a:lnTo>
                  <a:pt x="4809" y="5302"/>
                </a:lnTo>
                <a:lnTo>
                  <a:pt x="4819" y="5290"/>
                </a:lnTo>
                <a:lnTo>
                  <a:pt x="4827" y="5276"/>
                </a:lnTo>
                <a:lnTo>
                  <a:pt x="4830" y="5270"/>
                </a:lnTo>
                <a:lnTo>
                  <a:pt x="4832" y="5264"/>
                </a:lnTo>
                <a:lnTo>
                  <a:pt x="4832" y="5264"/>
                </a:lnTo>
                <a:lnTo>
                  <a:pt x="4834" y="5255"/>
                </a:lnTo>
                <a:lnTo>
                  <a:pt x="4835" y="5246"/>
                </a:lnTo>
                <a:lnTo>
                  <a:pt x="4836" y="5237"/>
                </a:lnTo>
                <a:lnTo>
                  <a:pt x="4835" y="5230"/>
                </a:lnTo>
                <a:lnTo>
                  <a:pt x="4834" y="5224"/>
                </a:lnTo>
                <a:lnTo>
                  <a:pt x="4832" y="5218"/>
                </a:lnTo>
                <a:lnTo>
                  <a:pt x="4830" y="5213"/>
                </a:lnTo>
                <a:lnTo>
                  <a:pt x="4827" y="5208"/>
                </a:lnTo>
                <a:lnTo>
                  <a:pt x="4819" y="5199"/>
                </a:lnTo>
                <a:lnTo>
                  <a:pt x="4810" y="5189"/>
                </a:lnTo>
                <a:lnTo>
                  <a:pt x="4800" y="5180"/>
                </a:lnTo>
                <a:lnTo>
                  <a:pt x="4789" y="5169"/>
                </a:lnTo>
                <a:lnTo>
                  <a:pt x="4778" y="5156"/>
                </a:lnTo>
                <a:lnTo>
                  <a:pt x="4772" y="5148"/>
                </a:lnTo>
                <a:lnTo>
                  <a:pt x="4767" y="5139"/>
                </a:lnTo>
                <a:lnTo>
                  <a:pt x="4762" y="5130"/>
                </a:lnTo>
                <a:lnTo>
                  <a:pt x="4757" y="5120"/>
                </a:lnTo>
                <a:lnTo>
                  <a:pt x="4753" y="5108"/>
                </a:lnTo>
                <a:lnTo>
                  <a:pt x="4749" y="5095"/>
                </a:lnTo>
                <a:lnTo>
                  <a:pt x="4744" y="5081"/>
                </a:lnTo>
                <a:lnTo>
                  <a:pt x="4741" y="5065"/>
                </a:lnTo>
                <a:lnTo>
                  <a:pt x="4738" y="5048"/>
                </a:lnTo>
                <a:lnTo>
                  <a:pt x="4736" y="5029"/>
                </a:lnTo>
                <a:lnTo>
                  <a:pt x="4735" y="5008"/>
                </a:lnTo>
                <a:lnTo>
                  <a:pt x="4734" y="4986"/>
                </a:lnTo>
                <a:lnTo>
                  <a:pt x="4734" y="4961"/>
                </a:lnTo>
                <a:lnTo>
                  <a:pt x="4735" y="4935"/>
                </a:lnTo>
                <a:lnTo>
                  <a:pt x="4735" y="4935"/>
                </a:lnTo>
                <a:lnTo>
                  <a:pt x="4735" y="4917"/>
                </a:lnTo>
                <a:lnTo>
                  <a:pt x="4734" y="4911"/>
                </a:lnTo>
                <a:lnTo>
                  <a:pt x="4733" y="4906"/>
                </a:lnTo>
                <a:lnTo>
                  <a:pt x="4731" y="4901"/>
                </a:lnTo>
                <a:lnTo>
                  <a:pt x="4729" y="4897"/>
                </a:lnTo>
                <a:lnTo>
                  <a:pt x="4727" y="4894"/>
                </a:lnTo>
                <a:lnTo>
                  <a:pt x="4724" y="4891"/>
                </a:lnTo>
                <a:lnTo>
                  <a:pt x="4716" y="4885"/>
                </a:lnTo>
                <a:lnTo>
                  <a:pt x="4706" y="4878"/>
                </a:lnTo>
                <a:lnTo>
                  <a:pt x="4693" y="4868"/>
                </a:lnTo>
                <a:lnTo>
                  <a:pt x="4679" y="4856"/>
                </a:lnTo>
                <a:lnTo>
                  <a:pt x="4679" y="4856"/>
                </a:lnTo>
                <a:lnTo>
                  <a:pt x="4671" y="4846"/>
                </a:lnTo>
                <a:lnTo>
                  <a:pt x="4664" y="4836"/>
                </a:lnTo>
                <a:lnTo>
                  <a:pt x="4659" y="4825"/>
                </a:lnTo>
                <a:lnTo>
                  <a:pt x="4655" y="4815"/>
                </a:lnTo>
                <a:lnTo>
                  <a:pt x="4654" y="4807"/>
                </a:lnTo>
                <a:lnTo>
                  <a:pt x="4654" y="4804"/>
                </a:lnTo>
                <a:lnTo>
                  <a:pt x="4654" y="4802"/>
                </a:lnTo>
                <a:lnTo>
                  <a:pt x="4657" y="4800"/>
                </a:lnTo>
                <a:lnTo>
                  <a:pt x="4659" y="4799"/>
                </a:lnTo>
                <a:lnTo>
                  <a:pt x="4661" y="4799"/>
                </a:lnTo>
                <a:lnTo>
                  <a:pt x="4665" y="4800"/>
                </a:lnTo>
                <a:lnTo>
                  <a:pt x="4665" y="4800"/>
                </a:lnTo>
                <a:lnTo>
                  <a:pt x="4679" y="4806"/>
                </a:lnTo>
                <a:lnTo>
                  <a:pt x="4693" y="4810"/>
                </a:lnTo>
                <a:lnTo>
                  <a:pt x="4708" y="4813"/>
                </a:lnTo>
                <a:lnTo>
                  <a:pt x="4723" y="4814"/>
                </a:lnTo>
                <a:lnTo>
                  <a:pt x="4737" y="4815"/>
                </a:lnTo>
                <a:lnTo>
                  <a:pt x="4752" y="4816"/>
                </a:lnTo>
                <a:lnTo>
                  <a:pt x="4765" y="4815"/>
                </a:lnTo>
                <a:lnTo>
                  <a:pt x="4778" y="4814"/>
                </a:lnTo>
                <a:lnTo>
                  <a:pt x="4802" y="4811"/>
                </a:lnTo>
                <a:lnTo>
                  <a:pt x="4819" y="4807"/>
                </a:lnTo>
                <a:lnTo>
                  <a:pt x="4835" y="4803"/>
                </a:lnTo>
                <a:lnTo>
                  <a:pt x="4835" y="4803"/>
                </a:lnTo>
                <a:lnTo>
                  <a:pt x="4844" y="4707"/>
                </a:lnTo>
                <a:lnTo>
                  <a:pt x="4849" y="4632"/>
                </a:lnTo>
                <a:lnTo>
                  <a:pt x="4851" y="4577"/>
                </a:lnTo>
                <a:lnTo>
                  <a:pt x="4851" y="4539"/>
                </a:lnTo>
                <a:lnTo>
                  <a:pt x="4849" y="4514"/>
                </a:lnTo>
                <a:lnTo>
                  <a:pt x="4847" y="4499"/>
                </a:lnTo>
                <a:lnTo>
                  <a:pt x="4845" y="4493"/>
                </a:lnTo>
                <a:lnTo>
                  <a:pt x="4844" y="4491"/>
                </a:lnTo>
                <a:lnTo>
                  <a:pt x="4844" y="4491"/>
                </a:lnTo>
                <a:lnTo>
                  <a:pt x="4825" y="4492"/>
                </a:lnTo>
                <a:lnTo>
                  <a:pt x="4808" y="4491"/>
                </a:lnTo>
                <a:lnTo>
                  <a:pt x="4791" y="4490"/>
                </a:lnTo>
                <a:lnTo>
                  <a:pt x="4776" y="4489"/>
                </a:lnTo>
                <a:lnTo>
                  <a:pt x="4763" y="4487"/>
                </a:lnTo>
                <a:lnTo>
                  <a:pt x="4750" y="4484"/>
                </a:lnTo>
                <a:lnTo>
                  <a:pt x="4737" y="4481"/>
                </a:lnTo>
                <a:lnTo>
                  <a:pt x="4726" y="4477"/>
                </a:lnTo>
                <a:lnTo>
                  <a:pt x="4716" y="4473"/>
                </a:lnTo>
                <a:lnTo>
                  <a:pt x="4707" y="4469"/>
                </a:lnTo>
                <a:lnTo>
                  <a:pt x="4698" y="4463"/>
                </a:lnTo>
                <a:lnTo>
                  <a:pt x="4690" y="4458"/>
                </a:lnTo>
                <a:lnTo>
                  <a:pt x="4683" y="4452"/>
                </a:lnTo>
                <a:lnTo>
                  <a:pt x="4676" y="4447"/>
                </a:lnTo>
                <a:lnTo>
                  <a:pt x="4665" y="4434"/>
                </a:lnTo>
                <a:lnTo>
                  <a:pt x="4665" y="4434"/>
                </a:lnTo>
                <a:lnTo>
                  <a:pt x="4677" y="4437"/>
                </a:lnTo>
                <a:lnTo>
                  <a:pt x="4690" y="4439"/>
                </a:lnTo>
                <a:lnTo>
                  <a:pt x="4717" y="4441"/>
                </a:lnTo>
                <a:lnTo>
                  <a:pt x="4742" y="4441"/>
                </a:lnTo>
                <a:lnTo>
                  <a:pt x="4768" y="4439"/>
                </a:lnTo>
                <a:lnTo>
                  <a:pt x="4790" y="4435"/>
                </a:lnTo>
                <a:lnTo>
                  <a:pt x="4812" y="4429"/>
                </a:lnTo>
                <a:lnTo>
                  <a:pt x="4821" y="4426"/>
                </a:lnTo>
                <a:lnTo>
                  <a:pt x="4829" y="4422"/>
                </a:lnTo>
                <a:lnTo>
                  <a:pt x="4838" y="4416"/>
                </a:lnTo>
                <a:lnTo>
                  <a:pt x="4844" y="4412"/>
                </a:lnTo>
                <a:lnTo>
                  <a:pt x="4844" y="4412"/>
                </a:lnTo>
                <a:lnTo>
                  <a:pt x="4843" y="4364"/>
                </a:lnTo>
                <a:lnTo>
                  <a:pt x="4841" y="4316"/>
                </a:lnTo>
                <a:lnTo>
                  <a:pt x="4838" y="4261"/>
                </a:lnTo>
                <a:lnTo>
                  <a:pt x="4833" y="4206"/>
                </a:lnTo>
                <a:lnTo>
                  <a:pt x="4831" y="4181"/>
                </a:lnTo>
                <a:lnTo>
                  <a:pt x="4828" y="4159"/>
                </a:lnTo>
                <a:lnTo>
                  <a:pt x="4825" y="4140"/>
                </a:lnTo>
                <a:lnTo>
                  <a:pt x="4822" y="4126"/>
                </a:lnTo>
                <a:lnTo>
                  <a:pt x="4820" y="4121"/>
                </a:lnTo>
                <a:lnTo>
                  <a:pt x="4818" y="4118"/>
                </a:lnTo>
                <a:lnTo>
                  <a:pt x="4816" y="4116"/>
                </a:lnTo>
                <a:lnTo>
                  <a:pt x="4814" y="4116"/>
                </a:lnTo>
                <a:lnTo>
                  <a:pt x="4814" y="4116"/>
                </a:lnTo>
                <a:lnTo>
                  <a:pt x="4786" y="4123"/>
                </a:lnTo>
                <a:lnTo>
                  <a:pt x="4760" y="4128"/>
                </a:lnTo>
                <a:lnTo>
                  <a:pt x="4746" y="4129"/>
                </a:lnTo>
                <a:lnTo>
                  <a:pt x="4734" y="4130"/>
                </a:lnTo>
                <a:lnTo>
                  <a:pt x="4722" y="4130"/>
                </a:lnTo>
                <a:lnTo>
                  <a:pt x="4711" y="4129"/>
                </a:lnTo>
                <a:lnTo>
                  <a:pt x="4698" y="4127"/>
                </a:lnTo>
                <a:lnTo>
                  <a:pt x="4687" y="4125"/>
                </a:lnTo>
                <a:lnTo>
                  <a:pt x="4675" y="4122"/>
                </a:lnTo>
                <a:lnTo>
                  <a:pt x="4664" y="4118"/>
                </a:lnTo>
                <a:lnTo>
                  <a:pt x="4652" y="4113"/>
                </a:lnTo>
                <a:lnTo>
                  <a:pt x="4640" y="4108"/>
                </a:lnTo>
                <a:lnTo>
                  <a:pt x="4629" y="4100"/>
                </a:lnTo>
                <a:lnTo>
                  <a:pt x="4618" y="4093"/>
                </a:lnTo>
                <a:lnTo>
                  <a:pt x="4618" y="4093"/>
                </a:lnTo>
                <a:lnTo>
                  <a:pt x="4613" y="4090"/>
                </a:lnTo>
                <a:lnTo>
                  <a:pt x="4608" y="4086"/>
                </a:lnTo>
                <a:lnTo>
                  <a:pt x="4602" y="4078"/>
                </a:lnTo>
                <a:lnTo>
                  <a:pt x="4597" y="4069"/>
                </a:lnTo>
                <a:lnTo>
                  <a:pt x="4594" y="4059"/>
                </a:lnTo>
                <a:lnTo>
                  <a:pt x="4592" y="4047"/>
                </a:lnTo>
                <a:lnTo>
                  <a:pt x="4591" y="4037"/>
                </a:lnTo>
                <a:lnTo>
                  <a:pt x="4590" y="4015"/>
                </a:lnTo>
                <a:lnTo>
                  <a:pt x="4589" y="3993"/>
                </a:lnTo>
                <a:lnTo>
                  <a:pt x="4587" y="3984"/>
                </a:lnTo>
                <a:lnTo>
                  <a:pt x="4585" y="3976"/>
                </a:lnTo>
                <a:lnTo>
                  <a:pt x="4581" y="3969"/>
                </a:lnTo>
                <a:lnTo>
                  <a:pt x="4575" y="3962"/>
                </a:lnTo>
                <a:lnTo>
                  <a:pt x="4571" y="3959"/>
                </a:lnTo>
                <a:lnTo>
                  <a:pt x="4567" y="3957"/>
                </a:lnTo>
                <a:lnTo>
                  <a:pt x="4561" y="3956"/>
                </a:lnTo>
                <a:lnTo>
                  <a:pt x="4556" y="3955"/>
                </a:lnTo>
                <a:lnTo>
                  <a:pt x="4556" y="3955"/>
                </a:lnTo>
                <a:lnTo>
                  <a:pt x="4534" y="3948"/>
                </a:lnTo>
                <a:lnTo>
                  <a:pt x="4511" y="3941"/>
                </a:lnTo>
                <a:lnTo>
                  <a:pt x="4489" y="3933"/>
                </a:lnTo>
                <a:lnTo>
                  <a:pt x="4468" y="3923"/>
                </a:lnTo>
                <a:lnTo>
                  <a:pt x="4448" y="3913"/>
                </a:lnTo>
                <a:lnTo>
                  <a:pt x="4428" y="3902"/>
                </a:lnTo>
                <a:lnTo>
                  <a:pt x="4410" y="3892"/>
                </a:lnTo>
                <a:lnTo>
                  <a:pt x="4394" y="3881"/>
                </a:lnTo>
                <a:lnTo>
                  <a:pt x="4377" y="3869"/>
                </a:lnTo>
                <a:lnTo>
                  <a:pt x="4363" y="3859"/>
                </a:lnTo>
                <a:lnTo>
                  <a:pt x="4337" y="3839"/>
                </a:lnTo>
                <a:lnTo>
                  <a:pt x="4318" y="3820"/>
                </a:lnTo>
                <a:lnTo>
                  <a:pt x="4306" y="3805"/>
                </a:lnTo>
                <a:lnTo>
                  <a:pt x="4306" y="3805"/>
                </a:lnTo>
                <a:lnTo>
                  <a:pt x="4297" y="3793"/>
                </a:lnTo>
                <a:lnTo>
                  <a:pt x="4288" y="3780"/>
                </a:lnTo>
                <a:lnTo>
                  <a:pt x="4282" y="3769"/>
                </a:lnTo>
                <a:lnTo>
                  <a:pt x="4277" y="3758"/>
                </a:lnTo>
                <a:lnTo>
                  <a:pt x="4273" y="3748"/>
                </a:lnTo>
                <a:lnTo>
                  <a:pt x="4270" y="3739"/>
                </a:lnTo>
                <a:lnTo>
                  <a:pt x="4266" y="3722"/>
                </a:lnTo>
                <a:lnTo>
                  <a:pt x="4265" y="3709"/>
                </a:lnTo>
                <a:lnTo>
                  <a:pt x="4265" y="3699"/>
                </a:lnTo>
                <a:lnTo>
                  <a:pt x="4266" y="3690"/>
                </a:lnTo>
                <a:lnTo>
                  <a:pt x="4266" y="3690"/>
                </a:lnTo>
                <a:lnTo>
                  <a:pt x="4284" y="3700"/>
                </a:lnTo>
                <a:lnTo>
                  <a:pt x="4302" y="3706"/>
                </a:lnTo>
                <a:lnTo>
                  <a:pt x="4321" y="3711"/>
                </a:lnTo>
                <a:lnTo>
                  <a:pt x="4340" y="3714"/>
                </a:lnTo>
                <a:lnTo>
                  <a:pt x="4358" y="3716"/>
                </a:lnTo>
                <a:lnTo>
                  <a:pt x="4377" y="3715"/>
                </a:lnTo>
                <a:lnTo>
                  <a:pt x="4396" y="3712"/>
                </a:lnTo>
                <a:lnTo>
                  <a:pt x="4414" y="3708"/>
                </a:lnTo>
                <a:lnTo>
                  <a:pt x="4434" y="3468"/>
                </a:lnTo>
                <a:lnTo>
                  <a:pt x="4434" y="3468"/>
                </a:lnTo>
                <a:lnTo>
                  <a:pt x="4425" y="3467"/>
                </a:lnTo>
                <a:lnTo>
                  <a:pt x="4405" y="3464"/>
                </a:lnTo>
                <a:lnTo>
                  <a:pt x="4392" y="3461"/>
                </a:lnTo>
                <a:lnTo>
                  <a:pt x="4377" y="3457"/>
                </a:lnTo>
                <a:lnTo>
                  <a:pt x="4362" y="3453"/>
                </a:lnTo>
                <a:lnTo>
                  <a:pt x="4348" y="3447"/>
                </a:lnTo>
                <a:lnTo>
                  <a:pt x="4348" y="3447"/>
                </a:lnTo>
                <a:lnTo>
                  <a:pt x="4339" y="3443"/>
                </a:lnTo>
                <a:lnTo>
                  <a:pt x="4331" y="3438"/>
                </a:lnTo>
                <a:lnTo>
                  <a:pt x="4323" y="3432"/>
                </a:lnTo>
                <a:lnTo>
                  <a:pt x="4316" y="3426"/>
                </a:lnTo>
                <a:lnTo>
                  <a:pt x="4302" y="3412"/>
                </a:lnTo>
                <a:lnTo>
                  <a:pt x="4289" y="3399"/>
                </a:lnTo>
                <a:lnTo>
                  <a:pt x="4280" y="3386"/>
                </a:lnTo>
                <a:lnTo>
                  <a:pt x="4273" y="3376"/>
                </a:lnTo>
                <a:lnTo>
                  <a:pt x="4267" y="3366"/>
                </a:lnTo>
                <a:lnTo>
                  <a:pt x="4267" y="3366"/>
                </a:lnTo>
                <a:lnTo>
                  <a:pt x="4274" y="3369"/>
                </a:lnTo>
                <a:lnTo>
                  <a:pt x="4293" y="3377"/>
                </a:lnTo>
                <a:lnTo>
                  <a:pt x="4321" y="3385"/>
                </a:lnTo>
                <a:lnTo>
                  <a:pt x="4339" y="3389"/>
                </a:lnTo>
                <a:lnTo>
                  <a:pt x="4356" y="3392"/>
                </a:lnTo>
                <a:lnTo>
                  <a:pt x="4356" y="3392"/>
                </a:lnTo>
                <a:lnTo>
                  <a:pt x="4375" y="3394"/>
                </a:lnTo>
                <a:lnTo>
                  <a:pt x="4392" y="3395"/>
                </a:lnTo>
                <a:lnTo>
                  <a:pt x="4407" y="3393"/>
                </a:lnTo>
                <a:lnTo>
                  <a:pt x="4419" y="3391"/>
                </a:lnTo>
                <a:lnTo>
                  <a:pt x="4430" y="3389"/>
                </a:lnTo>
                <a:lnTo>
                  <a:pt x="4438" y="3387"/>
                </a:lnTo>
                <a:lnTo>
                  <a:pt x="4444" y="3384"/>
                </a:lnTo>
                <a:lnTo>
                  <a:pt x="4477" y="3113"/>
                </a:lnTo>
                <a:lnTo>
                  <a:pt x="4477" y="3113"/>
                </a:lnTo>
                <a:lnTo>
                  <a:pt x="4451" y="3114"/>
                </a:lnTo>
                <a:lnTo>
                  <a:pt x="4427" y="3113"/>
                </a:lnTo>
                <a:lnTo>
                  <a:pt x="4408" y="3111"/>
                </a:lnTo>
                <a:lnTo>
                  <a:pt x="4392" y="3106"/>
                </a:lnTo>
                <a:lnTo>
                  <a:pt x="4377" y="3100"/>
                </a:lnTo>
                <a:lnTo>
                  <a:pt x="4365" y="3093"/>
                </a:lnTo>
                <a:lnTo>
                  <a:pt x="4356" y="3085"/>
                </a:lnTo>
                <a:lnTo>
                  <a:pt x="4348" y="3077"/>
                </a:lnTo>
                <a:lnTo>
                  <a:pt x="4343" y="3069"/>
                </a:lnTo>
                <a:lnTo>
                  <a:pt x="4337" y="3060"/>
                </a:lnTo>
                <a:lnTo>
                  <a:pt x="4335" y="3051"/>
                </a:lnTo>
                <a:lnTo>
                  <a:pt x="4333" y="3043"/>
                </a:lnTo>
                <a:lnTo>
                  <a:pt x="4332" y="3035"/>
                </a:lnTo>
                <a:lnTo>
                  <a:pt x="4331" y="3029"/>
                </a:lnTo>
                <a:lnTo>
                  <a:pt x="4332" y="3020"/>
                </a:lnTo>
                <a:lnTo>
                  <a:pt x="4332" y="3020"/>
                </a:lnTo>
                <a:lnTo>
                  <a:pt x="4357" y="3015"/>
                </a:lnTo>
                <a:lnTo>
                  <a:pt x="4381" y="3009"/>
                </a:lnTo>
                <a:lnTo>
                  <a:pt x="4405" y="3001"/>
                </a:lnTo>
                <a:lnTo>
                  <a:pt x="4428" y="2994"/>
                </a:lnTo>
                <a:lnTo>
                  <a:pt x="4451" y="2985"/>
                </a:lnTo>
                <a:lnTo>
                  <a:pt x="4473" y="2975"/>
                </a:lnTo>
                <a:lnTo>
                  <a:pt x="4495" y="2964"/>
                </a:lnTo>
                <a:lnTo>
                  <a:pt x="4515" y="2951"/>
                </a:lnTo>
                <a:lnTo>
                  <a:pt x="4536" y="2939"/>
                </a:lnTo>
                <a:lnTo>
                  <a:pt x="4555" y="2926"/>
                </a:lnTo>
                <a:lnTo>
                  <a:pt x="4574" y="2911"/>
                </a:lnTo>
                <a:lnTo>
                  <a:pt x="4592" y="2896"/>
                </a:lnTo>
                <a:lnTo>
                  <a:pt x="4609" y="2881"/>
                </a:lnTo>
                <a:lnTo>
                  <a:pt x="4627" y="2864"/>
                </a:lnTo>
                <a:lnTo>
                  <a:pt x="4642" y="2848"/>
                </a:lnTo>
                <a:lnTo>
                  <a:pt x="4659" y="2831"/>
                </a:lnTo>
                <a:lnTo>
                  <a:pt x="4673" y="2812"/>
                </a:lnTo>
                <a:lnTo>
                  <a:pt x="4688" y="2794"/>
                </a:lnTo>
                <a:lnTo>
                  <a:pt x="4702" y="2775"/>
                </a:lnTo>
                <a:lnTo>
                  <a:pt x="4715" y="2756"/>
                </a:lnTo>
                <a:lnTo>
                  <a:pt x="4727" y="2737"/>
                </a:lnTo>
                <a:lnTo>
                  <a:pt x="4738" y="2717"/>
                </a:lnTo>
                <a:lnTo>
                  <a:pt x="4750" y="2698"/>
                </a:lnTo>
                <a:lnTo>
                  <a:pt x="4760" y="2677"/>
                </a:lnTo>
                <a:lnTo>
                  <a:pt x="4770" y="2657"/>
                </a:lnTo>
                <a:lnTo>
                  <a:pt x="4779" y="2636"/>
                </a:lnTo>
                <a:lnTo>
                  <a:pt x="4787" y="2616"/>
                </a:lnTo>
                <a:lnTo>
                  <a:pt x="4796" y="2595"/>
                </a:lnTo>
                <a:lnTo>
                  <a:pt x="4803" y="2575"/>
                </a:lnTo>
                <a:lnTo>
                  <a:pt x="4809" y="2555"/>
                </a:lnTo>
                <a:lnTo>
                  <a:pt x="4815" y="2534"/>
                </a:lnTo>
                <a:lnTo>
                  <a:pt x="4820" y="2515"/>
                </a:lnTo>
                <a:lnTo>
                  <a:pt x="4820" y="2515"/>
                </a:lnTo>
                <a:lnTo>
                  <a:pt x="4831" y="2521"/>
                </a:lnTo>
                <a:lnTo>
                  <a:pt x="4847" y="2527"/>
                </a:lnTo>
                <a:lnTo>
                  <a:pt x="4864" y="2533"/>
                </a:lnTo>
                <a:lnTo>
                  <a:pt x="4882" y="2538"/>
                </a:lnTo>
                <a:lnTo>
                  <a:pt x="4903" y="2541"/>
                </a:lnTo>
                <a:lnTo>
                  <a:pt x="4913" y="2542"/>
                </a:lnTo>
                <a:lnTo>
                  <a:pt x="4923" y="2543"/>
                </a:lnTo>
                <a:lnTo>
                  <a:pt x="4935" y="2542"/>
                </a:lnTo>
                <a:lnTo>
                  <a:pt x="4945" y="2541"/>
                </a:lnTo>
                <a:lnTo>
                  <a:pt x="4955" y="2539"/>
                </a:lnTo>
                <a:lnTo>
                  <a:pt x="4965" y="2536"/>
                </a:lnTo>
                <a:lnTo>
                  <a:pt x="4965" y="2536"/>
                </a:lnTo>
                <a:lnTo>
                  <a:pt x="4967" y="2508"/>
                </a:lnTo>
                <a:lnTo>
                  <a:pt x="4970" y="2441"/>
                </a:lnTo>
                <a:lnTo>
                  <a:pt x="4972" y="2405"/>
                </a:lnTo>
                <a:lnTo>
                  <a:pt x="4973" y="2371"/>
                </a:lnTo>
                <a:lnTo>
                  <a:pt x="4972" y="2343"/>
                </a:lnTo>
                <a:lnTo>
                  <a:pt x="4972" y="2333"/>
                </a:lnTo>
                <a:lnTo>
                  <a:pt x="4970" y="2327"/>
                </a:lnTo>
                <a:lnTo>
                  <a:pt x="4970" y="2327"/>
                </a:lnTo>
                <a:lnTo>
                  <a:pt x="4955" y="2325"/>
                </a:lnTo>
                <a:lnTo>
                  <a:pt x="4938" y="2322"/>
                </a:lnTo>
                <a:lnTo>
                  <a:pt x="4919" y="2317"/>
                </a:lnTo>
                <a:lnTo>
                  <a:pt x="4911" y="2314"/>
                </a:lnTo>
                <a:lnTo>
                  <a:pt x="4902" y="2311"/>
                </a:lnTo>
                <a:lnTo>
                  <a:pt x="4893" y="2306"/>
                </a:lnTo>
                <a:lnTo>
                  <a:pt x="4885" y="2302"/>
                </a:lnTo>
                <a:lnTo>
                  <a:pt x="4876" y="2296"/>
                </a:lnTo>
                <a:lnTo>
                  <a:pt x="4868" y="2289"/>
                </a:lnTo>
                <a:lnTo>
                  <a:pt x="4861" y="2282"/>
                </a:lnTo>
                <a:lnTo>
                  <a:pt x="4854" y="2273"/>
                </a:lnTo>
                <a:lnTo>
                  <a:pt x="4848" y="2264"/>
                </a:lnTo>
                <a:lnTo>
                  <a:pt x="4842" y="225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86" name="Freeform 37"/>
          <p:cNvSpPr>
            <a:spLocks/>
          </p:cNvSpPr>
          <p:nvPr userDrawn="1"/>
        </p:nvSpPr>
        <p:spPr bwMode="auto">
          <a:xfrm>
            <a:off x="8332788" y="-385340"/>
            <a:ext cx="276225" cy="73025"/>
          </a:xfrm>
          <a:custGeom>
            <a:avLst/>
            <a:gdLst>
              <a:gd name="T0" fmla="*/ 0 w 349"/>
              <a:gd name="T1" fmla="*/ 34 h 91"/>
              <a:gd name="T2" fmla="*/ 0 w 349"/>
              <a:gd name="T3" fmla="*/ 34 h 91"/>
              <a:gd name="T4" fmla="*/ 20 w 349"/>
              <a:gd name="T5" fmla="*/ 49 h 91"/>
              <a:gd name="T6" fmla="*/ 38 w 349"/>
              <a:gd name="T7" fmla="*/ 60 h 91"/>
              <a:gd name="T8" fmla="*/ 38 w 349"/>
              <a:gd name="T9" fmla="*/ 60 h 91"/>
              <a:gd name="T10" fmla="*/ 69 w 349"/>
              <a:gd name="T11" fmla="*/ 71 h 91"/>
              <a:gd name="T12" fmla="*/ 89 w 349"/>
              <a:gd name="T13" fmla="*/ 78 h 91"/>
              <a:gd name="T14" fmla="*/ 111 w 349"/>
              <a:gd name="T15" fmla="*/ 84 h 91"/>
              <a:gd name="T16" fmla="*/ 137 w 349"/>
              <a:gd name="T17" fmla="*/ 87 h 91"/>
              <a:gd name="T18" fmla="*/ 164 w 349"/>
              <a:gd name="T19" fmla="*/ 91 h 91"/>
              <a:gd name="T20" fmla="*/ 194 w 349"/>
              <a:gd name="T21" fmla="*/ 91 h 91"/>
              <a:gd name="T22" fmla="*/ 226 w 349"/>
              <a:gd name="T23" fmla="*/ 89 h 91"/>
              <a:gd name="T24" fmla="*/ 226 w 349"/>
              <a:gd name="T25" fmla="*/ 89 h 91"/>
              <a:gd name="T26" fmla="*/ 256 w 349"/>
              <a:gd name="T27" fmla="*/ 86 h 91"/>
              <a:gd name="T28" fmla="*/ 279 w 349"/>
              <a:gd name="T29" fmla="*/ 80 h 91"/>
              <a:gd name="T30" fmla="*/ 301 w 349"/>
              <a:gd name="T31" fmla="*/ 75 h 91"/>
              <a:gd name="T32" fmla="*/ 318 w 349"/>
              <a:gd name="T33" fmla="*/ 69 h 91"/>
              <a:gd name="T34" fmla="*/ 342 w 349"/>
              <a:gd name="T35" fmla="*/ 56 h 91"/>
              <a:gd name="T36" fmla="*/ 349 w 349"/>
              <a:gd name="T37" fmla="*/ 53 h 91"/>
              <a:gd name="T38" fmla="*/ 349 w 349"/>
              <a:gd name="T39" fmla="*/ 53 h 91"/>
              <a:gd name="T40" fmla="*/ 338 w 349"/>
              <a:gd name="T41" fmla="*/ 49 h 91"/>
              <a:gd name="T42" fmla="*/ 329 w 349"/>
              <a:gd name="T43" fmla="*/ 44 h 91"/>
              <a:gd name="T44" fmla="*/ 314 w 349"/>
              <a:gd name="T45" fmla="*/ 31 h 91"/>
              <a:gd name="T46" fmla="*/ 314 w 349"/>
              <a:gd name="T47" fmla="*/ 31 h 91"/>
              <a:gd name="T48" fmla="*/ 312 w 349"/>
              <a:gd name="T49" fmla="*/ 38 h 91"/>
              <a:gd name="T50" fmla="*/ 312 w 349"/>
              <a:gd name="T51" fmla="*/ 38 h 91"/>
              <a:gd name="T52" fmla="*/ 311 w 349"/>
              <a:gd name="T53" fmla="*/ 51 h 91"/>
              <a:gd name="T54" fmla="*/ 311 w 349"/>
              <a:gd name="T55" fmla="*/ 51 h 91"/>
              <a:gd name="T56" fmla="*/ 303 w 349"/>
              <a:gd name="T57" fmla="*/ 49 h 91"/>
              <a:gd name="T58" fmla="*/ 303 w 349"/>
              <a:gd name="T59" fmla="*/ 49 h 91"/>
              <a:gd name="T60" fmla="*/ 298 w 349"/>
              <a:gd name="T61" fmla="*/ 45 h 91"/>
              <a:gd name="T62" fmla="*/ 292 w 349"/>
              <a:gd name="T63" fmla="*/ 40 h 91"/>
              <a:gd name="T64" fmla="*/ 289 w 349"/>
              <a:gd name="T65" fmla="*/ 33 h 91"/>
              <a:gd name="T66" fmla="*/ 287 w 349"/>
              <a:gd name="T67" fmla="*/ 23 h 91"/>
              <a:gd name="T68" fmla="*/ 287 w 349"/>
              <a:gd name="T69" fmla="*/ 23 h 91"/>
              <a:gd name="T70" fmla="*/ 287 w 349"/>
              <a:gd name="T71" fmla="*/ 22 h 91"/>
              <a:gd name="T72" fmla="*/ 287 w 349"/>
              <a:gd name="T73" fmla="*/ 22 h 91"/>
              <a:gd name="T74" fmla="*/ 272 w 349"/>
              <a:gd name="T75" fmla="*/ 27 h 91"/>
              <a:gd name="T76" fmla="*/ 252 w 349"/>
              <a:gd name="T77" fmla="*/ 33 h 91"/>
              <a:gd name="T78" fmla="*/ 228 w 349"/>
              <a:gd name="T79" fmla="*/ 38 h 91"/>
              <a:gd name="T80" fmla="*/ 205 w 349"/>
              <a:gd name="T81" fmla="*/ 40 h 91"/>
              <a:gd name="T82" fmla="*/ 205 w 349"/>
              <a:gd name="T83" fmla="*/ 40 h 91"/>
              <a:gd name="T84" fmla="*/ 161 w 349"/>
              <a:gd name="T85" fmla="*/ 38 h 91"/>
              <a:gd name="T86" fmla="*/ 139 w 349"/>
              <a:gd name="T87" fmla="*/ 36 h 91"/>
              <a:gd name="T88" fmla="*/ 117 w 349"/>
              <a:gd name="T89" fmla="*/ 33 h 91"/>
              <a:gd name="T90" fmla="*/ 95 w 349"/>
              <a:gd name="T91" fmla="*/ 29 h 91"/>
              <a:gd name="T92" fmla="*/ 73 w 349"/>
              <a:gd name="T93" fmla="*/ 22 h 91"/>
              <a:gd name="T94" fmla="*/ 51 w 349"/>
              <a:gd name="T95" fmla="*/ 14 h 91"/>
              <a:gd name="T96" fmla="*/ 31 w 349"/>
              <a:gd name="T97" fmla="*/ 7 h 91"/>
              <a:gd name="T98" fmla="*/ 31 w 349"/>
              <a:gd name="T99" fmla="*/ 7 h 91"/>
              <a:gd name="T100" fmla="*/ 15 w 349"/>
              <a:gd name="T101" fmla="*/ 0 h 91"/>
              <a:gd name="T102" fmla="*/ 15 w 349"/>
              <a:gd name="T103" fmla="*/ 0 h 91"/>
              <a:gd name="T104" fmla="*/ 15 w 349"/>
              <a:gd name="T105" fmla="*/ 1 h 91"/>
              <a:gd name="T106" fmla="*/ 15 w 349"/>
              <a:gd name="T107" fmla="*/ 5 h 91"/>
              <a:gd name="T108" fmla="*/ 18 w 349"/>
              <a:gd name="T109" fmla="*/ 14 h 91"/>
              <a:gd name="T110" fmla="*/ 25 w 349"/>
              <a:gd name="T111" fmla="*/ 25 h 91"/>
              <a:gd name="T112" fmla="*/ 25 w 349"/>
              <a:gd name="T113" fmla="*/ 25 h 91"/>
              <a:gd name="T114" fmla="*/ 16 w 349"/>
              <a:gd name="T115" fmla="*/ 23 h 91"/>
              <a:gd name="T116" fmla="*/ 7 w 349"/>
              <a:gd name="T117" fmla="*/ 27 h 91"/>
              <a:gd name="T118" fmla="*/ 7 w 349"/>
              <a:gd name="T119" fmla="*/ 27 h 91"/>
              <a:gd name="T120" fmla="*/ 2 w 349"/>
              <a:gd name="T121" fmla="*/ 31 h 91"/>
              <a:gd name="T122" fmla="*/ 0 w 349"/>
              <a:gd name="T123" fmla="*/ 3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9" h="91">
                <a:moveTo>
                  <a:pt x="0" y="34"/>
                </a:moveTo>
                <a:lnTo>
                  <a:pt x="0" y="34"/>
                </a:lnTo>
                <a:lnTo>
                  <a:pt x="20" y="49"/>
                </a:lnTo>
                <a:lnTo>
                  <a:pt x="38" y="60"/>
                </a:lnTo>
                <a:lnTo>
                  <a:pt x="38" y="60"/>
                </a:lnTo>
                <a:lnTo>
                  <a:pt x="69" y="71"/>
                </a:lnTo>
                <a:lnTo>
                  <a:pt x="89" y="78"/>
                </a:lnTo>
                <a:lnTo>
                  <a:pt x="111" y="84"/>
                </a:lnTo>
                <a:lnTo>
                  <a:pt x="137" y="87"/>
                </a:lnTo>
                <a:lnTo>
                  <a:pt x="164" y="91"/>
                </a:lnTo>
                <a:lnTo>
                  <a:pt x="194" y="91"/>
                </a:lnTo>
                <a:lnTo>
                  <a:pt x="226" y="89"/>
                </a:lnTo>
                <a:lnTo>
                  <a:pt x="226" y="89"/>
                </a:lnTo>
                <a:lnTo>
                  <a:pt x="256" y="86"/>
                </a:lnTo>
                <a:lnTo>
                  <a:pt x="279" y="80"/>
                </a:lnTo>
                <a:lnTo>
                  <a:pt x="301" y="75"/>
                </a:lnTo>
                <a:lnTo>
                  <a:pt x="318" y="69"/>
                </a:lnTo>
                <a:lnTo>
                  <a:pt x="342" y="56"/>
                </a:lnTo>
                <a:lnTo>
                  <a:pt x="349" y="53"/>
                </a:lnTo>
                <a:lnTo>
                  <a:pt x="349" y="53"/>
                </a:lnTo>
                <a:lnTo>
                  <a:pt x="338" y="49"/>
                </a:lnTo>
                <a:lnTo>
                  <a:pt x="329" y="44"/>
                </a:lnTo>
                <a:lnTo>
                  <a:pt x="314" y="31"/>
                </a:lnTo>
                <a:lnTo>
                  <a:pt x="314" y="31"/>
                </a:lnTo>
                <a:lnTo>
                  <a:pt x="312" y="38"/>
                </a:lnTo>
                <a:lnTo>
                  <a:pt x="312" y="38"/>
                </a:lnTo>
                <a:lnTo>
                  <a:pt x="311" y="51"/>
                </a:lnTo>
                <a:lnTo>
                  <a:pt x="311" y="51"/>
                </a:lnTo>
                <a:lnTo>
                  <a:pt x="303" y="49"/>
                </a:lnTo>
                <a:lnTo>
                  <a:pt x="303" y="49"/>
                </a:lnTo>
                <a:lnTo>
                  <a:pt x="298" y="45"/>
                </a:lnTo>
                <a:lnTo>
                  <a:pt x="292" y="40"/>
                </a:lnTo>
                <a:lnTo>
                  <a:pt x="289" y="33"/>
                </a:lnTo>
                <a:lnTo>
                  <a:pt x="287" y="23"/>
                </a:lnTo>
                <a:lnTo>
                  <a:pt x="287" y="23"/>
                </a:lnTo>
                <a:lnTo>
                  <a:pt x="287" y="22"/>
                </a:lnTo>
                <a:lnTo>
                  <a:pt x="287" y="22"/>
                </a:lnTo>
                <a:lnTo>
                  <a:pt x="272" y="27"/>
                </a:lnTo>
                <a:lnTo>
                  <a:pt x="252" y="33"/>
                </a:lnTo>
                <a:lnTo>
                  <a:pt x="228" y="38"/>
                </a:lnTo>
                <a:lnTo>
                  <a:pt x="205" y="40"/>
                </a:lnTo>
                <a:lnTo>
                  <a:pt x="205" y="40"/>
                </a:lnTo>
                <a:lnTo>
                  <a:pt x="161" y="38"/>
                </a:lnTo>
                <a:lnTo>
                  <a:pt x="139" y="36"/>
                </a:lnTo>
                <a:lnTo>
                  <a:pt x="117" y="33"/>
                </a:lnTo>
                <a:lnTo>
                  <a:pt x="95" y="29"/>
                </a:lnTo>
                <a:lnTo>
                  <a:pt x="73" y="22"/>
                </a:lnTo>
                <a:lnTo>
                  <a:pt x="51" y="14"/>
                </a:lnTo>
                <a:lnTo>
                  <a:pt x="31" y="7"/>
                </a:lnTo>
                <a:lnTo>
                  <a:pt x="31" y="7"/>
                </a:lnTo>
                <a:lnTo>
                  <a:pt x="15" y="0"/>
                </a:lnTo>
                <a:lnTo>
                  <a:pt x="15" y="0"/>
                </a:lnTo>
                <a:lnTo>
                  <a:pt x="15" y="1"/>
                </a:lnTo>
                <a:lnTo>
                  <a:pt x="15" y="5"/>
                </a:lnTo>
                <a:lnTo>
                  <a:pt x="18" y="14"/>
                </a:lnTo>
                <a:lnTo>
                  <a:pt x="25" y="25"/>
                </a:lnTo>
                <a:lnTo>
                  <a:pt x="25" y="25"/>
                </a:lnTo>
                <a:lnTo>
                  <a:pt x="16" y="23"/>
                </a:lnTo>
                <a:lnTo>
                  <a:pt x="7" y="27"/>
                </a:lnTo>
                <a:lnTo>
                  <a:pt x="7" y="27"/>
                </a:lnTo>
                <a:lnTo>
                  <a:pt x="2" y="31"/>
                </a:lnTo>
                <a:lnTo>
                  <a:pt x="0" y="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87" name="Freeform 38"/>
          <p:cNvSpPr>
            <a:spLocks/>
          </p:cNvSpPr>
          <p:nvPr userDrawn="1"/>
        </p:nvSpPr>
        <p:spPr bwMode="auto">
          <a:xfrm>
            <a:off x="8270875" y="-618703"/>
            <a:ext cx="282575" cy="201613"/>
          </a:xfrm>
          <a:custGeom>
            <a:avLst/>
            <a:gdLst>
              <a:gd name="T0" fmla="*/ 326 w 357"/>
              <a:gd name="T1" fmla="*/ 20 h 253"/>
              <a:gd name="T2" fmla="*/ 320 w 357"/>
              <a:gd name="T3" fmla="*/ 3 h 253"/>
              <a:gd name="T4" fmla="*/ 311 w 357"/>
              <a:gd name="T5" fmla="*/ 0 h 253"/>
              <a:gd name="T6" fmla="*/ 227 w 357"/>
              <a:gd name="T7" fmla="*/ 40 h 253"/>
              <a:gd name="T8" fmla="*/ 207 w 357"/>
              <a:gd name="T9" fmla="*/ 53 h 253"/>
              <a:gd name="T10" fmla="*/ 176 w 357"/>
              <a:gd name="T11" fmla="*/ 53 h 253"/>
              <a:gd name="T12" fmla="*/ 181 w 357"/>
              <a:gd name="T13" fmla="*/ 71 h 253"/>
              <a:gd name="T14" fmla="*/ 172 w 357"/>
              <a:gd name="T15" fmla="*/ 78 h 253"/>
              <a:gd name="T16" fmla="*/ 181 w 357"/>
              <a:gd name="T17" fmla="*/ 93 h 253"/>
              <a:gd name="T18" fmla="*/ 198 w 357"/>
              <a:gd name="T19" fmla="*/ 91 h 253"/>
              <a:gd name="T20" fmla="*/ 189 w 357"/>
              <a:gd name="T21" fmla="*/ 115 h 253"/>
              <a:gd name="T22" fmla="*/ 147 w 357"/>
              <a:gd name="T23" fmla="*/ 146 h 253"/>
              <a:gd name="T24" fmla="*/ 101 w 357"/>
              <a:gd name="T25" fmla="*/ 155 h 253"/>
              <a:gd name="T26" fmla="*/ 79 w 357"/>
              <a:gd name="T27" fmla="*/ 137 h 253"/>
              <a:gd name="T28" fmla="*/ 68 w 357"/>
              <a:gd name="T29" fmla="*/ 126 h 253"/>
              <a:gd name="T30" fmla="*/ 50 w 357"/>
              <a:gd name="T31" fmla="*/ 126 h 253"/>
              <a:gd name="T32" fmla="*/ 28 w 357"/>
              <a:gd name="T33" fmla="*/ 137 h 253"/>
              <a:gd name="T34" fmla="*/ 48 w 357"/>
              <a:gd name="T35" fmla="*/ 140 h 253"/>
              <a:gd name="T36" fmla="*/ 44 w 357"/>
              <a:gd name="T37" fmla="*/ 149 h 253"/>
              <a:gd name="T38" fmla="*/ 75 w 357"/>
              <a:gd name="T39" fmla="*/ 169 h 253"/>
              <a:gd name="T40" fmla="*/ 75 w 357"/>
              <a:gd name="T41" fmla="*/ 171 h 253"/>
              <a:gd name="T42" fmla="*/ 39 w 357"/>
              <a:gd name="T43" fmla="*/ 160 h 253"/>
              <a:gd name="T44" fmla="*/ 28 w 357"/>
              <a:gd name="T45" fmla="*/ 164 h 253"/>
              <a:gd name="T46" fmla="*/ 8 w 357"/>
              <a:gd name="T47" fmla="*/ 171 h 253"/>
              <a:gd name="T48" fmla="*/ 2 w 357"/>
              <a:gd name="T49" fmla="*/ 193 h 253"/>
              <a:gd name="T50" fmla="*/ 17 w 357"/>
              <a:gd name="T51" fmla="*/ 180 h 253"/>
              <a:gd name="T52" fmla="*/ 22 w 357"/>
              <a:gd name="T53" fmla="*/ 188 h 253"/>
              <a:gd name="T54" fmla="*/ 26 w 357"/>
              <a:gd name="T55" fmla="*/ 197 h 253"/>
              <a:gd name="T56" fmla="*/ 66 w 357"/>
              <a:gd name="T57" fmla="*/ 195 h 253"/>
              <a:gd name="T58" fmla="*/ 75 w 357"/>
              <a:gd name="T59" fmla="*/ 197 h 253"/>
              <a:gd name="T60" fmla="*/ 39 w 357"/>
              <a:gd name="T61" fmla="*/ 206 h 253"/>
              <a:gd name="T62" fmla="*/ 37 w 357"/>
              <a:gd name="T63" fmla="*/ 213 h 253"/>
              <a:gd name="T64" fmla="*/ 28 w 357"/>
              <a:gd name="T65" fmla="*/ 233 h 253"/>
              <a:gd name="T66" fmla="*/ 35 w 357"/>
              <a:gd name="T67" fmla="*/ 248 h 253"/>
              <a:gd name="T68" fmla="*/ 41 w 357"/>
              <a:gd name="T69" fmla="*/ 244 h 253"/>
              <a:gd name="T70" fmla="*/ 42 w 357"/>
              <a:gd name="T71" fmla="*/ 235 h 253"/>
              <a:gd name="T72" fmla="*/ 55 w 357"/>
              <a:gd name="T73" fmla="*/ 243 h 253"/>
              <a:gd name="T74" fmla="*/ 72 w 357"/>
              <a:gd name="T75" fmla="*/ 232 h 253"/>
              <a:gd name="T76" fmla="*/ 94 w 357"/>
              <a:gd name="T77" fmla="*/ 213 h 253"/>
              <a:gd name="T78" fmla="*/ 108 w 357"/>
              <a:gd name="T79" fmla="*/ 211 h 253"/>
              <a:gd name="T80" fmla="*/ 110 w 357"/>
              <a:gd name="T81" fmla="*/ 222 h 253"/>
              <a:gd name="T82" fmla="*/ 115 w 357"/>
              <a:gd name="T83" fmla="*/ 233 h 253"/>
              <a:gd name="T84" fmla="*/ 114 w 357"/>
              <a:gd name="T85" fmla="*/ 243 h 253"/>
              <a:gd name="T86" fmla="*/ 136 w 357"/>
              <a:gd name="T87" fmla="*/ 224 h 253"/>
              <a:gd name="T88" fmla="*/ 141 w 357"/>
              <a:gd name="T89" fmla="*/ 219 h 253"/>
              <a:gd name="T90" fmla="*/ 145 w 357"/>
              <a:gd name="T91" fmla="*/ 211 h 253"/>
              <a:gd name="T92" fmla="*/ 147 w 357"/>
              <a:gd name="T93" fmla="*/ 200 h 253"/>
              <a:gd name="T94" fmla="*/ 167 w 357"/>
              <a:gd name="T95" fmla="*/ 193 h 253"/>
              <a:gd name="T96" fmla="*/ 170 w 357"/>
              <a:gd name="T97" fmla="*/ 180 h 253"/>
              <a:gd name="T98" fmla="*/ 181 w 357"/>
              <a:gd name="T99" fmla="*/ 179 h 253"/>
              <a:gd name="T100" fmla="*/ 199 w 357"/>
              <a:gd name="T101" fmla="*/ 197 h 253"/>
              <a:gd name="T102" fmla="*/ 231 w 357"/>
              <a:gd name="T103" fmla="*/ 182 h 253"/>
              <a:gd name="T104" fmla="*/ 227 w 357"/>
              <a:gd name="T105" fmla="*/ 169 h 253"/>
              <a:gd name="T106" fmla="*/ 223 w 357"/>
              <a:gd name="T107" fmla="*/ 155 h 253"/>
              <a:gd name="T108" fmla="*/ 245 w 357"/>
              <a:gd name="T109" fmla="*/ 173 h 253"/>
              <a:gd name="T110" fmla="*/ 276 w 357"/>
              <a:gd name="T111" fmla="*/ 155 h 253"/>
              <a:gd name="T112" fmla="*/ 273 w 357"/>
              <a:gd name="T113" fmla="*/ 149 h 253"/>
              <a:gd name="T114" fmla="*/ 263 w 357"/>
              <a:gd name="T115" fmla="*/ 131 h 253"/>
              <a:gd name="T116" fmla="*/ 262 w 357"/>
              <a:gd name="T117" fmla="*/ 115 h 253"/>
              <a:gd name="T118" fmla="*/ 262 w 357"/>
              <a:gd name="T119" fmla="*/ 98 h 253"/>
              <a:gd name="T120" fmla="*/ 353 w 357"/>
              <a:gd name="T121" fmla="*/ 45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7" h="253">
                <a:moveTo>
                  <a:pt x="344" y="31"/>
                </a:moveTo>
                <a:lnTo>
                  <a:pt x="344" y="31"/>
                </a:lnTo>
                <a:lnTo>
                  <a:pt x="335" y="23"/>
                </a:lnTo>
                <a:lnTo>
                  <a:pt x="326" y="20"/>
                </a:lnTo>
                <a:lnTo>
                  <a:pt x="309" y="12"/>
                </a:lnTo>
                <a:lnTo>
                  <a:pt x="309" y="12"/>
                </a:lnTo>
                <a:lnTo>
                  <a:pt x="316" y="7"/>
                </a:lnTo>
                <a:lnTo>
                  <a:pt x="320" y="3"/>
                </a:lnTo>
                <a:lnTo>
                  <a:pt x="320" y="1"/>
                </a:lnTo>
                <a:lnTo>
                  <a:pt x="320" y="1"/>
                </a:lnTo>
                <a:lnTo>
                  <a:pt x="315" y="0"/>
                </a:lnTo>
                <a:lnTo>
                  <a:pt x="311" y="0"/>
                </a:lnTo>
                <a:lnTo>
                  <a:pt x="311" y="0"/>
                </a:lnTo>
                <a:lnTo>
                  <a:pt x="280" y="12"/>
                </a:lnTo>
                <a:lnTo>
                  <a:pt x="252" y="25"/>
                </a:lnTo>
                <a:lnTo>
                  <a:pt x="227" y="40"/>
                </a:lnTo>
                <a:lnTo>
                  <a:pt x="209" y="53"/>
                </a:lnTo>
                <a:lnTo>
                  <a:pt x="209" y="53"/>
                </a:lnTo>
                <a:lnTo>
                  <a:pt x="207" y="53"/>
                </a:lnTo>
                <a:lnTo>
                  <a:pt x="207" y="53"/>
                </a:lnTo>
                <a:lnTo>
                  <a:pt x="201" y="56"/>
                </a:lnTo>
                <a:lnTo>
                  <a:pt x="196" y="56"/>
                </a:lnTo>
                <a:lnTo>
                  <a:pt x="185" y="54"/>
                </a:lnTo>
                <a:lnTo>
                  <a:pt x="176" y="53"/>
                </a:lnTo>
                <a:lnTo>
                  <a:pt x="174" y="51"/>
                </a:lnTo>
                <a:lnTo>
                  <a:pt x="170" y="67"/>
                </a:lnTo>
                <a:lnTo>
                  <a:pt x="170" y="67"/>
                </a:lnTo>
                <a:lnTo>
                  <a:pt x="181" y="71"/>
                </a:lnTo>
                <a:lnTo>
                  <a:pt x="189" y="74"/>
                </a:lnTo>
                <a:lnTo>
                  <a:pt x="189" y="74"/>
                </a:lnTo>
                <a:lnTo>
                  <a:pt x="178" y="76"/>
                </a:lnTo>
                <a:lnTo>
                  <a:pt x="172" y="78"/>
                </a:lnTo>
                <a:lnTo>
                  <a:pt x="168" y="82"/>
                </a:lnTo>
                <a:lnTo>
                  <a:pt x="174" y="96"/>
                </a:lnTo>
                <a:lnTo>
                  <a:pt x="174" y="96"/>
                </a:lnTo>
                <a:lnTo>
                  <a:pt x="181" y="93"/>
                </a:lnTo>
                <a:lnTo>
                  <a:pt x="189" y="91"/>
                </a:lnTo>
                <a:lnTo>
                  <a:pt x="198" y="89"/>
                </a:lnTo>
                <a:lnTo>
                  <a:pt x="198" y="89"/>
                </a:lnTo>
                <a:lnTo>
                  <a:pt x="198" y="91"/>
                </a:lnTo>
                <a:lnTo>
                  <a:pt x="198" y="91"/>
                </a:lnTo>
                <a:lnTo>
                  <a:pt x="198" y="98"/>
                </a:lnTo>
                <a:lnTo>
                  <a:pt x="194" y="105"/>
                </a:lnTo>
                <a:lnTo>
                  <a:pt x="189" y="115"/>
                </a:lnTo>
                <a:lnTo>
                  <a:pt x="181" y="122"/>
                </a:lnTo>
                <a:lnTo>
                  <a:pt x="165" y="137"/>
                </a:lnTo>
                <a:lnTo>
                  <a:pt x="156" y="142"/>
                </a:lnTo>
                <a:lnTo>
                  <a:pt x="147" y="146"/>
                </a:lnTo>
                <a:lnTo>
                  <a:pt x="147" y="146"/>
                </a:lnTo>
                <a:lnTo>
                  <a:pt x="128" y="151"/>
                </a:lnTo>
                <a:lnTo>
                  <a:pt x="112" y="155"/>
                </a:lnTo>
                <a:lnTo>
                  <a:pt x="101" y="155"/>
                </a:lnTo>
                <a:lnTo>
                  <a:pt x="95" y="153"/>
                </a:lnTo>
                <a:lnTo>
                  <a:pt x="95" y="153"/>
                </a:lnTo>
                <a:lnTo>
                  <a:pt x="84" y="144"/>
                </a:lnTo>
                <a:lnTo>
                  <a:pt x="79" y="137"/>
                </a:lnTo>
                <a:lnTo>
                  <a:pt x="73" y="129"/>
                </a:lnTo>
                <a:lnTo>
                  <a:pt x="72" y="126"/>
                </a:lnTo>
                <a:lnTo>
                  <a:pt x="68" y="126"/>
                </a:lnTo>
                <a:lnTo>
                  <a:pt x="68" y="126"/>
                </a:lnTo>
                <a:lnTo>
                  <a:pt x="64" y="126"/>
                </a:lnTo>
                <a:lnTo>
                  <a:pt x="61" y="127"/>
                </a:lnTo>
                <a:lnTo>
                  <a:pt x="61" y="127"/>
                </a:lnTo>
                <a:lnTo>
                  <a:pt x="50" y="126"/>
                </a:lnTo>
                <a:lnTo>
                  <a:pt x="41" y="127"/>
                </a:lnTo>
                <a:lnTo>
                  <a:pt x="33" y="131"/>
                </a:lnTo>
                <a:lnTo>
                  <a:pt x="30" y="133"/>
                </a:lnTo>
                <a:lnTo>
                  <a:pt x="28" y="137"/>
                </a:lnTo>
                <a:lnTo>
                  <a:pt x="28" y="137"/>
                </a:lnTo>
                <a:lnTo>
                  <a:pt x="41" y="137"/>
                </a:lnTo>
                <a:lnTo>
                  <a:pt x="48" y="138"/>
                </a:lnTo>
                <a:lnTo>
                  <a:pt x="48" y="140"/>
                </a:lnTo>
                <a:lnTo>
                  <a:pt x="46" y="142"/>
                </a:lnTo>
                <a:lnTo>
                  <a:pt x="46" y="142"/>
                </a:lnTo>
                <a:lnTo>
                  <a:pt x="42" y="146"/>
                </a:lnTo>
                <a:lnTo>
                  <a:pt x="44" y="149"/>
                </a:lnTo>
                <a:lnTo>
                  <a:pt x="46" y="153"/>
                </a:lnTo>
                <a:lnTo>
                  <a:pt x="52" y="157"/>
                </a:lnTo>
                <a:lnTo>
                  <a:pt x="75" y="169"/>
                </a:lnTo>
                <a:lnTo>
                  <a:pt x="75" y="169"/>
                </a:lnTo>
                <a:lnTo>
                  <a:pt x="75" y="169"/>
                </a:lnTo>
                <a:lnTo>
                  <a:pt x="75" y="171"/>
                </a:lnTo>
                <a:lnTo>
                  <a:pt x="75" y="171"/>
                </a:lnTo>
                <a:lnTo>
                  <a:pt x="75" y="171"/>
                </a:lnTo>
                <a:lnTo>
                  <a:pt x="68" y="171"/>
                </a:lnTo>
                <a:lnTo>
                  <a:pt x="59" y="168"/>
                </a:lnTo>
                <a:lnTo>
                  <a:pt x="39" y="160"/>
                </a:lnTo>
                <a:lnTo>
                  <a:pt x="39" y="160"/>
                </a:lnTo>
                <a:lnTo>
                  <a:pt x="35" y="160"/>
                </a:lnTo>
                <a:lnTo>
                  <a:pt x="31" y="160"/>
                </a:lnTo>
                <a:lnTo>
                  <a:pt x="28" y="164"/>
                </a:lnTo>
                <a:lnTo>
                  <a:pt x="28" y="164"/>
                </a:lnTo>
                <a:lnTo>
                  <a:pt x="24" y="164"/>
                </a:lnTo>
                <a:lnTo>
                  <a:pt x="19" y="164"/>
                </a:lnTo>
                <a:lnTo>
                  <a:pt x="11" y="168"/>
                </a:lnTo>
                <a:lnTo>
                  <a:pt x="8" y="171"/>
                </a:lnTo>
                <a:lnTo>
                  <a:pt x="2" y="175"/>
                </a:lnTo>
                <a:lnTo>
                  <a:pt x="0" y="180"/>
                </a:lnTo>
                <a:lnTo>
                  <a:pt x="0" y="186"/>
                </a:lnTo>
                <a:lnTo>
                  <a:pt x="2" y="193"/>
                </a:lnTo>
                <a:lnTo>
                  <a:pt x="2" y="193"/>
                </a:lnTo>
                <a:lnTo>
                  <a:pt x="8" y="186"/>
                </a:lnTo>
                <a:lnTo>
                  <a:pt x="13" y="180"/>
                </a:lnTo>
                <a:lnTo>
                  <a:pt x="17" y="180"/>
                </a:lnTo>
                <a:lnTo>
                  <a:pt x="20" y="180"/>
                </a:lnTo>
                <a:lnTo>
                  <a:pt x="20" y="180"/>
                </a:lnTo>
                <a:lnTo>
                  <a:pt x="22" y="182"/>
                </a:lnTo>
                <a:lnTo>
                  <a:pt x="22" y="188"/>
                </a:lnTo>
                <a:lnTo>
                  <a:pt x="22" y="191"/>
                </a:lnTo>
                <a:lnTo>
                  <a:pt x="24" y="195"/>
                </a:lnTo>
                <a:lnTo>
                  <a:pt x="26" y="197"/>
                </a:lnTo>
                <a:lnTo>
                  <a:pt x="26" y="197"/>
                </a:lnTo>
                <a:lnTo>
                  <a:pt x="30" y="199"/>
                </a:lnTo>
                <a:lnTo>
                  <a:pt x="37" y="199"/>
                </a:lnTo>
                <a:lnTo>
                  <a:pt x="52" y="197"/>
                </a:lnTo>
                <a:lnTo>
                  <a:pt x="66" y="195"/>
                </a:lnTo>
                <a:lnTo>
                  <a:pt x="73" y="195"/>
                </a:lnTo>
                <a:lnTo>
                  <a:pt x="75" y="195"/>
                </a:lnTo>
                <a:lnTo>
                  <a:pt x="75" y="195"/>
                </a:lnTo>
                <a:lnTo>
                  <a:pt x="75" y="197"/>
                </a:lnTo>
                <a:lnTo>
                  <a:pt x="72" y="199"/>
                </a:lnTo>
                <a:lnTo>
                  <a:pt x="59" y="200"/>
                </a:lnTo>
                <a:lnTo>
                  <a:pt x="44" y="202"/>
                </a:lnTo>
                <a:lnTo>
                  <a:pt x="39" y="206"/>
                </a:lnTo>
                <a:lnTo>
                  <a:pt x="37" y="208"/>
                </a:lnTo>
                <a:lnTo>
                  <a:pt x="37" y="208"/>
                </a:lnTo>
                <a:lnTo>
                  <a:pt x="37" y="213"/>
                </a:lnTo>
                <a:lnTo>
                  <a:pt x="37" y="213"/>
                </a:lnTo>
                <a:lnTo>
                  <a:pt x="37" y="215"/>
                </a:lnTo>
                <a:lnTo>
                  <a:pt x="33" y="219"/>
                </a:lnTo>
                <a:lnTo>
                  <a:pt x="30" y="226"/>
                </a:lnTo>
                <a:lnTo>
                  <a:pt x="28" y="233"/>
                </a:lnTo>
                <a:lnTo>
                  <a:pt x="28" y="233"/>
                </a:lnTo>
                <a:lnTo>
                  <a:pt x="28" y="237"/>
                </a:lnTo>
                <a:lnTo>
                  <a:pt x="30" y="243"/>
                </a:lnTo>
                <a:lnTo>
                  <a:pt x="35" y="248"/>
                </a:lnTo>
                <a:lnTo>
                  <a:pt x="41" y="253"/>
                </a:lnTo>
                <a:lnTo>
                  <a:pt x="41" y="253"/>
                </a:lnTo>
                <a:lnTo>
                  <a:pt x="42" y="252"/>
                </a:lnTo>
                <a:lnTo>
                  <a:pt x="41" y="244"/>
                </a:lnTo>
                <a:lnTo>
                  <a:pt x="41" y="239"/>
                </a:lnTo>
                <a:lnTo>
                  <a:pt x="42" y="237"/>
                </a:lnTo>
                <a:lnTo>
                  <a:pt x="42" y="235"/>
                </a:lnTo>
                <a:lnTo>
                  <a:pt x="42" y="235"/>
                </a:lnTo>
                <a:lnTo>
                  <a:pt x="46" y="235"/>
                </a:lnTo>
                <a:lnTo>
                  <a:pt x="48" y="237"/>
                </a:lnTo>
                <a:lnTo>
                  <a:pt x="52" y="241"/>
                </a:lnTo>
                <a:lnTo>
                  <a:pt x="55" y="243"/>
                </a:lnTo>
                <a:lnTo>
                  <a:pt x="55" y="243"/>
                </a:lnTo>
                <a:lnTo>
                  <a:pt x="59" y="241"/>
                </a:lnTo>
                <a:lnTo>
                  <a:pt x="62" y="239"/>
                </a:lnTo>
                <a:lnTo>
                  <a:pt x="72" y="232"/>
                </a:lnTo>
                <a:lnTo>
                  <a:pt x="81" y="222"/>
                </a:lnTo>
                <a:lnTo>
                  <a:pt x="86" y="217"/>
                </a:lnTo>
                <a:lnTo>
                  <a:pt x="94" y="213"/>
                </a:lnTo>
                <a:lnTo>
                  <a:pt x="94" y="213"/>
                </a:lnTo>
                <a:lnTo>
                  <a:pt x="103" y="210"/>
                </a:lnTo>
                <a:lnTo>
                  <a:pt x="106" y="208"/>
                </a:lnTo>
                <a:lnTo>
                  <a:pt x="108" y="210"/>
                </a:lnTo>
                <a:lnTo>
                  <a:pt x="108" y="211"/>
                </a:lnTo>
                <a:lnTo>
                  <a:pt x="108" y="217"/>
                </a:lnTo>
                <a:lnTo>
                  <a:pt x="108" y="221"/>
                </a:lnTo>
                <a:lnTo>
                  <a:pt x="110" y="222"/>
                </a:lnTo>
                <a:lnTo>
                  <a:pt x="110" y="222"/>
                </a:lnTo>
                <a:lnTo>
                  <a:pt x="115" y="224"/>
                </a:lnTo>
                <a:lnTo>
                  <a:pt x="117" y="226"/>
                </a:lnTo>
                <a:lnTo>
                  <a:pt x="117" y="230"/>
                </a:lnTo>
                <a:lnTo>
                  <a:pt x="115" y="233"/>
                </a:lnTo>
                <a:lnTo>
                  <a:pt x="112" y="239"/>
                </a:lnTo>
                <a:lnTo>
                  <a:pt x="108" y="243"/>
                </a:lnTo>
                <a:lnTo>
                  <a:pt x="108" y="243"/>
                </a:lnTo>
                <a:lnTo>
                  <a:pt x="114" y="243"/>
                </a:lnTo>
                <a:lnTo>
                  <a:pt x="121" y="241"/>
                </a:lnTo>
                <a:lnTo>
                  <a:pt x="128" y="233"/>
                </a:lnTo>
                <a:lnTo>
                  <a:pt x="132" y="230"/>
                </a:lnTo>
                <a:lnTo>
                  <a:pt x="136" y="224"/>
                </a:lnTo>
                <a:lnTo>
                  <a:pt x="136" y="224"/>
                </a:lnTo>
                <a:lnTo>
                  <a:pt x="136" y="221"/>
                </a:lnTo>
                <a:lnTo>
                  <a:pt x="137" y="221"/>
                </a:lnTo>
                <a:lnTo>
                  <a:pt x="141" y="219"/>
                </a:lnTo>
                <a:lnTo>
                  <a:pt x="143" y="217"/>
                </a:lnTo>
                <a:lnTo>
                  <a:pt x="143" y="217"/>
                </a:lnTo>
                <a:lnTo>
                  <a:pt x="145" y="215"/>
                </a:lnTo>
                <a:lnTo>
                  <a:pt x="145" y="211"/>
                </a:lnTo>
                <a:lnTo>
                  <a:pt x="145" y="208"/>
                </a:lnTo>
                <a:lnTo>
                  <a:pt x="145" y="204"/>
                </a:lnTo>
                <a:lnTo>
                  <a:pt x="145" y="204"/>
                </a:lnTo>
                <a:lnTo>
                  <a:pt x="147" y="200"/>
                </a:lnTo>
                <a:lnTo>
                  <a:pt x="150" y="199"/>
                </a:lnTo>
                <a:lnTo>
                  <a:pt x="157" y="197"/>
                </a:lnTo>
                <a:lnTo>
                  <a:pt x="165" y="195"/>
                </a:lnTo>
                <a:lnTo>
                  <a:pt x="167" y="193"/>
                </a:lnTo>
                <a:lnTo>
                  <a:pt x="167" y="191"/>
                </a:lnTo>
                <a:lnTo>
                  <a:pt x="167" y="191"/>
                </a:lnTo>
                <a:lnTo>
                  <a:pt x="167" y="186"/>
                </a:lnTo>
                <a:lnTo>
                  <a:pt x="170" y="180"/>
                </a:lnTo>
                <a:lnTo>
                  <a:pt x="176" y="179"/>
                </a:lnTo>
                <a:lnTo>
                  <a:pt x="179" y="177"/>
                </a:lnTo>
                <a:lnTo>
                  <a:pt x="179" y="177"/>
                </a:lnTo>
                <a:lnTo>
                  <a:pt x="181" y="179"/>
                </a:lnTo>
                <a:lnTo>
                  <a:pt x="183" y="184"/>
                </a:lnTo>
                <a:lnTo>
                  <a:pt x="189" y="190"/>
                </a:lnTo>
                <a:lnTo>
                  <a:pt x="194" y="193"/>
                </a:lnTo>
                <a:lnTo>
                  <a:pt x="199" y="197"/>
                </a:lnTo>
                <a:lnTo>
                  <a:pt x="199" y="197"/>
                </a:lnTo>
                <a:lnTo>
                  <a:pt x="221" y="186"/>
                </a:lnTo>
                <a:lnTo>
                  <a:pt x="221" y="186"/>
                </a:lnTo>
                <a:lnTo>
                  <a:pt x="231" y="182"/>
                </a:lnTo>
                <a:lnTo>
                  <a:pt x="234" y="179"/>
                </a:lnTo>
                <a:lnTo>
                  <a:pt x="234" y="179"/>
                </a:lnTo>
                <a:lnTo>
                  <a:pt x="231" y="173"/>
                </a:lnTo>
                <a:lnTo>
                  <a:pt x="227" y="169"/>
                </a:lnTo>
                <a:lnTo>
                  <a:pt x="225" y="164"/>
                </a:lnTo>
                <a:lnTo>
                  <a:pt x="225" y="164"/>
                </a:lnTo>
                <a:lnTo>
                  <a:pt x="223" y="158"/>
                </a:lnTo>
                <a:lnTo>
                  <a:pt x="223" y="155"/>
                </a:lnTo>
                <a:lnTo>
                  <a:pt x="223" y="155"/>
                </a:lnTo>
                <a:lnTo>
                  <a:pt x="229" y="162"/>
                </a:lnTo>
                <a:lnTo>
                  <a:pt x="236" y="168"/>
                </a:lnTo>
                <a:lnTo>
                  <a:pt x="245" y="173"/>
                </a:lnTo>
                <a:lnTo>
                  <a:pt x="245" y="173"/>
                </a:lnTo>
                <a:lnTo>
                  <a:pt x="271" y="157"/>
                </a:lnTo>
                <a:lnTo>
                  <a:pt x="271" y="157"/>
                </a:lnTo>
                <a:lnTo>
                  <a:pt x="276" y="155"/>
                </a:lnTo>
                <a:lnTo>
                  <a:pt x="276" y="155"/>
                </a:lnTo>
                <a:lnTo>
                  <a:pt x="276" y="155"/>
                </a:lnTo>
                <a:lnTo>
                  <a:pt x="276" y="155"/>
                </a:lnTo>
                <a:lnTo>
                  <a:pt x="273" y="149"/>
                </a:lnTo>
                <a:lnTo>
                  <a:pt x="267" y="144"/>
                </a:lnTo>
                <a:lnTo>
                  <a:pt x="262" y="137"/>
                </a:lnTo>
                <a:lnTo>
                  <a:pt x="262" y="133"/>
                </a:lnTo>
                <a:lnTo>
                  <a:pt x="263" y="131"/>
                </a:lnTo>
                <a:lnTo>
                  <a:pt x="263" y="131"/>
                </a:lnTo>
                <a:lnTo>
                  <a:pt x="265" y="129"/>
                </a:lnTo>
                <a:lnTo>
                  <a:pt x="265" y="126"/>
                </a:lnTo>
                <a:lnTo>
                  <a:pt x="262" y="115"/>
                </a:lnTo>
                <a:lnTo>
                  <a:pt x="258" y="105"/>
                </a:lnTo>
                <a:lnTo>
                  <a:pt x="258" y="100"/>
                </a:lnTo>
                <a:lnTo>
                  <a:pt x="262" y="98"/>
                </a:lnTo>
                <a:lnTo>
                  <a:pt x="262" y="98"/>
                </a:lnTo>
                <a:lnTo>
                  <a:pt x="313" y="73"/>
                </a:lnTo>
                <a:lnTo>
                  <a:pt x="357" y="51"/>
                </a:lnTo>
                <a:lnTo>
                  <a:pt x="357" y="51"/>
                </a:lnTo>
                <a:lnTo>
                  <a:pt x="353" y="45"/>
                </a:lnTo>
                <a:lnTo>
                  <a:pt x="349" y="38"/>
                </a:lnTo>
                <a:lnTo>
                  <a:pt x="344" y="3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88" name="Freeform 39"/>
          <p:cNvSpPr>
            <a:spLocks/>
          </p:cNvSpPr>
          <p:nvPr userDrawn="1"/>
        </p:nvSpPr>
        <p:spPr bwMode="auto">
          <a:xfrm>
            <a:off x="8229600" y="-437728"/>
            <a:ext cx="120650" cy="115888"/>
          </a:xfrm>
          <a:custGeom>
            <a:avLst/>
            <a:gdLst>
              <a:gd name="T0" fmla="*/ 0 w 152"/>
              <a:gd name="T1" fmla="*/ 42 h 144"/>
              <a:gd name="T2" fmla="*/ 2 w 152"/>
              <a:gd name="T3" fmla="*/ 51 h 144"/>
              <a:gd name="T4" fmla="*/ 4 w 152"/>
              <a:gd name="T5" fmla="*/ 57 h 144"/>
              <a:gd name="T6" fmla="*/ 15 w 152"/>
              <a:gd name="T7" fmla="*/ 60 h 144"/>
              <a:gd name="T8" fmla="*/ 18 w 152"/>
              <a:gd name="T9" fmla="*/ 58 h 144"/>
              <a:gd name="T10" fmla="*/ 20 w 152"/>
              <a:gd name="T11" fmla="*/ 51 h 144"/>
              <a:gd name="T12" fmla="*/ 22 w 152"/>
              <a:gd name="T13" fmla="*/ 44 h 144"/>
              <a:gd name="T14" fmla="*/ 24 w 152"/>
              <a:gd name="T15" fmla="*/ 42 h 144"/>
              <a:gd name="T16" fmla="*/ 26 w 152"/>
              <a:gd name="T17" fmla="*/ 42 h 144"/>
              <a:gd name="T18" fmla="*/ 28 w 152"/>
              <a:gd name="T19" fmla="*/ 40 h 144"/>
              <a:gd name="T20" fmla="*/ 68 w 152"/>
              <a:gd name="T21" fmla="*/ 60 h 144"/>
              <a:gd name="T22" fmla="*/ 106 w 152"/>
              <a:gd name="T23" fmla="*/ 86 h 144"/>
              <a:gd name="T24" fmla="*/ 112 w 152"/>
              <a:gd name="T25" fmla="*/ 89 h 144"/>
              <a:gd name="T26" fmla="*/ 106 w 152"/>
              <a:gd name="T27" fmla="*/ 100 h 144"/>
              <a:gd name="T28" fmla="*/ 95 w 152"/>
              <a:gd name="T29" fmla="*/ 128 h 144"/>
              <a:gd name="T30" fmla="*/ 93 w 152"/>
              <a:gd name="T31" fmla="*/ 135 h 144"/>
              <a:gd name="T32" fmla="*/ 97 w 152"/>
              <a:gd name="T33" fmla="*/ 142 h 144"/>
              <a:gd name="T34" fmla="*/ 104 w 152"/>
              <a:gd name="T35" fmla="*/ 144 h 144"/>
              <a:gd name="T36" fmla="*/ 110 w 152"/>
              <a:gd name="T37" fmla="*/ 144 h 144"/>
              <a:gd name="T38" fmla="*/ 117 w 152"/>
              <a:gd name="T39" fmla="*/ 139 h 144"/>
              <a:gd name="T40" fmla="*/ 119 w 152"/>
              <a:gd name="T41" fmla="*/ 135 h 144"/>
              <a:gd name="T42" fmla="*/ 119 w 152"/>
              <a:gd name="T43" fmla="*/ 130 h 144"/>
              <a:gd name="T44" fmla="*/ 112 w 152"/>
              <a:gd name="T45" fmla="*/ 122 h 144"/>
              <a:gd name="T46" fmla="*/ 110 w 152"/>
              <a:gd name="T47" fmla="*/ 122 h 144"/>
              <a:gd name="T48" fmla="*/ 115 w 152"/>
              <a:gd name="T49" fmla="*/ 110 h 144"/>
              <a:gd name="T50" fmla="*/ 123 w 152"/>
              <a:gd name="T51" fmla="*/ 93 h 144"/>
              <a:gd name="T52" fmla="*/ 132 w 152"/>
              <a:gd name="T53" fmla="*/ 86 h 144"/>
              <a:gd name="T54" fmla="*/ 141 w 152"/>
              <a:gd name="T55" fmla="*/ 84 h 144"/>
              <a:gd name="T56" fmla="*/ 139 w 152"/>
              <a:gd name="T57" fmla="*/ 80 h 144"/>
              <a:gd name="T58" fmla="*/ 135 w 152"/>
              <a:gd name="T59" fmla="*/ 69 h 144"/>
              <a:gd name="T60" fmla="*/ 137 w 152"/>
              <a:gd name="T61" fmla="*/ 57 h 144"/>
              <a:gd name="T62" fmla="*/ 141 w 152"/>
              <a:gd name="T63" fmla="*/ 49 h 144"/>
              <a:gd name="T64" fmla="*/ 152 w 152"/>
              <a:gd name="T65" fmla="*/ 18 h 144"/>
              <a:gd name="T66" fmla="*/ 152 w 152"/>
              <a:gd name="T67" fmla="*/ 13 h 144"/>
              <a:gd name="T68" fmla="*/ 146 w 152"/>
              <a:gd name="T69" fmla="*/ 5 h 144"/>
              <a:gd name="T70" fmla="*/ 141 w 152"/>
              <a:gd name="T71" fmla="*/ 4 h 144"/>
              <a:gd name="T72" fmla="*/ 132 w 152"/>
              <a:gd name="T73" fmla="*/ 7 h 144"/>
              <a:gd name="T74" fmla="*/ 128 w 152"/>
              <a:gd name="T75" fmla="*/ 15 h 144"/>
              <a:gd name="T76" fmla="*/ 128 w 152"/>
              <a:gd name="T77" fmla="*/ 20 h 144"/>
              <a:gd name="T78" fmla="*/ 134 w 152"/>
              <a:gd name="T79" fmla="*/ 27 h 144"/>
              <a:gd name="T80" fmla="*/ 137 w 152"/>
              <a:gd name="T81" fmla="*/ 29 h 144"/>
              <a:gd name="T82" fmla="*/ 132 w 152"/>
              <a:gd name="T83" fmla="*/ 46 h 144"/>
              <a:gd name="T84" fmla="*/ 124 w 152"/>
              <a:gd name="T85" fmla="*/ 55 h 144"/>
              <a:gd name="T86" fmla="*/ 117 w 152"/>
              <a:gd name="T87" fmla="*/ 51 h 144"/>
              <a:gd name="T88" fmla="*/ 60 w 152"/>
              <a:gd name="T89" fmla="*/ 24 h 144"/>
              <a:gd name="T90" fmla="*/ 40 w 152"/>
              <a:gd name="T91" fmla="*/ 18 h 144"/>
              <a:gd name="T92" fmla="*/ 42 w 152"/>
              <a:gd name="T93" fmla="*/ 13 h 144"/>
              <a:gd name="T94" fmla="*/ 50 w 152"/>
              <a:gd name="T95" fmla="*/ 0 h 144"/>
              <a:gd name="T96" fmla="*/ 46 w 152"/>
              <a:gd name="T97" fmla="*/ 2 h 144"/>
              <a:gd name="T98" fmla="*/ 39 w 152"/>
              <a:gd name="T99" fmla="*/ 5 h 144"/>
              <a:gd name="T100" fmla="*/ 24 w 152"/>
              <a:gd name="T101" fmla="*/ 11 h 144"/>
              <a:gd name="T102" fmla="*/ 18 w 152"/>
              <a:gd name="T103" fmla="*/ 11 h 144"/>
              <a:gd name="T104" fmla="*/ 15 w 152"/>
              <a:gd name="T105" fmla="*/ 11 h 144"/>
              <a:gd name="T106" fmla="*/ 9 w 152"/>
              <a:gd name="T107" fmla="*/ 22 h 144"/>
              <a:gd name="T108" fmla="*/ 6 w 152"/>
              <a:gd name="T109" fmla="*/ 33 h 144"/>
              <a:gd name="T110" fmla="*/ 2 w 152"/>
              <a:gd name="T111" fmla="*/ 3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2" h="144">
                <a:moveTo>
                  <a:pt x="0" y="42"/>
                </a:moveTo>
                <a:lnTo>
                  <a:pt x="0" y="42"/>
                </a:lnTo>
                <a:lnTo>
                  <a:pt x="0" y="47"/>
                </a:lnTo>
                <a:lnTo>
                  <a:pt x="2" y="51"/>
                </a:lnTo>
                <a:lnTo>
                  <a:pt x="4" y="57"/>
                </a:lnTo>
                <a:lnTo>
                  <a:pt x="4" y="57"/>
                </a:lnTo>
                <a:lnTo>
                  <a:pt x="11" y="58"/>
                </a:lnTo>
                <a:lnTo>
                  <a:pt x="15" y="60"/>
                </a:lnTo>
                <a:lnTo>
                  <a:pt x="18" y="58"/>
                </a:lnTo>
                <a:lnTo>
                  <a:pt x="18" y="58"/>
                </a:lnTo>
                <a:lnTo>
                  <a:pt x="20" y="55"/>
                </a:lnTo>
                <a:lnTo>
                  <a:pt x="20" y="51"/>
                </a:lnTo>
                <a:lnTo>
                  <a:pt x="20" y="47"/>
                </a:lnTo>
                <a:lnTo>
                  <a:pt x="22" y="44"/>
                </a:lnTo>
                <a:lnTo>
                  <a:pt x="22" y="44"/>
                </a:lnTo>
                <a:lnTo>
                  <a:pt x="24" y="42"/>
                </a:lnTo>
                <a:lnTo>
                  <a:pt x="26" y="42"/>
                </a:lnTo>
                <a:lnTo>
                  <a:pt x="26" y="42"/>
                </a:lnTo>
                <a:lnTo>
                  <a:pt x="28" y="40"/>
                </a:lnTo>
                <a:lnTo>
                  <a:pt x="28" y="40"/>
                </a:lnTo>
                <a:lnTo>
                  <a:pt x="48" y="49"/>
                </a:lnTo>
                <a:lnTo>
                  <a:pt x="68" y="60"/>
                </a:lnTo>
                <a:lnTo>
                  <a:pt x="106" y="86"/>
                </a:lnTo>
                <a:lnTo>
                  <a:pt x="106" y="86"/>
                </a:lnTo>
                <a:lnTo>
                  <a:pt x="112" y="89"/>
                </a:lnTo>
                <a:lnTo>
                  <a:pt x="112" y="89"/>
                </a:lnTo>
                <a:lnTo>
                  <a:pt x="106" y="100"/>
                </a:lnTo>
                <a:lnTo>
                  <a:pt x="106" y="100"/>
                </a:lnTo>
                <a:lnTo>
                  <a:pt x="97" y="119"/>
                </a:lnTo>
                <a:lnTo>
                  <a:pt x="95" y="128"/>
                </a:lnTo>
                <a:lnTo>
                  <a:pt x="93" y="135"/>
                </a:lnTo>
                <a:lnTo>
                  <a:pt x="93" y="135"/>
                </a:lnTo>
                <a:lnTo>
                  <a:pt x="95" y="139"/>
                </a:lnTo>
                <a:lnTo>
                  <a:pt x="97" y="142"/>
                </a:lnTo>
                <a:lnTo>
                  <a:pt x="101" y="144"/>
                </a:lnTo>
                <a:lnTo>
                  <a:pt x="104" y="144"/>
                </a:lnTo>
                <a:lnTo>
                  <a:pt x="104" y="144"/>
                </a:lnTo>
                <a:lnTo>
                  <a:pt x="110" y="144"/>
                </a:lnTo>
                <a:lnTo>
                  <a:pt x="113" y="142"/>
                </a:lnTo>
                <a:lnTo>
                  <a:pt x="117" y="139"/>
                </a:lnTo>
                <a:lnTo>
                  <a:pt x="119" y="135"/>
                </a:lnTo>
                <a:lnTo>
                  <a:pt x="119" y="135"/>
                </a:lnTo>
                <a:lnTo>
                  <a:pt x="119" y="131"/>
                </a:lnTo>
                <a:lnTo>
                  <a:pt x="119" y="130"/>
                </a:lnTo>
                <a:lnTo>
                  <a:pt x="115" y="124"/>
                </a:lnTo>
                <a:lnTo>
                  <a:pt x="112" y="122"/>
                </a:lnTo>
                <a:lnTo>
                  <a:pt x="110" y="122"/>
                </a:lnTo>
                <a:lnTo>
                  <a:pt x="110" y="122"/>
                </a:lnTo>
                <a:lnTo>
                  <a:pt x="115" y="110"/>
                </a:lnTo>
                <a:lnTo>
                  <a:pt x="115" y="110"/>
                </a:lnTo>
                <a:lnTo>
                  <a:pt x="119" y="100"/>
                </a:lnTo>
                <a:lnTo>
                  <a:pt x="123" y="93"/>
                </a:lnTo>
                <a:lnTo>
                  <a:pt x="128" y="89"/>
                </a:lnTo>
                <a:lnTo>
                  <a:pt x="132" y="86"/>
                </a:lnTo>
                <a:lnTo>
                  <a:pt x="137" y="84"/>
                </a:lnTo>
                <a:lnTo>
                  <a:pt x="141" y="84"/>
                </a:lnTo>
                <a:lnTo>
                  <a:pt x="141" y="84"/>
                </a:lnTo>
                <a:lnTo>
                  <a:pt x="139" y="80"/>
                </a:lnTo>
                <a:lnTo>
                  <a:pt x="135" y="75"/>
                </a:lnTo>
                <a:lnTo>
                  <a:pt x="135" y="69"/>
                </a:lnTo>
                <a:lnTo>
                  <a:pt x="135" y="64"/>
                </a:lnTo>
                <a:lnTo>
                  <a:pt x="137" y="57"/>
                </a:lnTo>
                <a:lnTo>
                  <a:pt x="141" y="49"/>
                </a:lnTo>
                <a:lnTo>
                  <a:pt x="141" y="49"/>
                </a:lnTo>
                <a:lnTo>
                  <a:pt x="148" y="31"/>
                </a:lnTo>
                <a:lnTo>
                  <a:pt x="152" y="18"/>
                </a:lnTo>
                <a:lnTo>
                  <a:pt x="152" y="18"/>
                </a:lnTo>
                <a:lnTo>
                  <a:pt x="152" y="13"/>
                </a:lnTo>
                <a:lnTo>
                  <a:pt x="150" y="9"/>
                </a:lnTo>
                <a:lnTo>
                  <a:pt x="146" y="5"/>
                </a:lnTo>
                <a:lnTo>
                  <a:pt x="141" y="4"/>
                </a:lnTo>
                <a:lnTo>
                  <a:pt x="141" y="4"/>
                </a:lnTo>
                <a:lnTo>
                  <a:pt x="137" y="5"/>
                </a:lnTo>
                <a:lnTo>
                  <a:pt x="132" y="7"/>
                </a:lnTo>
                <a:lnTo>
                  <a:pt x="130" y="11"/>
                </a:lnTo>
                <a:lnTo>
                  <a:pt x="128" y="15"/>
                </a:lnTo>
                <a:lnTo>
                  <a:pt x="128" y="15"/>
                </a:lnTo>
                <a:lnTo>
                  <a:pt x="128" y="20"/>
                </a:lnTo>
                <a:lnTo>
                  <a:pt x="130" y="24"/>
                </a:lnTo>
                <a:lnTo>
                  <a:pt x="134" y="27"/>
                </a:lnTo>
                <a:lnTo>
                  <a:pt x="137" y="29"/>
                </a:lnTo>
                <a:lnTo>
                  <a:pt x="137" y="29"/>
                </a:lnTo>
                <a:lnTo>
                  <a:pt x="137" y="29"/>
                </a:lnTo>
                <a:lnTo>
                  <a:pt x="132" y="46"/>
                </a:lnTo>
                <a:lnTo>
                  <a:pt x="124" y="55"/>
                </a:lnTo>
                <a:lnTo>
                  <a:pt x="124" y="55"/>
                </a:lnTo>
                <a:lnTo>
                  <a:pt x="117" y="51"/>
                </a:lnTo>
                <a:lnTo>
                  <a:pt x="117" y="51"/>
                </a:lnTo>
                <a:lnTo>
                  <a:pt x="81" y="31"/>
                </a:lnTo>
                <a:lnTo>
                  <a:pt x="60" y="24"/>
                </a:lnTo>
                <a:lnTo>
                  <a:pt x="40" y="18"/>
                </a:lnTo>
                <a:lnTo>
                  <a:pt x="40" y="18"/>
                </a:lnTo>
                <a:lnTo>
                  <a:pt x="42" y="13"/>
                </a:lnTo>
                <a:lnTo>
                  <a:pt x="42" y="13"/>
                </a:lnTo>
                <a:lnTo>
                  <a:pt x="48" y="4"/>
                </a:lnTo>
                <a:lnTo>
                  <a:pt x="50" y="0"/>
                </a:lnTo>
                <a:lnTo>
                  <a:pt x="50" y="0"/>
                </a:lnTo>
                <a:lnTo>
                  <a:pt x="46" y="2"/>
                </a:lnTo>
                <a:lnTo>
                  <a:pt x="39" y="5"/>
                </a:lnTo>
                <a:lnTo>
                  <a:pt x="39" y="5"/>
                </a:lnTo>
                <a:lnTo>
                  <a:pt x="29" y="9"/>
                </a:lnTo>
                <a:lnTo>
                  <a:pt x="24" y="11"/>
                </a:lnTo>
                <a:lnTo>
                  <a:pt x="24" y="11"/>
                </a:lnTo>
                <a:lnTo>
                  <a:pt x="18" y="11"/>
                </a:lnTo>
                <a:lnTo>
                  <a:pt x="15" y="11"/>
                </a:lnTo>
                <a:lnTo>
                  <a:pt x="15" y="11"/>
                </a:lnTo>
                <a:lnTo>
                  <a:pt x="13" y="13"/>
                </a:lnTo>
                <a:lnTo>
                  <a:pt x="9" y="22"/>
                </a:lnTo>
                <a:lnTo>
                  <a:pt x="9" y="22"/>
                </a:lnTo>
                <a:lnTo>
                  <a:pt x="6" y="33"/>
                </a:lnTo>
                <a:lnTo>
                  <a:pt x="6" y="33"/>
                </a:lnTo>
                <a:lnTo>
                  <a:pt x="2" y="38"/>
                </a:lnTo>
                <a:lnTo>
                  <a:pt x="0" y="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89" name="Freeform 40"/>
          <p:cNvSpPr>
            <a:spLocks/>
          </p:cNvSpPr>
          <p:nvPr userDrawn="1"/>
        </p:nvSpPr>
        <p:spPr bwMode="auto">
          <a:xfrm>
            <a:off x="8226425" y="-921915"/>
            <a:ext cx="30163" cy="34925"/>
          </a:xfrm>
          <a:custGeom>
            <a:avLst/>
            <a:gdLst>
              <a:gd name="T0" fmla="*/ 12 w 36"/>
              <a:gd name="T1" fmla="*/ 44 h 44"/>
              <a:gd name="T2" fmla="*/ 12 w 36"/>
              <a:gd name="T3" fmla="*/ 44 h 44"/>
              <a:gd name="T4" fmla="*/ 27 w 36"/>
              <a:gd name="T5" fmla="*/ 42 h 44"/>
              <a:gd name="T6" fmla="*/ 36 w 36"/>
              <a:gd name="T7" fmla="*/ 40 h 44"/>
              <a:gd name="T8" fmla="*/ 36 w 36"/>
              <a:gd name="T9" fmla="*/ 3 h 44"/>
              <a:gd name="T10" fmla="*/ 36 w 36"/>
              <a:gd name="T11" fmla="*/ 3 h 44"/>
              <a:gd name="T12" fmla="*/ 16 w 36"/>
              <a:gd name="T13" fmla="*/ 0 h 44"/>
              <a:gd name="T14" fmla="*/ 16 w 36"/>
              <a:gd name="T15" fmla="*/ 0 h 44"/>
              <a:gd name="T16" fmla="*/ 11 w 36"/>
              <a:gd name="T17" fmla="*/ 0 h 44"/>
              <a:gd name="T18" fmla="*/ 7 w 36"/>
              <a:gd name="T19" fmla="*/ 2 h 44"/>
              <a:gd name="T20" fmla="*/ 3 w 36"/>
              <a:gd name="T21" fmla="*/ 3 h 44"/>
              <a:gd name="T22" fmla="*/ 1 w 36"/>
              <a:gd name="T23" fmla="*/ 7 h 44"/>
              <a:gd name="T24" fmla="*/ 0 w 36"/>
              <a:gd name="T25" fmla="*/ 13 h 44"/>
              <a:gd name="T26" fmla="*/ 0 w 36"/>
              <a:gd name="T27" fmla="*/ 16 h 44"/>
              <a:gd name="T28" fmla="*/ 0 w 36"/>
              <a:gd name="T29" fmla="*/ 27 h 44"/>
              <a:gd name="T30" fmla="*/ 0 w 36"/>
              <a:gd name="T31" fmla="*/ 27 h 44"/>
              <a:gd name="T32" fmla="*/ 1 w 36"/>
              <a:gd name="T33" fmla="*/ 34 h 44"/>
              <a:gd name="T34" fmla="*/ 5 w 36"/>
              <a:gd name="T35" fmla="*/ 40 h 44"/>
              <a:gd name="T36" fmla="*/ 9 w 36"/>
              <a:gd name="T37" fmla="*/ 42 h 44"/>
              <a:gd name="T38" fmla="*/ 12 w 36"/>
              <a:gd name="T3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 h="44">
                <a:moveTo>
                  <a:pt x="12" y="44"/>
                </a:moveTo>
                <a:lnTo>
                  <a:pt x="12" y="44"/>
                </a:lnTo>
                <a:lnTo>
                  <a:pt x="27" y="42"/>
                </a:lnTo>
                <a:lnTo>
                  <a:pt x="36" y="40"/>
                </a:lnTo>
                <a:lnTo>
                  <a:pt x="36" y="3"/>
                </a:lnTo>
                <a:lnTo>
                  <a:pt x="36" y="3"/>
                </a:lnTo>
                <a:lnTo>
                  <a:pt x="16" y="0"/>
                </a:lnTo>
                <a:lnTo>
                  <a:pt x="16" y="0"/>
                </a:lnTo>
                <a:lnTo>
                  <a:pt x="11" y="0"/>
                </a:lnTo>
                <a:lnTo>
                  <a:pt x="7" y="2"/>
                </a:lnTo>
                <a:lnTo>
                  <a:pt x="3" y="3"/>
                </a:lnTo>
                <a:lnTo>
                  <a:pt x="1" y="7"/>
                </a:lnTo>
                <a:lnTo>
                  <a:pt x="0" y="13"/>
                </a:lnTo>
                <a:lnTo>
                  <a:pt x="0" y="16"/>
                </a:lnTo>
                <a:lnTo>
                  <a:pt x="0" y="27"/>
                </a:lnTo>
                <a:lnTo>
                  <a:pt x="0" y="27"/>
                </a:lnTo>
                <a:lnTo>
                  <a:pt x="1" y="34"/>
                </a:lnTo>
                <a:lnTo>
                  <a:pt x="5" y="40"/>
                </a:lnTo>
                <a:lnTo>
                  <a:pt x="9" y="42"/>
                </a:lnTo>
                <a:lnTo>
                  <a:pt x="12" y="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0" name="Freeform 41"/>
          <p:cNvSpPr>
            <a:spLocks/>
          </p:cNvSpPr>
          <p:nvPr userDrawn="1"/>
        </p:nvSpPr>
        <p:spPr bwMode="auto">
          <a:xfrm>
            <a:off x="8262938" y="-928265"/>
            <a:ext cx="44450" cy="41275"/>
          </a:xfrm>
          <a:custGeom>
            <a:avLst/>
            <a:gdLst>
              <a:gd name="T0" fmla="*/ 55 w 55"/>
              <a:gd name="T1" fmla="*/ 38 h 53"/>
              <a:gd name="T2" fmla="*/ 55 w 55"/>
              <a:gd name="T3" fmla="*/ 27 h 53"/>
              <a:gd name="T4" fmla="*/ 55 w 55"/>
              <a:gd name="T5" fmla="*/ 7 h 53"/>
              <a:gd name="T6" fmla="*/ 55 w 55"/>
              <a:gd name="T7" fmla="*/ 1 h 53"/>
              <a:gd name="T8" fmla="*/ 53 w 55"/>
              <a:gd name="T9" fmla="*/ 0 h 53"/>
              <a:gd name="T10" fmla="*/ 46 w 55"/>
              <a:gd name="T11" fmla="*/ 0 h 53"/>
              <a:gd name="T12" fmla="*/ 40 w 55"/>
              <a:gd name="T13" fmla="*/ 0 h 53"/>
              <a:gd name="T14" fmla="*/ 29 w 55"/>
              <a:gd name="T15" fmla="*/ 0 h 53"/>
              <a:gd name="T16" fmla="*/ 28 w 55"/>
              <a:gd name="T17" fmla="*/ 7 h 53"/>
              <a:gd name="T18" fmla="*/ 26 w 55"/>
              <a:gd name="T19" fmla="*/ 0 h 53"/>
              <a:gd name="T20" fmla="*/ 17 w 55"/>
              <a:gd name="T21" fmla="*/ 0 h 53"/>
              <a:gd name="T22" fmla="*/ 11 w 55"/>
              <a:gd name="T23" fmla="*/ 0 h 53"/>
              <a:gd name="T24" fmla="*/ 4 w 55"/>
              <a:gd name="T25" fmla="*/ 0 h 53"/>
              <a:gd name="T26" fmla="*/ 2 w 55"/>
              <a:gd name="T27" fmla="*/ 1 h 53"/>
              <a:gd name="T28" fmla="*/ 0 w 55"/>
              <a:gd name="T29" fmla="*/ 7 h 53"/>
              <a:gd name="T30" fmla="*/ 0 w 55"/>
              <a:gd name="T31" fmla="*/ 27 h 53"/>
              <a:gd name="T32" fmla="*/ 0 w 55"/>
              <a:gd name="T33" fmla="*/ 49 h 53"/>
              <a:gd name="T34" fmla="*/ 6 w 55"/>
              <a:gd name="T35" fmla="*/ 49 h 53"/>
              <a:gd name="T36" fmla="*/ 9 w 55"/>
              <a:gd name="T37" fmla="*/ 47 h 53"/>
              <a:gd name="T38" fmla="*/ 13 w 55"/>
              <a:gd name="T39" fmla="*/ 40 h 53"/>
              <a:gd name="T40" fmla="*/ 13 w 55"/>
              <a:gd name="T41" fmla="*/ 53 h 53"/>
              <a:gd name="T42" fmla="*/ 17 w 55"/>
              <a:gd name="T43" fmla="*/ 53 h 53"/>
              <a:gd name="T44" fmla="*/ 24 w 55"/>
              <a:gd name="T45" fmla="*/ 49 h 53"/>
              <a:gd name="T46" fmla="*/ 26 w 55"/>
              <a:gd name="T47" fmla="*/ 43 h 53"/>
              <a:gd name="T48" fmla="*/ 28 w 55"/>
              <a:gd name="T49" fmla="*/ 40 h 53"/>
              <a:gd name="T50" fmla="*/ 28 w 55"/>
              <a:gd name="T51" fmla="*/ 53 h 53"/>
              <a:gd name="T52" fmla="*/ 39 w 55"/>
              <a:gd name="T53" fmla="*/ 49 h 53"/>
              <a:gd name="T54" fmla="*/ 42 w 55"/>
              <a:gd name="T55" fmla="*/ 43 h 53"/>
              <a:gd name="T56" fmla="*/ 42 w 55"/>
              <a:gd name="T57" fmla="*/ 40 h 53"/>
              <a:gd name="T58" fmla="*/ 42 w 55"/>
              <a:gd name="T59" fmla="*/ 49 h 53"/>
              <a:gd name="T60" fmla="*/ 46 w 55"/>
              <a:gd name="T61" fmla="*/ 47 h 53"/>
              <a:gd name="T62" fmla="*/ 51 w 55"/>
              <a:gd name="T63" fmla="*/ 45 h 53"/>
              <a:gd name="T64" fmla="*/ 55 w 55"/>
              <a:gd name="T65" fmla="*/ 38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5" h="53">
                <a:moveTo>
                  <a:pt x="55" y="38"/>
                </a:moveTo>
                <a:lnTo>
                  <a:pt x="55" y="38"/>
                </a:lnTo>
                <a:lnTo>
                  <a:pt x="55" y="27"/>
                </a:lnTo>
                <a:lnTo>
                  <a:pt x="55" y="27"/>
                </a:lnTo>
                <a:lnTo>
                  <a:pt x="55" y="7"/>
                </a:lnTo>
                <a:lnTo>
                  <a:pt x="55" y="7"/>
                </a:lnTo>
                <a:lnTo>
                  <a:pt x="55" y="3"/>
                </a:lnTo>
                <a:lnTo>
                  <a:pt x="55" y="1"/>
                </a:lnTo>
                <a:lnTo>
                  <a:pt x="53" y="0"/>
                </a:lnTo>
                <a:lnTo>
                  <a:pt x="53" y="0"/>
                </a:lnTo>
                <a:lnTo>
                  <a:pt x="46" y="0"/>
                </a:lnTo>
                <a:lnTo>
                  <a:pt x="46" y="0"/>
                </a:lnTo>
                <a:lnTo>
                  <a:pt x="42" y="7"/>
                </a:lnTo>
                <a:lnTo>
                  <a:pt x="40" y="0"/>
                </a:lnTo>
                <a:lnTo>
                  <a:pt x="40" y="0"/>
                </a:lnTo>
                <a:lnTo>
                  <a:pt x="29" y="0"/>
                </a:lnTo>
                <a:lnTo>
                  <a:pt x="29" y="0"/>
                </a:lnTo>
                <a:lnTo>
                  <a:pt x="28" y="7"/>
                </a:lnTo>
                <a:lnTo>
                  <a:pt x="26" y="0"/>
                </a:lnTo>
                <a:lnTo>
                  <a:pt x="26" y="0"/>
                </a:lnTo>
                <a:lnTo>
                  <a:pt x="17" y="0"/>
                </a:lnTo>
                <a:lnTo>
                  <a:pt x="17" y="0"/>
                </a:lnTo>
                <a:lnTo>
                  <a:pt x="13" y="7"/>
                </a:lnTo>
                <a:lnTo>
                  <a:pt x="11" y="0"/>
                </a:lnTo>
                <a:lnTo>
                  <a:pt x="11" y="0"/>
                </a:lnTo>
                <a:lnTo>
                  <a:pt x="4" y="0"/>
                </a:lnTo>
                <a:lnTo>
                  <a:pt x="4" y="0"/>
                </a:lnTo>
                <a:lnTo>
                  <a:pt x="2" y="1"/>
                </a:lnTo>
                <a:lnTo>
                  <a:pt x="0" y="3"/>
                </a:lnTo>
                <a:lnTo>
                  <a:pt x="0" y="7"/>
                </a:lnTo>
                <a:lnTo>
                  <a:pt x="0" y="7"/>
                </a:lnTo>
                <a:lnTo>
                  <a:pt x="0" y="27"/>
                </a:lnTo>
                <a:lnTo>
                  <a:pt x="0" y="27"/>
                </a:lnTo>
                <a:lnTo>
                  <a:pt x="0" y="49"/>
                </a:lnTo>
                <a:lnTo>
                  <a:pt x="0" y="49"/>
                </a:lnTo>
                <a:lnTo>
                  <a:pt x="6" y="49"/>
                </a:lnTo>
                <a:lnTo>
                  <a:pt x="9" y="47"/>
                </a:lnTo>
                <a:lnTo>
                  <a:pt x="9" y="47"/>
                </a:lnTo>
                <a:lnTo>
                  <a:pt x="11" y="42"/>
                </a:lnTo>
                <a:lnTo>
                  <a:pt x="13" y="40"/>
                </a:lnTo>
                <a:lnTo>
                  <a:pt x="13" y="40"/>
                </a:lnTo>
                <a:lnTo>
                  <a:pt x="13" y="53"/>
                </a:lnTo>
                <a:lnTo>
                  <a:pt x="13" y="53"/>
                </a:lnTo>
                <a:lnTo>
                  <a:pt x="17" y="53"/>
                </a:lnTo>
                <a:lnTo>
                  <a:pt x="20" y="51"/>
                </a:lnTo>
                <a:lnTo>
                  <a:pt x="24" y="49"/>
                </a:lnTo>
                <a:lnTo>
                  <a:pt x="24" y="49"/>
                </a:lnTo>
                <a:lnTo>
                  <a:pt x="26" y="43"/>
                </a:lnTo>
                <a:lnTo>
                  <a:pt x="28" y="40"/>
                </a:lnTo>
                <a:lnTo>
                  <a:pt x="28" y="40"/>
                </a:lnTo>
                <a:lnTo>
                  <a:pt x="28" y="53"/>
                </a:lnTo>
                <a:lnTo>
                  <a:pt x="28" y="53"/>
                </a:lnTo>
                <a:lnTo>
                  <a:pt x="33" y="51"/>
                </a:lnTo>
                <a:lnTo>
                  <a:pt x="39" y="49"/>
                </a:lnTo>
                <a:lnTo>
                  <a:pt x="39" y="49"/>
                </a:lnTo>
                <a:lnTo>
                  <a:pt x="42" y="43"/>
                </a:lnTo>
                <a:lnTo>
                  <a:pt x="42" y="40"/>
                </a:lnTo>
                <a:lnTo>
                  <a:pt x="42" y="40"/>
                </a:lnTo>
                <a:lnTo>
                  <a:pt x="42" y="49"/>
                </a:lnTo>
                <a:lnTo>
                  <a:pt x="42" y="49"/>
                </a:lnTo>
                <a:lnTo>
                  <a:pt x="46" y="47"/>
                </a:lnTo>
                <a:lnTo>
                  <a:pt x="46" y="47"/>
                </a:lnTo>
                <a:lnTo>
                  <a:pt x="51" y="45"/>
                </a:lnTo>
                <a:lnTo>
                  <a:pt x="51" y="45"/>
                </a:lnTo>
                <a:lnTo>
                  <a:pt x="53" y="43"/>
                </a:lnTo>
                <a:lnTo>
                  <a:pt x="55" y="3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1" name="Freeform 42"/>
          <p:cNvSpPr>
            <a:spLocks/>
          </p:cNvSpPr>
          <p:nvPr userDrawn="1"/>
        </p:nvSpPr>
        <p:spPr bwMode="auto">
          <a:xfrm>
            <a:off x="8269288" y="-926678"/>
            <a:ext cx="53975" cy="60325"/>
          </a:xfrm>
          <a:custGeom>
            <a:avLst/>
            <a:gdLst>
              <a:gd name="T0" fmla="*/ 67 w 67"/>
              <a:gd name="T1" fmla="*/ 57 h 77"/>
              <a:gd name="T2" fmla="*/ 67 w 67"/>
              <a:gd name="T3" fmla="*/ 44 h 77"/>
              <a:gd name="T4" fmla="*/ 67 w 67"/>
              <a:gd name="T5" fmla="*/ 44 h 77"/>
              <a:gd name="T6" fmla="*/ 65 w 67"/>
              <a:gd name="T7" fmla="*/ 42 h 77"/>
              <a:gd name="T8" fmla="*/ 63 w 67"/>
              <a:gd name="T9" fmla="*/ 37 h 77"/>
              <a:gd name="T10" fmla="*/ 63 w 67"/>
              <a:gd name="T11" fmla="*/ 30 h 77"/>
              <a:gd name="T12" fmla="*/ 63 w 67"/>
              <a:gd name="T13" fmla="*/ 30 h 77"/>
              <a:gd name="T14" fmla="*/ 63 w 67"/>
              <a:gd name="T15" fmla="*/ 26 h 77"/>
              <a:gd name="T16" fmla="*/ 65 w 67"/>
              <a:gd name="T17" fmla="*/ 21 h 77"/>
              <a:gd name="T18" fmla="*/ 67 w 67"/>
              <a:gd name="T19" fmla="*/ 17 h 77"/>
              <a:gd name="T20" fmla="*/ 67 w 67"/>
              <a:gd name="T21" fmla="*/ 6 h 77"/>
              <a:gd name="T22" fmla="*/ 67 w 67"/>
              <a:gd name="T23" fmla="*/ 6 h 77"/>
              <a:gd name="T24" fmla="*/ 63 w 67"/>
              <a:gd name="T25" fmla="*/ 2 h 77"/>
              <a:gd name="T26" fmla="*/ 60 w 67"/>
              <a:gd name="T27" fmla="*/ 0 h 77"/>
              <a:gd name="T28" fmla="*/ 56 w 67"/>
              <a:gd name="T29" fmla="*/ 0 h 77"/>
              <a:gd name="T30" fmla="*/ 56 w 67"/>
              <a:gd name="T31" fmla="*/ 41 h 77"/>
              <a:gd name="T32" fmla="*/ 56 w 67"/>
              <a:gd name="T33" fmla="*/ 41 h 77"/>
              <a:gd name="T34" fmla="*/ 54 w 67"/>
              <a:gd name="T35" fmla="*/ 46 h 77"/>
              <a:gd name="T36" fmla="*/ 51 w 67"/>
              <a:gd name="T37" fmla="*/ 52 h 77"/>
              <a:gd name="T38" fmla="*/ 45 w 67"/>
              <a:gd name="T39" fmla="*/ 55 h 77"/>
              <a:gd name="T40" fmla="*/ 38 w 67"/>
              <a:gd name="T41" fmla="*/ 57 h 77"/>
              <a:gd name="T42" fmla="*/ 38 w 67"/>
              <a:gd name="T43" fmla="*/ 57 h 77"/>
              <a:gd name="T44" fmla="*/ 23 w 67"/>
              <a:gd name="T45" fmla="*/ 59 h 77"/>
              <a:gd name="T46" fmla="*/ 10 w 67"/>
              <a:gd name="T47" fmla="*/ 61 h 77"/>
              <a:gd name="T48" fmla="*/ 0 w 67"/>
              <a:gd name="T49" fmla="*/ 61 h 77"/>
              <a:gd name="T50" fmla="*/ 0 w 67"/>
              <a:gd name="T51" fmla="*/ 61 h 77"/>
              <a:gd name="T52" fmla="*/ 1 w 67"/>
              <a:gd name="T53" fmla="*/ 70 h 77"/>
              <a:gd name="T54" fmla="*/ 1 w 67"/>
              <a:gd name="T55" fmla="*/ 70 h 77"/>
              <a:gd name="T56" fmla="*/ 5 w 67"/>
              <a:gd name="T57" fmla="*/ 75 h 77"/>
              <a:gd name="T58" fmla="*/ 7 w 67"/>
              <a:gd name="T59" fmla="*/ 77 h 77"/>
              <a:gd name="T60" fmla="*/ 54 w 67"/>
              <a:gd name="T61" fmla="*/ 77 h 77"/>
              <a:gd name="T62" fmla="*/ 67 w 67"/>
              <a:gd name="T63" fmla="*/ 5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7" h="77">
                <a:moveTo>
                  <a:pt x="67" y="57"/>
                </a:moveTo>
                <a:lnTo>
                  <a:pt x="67" y="44"/>
                </a:lnTo>
                <a:lnTo>
                  <a:pt x="67" y="44"/>
                </a:lnTo>
                <a:lnTo>
                  <a:pt x="65" y="42"/>
                </a:lnTo>
                <a:lnTo>
                  <a:pt x="63" y="37"/>
                </a:lnTo>
                <a:lnTo>
                  <a:pt x="63" y="30"/>
                </a:lnTo>
                <a:lnTo>
                  <a:pt x="63" y="30"/>
                </a:lnTo>
                <a:lnTo>
                  <a:pt x="63" y="26"/>
                </a:lnTo>
                <a:lnTo>
                  <a:pt x="65" y="21"/>
                </a:lnTo>
                <a:lnTo>
                  <a:pt x="67" y="17"/>
                </a:lnTo>
                <a:lnTo>
                  <a:pt x="67" y="6"/>
                </a:lnTo>
                <a:lnTo>
                  <a:pt x="67" y="6"/>
                </a:lnTo>
                <a:lnTo>
                  <a:pt x="63" y="2"/>
                </a:lnTo>
                <a:lnTo>
                  <a:pt x="60" y="0"/>
                </a:lnTo>
                <a:lnTo>
                  <a:pt x="56" y="0"/>
                </a:lnTo>
                <a:lnTo>
                  <a:pt x="56" y="41"/>
                </a:lnTo>
                <a:lnTo>
                  <a:pt x="56" y="41"/>
                </a:lnTo>
                <a:lnTo>
                  <a:pt x="54" y="46"/>
                </a:lnTo>
                <a:lnTo>
                  <a:pt x="51" y="52"/>
                </a:lnTo>
                <a:lnTo>
                  <a:pt x="45" y="55"/>
                </a:lnTo>
                <a:lnTo>
                  <a:pt x="38" y="57"/>
                </a:lnTo>
                <a:lnTo>
                  <a:pt x="38" y="57"/>
                </a:lnTo>
                <a:lnTo>
                  <a:pt x="23" y="59"/>
                </a:lnTo>
                <a:lnTo>
                  <a:pt x="10" y="61"/>
                </a:lnTo>
                <a:lnTo>
                  <a:pt x="0" y="61"/>
                </a:lnTo>
                <a:lnTo>
                  <a:pt x="0" y="61"/>
                </a:lnTo>
                <a:lnTo>
                  <a:pt x="1" y="70"/>
                </a:lnTo>
                <a:lnTo>
                  <a:pt x="1" y="70"/>
                </a:lnTo>
                <a:lnTo>
                  <a:pt x="5" y="75"/>
                </a:lnTo>
                <a:lnTo>
                  <a:pt x="7" y="77"/>
                </a:lnTo>
                <a:lnTo>
                  <a:pt x="54" y="77"/>
                </a:lnTo>
                <a:lnTo>
                  <a:pt x="67" y="5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2" name="Freeform 43"/>
          <p:cNvSpPr>
            <a:spLocks/>
          </p:cNvSpPr>
          <p:nvPr userDrawn="1"/>
        </p:nvSpPr>
        <p:spPr bwMode="auto">
          <a:xfrm>
            <a:off x="8272463" y="-858415"/>
            <a:ext cx="42863" cy="14288"/>
          </a:xfrm>
          <a:custGeom>
            <a:avLst/>
            <a:gdLst>
              <a:gd name="T0" fmla="*/ 4 w 55"/>
              <a:gd name="T1" fmla="*/ 19 h 19"/>
              <a:gd name="T2" fmla="*/ 51 w 55"/>
              <a:gd name="T3" fmla="*/ 19 h 19"/>
              <a:gd name="T4" fmla="*/ 51 w 55"/>
              <a:gd name="T5" fmla="*/ 19 h 19"/>
              <a:gd name="T6" fmla="*/ 55 w 55"/>
              <a:gd name="T7" fmla="*/ 9 h 19"/>
              <a:gd name="T8" fmla="*/ 53 w 55"/>
              <a:gd name="T9" fmla="*/ 0 h 19"/>
              <a:gd name="T10" fmla="*/ 4 w 55"/>
              <a:gd name="T11" fmla="*/ 0 h 19"/>
              <a:gd name="T12" fmla="*/ 0 w 55"/>
              <a:gd name="T13" fmla="*/ 9 h 19"/>
              <a:gd name="T14" fmla="*/ 4 w 55"/>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19">
                <a:moveTo>
                  <a:pt x="4" y="19"/>
                </a:moveTo>
                <a:lnTo>
                  <a:pt x="51" y="19"/>
                </a:lnTo>
                <a:lnTo>
                  <a:pt x="51" y="19"/>
                </a:lnTo>
                <a:lnTo>
                  <a:pt x="55" y="9"/>
                </a:lnTo>
                <a:lnTo>
                  <a:pt x="53" y="0"/>
                </a:lnTo>
                <a:lnTo>
                  <a:pt x="4" y="0"/>
                </a:lnTo>
                <a:lnTo>
                  <a:pt x="0" y="9"/>
                </a:lnTo>
                <a:lnTo>
                  <a:pt x="4" y="1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3" name="Freeform 44"/>
          <p:cNvSpPr>
            <a:spLocks/>
          </p:cNvSpPr>
          <p:nvPr userDrawn="1"/>
        </p:nvSpPr>
        <p:spPr bwMode="auto">
          <a:xfrm>
            <a:off x="8274050" y="-837778"/>
            <a:ext cx="44450" cy="50800"/>
          </a:xfrm>
          <a:custGeom>
            <a:avLst/>
            <a:gdLst>
              <a:gd name="T0" fmla="*/ 47 w 55"/>
              <a:gd name="T1" fmla="*/ 0 h 64"/>
              <a:gd name="T2" fmla="*/ 0 w 55"/>
              <a:gd name="T3" fmla="*/ 0 h 64"/>
              <a:gd name="T4" fmla="*/ 0 w 55"/>
              <a:gd name="T5" fmla="*/ 62 h 64"/>
              <a:gd name="T6" fmla="*/ 42 w 55"/>
              <a:gd name="T7" fmla="*/ 64 h 64"/>
              <a:gd name="T8" fmla="*/ 55 w 55"/>
              <a:gd name="T9" fmla="*/ 53 h 64"/>
              <a:gd name="T10" fmla="*/ 47 w 55"/>
              <a:gd name="T11" fmla="*/ 0 h 64"/>
            </a:gdLst>
            <a:ahLst/>
            <a:cxnLst>
              <a:cxn ang="0">
                <a:pos x="T0" y="T1"/>
              </a:cxn>
              <a:cxn ang="0">
                <a:pos x="T2" y="T3"/>
              </a:cxn>
              <a:cxn ang="0">
                <a:pos x="T4" y="T5"/>
              </a:cxn>
              <a:cxn ang="0">
                <a:pos x="T6" y="T7"/>
              </a:cxn>
              <a:cxn ang="0">
                <a:pos x="T8" y="T9"/>
              </a:cxn>
              <a:cxn ang="0">
                <a:pos x="T10" y="T11"/>
              </a:cxn>
            </a:cxnLst>
            <a:rect l="0" t="0" r="r" b="b"/>
            <a:pathLst>
              <a:path w="55" h="64">
                <a:moveTo>
                  <a:pt x="47" y="0"/>
                </a:moveTo>
                <a:lnTo>
                  <a:pt x="0" y="0"/>
                </a:lnTo>
                <a:lnTo>
                  <a:pt x="0" y="62"/>
                </a:lnTo>
                <a:lnTo>
                  <a:pt x="42" y="64"/>
                </a:lnTo>
                <a:lnTo>
                  <a:pt x="55" y="53"/>
                </a:lnTo>
                <a:lnTo>
                  <a:pt x="4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4" name="Freeform 45"/>
          <p:cNvSpPr>
            <a:spLocks/>
          </p:cNvSpPr>
          <p:nvPr userDrawn="1"/>
        </p:nvSpPr>
        <p:spPr bwMode="auto">
          <a:xfrm>
            <a:off x="8274050" y="-788565"/>
            <a:ext cx="57150" cy="50800"/>
          </a:xfrm>
          <a:custGeom>
            <a:avLst/>
            <a:gdLst>
              <a:gd name="T0" fmla="*/ 73 w 73"/>
              <a:gd name="T1" fmla="*/ 16 h 64"/>
              <a:gd name="T2" fmla="*/ 73 w 73"/>
              <a:gd name="T3" fmla="*/ 16 h 64"/>
              <a:gd name="T4" fmla="*/ 64 w 73"/>
              <a:gd name="T5" fmla="*/ 9 h 64"/>
              <a:gd name="T6" fmla="*/ 64 w 73"/>
              <a:gd name="T7" fmla="*/ 9 h 64"/>
              <a:gd name="T8" fmla="*/ 62 w 73"/>
              <a:gd name="T9" fmla="*/ 0 h 64"/>
              <a:gd name="T10" fmla="*/ 48 w 73"/>
              <a:gd name="T11" fmla="*/ 11 h 64"/>
              <a:gd name="T12" fmla="*/ 0 w 73"/>
              <a:gd name="T13" fmla="*/ 11 h 64"/>
              <a:gd name="T14" fmla="*/ 0 w 73"/>
              <a:gd name="T15" fmla="*/ 11 h 64"/>
              <a:gd name="T16" fmla="*/ 0 w 73"/>
              <a:gd name="T17" fmla="*/ 27 h 64"/>
              <a:gd name="T18" fmla="*/ 0 w 73"/>
              <a:gd name="T19" fmla="*/ 45 h 64"/>
              <a:gd name="T20" fmla="*/ 0 w 73"/>
              <a:gd name="T21" fmla="*/ 45 h 64"/>
              <a:gd name="T22" fmla="*/ 11 w 73"/>
              <a:gd name="T23" fmla="*/ 55 h 64"/>
              <a:gd name="T24" fmla="*/ 24 w 73"/>
              <a:gd name="T25" fmla="*/ 64 h 64"/>
              <a:gd name="T26" fmla="*/ 55 w 73"/>
              <a:gd name="T27" fmla="*/ 25 h 64"/>
              <a:gd name="T28" fmla="*/ 73 w 73"/>
              <a:gd name="T29"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64">
                <a:moveTo>
                  <a:pt x="73" y="16"/>
                </a:moveTo>
                <a:lnTo>
                  <a:pt x="73" y="16"/>
                </a:lnTo>
                <a:lnTo>
                  <a:pt x="64" y="9"/>
                </a:lnTo>
                <a:lnTo>
                  <a:pt x="64" y="9"/>
                </a:lnTo>
                <a:lnTo>
                  <a:pt x="62" y="0"/>
                </a:lnTo>
                <a:lnTo>
                  <a:pt x="48" y="11"/>
                </a:lnTo>
                <a:lnTo>
                  <a:pt x="0" y="11"/>
                </a:lnTo>
                <a:lnTo>
                  <a:pt x="0" y="11"/>
                </a:lnTo>
                <a:lnTo>
                  <a:pt x="0" y="27"/>
                </a:lnTo>
                <a:lnTo>
                  <a:pt x="0" y="45"/>
                </a:lnTo>
                <a:lnTo>
                  <a:pt x="0" y="45"/>
                </a:lnTo>
                <a:lnTo>
                  <a:pt x="11" y="55"/>
                </a:lnTo>
                <a:lnTo>
                  <a:pt x="24" y="64"/>
                </a:lnTo>
                <a:lnTo>
                  <a:pt x="55" y="25"/>
                </a:lnTo>
                <a:lnTo>
                  <a:pt x="73"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5" name="Freeform 46"/>
          <p:cNvSpPr>
            <a:spLocks/>
          </p:cNvSpPr>
          <p:nvPr userDrawn="1"/>
        </p:nvSpPr>
        <p:spPr bwMode="auto">
          <a:xfrm>
            <a:off x="8301038" y="-769515"/>
            <a:ext cx="85725" cy="50800"/>
          </a:xfrm>
          <a:custGeom>
            <a:avLst/>
            <a:gdLst>
              <a:gd name="T0" fmla="*/ 27 w 108"/>
              <a:gd name="T1" fmla="*/ 7 h 63"/>
              <a:gd name="T2" fmla="*/ 0 w 108"/>
              <a:gd name="T3" fmla="*/ 43 h 63"/>
              <a:gd name="T4" fmla="*/ 45 w 108"/>
              <a:gd name="T5" fmla="*/ 63 h 63"/>
              <a:gd name="T6" fmla="*/ 45 w 108"/>
              <a:gd name="T7" fmla="*/ 63 h 63"/>
              <a:gd name="T8" fmla="*/ 65 w 108"/>
              <a:gd name="T9" fmla="*/ 51 h 63"/>
              <a:gd name="T10" fmla="*/ 86 w 108"/>
              <a:gd name="T11" fmla="*/ 38 h 63"/>
              <a:gd name="T12" fmla="*/ 108 w 108"/>
              <a:gd name="T13" fmla="*/ 23 h 63"/>
              <a:gd name="T14" fmla="*/ 44 w 108"/>
              <a:gd name="T15" fmla="*/ 0 h 63"/>
              <a:gd name="T16" fmla="*/ 27 w 108"/>
              <a:gd name="T17" fmla="*/ 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63">
                <a:moveTo>
                  <a:pt x="27" y="7"/>
                </a:moveTo>
                <a:lnTo>
                  <a:pt x="0" y="43"/>
                </a:lnTo>
                <a:lnTo>
                  <a:pt x="45" y="63"/>
                </a:lnTo>
                <a:lnTo>
                  <a:pt x="45" y="63"/>
                </a:lnTo>
                <a:lnTo>
                  <a:pt x="65" y="51"/>
                </a:lnTo>
                <a:lnTo>
                  <a:pt x="86" y="38"/>
                </a:lnTo>
                <a:lnTo>
                  <a:pt x="108" y="23"/>
                </a:lnTo>
                <a:lnTo>
                  <a:pt x="44" y="0"/>
                </a:lnTo>
                <a:lnTo>
                  <a:pt x="2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6" name="Freeform 47"/>
          <p:cNvSpPr>
            <a:spLocks/>
          </p:cNvSpPr>
          <p:nvPr userDrawn="1"/>
        </p:nvSpPr>
        <p:spPr bwMode="auto">
          <a:xfrm>
            <a:off x="8324850" y="-952078"/>
            <a:ext cx="22225" cy="93663"/>
          </a:xfrm>
          <a:custGeom>
            <a:avLst/>
            <a:gdLst>
              <a:gd name="T0" fmla="*/ 22 w 27"/>
              <a:gd name="T1" fmla="*/ 50 h 117"/>
              <a:gd name="T2" fmla="*/ 22 w 27"/>
              <a:gd name="T3" fmla="*/ 50 h 117"/>
              <a:gd name="T4" fmla="*/ 22 w 27"/>
              <a:gd name="T5" fmla="*/ 11 h 117"/>
              <a:gd name="T6" fmla="*/ 22 w 27"/>
              <a:gd name="T7" fmla="*/ 11 h 117"/>
              <a:gd name="T8" fmla="*/ 24 w 27"/>
              <a:gd name="T9" fmla="*/ 8 h 117"/>
              <a:gd name="T10" fmla="*/ 24 w 27"/>
              <a:gd name="T11" fmla="*/ 8 h 117"/>
              <a:gd name="T12" fmla="*/ 24 w 27"/>
              <a:gd name="T13" fmla="*/ 4 h 117"/>
              <a:gd name="T14" fmla="*/ 24 w 27"/>
              <a:gd name="T15" fmla="*/ 0 h 117"/>
              <a:gd name="T16" fmla="*/ 2 w 27"/>
              <a:gd name="T17" fmla="*/ 0 h 117"/>
              <a:gd name="T18" fmla="*/ 2 w 27"/>
              <a:gd name="T19" fmla="*/ 0 h 117"/>
              <a:gd name="T20" fmla="*/ 2 w 27"/>
              <a:gd name="T21" fmla="*/ 6 h 117"/>
              <a:gd name="T22" fmla="*/ 2 w 27"/>
              <a:gd name="T23" fmla="*/ 6 h 117"/>
              <a:gd name="T24" fmla="*/ 2 w 27"/>
              <a:gd name="T25" fmla="*/ 9 h 117"/>
              <a:gd name="T26" fmla="*/ 3 w 27"/>
              <a:gd name="T27" fmla="*/ 11 h 117"/>
              <a:gd name="T28" fmla="*/ 3 w 27"/>
              <a:gd name="T29" fmla="*/ 50 h 117"/>
              <a:gd name="T30" fmla="*/ 3 w 27"/>
              <a:gd name="T31" fmla="*/ 50 h 117"/>
              <a:gd name="T32" fmla="*/ 2 w 27"/>
              <a:gd name="T33" fmla="*/ 52 h 117"/>
              <a:gd name="T34" fmla="*/ 0 w 27"/>
              <a:gd name="T35" fmla="*/ 61 h 117"/>
              <a:gd name="T36" fmla="*/ 0 w 27"/>
              <a:gd name="T37" fmla="*/ 61 h 117"/>
              <a:gd name="T38" fmla="*/ 0 w 27"/>
              <a:gd name="T39" fmla="*/ 66 h 117"/>
              <a:gd name="T40" fmla="*/ 2 w 27"/>
              <a:gd name="T41" fmla="*/ 72 h 117"/>
              <a:gd name="T42" fmla="*/ 5 w 27"/>
              <a:gd name="T43" fmla="*/ 75 h 117"/>
              <a:gd name="T44" fmla="*/ 3 w 27"/>
              <a:gd name="T45" fmla="*/ 106 h 117"/>
              <a:gd name="T46" fmla="*/ 3 w 27"/>
              <a:gd name="T47" fmla="*/ 106 h 117"/>
              <a:gd name="T48" fmla="*/ 3 w 27"/>
              <a:gd name="T49" fmla="*/ 108 h 117"/>
              <a:gd name="T50" fmla="*/ 2 w 27"/>
              <a:gd name="T51" fmla="*/ 112 h 117"/>
              <a:gd name="T52" fmla="*/ 2 w 27"/>
              <a:gd name="T53" fmla="*/ 112 h 117"/>
              <a:gd name="T54" fmla="*/ 2 w 27"/>
              <a:gd name="T55" fmla="*/ 117 h 117"/>
              <a:gd name="T56" fmla="*/ 24 w 27"/>
              <a:gd name="T57" fmla="*/ 117 h 117"/>
              <a:gd name="T58" fmla="*/ 24 w 27"/>
              <a:gd name="T59" fmla="*/ 117 h 117"/>
              <a:gd name="T60" fmla="*/ 24 w 27"/>
              <a:gd name="T61" fmla="*/ 110 h 117"/>
              <a:gd name="T62" fmla="*/ 24 w 27"/>
              <a:gd name="T63" fmla="*/ 110 h 117"/>
              <a:gd name="T64" fmla="*/ 22 w 27"/>
              <a:gd name="T65" fmla="*/ 106 h 117"/>
              <a:gd name="T66" fmla="*/ 22 w 27"/>
              <a:gd name="T67" fmla="*/ 75 h 117"/>
              <a:gd name="T68" fmla="*/ 22 w 27"/>
              <a:gd name="T69" fmla="*/ 75 h 117"/>
              <a:gd name="T70" fmla="*/ 25 w 27"/>
              <a:gd name="T71" fmla="*/ 70 h 117"/>
              <a:gd name="T72" fmla="*/ 25 w 27"/>
              <a:gd name="T73" fmla="*/ 66 h 117"/>
              <a:gd name="T74" fmla="*/ 27 w 27"/>
              <a:gd name="T75" fmla="*/ 62 h 117"/>
              <a:gd name="T76" fmla="*/ 27 w 27"/>
              <a:gd name="T77" fmla="*/ 62 h 117"/>
              <a:gd name="T78" fmla="*/ 24 w 27"/>
              <a:gd name="T79" fmla="*/ 53 h 117"/>
              <a:gd name="T80" fmla="*/ 22 w 27"/>
              <a:gd name="T81" fmla="*/ 5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7" h="117">
                <a:moveTo>
                  <a:pt x="22" y="50"/>
                </a:moveTo>
                <a:lnTo>
                  <a:pt x="22" y="50"/>
                </a:lnTo>
                <a:lnTo>
                  <a:pt x="22" y="11"/>
                </a:lnTo>
                <a:lnTo>
                  <a:pt x="22" y="11"/>
                </a:lnTo>
                <a:lnTo>
                  <a:pt x="24" y="8"/>
                </a:lnTo>
                <a:lnTo>
                  <a:pt x="24" y="8"/>
                </a:lnTo>
                <a:lnTo>
                  <a:pt x="24" y="4"/>
                </a:lnTo>
                <a:lnTo>
                  <a:pt x="24" y="0"/>
                </a:lnTo>
                <a:lnTo>
                  <a:pt x="2" y="0"/>
                </a:lnTo>
                <a:lnTo>
                  <a:pt x="2" y="0"/>
                </a:lnTo>
                <a:lnTo>
                  <a:pt x="2" y="6"/>
                </a:lnTo>
                <a:lnTo>
                  <a:pt x="2" y="6"/>
                </a:lnTo>
                <a:lnTo>
                  <a:pt x="2" y="9"/>
                </a:lnTo>
                <a:lnTo>
                  <a:pt x="3" y="11"/>
                </a:lnTo>
                <a:lnTo>
                  <a:pt x="3" y="50"/>
                </a:lnTo>
                <a:lnTo>
                  <a:pt x="3" y="50"/>
                </a:lnTo>
                <a:lnTo>
                  <a:pt x="2" y="52"/>
                </a:lnTo>
                <a:lnTo>
                  <a:pt x="0" y="61"/>
                </a:lnTo>
                <a:lnTo>
                  <a:pt x="0" y="61"/>
                </a:lnTo>
                <a:lnTo>
                  <a:pt x="0" y="66"/>
                </a:lnTo>
                <a:lnTo>
                  <a:pt x="2" y="72"/>
                </a:lnTo>
                <a:lnTo>
                  <a:pt x="5" y="75"/>
                </a:lnTo>
                <a:lnTo>
                  <a:pt x="3" y="106"/>
                </a:lnTo>
                <a:lnTo>
                  <a:pt x="3" y="106"/>
                </a:lnTo>
                <a:lnTo>
                  <a:pt x="3" y="108"/>
                </a:lnTo>
                <a:lnTo>
                  <a:pt x="2" y="112"/>
                </a:lnTo>
                <a:lnTo>
                  <a:pt x="2" y="112"/>
                </a:lnTo>
                <a:lnTo>
                  <a:pt x="2" y="117"/>
                </a:lnTo>
                <a:lnTo>
                  <a:pt x="24" y="117"/>
                </a:lnTo>
                <a:lnTo>
                  <a:pt x="24" y="117"/>
                </a:lnTo>
                <a:lnTo>
                  <a:pt x="24" y="110"/>
                </a:lnTo>
                <a:lnTo>
                  <a:pt x="24" y="110"/>
                </a:lnTo>
                <a:lnTo>
                  <a:pt x="22" y="106"/>
                </a:lnTo>
                <a:lnTo>
                  <a:pt x="22" y="75"/>
                </a:lnTo>
                <a:lnTo>
                  <a:pt x="22" y="75"/>
                </a:lnTo>
                <a:lnTo>
                  <a:pt x="25" y="70"/>
                </a:lnTo>
                <a:lnTo>
                  <a:pt x="25" y="66"/>
                </a:lnTo>
                <a:lnTo>
                  <a:pt x="27" y="62"/>
                </a:lnTo>
                <a:lnTo>
                  <a:pt x="27" y="62"/>
                </a:lnTo>
                <a:lnTo>
                  <a:pt x="24" y="53"/>
                </a:lnTo>
                <a:lnTo>
                  <a:pt x="22" y="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7" name="Freeform 48"/>
          <p:cNvSpPr>
            <a:spLocks/>
          </p:cNvSpPr>
          <p:nvPr userDrawn="1"/>
        </p:nvSpPr>
        <p:spPr bwMode="auto">
          <a:xfrm>
            <a:off x="8347075" y="-923503"/>
            <a:ext cx="60325" cy="42863"/>
          </a:xfrm>
          <a:custGeom>
            <a:avLst/>
            <a:gdLst>
              <a:gd name="T0" fmla="*/ 42 w 77"/>
              <a:gd name="T1" fmla="*/ 46 h 55"/>
              <a:gd name="T2" fmla="*/ 77 w 77"/>
              <a:gd name="T3" fmla="*/ 9 h 55"/>
              <a:gd name="T4" fmla="*/ 77 w 77"/>
              <a:gd name="T5" fmla="*/ 9 h 55"/>
              <a:gd name="T6" fmla="*/ 26 w 77"/>
              <a:gd name="T7" fmla="*/ 9 h 55"/>
              <a:gd name="T8" fmla="*/ 26 w 77"/>
              <a:gd name="T9" fmla="*/ 9 h 55"/>
              <a:gd name="T10" fmla="*/ 20 w 77"/>
              <a:gd name="T11" fmla="*/ 7 h 55"/>
              <a:gd name="T12" fmla="*/ 15 w 77"/>
              <a:gd name="T13" fmla="*/ 4 h 55"/>
              <a:gd name="T14" fmla="*/ 7 w 77"/>
              <a:gd name="T15" fmla="*/ 0 h 55"/>
              <a:gd name="T16" fmla="*/ 6 w 77"/>
              <a:gd name="T17" fmla="*/ 0 h 55"/>
              <a:gd name="T18" fmla="*/ 6 w 77"/>
              <a:gd name="T19" fmla="*/ 0 h 55"/>
              <a:gd name="T20" fmla="*/ 0 w 77"/>
              <a:gd name="T21" fmla="*/ 11 h 55"/>
              <a:gd name="T22" fmla="*/ 0 w 77"/>
              <a:gd name="T23" fmla="*/ 11 h 55"/>
              <a:gd name="T24" fmla="*/ 4 w 77"/>
              <a:gd name="T25" fmla="*/ 17 h 55"/>
              <a:gd name="T26" fmla="*/ 6 w 77"/>
              <a:gd name="T27" fmla="*/ 20 h 55"/>
              <a:gd name="T28" fmla="*/ 7 w 77"/>
              <a:gd name="T29" fmla="*/ 27 h 55"/>
              <a:gd name="T30" fmla="*/ 7 w 77"/>
              <a:gd name="T31" fmla="*/ 27 h 55"/>
              <a:gd name="T32" fmla="*/ 7 w 77"/>
              <a:gd name="T33" fmla="*/ 33 h 55"/>
              <a:gd name="T34" fmla="*/ 4 w 77"/>
              <a:gd name="T35" fmla="*/ 38 h 55"/>
              <a:gd name="T36" fmla="*/ 0 w 77"/>
              <a:gd name="T37" fmla="*/ 42 h 55"/>
              <a:gd name="T38" fmla="*/ 0 w 77"/>
              <a:gd name="T39" fmla="*/ 42 h 55"/>
              <a:gd name="T40" fmla="*/ 7 w 77"/>
              <a:gd name="T41" fmla="*/ 55 h 55"/>
              <a:gd name="T42" fmla="*/ 7 w 77"/>
              <a:gd name="T43" fmla="*/ 55 h 55"/>
              <a:gd name="T44" fmla="*/ 13 w 77"/>
              <a:gd name="T45" fmla="*/ 51 h 55"/>
              <a:gd name="T46" fmla="*/ 28 w 77"/>
              <a:gd name="T47" fmla="*/ 46 h 55"/>
              <a:gd name="T48" fmla="*/ 28 w 77"/>
              <a:gd name="T49" fmla="*/ 46 h 55"/>
              <a:gd name="T50" fmla="*/ 42 w 77"/>
              <a:gd name="T51" fmla="*/ 4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7" h="55">
                <a:moveTo>
                  <a:pt x="42" y="46"/>
                </a:moveTo>
                <a:lnTo>
                  <a:pt x="77" y="9"/>
                </a:lnTo>
                <a:lnTo>
                  <a:pt x="77" y="9"/>
                </a:lnTo>
                <a:lnTo>
                  <a:pt x="26" y="9"/>
                </a:lnTo>
                <a:lnTo>
                  <a:pt x="26" y="9"/>
                </a:lnTo>
                <a:lnTo>
                  <a:pt x="20" y="7"/>
                </a:lnTo>
                <a:lnTo>
                  <a:pt x="15" y="4"/>
                </a:lnTo>
                <a:lnTo>
                  <a:pt x="7" y="0"/>
                </a:lnTo>
                <a:lnTo>
                  <a:pt x="6" y="0"/>
                </a:lnTo>
                <a:lnTo>
                  <a:pt x="6" y="0"/>
                </a:lnTo>
                <a:lnTo>
                  <a:pt x="0" y="11"/>
                </a:lnTo>
                <a:lnTo>
                  <a:pt x="0" y="11"/>
                </a:lnTo>
                <a:lnTo>
                  <a:pt x="4" y="17"/>
                </a:lnTo>
                <a:lnTo>
                  <a:pt x="6" y="20"/>
                </a:lnTo>
                <a:lnTo>
                  <a:pt x="7" y="27"/>
                </a:lnTo>
                <a:lnTo>
                  <a:pt x="7" y="27"/>
                </a:lnTo>
                <a:lnTo>
                  <a:pt x="7" y="33"/>
                </a:lnTo>
                <a:lnTo>
                  <a:pt x="4" y="38"/>
                </a:lnTo>
                <a:lnTo>
                  <a:pt x="0" y="42"/>
                </a:lnTo>
                <a:lnTo>
                  <a:pt x="0" y="42"/>
                </a:lnTo>
                <a:lnTo>
                  <a:pt x="7" y="55"/>
                </a:lnTo>
                <a:lnTo>
                  <a:pt x="7" y="55"/>
                </a:lnTo>
                <a:lnTo>
                  <a:pt x="13" y="51"/>
                </a:lnTo>
                <a:lnTo>
                  <a:pt x="28" y="46"/>
                </a:lnTo>
                <a:lnTo>
                  <a:pt x="28" y="46"/>
                </a:lnTo>
                <a:lnTo>
                  <a:pt x="42" y="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8" name="Freeform 49"/>
          <p:cNvSpPr>
            <a:spLocks/>
          </p:cNvSpPr>
          <p:nvPr userDrawn="1"/>
        </p:nvSpPr>
        <p:spPr bwMode="auto">
          <a:xfrm>
            <a:off x="8423275" y="-982240"/>
            <a:ext cx="119063" cy="93663"/>
          </a:xfrm>
          <a:custGeom>
            <a:avLst/>
            <a:gdLst>
              <a:gd name="T0" fmla="*/ 152 w 152"/>
              <a:gd name="T1" fmla="*/ 60 h 119"/>
              <a:gd name="T2" fmla="*/ 148 w 152"/>
              <a:gd name="T3" fmla="*/ 58 h 119"/>
              <a:gd name="T4" fmla="*/ 139 w 152"/>
              <a:gd name="T5" fmla="*/ 62 h 119"/>
              <a:gd name="T6" fmla="*/ 135 w 152"/>
              <a:gd name="T7" fmla="*/ 64 h 119"/>
              <a:gd name="T8" fmla="*/ 134 w 152"/>
              <a:gd name="T9" fmla="*/ 75 h 119"/>
              <a:gd name="T10" fmla="*/ 130 w 152"/>
              <a:gd name="T11" fmla="*/ 71 h 119"/>
              <a:gd name="T12" fmla="*/ 121 w 152"/>
              <a:gd name="T13" fmla="*/ 69 h 119"/>
              <a:gd name="T14" fmla="*/ 113 w 152"/>
              <a:gd name="T15" fmla="*/ 71 h 119"/>
              <a:gd name="T16" fmla="*/ 117 w 152"/>
              <a:gd name="T17" fmla="*/ 80 h 119"/>
              <a:gd name="T18" fmla="*/ 113 w 152"/>
              <a:gd name="T19" fmla="*/ 90 h 119"/>
              <a:gd name="T20" fmla="*/ 110 w 152"/>
              <a:gd name="T21" fmla="*/ 90 h 119"/>
              <a:gd name="T22" fmla="*/ 103 w 152"/>
              <a:gd name="T23" fmla="*/ 84 h 119"/>
              <a:gd name="T24" fmla="*/ 103 w 152"/>
              <a:gd name="T25" fmla="*/ 79 h 119"/>
              <a:gd name="T26" fmla="*/ 93 w 152"/>
              <a:gd name="T27" fmla="*/ 82 h 119"/>
              <a:gd name="T28" fmla="*/ 88 w 152"/>
              <a:gd name="T29" fmla="*/ 79 h 119"/>
              <a:gd name="T30" fmla="*/ 90 w 152"/>
              <a:gd name="T31" fmla="*/ 69 h 119"/>
              <a:gd name="T32" fmla="*/ 104 w 152"/>
              <a:gd name="T33" fmla="*/ 66 h 119"/>
              <a:gd name="T34" fmla="*/ 103 w 152"/>
              <a:gd name="T35" fmla="*/ 60 h 119"/>
              <a:gd name="T36" fmla="*/ 97 w 152"/>
              <a:gd name="T37" fmla="*/ 53 h 119"/>
              <a:gd name="T38" fmla="*/ 92 w 152"/>
              <a:gd name="T39" fmla="*/ 51 h 119"/>
              <a:gd name="T40" fmla="*/ 82 w 152"/>
              <a:gd name="T41" fmla="*/ 53 h 119"/>
              <a:gd name="T42" fmla="*/ 86 w 152"/>
              <a:gd name="T43" fmla="*/ 51 h 119"/>
              <a:gd name="T44" fmla="*/ 90 w 152"/>
              <a:gd name="T45" fmla="*/ 44 h 119"/>
              <a:gd name="T46" fmla="*/ 90 w 152"/>
              <a:gd name="T47" fmla="*/ 35 h 119"/>
              <a:gd name="T48" fmla="*/ 84 w 152"/>
              <a:gd name="T49" fmla="*/ 26 h 119"/>
              <a:gd name="T50" fmla="*/ 84 w 152"/>
              <a:gd name="T51" fmla="*/ 26 h 119"/>
              <a:gd name="T52" fmla="*/ 79 w 152"/>
              <a:gd name="T53" fmla="*/ 27 h 119"/>
              <a:gd name="T54" fmla="*/ 68 w 152"/>
              <a:gd name="T55" fmla="*/ 33 h 119"/>
              <a:gd name="T56" fmla="*/ 66 w 152"/>
              <a:gd name="T57" fmla="*/ 38 h 119"/>
              <a:gd name="T58" fmla="*/ 66 w 152"/>
              <a:gd name="T59" fmla="*/ 46 h 119"/>
              <a:gd name="T60" fmla="*/ 62 w 152"/>
              <a:gd name="T61" fmla="*/ 40 h 119"/>
              <a:gd name="T62" fmla="*/ 55 w 152"/>
              <a:gd name="T63" fmla="*/ 35 h 119"/>
              <a:gd name="T64" fmla="*/ 50 w 152"/>
              <a:gd name="T65" fmla="*/ 35 h 119"/>
              <a:gd name="T66" fmla="*/ 42 w 152"/>
              <a:gd name="T67" fmla="*/ 38 h 119"/>
              <a:gd name="T68" fmla="*/ 48 w 152"/>
              <a:gd name="T69" fmla="*/ 46 h 119"/>
              <a:gd name="T70" fmla="*/ 48 w 152"/>
              <a:gd name="T71" fmla="*/ 57 h 119"/>
              <a:gd name="T72" fmla="*/ 42 w 152"/>
              <a:gd name="T73" fmla="*/ 58 h 119"/>
              <a:gd name="T74" fmla="*/ 35 w 152"/>
              <a:gd name="T75" fmla="*/ 53 h 119"/>
              <a:gd name="T76" fmla="*/ 33 w 152"/>
              <a:gd name="T77" fmla="*/ 47 h 119"/>
              <a:gd name="T78" fmla="*/ 26 w 152"/>
              <a:gd name="T79" fmla="*/ 53 h 119"/>
              <a:gd name="T80" fmla="*/ 20 w 152"/>
              <a:gd name="T81" fmla="*/ 51 h 119"/>
              <a:gd name="T82" fmla="*/ 17 w 152"/>
              <a:gd name="T83" fmla="*/ 42 h 119"/>
              <a:gd name="T84" fmla="*/ 31 w 152"/>
              <a:gd name="T85" fmla="*/ 35 h 119"/>
              <a:gd name="T86" fmla="*/ 29 w 152"/>
              <a:gd name="T87" fmla="*/ 33 h 119"/>
              <a:gd name="T88" fmla="*/ 22 w 152"/>
              <a:gd name="T89" fmla="*/ 24 h 119"/>
              <a:gd name="T90" fmla="*/ 15 w 152"/>
              <a:gd name="T91" fmla="*/ 24 h 119"/>
              <a:gd name="T92" fmla="*/ 18 w 152"/>
              <a:gd name="T93" fmla="*/ 18 h 119"/>
              <a:gd name="T94" fmla="*/ 20 w 152"/>
              <a:gd name="T95" fmla="*/ 9 h 119"/>
              <a:gd name="T96" fmla="*/ 18 w 152"/>
              <a:gd name="T97" fmla="*/ 5 h 119"/>
              <a:gd name="T98" fmla="*/ 13 w 152"/>
              <a:gd name="T99" fmla="*/ 0 h 119"/>
              <a:gd name="T100" fmla="*/ 35 w 152"/>
              <a:gd name="T101" fmla="*/ 88 h 119"/>
              <a:gd name="T102" fmla="*/ 46 w 152"/>
              <a:gd name="T103" fmla="*/ 82 h 119"/>
              <a:gd name="T104" fmla="*/ 51 w 152"/>
              <a:gd name="T105" fmla="*/ 79 h 119"/>
              <a:gd name="T106" fmla="*/ 66 w 152"/>
              <a:gd name="T107" fmla="*/ 80 h 119"/>
              <a:gd name="T108" fmla="*/ 71 w 152"/>
              <a:gd name="T109" fmla="*/ 82 h 119"/>
              <a:gd name="T110" fmla="*/ 82 w 152"/>
              <a:gd name="T111" fmla="*/ 90 h 119"/>
              <a:gd name="T112" fmla="*/ 84 w 152"/>
              <a:gd name="T113" fmla="*/ 99 h 119"/>
              <a:gd name="T114" fmla="*/ 84 w 152"/>
              <a:gd name="T115" fmla="*/ 104 h 119"/>
              <a:gd name="T116" fmla="*/ 106 w 152"/>
              <a:gd name="T117"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2" h="119">
                <a:moveTo>
                  <a:pt x="106" y="119"/>
                </a:moveTo>
                <a:lnTo>
                  <a:pt x="152" y="60"/>
                </a:lnTo>
                <a:lnTo>
                  <a:pt x="152" y="60"/>
                </a:lnTo>
                <a:lnTo>
                  <a:pt x="148" y="58"/>
                </a:lnTo>
                <a:lnTo>
                  <a:pt x="145" y="60"/>
                </a:lnTo>
                <a:lnTo>
                  <a:pt x="139" y="62"/>
                </a:lnTo>
                <a:lnTo>
                  <a:pt x="139" y="62"/>
                </a:lnTo>
                <a:lnTo>
                  <a:pt x="135" y="64"/>
                </a:lnTo>
                <a:lnTo>
                  <a:pt x="134" y="69"/>
                </a:lnTo>
                <a:lnTo>
                  <a:pt x="134" y="75"/>
                </a:lnTo>
                <a:lnTo>
                  <a:pt x="134" y="75"/>
                </a:lnTo>
                <a:lnTo>
                  <a:pt x="130" y="71"/>
                </a:lnTo>
                <a:lnTo>
                  <a:pt x="128" y="69"/>
                </a:lnTo>
                <a:lnTo>
                  <a:pt x="121" y="69"/>
                </a:lnTo>
                <a:lnTo>
                  <a:pt x="115" y="69"/>
                </a:lnTo>
                <a:lnTo>
                  <a:pt x="113" y="71"/>
                </a:lnTo>
                <a:lnTo>
                  <a:pt x="113" y="71"/>
                </a:lnTo>
                <a:lnTo>
                  <a:pt x="117" y="80"/>
                </a:lnTo>
                <a:lnTo>
                  <a:pt x="117" y="86"/>
                </a:lnTo>
                <a:lnTo>
                  <a:pt x="113" y="90"/>
                </a:lnTo>
                <a:lnTo>
                  <a:pt x="110" y="90"/>
                </a:lnTo>
                <a:lnTo>
                  <a:pt x="110" y="90"/>
                </a:lnTo>
                <a:lnTo>
                  <a:pt x="104" y="88"/>
                </a:lnTo>
                <a:lnTo>
                  <a:pt x="103" y="84"/>
                </a:lnTo>
                <a:lnTo>
                  <a:pt x="103" y="79"/>
                </a:lnTo>
                <a:lnTo>
                  <a:pt x="103" y="79"/>
                </a:lnTo>
                <a:lnTo>
                  <a:pt x="97" y="82"/>
                </a:lnTo>
                <a:lnTo>
                  <a:pt x="93" y="82"/>
                </a:lnTo>
                <a:lnTo>
                  <a:pt x="88" y="79"/>
                </a:lnTo>
                <a:lnTo>
                  <a:pt x="88" y="79"/>
                </a:lnTo>
                <a:lnTo>
                  <a:pt x="86" y="75"/>
                </a:lnTo>
                <a:lnTo>
                  <a:pt x="90" y="69"/>
                </a:lnTo>
                <a:lnTo>
                  <a:pt x="95" y="68"/>
                </a:lnTo>
                <a:lnTo>
                  <a:pt x="104" y="66"/>
                </a:lnTo>
                <a:lnTo>
                  <a:pt x="104" y="66"/>
                </a:lnTo>
                <a:lnTo>
                  <a:pt x="103" y="60"/>
                </a:lnTo>
                <a:lnTo>
                  <a:pt x="101" y="57"/>
                </a:lnTo>
                <a:lnTo>
                  <a:pt x="97" y="53"/>
                </a:lnTo>
                <a:lnTo>
                  <a:pt x="97" y="53"/>
                </a:lnTo>
                <a:lnTo>
                  <a:pt x="92" y="51"/>
                </a:lnTo>
                <a:lnTo>
                  <a:pt x="88" y="51"/>
                </a:lnTo>
                <a:lnTo>
                  <a:pt x="82" y="53"/>
                </a:lnTo>
                <a:lnTo>
                  <a:pt x="82" y="53"/>
                </a:lnTo>
                <a:lnTo>
                  <a:pt x="86" y="51"/>
                </a:lnTo>
                <a:lnTo>
                  <a:pt x="88" y="47"/>
                </a:lnTo>
                <a:lnTo>
                  <a:pt x="90" y="44"/>
                </a:lnTo>
                <a:lnTo>
                  <a:pt x="90" y="44"/>
                </a:lnTo>
                <a:lnTo>
                  <a:pt x="90" y="35"/>
                </a:lnTo>
                <a:lnTo>
                  <a:pt x="88" y="31"/>
                </a:lnTo>
                <a:lnTo>
                  <a:pt x="84" y="26"/>
                </a:lnTo>
                <a:lnTo>
                  <a:pt x="84" y="26"/>
                </a:lnTo>
                <a:lnTo>
                  <a:pt x="84" y="26"/>
                </a:lnTo>
                <a:lnTo>
                  <a:pt x="84" y="26"/>
                </a:lnTo>
                <a:lnTo>
                  <a:pt x="79" y="27"/>
                </a:lnTo>
                <a:lnTo>
                  <a:pt x="73" y="29"/>
                </a:lnTo>
                <a:lnTo>
                  <a:pt x="68" y="33"/>
                </a:lnTo>
                <a:lnTo>
                  <a:pt x="68" y="33"/>
                </a:lnTo>
                <a:lnTo>
                  <a:pt x="66" y="38"/>
                </a:lnTo>
                <a:lnTo>
                  <a:pt x="66" y="42"/>
                </a:lnTo>
                <a:lnTo>
                  <a:pt x="66" y="46"/>
                </a:lnTo>
                <a:lnTo>
                  <a:pt x="66" y="46"/>
                </a:lnTo>
                <a:lnTo>
                  <a:pt x="62" y="40"/>
                </a:lnTo>
                <a:lnTo>
                  <a:pt x="60" y="37"/>
                </a:lnTo>
                <a:lnTo>
                  <a:pt x="55" y="35"/>
                </a:lnTo>
                <a:lnTo>
                  <a:pt x="55" y="35"/>
                </a:lnTo>
                <a:lnTo>
                  <a:pt x="50" y="35"/>
                </a:lnTo>
                <a:lnTo>
                  <a:pt x="46" y="37"/>
                </a:lnTo>
                <a:lnTo>
                  <a:pt x="42" y="38"/>
                </a:lnTo>
                <a:lnTo>
                  <a:pt x="42" y="38"/>
                </a:lnTo>
                <a:lnTo>
                  <a:pt x="48" y="46"/>
                </a:lnTo>
                <a:lnTo>
                  <a:pt x="48" y="53"/>
                </a:lnTo>
                <a:lnTo>
                  <a:pt x="48" y="57"/>
                </a:lnTo>
                <a:lnTo>
                  <a:pt x="42" y="58"/>
                </a:lnTo>
                <a:lnTo>
                  <a:pt x="42" y="58"/>
                </a:lnTo>
                <a:lnTo>
                  <a:pt x="37" y="57"/>
                </a:lnTo>
                <a:lnTo>
                  <a:pt x="35" y="53"/>
                </a:lnTo>
                <a:lnTo>
                  <a:pt x="33" y="47"/>
                </a:lnTo>
                <a:lnTo>
                  <a:pt x="33" y="47"/>
                </a:lnTo>
                <a:lnTo>
                  <a:pt x="29" y="51"/>
                </a:lnTo>
                <a:lnTo>
                  <a:pt x="26" y="53"/>
                </a:lnTo>
                <a:lnTo>
                  <a:pt x="20" y="51"/>
                </a:lnTo>
                <a:lnTo>
                  <a:pt x="20" y="51"/>
                </a:lnTo>
                <a:lnTo>
                  <a:pt x="17" y="47"/>
                </a:lnTo>
                <a:lnTo>
                  <a:pt x="17" y="42"/>
                </a:lnTo>
                <a:lnTo>
                  <a:pt x="22" y="38"/>
                </a:lnTo>
                <a:lnTo>
                  <a:pt x="31" y="35"/>
                </a:lnTo>
                <a:lnTo>
                  <a:pt x="31" y="35"/>
                </a:lnTo>
                <a:lnTo>
                  <a:pt x="29" y="33"/>
                </a:lnTo>
                <a:lnTo>
                  <a:pt x="28" y="27"/>
                </a:lnTo>
                <a:lnTo>
                  <a:pt x="22" y="24"/>
                </a:lnTo>
                <a:lnTo>
                  <a:pt x="18" y="22"/>
                </a:lnTo>
                <a:lnTo>
                  <a:pt x="15" y="24"/>
                </a:lnTo>
                <a:lnTo>
                  <a:pt x="15" y="24"/>
                </a:lnTo>
                <a:lnTo>
                  <a:pt x="18" y="18"/>
                </a:lnTo>
                <a:lnTo>
                  <a:pt x="20" y="15"/>
                </a:lnTo>
                <a:lnTo>
                  <a:pt x="20" y="9"/>
                </a:lnTo>
                <a:lnTo>
                  <a:pt x="20" y="9"/>
                </a:lnTo>
                <a:lnTo>
                  <a:pt x="18" y="5"/>
                </a:lnTo>
                <a:lnTo>
                  <a:pt x="17" y="2"/>
                </a:lnTo>
                <a:lnTo>
                  <a:pt x="13" y="0"/>
                </a:lnTo>
                <a:lnTo>
                  <a:pt x="0" y="73"/>
                </a:lnTo>
                <a:lnTo>
                  <a:pt x="35" y="88"/>
                </a:lnTo>
                <a:lnTo>
                  <a:pt x="35" y="88"/>
                </a:lnTo>
                <a:lnTo>
                  <a:pt x="46" y="82"/>
                </a:lnTo>
                <a:lnTo>
                  <a:pt x="46" y="82"/>
                </a:lnTo>
                <a:lnTo>
                  <a:pt x="51" y="79"/>
                </a:lnTo>
                <a:lnTo>
                  <a:pt x="59" y="79"/>
                </a:lnTo>
                <a:lnTo>
                  <a:pt x="66" y="80"/>
                </a:lnTo>
                <a:lnTo>
                  <a:pt x="71" y="82"/>
                </a:lnTo>
                <a:lnTo>
                  <a:pt x="71" y="82"/>
                </a:lnTo>
                <a:lnTo>
                  <a:pt x="79" y="86"/>
                </a:lnTo>
                <a:lnTo>
                  <a:pt x="82" y="90"/>
                </a:lnTo>
                <a:lnTo>
                  <a:pt x="84" y="95"/>
                </a:lnTo>
                <a:lnTo>
                  <a:pt x="84" y="99"/>
                </a:lnTo>
                <a:lnTo>
                  <a:pt x="84" y="99"/>
                </a:lnTo>
                <a:lnTo>
                  <a:pt x="84" y="104"/>
                </a:lnTo>
                <a:lnTo>
                  <a:pt x="81" y="110"/>
                </a:lnTo>
                <a:lnTo>
                  <a:pt x="106" y="11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9" name="Freeform 50"/>
          <p:cNvSpPr>
            <a:spLocks/>
          </p:cNvSpPr>
          <p:nvPr userDrawn="1"/>
        </p:nvSpPr>
        <p:spPr bwMode="auto">
          <a:xfrm>
            <a:off x="8520113" y="-917153"/>
            <a:ext cx="142875" cy="25400"/>
          </a:xfrm>
          <a:custGeom>
            <a:avLst/>
            <a:gdLst>
              <a:gd name="T0" fmla="*/ 151 w 180"/>
              <a:gd name="T1" fmla="*/ 28 h 31"/>
              <a:gd name="T2" fmla="*/ 180 w 180"/>
              <a:gd name="T3" fmla="*/ 15 h 31"/>
              <a:gd name="T4" fmla="*/ 151 w 180"/>
              <a:gd name="T5" fmla="*/ 2 h 31"/>
              <a:gd name="T6" fmla="*/ 151 w 180"/>
              <a:gd name="T7" fmla="*/ 2 h 31"/>
              <a:gd name="T8" fmla="*/ 102 w 180"/>
              <a:gd name="T9" fmla="*/ 2 h 31"/>
              <a:gd name="T10" fmla="*/ 23 w 180"/>
              <a:gd name="T11" fmla="*/ 0 h 31"/>
              <a:gd name="T12" fmla="*/ 0 w 180"/>
              <a:gd name="T13" fmla="*/ 31 h 31"/>
              <a:gd name="T14" fmla="*/ 0 w 180"/>
              <a:gd name="T15" fmla="*/ 31 h 31"/>
              <a:gd name="T16" fmla="*/ 151 w 180"/>
              <a:gd name="T17"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31">
                <a:moveTo>
                  <a:pt x="151" y="28"/>
                </a:moveTo>
                <a:lnTo>
                  <a:pt x="180" y="15"/>
                </a:lnTo>
                <a:lnTo>
                  <a:pt x="151" y="2"/>
                </a:lnTo>
                <a:lnTo>
                  <a:pt x="151" y="2"/>
                </a:lnTo>
                <a:lnTo>
                  <a:pt x="102" y="2"/>
                </a:lnTo>
                <a:lnTo>
                  <a:pt x="23" y="0"/>
                </a:lnTo>
                <a:lnTo>
                  <a:pt x="0" y="31"/>
                </a:lnTo>
                <a:lnTo>
                  <a:pt x="0" y="31"/>
                </a:lnTo>
                <a:lnTo>
                  <a:pt x="151"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00" name="Freeform 51"/>
          <p:cNvSpPr>
            <a:spLocks/>
          </p:cNvSpPr>
          <p:nvPr userDrawn="1"/>
        </p:nvSpPr>
        <p:spPr bwMode="auto">
          <a:xfrm>
            <a:off x="8566150" y="-855240"/>
            <a:ext cx="85725" cy="84138"/>
          </a:xfrm>
          <a:custGeom>
            <a:avLst/>
            <a:gdLst>
              <a:gd name="T0" fmla="*/ 55 w 108"/>
              <a:gd name="T1" fmla="*/ 106 h 106"/>
              <a:gd name="T2" fmla="*/ 55 w 108"/>
              <a:gd name="T3" fmla="*/ 106 h 106"/>
              <a:gd name="T4" fmla="*/ 38 w 108"/>
              <a:gd name="T5" fmla="*/ 97 h 106"/>
              <a:gd name="T6" fmla="*/ 26 w 108"/>
              <a:gd name="T7" fmla="*/ 89 h 106"/>
              <a:gd name="T8" fmla="*/ 13 w 108"/>
              <a:gd name="T9" fmla="*/ 80 h 106"/>
              <a:gd name="T10" fmla="*/ 4 w 108"/>
              <a:gd name="T11" fmla="*/ 69 h 106"/>
              <a:gd name="T12" fmla="*/ 4 w 108"/>
              <a:gd name="T13" fmla="*/ 69 h 106"/>
              <a:gd name="T14" fmla="*/ 0 w 108"/>
              <a:gd name="T15" fmla="*/ 62 h 106"/>
              <a:gd name="T16" fmla="*/ 0 w 108"/>
              <a:gd name="T17" fmla="*/ 53 h 106"/>
              <a:gd name="T18" fmla="*/ 0 w 108"/>
              <a:gd name="T19" fmla="*/ 45 h 106"/>
              <a:gd name="T20" fmla="*/ 0 w 108"/>
              <a:gd name="T21" fmla="*/ 36 h 106"/>
              <a:gd name="T22" fmla="*/ 4 w 108"/>
              <a:gd name="T23" fmla="*/ 27 h 106"/>
              <a:gd name="T24" fmla="*/ 7 w 108"/>
              <a:gd name="T25" fmla="*/ 20 h 106"/>
              <a:gd name="T26" fmla="*/ 15 w 108"/>
              <a:gd name="T27" fmla="*/ 13 h 106"/>
              <a:gd name="T28" fmla="*/ 22 w 108"/>
              <a:gd name="T29" fmla="*/ 7 h 106"/>
              <a:gd name="T30" fmla="*/ 22 w 108"/>
              <a:gd name="T31" fmla="*/ 7 h 106"/>
              <a:gd name="T32" fmla="*/ 26 w 108"/>
              <a:gd name="T33" fmla="*/ 11 h 106"/>
              <a:gd name="T34" fmla="*/ 27 w 108"/>
              <a:gd name="T35" fmla="*/ 14 h 106"/>
              <a:gd name="T36" fmla="*/ 27 w 108"/>
              <a:gd name="T37" fmla="*/ 18 h 106"/>
              <a:gd name="T38" fmla="*/ 27 w 108"/>
              <a:gd name="T39" fmla="*/ 18 h 106"/>
              <a:gd name="T40" fmla="*/ 51 w 108"/>
              <a:gd name="T41" fmla="*/ 16 h 106"/>
              <a:gd name="T42" fmla="*/ 51 w 108"/>
              <a:gd name="T43" fmla="*/ 16 h 106"/>
              <a:gd name="T44" fmla="*/ 51 w 108"/>
              <a:gd name="T45" fmla="*/ 9 h 106"/>
              <a:gd name="T46" fmla="*/ 51 w 108"/>
              <a:gd name="T47" fmla="*/ 3 h 106"/>
              <a:gd name="T48" fmla="*/ 49 w 108"/>
              <a:gd name="T49" fmla="*/ 0 h 106"/>
              <a:gd name="T50" fmla="*/ 49 w 108"/>
              <a:gd name="T51" fmla="*/ 0 h 106"/>
              <a:gd name="T52" fmla="*/ 57 w 108"/>
              <a:gd name="T53" fmla="*/ 5 h 106"/>
              <a:gd name="T54" fmla="*/ 59 w 108"/>
              <a:gd name="T55" fmla="*/ 11 h 106"/>
              <a:gd name="T56" fmla="*/ 60 w 108"/>
              <a:gd name="T57" fmla="*/ 16 h 106"/>
              <a:gd name="T58" fmla="*/ 60 w 108"/>
              <a:gd name="T59" fmla="*/ 16 h 106"/>
              <a:gd name="T60" fmla="*/ 82 w 108"/>
              <a:gd name="T61" fmla="*/ 18 h 106"/>
              <a:gd name="T62" fmla="*/ 82 w 108"/>
              <a:gd name="T63" fmla="*/ 18 h 106"/>
              <a:gd name="T64" fmla="*/ 82 w 108"/>
              <a:gd name="T65" fmla="*/ 11 h 106"/>
              <a:gd name="T66" fmla="*/ 79 w 108"/>
              <a:gd name="T67" fmla="*/ 3 h 106"/>
              <a:gd name="T68" fmla="*/ 79 w 108"/>
              <a:gd name="T69" fmla="*/ 3 h 106"/>
              <a:gd name="T70" fmla="*/ 86 w 108"/>
              <a:gd name="T71" fmla="*/ 9 h 106"/>
              <a:gd name="T72" fmla="*/ 93 w 108"/>
              <a:gd name="T73" fmla="*/ 13 h 106"/>
              <a:gd name="T74" fmla="*/ 99 w 108"/>
              <a:gd name="T75" fmla="*/ 20 h 106"/>
              <a:gd name="T76" fmla="*/ 102 w 108"/>
              <a:gd name="T77" fmla="*/ 25 h 106"/>
              <a:gd name="T78" fmla="*/ 106 w 108"/>
              <a:gd name="T79" fmla="*/ 38 h 106"/>
              <a:gd name="T80" fmla="*/ 108 w 108"/>
              <a:gd name="T81" fmla="*/ 49 h 106"/>
              <a:gd name="T82" fmla="*/ 108 w 108"/>
              <a:gd name="T83" fmla="*/ 49 h 106"/>
              <a:gd name="T84" fmla="*/ 106 w 108"/>
              <a:gd name="T85" fmla="*/ 62 h 106"/>
              <a:gd name="T86" fmla="*/ 102 w 108"/>
              <a:gd name="T87" fmla="*/ 73 h 106"/>
              <a:gd name="T88" fmla="*/ 95 w 108"/>
              <a:gd name="T89" fmla="*/ 82 h 106"/>
              <a:gd name="T90" fmla="*/ 86 w 108"/>
              <a:gd name="T91" fmla="*/ 89 h 106"/>
              <a:gd name="T92" fmla="*/ 86 w 108"/>
              <a:gd name="T93" fmla="*/ 89 h 106"/>
              <a:gd name="T94" fmla="*/ 69 w 108"/>
              <a:gd name="T95" fmla="*/ 98 h 106"/>
              <a:gd name="T96" fmla="*/ 55 w 108"/>
              <a:gd name="T97"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 h="106">
                <a:moveTo>
                  <a:pt x="55" y="106"/>
                </a:moveTo>
                <a:lnTo>
                  <a:pt x="55" y="106"/>
                </a:lnTo>
                <a:lnTo>
                  <a:pt x="38" y="97"/>
                </a:lnTo>
                <a:lnTo>
                  <a:pt x="26" y="89"/>
                </a:lnTo>
                <a:lnTo>
                  <a:pt x="13" y="80"/>
                </a:lnTo>
                <a:lnTo>
                  <a:pt x="4" y="69"/>
                </a:lnTo>
                <a:lnTo>
                  <a:pt x="4" y="69"/>
                </a:lnTo>
                <a:lnTo>
                  <a:pt x="0" y="62"/>
                </a:lnTo>
                <a:lnTo>
                  <a:pt x="0" y="53"/>
                </a:lnTo>
                <a:lnTo>
                  <a:pt x="0" y="45"/>
                </a:lnTo>
                <a:lnTo>
                  <a:pt x="0" y="36"/>
                </a:lnTo>
                <a:lnTo>
                  <a:pt x="4" y="27"/>
                </a:lnTo>
                <a:lnTo>
                  <a:pt x="7" y="20"/>
                </a:lnTo>
                <a:lnTo>
                  <a:pt x="15" y="13"/>
                </a:lnTo>
                <a:lnTo>
                  <a:pt x="22" y="7"/>
                </a:lnTo>
                <a:lnTo>
                  <a:pt x="22" y="7"/>
                </a:lnTo>
                <a:lnTo>
                  <a:pt x="26" y="11"/>
                </a:lnTo>
                <a:lnTo>
                  <a:pt x="27" y="14"/>
                </a:lnTo>
                <a:lnTo>
                  <a:pt x="27" y="18"/>
                </a:lnTo>
                <a:lnTo>
                  <a:pt x="27" y="18"/>
                </a:lnTo>
                <a:lnTo>
                  <a:pt x="51" y="16"/>
                </a:lnTo>
                <a:lnTo>
                  <a:pt x="51" y="16"/>
                </a:lnTo>
                <a:lnTo>
                  <a:pt x="51" y="9"/>
                </a:lnTo>
                <a:lnTo>
                  <a:pt x="51" y="3"/>
                </a:lnTo>
                <a:lnTo>
                  <a:pt x="49" y="0"/>
                </a:lnTo>
                <a:lnTo>
                  <a:pt x="49" y="0"/>
                </a:lnTo>
                <a:lnTo>
                  <a:pt x="57" y="5"/>
                </a:lnTo>
                <a:lnTo>
                  <a:pt x="59" y="11"/>
                </a:lnTo>
                <a:lnTo>
                  <a:pt x="60" y="16"/>
                </a:lnTo>
                <a:lnTo>
                  <a:pt x="60" y="16"/>
                </a:lnTo>
                <a:lnTo>
                  <a:pt x="82" y="18"/>
                </a:lnTo>
                <a:lnTo>
                  <a:pt x="82" y="18"/>
                </a:lnTo>
                <a:lnTo>
                  <a:pt x="82" y="11"/>
                </a:lnTo>
                <a:lnTo>
                  <a:pt x="79" y="3"/>
                </a:lnTo>
                <a:lnTo>
                  <a:pt x="79" y="3"/>
                </a:lnTo>
                <a:lnTo>
                  <a:pt x="86" y="9"/>
                </a:lnTo>
                <a:lnTo>
                  <a:pt x="93" y="13"/>
                </a:lnTo>
                <a:lnTo>
                  <a:pt x="99" y="20"/>
                </a:lnTo>
                <a:lnTo>
                  <a:pt x="102" y="25"/>
                </a:lnTo>
                <a:lnTo>
                  <a:pt x="106" y="38"/>
                </a:lnTo>
                <a:lnTo>
                  <a:pt x="108" y="49"/>
                </a:lnTo>
                <a:lnTo>
                  <a:pt x="108" y="49"/>
                </a:lnTo>
                <a:lnTo>
                  <a:pt x="106" y="62"/>
                </a:lnTo>
                <a:lnTo>
                  <a:pt x="102" y="73"/>
                </a:lnTo>
                <a:lnTo>
                  <a:pt x="95" y="82"/>
                </a:lnTo>
                <a:lnTo>
                  <a:pt x="86" y="89"/>
                </a:lnTo>
                <a:lnTo>
                  <a:pt x="86" y="89"/>
                </a:lnTo>
                <a:lnTo>
                  <a:pt x="69" y="98"/>
                </a:lnTo>
                <a:lnTo>
                  <a:pt x="55" y="1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01" name="Freeform 52"/>
          <p:cNvSpPr>
            <a:spLocks/>
          </p:cNvSpPr>
          <p:nvPr userDrawn="1"/>
        </p:nvSpPr>
        <p:spPr bwMode="auto">
          <a:xfrm>
            <a:off x="8589963" y="-648865"/>
            <a:ext cx="1588" cy="1588"/>
          </a:xfrm>
          <a:custGeom>
            <a:avLst/>
            <a:gdLst>
              <a:gd name="T0" fmla="*/ 4 w 4"/>
              <a:gd name="T1" fmla="*/ 2 h 2"/>
              <a:gd name="T2" fmla="*/ 4 w 4"/>
              <a:gd name="T3" fmla="*/ 2 h 2"/>
              <a:gd name="T4" fmla="*/ 2 w 4"/>
              <a:gd name="T5" fmla="*/ 0 h 2"/>
              <a:gd name="T6" fmla="*/ 2 w 4"/>
              <a:gd name="T7" fmla="*/ 0 h 2"/>
              <a:gd name="T8" fmla="*/ 0 w 4"/>
              <a:gd name="T9" fmla="*/ 0 h 2"/>
              <a:gd name="T10" fmla="*/ 0 w 4"/>
              <a:gd name="T11" fmla="*/ 0 h 2"/>
              <a:gd name="T12" fmla="*/ 4 w 4"/>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2"/>
                </a:moveTo>
                <a:lnTo>
                  <a:pt x="4" y="2"/>
                </a:lnTo>
                <a:lnTo>
                  <a:pt x="2" y="0"/>
                </a:lnTo>
                <a:lnTo>
                  <a:pt x="2" y="0"/>
                </a:lnTo>
                <a:lnTo>
                  <a:pt x="0" y="0"/>
                </a:lnTo>
                <a:lnTo>
                  <a:pt x="0" y="0"/>
                </a:lnTo>
                <a:lnTo>
                  <a:pt x="4"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02" name="Freeform 53"/>
          <p:cNvSpPr>
            <a:spLocks/>
          </p:cNvSpPr>
          <p:nvPr userDrawn="1"/>
        </p:nvSpPr>
        <p:spPr bwMode="auto">
          <a:xfrm>
            <a:off x="8405813" y="-885403"/>
            <a:ext cx="15875" cy="9525"/>
          </a:xfrm>
          <a:custGeom>
            <a:avLst/>
            <a:gdLst>
              <a:gd name="T0" fmla="*/ 20 w 20"/>
              <a:gd name="T1" fmla="*/ 10 h 11"/>
              <a:gd name="T2" fmla="*/ 20 w 20"/>
              <a:gd name="T3" fmla="*/ 10 h 11"/>
              <a:gd name="T4" fmla="*/ 19 w 20"/>
              <a:gd name="T5" fmla="*/ 10 h 11"/>
              <a:gd name="T6" fmla="*/ 11 w 20"/>
              <a:gd name="T7" fmla="*/ 11 h 11"/>
              <a:gd name="T8" fmla="*/ 2 w 20"/>
              <a:gd name="T9" fmla="*/ 11 h 11"/>
              <a:gd name="T10" fmla="*/ 2 w 20"/>
              <a:gd name="T11" fmla="*/ 11 h 11"/>
              <a:gd name="T12" fmla="*/ 0 w 20"/>
              <a:gd name="T13" fmla="*/ 8 h 11"/>
              <a:gd name="T14" fmla="*/ 0 w 20"/>
              <a:gd name="T15" fmla="*/ 0 h 11"/>
              <a:gd name="T16" fmla="*/ 0 w 20"/>
              <a:gd name="T17" fmla="*/ 0 h 11"/>
              <a:gd name="T18" fmla="*/ 4 w 20"/>
              <a:gd name="T19" fmla="*/ 0 h 11"/>
              <a:gd name="T20" fmla="*/ 11 w 20"/>
              <a:gd name="T21" fmla="*/ 2 h 11"/>
              <a:gd name="T22" fmla="*/ 17 w 20"/>
              <a:gd name="T23" fmla="*/ 4 h 11"/>
              <a:gd name="T24" fmla="*/ 20 w 20"/>
              <a:gd name="T25"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1">
                <a:moveTo>
                  <a:pt x="20" y="10"/>
                </a:moveTo>
                <a:lnTo>
                  <a:pt x="20" y="10"/>
                </a:lnTo>
                <a:lnTo>
                  <a:pt x="19" y="10"/>
                </a:lnTo>
                <a:lnTo>
                  <a:pt x="11" y="11"/>
                </a:lnTo>
                <a:lnTo>
                  <a:pt x="2" y="11"/>
                </a:lnTo>
                <a:lnTo>
                  <a:pt x="2" y="11"/>
                </a:lnTo>
                <a:lnTo>
                  <a:pt x="0" y="8"/>
                </a:lnTo>
                <a:lnTo>
                  <a:pt x="0" y="0"/>
                </a:lnTo>
                <a:lnTo>
                  <a:pt x="0" y="0"/>
                </a:lnTo>
                <a:lnTo>
                  <a:pt x="4" y="0"/>
                </a:lnTo>
                <a:lnTo>
                  <a:pt x="11" y="2"/>
                </a:lnTo>
                <a:lnTo>
                  <a:pt x="17" y="4"/>
                </a:lnTo>
                <a:lnTo>
                  <a:pt x="20"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03" name="Freeform 54"/>
          <p:cNvSpPr>
            <a:spLocks/>
          </p:cNvSpPr>
          <p:nvPr userDrawn="1"/>
        </p:nvSpPr>
        <p:spPr bwMode="auto">
          <a:xfrm>
            <a:off x="8197850" y="-917153"/>
            <a:ext cx="492125" cy="579438"/>
          </a:xfrm>
          <a:custGeom>
            <a:avLst/>
            <a:gdLst>
              <a:gd name="T0" fmla="*/ 592 w 619"/>
              <a:gd name="T1" fmla="*/ 245 h 729"/>
              <a:gd name="T2" fmla="*/ 588 w 619"/>
              <a:gd name="T3" fmla="*/ 150 h 729"/>
              <a:gd name="T4" fmla="*/ 513 w 619"/>
              <a:gd name="T5" fmla="*/ 57 h 729"/>
              <a:gd name="T6" fmla="*/ 446 w 619"/>
              <a:gd name="T7" fmla="*/ 150 h 729"/>
              <a:gd name="T8" fmla="*/ 460 w 619"/>
              <a:gd name="T9" fmla="*/ 243 h 729"/>
              <a:gd name="T10" fmla="*/ 490 w 619"/>
              <a:gd name="T11" fmla="*/ 256 h 729"/>
              <a:gd name="T12" fmla="*/ 506 w 619"/>
              <a:gd name="T13" fmla="*/ 240 h 729"/>
              <a:gd name="T14" fmla="*/ 568 w 619"/>
              <a:gd name="T15" fmla="*/ 250 h 729"/>
              <a:gd name="T16" fmla="*/ 533 w 619"/>
              <a:gd name="T17" fmla="*/ 345 h 729"/>
              <a:gd name="T18" fmla="*/ 429 w 619"/>
              <a:gd name="T19" fmla="*/ 291 h 729"/>
              <a:gd name="T20" fmla="*/ 417 w 619"/>
              <a:gd name="T21" fmla="*/ 198 h 729"/>
              <a:gd name="T22" fmla="*/ 418 w 619"/>
              <a:gd name="T23" fmla="*/ 183 h 729"/>
              <a:gd name="T24" fmla="*/ 375 w 619"/>
              <a:gd name="T25" fmla="*/ 121 h 729"/>
              <a:gd name="T26" fmla="*/ 424 w 619"/>
              <a:gd name="T27" fmla="*/ 77 h 729"/>
              <a:gd name="T28" fmla="*/ 353 w 619"/>
              <a:gd name="T29" fmla="*/ 28 h 729"/>
              <a:gd name="T30" fmla="*/ 247 w 619"/>
              <a:gd name="T31" fmla="*/ 33 h 729"/>
              <a:gd name="T32" fmla="*/ 225 w 619"/>
              <a:gd name="T33" fmla="*/ 73 h 729"/>
              <a:gd name="T34" fmla="*/ 243 w 619"/>
              <a:gd name="T35" fmla="*/ 104 h 729"/>
              <a:gd name="T36" fmla="*/ 292 w 619"/>
              <a:gd name="T37" fmla="*/ 88 h 729"/>
              <a:gd name="T38" fmla="*/ 219 w 619"/>
              <a:gd name="T39" fmla="*/ 115 h 729"/>
              <a:gd name="T40" fmla="*/ 190 w 619"/>
              <a:gd name="T41" fmla="*/ 110 h 729"/>
              <a:gd name="T42" fmla="*/ 258 w 619"/>
              <a:gd name="T43" fmla="*/ 112 h 729"/>
              <a:gd name="T44" fmla="*/ 261 w 619"/>
              <a:gd name="T45" fmla="*/ 128 h 729"/>
              <a:gd name="T46" fmla="*/ 238 w 619"/>
              <a:gd name="T47" fmla="*/ 152 h 729"/>
              <a:gd name="T48" fmla="*/ 259 w 619"/>
              <a:gd name="T49" fmla="*/ 192 h 729"/>
              <a:gd name="T50" fmla="*/ 133 w 619"/>
              <a:gd name="T51" fmla="*/ 276 h 729"/>
              <a:gd name="T52" fmla="*/ 53 w 619"/>
              <a:gd name="T53" fmla="*/ 252 h 729"/>
              <a:gd name="T54" fmla="*/ 42 w 619"/>
              <a:gd name="T55" fmla="*/ 267 h 729"/>
              <a:gd name="T56" fmla="*/ 51 w 619"/>
              <a:gd name="T57" fmla="*/ 287 h 729"/>
              <a:gd name="T58" fmla="*/ 2 w 619"/>
              <a:gd name="T59" fmla="*/ 305 h 729"/>
              <a:gd name="T60" fmla="*/ 58 w 619"/>
              <a:gd name="T61" fmla="*/ 313 h 729"/>
              <a:gd name="T62" fmla="*/ 37 w 619"/>
              <a:gd name="T63" fmla="*/ 331 h 729"/>
              <a:gd name="T64" fmla="*/ 53 w 619"/>
              <a:gd name="T65" fmla="*/ 345 h 729"/>
              <a:gd name="T66" fmla="*/ 104 w 619"/>
              <a:gd name="T67" fmla="*/ 345 h 729"/>
              <a:gd name="T68" fmla="*/ 117 w 619"/>
              <a:gd name="T69" fmla="*/ 347 h 729"/>
              <a:gd name="T70" fmla="*/ 163 w 619"/>
              <a:gd name="T71" fmla="*/ 309 h 729"/>
              <a:gd name="T72" fmla="*/ 214 w 619"/>
              <a:gd name="T73" fmla="*/ 300 h 729"/>
              <a:gd name="T74" fmla="*/ 283 w 619"/>
              <a:gd name="T75" fmla="*/ 325 h 729"/>
              <a:gd name="T76" fmla="*/ 417 w 619"/>
              <a:gd name="T77" fmla="*/ 386 h 729"/>
              <a:gd name="T78" fmla="*/ 466 w 619"/>
              <a:gd name="T79" fmla="*/ 492 h 729"/>
              <a:gd name="T80" fmla="*/ 464 w 619"/>
              <a:gd name="T81" fmla="*/ 517 h 729"/>
              <a:gd name="T82" fmla="*/ 512 w 619"/>
              <a:gd name="T83" fmla="*/ 526 h 729"/>
              <a:gd name="T84" fmla="*/ 526 w 619"/>
              <a:gd name="T85" fmla="*/ 627 h 729"/>
              <a:gd name="T86" fmla="*/ 462 w 619"/>
              <a:gd name="T87" fmla="*/ 638 h 729"/>
              <a:gd name="T88" fmla="*/ 491 w 619"/>
              <a:gd name="T89" fmla="*/ 651 h 729"/>
              <a:gd name="T90" fmla="*/ 479 w 619"/>
              <a:gd name="T91" fmla="*/ 663 h 729"/>
              <a:gd name="T92" fmla="*/ 475 w 619"/>
              <a:gd name="T93" fmla="*/ 711 h 729"/>
              <a:gd name="T94" fmla="*/ 502 w 619"/>
              <a:gd name="T95" fmla="*/ 693 h 729"/>
              <a:gd name="T96" fmla="*/ 513 w 619"/>
              <a:gd name="T97" fmla="*/ 700 h 729"/>
              <a:gd name="T98" fmla="*/ 544 w 619"/>
              <a:gd name="T99" fmla="*/ 720 h 729"/>
              <a:gd name="T100" fmla="*/ 554 w 619"/>
              <a:gd name="T101" fmla="*/ 678 h 729"/>
              <a:gd name="T102" fmla="*/ 586 w 619"/>
              <a:gd name="T103" fmla="*/ 689 h 729"/>
              <a:gd name="T104" fmla="*/ 590 w 619"/>
              <a:gd name="T105" fmla="*/ 625 h 729"/>
              <a:gd name="T106" fmla="*/ 603 w 619"/>
              <a:gd name="T107" fmla="*/ 598 h 729"/>
              <a:gd name="T108" fmla="*/ 599 w 619"/>
              <a:gd name="T109" fmla="*/ 552 h 729"/>
              <a:gd name="T110" fmla="*/ 574 w 619"/>
              <a:gd name="T111" fmla="*/ 508 h 729"/>
              <a:gd name="T112" fmla="*/ 532 w 619"/>
              <a:gd name="T113" fmla="*/ 462 h 729"/>
              <a:gd name="T114" fmla="*/ 532 w 619"/>
              <a:gd name="T115" fmla="*/ 419 h 729"/>
              <a:gd name="T116" fmla="*/ 539 w 619"/>
              <a:gd name="T117" fmla="*/ 377 h 729"/>
              <a:gd name="T118" fmla="*/ 618 w 619"/>
              <a:gd name="T119" fmla="*/ 316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9" h="729">
                <a:moveTo>
                  <a:pt x="603" y="280"/>
                </a:moveTo>
                <a:lnTo>
                  <a:pt x="603" y="280"/>
                </a:lnTo>
                <a:lnTo>
                  <a:pt x="612" y="282"/>
                </a:lnTo>
                <a:lnTo>
                  <a:pt x="619" y="280"/>
                </a:lnTo>
                <a:lnTo>
                  <a:pt x="619" y="280"/>
                </a:lnTo>
                <a:lnTo>
                  <a:pt x="618" y="269"/>
                </a:lnTo>
                <a:lnTo>
                  <a:pt x="616" y="252"/>
                </a:lnTo>
                <a:lnTo>
                  <a:pt x="616" y="252"/>
                </a:lnTo>
                <a:lnTo>
                  <a:pt x="610" y="252"/>
                </a:lnTo>
                <a:lnTo>
                  <a:pt x="605" y="252"/>
                </a:lnTo>
                <a:lnTo>
                  <a:pt x="599" y="250"/>
                </a:lnTo>
                <a:lnTo>
                  <a:pt x="592" y="245"/>
                </a:lnTo>
                <a:lnTo>
                  <a:pt x="592" y="245"/>
                </a:lnTo>
                <a:lnTo>
                  <a:pt x="588" y="238"/>
                </a:lnTo>
                <a:lnTo>
                  <a:pt x="588" y="238"/>
                </a:lnTo>
                <a:lnTo>
                  <a:pt x="577" y="223"/>
                </a:lnTo>
                <a:lnTo>
                  <a:pt x="565" y="212"/>
                </a:lnTo>
                <a:lnTo>
                  <a:pt x="552" y="203"/>
                </a:lnTo>
                <a:lnTo>
                  <a:pt x="541" y="196"/>
                </a:lnTo>
                <a:lnTo>
                  <a:pt x="541" y="196"/>
                </a:lnTo>
                <a:lnTo>
                  <a:pt x="559" y="185"/>
                </a:lnTo>
                <a:lnTo>
                  <a:pt x="572" y="174"/>
                </a:lnTo>
                <a:lnTo>
                  <a:pt x="581" y="165"/>
                </a:lnTo>
                <a:lnTo>
                  <a:pt x="585" y="157"/>
                </a:lnTo>
                <a:lnTo>
                  <a:pt x="585" y="157"/>
                </a:lnTo>
                <a:lnTo>
                  <a:pt x="588" y="150"/>
                </a:lnTo>
                <a:lnTo>
                  <a:pt x="592" y="139"/>
                </a:lnTo>
                <a:lnTo>
                  <a:pt x="592" y="128"/>
                </a:lnTo>
                <a:lnTo>
                  <a:pt x="592" y="115"/>
                </a:lnTo>
                <a:lnTo>
                  <a:pt x="588" y="103"/>
                </a:lnTo>
                <a:lnTo>
                  <a:pt x="583" y="90"/>
                </a:lnTo>
                <a:lnTo>
                  <a:pt x="574" y="79"/>
                </a:lnTo>
                <a:lnTo>
                  <a:pt x="566" y="73"/>
                </a:lnTo>
                <a:lnTo>
                  <a:pt x="559" y="68"/>
                </a:lnTo>
                <a:lnTo>
                  <a:pt x="559" y="68"/>
                </a:lnTo>
                <a:lnTo>
                  <a:pt x="548" y="62"/>
                </a:lnTo>
                <a:lnTo>
                  <a:pt x="535" y="59"/>
                </a:lnTo>
                <a:lnTo>
                  <a:pt x="524" y="57"/>
                </a:lnTo>
                <a:lnTo>
                  <a:pt x="513" y="57"/>
                </a:lnTo>
                <a:lnTo>
                  <a:pt x="495" y="60"/>
                </a:lnTo>
                <a:lnTo>
                  <a:pt x="481" y="64"/>
                </a:lnTo>
                <a:lnTo>
                  <a:pt x="481" y="64"/>
                </a:lnTo>
                <a:lnTo>
                  <a:pt x="471" y="70"/>
                </a:lnTo>
                <a:lnTo>
                  <a:pt x="462" y="77"/>
                </a:lnTo>
                <a:lnTo>
                  <a:pt x="455" y="84"/>
                </a:lnTo>
                <a:lnTo>
                  <a:pt x="449" y="93"/>
                </a:lnTo>
                <a:lnTo>
                  <a:pt x="446" y="104"/>
                </a:lnTo>
                <a:lnTo>
                  <a:pt x="442" y="115"/>
                </a:lnTo>
                <a:lnTo>
                  <a:pt x="442" y="126"/>
                </a:lnTo>
                <a:lnTo>
                  <a:pt x="442" y="141"/>
                </a:lnTo>
                <a:lnTo>
                  <a:pt x="442" y="141"/>
                </a:lnTo>
                <a:lnTo>
                  <a:pt x="446" y="150"/>
                </a:lnTo>
                <a:lnTo>
                  <a:pt x="449" y="159"/>
                </a:lnTo>
                <a:lnTo>
                  <a:pt x="455" y="168"/>
                </a:lnTo>
                <a:lnTo>
                  <a:pt x="460" y="174"/>
                </a:lnTo>
                <a:lnTo>
                  <a:pt x="477" y="185"/>
                </a:lnTo>
                <a:lnTo>
                  <a:pt x="495" y="196"/>
                </a:lnTo>
                <a:lnTo>
                  <a:pt x="495" y="196"/>
                </a:lnTo>
                <a:lnTo>
                  <a:pt x="481" y="203"/>
                </a:lnTo>
                <a:lnTo>
                  <a:pt x="470" y="214"/>
                </a:lnTo>
                <a:lnTo>
                  <a:pt x="466" y="219"/>
                </a:lnTo>
                <a:lnTo>
                  <a:pt x="464" y="227"/>
                </a:lnTo>
                <a:lnTo>
                  <a:pt x="462" y="234"/>
                </a:lnTo>
                <a:lnTo>
                  <a:pt x="460" y="243"/>
                </a:lnTo>
                <a:lnTo>
                  <a:pt x="460" y="243"/>
                </a:lnTo>
                <a:lnTo>
                  <a:pt x="462" y="254"/>
                </a:lnTo>
                <a:lnTo>
                  <a:pt x="466" y="267"/>
                </a:lnTo>
                <a:lnTo>
                  <a:pt x="468" y="282"/>
                </a:lnTo>
                <a:lnTo>
                  <a:pt x="468" y="291"/>
                </a:lnTo>
                <a:lnTo>
                  <a:pt x="466" y="300"/>
                </a:lnTo>
                <a:lnTo>
                  <a:pt x="466" y="300"/>
                </a:lnTo>
                <a:lnTo>
                  <a:pt x="468" y="300"/>
                </a:lnTo>
                <a:lnTo>
                  <a:pt x="475" y="298"/>
                </a:lnTo>
                <a:lnTo>
                  <a:pt x="484" y="291"/>
                </a:lnTo>
                <a:lnTo>
                  <a:pt x="484" y="291"/>
                </a:lnTo>
                <a:lnTo>
                  <a:pt x="488" y="280"/>
                </a:lnTo>
                <a:lnTo>
                  <a:pt x="490" y="269"/>
                </a:lnTo>
                <a:lnTo>
                  <a:pt x="490" y="256"/>
                </a:lnTo>
                <a:lnTo>
                  <a:pt x="490" y="256"/>
                </a:lnTo>
                <a:lnTo>
                  <a:pt x="493" y="261"/>
                </a:lnTo>
                <a:lnTo>
                  <a:pt x="495" y="271"/>
                </a:lnTo>
                <a:lnTo>
                  <a:pt x="495" y="278"/>
                </a:lnTo>
                <a:lnTo>
                  <a:pt x="493" y="285"/>
                </a:lnTo>
                <a:lnTo>
                  <a:pt x="493" y="285"/>
                </a:lnTo>
                <a:lnTo>
                  <a:pt x="501" y="282"/>
                </a:lnTo>
                <a:lnTo>
                  <a:pt x="504" y="278"/>
                </a:lnTo>
                <a:lnTo>
                  <a:pt x="508" y="274"/>
                </a:lnTo>
                <a:lnTo>
                  <a:pt x="508" y="274"/>
                </a:lnTo>
                <a:lnTo>
                  <a:pt x="510" y="261"/>
                </a:lnTo>
                <a:lnTo>
                  <a:pt x="510" y="249"/>
                </a:lnTo>
                <a:lnTo>
                  <a:pt x="506" y="240"/>
                </a:lnTo>
                <a:lnTo>
                  <a:pt x="504" y="232"/>
                </a:lnTo>
                <a:lnTo>
                  <a:pt x="504" y="232"/>
                </a:lnTo>
                <a:lnTo>
                  <a:pt x="502" y="225"/>
                </a:lnTo>
                <a:lnTo>
                  <a:pt x="504" y="218"/>
                </a:lnTo>
                <a:lnTo>
                  <a:pt x="510" y="210"/>
                </a:lnTo>
                <a:lnTo>
                  <a:pt x="515" y="207"/>
                </a:lnTo>
                <a:lnTo>
                  <a:pt x="515" y="207"/>
                </a:lnTo>
                <a:lnTo>
                  <a:pt x="533" y="216"/>
                </a:lnTo>
                <a:lnTo>
                  <a:pt x="533" y="216"/>
                </a:lnTo>
                <a:lnTo>
                  <a:pt x="541" y="221"/>
                </a:lnTo>
                <a:lnTo>
                  <a:pt x="552" y="230"/>
                </a:lnTo>
                <a:lnTo>
                  <a:pt x="563" y="243"/>
                </a:lnTo>
                <a:lnTo>
                  <a:pt x="568" y="250"/>
                </a:lnTo>
                <a:lnTo>
                  <a:pt x="572" y="260"/>
                </a:lnTo>
                <a:lnTo>
                  <a:pt x="572" y="260"/>
                </a:lnTo>
                <a:lnTo>
                  <a:pt x="577" y="271"/>
                </a:lnTo>
                <a:lnTo>
                  <a:pt x="579" y="282"/>
                </a:lnTo>
                <a:lnTo>
                  <a:pt x="579" y="291"/>
                </a:lnTo>
                <a:lnTo>
                  <a:pt x="579" y="300"/>
                </a:lnTo>
                <a:lnTo>
                  <a:pt x="576" y="313"/>
                </a:lnTo>
                <a:lnTo>
                  <a:pt x="572" y="320"/>
                </a:lnTo>
                <a:lnTo>
                  <a:pt x="572" y="320"/>
                </a:lnTo>
                <a:lnTo>
                  <a:pt x="565" y="329"/>
                </a:lnTo>
                <a:lnTo>
                  <a:pt x="557" y="338"/>
                </a:lnTo>
                <a:lnTo>
                  <a:pt x="546" y="344"/>
                </a:lnTo>
                <a:lnTo>
                  <a:pt x="533" y="345"/>
                </a:lnTo>
                <a:lnTo>
                  <a:pt x="533" y="345"/>
                </a:lnTo>
                <a:lnTo>
                  <a:pt x="532" y="345"/>
                </a:lnTo>
                <a:lnTo>
                  <a:pt x="532" y="345"/>
                </a:lnTo>
                <a:lnTo>
                  <a:pt x="517" y="345"/>
                </a:lnTo>
                <a:lnTo>
                  <a:pt x="517" y="345"/>
                </a:lnTo>
                <a:lnTo>
                  <a:pt x="504" y="342"/>
                </a:lnTo>
                <a:lnTo>
                  <a:pt x="504" y="342"/>
                </a:lnTo>
                <a:lnTo>
                  <a:pt x="493" y="338"/>
                </a:lnTo>
                <a:lnTo>
                  <a:pt x="493" y="338"/>
                </a:lnTo>
                <a:lnTo>
                  <a:pt x="482" y="333"/>
                </a:lnTo>
                <a:lnTo>
                  <a:pt x="466" y="322"/>
                </a:lnTo>
                <a:lnTo>
                  <a:pt x="448" y="309"/>
                </a:lnTo>
                <a:lnTo>
                  <a:pt x="429" y="291"/>
                </a:lnTo>
                <a:lnTo>
                  <a:pt x="429" y="291"/>
                </a:lnTo>
                <a:lnTo>
                  <a:pt x="406" y="261"/>
                </a:lnTo>
                <a:lnTo>
                  <a:pt x="389" y="241"/>
                </a:lnTo>
                <a:lnTo>
                  <a:pt x="389" y="241"/>
                </a:lnTo>
                <a:lnTo>
                  <a:pt x="398" y="245"/>
                </a:lnTo>
                <a:lnTo>
                  <a:pt x="406" y="245"/>
                </a:lnTo>
                <a:lnTo>
                  <a:pt x="415" y="245"/>
                </a:lnTo>
                <a:lnTo>
                  <a:pt x="415" y="245"/>
                </a:lnTo>
                <a:lnTo>
                  <a:pt x="417" y="229"/>
                </a:lnTo>
                <a:lnTo>
                  <a:pt x="417" y="212"/>
                </a:lnTo>
                <a:lnTo>
                  <a:pt x="417" y="212"/>
                </a:lnTo>
                <a:lnTo>
                  <a:pt x="417" y="198"/>
                </a:lnTo>
                <a:lnTo>
                  <a:pt x="417" y="198"/>
                </a:lnTo>
                <a:lnTo>
                  <a:pt x="411" y="198"/>
                </a:lnTo>
                <a:lnTo>
                  <a:pt x="398" y="194"/>
                </a:lnTo>
                <a:lnTo>
                  <a:pt x="393" y="192"/>
                </a:lnTo>
                <a:lnTo>
                  <a:pt x="386" y="188"/>
                </a:lnTo>
                <a:lnTo>
                  <a:pt x="380" y="185"/>
                </a:lnTo>
                <a:lnTo>
                  <a:pt x="376" y="179"/>
                </a:lnTo>
                <a:lnTo>
                  <a:pt x="376" y="179"/>
                </a:lnTo>
                <a:lnTo>
                  <a:pt x="382" y="181"/>
                </a:lnTo>
                <a:lnTo>
                  <a:pt x="387" y="183"/>
                </a:lnTo>
                <a:lnTo>
                  <a:pt x="395" y="185"/>
                </a:lnTo>
                <a:lnTo>
                  <a:pt x="395" y="185"/>
                </a:lnTo>
                <a:lnTo>
                  <a:pt x="411" y="183"/>
                </a:lnTo>
                <a:lnTo>
                  <a:pt x="418" y="183"/>
                </a:lnTo>
                <a:lnTo>
                  <a:pt x="418" y="183"/>
                </a:lnTo>
                <a:lnTo>
                  <a:pt x="420" y="166"/>
                </a:lnTo>
                <a:lnTo>
                  <a:pt x="420" y="152"/>
                </a:lnTo>
                <a:lnTo>
                  <a:pt x="420" y="152"/>
                </a:lnTo>
                <a:lnTo>
                  <a:pt x="420" y="137"/>
                </a:lnTo>
                <a:lnTo>
                  <a:pt x="420" y="137"/>
                </a:lnTo>
                <a:lnTo>
                  <a:pt x="409" y="137"/>
                </a:lnTo>
                <a:lnTo>
                  <a:pt x="396" y="135"/>
                </a:lnTo>
                <a:lnTo>
                  <a:pt x="396" y="135"/>
                </a:lnTo>
                <a:lnTo>
                  <a:pt x="384" y="130"/>
                </a:lnTo>
                <a:lnTo>
                  <a:pt x="378" y="126"/>
                </a:lnTo>
                <a:lnTo>
                  <a:pt x="375" y="121"/>
                </a:lnTo>
                <a:lnTo>
                  <a:pt x="375" y="121"/>
                </a:lnTo>
                <a:lnTo>
                  <a:pt x="380" y="123"/>
                </a:lnTo>
                <a:lnTo>
                  <a:pt x="395" y="126"/>
                </a:lnTo>
                <a:lnTo>
                  <a:pt x="395" y="126"/>
                </a:lnTo>
                <a:lnTo>
                  <a:pt x="404" y="126"/>
                </a:lnTo>
                <a:lnTo>
                  <a:pt x="413" y="124"/>
                </a:lnTo>
                <a:lnTo>
                  <a:pt x="420" y="124"/>
                </a:lnTo>
                <a:lnTo>
                  <a:pt x="422" y="123"/>
                </a:lnTo>
                <a:lnTo>
                  <a:pt x="422" y="123"/>
                </a:lnTo>
                <a:lnTo>
                  <a:pt x="422" y="93"/>
                </a:lnTo>
                <a:lnTo>
                  <a:pt x="422" y="93"/>
                </a:lnTo>
                <a:lnTo>
                  <a:pt x="424" y="86"/>
                </a:lnTo>
                <a:lnTo>
                  <a:pt x="424" y="77"/>
                </a:lnTo>
                <a:lnTo>
                  <a:pt x="424" y="77"/>
                </a:lnTo>
                <a:lnTo>
                  <a:pt x="418" y="77"/>
                </a:lnTo>
                <a:lnTo>
                  <a:pt x="407" y="75"/>
                </a:lnTo>
                <a:lnTo>
                  <a:pt x="395" y="70"/>
                </a:lnTo>
                <a:lnTo>
                  <a:pt x="389" y="66"/>
                </a:lnTo>
                <a:lnTo>
                  <a:pt x="382" y="60"/>
                </a:lnTo>
                <a:lnTo>
                  <a:pt x="382" y="60"/>
                </a:lnTo>
                <a:lnTo>
                  <a:pt x="380" y="57"/>
                </a:lnTo>
                <a:lnTo>
                  <a:pt x="380" y="53"/>
                </a:lnTo>
                <a:lnTo>
                  <a:pt x="382" y="46"/>
                </a:lnTo>
                <a:lnTo>
                  <a:pt x="382" y="46"/>
                </a:lnTo>
                <a:lnTo>
                  <a:pt x="349" y="31"/>
                </a:lnTo>
                <a:lnTo>
                  <a:pt x="349" y="31"/>
                </a:lnTo>
                <a:lnTo>
                  <a:pt x="353" y="28"/>
                </a:lnTo>
                <a:lnTo>
                  <a:pt x="356" y="22"/>
                </a:lnTo>
                <a:lnTo>
                  <a:pt x="356" y="18"/>
                </a:lnTo>
                <a:lnTo>
                  <a:pt x="356" y="18"/>
                </a:lnTo>
                <a:lnTo>
                  <a:pt x="354" y="13"/>
                </a:lnTo>
                <a:lnTo>
                  <a:pt x="349" y="9"/>
                </a:lnTo>
                <a:lnTo>
                  <a:pt x="343" y="8"/>
                </a:lnTo>
                <a:lnTo>
                  <a:pt x="336" y="8"/>
                </a:lnTo>
                <a:lnTo>
                  <a:pt x="336" y="8"/>
                </a:lnTo>
                <a:lnTo>
                  <a:pt x="329" y="9"/>
                </a:lnTo>
                <a:lnTo>
                  <a:pt x="325" y="13"/>
                </a:lnTo>
                <a:lnTo>
                  <a:pt x="320" y="18"/>
                </a:lnTo>
                <a:lnTo>
                  <a:pt x="280" y="0"/>
                </a:lnTo>
                <a:lnTo>
                  <a:pt x="247" y="33"/>
                </a:lnTo>
                <a:lnTo>
                  <a:pt x="247" y="33"/>
                </a:lnTo>
                <a:lnTo>
                  <a:pt x="245" y="35"/>
                </a:lnTo>
                <a:lnTo>
                  <a:pt x="245" y="39"/>
                </a:lnTo>
                <a:lnTo>
                  <a:pt x="245" y="42"/>
                </a:lnTo>
                <a:lnTo>
                  <a:pt x="245" y="42"/>
                </a:lnTo>
                <a:lnTo>
                  <a:pt x="245" y="44"/>
                </a:lnTo>
                <a:lnTo>
                  <a:pt x="243" y="46"/>
                </a:lnTo>
                <a:lnTo>
                  <a:pt x="243" y="46"/>
                </a:lnTo>
                <a:lnTo>
                  <a:pt x="234" y="57"/>
                </a:lnTo>
                <a:lnTo>
                  <a:pt x="234" y="57"/>
                </a:lnTo>
                <a:lnTo>
                  <a:pt x="228" y="66"/>
                </a:lnTo>
                <a:lnTo>
                  <a:pt x="228" y="66"/>
                </a:lnTo>
                <a:lnTo>
                  <a:pt x="225" y="73"/>
                </a:lnTo>
                <a:lnTo>
                  <a:pt x="223" y="79"/>
                </a:lnTo>
                <a:lnTo>
                  <a:pt x="223" y="79"/>
                </a:lnTo>
                <a:lnTo>
                  <a:pt x="221" y="81"/>
                </a:lnTo>
                <a:lnTo>
                  <a:pt x="221" y="84"/>
                </a:lnTo>
                <a:lnTo>
                  <a:pt x="225" y="92"/>
                </a:lnTo>
                <a:lnTo>
                  <a:pt x="234" y="99"/>
                </a:lnTo>
                <a:lnTo>
                  <a:pt x="234" y="101"/>
                </a:lnTo>
                <a:lnTo>
                  <a:pt x="234" y="101"/>
                </a:lnTo>
                <a:lnTo>
                  <a:pt x="236" y="99"/>
                </a:lnTo>
                <a:lnTo>
                  <a:pt x="238" y="99"/>
                </a:lnTo>
                <a:lnTo>
                  <a:pt x="238" y="99"/>
                </a:lnTo>
                <a:lnTo>
                  <a:pt x="243" y="104"/>
                </a:lnTo>
                <a:lnTo>
                  <a:pt x="243" y="104"/>
                </a:lnTo>
                <a:lnTo>
                  <a:pt x="245" y="101"/>
                </a:lnTo>
                <a:lnTo>
                  <a:pt x="248" y="95"/>
                </a:lnTo>
                <a:lnTo>
                  <a:pt x="248" y="95"/>
                </a:lnTo>
                <a:lnTo>
                  <a:pt x="254" y="88"/>
                </a:lnTo>
                <a:lnTo>
                  <a:pt x="261" y="82"/>
                </a:lnTo>
                <a:lnTo>
                  <a:pt x="261" y="82"/>
                </a:lnTo>
                <a:lnTo>
                  <a:pt x="269" y="79"/>
                </a:lnTo>
                <a:lnTo>
                  <a:pt x="276" y="79"/>
                </a:lnTo>
                <a:lnTo>
                  <a:pt x="276" y="79"/>
                </a:lnTo>
                <a:lnTo>
                  <a:pt x="283" y="79"/>
                </a:lnTo>
                <a:lnTo>
                  <a:pt x="289" y="82"/>
                </a:lnTo>
                <a:lnTo>
                  <a:pt x="289" y="82"/>
                </a:lnTo>
                <a:lnTo>
                  <a:pt x="292" y="88"/>
                </a:lnTo>
                <a:lnTo>
                  <a:pt x="294" y="95"/>
                </a:lnTo>
                <a:lnTo>
                  <a:pt x="294" y="103"/>
                </a:lnTo>
                <a:lnTo>
                  <a:pt x="294" y="108"/>
                </a:lnTo>
                <a:lnTo>
                  <a:pt x="294" y="108"/>
                </a:lnTo>
                <a:lnTo>
                  <a:pt x="290" y="104"/>
                </a:lnTo>
                <a:lnTo>
                  <a:pt x="290" y="104"/>
                </a:lnTo>
                <a:lnTo>
                  <a:pt x="285" y="103"/>
                </a:lnTo>
                <a:lnTo>
                  <a:pt x="276" y="101"/>
                </a:lnTo>
                <a:lnTo>
                  <a:pt x="265" y="101"/>
                </a:lnTo>
                <a:lnTo>
                  <a:pt x="254" y="103"/>
                </a:lnTo>
                <a:lnTo>
                  <a:pt x="254" y="103"/>
                </a:lnTo>
                <a:lnTo>
                  <a:pt x="241" y="108"/>
                </a:lnTo>
                <a:lnTo>
                  <a:pt x="219" y="115"/>
                </a:lnTo>
                <a:lnTo>
                  <a:pt x="219" y="115"/>
                </a:lnTo>
                <a:lnTo>
                  <a:pt x="214" y="117"/>
                </a:lnTo>
                <a:lnTo>
                  <a:pt x="208" y="117"/>
                </a:lnTo>
                <a:lnTo>
                  <a:pt x="205" y="113"/>
                </a:lnTo>
                <a:lnTo>
                  <a:pt x="203" y="110"/>
                </a:lnTo>
                <a:lnTo>
                  <a:pt x="203" y="110"/>
                </a:lnTo>
                <a:lnTo>
                  <a:pt x="203" y="104"/>
                </a:lnTo>
                <a:lnTo>
                  <a:pt x="203" y="101"/>
                </a:lnTo>
                <a:lnTo>
                  <a:pt x="205" y="97"/>
                </a:lnTo>
                <a:lnTo>
                  <a:pt x="205" y="97"/>
                </a:lnTo>
                <a:lnTo>
                  <a:pt x="199" y="101"/>
                </a:lnTo>
                <a:lnTo>
                  <a:pt x="194" y="104"/>
                </a:lnTo>
                <a:lnTo>
                  <a:pt x="190" y="110"/>
                </a:lnTo>
                <a:lnTo>
                  <a:pt x="190" y="110"/>
                </a:lnTo>
                <a:lnTo>
                  <a:pt x="190" y="117"/>
                </a:lnTo>
                <a:lnTo>
                  <a:pt x="192" y="124"/>
                </a:lnTo>
                <a:lnTo>
                  <a:pt x="195" y="128"/>
                </a:lnTo>
                <a:lnTo>
                  <a:pt x="201" y="132"/>
                </a:lnTo>
                <a:lnTo>
                  <a:pt x="201" y="132"/>
                </a:lnTo>
                <a:lnTo>
                  <a:pt x="208" y="132"/>
                </a:lnTo>
                <a:lnTo>
                  <a:pt x="217" y="130"/>
                </a:lnTo>
                <a:lnTo>
                  <a:pt x="234" y="123"/>
                </a:lnTo>
                <a:lnTo>
                  <a:pt x="234" y="123"/>
                </a:lnTo>
                <a:lnTo>
                  <a:pt x="250" y="113"/>
                </a:lnTo>
                <a:lnTo>
                  <a:pt x="250" y="113"/>
                </a:lnTo>
                <a:lnTo>
                  <a:pt x="258" y="112"/>
                </a:lnTo>
                <a:lnTo>
                  <a:pt x="263" y="110"/>
                </a:lnTo>
                <a:lnTo>
                  <a:pt x="270" y="112"/>
                </a:lnTo>
                <a:lnTo>
                  <a:pt x="278" y="113"/>
                </a:lnTo>
                <a:lnTo>
                  <a:pt x="278" y="113"/>
                </a:lnTo>
                <a:lnTo>
                  <a:pt x="285" y="119"/>
                </a:lnTo>
                <a:lnTo>
                  <a:pt x="289" y="121"/>
                </a:lnTo>
                <a:lnTo>
                  <a:pt x="289" y="121"/>
                </a:lnTo>
                <a:lnTo>
                  <a:pt x="285" y="126"/>
                </a:lnTo>
                <a:lnTo>
                  <a:pt x="281" y="130"/>
                </a:lnTo>
                <a:lnTo>
                  <a:pt x="274" y="130"/>
                </a:lnTo>
                <a:lnTo>
                  <a:pt x="274" y="130"/>
                </a:lnTo>
                <a:lnTo>
                  <a:pt x="267" y="130"/>
                </a:lnTo>
                <a:lnTo>
                  <a:pt x="261" y="128"/>
                </a:lnTo>
                <a:lnTo>
                  <a:pt x="256" y="124"/>
                </a:lnTo>
                <a:lnTo>
                  <a:pt x="254" y="121"/>
                </a:lnTo>
                <a:lnTo>
                  <a:pt x="254" y="121"/>
                </a:lnTo>
                <a:lnTo>
                  <a:pt x="250" y="128"/>
                </a:lnTo>
                <a:lnTo>
                  <a:pt x="250" y="128"/>
                </a:lnTo>
                <a:lnTo>
                  <a:pt x="248" y="132"/>
                </a:lnTo>
                <a:lnTo>
                  <a:pt x="248" y="135"/>
                </a:lnTo>
                <a:lnTo>
                  <a:pt x="250" y="137"/>
                </a:lnTo>
                <a:lnTo>
                  <a:pt x="248" y="141"/>
                </a:lnTo>
                <a:lnTo>
                  <a:pt x="248" y="141"/>
                </a:lnTo>
                <a:lnTo>
                  <a:pt x="247" y="143"/>
                </a:lnTo>
                <a:lnTo>
                  <a:pt x="245" y="146"/>
                </a:lnTo>
                <a:lnTo>
                  <a:pt x="238" y="152"/>
                </a:lnTo>
                <a:lnTo>
                  <a:pt x="238" y="152"/>
                </a:lnTo>
                <a:lnTo>
                  <a:pt x="227" y="157"/>
                </a:lnTo>
                <a:lnTo>
                  <a:pt x="219" y="159"/>
                </a:lnTo>
                <a:lnTo>
                  <a:pt x="219" y="159"/>
                </a:lnTo>
                <a:lnTo>
                  <a:pt x="227" y="176"/>
                </a:lnTo>
                <a:lnTo>
                  <a:pt x="227" y="176"/>
                </a:lnTo>
                <a:lnTo>
                  <a:pt x="232" y="187"/>
                </a:lnTo>
                <a:lnTo>
                  <a:pt x="236" y="194"/>
                </a:lnTo>
                <a:lnTo>
                  <a:pt x="239" y="199"/>
                </a:lnTo>
                <a:lnTo>
                  <a:pt x="239" y="199"/>
                </a:lnTo>
                <a:lnTo>
                  <a:pt x="247" y="198"/>
                </a:lnTo>
                <a:lnTo>
                  <a:pt x="259" y="192"/>
                </a:lnTo>
                <a:lnTo>
                  <a:pt x="259" y="192"/>
                </a:lnTo>
                <a:lnTo>
                  <a:pt x="269" y="185"/>
                </a:lnTo>
                <a:lnTo>
                  <a:pt x="274" y="177"/>
                </a:lnTo>
                <a:lnTo>
                  <a:pt x="274" y="177"/>
                </a:lnTo>
                <a:lnTo>
                  <a:pt x="267" y="194"/>
                </a:lnTo>
                <a:lnTo>
                  <a:pt x="261" y="203"/>
                </a:lnTo>
                <a:lnTo>
                  <a:pt x="254" y="210"/>
                </a:lnTo>
                <a:lnTo>
                  <a:pt x="248" y="216"/>
                </a:lnTo>
                <a:lnTo>
                  <a:pt x="248" y="216"/>
                </a:lnTo>
                <a:lnTo>
                  <a:pt x="225" y="232"/>
                </a:lnTo>
                <a:lnTo>
                  <a:pt x="192" y="250"/>
                </a:lnTo>
                <a:lnTo>
                  <a:pt x="172" y="261"/>
                </a:lnTo>
                <a:lnTo>
                  <a:pt x="153" y="269"/>
                </a:lnTo>
                <a:lnTo>
                  <a:pt x="133" y="276"/>
                </a:lnTo>
                <a:lnTo>
                  <a:pt x="113" y="280"/>
                </a:lnTo>
                <a:lnTo>
                  <a:pt x="113" y="280"/>
                </a:lnTo>
                <a:lnTo>
                  <a:pt x="108" y="278"/>
                </a:lnTo>
                <a:lnTo>
                  <a:pt x="100" y="276"/>
                </a:lnTo>
                <a:lnTo>
                  <a:pt x="88" y="267"/>
                </a:lnTo>
                <a:lnTo>
                  <a:pt x="75" y="258"/>
                </a:lnTo>
                <a:lnTo>
                  <a:pt x="68" y="249"/>
                </a:lnTo>
                <a:lnTo>
                  <a:pt x="68" y="249"/>
                </a:lnTo>
                <a:lnTo>
                  <a:pt x="66" y="249"/>
                </a:lnTo>
                <a:lnTo>
                  <a:pt x="62" y="247"/>
                </a:lnTo>
                <a:lnTo>
                  <a:pt x="58" y="249"/>
                </a:lnTo>
                <a:lnTo>
                  <a:pt x="53" y="252"/>
                </a:lnTo>
                <a:lnTo>
                  <a:pt x="53" y="252"/>
                </a:lnTo>
                <a:lnTo>
                  <a:pt x="49" y="252"/>
                </a:lnTo>
                <a:lnTo>
                  <a:pt x="42" y="252"/>
                </a:lnTo>
                <a:lnTo>
                  <a:pt x="31" y="254"/>
                </a:lnTo>
                <a:lnTo>
                  <a:pt x="27" y="258"/>
                </a:lnTo>
                <a:lnTo>
                  <a:pt x="24" y="261"/>
                </a:lnTo>
                <a:lnTo>
                  <a:pt x="24" y="261"/>
                </a:lnTo>
                <a:lnTo>
                  <a:pt x="24" y="263"/>
                </a:lnTo>
                <a:lnTo>
                  <a:pt x="29" y="263"/>
                </a:lnTo>
                <a:lnTo>
                  <a:pt x="35" y="261"/>
                </a:lnTo>
                <a:lnTo>
                  <a:pt x="42" y="263"/>
                </a:lnTo>
                <a:lnTo>
                  <a:pt x="42" y="263"/>
                </a:lnTo>
                <a:lnTo>
                  <a:pt x="44" y="265"/>
                </a:lnTo>
                <a:lnTo>
                  <a:pt x="42" y="267"/>
                </a:lnTo>
                <a:lnTo>
                  <a:pt x="40" y="269"/>
                </a:lnTo>
                <a:lnTo>
                  <a:pt x="40" y="272"/>
                </a:lnTo>
                <a:lnTo>
                  <a:pt x="40" y="272"/>
                </a:lnTo>
                <a:lnTo>
                  <a:pt x="40" y="274"/>
                </a:lnTo>
                <a:lnTo>
                  <a:pt x="44" y="278"/>
                </a:lnTo>
                <a:lnTo>
                  <a:pt x="53" y="282"/>
                </a:lnTo>
                <a:lnTo>
                  <a:pt x="71" y="289"/>
                </a:lnTo>
                <a:lnTo>
                  <a:pt x="71" y="289"/>
                </a:lnTo>
                <a:lnTo>
                  <a:pt x="73" y="291"/>
                </a:lnTo>
                <a:lnTo>
                  <a:pt x="73" y="293"/>
                </a:lnTo>
                <a:lnTo>
                  <a:pt x="73" y="293"/>
                </a:lnTo>
                <a:lnTo>
                  <a:pt x="60" y="291"/>
                </a:lnTo>
                <a:lnTo>
                  <a:pt x="51" y="287"/>
                </a:lnTo>
                <a:lnTo>
                  <a:pt x="38" y="282"/>
                </a:lnTo>
                <a:lnTo>
                  <a:pt x="38" y="282"/>
                </a:lnTo>
                <a:lnTo>
                  <a:pt x="29" y="280"/>
                </a:lnTo>
                <a:lnTo>
                  <a:pt x="24" y="280"/>
                </a:lnTo>
                <a:lnTo>
                  <a:pt x="22" y="283"/>
                </a:lnTo>
                <a:lnTo>
                  <a:pt x="20" y="287"/>
                </a:lnTo>
                <a:lnTo>
                  <a:pt x="20" y="287"/>
                </a:lnTo>
                <a:lnTo>
                  <a:pt x="18" y="289"/>
                </a:lnTo>
                <a:lnTo>
                  <a:pt x="16" y="289"/>
                </a:lnTo>
                <a:lnTo>
                  <a:pt x="11" y="293"/>
                </a:lnTo>
                <a:lnTo>
                  <a:pt x="7" y="294"/>
                </a:lnTo>
                <a:lnTo>
                  <a:pt x="4" y="300"/>
                </a:lnTo>
                <a:lnTo>
                  <a:pt x="2" y="305"/>
                </a:lnTo>
                <a:lnTo>
                  <a:pt x="0" y="314"/>
                </a:lnTo>
                <a:lnTo>
                  <a:pt x="0" y="314"/>
                </a:lnTo>
                <a:lnTo>
                  <a:pt x="4" y="313"/>
                </a:lnTo>
                <a:lnTo>
                  <a:pt x="9" y="307"/>
                </a:lnTo>
                <a:lnTo>
                  <a:pt x="15" y="303"/>
                </a:lnTo>
                <a:lnTo>
                  <a:pt x="18" y="302"/>
                </a:lnTo>
                <a:lnTo>
                  <a:pt x="18" y="303"/>
                </a:lnTo>
                <a:lnTo>
                  <a:pt x="18" y="303"/>
                </a:lnTo>
                <a:lnTo>
                  <a:pt x="22" y="311"/>
                </a:lnTo>
                <a:lnTo>
                  <a:pt x="27" y="314"/>
                </a:lnTo>
                <a:lnTo>
                  <a:pt x="35" y="314"/>
                </a:lnTo>
                <a:lnTo>
                  <a:pt x="42" y="314"/>
                </a:lnTo>
                <a:lnTo>
                  <a:pt x="58" y="313"/>
                </a:lnTo>
                <a:lnTo>
                  <a:pt x="66" y="313"/>
                </a:lnTo>
                <a:lnTo>
                  <a:pt x="69" y="313"/>
                </a:lnTo>
                <a:lnTo>
                  <a:pt x="69" y="313"/>
                </a:lnTo>
                <a:lnTo>
                  <a:pt x="69" y="314"/>
                </a:lnTo>
                <a:lnTo>
                  <a:pt x="69" y="314"/>
                </a:lnTo>
                <a:lnTo>
                  <a:pt x="66" y="316"/>
                </a:lnTo>
                <a:lnTo>
                  <a:pt x="53" y="318"/>
                </a:lnTo>
                <a:lnTo>
                  <a:pt x="46" y="320"/>
                </a:lnTo>
                <a:lnTo>
                  <a:pt x="38" y="324"/>
                </a:lnTo>
                <a:lnTo>
                  <a:pt x="37" y="325"/>
                </a:lnTo>
                <a:lnTo>
                  <a:pt x="35" y="329"/>
                </a:lnTo>
                <a:lnTo>
                  <a:pt x="37" y="331"/>
                </a:lnTo>
                <a:lnTo>
                  <a:pt x="37" y="331"/>
                </a:lnTo>
                <a:lnTo>
                  <a:pt x="33" y="335"/>
                </a:lnTo>
                <a:lnTo>
                  <a:pt x="29" y="342"/>
                </a:lnTo>
                <a:lnTo>
                  <a:pt x="27" y="345"/>
                </a:lnTo>
                <a:lnTo>
                  <a:pt x="27" y="351"/>
                </a:lnTo>
                <a:lnTo>
                  <a:pt x="29" y="356"/>
                </a:lnTo>
                <a:lnTo>
                  <a:pt x="35" y="364"/>
                </a:lnTo>
                <a:lnTo>
                  <a:pt x="35" y="364"/>
                </a:lnTo>
                <a:lnTo>
                  <a:pt x="37" y="353"/>
                </a:lnTo>
                <a:lnTo>
                  <a:pt x="40" y="347"/>
                </a:lnTo>
                <a:lnTo>
                  <a:pt x="42" y="345"/>
                </a:lnTo>
                <a:lnTo>
                  <a:pt x="46" y="345"/>
                </a:lnTo>
                <a:lnTo>
                  <a:pt x="46" y="345"/>
                </a:lnTo>
                <a:lnTo>
                  <a:pt x="53" y="345"/>
                </a:lnTo>
                <a:lnTo>
                  <a:pt x="58" y="349"/>
                </a:lnTo>
                <a:lnTo>
                  <a:pt x="64" y="349"/>
                </a:lnTo>
                <a:lnTo>
                  <a:pt x="71" y="345"/>
                </a:lnTo>
                <a:lnTo>
                  <a:pt x="71" y="345"/>
                </a:lnTo>
                <a:lnTo>
                  <a:pt x="79" y="340"/>
                </a:lnTo>
                <a:lnTo>
                  <a:pt x="84" y="336"/>
                </a:lnTo>
                <a:lnTo>
                  <a:pt x="95" y="333"/>
                </a:lnTo>
                <a:lnTo>
                  <a:pt x="95" y="333"/>
                </a:lnTo>
                <a:lnTo>
                  <a:pt x="95" y="336"/>
                </a:lnTo>
                <a:lnTo>
                  <a:pt x="99" y="342"/>
                </a:lnTo>
                <a:lnTo>
                  <a:pt x="99" y="342"/>
                </a:lnTo>
                <a:lnTo>
                  <a:pt x="102" y="344"/>
                </a:lnTo>
                <a:lnTo>
                  <a:pt x="104" y="345"/>
                </a:lnTo>
                <a:lnTo>
                  <a:pt x="104" y="345"/>
                </a:lnTo>
                <a:lnTo>
                  <a:pt x="104" y="345"/>
                </a:lnTo>
                <a:lnTo>
                  <a:pt x="102" y="351"/>
                </a:lnTo>
                <a:lnTo>
                  <a:pt x="99" y="356"/>
                </a:lnTo>
                <a:lnTo>
                  <a:pt x="95" y="360"/>
                </a:lnTo>
                <a:lnTo>
                  <a:pt x="95" y="360"/>
                </a:lnTo>
                <a:lnTo>
                  <a:pt x="97" y="360"/>
                </a:lnTo>
                <a:lnTo>
                  <a:pt x="102" y="360"/>
                </a:lnTo>
                <a:lnTo>
                  <a:pt x="108" y="358"/>
                </a:lnTo>
                <a:lnTo>
                  <a:pt x="111" y="355"/>
                </a:lnTo>
                <a:lnTo>
                  <a:pt x="115" y="349"/>
                </a:lnTo>
                <a:lnTo>
                  <a:pt x="115" y="349"/>
                </a:lnTo>
                <a:lnTo>
                  <a:pt x="117" y="347"/>
                </a:lnTo>
                <a:lnTo>
                  <a:pt x="119" y="347"/>
                </a:lnTo>
                <a:lnTo>
                  <a:pt x="124" y="347"/>
                </a:lnTo>
                <a:lnTo>
                  <a:pt x="124" y="347"/>
                </a:lnTo>
                <a:lnTo>
                  <a:pt x="128" y="345"/>
                </a:lnTo>
                <a:lnTo>
                  <a:pt x="130" y="344"/>
                </a:lnTo>
                <a:lnTo>
                  <a:pt x="130" y="338"/>
                </a:lnTo>
                <a:lnTo>
                  <a:pt x="130" y="333"/>
                </a:lnTo>
                <a:lnTo>
                  <a:pt x="130" y="329"/>
                </a:lnTo>
                <a:lnTo>
                  <a:pt x="132" y="327"/>
                </a:lnTo>
                <a:lnTo>
                  <a:pt x="132" y="327"/>
                </a:lnTo>
                <a:lnTo>
                  <a:pt x="139" y="322"/>
                </a:lnTo>
                <a:lnTo>
                  <a:pt x="146" y="316"/>
                </a:lnTo>
                <a:lnTo>
                  <a:pt x="163" y="309"/>
                </a:lnTo>
                <a:lnTo>
                  <a:pt x="163" y="309"/>
                </a:lnTo>
                <a:lnTo>
                  <a:pt x="161" y="316"/>
                </a:lnTo>
                <a:lnTo>
                  <a:pt x="161" y="324"/>
                </a:lnTo>
                <a:lnTo>
                  <a:pt x="164" y="333"/>
                </a:lnTo>
                <a:lnTo>
                  <a:pt x="205" y="322"/>
                </a:lnTo>
                <a:lnTo>
                  <a:pt x="205" y="322"/>
                </a:lnTo>
                <a:lnTo>
                  <a:pt x="203" y="313"/>
                </a:lnTo>
                <a:lnTo>
                  <a:pt x="205" y="305"/>
                </a:lnTo>
                <a:lnTo>
                  <a:pt x="210" y="296"/>
                </a:lnTo>
                <a:lnTo>
                  <a:pt x="216" y="287"/>
                </a:lnTo>
                <a:lnTo>
                  <a:pt x="216" y="287"/>
                </a:lnTo>
                <a:lnTo>
                  <a:pt x="216" y="291"/>
                </a:lnTo>
                <a:lnTo>
                  <a:pt x="214" y="300"/>
                </a:lnTo>
                <a:lnTo>
                  <a:pt x="214" y="311"/>
                </a:lnTo>
                <a:lnTo>
                  <a:pt x="214" y="316"/>
                </a:lnTo>
                <a:lnTo>
                  <a:pt x="216" y="318"/>
                </a:lnTo>
                <a:lnTo>
                  <a:pt x="256" y="309"/>
                </a:lnTo>
                <a:lnTo>
                  <a:pt x="256" y="309"/>
                </a:lnTo>
                <a:lnTo>
                  <a:pt x="254" y="303"/>
                </a:lnTo>
                <a:lnTo>
                  <a:pt x="254" y="296"/>
                </a:lnTo>
                <a:lnTo>
                  <a:pt x="258" y="283"/>
                </a:lnTo>
                <a:lnTo>
                  <a:pt x="258" y="283"/>
                </a:lnTo>
                <a:lnTo>
                  <a:pt x="261" y="298"/>
                </a:lnTo>
                <a:lnTo>
                  <a:pt x="269" y="311"/>
                </a:lnTo>
                <a:lnTo>
                  <a:pt x="278" y="322"/>
                </a:lnTo>
                <a:lnTo>
                  <a:pt x="283" y="325"/>
                </a:lnTo>
                <a:lnTo>
                  <a:pt x="289" y="329"/>
                </a:lnTo>
                <a:lnTo>
                  <a:pt x="289" y="329"/>
                </a:lnTo>
                <a:lnTo>
                  <a:pt x="311" y="338"/>
                </a:lnTo>
                <a:lnTo>
                  <a:pt x="334" y="345"/>
                </a:lnTo>
                <a:lnTo>
                  <a:pt x="391" y="362"/>
                </a:lnTo>
                <a:lnTo>
                  <a:pt x="391" y="362"/>
                </a:lnTo>
                <a:lnTo>
                  <a:pt x="407" y="367"/>
                </a:lnTo>
                <a:lnTo>
                  <a:pt x="420" y="373"/>
                </a:lnTo>
                <a:lnTo>
                  <a:pt x="420" y="373"/>
                </a:lnTo>
                <a:lnTo>
                  <a:pt x="424" y="375"/>
                </a:lnTo>
                <a:lnTo>
                  <a:pt x="424" y="377"/>
                </a:lnTo>
                <a:lnTo>
                  <a:pt x="422" y="382"/>
                </a:lnTo>
                <a:lnTo>
                  <a:pt x="417" y="386"/>
                </a:lnTo>
                <a:lnTo>
                  <a:pt x="417" y="386"/>
                </a:lnTo>
                <a:lnTo>
                  <a:pt x="424" y="391"/>
                </a:lnTo>
                <a:lnTo>
                  <a:pt x="438" y="400"/>
                </a:lnTo>
                <a:lnTo>
                  <a:pt x="438" y="400"/>
                </a:lnTo>
                <a:lnTo>
                  <a:pt x="448" y="409"/>
                </a:lnTo>
                <a:lnTo>
                  <a:pt x="453" y="420"/>
                </a:lnTo>
                <a:lnTo>
                  <a:pt x="459" y="435"/>
                </a:lnTo>
                <a:lnTo>
                  <a:pt x="462" y="450"/>
                </a:lnTo>
                <a:lnTo>
                  <a:pt x="462" y="450"/>
                </a:lnTo>
                <a:lnTo>
                  <a:pt x="466" y="462"/>
                </a:lnTo>
                <a:lnTo>
                  <a:pt x="466" y="475"/>
                </a:lnTo>
                <a:lnTo>
                  <a:pt x="466" y="486"/>
                </a:lnTo>
                <a:lnTo>
                  <a:pt x="466" y="492"/>
                </a:lnTo>
                <a:lnTo>
                  <a:pt x="464" y="493"/>
                </a:lnTo>
                <a:lnTo>
                  <a:pt x="464" y="493"/>
                </a:lnTo>
                <a:lnTo>
                  <a:pt x="460" y="497"/>
                </a:lnTo>
                <a:lnTo>
                  <a:pt x="457" y="499"/>
                </a:lnTo>
                <a:lnTo>
                  <a:pt x="451" y="501"/>
                </a:lnTo>
                <a:lnTo>
                  <a:pt x="440" y="504"/>
                </a:lnTo>
                <a:lnTo>
                  <a:pt x="444" y="519"/>
                </a:lnTo>
                <a:lnTo>
                  <a:pt x="444" y="519"/>
                </a:lnTo>
                <a:lnTo>
                  <a:pt x="451" y="519"/>
                </a:lnTo>
                <a:lnTo>
                  <a:pt x="459" y="517"/>
                </a:lnTo>
                <a:lnTo>
                  <a:pt x="466" y="515"/>
                </a:lnTo>
                <a:lnTo>
                  <a:pt x="466" y="515"/>
                </a:lnTo>
                <a:lnTo>
                  <a:pt x="464" y="517"/>
                </a:lnTo>
                <a:lnTo>
                  <a:pt x="464" y="517"/>
                </a:lnTo>
                <a:lnTo>
                  <a:pt x="459" y="526"/>
                </a:lnTo>
                <a:lnTo>
                  <a:pt x="457" y="534"/>
                </a:lnTo>
                <a:lnTo>
                  <a:pt x="473" y="545"/>
                </a:lnTo>
                <a:lnTo>
                  <a:pt x="473" y="545"/>
                </a:lnTo>
                <a:lnTo>
                  <a:pt x="481" y="526"/>
                </a:lnTo>
                <a:lnTo>
                  <a:pt x="484" y="521"/>
                </a:lnTo>
                <a:lnTo>
                  <a:pt x="488" y="517"/>
                </a:lnTo>
                <a:lnTo>
                  <a:pt x="488" y="517"/>
                </a:lnTo>
                <a:lnTo>
                  <a:pt x="491" y="517"/>
                </a:lnTo>
                <a:lnTo>
                  <a:pt x="497" y="519"/>
                </a:lnTo>
                <a:lnTo>
                  <a:pt x="504" y="523"/>
                </a:lnTo>
                <a:lnTo>
                  <a:pt x="512" y="526"/>
                </a:lnTo>
                <a:lnTo>
                  <a:pt x="521" y="534"/>
                </a:lnTo>
                <a:lnTo>
                  <a:pt x="528" y="543"/>
                </a:lnTo>
                <a:lnTo>
                  <a:pt x="535" y="552"/>
                </a:lnTo>
                <a:lnTo>
                  <a:pt x="541" y="563"/>
                </a:lnTo>
                <a:lnTo>
                  <a:pt x="541" y="563"/>
                </a:lnTo>
                <a:lnTo>
                  <a:pt x="543" y="572"/>
                </a:lnTo>
                <a:lnTo>
                  <a:pt x="544" y="581"/>
                </a:lnTo>
                <a:lnTo>
                  <a:pt x="544" y="590"/>
                </a:lnTo>
                <a:lnTo>
                  <a:pt x="543" y="601"/>
                </a:lnTo>
                <a:lnTo>
                  <a:pt x="541" y="610"/>
                </a:lnTo>
                <a:lnTo>
                  <a:pt x="537" y="618"/>
                </a:lnTo>
                <a:lnTo>
                  <a:pt x="532" y="623"/>
                </a:lnTo>
                <a:lnTo>
                  <a:pt x="526" y="627"/>
                </a:lnTo>
                <a:lnTo>
                  <a:pt x="526" y="627"/>
                </a:lnTo>
                <a:lnTo>
                  <a:pt x="521" y="627"/>
                </a:lnTo>
                <a:lnTo>
                  <a:pt x="517" y="625"/>
                </a:lnTo>
                <a:lnTo>
                  <a:pt x="504" y="620"/>
                </a:lnTo>
                <a:lnTo>
                  <a:pt x="493" y="614"/>
                </a:lnTo>
                <a:lnTo>
                  <a:pt x="490" y="614"/>
                </a:lnTo>
                <a:lnTo>
                  <a:pt x="486" y="618"/>
                </a:lnTo>
                <a:lnTo>
                  <a:pt x="486" y="618"/>
                </a:lnTo>
                <a:lnTo>
                  <a:pt x="484" y="620"/>
                </a:lnTo>
                <a:lnTo>
                  <a:pt x="479" y="623"/>
                </a:lnTo>
                <a:lnTo>
                  <a:pt x="470" y="629"/>
                </a:lnTo>
                <a:lnTo>
                  <a:pt x="466" y="632"/>
                </a:lnTo>
                <a:lnTo>
                  <a:pt x="462" y="638"/>
                </a:lnTo>
                <a:lnTo>
                  <a:pt x="462" y="645"/>
                </a:lnTo>
                <a:lnTo>
                  <a:pt x="464" y="654"/>
                </a:lnTo>
                <a:lnTo>
                  <a:pt x="464" y="654"/>
                </a:lnTo>
                <a:lnTo>
                  <a:pt x="473" y="645"/>
                </a:lnTo>
                <a:lnTo>
                  <a:pt x="477" y="641"/>
                </a:lnTo>
                <a:lnTo>
                  <a:pt x="481" y="641"/>
                </a:lnTo>
                <a:lnTo>
                  <a:pt x="481" y="641"/>
                </a:lnTo>
                <a:lnTo>
                  <a:pt x="482" y="643"/>
                </a:lnTo>
                <a:lnTo>
                  <a:pt x="482" y="645"/>
                </a:lnTo>
                <a:lnTo>
                  <a:pt x="486" y="649"/>
                </a:lnTo>
                <a:lnTo>
                  <a:pt x="486" y="649"/>
                </a:lnTo>
                <a:lnTo>
                  <a:pt x="488" y="651"/>
                </a:lnTo>
                <a:lnTo>
                  <a:pt x="491" y="651"/>
                </a:lnTo>
                <a:lnTo>
                  <a:pt x="502" y="651"/>
                </a:lnTo>
                <a:lnTo>
                  <a:pt x="512" y="649"/>
                </a:lnTo>
                <a:lnTo>
                  <a:pt x="515" y="649"/>
                </a:lnTo>
                <a:lnTo>
                  <a:pt x="517" y="651"/>
                </a:lnTo>
                <a:lnTo>
                  <a:pt x="517" y="651"/>
                </a:lnTo>
                <a:lnTo>
                  <a:pt x="517" y="652"/>
                </a:lnTo>
                <a:lnTo>
                  <a:pt x="515" y="652"/>
                </a:lnTo>
                <a:lnTo>
                  <a:pt x="510" y="652"/>
                </a:lnTo>
                <a:lnTo>
                  <a:pt x="510" y="652"/>
                </a:lnTo>
                <a:lnTo>
                  <a:pt x="491" y="656"/>
                </a:lnTo>
                <a:lnTo>
                  <a:pt x="484" y="660"/>
                </a:lnTo>
                <a:lnTo>
                  <a:pt x="479" y="663"/>
                </a:lnTo>
                <a:lnTo>
                  <a:pt x="479" y="663"/>
                </a:lnTo>
                <a:lnTo>
                  <a:pt x="479" y="665"/>
                </a:lnTo>
                <a:lnTo>
                  <a:pt x="479" y="669"/>
                </a:lnTo>
                <a:lnTo>
                  <a:pt x="479" y="669"/>
                </a:lnTo>
                <a:lnTo>
                  <a:pt x="475" y="674"/>
                </a:lnTo>
                <a:lnTo>
                  <a:pt x="470" y="678"/>
                </a:lnTo>
                <a:lnTo>
                  <a:pt x="466" y="683"/>
                </a:lnTo>
                <a:lnTo>
                  <a:pt x="464" y="689"/>
                </a:lnTo>
                <a:lnTo>
                  <a:pt x="464" y="694"/>
                </a:lnTo>
                <a:lnTo>
                  <a:pt x="464" y="694"/>
                </a:lnTo>
                <a:lnTo>
                  <a:pt x="466" y="702"/>
                </a:lnTo>
                <a:lnTo>
                  <a:pt x="470" y="705"/>
                </a:lnTo>
                <a:lnTo>
                  <a:pt x="475" y="711"/>
                </a:lnTo>
                <a:lnTo>
                  <a:pt x="475" y="711"/>
                </a:lnTo>
                <a:lnTo>
                  <a:pt x="475" y="707"/>
                </a:lnTo>
                <a:lnTo>
                  <a:pt x="477" y="702"/>
                </a:lnTo>
                <a:lnTo>
                  <a:pt x="479" y="694"/>
                </a:lnTo>
                <a:lnTo>
                  <a:pt x="479" y="691"/>
                </a:lnTo>
                <a:lnTo>
                  <a:pt x="482" y="691"/>
                </a:lnTo>
                <a:lnTo>
                  <a:pt x="482" y="691"/>
                </a:lnTo>
                <a:lnTo>
                  <a:pt x="484" y="691"/>
                </a:lnTo>
                <a:lnTo>
                  <a:pt x="488" y="693"/>
                </a:lnTo>
                <a:lnTo>
                  <a:pt x="490" y="696"/>
                </a:lnTo>
                <a:lnTo>
                  <a:pt x="493" y="696"/>
                </a:lnTo>
                <a:lnTo>
                  <a:pt x="493" y="696"/>
                </a:lnTo>
                <a:lnTo>
                  <a:pt x="497" y="696"/>
                </a:lnTo>
                <a:lnTo>
                  <a:pt x="502" y="693"/>
                </a:lnTo>
                <a:lnTo>
                  <a:pt x="513" y="682"/>
                </a:lnTo>
                <a:lnTo>
                  <a:pt x="524" y="672"/>
                </a:lnTo>
                <a:lnTo>
                  <a:pt x="528" y="669"/>
                </a:lnTo>
                <a:lnTo>
                  <a:pt x="532" y="669"/>
                </a:lnTo>
                <a:lnTo>
                  <a:pt x="532" y="669"/>
                </a:lnTo>
                <a:lnTo>
                  <a:pt x="533" y="671"/>
                </a:lnTo>
                <a:lnTo>
                  <a:pt x="532" y="672"/>
                </a:lnTo>
                <a:lnTo>
                  <a:pt x="524" y="678"/>
                </a:lnTo>
                <a:lnTo>
                  <a:pt x="517" y="685"/>
                </a:lnTo>
                <a:lnTo>
                  <a:pt x="513" y="689"/>
                </a:lnTo>
                <a:lnTo>
                  <a:pt x="512" y="694"/>
                </a:lnTo>
                <a:lnTo>
                  <a:pt x="512" y="694"/>
                </a:lnTo>
                <a:lnTo>
                  <a:pt x="513" y="700"/>
                </a:lnTo>
                <a:lnTo>
                  <a:pt x="515" y="704"/>
                </a:lnTo>
                <a:lnTo>
                  <a:pt x="519" y="707"/>
                </a:lnTo>
                <a:lnTo>
                  <a:pt x="521" y="711"/>
                </a:lnTo>
                <a:lnTo>
                  <a:pt x="521" y="711"/>
                </a:lnTo>
                <a:lnTo>
                  <a:pt x="523" y="715"/>
                </a:lnTo>
                <a:lnTo>
                  <a:pt x="526" y="720"/>
                </a:lnTo>
                <a:lnTo>
                  <a:pt x="530" y="724"/>
                </a:lnTo>
                <a:lnTo>
                  <a:pt x="535" y="725"/>
                </a:lnTo>
                <a:lnTo>
                  <a:pt x="546" y="729"/>
                </a:lnTo>
                <a:lnTo>
                  <a:pt x="552" y="729"/>
                </a:lnTo>
                <a:lnTo>
                  <a:pt x="552" y="729"/>
                </a:lnTo>
                <a:lnTo>
                  <a:pt x="550" y="725"/>
                </a:lnTo>
                <a:lnTo>
                  <a:pt x="544" y="720"/>
                </a:lnTo>
                <a:lnTo>
                  <a:pt x="539" y="713"/>
                </a:lnTo>
                <a:lnTo>
                  <a:pt x="539" y="711"/>
                </a:lnTo>
                <a:lnTo>
                  <a:pt x="539" y="707"/>
                </a:lnTo>
                <a:lnTo>
                  <a:pt x="539" y="707"/>
                </a:lnTo>
                <a:lnTo>
                  <a:pt x="541" y="705"/>
                </a:lnTo>
                <a:lnTo>
                  <a:pt x="544" y="707"/>
                </a:lnTo>
                <a:lnTo>
                  <a:pt x="548" y="707"/>
                </a:lnTo>
                <a:lnTo>
                  <a:pt x="552" y="705"/>
                </a:lnTo>
                <a:lnTo>
                  <a:pt x="552" y="705"/>
                </a:lnTo>
                <a:lnTo>
                  <a:pt x="552" y="702"/>
                </a:lnTo>
                <a:lnTo>
                  <a:pt x="552" y="691"/>
                </a:lnTo>
                <a:lnTo>
                  <a:pt x="552" y="685"/>
                </a:lnTo>
                <a:lnTo>
                  <a:pt x="554" y="678"/>
                </a:lnTo>
                <a:lnTo>
                  <a:pt x="559" y="671"/>
                </a:lnTo>
                <a:lnTo>
                  <a:pt x="566" y="662"/>
                </a:lnTo>
                <a:lnTo>
                  <a:pt x="566" y="662"/>
                </a:lnTo>
                <a:lnTo>
                  <a:pt x="570" y="667"/>
                </a:lnTo>
                <a:lnTo>
                  <a:pt x="574" y="669"/>
                </a:lnTo>
                <a:lnTo>
                  <a:pt x="581" y="671"/>
                </a:lnTo>
                <a:lnTo>
                  <a:pt x="581" y="671"/>
                </a:lnTo>
                <a:lnTo>
                  <a:pt x="583" y="672"/>
                </a:lnTo>
                <a:lnTo>
                  <a:pt x="585" y="674"/>
                </a:lnTo>
                <a:lnTo>
                  <a:pt x="585" y="682"/>
                </a:lnTo>
                <a:lnTo>
                  <a:pt x="585" y="691"/>
                </a:lnTo>
                <a:lnTo>
                  <a:pt x="585" y="691"/>
                </a:lnTo>
                <a:lnTo>
                  <a:pt x="586" y="689"/>
                </a:lnTo>
                <a:lnTo>
                  <a:pt x="590" y="683"/>
                </a:lnTo>
                <a:lnTo>
                  <a:pt x="594" y="674"/>
                </a:lnTo>
                <a:lnTo>
                  <a:pt x="594" y="663"/>
                </a:lnTo>
                <a:lnTo>
                  <a:pt x="594" y="663"/>
                </a:lnTo>
                <a:lnTo>
                  <a:pt x="597" y="662"/>
                </a:lnTo>
                <a:lnTo>
                  <a:pt x="601" y="654"/>
                </a:lnTo>
                <a:lnTo>
                  <a:pt x="601" y="654"/>
                </a:lnTo>
                <a:lnTo>
                  <a:pt x="603" y="651"/>
                </a:lnTo>
                <a:lnTo>
                  <a:pt x="601" y="649"/>
                </a:lnTo>
                <a:lnTo>
                  <a:pt x="596" y="643"/>
                </a:lnTo>
                <a:lnTo>
                  <a:pt x="594" y="640"/>
                </a:lnTo>
                <a:lnTo>
                  <a:pt x="592" y="634"/>
                </a:lnTo>
                <a:lnTo>
                  <a:pt x="590" y="625"/>
                </a:lnTo>
                <a:lnTo>
                  <a:pt x="590" y="614"/>
                </a:lnTo>
                <a:lnTo>
                  <a:pt x="590" y="614"/>
                </a:lnTo>
                <a:lnTo>
                  <a:pt x="590" y="610"/>
                </a:lnTo>
                <a:lnTo>
                  <a:pt x="588" y="609"/>
                </a:lnTo>
                <a:lnTo>
                  <a:pt x="583" y="605"/>
                </a:lnTo>
                <a:lnTo>
                  <a:pt x="583" y="605"/>
                </a:lnTo>
                <a:lnTo>
                  <a:pt x="579" y="599"/>
                </a:lnTo>
                <a:lnTo>
                  <a:pt x="579" y="598"/>
                </a:lnTo>
                <a:lnTo>
                  <a:pt x="581" y="598"/>
                </a:lnTo>
                <a:lnTo>
                  <a:pt x="581" y="598"/>
                </a:lnTo>
                <a:lnTo>
                  <a:pt x="588" y="599"/>
                </a:lnTo>
                <a:lnTo>
                  <a:pt x="596" y="599"/>
                </a:lnTo>
                <a:lnTo>
                  <a:pt x="603" y="598"/>
                </a:lnTo>
                <a:lnTo>
                  <a:pt x="603" y="598"/>
                </a:lnTo>
                <a:lnTo>
                  <a:pt x="603" y="576"/>
                </a:lnTo>
                <a:lnTo>
                  <a:pt x="605" y="565"/>
                </a:lnTo>
                <a:lnTo>
                  <a:pt x="603" y="559"/>
                </a:lnTo>
                <a:lnTo>
                  <a:pt x="603" y="559"/>
                </a:lnTo>
                <a:lnTo>
                  <a:pt x="596" y="559"/>
                </a:lnTo>
                <a:lnTo>
                  <a:pt x="588" y="557"/>
                </a:lnTo>
                <a:lnTo>
                  <a:pt x="585" y="556"/>
                </a:lnTo>
                <a:lnTo>
                  <a:pt x="581" y="552"/>
                </a:lnTo>
                <a:lnTo>
                  <a:pt x="581" y="552"/>
                </a:lnTo>
                <a:lnTo>
                  <a:pt x="586" y="552"/>
                </a:lnTo>
                <a:lnTo>
                  <a:pt x="594" y="552"/>
                </a:lnTo>
                <a:lnTo>
                  <a:pt x="599" y="552"/>
                </a:lnTo>
                <a:lnTo>
                  <a:pt x="603" y="548"/>
                </a:lnTo>
                <a:lnTo>
                  <a:pt x="603" y="548"/>
                </a:lnTo>
                <a:lnTo>
                  <a:pt x="603" y="530"/>
                </a:lnTo>
                <a:lnTo>
                  <a:pt x="601" y="517"/>
                </a:lnTo>
                <a:lnTo>
                  <a:pt x="601" y="514"/>
                </a:lnTo>
                <a:lnTo>
                  <a:pt x="599" y="512"/>
                </a:lnTo>
                <a:lnTo>
                  <a:pt x="599" y="512"/>
                </a:lnTo>
                <a:lnTo>
                  <a:pt x="592" y="514"/>
                </a:lnTo>
                <a:lnTo>
                  <a:pt x="586" y="514"/>
                </a:lnTo>
                <a:lnTo>
                  <a:pt x="581" y="512"/>
                </a:lnTo>
                <a:lnTo>
                  <a:pt x="576" y="510"/>
                </a:lnTo>
                <a:lnTo>
                  <a:pt x="576" y="510"/>
                </a:lnTo>
                <a:lnTo>
                  <a:pt x="574" y="508"/>
                </a:lnTo>
                <a:lnTo>
                  <a:pt x="572" y="504"/>
                </a:lnTo>
                <a:lnTo>
                  <a:pt x="572" y="499"/>
                </a:lnTo>
                <a:lnTo>
                  <a:pt x="570" y="495"/>
                </a:lnTo>
                <a:lnTo>
                  <a:pt x="570" y="493"/>
                </a:lnTo>
                <a:lnTo>
                  <a:pt x="568" y="492"/>
                </a:lnTo>
                <a:lnTo>
                  <a:pt x="568" y="492"/>
                </a:lnTo>
                <a:lnTo>
                  <a:pt x="557" y="488"/>
                </a:lnTo>
                <a:lnTo>
                  <a:pt x="546" y="482"/>
                </a:lnTo>
                <a:lnTo>
                  <a:pt x="541" y="477"/>
                </a:lnTo>
                <a:lnTo>
                  <a:pt x="535" y="473"/>
                </a:lnTo>
                <a:lnTo>
                  <a:pt x="535" y="473"/>
                </a:lnTo>
                <a:lnTo>
                  <a:pt x="532" y="468"/>
                </a:lnTo>
                <a:lnTo>
                  <a:pt x="532" y="462"/>
                </a:lnTo>
                <a:lnTo>
                  <a:pt x="532" y="459"/>
                </a:lnTo>
                <a:lnTo>
                  <a:pt x="532" y="459"/>
                </a:lnTo>
                <a:lnTo>
                  <a:pt x="541" y="462"/>
                </a:lnTo>
                <a:lnTo>
                  <a:pt x="544" y="462"/>
                </a:lnTo>
                <a:lnTo>
                  <a:pt x="550" y="461"/>
                </a:lnTo>
                <a:lnTo>
                  <a:pt x="552" y="431"/>
                </a:lnTo>
                <a:lnTo>
                  <a:pt x="552" y="431"/>
                </a:lnTo>
                <a:lnTo>
                  <a:pt x="548" y="431"/>
                </a:lnTo>
                <a:lnTo>
                  <a:pt x="541" y="430"/>
                </a:lnTo>
                <a:lnTo>
                  <a:pt x="541" y="430"/>
                </a:lnTo>
                <a:lnTo>
                  <a:pt x="537" y="426"/>
                </a:lnTo>
                <a:lnTo>
                  <a:pt x="533" y="422"/>
                </a:lnTo>
                <a:lnTo>
                  <a:pt x="532" y="419"/>
                </a:lnTo>
                <a:lnTo>
                  <a:pt x="532" y="419"/>
                </a:lnTo>
                <a:lnTo>
                  <a:pt x="535" y="420"/>
                </a:lnTo>
                <a:lnTo>
                  <a:pt x="543" y="422"/>
                </a:lnTo>
                <a:lnTo>
                  <a:pt x="543" y="422"/>
                </a:lnTo>
                <a:lnTo>
                  <a:pt x="550" y="422"/>
                </a:lnTo>
                <a:lnTo>
                  <a:pt x="554" y="420"/>
                </a:lnTo>
                <a:lnTo>
                  <a:pt x="557" y="387"/>
                </a:lnTo>
                <a:lnTo>
                  <a:pt x="557" y="387"/>
                </a:lnTo>
                <a:lnTo>
                  <a:pt x="552" y="387"/>
                </a:lnTo>
                <a:lnTo>
                  <a:pt x="546" y="386"/>
                </a:lnTo>
                <a:lnTo>
                  <a:pt x="541" y="384"/>
                </a:lnTo>
                <a:lnTo>
                  <a:pt x="539" y="378"/>
                </a:lnTo>
                <a:lnTo>
                  <a:pt x="539" y="377"/>
                </a:lnTo>
                <a:lnTo>
                  <a:pt x="539" y="377"/>
                </a:lnTo>
                <a:lnTo>
                  <a:pt x="552" y="373"/>
                </a:lnTo>
                <a:lnTo>
                  <a:pt x="563" y="367"/>
                </a:lnTo>
                <a:lnTo>
                  <a:pt x="572" y="360"/>
                </a:lnTo>
                <a:lnTo>
                  <a:pt x="579" y="353"/>
                </a:lnTo>
                <a:lnTo>
                  <a:pt x="586" y="344"/>
                </a:lnTo>
                <a:lnTo>
                  <a:pt x="592" y="333"/>
                </a:lnTo>
                <a:lnTo>
                  <a:pt x="597" y="324"/>
                </a:lnTo>
                <a:lnTo>
                  <a:pt x="599" y="313"/>
                </a:lnTo>
                <a:lnTo>
                  <a:pt x="599" y="313"/>
                </a:lnTo>
                <a:lnTo>
                  <a:pt x="608" y="316"/>
                </a:lnTo>
                <a:lnTo>
                  <a:pt x="614" y="316"/>
                </a:lnTo>
                <a:lnTo>
                  <a:pt x="618" y="316"/>
                </a:lnTo>
                <a:lnTo>
                  <a:pt x="618" y="316"/>
                </a:lnTo>
                <a:lnTo>
                  <a:pt x="619" y="303"/>
                </a:lnTo>
                <a:lnTo>
                  <a:pt x="619" y="289"/>
                </a:lnTo>
                <a:lnTo>
                  <a:pt x="619" y="289"/>
                </a:lnTo>
                <a:lnTo>
                  <a:pt x="610" y="287"/>
                </a:lnTo>
                <a:lnTo>
                  <a:pt x="607" y="285"/>
                </a:lnTo>
                <a:lnTo>
                  <a:pt x="603" y="28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pic>
        <p:nvPicPr>
          <p:cNvPr id="53" name="Picture 3">
            <a:extLst>
              <a:ext uri="{FF2B5EF4-FFF2-40B4-BE49-F238E27FC236}">
                <a16:creationId xmlns:a16="http://schemas.microsoft.com/office/drawing/2014/main" id="{F1689B57-8BAA-BF42-B648-10782572357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04248" y="4443958"/>
            <a:ext cx="2088034" cy="397877"/>
          </a:xfrm>
          <a:prstGeom prst="rect">
            <a:avLst/>
          </a:prstGeom>
        </p:spPr>
      </p:pic>
      <p:pic>
        <p:nvPicPr>
          <p:cNvPr id="55" name="Picture 5">
            <a:extLst>
              <a:ext uri="{FF2B5EF4-FFF2-40B4-BE49-F238E27FC236}">
                <a16:creationId xmlns:a16="http://schemas.microsoft.com/office/drawing/2014/main" id="{4F591584-9FCE-5A4F-A985-77C337C3AB8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604448" y="235340"/>
            <a:ext cx="305495" cy="419486"/>
          </a:xfrm>
          <a:prstGeom prst="rect">
            <a:avLst/>
          </a:prstGeom>
        </p:spPr>
      </p:pic>
    </p:spTree>
    <p:extLst>
      <p:ext uri="{BB962C8B-B14F-4D97-AF65-F5344CB8AC3E}">
        <p14:creationId xmlns:p14="http://schemas.microsoft.com/office/powerpoint/2010/main" val="357694184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8_Väliotsikko">
    <p:spTree>
      <p:nvGrpSpPr>
        <p:cNvPr id="1" name=""/>
        <p:cNvGrpSpPr/>
        <p:nvPr/>
      </p:nvGrpSpPr>
      <p:grpSpPr>
        <a:xfrm>
          <a:off x="0" y="0"/>
          <a:ext cx="0" cy="0"/>
          <a:chOff x="0" y="0"/>
          <a:chExt cx="0" cy="0"/>
        </a:xfrm>
      </p:grpSpPr>
      <p:pic>
        <p:nvPicPr>
          <p:cNvPr id="2" name="Kuva 1"/>
          <p:cNvPicPr>
            <a:picLocks noChangeAspect="1"/>
          </p:cNvPicPr>
          <p:nvPr userDrawn="1"/>
        </p:nvPicPr>
        <p:blipFill rotWithShape="1">
          <a:blip r:embed="rId2" cstate="print">
            <a:extLst>
              <a:ext uri="{28A0092B-C50C-407E-A947-70E740481C1C}">
                <a14:useLocalDpi xmlns:a14="http://schemas.microsoft.com/office/drawing/2010/main" val="0"/>
              </a:ext>
            </a:extLst>
          </a:blip>
          <a:srcRect t="7474" r="42978"/>
          <a:stretch/>
        </p:blipFill>
        <p:spPr>
          <a:xfrm>
            <a:off x="4355976" y="-20539"/>
            <a:ext cx="4824536" cy="5163047"/>
          </a:xfrm>
          <a:prstGeom prst="rect">
            <a:avLst/>
          </a:prstGeom>
        </p:spPr>
      </p:pic>
      <p:sp>
        <p:nvSpPr>
          <p:cNvPr id="51" name="Rectangle 50"/>
          <p:cNvSpPr/>
          <p:nvPr userDrawn="1"/>
        </p:nvSpPr>
        <p:spPr>
          <a:xfrm rot="10800000" flipV="1">
            <a:off x="-10667" y="-21804"/>
            <a:ext cx="4582667" cy="5165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58" name="Rectangle 57"/>
          <p:cNvSpPr/>
          <p:nvPr userDrawn="1"/>
        </p:nvSpPr>
        <p:spPr>
          <a:xfrm rot="10800000" flipV="1">
            <a:off x="4427983" y="-21804"/>
            <a:ext cx="4714430" cy="5165302"/>
          </a:xfrm>
          <a:prstGeom prst="rect">
            <a:avLst/>
          </a:prstGeom>
          <a:solidFill>
            <a:schemeClr val="accent4">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54" name="Freeform 7"/>
          <p:cNvSpPr>
            <a:spLocks/>
          </p:cNvSpPr>
          <p:nvPr userDrawn="1"/>
        </p:nvSpPr>
        <p:spPr bwMode="auto">
          <a:xfrm rot="10800000" flipV="1">
            <a:off x="3392894" y="-21803"/>
            <a:ext cx="4279900" cy="5165302"/>
          </a:xfrm>
          <a:custGeom>
            <a:avLst/>
            <a:gdLst>
              <a:gd name="T0" fmla="*/ 2425 w 2696"/>
              <a:gd name="T1" fmla="*/ 3240 h 3240"/>
              <a:gd name="T2" fmla="*/ 2398 w 2696"/>
              <a:gd name="T3" fmla="*/ 3171 h 3240"/>
              <a:gd name="T4" fmla="*/ 2372 w 2696"/>
              <a:gd name="T5" fmla="*/ 3103 h 3240"/>
              <a:gd name="T6" fmla="*/ 2325 w 2696"/>
              <a:gd name="T7" fmla="*/ 2966 h 3240"/>
              <a:gd name="T8" fmla="*/ 2283 w 2696"/>
              <a:gd name="T9" fmla="*/ 2828 h 3240"/>
              <a:gd name="T10" fmla="*/ 2248 w 2696"/>
              <a:gd name="T11" fmla="*/ 2689 h 3240"/>
              <a:gd name="T12" fmla="*/ 2219 w 2696"/>
              <a:gd name="T13" fmla="*/ 2550 h 3240"/>
              <a:gd name="T14" fmla="*/ 2196 w 2696"/>
              <a:gd name="T15" fmla="*/ 2411 h 3240"/>
              <a:gd name="T16" fmla="*/ 2178 w 2696"/>
              <a:gd name="T17" fmla="*/ 2273 h 3240"/>
              <a:gd name="T18" fmla="*/ 2164 w 2696"/>
              <a:gd name="T19" fmla="*/ 2133 h 3240"/>
              <a:gd name="T20" fmla="*/ 2157 w 2696"/>
              <a:gd name="T21" fmla="*/ 1995 h 3240"/>
              <a:gd name="T22" fmla="*/ 2156 w 2696"/>
              <a:gd name="T23" fmla="*/ 1856 h 3240"/>
              <a:gd name="T24" fmla="*/ 2160 w 2696"/>
              <a:gd name="T25" fmla="*/ 1718 h 3240"/>
              <a:gd name="T26" fmla="*/ 2170 w 2696"/>
              <a:gd name="T27" fmla="*/ 1581 h 3240"/>
              <a:gd name="T28" fmla="*/ 2183 w 2696"/>
              <a:gd name="T29" fmla="*/ 1445 h 3240"/>
              <a:gd name="T30" fmla="*/ 2203 w 2696"/>
              <a:gd name="T31" fmla="*/ 1310 h 3240"/>
              <a:gd name="T32" fmla="*/ 2228 w 2696"/>
              <a:gd name="T33" fmla="*/ 1175 h 3240"/>
              <a:gd name="T34" fmla="*/ 2259 w 2696"/>
              <a:gd name="T35" fmla="*/ 1042 h 3240"/>
              <a:gd name="T36" fmla="*/ 2274 w 2696"/>
              <a:gd name="T37" fmla="*/ 977 h 3240"/>
              <a:gd name="T38" fmla="*/ 2313 w 2696"/>
              <a:gd name="T39" fmla="*/ 845 h 3240"/>
              <a:gd name="T40" fmla="*/ 2354 w 2696"/>
              <a:gd name="T41" fmla="*/ 716 h 3240"/>
              <a:gd name="T42" fmla="*/ 2400 w 2696"/>
              <a:gd name="T43" fmla="*/ 590 h 3240"/>
              <a:gd name="T44" fmla="*/ 2452 w 2696"/>
              <a:gd name="T45" fmla="*/ 466 h 3240"/>
              <a:gd name="T46" fmla="*/ 2507 w 2696"/>
              <a:gd name="T47" fmla="*/ 345 h 3240"/>
              <a:gd name="T48" fmla="*/ 2566 w 2696"/>
              <a:gd name="T49" fmla="*/ 227 h 3240"/>
              <a:gd name="T50" fmla="*/ 2630 w 2696"/>
              <a:gd name="T51" fmla="*/ 113 h 3240"/>
              <a:gd name="T52" fmla="*/ 2696 w 2696"/>
              <a:gd name="T53" fmla="*/ 0 h 3240"/>
              <a:gd name="T54" fmla="*/ 0 w 2696"/>
              <a:gd name="T55" fmla="*/ 0 h 3240"/>
              <a:gd name="T56" fmla="*/ 72 w 2696"/>
              <a:gd name="T57" fmla="*/ 207 h 3240"/>
              <a:gd name="T58" fmla="*/ 150 w 2696"/>
              <a:gd name="T59" fmla="*/ 414 h 3240"/>
              <a:gd name="T60" fmla="*/ 187 w 2696"/>
              <a:gd name="T61" fmla="*/ 510 h 3240"/>
              <a:gd name="T62" fmla="*/ 266 w 2696"/>
              <a:gd name="T63" fmla="*/ 701 h 3240"/>
              <a:gd name="T64" fmla="*/ 349 w 2696"/>
              <a:gd name="T65" fmla="*/ 890 h 3240"/>
              <a:gd name="T66" fmla="*/ 436 w 2696"/>
              <a:gd name="T67" fmla="*/ 1077 h 3240"/>
              <a:gd name="T68" fmla="*/ 527 w 2696"/>
              <a:gd name="T69" fmla="*/ 1262 h 3240"/>
              <a:gd name="T70" fmla="*/ 622 w 2696"/>
              <a:gd name="T71" fmla="*/ 1446 h 3240"/>
              <a:gd name="T72" fmla="*/ 722 w 2696"/>
              <a:gd name="T73" fmla="*/ 1627 h 3240"/>
              <a:gd name="T74" fmla="*/ 826 w 2696"/>
              <a:gd name="T75" fmla="*/ 1807 h 3240"/>
              <a:gd name="T76" fmla="*/ 934 w 2696"/>
              <a:gd name="T77" fmla="*/ 1983 h 3240"/>
              <a:gd name="T78" fmla="*/ 1046 w 2696"/>
              <a:gd name="T79" fmla="*/ 2159 h 3240"/>
              <a:gd name="T80" fmla="*/ 1162 w 2696"/>
              <a:gd name="T81" fmla="*/ 2332 h 3240"/>
              <a:gd name="T82" fmla="*/ 1282 w 2696"/>
              <a:gd name="T83" fmla="*/ 2503 h 3240"/>
              <a:gd name="T84" fmla="*/ 1406 w 2696"/>
              <a:gd name="T85" fmla="*/ 2671 h 3240"/>
              <a:gd name="T86" fmla="*/ 1535 w 2696"/>
              <a:gd name="T87" fmla="*/ 2837 h 3240"/>
              <a:gd name="T88" fmla="*/ 1667 w 2696"/>
              <a:gd name="T89" fmla="*/ 3000 h 3240"/>
              <a:gd name="T90" fmla="*/ 1804 w 2696"/>
              <a:gd name="T91" fmla="*/ 3160 h 3240"/>
              <a:gd name="T92" fmla="*/ 1874 w 2696"/>
              <a:gd name="T93" fmla="*/ 3240 h 3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96" h="3240">
                <a:moveTo>
                  <a:pt x="1874" y="3240"/>
                </a:moveTo>
                <a:lnTo>
                  <a:pt x="2425" y="3240"/>
                </a:lnTo>
                <a:lnTo>
                  <a:pt x="2425" y="3240"/>
                </a:lnTo>
                <a:lnTo>
                  <a:pt x="2398" y="3171"/>
                </a:lnTo>
                <a:lnTo>
                  <a:pt x="2398" y="3171"/>
                </a:lnTo>
                <a:lnTo>
                  <a:pt x="2372" y="3103"/>
                </a:lnTo>
                <a:lnTo>
                  <a:pt x="2347" y="3034"/>
                </a:lnTo>
                <a:lnTo>
                  <a:pt x="2325" y="2966"/>
                </a:lnTo>
                <a:lnTo>
                  <a:pt x="2304" y="2897"/>
                </a:lnTo>
                <a:lnTo>
                  <a:pt x="2283" y="2828"/>
                </a:lnTo>
                <a:lnTo>
                  <a:pt x="2265" y="2759"/>
                </a:lnTo>
                <a:lnTo>
                  <a:pt x="2248" y="2689"/>
                </a:lnTo>
                <a:lnTo>
                  <a:pt x="2233" y="2620"/>
                </a:lnTo>
                <a:lnTo>
                  <a:pt x="2219" y="2550"/>
                </a:lnTo>
                <a:lnTo>
                  <a:pt x="2207" y="2481"/>
                </a:lnTo>
                <a:lnTo>
                  <a:pt x="2196" y="2411"/>
                </a:lnTo>
                <a:lnTo>
                  <a:pt x="2185" y="2342"/>
                </a:lnTo>
                <a:lnTo>
                  <a:pt x="2178" y="2273"/>
                </a:lnTo>
                <a:lnTo>
                  <a:pt x="2170" y="2203"/>
                </a:lnTo>
                <a:lnTo>
                  <a:pt x="2164" y="2133"/>
                </a:lnTo>
                <a:lnTo>
                  <a:pt x="2161" y="2063"/>
                </a:lnTo>
                <a:lnTo>
                  <a:pt x="2157" y="1995"/>
                </a:lnTo>
                <a:lnTo>
                  <a:pt x="2156" y="1925"/>
                </a:lnTo>
                <a:lnTo>
                  <a:pt x="2156" y="1856"/>
                </a:lnTo>
                <a:lnTo>
                  <a:pt x="2157" y="1787"/>
                </a:lnTo>
                <a:lnTo>
                  <a:pt x="2160" y="1718"/>
                </a:lnTo>
                <a:lnTo>
                  <a:pt x="2164" y="1649"/>
                </a:lnTo>
                <a:lnTo>
                  <a:pt x="2170" y="1581"/>
                </a:lnTo>
                <a:lnTo>
                  <a:pt x="2175" y="1513"/>
                </a:lnTo>
                <a:lnTo>
                  <a:pt x="2183" y="1445"/>
                </a:lnTo>
                <a:lnTo>
                  <a:pt x="2193" y="1377"/>
                </a:lnTo>
                <a:lnTo>
                  <a:pt x="2203" y="1310"/>
                </a:lnTo>
                <a:lnTo>
                  <a:pt x="2215" y="1242"/>
                </a:lnTo>
                <a:lnTo>
                  <a:pt x="2228" y="1175"/>
                </a:lnTo>
                <a:lnTo>
                  <a:pt x="2243" y="1108"/>
                </a:lnTo>
                <a:lnTo>
                  <a:pt x="2259" y="1042"/>
                </a:lnTo>
                <a:lnTo>
                  <a:pt x="2274" y="977"/>
                </a:lnTo>
                <a:lnTo>
                  <a:pt x="2274" y="977"/>
                </a:lnTo>
                <a:lnTo>
                  <a:pt x="2293" y="910"/>
                </a:lnTo>
                <a:lnTo>
                  <a:pt x="2313" y="845"/>
                </a:lnTo>
                <a:lnTo>
                  <a:pt x="2333" y="780"/>
                </a:lnTo>
                <a:lnTo>
                  <a:pt x="2354" y="716"/>
                </a:lnTo>
                <a:lnTo>
                  <a:pt x="2377" y="653"/>
                </a:lnTo>
                <a:lnTo>
                  <a:pt x="2400" y="590"/>
                </a:lnTo>
                <a:lnTo>
                  <a:pt x="2426" y="528"/>
                </a:lnTo>
                <a:lnTo>
                  <a:pt x="2452" y="466"/>
                </a:lnTo>
                <a:lnTo>
                  <a:pt x="2479" y="405"/>
                </a:lnTo>
                <a:lnTo>
                  <a:pt x="2507" y="345"/>
                </a:lnTo>
                <a:lnTo>
                  <a:pt x="2536" y="286"/>
                </a:lnTo>
                <a:lnTo>
                  <a:pt x="2566" y="227"/>
                </a:lnTo>
                <a:lnTo>
                  <a:pt x="2597" y="169"/>
                </a:lnTo>
                <a:lnTo>
                  <a:pt x="2630" y="113"/>
                </a:lnTo>
                <a:lnTo>
                  <a:pt x="2662" y="55"/>
                </a:lnTo>
                <a:lnTo>
                  <a:pt x="2696" y="0"/>
                </a:lnTo>
                <a:lnTo>
                  <a:pt x="0" y="0"/>
                </a:lnTo>
                <a:lnTo>
                  <a:pt x="0" y="0"/>
                </a:lnTo>
                <a:lnTo>
                  <a:pt x="35" y="104"/>
                </a:lnTo>
                <a:lnTo>
                  <a:pt x="72" y="207"/>
                </a:lnTo>
                <a:lnTo>
                  <a:pt x="111" y="311"/>
                </a:lnTo>
                <a:lnTo>
                  <a:pt x="150" y="414"/>
                </a:lnTo>
                <a:lnTo>
                  <a:pt x="150" y="414"/>
                </a:lnTo>
                <a:lnTo>
                  <a:pt x="187" y="510"/>
                </a:lnTo>
                <a:lnTo>
                  <a:pt x="226" y="605"/>
                </a:lnTo>
                <a:lnTo>
                  <a:pt x="266" y="701"/>
                </a:lnTo>
                <a:lnTo>
                  <a:pt x="306" y="795"/>
                </a:lnTo>
                <a:lnTo>
                  <a:pt x="349" y="890"/>
                </a:lnTo>
                <a:lnTo>
                  <a:pt x="392" y="983"/>
                </a:lnTo>
                <a:lnTo>
                  <a:pt x="436" y="1077"/>
                </a:lnTo>
                <a:lnTo>
                  <a:pt x="481" y="1169"/>
                </a:lnTo>
                <a:lnTo>
                  <a:pt x="527" y="1262"/>
                </a:lnTo>
                <a:lnTo>
                  <a:pt x="574" y="1353"/>
                </a:lnTo>
                <a:lnTo>
                  <a:pt x="622" y="1446"/>
                </a:lnTo>
                <a:lnTo>
                  <a:pt x="672" y="1537"/>
                </a:lnTo>
                <a:lnTo>
                  <a:pt x="722" y="1627"/>
                </a:lnTo>
                <a:lnTo>
                  <a:pt x="773" y="1717"/>
                </a:lnTo>
                <a:lnTo>
                  <a:pt x="826" y="1807"/>
                </a:lnTo>
                <a:lnTo>
                  <a:pt x="879" y="1896"/>
                </a:lnTo>
                <a:lnTo>
                  <a:pt x="934" y="1983"/>
                </a:lnTo>
                <a:lnTo>
                  <a:pt x="989" y="2072"/>
                </a:lnTo>
                <a:lnTo>
                  <a:pt x="1046" y="2159"/>
                </a:lnTo>
                <a:lnTo>
                  <a:pt x="1104" y="2246"/>
                </a:lnTo>
                <a:lnTo>
                  <a:pt x="1162" y="2332"/>
                </a:lnTo>
                <a:lnTo>
                  <a:pt x="1222" y="2418"/>
                </a:lnTo>
                <a:lnTo>
                  <a:pt x="1282" y="2503"/>
                </a:lnTo>
                <a:lnTo>
                  <a:pt x="1344" y="2588"/>
                </a:lnTo>
                <a:lnTo>
                  <a:pt x="1406" y="2671"/>
                </a:lnTo>
                <a:lnTo>
                  <a:pt x="1470" y="2754"/>
                </a:lnTo>
                <a:lnTo>
                  <a:pt x="1535" y="2837"/>
                </a:lnTo>
                <a:lnTo>
                  <a:pt x="1601" y="2918"/>
                </a:lnTo>
                <a:lnTo>
                  <a:pt x="1667" y="3000"/>
                </a:lnTo>
                <a:lnTo>
                  <a:pt x="1736" y="3080"/>
                </a:lnTo>
                <a:lnTo>
                  <a:pt x="1804" y="3160"/>
                </a:lnTo>
                <a:lnTo>
                  <a:pt x="1874" y="3240"/>
                </a:lnTo>
                <a:lnTo>
                  <a:pt x="1874" y="3240"/>
                </a:lnTo>
                <a:close/>
              </a:path>
            </a:pathLst>
          </a:custGeom>
          <a:solidFill>
            <a:srgbClr val="EA006F"/>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10" name="Otsikko 1"/>
          <p:cNvSpPr>
            <a:spLocks noGrp="1"/>
          </p:cNvSpPr>
          <p:nvPr userDrawn="1">
            <p:ph type="ctrTitle"/>
          </p:nvPr>
        </p:nvSpPr>
        <p:spPr>
          <a:xfrm>
            <a:off x="366651" y="411510"/>
            <a:ext cx="3485269" cy="2967062"/>
          </a:xfrm>
        </p:spPr>
        <p:txBody>
          <a:bodyPr anchor="b" anchorCtr="0">
            <a:noAutofit/>
          </a:bodyPr>
          <a:lstStyle>
            <a:lvl1pPr algn="l">
              <a:defRPr sz="4000">
                <a:solidFill>
                  <a:schemeClr val="accent4"/>
                </a:solidFill>
              </a:defRPr>
            </a:lvl1pPr>
          </a:lstStyle>
          <a:p>
            <a:r>
              <a:rPr lang="en-US" dirty="0"/>
              <a:t>Click to edit Master title style</a:t>
            </a:r>
            <a:endParaRPr lang="fi-FI" dirty="0"/>
          </a:p>
        </p:txBody>
      </p:sp>
      <p:sp>
        <p:nvSpPr>
          <p:cNvPr id="11" name="Alaotsikko 2"/>
          <p:cNvSpPr>
            <a:spLocks noGrp="1"/>
          </p:cNvSpPr>
          <p:nvPr userDrawn="1">
            <p:ph type="subTitle" idx="1"/>
          </p:nvPr>
        </p:nvSpPr>
        <p:spPr>
          <a:xfrm>
            <a:off x="366651" y="3507854"/>
            <a:ext cx="3485270" cy="1512168"/>
          </a:xfrm>
        </p:spPr>
        <p:txBody>
          <a:bodyPr>
            <a:normAutofit/>
          </a:bodyPr>
          <a:lstStyle>
            <a:lvl1pPr marL="0" indent="0" algn="l">
              <a:spcBef>
                <a:spcPts val="0"/>
              </a:spcBef>
              <a:buNone/>
              <a:defRPr sz="1800">
                <a:solidFill>
                  <a:srgbClr val="59596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fi-FI" dirty="0"/>
          </a:p>
        </p:txBody>
      </p:sp>
      <p:sp>
        <p:nvSpPr>
          <p:cNvPr id="32" name="Freeform 30"/>
          <p:cNvSpPr>
            <a:spLocks/>
          </p:cNvSpPr>
          <p:nvPr userDrawn="1"/>
        </p:nvSpPr>
        <p:spPr bwMode="auto">
          <a:xfrm>
            <a:off x="7331075" y="1931690"/>
            <a:ext cx="371475" cy="98425"/>
          </a:xfrm>
          <a:custGeom>
            <a:avLst/>
            <a:gdLst>
              <a:gd name="T0" fmla="*/ 87 w 2807"/>
              <a:gd name="T1" fmla="*/ 343 h 743"/>
              <a:gd name="T2" fmla="*/ 203 w 2807"/>
              <a:gd name="T3" fmla="*/ 417 h 743"/>
              <a:gd name="T4" fmla="*/ 319 w 2807"/>
              <a:gd name="T5" fmla="*/ 479 h 743"/>
              <a:gd name="T6" fmla="*/ 430 w 2807"/>
              <a:gd name="T7" fmla="*/ 529 h 743"/>
              <a:gd name="T8" fmla="*/ 603 w 2807"/>
              <a:gd name="T9" fmla="*/ 595 h 743"/>
              <a:gd name="T10" fmla="*/ 724 w 2807"/>
              <a:gd name="T11" fmla="*/ 633 h 743"/>
              <a:gd name="T12" fmla="*/ 857 w 2807"/>
              <a:gd name="T13" fmla="*/ 666 h 743"/>
              <a:gd name="T14" fmla="*/ 1001 w 2807"/>
              <a:gd name="T15" fmla="*/ 696 h 743"/>
              <a:gd name="T16" fmla="*/ 1157 w 2807"/>
              <a:gd name="T17" fmla="*/ 719 h 743"/>
              <a:gd name="T18" fmla="*/ 1324 w 2807"/>
              <a:gd name="T19" fmla="*/ 736 h 743"/>
              <a:gd name="T20" fmla="*/ 1502 w 2807"/>
              <a:gd name="T21" fmla="*/ 743 h 743"/>
              <a:gd name="T22" fmla="*/ 1689 w 2807"/>
              <a:gd name="T23" fmla="*/ 738 h 743"/>
              <a:gd name="T24" fmla="*/ 1819 w 2807"/>
              <a:gd name="T25" fmla="*/ 729 h 743"/>
              <a:gd name="T26" fmla="*/ 1999 w 2807"/>
              <a:gd name="T27" fmla="*/ 706 h 743"/>
              <a:gd name="T28" fmla="*/ 2159 w 2807"/>
              <a:gd name="T29" fmla="*/ 678 h 743"/>
              <a:gd name="T30" fmla="*/ 2302 w 2807"/>
              <a:gd name="T31" fmla="*/ 643 h 743"/>
              <a:gd name="T32" fmla="*/ 2426 w 2807"/>
              <a:gd name="T33" fmla="*/ 605 h 743"/>
              <a:gd name="T34" fmla="*/ 2533 w 2807"/>
              <a:gd name="T35" fmla="*/ 566 h 743"/>
              <a:gd name="T36" fmla="*/ 2672 w 2807"/>
              <a:gd name="T37" fmla="*/ 505 h 743"/>
              <a:gd name="T38" fmla="*/ 2773 w 2807"/>
              <a:gd name="T39" fmla="*/ 449 h 743"/>
              <a:gd name="T40" fmla="*/ 2807 w 2807"/>
              <a:gd name="T41" fmla="*/ 426 h 743"/>
              <a:gd name="T42" fmla="*/ 2745 w 2807"/>
              <a:gd name="T43" fmla="*/ 402 h 743"/>
              <a:gd name="T44" fmla="*/ 2688 w 2807"/>
              <a:gd name="T45" fmla="*/ 372 h 743"/>
              <a:gd name="T46" fmla="*/ 2586 w 2807"/>
              <a:gd name="T47" fmla="*/ 303 h 743"/>
              <a:gd name="T48" fmla="*/ 2529 w 2807"/>
              <a:gd name="T49" fmla="*/ 256 h 743"/>
              <a:gd name="T50" fmla="*/ 2518 w 2807"/>
              <a:gd name="T51" fmla="*/ 294 h 743"/>
              <a:gd name="T52" fmla="*/ 2507 w 2807"/>
              <a:gd name="T53" fmla="*/ 381 h 743"/>
              <a:gd name="T54" fmla="*/ 2499 w 2807"/>
              <a:gd name="T55" fmla="*/ 413 h 743"/>
              <a:gd name="T56" fmla="*/ 2443 w 2807"/>
              <a:gd name="T57" fmla="*/ 391 h 743"/>
              <a:gd name="T58" fmla="*/ 2423 w 2807"/>
              <a:gd name="T59" fmla="*/ 381 h 743"/>
              <a:gd name="T60" fmla="*/ 2392 w 2807"/>
              <a:gd name="T61" fmla="*/ 357 h 743"/>
              <a:gd name="T62" fmla="*/ 2361 w 2807"/>
              <a:gd name="T63" fmla="*/ 324 h 743"/>
              <a:gd name="T64" fmla="*/ 2334 w 2807"/>
              <a:gd name="T65" fmla="*/ 283 h 743"/>
              <a:gd name="T66" fmla="*/ 2316 w 2807"/>
              <a:gd name="T67" fmla="*/ 235 h 743"/>
              <a:gd name="T68" fmla="*/ 2310 w 2807"/>
              <a:gd name="T69" fmla="*/ 199 h 743"/>
              <a:gd name="T70" fmla="*/ 2252 w 2807"/>
              <a:gd name="T71" fmla="*/ 195 h 743"/>
              <a:gd name="T72" fmla="*/ 2110 w 2807"/>
              <a:gd name="T73" fmla="*/ 243 h 743"/>
              <a:gd name="T74" fmla="*/ 1984 w 2807"/>
              <a:gd name="T75" fmla="*/ 277 h 743"/>
              <a:gd name="T76" fmla="*/ 1843 w 2807"/>
              <a:gd name="T77" fmla="*/ 303 h 743"/>
              <a:gd name="T78" fmla="*/ 1697 w 2807"/>
              <a:gd name="T79" fmla="*/ 319 h 743"/>
              <a:gd name="T80" fmla="*/ 1558 w 2807"/>
              <a:gd name="T81" fmla="*/ 322 h 743"/>
              <a:gd name="T82" fmla="*/ 1293 w 2807"/>
              <a:gd name="T83" fmla="*/ 312 h 743"/>
              <a:gd name="T84" fmla="*/ 1030 w 2807"/>
              <a:gd name="T85" fmla="*/ 282 h 743"/>
              <a:gd name="T86" fmla="*/ 855 w 2807"/>
              <a:gd name="T87" fmla="*/ 251 h 743"/>
              <a:gd name="T88" fmla="*/ 725 w 2807"/>
              <a:gd name="T89" fmla="*/ 221 h 743"/>
              <a:gd name="T90" fmla="*/ 594 w 2807"/>
              <a:gd name="T91" fmla="*/ 185 h 743"/>
              <a:gd name="T92" fmla="*/ 465 w 2807"/>
              <a:gd name="T93" fmla="*/ 143 h 743"/>
              <a:gd name="T94" fmla="*/ 336 w 2807"/>
              <a:gd name="T95" fmla="*/ 94 h 743"/>
              <a:gd name="T96" fmla="*/ 251 w 2807"/>
              <a:gd name="T97" fmla="*/ 58 h 743"/>
              <a:gd name="T98" fmla="*/ 122 w 2807"/>
              <a:gd name="T99" fmla="*/ 0 h 743"/>
              <a:gd name="T100" fmla="*/ 119 w 2807"/>
              <a:gd name="T101" fmla="*/ 19 h 743"/>
              <a:gd name="T102" fmla="*/ 121 w 2807"/>
              <a:gd name="T103" fmla="*/ 51 h 743"/>
              <a:gd name="T104" fmla="*/ 136 w 2807"/>
              <a:gd name="T105" fmla="*/ 96 h 743"/>
              <a:gd name="T106" fmla="*/ 171 w 2807"/>
              <a:gd name="T107" fmla="*/ 156 h 743"/>
              <a:gd name="T108" fmla="*/ 207 w 2807"/>
              <a:gd name="T109" fmla="*/ 204 h 743"/>
              <a:gd name="T110" fmla="*/ 151 w 2807"/>
              <a:gd name="T111" fmla="*/ 199 h 743"/>
              <a:gd name="T112" fmla="*/ 98 w 2807"/>
              <a:gd name="T113" fmla="*/ 204 h 743"/>
              <a:gd name="T114" fmla="*/ 69 w 2807"/>
              <a:gd name="T115" fmla="*/ 215 h 743"/>
              <a:gd name="T116" fmla="*/ 32 w 2807"/>
              <a:gd name="T117" fmla="*/ 244 h 743"/>
              <a:gd name="T118" fmla="*/ 7 w 2807"/>
              <a:gd name="T119" fmla="*/ 272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07" h="743">
                <a:moveTo>
                  <a:pt x="0" y="284"/>
                </a:moveTo>
                <a:lnTo>
                  <a:pt x="0" y="284"/>
                </a:lnTo>
                <a:lnTo>
                  <a:pt x="87" y="343"/>
                </a:lnTo>
                <a:lnTo>
                  <a:pt x="127" y="369"/>
                </a:lnTo>
                <a:lnTo>
                  <a:pt x="166" y="394"/>
                </a:lnTo>
                <a:lnTo>
                  <a:pt x="203" y="417"/>
                </a:lnTo>
                <a:lnTo>
                  <a:pt x="241" y="438"/>
                </a:lnTo>
                <a:lnTo>
                  <a:pt x="280" y="460"/>
                </a:lnTo>
                <a:lnTo>
                  <a:pt x="319" y="479"/>
                </a:lnTo>
                <a:lnTo>
                  <a:pt x="319" y="479"/>
                </a:lnTo>
                <a:lnTo>
                  <a:pt x="372" y="504"/>
                </a:lnTo>
                <a:lnTo>
                  <a:pt x="430" y="529"/>
                </a:lnTo>
                <a:lnTo>
                  <a:pt x="495" y="556"/>
                </a:lnTo>
                <a:lnTo>
                  <a:pt x="565" y="581"/>
                </a:lnTo>
                <a:lnTo>
                  <a:pt x="603" y="595"/>
                </a:lnTo>
                <a:lnTo>
                  <a:pt x="642" y="607"/>
                </a:lnTo>
                <a:lnTo>
                  <a:pt x="682" y="620"/>
                </a:lnTo>
                <a:lnTo>
                  <a:pt x="724" y="633"/>
                </a:lnTo>
                <a:lnTo>
                  <a:pt x="767" y="644"/>
                </a:lnTo>
                <a:lnTo>
                  <a:pt x="811" y="655"/>
                </a:lnTo>
                <a:lnTo>
                  <a:pt x="857" y="666"/>
                </a:lnTo>
                <a:lnTo>
                  <a:pt x="903" y="677"/>
                </a:lnTo>
                <a:lnTo>
                  <a:pt x="952" y="687"/>
                </a:lnTo>
                <a:lnTo>
                  <a:pt x="1001" y="696"/>
                </a:lnTo>
                <a:lnTo>
                  <a:pt x="1052" y="705"/>
                </a:lnTo>
                <a:lnTo>
                  <a:pt x="1104" y="713"/>
                </a:lnTo>
                <a:lnTo>
                  <a:pt x="1157" y="719"/>
                </a:lnTo>
                <a:lnTo>
                  <a:pt x="1212" y="727"/>
                </a:lnTo>
                <a:lnTo>
                  <a:pt x="1267" y="732"/>
                </a:lnTo>
                <a:lnTo>
                  <a:pt x="1324" y="736"/>
                </a:lnTo>
                <a:lnTo>
                  <a:pt x="1382" y="739"/>
                </a:lnTo>
                <a:lnTo>
                  <a:pt x="1442" y="741"/>
                </a:lnTo>
                <a:lnTo>
                  <a:pt x="1502" y="743"/>
                </a:lnTo>
                <a:lnTo>
                  <a:pt x="1563" y="742"/>
                </a:lnTo>
                <a:lnTo>
                  <a:pt x="1626" y="741"/>
                </a:lnTo>
                <a:lnTo>
                  <a:pt x="1689" y="738"/>
                </a:lnTo>
                <a:lnTo>
                  <a:pt x="1754" y="734"/>
                </a:lnTo>
                <a:lnTo>
                  <a:pt x="1819" y="729"/>
                </a:lnTo>
                <a:lnTo>
                  <a:pt x="1819" y="729"/>
                </a:lnTo>
                <a:lnTo>
                  <a:pt x="1881" y="723"/>
                </a:lnTo>
                <a:lnTo>
                  <a:pt x="1941" y="714"/>
                </a:lnTo>
                <a:lnTo>
                  <a:pt x="1999" y="706"/>
                </a:lnTo>
                <a:lnTo>
                  <a:pt x="2054" y="697"/>
                </a:lnTo>
                <a:lnTo>
                  <a:pt x="2108" y="688"/>
                </a:lnTo>
                <a:lnTo>
                  <a:pt x="2159" y="678"/>
                </a:lnTo>
                <a:lnTo>
                  <a:pt x="2209" y="666"/>
                </a:lnTo>
                <a:lnTo>
                  <a:pt x="2257" y="655"/>
                </a:lnTo>
                <a:lnTo>
                  <a:pt x="2302" y="643"/>
                </a:lnTo>
                <a:lnTo>
                  <a:pt x="2346" y="631"/>
                </a:lnTo>
                <a:lnTo>
                  <a:pt x="2387" y="618"/>
                </a:lnTo>
                <a:lnTo>
                  <a:pt x="2426" y="605"/>
                </a:lnTo>
                <a:lnTo>
                  <a:pt x="2464" y="593"/>
                </a:lnTo>
                <a:lnTo>
                  <a:pt x="2500" y="579"/>
                </a:lnTo>
                <a:lnTo>
                  <a:pt x="2533" y="566"/>
                </a:lnTo>
                <a:lnTo>
                  <a:pt x="2564" y="554"/>
                </a:lnTo>
                <a:lnTo>
                  <a:pt x="2622" y="528"/>
                </a:lnTo>
                <a:lnTo>
                  <a:pt x="2672" y="505"/>
                </a:lnTo>
                <a:lnTo>
                  <a:pt x="2713" y="483"/>
                </a:lnTo>
                <a:lnTo>
                  <a:pt x="2747" y="465"/>
                </a:lnTo>
                <a:lnTo>
                  <a:pt x="2773" y="449"/>
                </a:lnTo>
                <a:lnTo>
                  <a:pt x="2792" y="436"/>
                </a:lnTo>
                <a:lnTo>
                  <a:pt x="2807" y="426"/>
                </a:lnTo>
                <a:lnTo>
                  <a:pt x="2807" y="426"/>
                </a:lnTo>
                <a:lnTo>
                  <a:pt x="2786" y="419"/>
                </a:lnTo>
                <a:lnTo>
                  <a:pt x="2766" y="410"/>
                </a:lnTo>
                <a:lnTo>
                  <a:pt x="2745" y="402"/>
                </a:lnTo>
                <a:lnTo>
                  <a:pt x="2726" y="391"/>
                </a:lnTo>
                <a:lnTo>
                  <a:pt x="2706" y="382"/>
                </a:lnTo>
                <a:lnTo>
                  <a:pt x="2688" y="372"/>
                </a:lnTo>
                <a:lnTo>
                  <a:pt x="2651" y="349"/>
                </a:lnTo>
                <a:lnTo>
                  <a:pt x="2618" y="327"/>
                </a:lnTo>
                <a:lnTo>
                  <a:pt x="2586" y="303"/>
                </a:lnTo>
                <a:lnTo>
                  <a:pt x="2556" y="280"/>
                </a:lnTo>
                <a:lnTo>
                  <a:pt x="2529" y="256"/>
                </a:lnTo>
                <a:lnTo>
                  <a:pt x="2529" y="256"/>
                </a:lnTo>
                <a:lnTo>
                  <a:pt x="2524" y="266"/>
                </a:lnTo>
                <a:lnTo>
                  <a:pt x="2521" y="279"/>
                </a:lnTo>
                <a:lnTo>
                  <a:pt x="2518" y="294"/>
                </a:lnTo>
                <a:lnTo>
                  <a:pt x="2515" y="312"/>
                </a:lnTo>
                <a:lnTo>
                  <a:pt x="2515" y="312"/>
                </a:lnTo>
                <a:lnTo>
                  <a:pt x="2507" y="381"/>
                </a:lnTo>
                <a:lnTo>
                  <a:pt x="2503" y="414"/>
                </a:lnTo>
                <a:lnTo>
                  <a:pt x="2503" y="414"/>
                </a:lnTo>
                <a:lnTo>
                  <a:pt x="2499" y="413"/>
                </a:lnTo>
                <a:lnTo>
                  <a:pt x="2489" y="410"/>
                </a:lnTo>
                <a:lnTo>
                  <a:pt x="2470" y="403"/>
                </a:lnTo>
                <a:lnTo>
                  <a:pt x="2443" y="391"/>
                </a:lnTo>
                <a:lnTo>
                  <a:pt x="2443" y="391"/>
                </a:lnTo>
                <a:lnTo>
                  <a:pt x="2433" y="387"/>
                </a:lnTo>
                <a:lnTo>
                  <a:pt x="2423" y="381"/>
                </a:lnTo>
                <a:lnTo>
                  <a:pt x="2413" y="374"/>
                </a:lnTo>
                <a:lnTo>
                  <a:pt x="2403" y="366"/>
                </a:lnTo>
                <a:lnTo>
                  <a:pt x="2392" y="357"/>
                </a:lnTo>
                <a:lnTo>
                  <a:pt x="2381" y="347"/>
                </a:lnTo>
                <a:lnTo>
                  <a:pt x="2371" y="336"/>
                </a:lnTo>
                <a:lnTo>
                  <a:pt x="2361" y="324"/>
                </a:lnTo>
                <a:lnTo>
                  <a:pt x="2351" y="312"/>
                </a:lnTo>
                <a:lnTo>
                  <a:pt x="2342" y="297"/>
                </a:lnTo>
                <a:lnTo>
                  <a:pt x="2334" y="283"/>
                </a:lnTo>
                <a:lnTo>
                  <a:pt x="2326" y="268"/>
                </a:lnTo>
                <a:lnTo>
                  <a:pt x="2320" y="251"/>
                </a:lnTo>
                <a:lnTo>
                  <a:pt x="2316" y="235"/>
                </a:lnTo>
                <a:lnTo>
                  <a:pt x="2312" y="216"/>
                </a:lnTo>
                <a:lnTo>
                  <a:pt x="2310" y="199"/>
                </a:lnTo>
                <a:lnTo>
                  <a:pt x="2310" y="199"/>
                </a:lnTo>
                <a:lnTo>
                  <a:pt x="2309" y="174"/>
                </a:lnTo>
                <a:lnTo>
                  <a:pt x="2309" y="174"/>
                </a:lnTo>
                <a:lnTo>
                  <a:pt x="2252" y="195"/>
                </a:lnTo>
                <a:lnTo>
                  <a:pt x="2186" y="218"/>
                </a:lnTo>
                <a:lnTo>
                  <a:pt x="2149" y="231"/>
                </a:lnTo>
                <a:lnTo>
                  <a:pt x="2110" y="243"/>
                </a:lnTo>
                <a:lnTo>
                  <a:pt x="2069" y="254"/>
                </a:lnTo>
                <a:lnTo>
                  <a:pt x="2028" y="266"/>
                </a:lnTo>
                <a:lnTo>
                  <a:pt x="1984" y="277"/>
                </a:lnTo>
                <a:lnTo>
                  <a:pt x="1938" y="286"/>
                </a:lnTo>
                <a:lnTo>
                  <a:pt x="1892" y="295"/>
                </a:lnTo>
                <a:lnTo>
                  <a:pt x="1843" y="303"/>
                </a:lnTo>
                <a:lnTo>
                  <a:pt x="1795" y="311"/>
                </a:lnTo>
                <a:lnTo>
                  <a:pt x="1746" y="316"/>
                </a:lnTo>
                <a:lnTo>
                  <a:pt x="1697" y="319"/>
                </a:lnTo>
                <a:lnTo>
                  <a:pt x="1647" y="321"/>
                </a:lnTo>
                <a:lnTo>
                  <a:pt x="1647" y="321"/>
                </a:lnTo>
                <a:lnTo>
                  <a:pt x="1558" y="322"/>
                </a:lnTo>
                <a:lnTo>
                  <a:pt x="1470" y="321"/>
                </a:lnTo>
                <a:lnTo>
                  <a:pt x="1382" y="317"/>
                </a:lnTo>
                <a:lnTo>
                  <a:pt x="1293" y="312"/>
                </a:lnTo>
                <a:lnTo>
                  <a:pt x="1205" y="304"/>
                </a:lnTo>
                <a:lnTo>
                  <a:pt x="1118" y="294"/>
                </a:lnTo>
                <a:lnTo>
                  <a:pt x="1030" y="282"/>
                </a:lnTo>
                <a:lnTo>
                  <a:pt x="943" y="268"/>
                </a:lnTo>
                <a:lnTo>
                  <a:pt x="899" y="259"/>
                </a:lnTo>
                <a:lnTo>
                  <a:pt x="855" y="251"/>
                </a:lnTo>
                <a:lnTo>
                  <a:pt x="812" y="241"/>
                </a:lnTo>
                <a:lnTo>
                  <a:pt x="768" y="231"/>
                </a:lnTo>
                <a:lnTo>
                  <a:pt x="725" y="221"/>
                </a:lnTo>
                <a:lnTo>
                  <a:pt x="681" y="209"/>
                </a:lnTo>
                <a:lnTo>
                  <a:pt x="638" y="197"/>
                </a:lnTo>
                <a:lnTo>
                  <a:pt x="594" y="185"/>
                </a:lnTo>
                <a:lnTo>
                  <a:pt x="551" y="171"/>
                </a:lnTo>
                <a:lnTo>
                  <a:pt x="508" y="157"/>
                </a:lnTo>
                <a:lnTo>
                  <a:pt x="465" y="143"/>
                </a:lnTo>
                <a:lnTo>
                  <a:pt x="422" y="127"/>
                </a:lnTo>
                <a:lnTo>
                  <a:pt x="379" y="111"/>
                </a:lnTo>
                <a:lnTo>
                  <a:pt x="336" y="94"/>
                </a:lnTo>
                <a:lnTo>
                  <a:pt x="294" y="76"/>
                </a:lnTo>
                <a:lnTo>
                  <a:pt x="251" y="58"/>
                </a:lnTo>
                <a:lnTo>
                  <a:pt x="251" y="58"/>
                </a:lnTo>
                <a:lnTo>
                  <a:pt x="165" y="19"/>
                </a:lnTo>
                <a:lnTo>
                  <a:pt x="122" y="0"/>
                </a:lnTo>
                <a:lnTo>
                  <a:pt x="122" y="0"/>
                </a:lnTo>
                <a:lnTo>
                  <a:pt x="121" y="3"/>
                </a:lnTo>
                <a:lnTo>
                  <a:pt x="119" y="12"/>
                </a:lnTo>
                <a:lnTo>
                  <a:pt x="119" y="19"/>
                </a:lnTo>
                <a:lnTo>
                  <a:pt x="119" y="28"/>
                </a:lnTo>
                <a:lnTo>
                  <a:pt x="119" y="39"/>
                </a:lnTo>
                <a:lnTo>
                  <a:pt x="121" y="51"/>
                </a:lnTo>
                <a:lnTo>
                  <a:pt x="125" y="64"/>
                </a:lnTo>
                <a:lnTo>
                  <a:pt x="129" y="79"/>
                </a:lnTo>
                <a:lnTo>
                  <a:pt x="136" y="96"/>
                </a:lnTo>
                <a:lnTo>
                  <a:pt x="145" y="114"/>
                </a:lnTo>
                <a:lnTo>
                  <a:pt x="156" y="135"/>
                </a:lnTo>
                <a:lnTo>
                  <a:pt x="171" y="156"/>
                </a:lnTo>
                <a:lnTo>
                  <a:pt x="187" y="180"/>
                </a:lnTo>
                <a:lnTo>
                  <a:pt x="207" y="204"/>
                </a:lnTo>
                <a:lnTo>
                  <a:pt x="207" y="204"/>
                </a:lnTo>
                <a:lnTo>
                  <a:pt x="189" y="201"/>
                </a:lnTo>
                <a:lnTo>
                  <a:pt x="170" y="199"/>
                </a:lnTo>
                <a:lnTo>
                  <a:pt x="151" y="199"/>
                </a:lnTo>
                <a:lnTo>
                  <a:pt x="132" y="199"/>
                </a:lnTo>
                <a:lnTo>
                  <a:pt x="114" y="201"/>
                </a:lnTo>
                <a:lnTo>
                  <a:pt x="98" y="204"/>
                </a:lnTo>
                <a:lnTo>
                  <a:pt x="83" y="209"/>
                </a:lnTo>
                <a:lnTo>
                  <a:pt x="69" y="215"/>
                </a:lnTo>
                <a:lnTo>
                  <a:pt x="69" y="215"/>
                </a:lnTo>
                <a:lnTo>
                  <a:pt x="55" y="224"/>
                </a:lnTo>
                <a:lnTo>
                  <a:pt x="42" y="234"/>
                </a:lnTo>
                <a:lnTo>
                  <a:pt x="32" y="244"/>
                </a:lnTo>
                <a:lnTo>
                  <a:pt x="21" y="253"/>
                </a:lnTo>
                <a:lnTo>
                  <a:pt x="13" y="262"/>
                </a:lnTo>
                <a:lnTo>
                  <a:pt x="7" y="272"/>
                </a:lnTo>
                <a:lnTo>
                  <a:pt x="0" y="28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3" name="Freeform 31"/>
          <p:cNvSpPr>
            <a:spLocks/>
          </p:cNvSpPr>
          <p:nvPr userDrawn="1"/>
        </p:nvSpPr>
        <p:spPr bwMode="auto">
          <a:xfrm>
            <a:off x="7248525" y="1618953"/>
            <a:ext cx="377825" cy="271463"/>
          </a:xfrm>
          <a:custGeom>
            <a:avLst/>
            <a:gdLst>
              <a:gd name="T0" fmla="*/ 2491 w 2863"/>
              <a:gd name="T1" fmla="*/ 103 h 2054"/>
              <a:gd name="T2" fmla="*/ 2575 w 2863"/>
              <a:gd name="T3" fmla="*/ 23 h 2054"/>
              <a:gd name="T4" fmla="*/ 2196 w 2863"/>
              <a:gd name="T5" fmla="*/ 132 h 2054"/>
              <a:gd name="T6" fmla="*/ 1671 w 2863"/>
              <a:gd name="T7" fmla="*/ 429 h 2054"/>
              <a:gd name="T8" fmla="*/ 1528 w 2863"/>
              <a:gd name="T9" fmla="*/ 462 h 2054"/>
              <a:gd name="T10" fmla="*/ 1416 w 2863"/>
              <a:gd name="T11" fmla="*/ 568 h 2054"/>
              <a:gd name="T12" fmla="*/ 1409 w 2863"/>
              <a:gd name="T13" fmla="*/ 634 h 2054"/>
              <a:gd name="T14" fmla="*/ 1479 w 2863"/>
              <a:gd name="T15" fmla="*/ 748 h 2054"/>
              <a:gd name="T16" fmla="*/ 1586 w 2863"/>
              <a:gd name="T17" fmla="*/ 787 h 2054"/>
              <a:gd name="T18" fmla="*/ 1476 w 2863"/>
              <a:gd name="T19" fmla="*/ 974 h 2054"/>
              <a:gd name="T20" fmla="*/ 1133 w 2863"/>
              <a:gd name="T21" fmla="*/ 1199 h 2054"/>
              <a:gd name="T22" fmla="*/ 799 w 2863"/>
              <a:gd name="T23" fmla="*/ 1254 h 2054"/>
              <a:gd name="T24" fmla="*/ 634 w 2863"/>
              <a:gd name="T25" fmla="*/ 1102 h 2054"/>
              <a:gd name="T26" fmla="*/ 539 w 2863"/>
              <a:gd name="T27" fmla="*/ 1015 h 2054"/>
              <a:gd name="T28" fmla="*/ 406 w 2863"/>
              <a:gd name="T29" fmla="*/ 1023 h 2054"/>
              <a:gd name="T30" fmla="*/ 231 w 2863"/>
              <a:gd name="T31" fmla="*/ 1090 h 2054"/>
              <a:gd name="T32" fmla="*/ 382 w 2863"/>
              <a:gd name="T33" fmla="*/ 1121 h 2054"/>
              <a:gd name="T34" fmla="*/ 351 w 2863"/>
              <a:gd name="T35" fmla="*/ 1168 h 2054"/>
              <a:gd name="T36" fmla="*/ 418 w 2863"/>
              <a:gd name="T37" fmla="*/ 1270 h 2054"/>
              <a:gd name="T38" fmla="*/ 608 w 2863"/>
              <a:gd name="T39" fmla="*/ 1387 h 2054"/>
              <a:gd name="T40" fmla="*/ 314 w 2863"/>
              <a:gd name="T41" fmla="*/ 1296 h 2054"/>
              <a:gd name="T42" fmla="*/ 234 w 2863"/>
              <a:gd name="T43" fmla="*/ 1324 h 2054"/>
              <a:gd name="T44" fmla="*/ 77 w 2863"/>
              <a:gd name="T45" fmla="*/ 1367 h 2054"/>
              <a:gd name="T46" fmla="*/ 0 w 2863"/>
              <a:gd name="T47" fmla="*/ 1480 h 2054"/>
              <a:gd name="T48" fmla="*/ 63 w 2863"/>
              <a:gd name="T49" fmla="*/ 1501 h 2054"/>
              <a:gd name="T50" fmla="*/ 166 w 2863"/>
              <a:gd name="T51" fmla="*/ 1461 h 2054"/>
              <a:gd name="T52" fmla="*/ 187 w 2863"/>
              <a:gd name="T53" fmla="*/ 1573 h 2054"/>
              <a:gd name="T54" fmla="*/ 354 w 2863"/>
              <a:gd name="T55" fmla="*/ 1597 h 2054"/>
              <a:gd name="T56" fmla="*/ 616 w 2863"/>
              <a:gd name="T57" fmla="*/ 1588 h 2054"/>
              <a:gd name="T58" fmla="*/ 382 w 2863"/>
              <a:gd name="T59" fmla="*/ 1636 h 2054"/>
              <a:gd name="T60" fmla="*/ 295 w 2863"/>
              <a:gd name="T61" fmla="*/ 1696 h 2054"/>
              <a:gd name="T62" fmla="*/ 254 w 2863"/>
              <a:gd name="T63" fmla="*/ 1795 h 2054"/>
              <a:gd name="T64" fmla="*/ 239 w 2863"/>
              <a:gd name="T65" fmla="*/ 1953 h 2054"/>
              <a:gd name="T66" fmla="*/ 335 w 2863"/>
              <a:gd name="T67" fmla="*/ 2045 h 2054"/>
              <a:gd name="T68" fmla="*/ 341 w 2863"/>
              <a:gd name="T69" fmla="*/ 1906 h 2054"/>
              <a:gd name="T70" fmla="*/ 417 w 2863"/>
              <a:gd name="T71" fmla="*/ 1946 h 2054"/>
              <a:gd name="T72" fmla="*/ 509 w 2863"/>
              <a:gd name="T73" fmla="*/ 1935 h 2054"/>
              <a:gd name="T74" fmla="*/ 732 w 2863"/>
              <a:gd name="T75" fmla="*/ 1733 h 2054"/>
              <a:gd name="T76" fmla="*/ 874 w 2863"/>
              <a:gd name="T77" fmla="*/ 1691 h 2054"/>
              <a:gd name="T78" fmla="*/ 870 w 2863"/>
              <a:gd name="T79" fmla="*/ 1786 h 2054"/>
              <a:gd name="T80" fmla="*/ 945 w 2863"/>
              <a:gd name="T81" fmla="*/ 1834 h 2054"/>
              <a:gd name="T82" fmla="*/ 875 w 2863"/>
              <a:gd name="T83" fmla="*/ 1948 h 2054"/>
              <a:gd name="T84" fmla="*/ 1004 w 2863"/>
              <a:gd name="T85" fmla="*/ 1919 h 2054"/>
              <a:gd name="T86" fmla="*/ 1100 w 2863"/>
              <a:gd name="T87" fmla="*/ 1787 h 2054"/>
              <a:gd name="T88" fmla="*/ 1159 w 2863"/>
              <a:gd name="T89" fmla="*/ 1734 h 2054"/>
              <a:gd name="T90" fmla="*/ 1183 w 2863"/>
              <a:gd name="T91" fmla="*/ 1628 h 2054"/>
              <a:gd name="T92" fmla="*/ 1338 w 2863"/>
              <a:gd name="T93" fmla="*/ 1564 h 2054"/>
              <a:gd name="T94" fmla="*/ 1370 w 2863"/>
              <a:gd name="T95" fmla="*/ 1465 h 2054"/>
              <a:gd name="T96" fmla="*/ 1461 w 2863"/>
              <a:gd name="T97" fmla="*/ 1462 h 2054"/>
              <a:gd name="T98" fmla="*/ 1684 w 2863"/>
              <a:gd name="T99" fmla="*/ 1556 h 2054"/>
              <a:gd name="T100" fmla="*/ 1888 w 2863"/>
              <a:gd name="T101" fmla="*/ 1440 h 2054"/>
              <a:gd name="T102" fmla="*/ 1799 w 2863"/>
              <a:gd name="T103" fmla="*/ 1308 h 2054"/>
              <a:gd name="T104" fmla="*/ 1857 w 2863"/>
              <a:gd name="T105" fmla="*/ 1327 h 2054"/>
              <a:gd name="T106" fmla="*/ 2183 w 2863"/>
              <a:gd name="T107" fmla="*/ 1273 h 2054"/>
              <a:gd name="T108" fmla="*/ 2142 w 2863"/>
              <a:gd name="T109" fmla="*/ 1164 h 2054"/>
              <a:gd name="T110" fmla="*/ 2112 w 2863"/>
              <a:gd name="T111" fmla="*/ 1069 h 2054"/>
              <a:gd name="T112" fmla="*/ 2121 w 2863"/>
              <a:gd name="T113" fmla="*/ 977 h 2054"/>
              <a:gd name="T114" fmla="*/ 2085 w 2863"/>
              <a:gd name="T115" fmla="*/ 807 h 2054"/>
              <a:gd name="T116" fmla="*/ 2859 w 2863"/>
              <a:gd name="T117" fmla="*/ 408 h 2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63" h="2054">
                <a:moveTo>
                  <a:pt x="2759" y="252"/>
                </a:moveTo>
                <a:lnTo>
                  <a:pt x="2759" y="252"/>
                </a:lnTo>
                <a:lnTo>
                  <a:pt x="2742" y="239"/>
                </a:lnTo>
                <a:lnTo>
                  <a:pt x="2725" y="227"/>
                </a:lnTo>
                <a:lnTo>
                  <a:pt x="2708" y="214"/>
                </a:lnTo>
                <a:lnTo>
                  <a:pt x="2690" y="203"/>
                </a:lnTo>
                <a:lnTo>
                  <a:pt x="2655" y="184"/>
                </a:lnTo>
                <a:lnTo>
                  <a:pt x="2621" y="165"/>
                </a:lnTo>
                <a:lnTo>
                  <a:pt x="2586" y="148"/>
                </a:lnTo>
                <a:lnTo>
                  <a:pt x="2553" y="133"/>
                </a:lnTo>
                <a:lnTo>
                  <a:pt x="2522" y="118"/>
                </a:lnTo>
                <a:lnTo>
                  <a:pt x="2491" y="103"/>
                </a:lnTo>
                <a:lnTo>
                  <a:pt x="2491" y="103"/>
                </a:lnTo>
                <a:lnTo>
                  <a:pt x="2507" y="93"/>
                </a:lnTo>
                <a:lnTo>
                  <a:pt x="2523" y="82"/>
                </a:lnTo>
                <a:lnTo>
                  <a:pt x="2540" y="68"/>
                </a:lnTo>
                <a:lnTo>
                  <a:pt x="2556" y="54"/>
                </a:lnTo>
                <a:lnTo>
                  <a:pt x="2570" y="41"/>
                </a:lnTo>
                <a:lnTo>
                  <a:pt x="2574" y="35"/>
                </a:lnTo>
                <a:lnTo>
                  <a:pt x="2577" y="30"/>
                </a:lnTo>
                <a:lnTo>
                  <a:pt x="2577" y="26"/>
                </a:lnTo>
                <a:lnTo>
                  <a:pt x="2577" y="24"/>
                </a:lnTo>
                <a:lnTo>
                  <a:pt x="2575" y="23"/>
                </a:lnTo>
                <a:lnTo>
                  <a:pt x="2575" y="23"/>
                </a:lnTo>
                <a:lnTo>
                  <a:pt x="2562" y="16"/>
                </a:lnTo>
                <a:lnTo>
                  <a:pt x="2550" y="10"/>
                </a:lnTo>
                <a:lnTo>
                  <a:pt x="2538" y="6"/>
                </a:lnTo>
                <a:lnTo>
                  <a:pt x="2527" y="4"/>
                </a:lnTo>
                <a:lnTo>
                  <a:pt x="2508" y="1"/>
                </a:lnTo>
                <a:lnTo>
                  <a:pt x="2501" y="0"/>
                </a:lnTo>
                <a:lnTo>
                  <a:pt x="2501" y="0"/>
                </a:lnTo>
                <a:lnTo>
                  <a:pt x="2440" y="24"/>
                </a:lnTo>
                <a:lnTo>
                  <a:pt x="2377" y="50"/>
                </a:lnTo>
                <a:lnTo>
                  <a:pt x="2317" y="76"/>
                </a:lnTo>
                <a:lnTo>
                  <a:pt x="2256" y="103"/>
                </a:lnTo>
                <a:lnTo>
                  <a:pt x="2196" y="132"/>
                </a:lnTo>
                <a:lnTo>
                  <a:pt x="2138" y="160"/>
                </a:lnTo>
                <a:lnTo>
                  <a:pt x="2081" y="189"/>
                </a:lnTo>
                <a:lnTo>
                  <a:pt x="2026" y="219"/>
                </a:lnTo>
                <a:lnTo>
                  <a:pt x="1972" y="247"/>
                </a:lnTo>
                <a:lnTo>
                  <a:pt x="1921" y="276"/>
                </a:lnTo>
                <a:lnTo>
                  <a:pt x="1872" y="303"/>
                </a:lnTo>
                <a:lnTo>
                  <a:pt x="1825" y="331"/>
                </a:lnTo>
                <a:lnTo>
                  <a:pt x="1782" y="358"/>
                </a:lnTo>
                <a:lnTo>
                  <a:pt x="1741" y="383"/>
                </a:lnTo>
                <a:lnTo>
                  <a:pt x="1705" y="407"/>
                </a:lnTo>
                <a:lnTo>
                  <a:pt x="1671" y="429"/>
                </a:lnTo>
                <a:lnTo>
                  <a:pt x="1671" y="429"/>
                </a:lnTo>
                <a:lnTo>
                  <a:pt x="1666" y="432"/>
                </a:lnTo>
                <a:lnTo>
                  <a:pt x="1666" y="432"/>
                </a:lnTo>
                <a:lnTo>
                  <a:pt x="1654" y="439"/>
                </a:lnTo>
                <a:lnTo>
                  <a:pt x="1643" y="446"/>
                </a:lnTo>
                <a:lnTo>
                  <a:pt x="1632" y="451"/>
                </a:lnTo>
                <a:lnTo>
                  <a:pt x="1620" y="455"/>
                </a:lnTo>
                <a:lnTo>
                  <a:pt x="1608" y="458"/>
                </a:lnTo>
                <a:lnTo>
                  <a:pt x="1597" y="461"/>
                </a:lnTo>
                <a:lnTo>
                  <a:pt x="1585" y="462"/>
                </a:lnTo>
                <a:lnTo>
                  <a:pt x="1574" y="463"/>
                </a:lnTo>
                <a:lnTo>
                  <a:pt x="1550" y="464"/>
                </a:lnTo>
                <a:lnTo>
                  <a:pt x="1528" y="462"/>
                </a:lnTo>
                <a:lnTo>
                  <a:pt x="1505" y="459"/>
                </a:lnTo>
                <a:lnTo>
                  <a:pt x="1485" y="454"/>
                </a:lnTo>
                <a:lnTo>
                  <a:pt x="1465" y="449"/>
                </a:lnTo>
                <a:lnTo>
                  <a:pt x="1448" y="442"/>
                </a:lnTo>
                <a:lnTo>
                  <a:pt x="1433" y="436"/>
                </a:lnTo>
                <a:lnTo>
                  <a:pt x="1418" y="430"/>
                </a:lnTo>
                <a:lnTo>
                  <a:pt x="1399" y="420"/>
                </a:lnTo>
                <a:lnTo>
                  <a:pt x="1393" y="416"/>
                </a:lnTo>
                <a:lnTo>
                  <a:pt x="1372" y="544"/>
                </a:lnTo>
                <a:lnTo>
                  <a:pt x="1372" y="544"/>
                </a:lnTo>
                <a:lnTo>
                  <a:pt x="1395" y="557"/>
                </a:lnTo>
                <a:lnTo>
                  <a:pt x="1416" y="568"/>
                </a:lnTo>
                <a:lnTo>
                  <a:pt x="1437" y="577"/>
                </a:lnTo>
                <a:lnTo>
                  <a:pt x="1454" y="586"/>
                </a:lnTo>
                <a:lnTo>
                  <a:pt x="1470" y="592"/>
                </a:lnTo>
                <a:lnTo>
                  <a:pt x="1486" y="596"/>
                </a:lnTo>
                <a:lnTo>
                  <a:pt x="1499" y="600"/>
                </a:lnTo>
                <a:lnTo>
                  <a:pt x="1510" y="602"/>
                </a:lnTo>
                <a:lnTo>
                  <a:pt x="1510" y="602"/>
                </a:lnTo>
                <a:lnTo>
                  <a:pt x="1491" y="606"/>
                </a:lnTo>
                <a:lnTo>
                  <a:pt x="1470" y="611"/>
                </a:lnTo>
                <a:lnTo>
                  <a:pt x="1450" y="617"/>
                </a:lnTo>
                <a:lnTo>
                  <a:pt x="1428" y="625"/>
                </a:lnTo>
                <a:lnTo>
                  <a:pt x="1409" y="634"/>
                </a:lnTo>
                <a:lnTo>
                  <a:pt x="1391" y="645"/>
                </a:lnTo>
                <a:lnTo>
                  <a:pt x="1381" y="650"/>
                </a:lnTo>
                <a:lnTo>
                  <a:pt x="1373" y="656"/>
                </a:lnTo>
                <a:lnTo>
                  <a:pt x="1366" y="663"/>
                </a:lnTo>
                <a:lnTo>
                  <a:pt x="1360" y="670"/>
                </a:lnTo>
                <a:lnTo>
                  <a:pt x="1404" y="788"/>
                </a:lnTo>
                <a:lnTo>
                  <a:pt x="1404" y="788"/>
                </a:lnTo>
                <a:lnTo>
                  <a:pt x="1416" y="779"/>
                </a:lnTo>
                <a:lnTo>
                  <a:pt x="1432" y="770"/>
                </a:lnTo>
                <a:lnTo>
                  <a:pt x="1453" y="758"/>
                </a:lnTo>
                <a:lnTo>
                  <a:pt x="1465" y="753"/>
                </a:lnTo>
                <a:lnTo>
                  <a:pt x="1479" y="748"/>
                </a:lnTo>
                <a:lnTo>
                  <a:pt x="1494" y="743"/>
                </a:lnTo>
                <a:lnTo>
                  <a:pt x="1509" y="738"/>
                </a:lnTo>
                <a:lnTo>
                  <a:pt x="1527" y="734"/>
                </a:lnTo>
                <a:lnTo>
                  <a:pt x="1545" y="731"/>
                </a:lnTo>
                <a:lnTo>
                  <a:pt x="1564" y="729"/>
                </a:lnTo>
                <a:lnTo>
                  <a:pt x="1585" y="728"/>
                </a:lnTo>
                <a:lnTo>
                  <a:pt x="1585" y="728"/>
                </a:lnTo>
                <a:lnTo>
                  <a:pt x="1588" y="744"/>
                </a:lnTo>
                <a:lnTo>
                  <a:pt x="1588" y="744"/>
                </a:lnTo>
                <a:lnTo>
                  <a:pt x="1588" y="758"/>
                </a:lnTo>
                <a:lnTo>
                  <a:pt x="1588" y="773"/>
                </a:lnTo>
                <a:lnTo>
                  <a:pt x="1586" y="787"/>
                </a:lnTo>
                <a:lnTo>
                  <a:pt x="1583" y="802"/>
                </a:lnTo>
                <a:lnTo>
                  <a:pt x="1578" y="818"/>
                </a:lnTo>
                <a:lnTo>
                  <a:pt x="1573" y="833"/>
                </a:lnTo>
                <a:lnTo>
                  <a:pt x="1565" y="848"/>
                </a:lnTo>
                <a:lnTo>
                  <a:pt x="1557" y="864"/>
                </a:lnTo>
                <a:lnTo>
                  <a:pt x="1549" y="880"/>
                </a:lnTo>
                <a:lnTo>
                  <a:pt x="1539" y="895"/>
                </a:lnTo>
                <a:lnTo>
                  <a:pt x="1528" y="912"/>
                </a:lnTo>
                <a:lnTo>
                  <a:pt x="1516" y="927"/>
                </a:lnTo>
                <a:lnTo>
                  <a:pt x="1503" y="943"/>
                </a:lnTo>
                <a:lnTo>
                  <a:pt x="1490" y="959"/>
                </a:lnTo>
                <a:lnTo>
                  <a:pt x="1476" y="974"/>
                </a:lnTo>
                <a:lnTo>
                  <a:pt x="1461" y="989"/>
                </a:lnTo>
                <a:lnTo>
                  <a:pt x="1429" y="1020"/>
                </a:lnTo>
                <a:lnTo>
                  <a:pt x="1396" y="1049"/>
                </a:lnTo>
                <a:lnTo>
                  <a:pt x="1360" y="1076"/>
                </a:lnTo>
                <a:lnTo>
                  <a:pt x="1323" y="1102"/>
                </a:lnTo>
                <a:lnTo>
                  <a:pt x="1285" y="1126"/>
                </a:lnTo>
                <a:lnTo>
                  <a:pt x="1247" y="1148"/>
                </a:lnTo>
                <a:lnTo>
                  <a:pt x="1209" y="1167"/>
                </a:lnTo>
                <a:lnTo>
                  <a:pt x="1189" y="1177"/>
                </a:lnTo>
                <a:lnTo>
                  <a:pt x="1171" y="1185"/>
                </a:lnTo>
                <a:lnTo>
                  <a:pt x="1171" y="1185"/>
                </a:lnTo>
                <a:lnTo>
                  <a:pt x="1133" y="1199"/>
                </a:lnTo>
                <a:lnTo>
                  <a:pt x="1095" y="1211"/>
                </a:lnTo>
                <a:lnTo>
                  <a:pt x="1060" y="1223"/>
                </a:lnTo>
                <a:lnTo>
                  <a:pt x="1026" y="1232"/>
                </a:lnTo>
                <a:lnTo>
                  <a:pt x="993" y="1240"/>
                </a:lnTo>
                <a:lnTo>
                  <a:pt x="962" y="1246"/>
                </a:lnTo>
                <a:lnTo>
                  <a:pt x="933" y="1250"/>
                </a:lnTo>
                <a:lnTo>
                  <a:pt x="905" y="1254"/>
                </a:lnTo>
                <a:lnTo>
                  <a:pt x="879" y="1256"/>
                </a:lnTo>
                <a:lnTo>
                  <a:pt x="856" y="1257"/>
                </a:lnTo>
                <a:lnTo>
                  <a:pt x="834" y="1257"/>
                </a:lnTo>
                <a:lnTo>
                  <a:pt x="815" y="1256"/>
                </a:lnTo>
                <a:lnTo>
                  <a:pt x="799" y="1254"/>
                </a:lnTo>
                <a:lnTo>
                  <a:pt x="785" y="1251"/>
                </a:lnTo>
                <a:lnTo>
                  <a:pt x="774" y="1247"/>
                </a:lnTo>
                <a:lnTo>
                  <a:pt x="765" y="1243"/>
                </a:lnTo>
                <a:lnTo>
                  <a:pt x="765" y="1243"/>
                </a:lnTo>
                <a:lnTo>
                  <a:pt x="741" y="1227"/>
                </a:lnTo>
                <a:lnTo>
                  <a:pt x="720" y="1209"/>
                </a:lnTo>
                <a:lnTo>
                  <a:pt x="701" y="1191"/>
                </a:lnTo>
                <a:lnTo>
                  <a:pt x="685" y="1172"/>
                </a:lnTo>
                <a:lnTo>
                  <a:pt x="670" y="1155"/>
                </a:lnTo>
                <a:lnTo>
                  <a:pt x="656" y="1137"/>
                </a:lnTo>
                <a:lnTo>
                  <a:pt x="645" y="1119"/>
                </a:lnTo>
                <a:lnTo>
                  <a:pt x="634" y="1102"/>
                </a:lnTo>
                <a:lnTo>
                  <a:pt x="615" y="1071"/>
                </a:lnTo>
                <a:lnTo>
                  <a:pt x="605" y="1057"/>
                </a:lnTo>
                <a:lnTo>
                  <a:pt x="596" y="1045"/>
                </a:lnTo>
                <a:lnTo>
                  <a:pt x="587" y="1033"/>
                </a:lnTo>
                <a:lnTo>
                  <a:pt x="577" y="1025"/>
                </a:lnTo>
                <a:lnTo>
                  <a:pt x="565" y="1018"/>
                </a:lnTo>
                <a:lnTo>
                  <a:pt x="559" y="1015"/>
                </a:lnTo>
                <a:lnTo>
                  <a:pt x="553" y="1013"/>
                </a:lnTo>
                <a:lnTo>
                  <a:pt x="553" y="1013"/>
                </a:lnTo>
                <a:lnTo>
                  <a:pt x="549" y="1013"/>
                </a:lnTo>
                <a:lnTo>
                  <a:pt x="546" y="1013"/>
                </a:lnTo>
                <a:lnTo>
                  <a:pt x="539" y="1015"/>
                </a:lnTo>
                <a:lnTo>
                  <a:pt x="532" y="1018"/>
                </a:lnTo>
                <a:lnTo>
                  <a:pt x="524" y="1022"/>
                </a:lnTo>
                <a:lnTo>
                  <a:pt x="516" y="1026"/>
                </a:lnTo>
                <a:lnTo>
                  <a:pt x="507" y="1029"/>
                </a:lnTo>
                <a:lnTo>
                  <a:pt x="499" y="1031"/>
                </a:lnTo>
                <a:lnTo>
                  <a:pt x="494" y="1031"/>
                </a:lnTo>
                <a:lnTo>
                  <a:pt x="489" y="1031"/>
                </a:lnTo>
                <a:lnTo>
                  <a:pt x="489" y="1031"/>
                </a:lnTo>
                <a:lnTo>
                  <a:pt x="468" y="1028"/>
                </a:lnTo>
                <a:lnTo>
                  <a:pt x="448" y="1025"/>
                </a:lnTo>
                <a:lnTo>
                  <a:pt x="427" y="1024"/>
                </a:lnTo>
                <a:lnTo>
                  <a:pt x="406" y="1023"/>
                </a:lnTo>
                <a:lnTo>
                  <a:pt x="386" y="1023"/>
                </a:lnTo>
                <a:lnTo>
                  <a:pt x="366" y="1025"/>
                </a:lnTo>
                <a:lnTo>
                  <a:pt x="347" y="1027"/>
                </a:lnTo>
                <a:lnTo>
                  <a:pt x="327" y="1031"/>
                </a:lnTo>
                <a:lnTo>
                  <a:pt x="309" y="1035"/>
                </a:lnTo>
                <a:lnTo>
                  <a:pt x="292" y="1043"/>
                </a:lnTo>
                <a:lnTo>
                  <a:pt x="276" y="1050"/>
                </a:lnTo>
                <a:lnTo>
                  <a:pt x="262" y="1059"/>
                </a:lnTo>
                <a:lnTo>
                  <a:pt x="248" y="1070"/>
                </a:lnTo>
                <a:lnTo>
                  <a:pt x="242" y="1076"/>
                </a:lnTo>
                <a:lnTo>
                  <a:pt x="236" y="1082"/>
                </a:lnTo>
                <a:lnTo>
                  <a:pt x="231" y="1090"/>
                </a:lnTo>
                <a:lnTo>
                  <a:pt x="227" y="1098"/>
                </a:lnTo>
                <a:lnTo>
                  <a:pt x="223" y="1105"/>
                </a:lnTo>
                <a:lnTo>
                  <a:pt x="219" y="1114"/>
                </a:lnTo>
                <a:lnTo>
                  <a:pt x="219" y="1114"/>
                </a:lnTo>
                <a:lnTo>
                  <a:pt x="257" y="1112"/>
                </a:lnTo>
                <a:lnTo>
                  <a:pt x="292" y="1111"/>
                </a:lnTo>
                <a:lnTo>
                  <a:pt x="312" y="1111"/>
                </a:lnTo>
                <a:lnTo>
                  <a:pt x="331" y="1112"/>
                </a:lnTo>
                <a:lnTo>
                  <a:pt x="349" y="1113"/>
                </a:lnTo>
                <a:lnTo>
                  <a:pt x="364" y="1116"/>
                </a:lnTo>
                <a:lnTo>
                  <a:pt x="377" y="1119"/>
                </a:lnTo>
                <a:lnTo>
                  <a:pt x="382" y="1121"/>
                </a:lnTo>
                <a:lnTo>
                  <a:pt x="387" y="1123"/>
                </a:lnTo>
                <a:lnTo>
                  <a:pt x="389" y="1126"/>
                </a:lnTo>
                <a:lnTo>
                  <a:pt x="391" y="1130"/>
                </a:lnTo>
                <a:lnTo>
                  <a:pt x="391" y="1133"/>
                </a:lnTo>
                <a:lnTo>
                  <a:pt x="389" y="1137"/>
                </a:lnTo>
                <a:lnTo>
                  <a:pt x="386" y="1141"/>
                </a:lnTo>
                <a:lnTo>
                  <a:pt x="381" y="1146"/>
                </a:lnTo>
                <a:lnTo>
                  <a:pt x="374" y="1151"/>
                </a:lnTo>
                <a:lnTo>
                  <a:pt x="366" y="1156"/>
                </a:lnTo>
                <a:lnTo>
                  <a:pt x="366" y="1156"/>
                </a:lnTo>
                <a:lnTo>
                  <a:pt x="357" y="1162"/>
                </a:lnTo>
                <a:lnTo>
                  <a:pt x="351" y="1168"/>
                </a:lnTo>
                <a:lnTo>
                  <a:pt x="346" y="1175"/>
                </a:lnTo>
                <a:lnTo>
                  <a:pt x="344" y="1182"/>
                </a:lnTo>
                <a:lnTo>
                  <a:pt x="343" y="1189"/>
                </a:lnTo>
                <a:lnTo>
                  <a:pt x="344" y="1195"/>
                </a:lnTo>
                <a:lnTo>
                  <a:pt x="346" y="1202"/>
                </a:lnTo>
                <a:lnTo>
                  <a:pt x="349" y="1209"/>
                </a:lnTo>
                <a:lnTo>
                  <a:pt x="354" y="1217"/>
                </a:lnTo>
                <a:lnTo>
                  <a:pt x="360" y="1225"/>
                </a:lnTo>
                <a:lnTo>
                  <a:pt x="368" y="1232"/>
                </a:lnTo>
                <a:lnTo>
                  <a:pt x="376" y="1239"/>
                </a:lnTo>
                <a:lnTo>
                  <a:pt x="396" y="1254"/>
                </a:lnTo>
                <a:lnTo>
                  <a:pt x="418" y="1270"/>
                </a:lnTo>
                <a:lnTo>
                  <a:pt x="442" y="1285"/>
                </a:lnTo>
                <a:lnTo>
                  <a:pt x="467" y="1299"/>
                </a:lnTo>
                <a:lnTo>
                  <a:pt x="519" y="1327"/>
                </a:lnTo>
                <a:lnTo>
                  <a:pt x="565" y="1350"/>
                </a:lnTo>
                <a:lnTo>
                  <a:pt x="585" y="1361"/>
                </a:lnTo>
                <a:lnTo>
                  <a:pt x="601" y="1370"/>
                </a:lnTo>
                <a:lnTo>
                  <a:pt x="601" y="1370"/>
                </a:lnTo>
                <a:lnTo>
                  <a:pt x="608" y="1375"/>
                </a:lnTo>
                <a:lnTo>
                  <a:pt x="611" y="1379"/>
                </a:lnTo>
                <a:lnTo>
                  <a:pt x="613" y="1382"/>
                </a:lnTo>
                <a:lnTo>
                  <a:pt x="611" y="1385"/>
                </a:lnTo>
                <a:lnTo>
                  <a:pt x="608" y="1387"/>
                </a:lnTo>
                <a:lnTo>
                  <a:pt x="604" y="1389"/>
                </a:lnTo>
                <a:lnTo>
                  <a:pt x="598" y="1390"/>
                </a:lnTo>
                <a:lnTo>
                  <a:pt x="598" y="1390"/>
                </a:lnTo>
                <a:lnTo>
                  <a:pt x="588" y="1390"/>
                </a:lnTo>
                <a:lnTo>
                  <a:pt x="576" y="1388"/>
                </a:lnTo>
                <a:lnTo>
                  <a:pt x="561" y="1385"/>
                </a:lnTo>
                <a:lnTo>
                  <a:pt x="545" y="1380"/>
                </a:lnTo>
                <a:lnTo>
                  <a:pt x="509" y="1369"/>
                </a:lnTo>
                <a:lnTo>
                  <a:pt x="469" y="1354"/>
                </a:lnTo>
                <a:lnTo>
                  <a:pt x="387" y="1323"/>
                </a:lnTo>
                <a:lnTo>
                  <a:pt x="349" y="1307"/>
                </a:lnTo>
                <a:lnTo>
                  <a:pt x="314" y="1296"/>
                </a:lnTo>
                <a:lnTo>
                  <a:pt x="314" y="1296"/>
                </a:lnTo>
                <a:lnTo>
                  <a:pt x="303" y="1293"/>
                </a:lnTo>
                <a:lnTo>
                  <a:pt x="292" y="1291"/>
                </a:lnTo>
                <a:lnTo>
                  <a:pt x="283" y="1291"/>
                </a:lnTo>
                <a:lnTo>
                  <a:pt x="275" y="1292"/>
                </a:lnTo>
                <a:lnTo>
                  <a:pt x="268" y="1294"/>
                </a:lnTo>
                <a:lnTo>
                  <a:pt x="262" y="1297"/>
                </a:lnTo>
                <a:lnTo>
                  <a:pt x="257" y="1300"/>
                </a:lnTo>
                <a:lnTo>
                  <a:pt x="253" y="1303"/>
                </a:lnTo>
                <a:lnTo>
                  <a:pt x="244" y="1312"/>
                </a:lnTo>
                <a:lnTo>
                  <a:pt x="238" y="1319"/>
                </a:lnTo>
                <a:lnTo>
                  <a:pt x="234" y="1324"/>
                </a:lnTo>
                <a:lnTo>
                  <a:pt x="231" y="1325"/>
                </a:lnTo>
                <a:lnTo>
                  <a:pt x="229" y="1326"/>
                </a:lnTo>
                <a:lnTo>
                  <a:pt x="229" y="1326"/>
                </a:lnTo>
                <a:lnTo>
                  <a:pt x="220" y="1325"/>
                </a:lnTo>
                <a:lnTo>
                  <a:pt x="210" y="1324"/>
                </a:lnTo>
                <a:lnTo>
                  <a:pt x="198" y="1325"/>
                </a:lnTo>
                <a:lnTo>
                  <a:pt x="188" y="1325"/>
                </a:lnTo>
                <a:lnTo>
                  <a:pt x="166" y="1329"/>
                </a:lnTo>
                <a:lnTo>
                  <a:pt x="143" y="1335"/>
                </a:lnTo>
                <a:lnTo>
                  <a:pt x="121" y="1343"/>
                </a:lnTo>
                <a:lnTo>
                  <a:pt x="98" y="1353"/>
                </a:lnTo>
                <a:lnTo>
                  <a:pt x="77" y="1367"/>
                </a:lnTo>
                <a:lnTo>
                  <a:pt x="66" y="1374"/>
                </a:lnTo>
                <a:lnTo>
                  <a:pt x="57" y="1381"/>
                </a:lnTo>
                <a:lnTo>
                  <a:pt x="48" y="1389"/>
                </a:lnTo>
                <a:lnTo>
                  <a:pt x="40" y="1397"/>
                </a:lnTo>
                <a:lnTo>
                  <a:pt x="32" y="1407"/>
                </a:lnTo>
                <a:lnTo>
                  <a:pt x="25" y="1416"/>
                </a:lnTo>
                <a:lnTo>
                  <a:pt x="18" y="1426"/>
                </a:lnTo>
                <a:lnTo>
                  <a:pt x="12" y="1435"/>
                </a:lnTo>
                <a:lnTo>
                  <a:pt x="8" y="1446"/>
                </a:lnTo>
                <a:lnTo>
                  <a:pt x="4" y="1458"/>
                </a:lnTo>
                <a:lnTo>
                  <a:pt x="2" y="1469"/>
                </a:lnTo>
                <a:lnTo>
                  <a:pt x="0" y="1480"/>
                </a:lnTo>
                <a:lnTo>
                  <a:pt x="0" y="1492"/>
                </a:lnTo>
                <a:lnTo>
                  <a:pt x="0" y="1505"/>
                </a:lnTo>
                <a:lnTo>
                  <a:pt x="3" y="1518"/>
                </a:lnTo>
                <a:lnTo>
                  <a:pt x="6" y="1530"/>
                </a:lnTo>
                <a:lnTo>
                  <a:pt x="11" y="1544"/>
                </a:lnTo>
                <a:lnTo>
                  <a:pt x="17" y="1558"/>
                </a:lnTo>
                <a:lnTo>
                  <a:pt x="17" y="1558"/>
                </a:lnTo>
                <a:lnTo>
                  <a:pt x="20" y="1553"/>
                </a:lnTo>
                <a:lnTo>
                  <a:pt x="30" y="1540"/>
                </a:lnTo>
                <a:lnTo>
                  <a:pt x="45" y="1521"/>
                </a:lnTo>
                <a:lnTo>
                  <a:pt x="53" y="1511"/>
                </a:lnTo>
                <a:lnTo>
                  <a:pt x="63" y="1501"/>
                </a:lnTo>
                <a:lnTo>
                  <a:pt x="75" y="1490"/>
                </a:lnTo>
                <a:lnTo>
                  <a:pt x="86" y="1481"/>
                </a:lnTo>
                <a:lnTo>
                  <a:pt x="98" y="1473"/>
                </a:lnTo>
                <a:lnTo>
                  <a:pt x="111" y="1466"/>
                </a:lnTo>
                <a:lnTo>
                  <a:pt x="125" y="1461"/>
                </a:lnTo>
                <a:lnTo>
                  <a:pt x="131" y="1459"/>
                </a:lnTo>
                <a:lnTo>
                  <a:pt x="138" y="1458"/>
                </a:lnTo>
                <a:lnTo>
                  <a:pt x="145" y="1458"/>
                </a:lnTo>
                <a:lnTo>
                  <a:pt x="151" y="1458"/>
                </a:lnTo>
                <a:lnTo>
                  <a:pt x="159" y="1459"/>
                </a:lnTo>
                <a:lnTo>
                  <a:pt x="166" y="1461"/>
                </a:lnTo>
                <a:lnTo>
                  <a:pt x="166" y="1461"/>
                </a:lnTo>
                <a:lnTo>
                  <a:pt x="171" y="1463"/>
                </a:lnTo>
                <a:lnTo>
                  <a:pt x="174" y="1467"/>
                </a:lnTo>
                <a:lnTo>
                  <a:pt x="175" y="1473"/>
                </a:lnTo>
                <a:lnTo>
                  <a:pt x="176" y="1479"/>
                </a:lnTo>
                <a:lnTo>
                  <a:pt x="176" y="1496"/>
                </a:lnTo>
                <a:lnTo>
                  <a:pt x="174" y="1514"/>
                </a:lnTo>
                <a:lnTo>
                  <a:pt x="174" y="1524"/>
                </a:lnTo>
                <a:lnTo>
                  <a:pt x="174" y="1534"/>
                </a:lnTo>
                <a:lnTo>
                  <a:pt x="176" y="1545"/>
                </a:lnTo>
                <a:lnTo>
                  <a:pt x="178" y="1554"/>
                </a:lnTo>
                <a:lnTo>
                  <a:pt x="182" y="1564"/>
                </a:lnTo>
                <a:lnTo>
                  <a:pt x="187" y="1573"/>
                </a:lnTo>
                <a:lnTo>
                  <a:pt x="195" y="1581"/>
                </a:lnTo>
                <a:lnTo>
                  <a:pt x="205" y="1589"/>
                </a:lnTo>
                <a:lnTo>
                  <a:pt x="205" y="1589"/>
                </a:lnTo>
                <a:lnTo>
                  <a:pt x="213" y="1593"/>
                </a:lnTo>
                <a:lnTo>
                  <a:pt x="221" y="1596"/>
                </a:lnTo>
                <a:lnTo>
                  <a:pt x="231" y="1599"/>
                </a:lnTo>
                <a:lnTo>
                  <a:pt x="242" y="1600"/>
                </a:lnTo>
                <a:lnTo>
                  <a:pt x="254" y="1602"/>
                </a:lnTo>
                <a:lnTo>
                  <a:pt x="267" y="1602"/>
                </a:lnTo>
                <a:lnTo>
                  <a:pt x="293" y="1602"/>
                </a:lnTo>
                <a:lnTo>
                  <a:pt x="323" y="1600"/>
                </a:lnTo>
                <a:lnTo>
                  <a:pt x="354" y="1597"/>
                </a:lnTo>
                <a:lnTo>
                  <a:pt x="418" y="1589"/>
                </a:lnTo>
                <a:lnTo>
                  <a:pt x="481" y="1580"/>
                </a:lnTo>
                <a:lnTo>
                  <a:pt x="510" y="1576"/>
                </a:lnTo>
                <a:lnTo>
                  <a:pt x="538" y="1574"/>
                </a:lnTo>
                <a:lnTo>
                  <a:pt x="562" y="1573"/>
                </a:lnTo>
                <a:lnTo>
                  <a:pt x="583" y="1574"/>
                </a:lnTo>
                <a:lnTo>
                  <a:pt x="592" y="1575"/>
                </a:lnTo>
                <a:lnTo>
                  <a:pt x="600" y="1577"/>
                </a:lnTo>
                <a:lnTo>
                  <a:pt x="607" y="1580"/>
                </a:lnTo>
                <a:lnTo>
                  <a:pt x="613" y="1585"/>
                </a:lnTo>
                <a:lnTo>
                  <a:pt x="613" y="1585"/>
                </a:lnTo>
                <a:lnTo>
                  <a:pt x="616" y="1588"/>
                </a:lnTo>
                <a:lnTo>
                  <a:pt x="617" y="1591"/>
                </a:lnTo>
                <a:lnTo>
                  <a:pt x="616" y="1593"/>
                </a:lnTo>
                <a:lnTo>
                  <a:pt x="611" y="1596"/>
                </a:lnTo>
                <a:lnTo>
                  <a:pt x="607" y="1598"/>
                </a:lnTo>
                <a:lnTo>
                  <a:pt x="600" y="1601"/>
                </a:lnTo>
                <a:lnTo>
                  <a:pt x="583" y="1605"/>
                </a:lnTo>
                <a:lnTo>
                  <a:pt x="560" y="1609"/>
                </a:lnTo>
                <a:lnTo>
                  <a:pt x="535" y="1612"/>
                </a:lnTo>
                <a:lnTo>
                  <a:pt x="474" y="1620"/>
                </a:lnTo>
                <a:lnTo>
                  <a:pt x="443" y="1624"/>
                </a:lnTo>
                <a:lnTo>
                  <a:pt x="412" y="1629"/>
                </a:lnTo>
                <a:lnTo>
                  <a:pt x="382" y="1636"/>
                </a:lnTo>
                <a:lnTo>
                  <a:pt x="356" y="1642"/>
                </a:lnTo>
                <a:lnTo>
                  <a:pt x="344" y="1646"/>
                </a:lnTo>
                <a:lnTo>
                  <a:pt x="332" y="1650"/>
                </a:lnTo>
                <a:lnTo>
                  <a:pt x="322" y="1654"/>
                </a:lnTo>
                <a:lnTo>
                  <a:pt x="314" y="1659"/>
                </a:lnTo>
                <a:lnTo>
                  <a:pt x="307" y="1664"/>
                </a:lnTo>
                <a:lnTo>
                  <a:pt x="302" y="1669"/>
                </a:lnTo>
                <a:lnTo>
                  <a:pt x="298" y="1676"/>
                </a:lnTo>
                <a:lnTo>
                  <a:pt x="296" y="1682"/>
                </a:lnTo>
                <a:lnTo>
                  <a:pt x="296" y="1682"/>
                </a:lnTo>
                <a:lnTo>
                  <a:pt x="295" y="1687"/>
                </a:lnTo>
                <a:lnTo>
                  <a:pt x="295" y="1696"/>
                </a:lnTo>
                <a:lnTo>
                  <a:pt x="296" y="1707"/>
                </a:lnTo>
                <a:lnTo>
                  <a:pt x="298" y="1713"/>
                </a:lnTo>
                <a:lnTo>
                  <a:pt x="300" y="1718"/>
                </a:lnTo>
                <a:lnTo>
                  <a:pt x="300" y="1718"/>
                </a:lnTo>
                <a:lnTo>
                  <a:pt x="301" y="1725"/>
                </a:lnTo>
                <a:lnTo>
                  <a:pt x="301" y="1731"/>
                </a:lnTo>
                <a:lnTo>
                  <a:pt x="298" y="1737"/>
                </a:lnTo>
                <a:lnTo>
                  <a:pt x="293" y="1743"/>
                </a:lnTo>
                <a:lnTo>
                  <a:pt x="283" y="1757"/>
                </a:lnTo>
                <a:lnTo>
                  <a:pt x="269" y="1775"/>
                </a:lnTo>
                <a:lnTo>
                  <a:pt x="261" y="1785"/>
                </a:lnTo>
                <a:lnTo>
                  <a:pt x="254" y="1795"/>
                </a:lnTo>
                <a:lnTo>
                  <a:pt x="246" y="1807"/>
                </a:lnTo>
                <a:lnTo>
                  <a:pt x="240" y="1820"/>
                </a:lnTo>
                <a:lnTo>
                  <a:pt x="234" y="1834"/>
                </a:lnTo>
                <a:lnTo>
                  <a:pt x="230" y="1849"/>
                </a:lnTo>
                <a:lnTo>
                  <a:pt x="226" y="1866"/>
                </a:lnTo>
                <a:lnTo>
                  <a:pt x="225" y="1884"/>
                </a:lnTo>
                <a:lnTo>
                  <a:pt x="225" y="1884"/>
                </a:lnTo>
                <a:lnTo>
                  <a:pt x="225" y="1893"/>
                </a:lnTo>
                <a:lnTo>
                  <a:pt x="225" y="1902"/>
                </a:lnTo>
                <a:lnTo>
                  <a:pt x="228" y="1920"/>
                </a:lnTo>
                <a:lnTo>
                  <a:pt x="233" y="1937"/>
                </a:lnTo>
                <a:lnTo>
                  <a:pt x="239" y="1953"/>
                </a:lnTo>
                <a:lnTo>
                  <a:pt x="247" y="1968"/>
                </a:lnTo>
                <a:lnTo>
                  <a:pt x="257" y="1982"/>
                </a:lnTo>
                <a:lnTo>
                  <a:pt x="267" y="1995"/>
                </a:lnTo>
                <a:lnTo>
                  <a:pt x="277" y="2007"/>
                </a:lnTo>
                <a:lnTo>
                  <a:pt x="287" y="2017"/>
                </a:lnTo>
                <a:lnTo>
                  <a:pt x="298" y="2026"/>
                </a:lnTo>
                <a:lnTo>
                  <a:pt x="315" y="2042"/>
                </a:lnTo>
                <a:lnTo>
                  <a:pt x="327" y="2050"/>
                </a:lnTo>
                <a:lnTo>
                  <a:pt x="332" y="2054"/>
                </a:lnTo>
                <a:lnTo>
                  <a:pt x="332" y="2054"/>
                </a:lnTo>
                <a:lnTo>
                  <a:pt x="334" y="2050"/>
                </a:lnTo>
                <a:lnTo>
                  <a:pt x="335" y="2045"/>
                </a:lnTo>
                <a:lnTo>
                  <a:pt x="335" y="2036"/>
                </a:lnTo>
                <a:lnTo>
                  <a:pt x="334" y="2027"/>
                </a:lnTo>
                <a:lnTo>
                  <a:pt x="331" y="2006"/>
                </a:lnTo>
                <a:lnTo>
                  <a:pt x="328" y="1980"/>
                </a:lnTo>
                <a:lnTo>
                  <a:pt x="327" y="1968"/>
                </a:lnTo>
                <a:lnTo>
                  <a:pt x="326" y="1955"/>
                </a:lnTo>
                <a:lnTo>
                  <a:pt x="326" y="1943"/>
                </a:lnTo>
                <a:lnTo>
                  <a:pt x="328" y="1932"/>
                </a:lnTo>
                <a:lnTo>
                  <a:pt x="330" y="1922"/>
                </a:lnTo>
                <a:lnTo>
                  <a:pt x="334" y="1913"/>
                </a:lnTo>
                <a:lnTo>
                  <a:pt x="337" y="1910"/>
                </a:lnTo>
                <a:lnTo>
                  <a:pt x="341" y="1906"/>
                </a:lnTo>
                <a:lnTo>
                  <a:pt x="344" y="1904"/>
                </a:lnTo>
                <a:lnTo>
                  <a:pt x="348" y="1901"/>
                </a:lnTo>
                <a:lnTo>
                  <a:pt x="348" y="1901"/>
                </a:lnTo>
                <a:lnTo>
                  <a:pt x="353" y="1900"/>
                </a:lnTo>
                <a:lnTo>
                  <a:pt x="357" y="1900"/>
                </a:lnTo>
                <a:lnTo>
                  <a:pt x="362" y="1901"/>
                </a:lnTo>
                <a:lnTo>
                  <a:pt x="366" y="1905"/>
                </a:lnTo>
                <a:lnTo>
                  <a:pt x="375" y="1912"/>
                </a:lnTo>
                <a:lnTo>
                  <a:pt x="386" y="1921"/>
                </a:lnTo>
                <a:lnTo>
                  <a:pt x="397" y="1932"/>
                </a:lnTo>
                <a:lnTo>
                  <a:pt x="410" y="1941"/>
                </a:lnTo>
                <a:lnTo>
                  <a:pt x="417" y="1946"/>
                </a:lnTo>
                <a:lnTo>
                  <a:pt x="424" y="1950"/>
                </a:lnTo>
                <a:lnTo>
                  <a:pt x="434" y="1953"/>
                </a:lnTo>
                <a:lnTo>
                  <a:pt x="442" y="1955"/>
                </a:lnTo>
                <a:lnTo>
                  <a:pt x="442" y="1955"/>
                </a:lnTo>
                <a:lnTo>
                  <a:pt x="451" y="1955"/>
                </a:lnTo>
                <a:lnTo>
                  <a:pt x="460" y="1955"/>
                </a:lnTo>
                <a:lnTo>
                  <a:pt x="468" y="1954"/>
                </a:lnTo>
                <a:lnTo>
                  <a:pt x="478" y="1952"/>
                </a:lnTo>
                <a:lnTo>
                  <a:pt x="486" y="1948"/>
                </a:lnTo>
                <a:lnTo>
                  <a:pt x="494" y="1944"/>
                </a:lnTo>
                <a:lnTo>
                  <a:pt x="501" y="1940"/>
                </a:lnTo>
                <a:lnTo>
                  <a:pt x="509" y="1935"/>
                </a:lnTo>
                <a:lnTo>
                  <a:pt x="525" y="1923"/>
                </a:lnTo>
                <a:lnTo>
                  <a:pt x="539" y="1909"/>
                </a:lnTo>
                <a:lnTo>
                  <a:pt x="554" y="1892"/>
                </a:lnTo>
                <a:lnTo>
                  <a:pt x="571" y="1875"/>
                </a:lnTo>
                <a:lnTo>
                  <a:pt x="604" y="1836"/>
                </a:lnTo>
                <a:lnTo>
                  <a:pt x="624" y="1817"/>
                </a:lnTo>
                <a:lnTo>
                  <a:pt x="644" y="1797"/>
                </a:lnTo>
                <a:lnTo>
                  <a:pt x="667" y="1777"/>
                </a:lnTo>
                <a:lnTo>
                  <a:pt x="691" y="1758"/>
                </a:lnTo>
                <a:lnTo>
                  <a:pt x="705" y="1749"/>
                </a:lnTo>
                <a:lnTo>
                  <a:pt x="718" y="1741"/>
                </a:lnTo>
                <a:lnTo>
                  <a:pt x="732" y="1733"/>
                </a:lnTo>
                <a:lnTo>
                  <a:pt x="747" y="1725"/>
                </a:lnTo>
                <a:lnTo>
                  <a:pt x="747" y="1725"/>
                </a:lnTo>
                <a:lnTo>
                  <a:pt x="787" y="1706"/>
                </a:lnTo>
                <a:lnTo>
                  <a:pt x="819" y="1694"/>
                </a:lnTo>
                <a:lnTo>
                  <a:pt x="831" y="1689"/>
                </a:lnTo>
                <a:lnTo>
                  <a:pt x="843" y="1686"/>
                </a:lnTo>
                <a:lnTo>
                  <a:pt x="852" y="1685"/>
                </a:lnTo>
                <a:lnTo>
                  <a:pt x="859" y="1684"/>
                </a:lnTo>
                <a:lnTo>
                  <a:pt x="865" y="1684"/>
                </a:lnTo>
                <a:lnTo>
                  <a:pt x="869" y="1686"/>
                </a:lnTo>
                <a:lnTo>
                  <a:pt x="872" y="1688"/>
                </a:lnTo>
                <a:lnTo>
                  <a:pt x="874" y="1691"/>
                </a:lnTo>
                <a:lnTo>
                  <a:pt x="876" y="1694"/>
                </a:lnTo>
                <a:lnTo>
                  <a:pt x="876" y="1698"/>
                </a:lnTo>
                <a:lnTo>
                  <a:pt x="875" y="1708"/>
                </a:lnTo>
                <a:lnTo>
                  <a:pt x="872" y="1720"/>
                </a:lnTo>
                <a:lnTo>
                  <a:pt x="868" y="1734"/>
                </a:lnTo>
                <a:lnTo>
                  <a:pt x="865" y="1747"/>
                </a:lnTo>
                <a:lnTo>
                  <a:pt x="863" y="1759"/>
                </a:lnTo>
                <a:lnTo>
                  <a:pt x="863" y="1765"/>
                </a:lnTo>
                <a:lnTo>
                  <a:pt x="863" y="1772"/>
                </a:lnTo>
                <a:lnTo>
                  <a:pt x="865" y="1777"/>
                </a:lnTo>
                <a:lnTo>
                  <a:pt x="867" y="1782"/>
                </a:lnTo>
                <a:lnTo>
                  <a:pt x="870" y="1786"/>
                </a:lnTo>
                <a:lnTo>
                  <a:pt x="875" y="1790"/>
                </a:lnTo>
                <a:lnTo>
                  <a:pt x="881" y="1793"/>
                </a:lnTo>
                <a:lnTo>
                  <a:pt x="889" y="1795"/>
                </a:lnTo>
                <a:lnTo>
                  <a:pt x="889" y="1795"/>
                </a:lnTo>
                <a:lnTo>
                  <a:pt x="901" y="1799"/>
                </a:lnTo>
                <a:lnTo>
                  <a:pt x="912" y="1802"/>
                </a:lnTo>
                <a:lnTo>
                  <a:pt x="921" y="1807"/>
                </a:lnTo>
                <a:lnTo>
                  <a:pt x="928" y="1811"/>
                </a:lnTo>
                <a:lnTo>
                  <a:pt x="935" y="1817"/>
                </a:lnTo>
                <a:lnTo>
                  <a:pt x="940" y="1822"/>
                </a:lnTo>
                <a:lnTo>
                  <a:pt x="943" y="1828"/>
                </a:lnTo>
                <a:lnTo>
                  <a:pt x="945" y="1834"/>
                </a:lnTo>
                <a:lnTo>
                  <a:pt x="947" y="1840"/>
                </a:lnTo>
                <a:lnTo>
                  <a:pt x="947" y="1846"/>
                </a:lnTo>
                <a:lnTo>
                  <a:pt x="946" y="1853"/>
                </a:lnTo>
                <a:lnTo>
                  <a:pt x="945" y="1860"/>
                </a:lnTo>
                <a:lnTo>
                  <a:pt x="943" y="1867"/>
                </a:lnTo>
                <a:lnTo>
                  <a:pt x="940" y="1874"/>
                </a:lnTo>
                <a:lnTo>
                  <a:pt x="932" y="1887"/>
                </a:lnTo>
                <a:lnTo>
                  <a:pt x="922" y="1900"/>
                </a:lnTo>
                <a:lnTo>
                  <a:pt x="912" y="1913"/>
                </a:lnTo>
                <a:lnTo>
                  <a:pt x="902" y="1924"/>
                </a:lnTo>
                <a:lnTo>
                  <a:pt x="892" y="1934"/>
                </a:lnTo>
                <a:lnTo>
                  <a:pt x="875" y="1948"/>
                </a:lnTo>
                <a:lnTo>
                  <a:pt x="869" y="1955"/>
                </a:lnTo>
                <a:lnTo>
                  <a:pt x="869" y="1955"/>
                </a:lnTo>
                <a:lnTo>
                  <a:pt x="877" y="1959"/>
                </a:lnTo>
                <a:lnTo>
                  <a:pt x="888" y="1961"/>
                </a:lnTo>
                <a:lnTo>
                  <a:pt x="899" y="1962"/>
                </a:lnTo>
                <a:lnTo>
                  <a:pt x="912" y="1961"/>
                </a:lnTo>
                <a:lnTo>
                  <a:pt x="926" y="1958"/>
                </a:lnTo>
                <a:lnTo>
                  <a:pt x="941" y="1954"/>
                </a:lnTo>
                <a:lnTo>
                  <a:pt x="957" y="1947"/>
                </a:lnTo>
                <a:lnTo>
                  <a:pt x="972" y="1939"/>
                </a:lnTo>
                <a:lnTo>
                  <a:pt x="989" y="1930"/>
                </a:lnTo>
                <a:lnTo>
                  <a:pt x="1004" y="1919"/>
                </a:lnTo>
                <a:lnTo>
                  <a:pt x="1019" y="1906"/>
                </a:lnTo>
                <a:lnTo>
                  <a:pt x="1035" y="1891"/>
                </a:lnTo>
                <a:lnTo>
                  <a:pt x="1048" y="1874"/>
                </a:lnTo>
                <a:lnTo>
                  <a:pt x="1061" y="1855"/>
                </a:lnTo>
                <a:lnTo>
                  <a:pt x="1073" y="1835"/>
                </a:lnTo>
                <a:lnTo>
                  <a:pt x="1083" y="1814"/>
                </a:lnTo>
                <a:lnTo>
                  <a:pt x="1083" y="1814"/>
                </a:lnTo>
                <a:lnTo>
                  <a:pt x="1086" y="1805"/>
                </a:lnTo>
                <a:lnTo>
                  <a:pt x="1089" y="1799"/>
                </a:lnTo>
                <a:lnTo>
                  <a:pt x="1092" y="1794"/>
                </a:lnTo>
                <a:lnTo>
                  <a:pt x="1096" y="1790"/>
                </a:lnTo>
                <a:lnTo>
                  <a:pt x="1100" y="1787"/>
                </a:lnTo>
                <a:lnTo>
                  <a:pt x="1103" y="1784"/>
                </a:lnTo>
                <a:lnTo>
                  <a:pt x="1111" y="1781"/>
                </a:lnTo>
                <a:lnTo>
                  <a:pt x="1120" y="1778"/>
                </a:lnTo>
                <a:lnTo>
                  <a:pt x="1129" y="1774"/>
                </a:lnTo>
                <a:lnTo>
                  <a:pt x="1138" y="1768"/>
                </a:lnTo>
                <a:lnTo>
                  <a:pt x="1143" y="1763"/>
                </a:lnTo>
                <a:lnTo>
                  <a:pt x="1148" y="1758"/>
                </a:lnTo>
                <a:lnTo>
                  <a:pt x="1148" y="1758"/>
                </a:lnTo>
                <a:lnTo>
                  <a:pt x="1151" y="1752"/>
                </a:lnTo>
                <a:lnTo>
                  <a:pt x="1154" y="1746"/>
                </a:lnTo>
                <a:lnTo>
                  <a:pt x="1158" y="1740"/>
                </a:lnTo>
                <a:lnTo>
                  <a:pt x="1159" y="1734"/>
                </a:lnTo>
                <a:lnTo>
                  <a:pt x="1160" y="1719"/>
                </a:lnTo>
                <a:lnTo>
                  <a:pt x="1160" y="1705"/>
                </a:lnTo>
                <a:lnTo>
                  <a:pt x="1160" y="1690"/>
                </a:lnTo>
                <a:lnTo>
                  <a:pt x="1160" y="1676"/>
                </a:lnTo>
                <a:lnTo>
                  <a:pt x="1162" y="1661"/>
                </a:lnTo>
                <a:lnTo>
                  <a:pt x="1164" y="1655"/>
                </a:lnTo>
                <a:lnTo>
                  <a:pt x="1166" y="1649"/>
                </a:lnTo>
                <a:lnTo>
                  <a:pt x="1166" y="1649"/>
                </a:lnTo>
                <a:lnTo>
                  <a:pt x="1170" y="1643"/>
                </a:lnTo>
                <a:lnTo>
                  <a:pt x="1174" y="1638"/>
                </a:lnTo>
                <a:lnTo>
                  <a:pt x="1178" y="1633"/>
                </a:lnTo>
                <a:lnTo>
                  <a:pt x="1183" y="1628"/>
                </a:lnTo>
                <a:lnTo>
                  <a:pt x="1195" y="1620"/>
                </a:lnTo>
                <a:lnTo>
                  <a:pt x="1209" y="1614"/>
                </a:lnTo>
                <a:lnTo>
                  <a:pt x="1223" y="1609"/>
                </a:lnTo>
                <a:lnTo>
                  <a:pt x="1237" y="1605"/>
                </a:lnTo>
                <a:lnTo>
                  <a:pt x="1268" y="1597"/>
                </a:lnTo>
                <a:lnTo>
                  <a:pt x="1298" y="1591"/>
                </a:lnTo>
                <a:lnTo>
                  <a:pt x="1310" y="1587"/>
                </a:lnTo>
                <a:lnTo>
                  <a:pt x="1321" y="1581"/>
                </a:lnTo>
                <a:lnTo>
                  <a:pt x="1329" y="1575"/>
                </a:lnTo>
                <a:lnTo>
                  <a:pt x="1333" y="1572"/>
                </a:lnTo>
                <a:lnTo>
                  <a:pt x="1335" y="1568"/>
                </a:lnTo>
                <a:lnTo>
                  <a:pt x="1338" y="1564"/>
                </a:lnTo>
                <a:lnTo>
                  <a:pt x="1340" y="1559"/>
                </a:lnTo>
                <a:lnTo>
                  <a:pt x="1340" y="1554"/>
                </a:lnTo>
                <a:lnTo>
                  <a:pt x="1340" y="1549"/>
                </a:lnTo>
                <a:lnTo>
                  <a:pt x="1340" y="1549"/>
                </a:lnTo>
                <a:lnTo>
                  <a:pt x="1338" y="1534"/>
                </a:lnTo>
                <a:lnTo>
                  <a:pt x="1338" y="1521"/>
                </a:lnTo>
                <a:lnTo>
                  <a:pt x="1341" y="1509"/>
                </a:lnTo>
                <a:lnTo>
                  <a:pt x="1345" y="1499"/>
                </a:lnTo>
                <a:lnTo>
                  <a:pt x="1350" y="1488"/>
                </a:lnTo>
                <a:lnTo>
                  <a:pt x="1355" y="1480"/>
                </a:lnTo>
                <a:lnTo>
                  <a:pt x="1362" y="1472"/>
                </a:lnTo>
                <a:lnTo>
                  <a:pt x="1370" y="1465"/>
                </a:lnTo>
                <a:lnTo>
                  <a:pt x="1378" y="1459"/>
                </a:lnTo>
                <a:lnTo>
                  <a:pt x="1388" y="1453"/>
                </a:lnTo>
                <a:lnTo>
                  <a:pt x="1406" y="1443"/>
                </a:lnTo>
                <a:lnTo>
                  <a:pt x="1424" y="1435"/>
                </a:lnTo>
                <a:lnTo>
                  <a:pt x="1441" y="1428"/>
                </a:lnTo>
                <a:lnTo>
                  <a:pt x="1441" y="1428"/>
                </a:lnTo>
                <a:lnTo>
                  <a:pt x="1443" y="1428"/>
                </a:lnTo>
                <a:lnTo>
                  <a:pt x="1444" y="1429"/>
                </a:lnTo>
                <a:lnTo>
                  <a:pt x="1447" y="1431"/>
                </a:lnTo>
                <a:lnTo>
                  <a:pt x="1449" y="1436"/>
                </a:lnTo>
                <a:lnTo>
                  <a:pt x="1453" y="1443"/>
                </a:lnTo>
                <a:lnTo>
                  <a:pt x="1461" y="1462"/>
                </a:lnTo>
                <a:lnTo>
                  <a:pt x="1467" y="1473"/>
                </a:lnTo>
                <a:lnTo>
                  <a:pt x="1474" y="1485"/>
                </a:lnTo>
                <a:lnTo>
                  <a:pt x="1484" y="1498"/>
                </a:lnTo>
                <a:lnTo>
                  <a:pt x="1494" y="1511"/>
                </a:lnTo>
                <a:lnTo>
                  <a:pt x="1506" y="1525"/>
                </a:lnTo>
                <a:lnTo>
                  <a:pt x="1522" y="1539"/>
                </a:lnTo>
                <a:lnTo>
                  <a:pt x="1539" y="1552"/>
                </a:lnTo>
                <a:lnTo>
                  <a:pt x="1559" y="1564"/>
                </a:lnTo>
                <a:lnTo>
                  <a:pt x="1583" y="1576"/>
                </a:lnTo>
                <a:lnTo>
                  <a:pt x="1609" y="1587"/>
                </a:lnTo>
                <a:lnTo>
                  <a:pt x="1609" y="1587"/>
                </a:lnTo>
                <a:lnTo>
                  <a:pt x="1684" y="1556"/>
                </a:lnTo>
                <a:lnTo>
                  <a:pt x="1730" y="1534"/>
                </a:lnTo>
                <a:lnTo>
                  <a:pt x="1757" y="1521"/>
                </a:lnTo>
                <a:lnTo>
                  <a:pt x="1786" y="1506"/>
                </a:lnTo>
                <a:lnTo>
                  <a:pt x="1786" y="1506"/>
                </a:lnTo>
                <a:lnTo>
                  <a:pt x="1818" y="1489"/>
                </a:lnTo>
                <a:lnTo>
                  <a:pt x="1848" y="1472"/>
                </a:lnTo>
                <a:lnTo>
                  <a:pt x="1860" y="1464"/>
                </a:lnTo>
                <a:lnTo>
                  <a:pt x="1871" y="1457"/>
                </a:lnTo>
                <a:lnTo>
                  <a:pt x="1881" y="1449"/>
                </a:lnTo>
                <a:lnTo>
                  <a:pt x="1889" y="1442"/>
                </a:lnTo>
                <a:lnTo>
                  <a:pt x="1889" y="1442"/>
                </a:lnTo>
                <a:lnTo>
                  <a:pt x="1888" y="1440"/>
                </a:lnTo>
                <a:lnTo>
                  <a:pt x="1887" y="1438"/>
                </a:lnTo>
                <a:lnTo>
                  <a:pt x="1879" y="1431"/>
                </a:lnTo>
                <a:lnTo>
                  <a:pt x="1868" y="1420"/>
                </a:lnTo>
                <a:lnTo>
                  <a:pt x="1855" y="1406"/>
                </a:lnTo>
                <a:lnTo>
                  <a:pt x="1840" y="1388"/>
                </a:lnTo>
                <a:lnTo>
                  <a:pt x="1825" y="1369"/>
                </a:lnTo>
                <a:lnTo>
                  <a:pt x="1818" y="1358"/>
                </a:lnTo>
                <a:lnTo>
                  <a:pt x="1812" y="1345"/>
                </a:lnTo>
                <a:lnTo>
                  <a:pt x="1807" y="1334"/>
                </a:lnTo>
                <a:lnTo>
                  <a:pt x="1802" y="1321"/>
                </a:lnTo>
                <a:lnTo>
                  <a:pt x="1802" y="1321"/>
                </a:lnTo>
                <a:lnTo>
                  <a:pt x="1799" y="1308"/>
                </a:lnTo>
                <a:lnTo>
                  <a:pt x="1796" y="1297"/>
                </a:lnTo>
                <a:lnTo>
                  <a:pt x="1794" y="1288"/>
                </a:lnTo>
                <a:lnTo>
                  <a:pt x="1794" y="1279"/>
                </a:lnTo>
                <a:lnTo>
                  <a:pt x="1794" y="1272"/>
                </a:lnTo>
                <a:lnTo>
                  <a:pt x="1794" y="1267"/>
                </a:lnTo>
                <a:lnTo>
                  <a:pt x="1795" y="1263"/>
                </a:lnTo>
                <a:lnTo>
                  <a:pt x="1796" y="1261"/>
                </a:lnTo>
                <a:lnTo>
                  <a:pt x="1796" y="1261"/>
                </a:lnTo>
                <a:lnTo>
                  <a:pt x="1809" y="1278"/>
                </a:lnTo>
                <a:lnTo>
                  <a:pt x="1824" y="1295"/>
                </a:lnTo>
                <a:lnTo>
                  <a:pt x="1845" y="1316"/>
                </a:lnTo>
                <a:lnTo>
                  <a:pt x="1857" y="1327"/>
                </a:lnTo>
                <a:lnTo>
                  <a:pt x="1869" y="1338"/>
                </a:lnTo>
                <a:lnTo>
                  <a:pt x="1883" y="1349"/>
                </a:lnTo>
                <a:lnTo>
                  <a:pt x="1899" y="1361"/>
                </a:lnTo>
                <a:lnTo>
                  <a:pt x="1915" y="1372"/>
                </a:lnTo>
                <a:lnTo>
                  <a:pt x="1932" y="1381"/>
                </a:lnTo>
                <a:lnTo>
                  <a:pt x="1949" y="1390"/>
                </a:lnTo>
                <a:lnTo>
                  <a:pt x="1967" y="1398"/>
                </a:lnTo>
                <a:lnTo>
                  <a:pt x="1967" y="1398"/>
                </a:lnTo>
                <a:lnTo>
                  <a:pt x="2021" y="1370"/>
                </a:lnTo>
                <a:lnTo>
                  <a:pt x="2075" y="1340"/>
                </a:lnTo>
                <a:lnTo>
                  <a:pt x="2129" y="1307"/>
                </a:lnTo>
                <a:lnTo>
                  <a:pt x="2183" y="1273"/>
                </a:lnTo>
                <a:lnTo>
                  <a:pt x="2183" y="1273"/>
                </a:lnTo>
                <a:lnTo>
                  <a:pt x="2218" y="1249"/>
                </a:lnTo>
                <a:lnTo>
                  <a:pt x="2218" y="1249"/>
                </a:lnTo>
                <a:lnTo>
                  <a:pt x="2219" y="1248"/>
                </a:lnTo>
                <a:lnTo>
                  <a:pt x="2219" y="1248"/>
                </a:lnTo>
                <a:lnTo>
                  <a:pt x="2220" y="1246"/>
                </a:lnTo>
                <a:lnTo>
                  <a:pt x="2219" y="1244"/>
                </a:lnTo>
                <a:lnTo>
                  <a:pt x="2215" y="1237"/>
                </a:lnTo>
                <a:lnTo>
                  <a:pt x="2207" y="1228"/>
                </a:lnTo>
                <a:lnTo>
                  <a:pt x="2196" y="1217"/>
                </a:lnTo>
                <a:lnTo>
                  <a:pt x="2171" y="1193"/>
                </a:lnTo>
                <a:lnTo>
                  <a:pt x="2142" y="1164"/>
                </a:lnTo>
                <a:lnTo>
                  <a:pt x="2129" y="1150"/>
                </a:lnTo>
                <a:lnTo>
                  <a:pt x="2118" y="1136"/>
                </a:lnTo>
                <a:lnTo>
                  <a:pt x="2108" y="1121"/>
                </a:lnTo>
                <a:lnTo>
                  <a:pt x="2104" y="1114"/>
                </a:lnTo>
                <a:lnTo>
                  <a:pt x="2101" y="1108"/>
                </a:lnTo>
                <a:lnTo>
                  <a:pt x="2100" y="1101"/>
                </a:lnTo>
                <a:lnTo>
                  <a:pt x="2099" y="1095"/>
                </a:lnTo>
                <a:lnTo>
                  <a:pt x="2099" y="1089"/>
                </a:lnTo>
                <a:lnTo>
                  <a:pt x="2100" y="1084"/>
                </a:lnTo>
                <a:lnTo>
                  <a:pt x="2102" y="1078"/>
                </a:lnTo>
                <a:lnTo>
                  <a:pt x="2106" y="1073"/>
                </a:lnTo>
                <a:lnTo>
                  <a:pt x="2112" y="1069"/>
                </a:lnTo>
                <a:lnTo>
                  <a:pt x="2119" y="1065"/>
                </a:lnTo>
                <a:lnTo>
                  <a:pt x="2119" y="1065"/>
                </a:lnTo>
                <a:lnTo>
                  <a:pt x="2125" y="1061"/>
                </a:lnTo>
                <a:lnTo>
                  <a:pt x="2130" y="1056"/>
                </a:lnTo>
                <a:lnTo>
                  <a:pt x="2133" y="1051"/>
                </a:lnTo>
                <a:lnTo>
                  <a:pt x="2135" y="1045"/>
                </a:lnTo>
                <a:lnTo>
                  <a:pt x="2136" y="1039"/>
                </a:lnTo>
                <a:lnTo>
                  <a:pt x="2136" y="1030"/>
                </a:lnTo>
                <a:lnTo>
                  <a:pt x="2136" y="1023"/>
                </a:lnTo>
                <a:lnTo>
                  <a:pt x="2134" y="1014"/>
                </a:lnTo>
                <a:lnTo>
                  <a:pt x="2129" y="997"/>
                </a:lnTo>
                <a:lnTo>
                  <a:pt x="2121" y="977"/>
                </a:lnTo>
                <a:lnTo>
                  <a:pt x="2102" y="935"/>
                </a:lnTo>
                <a:lnTo>
                  <a:pt x="2093" y="914"/>
                </a:lnTo>
                <a:lnTo>
                  <a:pt x="2085" y="893"/>
                </a:lnTo>
                <a:lnTo>
                  <a:pt x="2078" y="873"/>
                </a:lnTo>
                <a:lnTo>
                  <a:pt x="2076" y="863"/>
                </a:lnTo>
                <a:lnTo>
                  <a:pt x="2074" y="853"/>
                </a:lnTo>
                <a:lnTo>
                  <a:pt x="2074" y="844"/>
                </a:lnTo>
                <a:lnTo>
                  <a:pt x="2074" y="836"/>
                </a:lnTo>
                <a:lnTo>
                  <a:pt x="2075" y="828"/>
                </a:lnTo>
                <a:lnTo>
                  <a:pt x="2077" y="821"/>
                </a:lnTo>
                <a:lnTo>
                  <a:pt x="2080" y="814"/>
                </a:lnTo>
                <a:lnTo>
                  <a:pt x="2085" y="807"/>
                </a:lnTo>
                <a:lnTo>
                  <a:pt x="2091" y="801"/>
                </a:lnTo>
                <a:lnTo>
                  <a:pt x="2099" y="797"/>
                </a:lnTo>
                <a:lnTo>
                  <a:pt x="2099" y="797"/>
                </a:lnTo>
                <a:lnTo>
                  <a:pt x="2200" y="744"/>
                </a:lnTo>
                <a:lnTo>
                  <a:pt x="2306" y="693"/>
                </a:lnTo>
                <a:lnTo>
                  <a:pt x="2410" y="642"/>
                </a:lnTo>
                <a:lnTo>
                  <a:pt x="2513" y="592"/>
                </a:lnTo>
                <a:lnTo>
                  <a:pt x="2705" y="501"/>
                </a:lnTo>
                <a:lnTo>
                  <a:pt x="2788" y="461"/>
                </a:lnTo>
                <a:lnTo>
                  <a:pt x="2863" y="424"/>
                </a:lnTo>
                <a:lnTo>
                  <a:pt x="2863" y="424"/>
                </a:lnTo>
                <a:lnTo>
                  <a:pt x="2859" y="408"/>
                </a:lnTo>
                <a:lnTo>
                  <a:pt x="2853" y="389"/>
                </a:lnTo>
                <a:lnTo>
                  <a:pt x="2843" y="366"/>
                </a:lnTo>
                <a:lnTo>
                  <a:pt x="2836" y="354"/>
                </a:lnTo>
                <a:lnTo>
                  <a:pt x="2829" y="339"/>
                </a:lnTo>
                <a:lnTo>
                  <a:pt x="2821" y="325"/>
                </a:lnTo>
                <a:lnTo>
                  <a:pt x="2812" y="311"/>
                </a:lnTo>
                <a:lnTo>
                  <a:pt x="2801" y="296"/>
                </a:lnTo>
                <a:lnTo>
                  <a:pt x="2788" y="281"/>
                </a:lnTo>
                <a:lnTo>
                  <a:pt x="2774" y="267"/>
                </a:lnTo>
                <a:lnTo>
                  <a:pt x="2759" y="25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5" name="Freeform 32"/>
          <p:cNvSpPr>
            <a:spLocks/>
          </p:cNvSpPr>
          <p:nvPr userDrawn="1"/>
        </p:nvSpPr>
        <p:spPr bwMode="auto">
          <a:xfrm>
            <a:off x="7194550" y="1861840"/>
            <a:ext cx="161925" cy="153988"/>
          </a:xfrm>
          <a:custGeom>
            <a:avLst/>
            <a:gdLst>
              <a:gd name="T0" fmla="*/ 2 w 1226"/>
              <a:gd name="T1" fmla="*/ 386 h 1168"/>
              <a:gd name="T2" fmla="*/ 22 w 1226"/>
              <a:gd name="T3" fmla="*/ 434 h 1168"/>
              <a:gd name="T4" fmla="*/ 61 w 1226"/>
              <a:gd name="T5" fmla="*/ 466 h 1168"/>
              <a:gd name="T6" fmla="*/ 120 w 1226"/>
              <a:gd name="T7" fmla="*/ 479 h 1168"/>
              <a:gd name="T8" fmla="*/ 142 w 1226"/>
              <a:gd name="T9" fmla="*/ 469 h 1168"/>
              <a:gd name="T10" fmla="*/ 160 w 1226"/>
              <a:gd name="T11" fmla="*/ 436 h 1168"/>
              <a:gd name="T12" fmla="*/ 164 w 1226"/>
              <a:gd name="T13" fmla="*/ 370 h 1168"/>
              <a:gd name="T14" fmla="*/ 174 w 1226"/>
              <a:gd name="T15" fmla="*/ 344 h 1168"/>
              <a:gd name="T16" fmla="*/ 198 w 1226"/>
              <a:gd name="T17" fmla="*/ 331 h 1168"/>
              <a:gd name="T18" fmla="*/ 223 w 1226"/>
              <a:gd name="T19" fmla="*/ 318 h 1168"/>
              <a:gd name="T20" fmla="*/ 427 w 1226"/>
              <a:gd name="T21" fmla="*/ 416 h 1168"/>
              <a:gd name="T22" fmla="*/ 628 w 1226"/>
              <a:gd name="T23" fmla="*/ 534 h 1168"/>
              <a:gd name="T24" fmla="*/ 876 w 1226"/>
              <a:gd name="T25" fmla="*/ 703 h 1168"/>
              <a:gd name="T26" fmla="*/ 868 w 1226"/>
              <a:gd name="T27" fmla="*/ 783 h 1168"/>
              <a:gd name="T28" fmla="*/ 779 w 1226"/>
              <a:gd name="T29" fmla="*/ 957 h 1168"/>
              <a:gd name="T30" fmla="*/ 753 w 1226"/>
              <a:gd name="T31" fmla="*/ 1040 h 1168"/>
              <a:gd name="T32" fmla="*/ 754 w 1226"/>
              <a:gd name="T33" fmla="*/ 1090 h 1168"/>
              <a:gd name="T34" fmla="*/ 771 w 1226"/>
              <a:gd name="T35" fmla="*/ 1130 h 1168"/>
              <a:gd name="T36" fmla="*/ 801 w 1226"/>
              <a:gd name="T37" fmla="*/ 1157 h 1168"/>
              <a:gd name="T38" fmla="*/ 842 w 1226"/>
              <a:gd name="T39" fmla="*/ 1168 h 1168"/>
              <a:gd name="T40" fmla="*/ 880 w 1226"/>
              <a:gd name="T41" fmla="*/ 1163 h 1168"/>
              <a:gd name="T42" fmla="*/ 919 w 1226"/>
              <a:gd name="T43" fmla="*/ 1140 h 1168"/>
              <a:gd name="T44" fmla="*/ 944 w 1226"/>
              <a:gd name="T45" fmla="*/ 1107 h 1168"/>
              <a:gd name="T46" fmla="*/ 952 w 1226"/>
              <a:gd name="T47" fmla="*/ 1060 h 1168"/>
              <a:gd name="T48" fmla="*/ 930 w 1226"/>
              <a:gd name="T49" fmla="*/ 1010 h 1168"/>
              <a:gd name="T50" fmla="*/ 885 w 1226"/>
              <a:gd name="T51" fmla="*/ 989 h 1168"/>
              <a:gd name="T52" fmla="*/ 919 w 1226"/>
              <a:gd name="T53" fmla="*/ 879 h 1168"/>
              <a:gd name="T54" fmla="*/ 954 w 1226"/>
              <a:gd name="T55" fmla="*/ 807 h 1168"/>
              <a:gd name="T56" fmla="*/ 1024 w 1226"/>
              <a:gd name="T57" fmla="*/ 715 h 1168"/>
              <a:gd name="T58" fmla="*/ 1095 w 1226"/>
              <a:gd name="T59" fmla="*/ 673 h 1168"/>
              <a:gd name="T60" fmla="*/ 1125 w 1226"/>
              <a:gd name="T61" fmla="*/ 670 h 1168"/>
              <a:gd name="T62" fmla="*/ 1099 w 1226"/>
              <a:gd name="T63" fmla="*/ 633 h 1168"/>
              <a:gd name="T64" fmla="*/ 1083 w 1226"/>
              <a:gd name="T65" fmla="*/ 543 h 1168"/>
              <a:gd name="T66" fmla="*/ 1096 w 1226"/>
              <a:gd name="T67" fmla="*/ 477 h 1168"/>
              <a:gd name="T68" fmla="*/ 1132 w 1226"/>
              <a:gd name="T69" fmla="*/ 395 h 1168"/>
              <a:gd name="T70" fmla="*/ 1195 w 1226"/>
              <a:gd name="T71" fmla="*/ 258 h 1168"/>
              <a:gd name="T72" fmla="*/ 1225 w 1226"/>
              <a:gd name="T73" fmla="*/ 141 h 1168"/>
              <a:gd name="T74" fmla="*/ 1217 w 1226"/>
              <a:gd name="T75" fmla="*/ 95 h 1168"/>
              <a:gd name="T76" fmla="*/ 1187 w 1226"/>
              <a:gd name="T77" fmla="*/ 55 h 1168"/>
              <a:gd name="T78" fmla="*/ 1144 w 1226"/>
              <a:gd name="T79" fmla="*/ 34 h 1168"/>
              <a:gd name="T80" fmla="*/ 1104 w 1226"/>
              <a:gd name="T81" fmla="*/ 35 h 1168"/>
              <a:gd name="T82" fmla="*/ 1061 w 1226"/>
              <a:gd name="T83" fmla="*/ 57 h 1168"/>
              <a:gd name="T84" fmla="*/ 1033 w 1226"/>
              <a:gd name="T85" fmla="*/ 94 h 1168"/>
              <a:gd name="T86" fmla="*/ 1025 w 1226"/>
              <a:gd name="T87" fmla="*/ 139 h 1168"/>
              <a:gd name="T88" fmla="*/ 1048 w 1226"/>
              <a:gd name="T89" fmla="*/ 205 h 1168"/>
              <a:gd name="T90" fmla="*/ 1095 w 1226"/>
              <a:gd name="T91" fmla="*/ 230 h 1168"/>
              <a:gd name="T92" fmla="*/ 1107 w 1226"/>
              <a:gd name="T93" fmla="*/ 240 h 1168"/>
              <a:gd name="T94" fmla="*/ 1044 w 1226"/>
              <a:gd name="T95" fmla="*/ 390 h 1168"/>
              <a:gd name="T96" fmla="*/ 975 w 1226"/>
              <a:gd name="T97" fmla="*/ 431 h 1168"/>
              <a:gd name="T98" fmla="*/ 717 w 1226"/>
              <a:gd name="T99" fmla="*/ 289 h 1168"/>
              <a:gd name="T100" fmla="*/ 529 w 1226"/>
              <a:gd name="T101" fmla="*/ 205 h 1168"/>
              <a:gd name="T102" fmla="*/ 317 w 1226"/>
              <a:gd name="T103" fmla="*/ 140 h 1168"/>
              <a:gd name="T104" fmla="*/ 378 w 1226"/>
              <a:gd name="T105" fmla="*/ 31 h 1168"/>
              <a:gd name="T106" fmla="*/ 389 w 1226"/>
              <a:gd name="T107" fmla="*/ 0 h 1168"/>
              <a:gd name="T108" fmla="*/ 367 w 1226"/>
              <a:gd name="T109" fmla="*/ 10 h 1168"/>
              <a:gd name="T110" fmla="*/ 285 w 1226"/>
              <a:gd name="T111" fmla="*/ 57 h 1168"/>
              <a:gd name="T112" fmla="*/ 211 w 1226"/>
              <a:gd name="T113" fmla="*/ 85 h 1168"/>
              <a:gd name="T114" fmla="*/ 147 w 1226"/>
              <a:gd name="T115" fmla="*/ 85 h 1168"/>
              <a:gd name="T116" fmla="*/ 114 w 1226"/>
              <a:gd name="T117" fmla="*/ 85 h 1168"/>
              <a:gd name="T118" fmla="*/ 87 w 1226"/>
              <a:gd name="T119" fmla="*/ 134 h 1168"/>
              <a:gd name="T120" fmla="*/ 42 w 1226"/>
              <a:gd name="T121" fmla="*/ 261 h 1168"/>
              <a:gd name="T122" fmla="*/ 6 w 1226"/>
              <a:gd name="T123" fmla="*/ 327 h 1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6" h="1168">
                <a:moveTo>
                  <a:pt x="1" y="345"/>
                </a:moveTo>
                <a:lnTo>
                  <a:pt x="1" y="345"/>
                </a:lnTo>
                <a:lnTo>
                  <a:pt x="0" y="359"/>
                </a:lnTo>
                <a:lnTo>
                  <a:pt x="0" y="370"/>
                </a:lnTo>
                <a:lnTo>
                  <a:pt x="2" y="386"/>
                </a:lnTo>
                <a:lnTo>
                  <a:pt x="5" y="401"/>
                </a:lnTo>
                <a:lnTo>
                  <a:pt x="8" y="409"/>
                </a:lnTo>
                <a:lnTo>
                  <a:pt x="11" y="417"/>
                </a:lnTo>
                <a:lnTo>
                  <a:pt x="16" y="425"/>
                </a:lnTo>
                <a:lnTo>
                  <a:pt x="22" y="434"/>
                </a:lnTo>
                <a:lnTo>
                  <a:pt x="28" y="442"/>
                </a:lnTo>
                <a:lnTo>
                  <a:pt x="36" y="449"/>
                </a:lnTo>
                <a:lnTo>
                  <a:pt x="36" y="449"/>
                </a:lnTo>
                <a:lnTo>
                  <a:pt x="48" y="458"/>
                </a:lnTo>
                <a:lnTo>
                  <a:pt x="61" y="466"/>
                </a:lnTo>
                <a:lnTo>
                  <a:pt x="76" y="473"/>
                </a:lnTo>
                <a:lnTo>
                  <a:pt x="91" y="478"/>
                </a:lnTo>
                <a:lnTo>
                  <a:pt x="105" y="480"/>
                </a:lnTo>
                <a:lnTo>
                  <a:pt x="113" y="480"/>
                </a:lnTo>
                <a:lnTo>
                  <a:pt x="120" y="479"/>
                </a:lnTo>
                <a:lnTo>
                  <a:pt x="126" y="478"/>
                </a:lnTo>
                <a:lnTo>
                  <a:pt x="132" y="476"/>
                </a:lnTo>
                <a:lnTo>
                  <a:pt x="137" y="473"/>
                </a:lnTo>
                <a:lnTo>
                  <a:pt x="142" y="469"/>
                </a:lnTo>
                <a:lnTo>
                  <a:pt x="142" y="469"/>
                </a:lnTo>
                <a:lnTo>
                  <a:pt x="147" y="464"/>
                </a:lnTo>
                <a:lnTo>
                  <a:pt x="152" y="457"/>
                </a:lnTo>
                <a:lnTo>
                  <a:pt x="155" y="451"/>
                </a:lnTo>
                <a:lnTo>
                  <a:pt x="158" y="444"/>
                </a:lnTo>
                <a:lnTo>
                  <a:pt x="160" y="436"/>
                </a:lnTo>
                <a:lnTo>
                  <a:pt x="161" y="428"/>
                </a:lnTo>
                <a:lnTo>
                  <a:pt x="162" y="411"/>
                </a:lnTo>
                <a:lnTo>
                  <a:pt x="162" y="395"/>
                </a:lnTo>
                <a:lnTo>
                  <a:pt x="163" y="378"/>
                </a:lnTo>
                <a:lnTo>
                  <a:pt x="164" y="370"/>
                </a:lnTo>
                <a:lnTo>
                  <a:pt x="166" y="362"/>
                </a:lnTo>
                <a:lnTo>
                  <a:pt x="168" y="355"/>
                </a:lnTo>
                <a:lnTo>
                  <a:pt x="172" y="347"/>
                </a:lnTo>
                <a:lnTo>
                  <a:pt x="172" y="347"/>
                </a:lnTo>
                <a:lnTo>
                  <a:pt x="174" y="344"/>
                </a:lnTo>
                <a:lnTo>
                  <a:pt x="178" y="341"/>
                </a:lnTo>
                <a:lnTo>
                  <a:pt x="187" y="335"/>
                </a:lnTo>
                <a:lnTo>
                  <a:pt x="195" y="332"/>
                </a:lnTo>
                <a:lnTo>
                  <a:pt x="198" y="331"/>
                </a:lnTo>
                <a:lnTo>
                  <a:pt x="198" y="331"/>
                </a:lnTo>
                <a:lnTo>
                  <a:pt x="205" y="329"/>
                </a:lnTo>
                <a:lnTo>
                  <a:pt x="211" y="326"/>
                </a:lnTo>
                <a:lnTo>
                  <a:pt x="217" y="323"/>
                </a:lnTo>
                <a:lnTo>
                  <a:pt x="223" y="318"/>
                </a:lnTo>
                <a:lnTo>
                  <a:pt x="223" y="318"/>
                </a:lnTo>
                <a:lnTo>
                  <a:pt x="264" y="337"/>
                </a:lnTo>
                <a:lnTo>
                  <a:pt x="305" y="355"/>
                </a:lnTo>
                <a:lnTo>
                  <a:pt x="347" y="374"/>
                </a:lnTo>
                <a:lnTo>
                  <a:pt x="388" y="395"/>
                </a:lnTo>
                <a:lnTo>
                  <a:pt x="427" y="416"/>
                </a:lnTo>
                <a:lnTo>
                  <a:pt x="468" y="439"/>
                </a:lnTo>
                <a:lnTo>
                  <a:pt x="509" y="461"/>
                </a:lnTo>
                <a:lnTo>
                  <a:pt x="549" y="485"/>
                </a:lnTo>
                <a:lnTo>
                  <a:pt x="589" y="509"/>
                </a:lnTo>
                <a:lnTo>
                  <a:pt x="628" y="534"/>
                </a:lnTo>
                <a:lnTo>
                  <a:pt x="706" y="584"/>
                </a:lnTo>
                <a:lnTo>
                  <a:pt x="782" y="636"/>
                </a:lnTo>
                <a:lnTo>
                  <a:pt x="857" y="689"/>
                </a:lnTo>
                <a:lnTo>
                  <a:pt x="857" y="689"/>
                </a:lnTo>
                <a:lnTo>
                  <a:pt x="876" y="703"/>
                </a:lnTo>
                <a:lnTo>
                  <a:pt x="894" y="714"/>
                </a:lnTo>
                <a:lnTo>
                  <a:pt x="894" y="714"/>
                </a:lnTo>
                <a:lnTo>
                  <a:pt x="887" y="736"/>
                </a:lnTo>
                <a:lnTo>
                  <a:pt x="878" y="759"/>
                </a:lnTo>
                <a:lnTo>
                  <a:pt x="868" y="783"/>
                </a:lnTo>
                <a:lnTo>
                  <a:pt x="856" y="809"/>
                </a:lnTo>
                <a:lnTo>
                  <a:pt x="856" y="809"/>
                </a:lnTo>
                <a:lnTo>
                  <a:pt x="816" y="885"/>
                </a:lnTo>
                <a:lnTo>
                  <a:pt x="797" y="921"/>
                </a:lnTo>
                <a:lnTo>
                  <a:pt x="779" y="957"/>
                </a:lnTo>
                <a:lnTo>
                  <a:pt x="772" y="975"/>
                </a:lnTo>
                <a:lnTo>
                  <a:pt x="766" y="992"/>
                </a:lnTo>
                <a:lnTo>
                  <a:pt x="760" y="1008"/>
                </a:lnTo>
                <a:lnTo>
                  <a:pt x="756" y="1025"/>
                </a:lnTo>
                <a:lnTo>
                  <a:pt x="753" y="1040"/>
                </a:lnTo>
                <a:lnTo>
                  <a:pt x="751" y="1054"/>
                </a:lnTo>
                <a:lnTo>
                  <a:pt x="751" y="1069"/>
                </a:lnTo>
                <a:lnTo>
                  <a:pt x="752" y="1081"/>
                </a:lnTo>
                <a:lnTo>
                  <a:pt x="752" y="1081"/>
                </a:lnTo>
                <a:lnTo>
                  <a:pt x="754" y="1090"/>
                </a:lnTo>
                <a:lnTo>
                  <a:pt x="756" y="1099"/>
                </a:lnTo>
                <a:lnTo>
                  <a:pt x="759" y="1107"/>
                </a:lnTo>
                <a:lnTo>
                  <a:pt x="762" y="1116"/>
                </a:lnTo>
                <a:lnTo>
                  <a:pt x="766" y="1123"/>
                </a:lnTo>
                <a:lnTo>
                  <a:pt x="771" y="1130"/>
                </a:lnTo>
                <a:lnTo>
                  <a:pt x="776" y="1136"/>
                </a:lnTo>
                <a:lnTo>
                  <a:pt x="781" y="1142"/>
                </a:lnTo>
                <a:lnTo>
                  <a:pt x="787" y="1147"/>
                </a:lnTo>
                <a:lnTo>
                  <a:pt x="794" y="1152"/>
                </a:lnTo>
                <a:lnTo>
                  <a:pt x="801" y="1157"/>
                </a:lnTo>
                <a:lnTo>
                  <a:pt x="808" y="1160"/>
                </a:lnTo>
                <a:lnTo>
                  <a:pt x="816" y="1163"/>
                </a:lnTo>
                <a:lnTo>
                  <a:pt x="824" y="1165"/>
                </a:lnTo>
                <a:lnTo>
                  <a:pt x="833" y="1167"/>
                </a:lnTo>
                <a:lnTo>
                  <a:pt x="842" y="1168"/>
                </a:lnTo>
                <a:lnTo>
                  <a:pt x="842" y="1168"/>
                </a:lnTo>
                <a:lnTo>
                  <a:pt x="852" y="1168"/>
                </a:lnTo>
                <a:lnTo>
                  <a:pt x="862" y="1167"/>
                </a:lnTo>
                <a:lnTo>
                  <a:pt x="871" y="1165"/>
                </a:lnTo>
                <a:lnTo>
                  <a:pt x="880" y="1163"/>
                </a:lnTo>
                <a:lnTo>
                  <a:pt x="889" y="1160"/>
                </a:lnTo>
                <a:lnTo>
                  <a:pt x="897" y="1155"/>
                </a:lnTo>
                <a:lnTo>
                  <a:pt x="905" y="1151"/>
                </a:lnTo>
                <a:lnTo>
                  <a:pt x="912" y="1146"/>
                </a:lnTo>
                <a:lnTo>
                  <a:pt x="919" y="1140"/>
                </a:lnTo>
                <a:lnTo>
                  <a:pt x="925" y="1135"/>
                </a:lnTo>
                <a:lnTo>
                  <a:pt x="931" y="1129"/>
                </a:lnTo>
                <a:lnTo>
                  <a:pt x="936" y="1122"/>
                </a:lnTo>
                <a:lnTo>
                  <a:pt x="940" y="1115"/>
                </a:lnTo>
                <a:lnTo>
                  <a:pt x="944" y="1107"/>
                </a:lnTo>
                <a:lnTo>
                  <a:pt x="947" y="1100"/>
                </a:lnTo>
                <a:lnTo>
                  <a:pt x="949" y="1092"/>
                </a:lnTo>
                <a:lnTo>
                  <a:pt x="949" y="1092"/>
                </a:lnTo>
                <a:lnTo>
                  <a:pt x="951" y="1076"/>
                </a:lnTo>
                <a:lnTo>
                  <a:pt x="952" y="1060"/>
                </a:lnTo>
                <a:lnTo>
                  <a:pt x="950" y="1048"/>
                </a:lnTo>
                <a:lnTo>
                  <a:pt x="947" y="1036"/>
                </a:lnTo>
                <a:lnTo>
                  <a:pt x="942" y="1027"/>
                </a:lnTo>
                <a:lnTo>
                  <a:pt x="937" y="1017"/>
                </a:lnTo>
                <a:lnTo>
                  <a:pt x="930" y="1010"/>
                </a:lnTo>
                <a:lnTo>
                  <a:pt x="922" y="1005"/>
                </a:lnTo>
                <a:lnTo>
                  <a:pt x="915" y="1000"/>
                </a:lnTo>
                <a:lnTo>
                  <a:pt x="908" y="996"/>
                </a:lnTo>
                <a:lnTo>
                  <a:pt x="894" y="991"/>
                </a:lnTo>
                <a:lnTo>
                  <a:pt x="885" y="989"/>
                </a:lnTo>
                <a:lnTo>
                  <a:pt x="880" y="989"/>
                </a:lnTo>
                <a:lnTo>
                  <a:pt x="880" y="989"/>
                </a:lnTo>
                <a:lnTo>
                  <a:pt x="896" y="944"/>
                </a:lnTo>
                <a:lnTo>
                  <a:pt x="908" y="908"/>
                </a:lnTo>
                <a:lnTo>
                  <a:pt x="919" y="879"/>
                </a:lnTo>
                <a:lnTo>
                  <a:pt x="919" y="879"/>
                </a:lnTo>
                <a:lnTo>
                  <a:pt x="927" y="859"/>
                </a:lnTo>
                <a:lnTo>
                  <a:pt x="937" y="841"/>
                </a:lnTo>
                <a:lnTo>
                  <a:pt x="945" y="823"/>
                </a:lnTo>
                <a:lnTo>
                  <a:pt x="954" y="807"/>
                </a:lnTo>
                <a:lnTo>
                  <a:pt x="962" y="792"/>
                </a:lnTo>
                <a:lnTo>
                  <a:pt x="971" y="777"/>
                </a:lnTo>
                <a:lnTo>
                  <a:pt x="989" y="753"/>
                </a:lnTo>
                <a:lnTo>
                  <a:pt x="1006" y="732"/>
                </a:lnTo>
                <a:lnTo>
                  <a:pt x="1024" y="715"/>
                </a:lnTo>
                <a:lnTo>
                  <a:pt x="1040" y="702"/>
                </a:lnTo>
                <a:lnTo>
                  <a:pt x="1055" y="690"/>
                </a:lnTo>
                <a:lnTo>
                  <a:pt x="1070" y="683"/>
                </a:lnTo>
                <a:lnTo>
                  <a:pt x="1083" y="677"/>
                </a:lnTo>
                <a:lnTo>
                  <a:pt x="1095" y="673"/>
                </a:lnTo>
                <a:lnTo>
                  <a:pt x="1105" y="671"/>
                </a:lnTo>
                <a:lnTo>
                  <a:pt x="1114" y="670"/>
                </a:lnTo>
                <a:lnTo>
                  <a:pt x="1120" y="670"/>
                </a:lnTo>
                <a:lnTo>
                  <a:pt x="1125" y="670"/>
                </a:lnTo>
                <a:lnTo>
                  <a:pt x="1125" y="670"/>
                </a:lnTo>
                <a:lnTo>
                  <a:pt x="1121" y="666"/>
                </a:lnTo>
                <a:lnTo>
                  <a:pt x="1116" y="661"/>
                </a:lnTo>
                <a:lnTo>
                  <a:pt x="1111" y="653"/>
                </a:lnTo>
                <a:lnTo>
                  <a:pt x="1104" y="644"/>
                </a:lnTo>
                <a:lnTo>
                  <a:pt x="1099" y="633"/>
                </a:lnTo>
                <a:lnTo>
                  <a:pt x="1093" y="620"/>
                </a:lnTo>
                <a:lnTo>
                  <a:pt x="1088" y="603"/>
                </a:lnTo>
                <a:lnTo>
                  <a:pt x="1085" y="586"/>
                </a:lnTo>
                <a:lnTo>
                  <a:pt x="1083" y="566"/>
                </a:lnTo>
                <a:lnTo>
                  <a:pt x="1083" y="543"/>
                </a:lnTo>
                <a:lnTo>
                  <a:pt x="1084" y="531"/>
                </a:lnTo>
                <a:lnTo>
                  <a:pt x="1086" y="519"/>
                </a:lnTo>
                <a:lnTo>
                  <a:pt x="1088" y="505"/>
                </a:lnTo>
                <a:lnTo>
                  <a:pt x="1092" y="491"/>
                </a:lnTo>
                <a:lnTo>
                  <a:pt x="1096" y="477"/>
                </a:lnTo>
                <a:lnTo>
                  <a:pt x="1101" y="461"/>
                </a:lnTo>
                <a:lnTo>
                  <a:pt x="1107" y="446"/>
                </a:lnTo>
                <a:lnTo>
                  <a:pt x="1115" y="430"/>
                </a:lnTo>
                <a:lnTo>
                  <a:pt x="1123" y="412"/>
                </a:lnTo>
                <a:lnTo>
                  <a:pt x="1132" y="395"/>
                </a:lnTo>
                <a:lnTo>
                  <a:pt x="1132" y="395"/>
                </a:lnTo>
                <a:lnTo>
                  <a:pt x="1152" y="358"/>
                </a:lnTo>
                <a:lnTo>
                  <a:pt x="1169" y="322"/>
                </a:lnTo>
                <a:lnTo>
                  <a:pt x="1184" y="289"/>
                </a:lnTo>
                <a:lnTo>
                  <a:pt x="1195" y="258"/>
                </a:lnTo>
                <a:lnTo>
                  <a:pt x="1206" y="227"/>
                </a:lnTo>
                <a:lnTo>
                  <a:pt x="1214" y="197"/>
                </a:lnTo>
                <a:lnTo>
                  <a:pt x="1220" y="169"/>
                </a:lnTo>
                <a:lnTo>
                  <a:pt x="1225" y="141"/>
                </a:lnTo>
                <a:lnTo>
                  <a:pt x="1225" y="141"/>
                </a:lnTo>
                <a:lnTo>
                  <a:pt x="1226" y="132"/>
                </a:lnTo>
                <a:lnTo>
                  <a:pt x="1225" y="123"/>
                </a:lnTo>
                <a:lnTo>
                  <a:pt x="1224" y="114"/>
                </a:lnTo>
                <a:lnTo>
                  <a:pt x="1221" y="104"/>
                </a:lnTo>
                <a:lnTo>
                  <a:pt x="1217" y="95"/>
                </a:lnTo>
                <a:lnTo>
                  <a:pt x="1213" y="87"/>
                </a:lnTo>
                <a:lnTo>
                  <a:pt x="1208" y="78"/>
                </a:lnTo>
                <a:lnTo>
                  <a:pt x="1202" y="70"/>
                </a:lnTo>
                <a:lnTo>
                  <a:pt x="1194" y="63"/>
                </a:lnTo>
                <a:lnTo>
                  <a:pt x="1187" y="55"/>
                </a:lnTo>
                <a:lnTo>
                  <a:pt x="1179" y="49"/>
                </a:lnTo>
                <a:lnTo>
                  <a:pt x="1171" y="44"/>
                </a:lnTo>
                <a:lnTo>
                  <a:pt x="1163" y="39"/>
                </a:lnTo>
                <a:lnTo>
                  <a:pt x="1153" y="36"/>
                </a:lnTo>
                <a:lnTo>
                  <a:pt x="1144" y="34"/>
                </a:lnTo>
                <a:lnTo>
                  <a:pt x="1134" y="32"/>
                </a:lnTo>
                <a:lnTo>
                  <a:pt x="1134" y="32"/>
                </a:lnTo>
                <a:lnTo>
                  <a:pt x="1124" y="32"/>
                </a:lnTo>
                <a:lnTo>
                  <a:pt x="1115" y="33"/>
                </a:lnTo>
                <a:lnTo>
                  <a:pt x="1104" y="35"/>
                </a:lnTo>
                <a:lnTo>
                  <a:pt x="1095" y="38"/>
                </a:lnTo>
                <a:lnTo>
                  <a:pt x="1086" y="42"/>
                </a:lnTo>
                <a:lnTo>
                  <a:pt x="1078" y="46"/>
                </a:lnTo>
                <a:lnTo>
                  <a:pt x="1070" y="52"/>
                </a:lnTo>
                <a:lnTo>
                  <a:pt x="1061" y="57"/>
                </a:lnTo>
                <a:lnTo>
                  <a:pt x="1054" y="65"/>
                </a:lnTo>
                <a:lnTo>
                  <a:pt x="1048" y="71"/>
                </a:lnTo>
                <a:lnTo>
                  <a:pt x="1042" y="78"/>
                </a:lnTo>
                <a:lnTo>
                  <a:pt x="1037" y="86"/>
                </a:lnTo>
                <a:lnTo>
                  <a:pt x="1033" y="94"/>
                </a:lnTo>
                <a:lnTo>
                  <a:pt x="1029" y="102"/>
                </a:lnTo>
                <a:lnTo>
                  <a:pt x="1027" y="111"/>
                </a:lnTo>
                <a:lnTo>
                  <a:pt x="1026" y="119"/>
                </a:lnTo>
                <a:lnTo>
                  <a:pt x="1026" y="119"/>
                </a:lnTo>
                <a:lnTo>
                  <a:pt x="1025" y="139"/>
                </a:lnTo>
                <a:lnTo>
                  <a:pt x="1026" y="158"/>
                </a:lnTo>
                <a:lnTo>
                  <a:pt x="1030" y="173"/>
                </a:lnTo>
                <a:lnTo>
                  <a:pt x="1035" y="185"/>
                </a:lnTo>
                <a:lnTo>
                  <a:pt x="1041" y="195"/>
                </a:lnTo>
                <a:lnTo>
                  <a:pt x="1048" y="205"/>
                </a:lnTo>
                <a:lnTo>
                  <a:pt x="1056" y="212"/>
                </a:lnTo>
                <a:lnTo>
                  <a:pt x="1065" y="217"/>
                </a:lnTo>
                <a:lnTo>
                  <a:pt x="1073" y="221"/>
                </a:lnTo>
                <a:lnTo>
                  <a:pt x="1081" y="225"/>
                </a:lnTo>
                <a:lnTo>
                  <a:pt x="1095" y="230"/>
                </a:lnTo>
                <a:lnTo>
                  <a:pt x="1101" y="232"/>
                </a:lnTo>
                <a:lnTo>
                  <a:pt x="1104" y="234"/>
                </a:lnTo>
                <a:lnTo>
                  <a:pt x="1107" y="237"/>
                </a:lnTo>
                <a:lnTo>
                  <a:pt x="1107" y="240"/>
                </a:lnTo>
                <a:lnTo>
                  <a:pt x="1107" y="240"/>
                </a:lnTo>
                <a:lnTo>
                  <a:pt x="1096" y="276"/>
                </a:lnTo>
                <a:lnTo>
                  <a:pt x="1084" y="309"/>
                </a:lnTo>
                <a:lnTo>
                  <a:pt x="1071" y="339"/>
                </a:lnTo>
                <a:lnTo>
                  <a:pt x="1057" y="365"/>
                </a:lnTo>
                <a:lnTo>
                  <a:pt x="1044" y="390"/>
                </a:lnTo>
                <a:lnTo>
                  <a:pt x="1031" y="411"/>
                </a:lnTo>
                <a:lnTo>
                  <a:pt x="1016" y="431"/>
                </a:lnTo>
                <a:lnTo>
                  <a:pt x="1002" y="447"/>
                </a:lnTo>
                <a:lnTo>
                  <a:pt x="1002" y="447"/>
                </a:lnTo>
                <a:lnTo>
                  <a:pt x="975" y="431"/>
                </a:lnTo>
                <a:lnTo>
                  <a:pt x="942" y="411"/>
                </a:lnTo>
                <a:lnTo>
                  <a:pt x="942" y="411"/>
                </a:lnTo>
                <a:lnTo>
                  <a:pt x="865" y="369"/>
                </a:lnTo>
                <a:lnTo>
                  <a:pt x="790" y="328"/>
                </a:lnTo>
                <a:lnTo>
                  <a:pt x="717" y="289"/>
                </a:lnTo>
                <a:lnTo>
                  <a:pt x="680" y="271"/>
                </a:lnTo>
                <a:lnTo>
                  <a:pt x="643" y="254"/>
                </a:lnTo>
                <a:lnTo>
                  <a:pt x="606" y="236"/>
                </a:lnTo>
                <a:lnTo>
                  <a:pt x="568" y="221"/>
                </a:lnTo>
                <a:lnTo>
                  <a:pt x="529" y="205"/>
                </a:lnTo>
                <a:lnTo>
                  <a:pt x="489" y="190"/>
                </a:lnTo>
                <a:lnTo>
                  <a:pt x="448" y="176"/>
                </a:lnTo>
                <a:lnTo>
                  <a:pt x="406" y="164"/>
                </a:lnTo>
                <a:lnTo>
                  <a:pt x="362" y="151"/>
                </a:lnTo>
                <a:lnTo>
                  <a:pt x="317" y="140"/>
                </a:lnTo>
                <a:lnTo>
                  <a:pt x="317" y="140"/>
                </a:lnTo>
                <a:lnTo>
                  <a:pt x="334" y="107"/>
                </a:lnTo>
                <a:lnTo>
                  <a:pt x="334" y="107"/>
                </a:lnTo>
                <a:lnTo>
                  <a:pt x="360" y="63"/>
                </a:lnTo>
                <a:lnTo>
                  <a:pt x="378" y="31"/>
                </a:lnTo>
                <a:lnTo>
                  <a:pt x="385" y="20"/>
                </a:lnTo>
                <a:lnTo>
                  <a:pt x="389" y="10"/>
                </a:lnTo>
                <a:lnTo>
                  <a:pt x="391" y="4"/>
                </a:lnTo>
                <a:lnTo>
                  <a:pt x="390" y="2"/>
                </a:lnTo>
                <a:lnTo>
                  <a:pt x="389" y="0"/>
                </a:lnTo>
                <a:lnTo>
                  <a:pt x="389" y="0"/>
                </a:lnTo>
                <a:lnTo>
                  <a:pt x="388" y="0"/>
                </a:lnTo>
                <a:lnTo>
                  <a:pt x="387" y="0"/>
                </a:lnTo>
                <a:lnTo>
                  <a:pt x="381" y="1"/>
                </a:lnTo>
                <a:lnTo>
                  <a:pt x="367" y="10"/>
                </a:lnTo>
                <a:lnTo>
                  <a:pt x="343" y="26"/>
                </a:lnTo>
                <a:lnTo>
                  <a:pt x="326" y="35"/>
                </a:lnTo>
                <a:lnTo>
                  <a:pt x="307" y="46"/>
                </a:lnTo>
                <a:lnTo>
                  <a:pt x="307" y="46"/>
                </a:lnTo>
                <a:lnTo>
                  <a:pt x="285" y="57"/>
                </a:lnTo>
                <a:lnTo>
                  <a:pt x="267" y="67"/>
                </a:lnTo>
                <a:lnTo>
                  <a:pt x="252" y="73"/>
                </a:lnTo>
                <a:lnTo>
                  <a:pt x="237" y="78"/>
                </a:lnTo>
                <a:lnTo>
                  <a:pt x="224" y="82"/>
                </a:lnTo>
                <a:lnTo>
                  <a:pt x="211" y="85"/>
                </a:lnTo>
                <a:lnTo>
                  <a:pt x="183" y="89"/>
                </a:lnTo>
                <a:lnTo>
                  <a:pt x="183" y="89"/>
                </a:lnTo>
                <a:lnTo>
                  <a:pt x="174" y="89"/>
                </a:lnTo>
                <a:lnTo>
                  <a:pt x="165" y="88"/>
                </a:lnTo>
                <a:lnTo>
                  <a:pt x="147" y="85"/>
                </a:lnTo>
                <a:lnTo>
                  <a:pt x="132" y="81"/>
                </a:lnTo>
                <a:lnTo>
                  <a:pt x="125" y="81"/>
                </a:lnTo>
                <a:lnTo>
                  <a:pt x="120" y="82"/>
                </a:lnTo>
                <a:lnTo>
                  <a:pt x="120" y="82"/>
                </a:lnTo>
                <a:lnTo>
                  <a:pt x="114" y="85"/>
                </a:lnTo>
                <a:lnTo>
                  <a:pt x="107" y="91"/>
                </a:lnTo>
                <a:lnTo>
                  <a:pt x="102" y="98"/>
                </a:lnTo>
                <a:lnTo>
                  <a:pt x="97" y="107"/>
                </a:lnTo>
                <a:lnTo>
                  <a:pt x="92" y="120"/>
                </a:lnTo>
                <a:lnTo>
                  <a:pt x="87" y="134"/>
                </a:lnTo>
                <a:lnTo>
                  <a:pt x="74" y="171"/>
                </a:lnTo>
                <a:lnTo>
                  <a:pt x="74" y="171"/>
                </a:lnTo>
                <a:lnTo>
                  <a:pt x="49" y="242"/>
                </a:lnTo>
                <a:lnTo>
                  <a:pt x="42" y="261"/>
                </a:lnTo>
                <a:lnTo>
                  <a:pt x="42" y="261"/>
                </a:lnTo>
                <a:lnTo>
                  <a:pt x="34" y="279"/>
                </a:lnTo>
                <a:lnTo>
                  <a:pt x="27" y="293"/>
                </a:lnTo>
                <a:lnTo>
                  <a:pt x="14" y="312"/>
                </a:lnTo>
                <a:lnTo>
                  <a:pt x="10" y="320"/>
                </a:lnTo>
                <a:lnTo>
                  <a:pt x="6" y="327"/>
                </a:lnTo>
                <a:lnTo>
                  <a:pt x="3" y="335"/>
                </a:lnTo>
                <a:lnTo>
                  <a:pt x="1" y="34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6" name="Freeform 33"/>
          <p:cNvSpPr>
            <a:spLocks/>
          </p:cNvSpPr>
          <p:nvPr userDrawn="1"/>
        </p:nvSpPr>
        <p:spPr bwMode="auto">
          <a:xfrm>
            <a:off x="7189787" y="1214140"/>
            <a:ext cx="39688" cy="46038"/>
          </a:xfrm>
          <a:custGeom>
            <a:avLst/>
            <a:gdLst>
              <a:gd name="T0" fmla="*/ 103 w 296"/>
              <a:gd name="T1" fmla="*/ 350 h 350"/>
              <a:gd name="T2" fmla="*/ 103 w 296"/>
              <a:gd name="T3" fmla="*/ 350 h 350"/>
              <a:gd name="T4" fmla="*/ 132 w 296"/>
              <a:gd name="T5" fmla="*/ 349 h 350"/>
              <a:gd name="T6" fmla="*/ 164 w 296"/>
              <a:gd name="T7" fmla="*/ 346 h 350"/>
              <a:gd name="T8" fmla="*/ 196 w 296"/>
              <a:gd name="T9" fmla="*/ 343 h 350"/>
              <a:gd name="T10" fmla="*/ 226 w 296"/>
              <a:gd name="T11" fmla="*/ 339 h 350"/>
              <a:gd name="T12" fmla="*/ 276 w 296"/>
              <a:gd name="T13" fmla="*/ 333 h 350"/>
              <a:gd name="T14" fmla="*/ 296 w 296"/>
              <a:gd name="T15" fmla="*/ 329 h 350"/>
              <a:gd name="T16" fmla="*/ 293 w 296"/>
              <a:gd name="T17" fmla="*/ 25 h 350"/>
              <a:gd name="T18" fmla="*/ 293 w 296"/>
              <a:gd name="T19" fmla="*/ 25 h 350"/>
              <a:gd name="T20" fmla="*/ 244 w 296"/>
              <a:gd name="T21" fmla="*/ 18 h 350"/>
              <a:gd name="T22" fmla="*/ 142 w 296"/>
              <a:gd name="T23" fmla="*/ 2 h 350"/>
              <a:gd name="T24" fmla="*/ 142 w 296"/>
              <a:gd name="T25" fmla="*/ 2 h 350"/>
              <a:gd name="T26" fmla="*/ 129 w 296"/>
              <a:gd name="T27" fmla="*/ 1 h 350"/>
              <a:gd name="T28" fmla="*/ 117 w 296"/>
              <a:gd name="T29" fmla="*/ 0 h 350"/>
              <a:gd name="T30" fmla="*/ 105 w 296"/>
              <a:gd name="T31" fmla="*/ 0 h 350"/>
              <a:gd name="T32" fmla="*/ 94 w 296"/>
              <a:gd name="T33" fmla="*/ 1 h 350"/>
              <a:gd name="T34" fmla="*/ 84 w 296"/>
              <a:gd name="T35" fmla="*/ 3 h 350"/>
              <a:gd name="T36" fmla="*/ 75 w 296"/>
              <a:gd name="T37" fmla="*/ 6 h 350"/>
              <a:gd name="T38" fmla="*/ 66 w 296"/>
              <a:gd name="T39" fmla="*/ 9 h 350"/>
              <a:gd name="T40" fmla="*/ 59 w 296"/>
              <a:gd name="T41" fmla="*/ 13 h 350"/>
              <a:gd name="T42" fmla="*/ 51 w 296"/>
              <a:gd name="T43" fmla="*/ 17 h 350"/>
              <a:gd name="T44" fmla="*/ 44 w 296"/>
              <a:gd name="T45" fmla="*/ 22 h 350"/>
              <a:gd name="T46" fmla="*/ 38 w 296"/>
              <a:gd name="T47" fmla="*/ 27 h 350"/>
              <a:gd name="T48" fmla="*/ 33 w 296"/>
              <a:gd name="T49" fmla="*/ 32 h 350"/>
              <a:gd name="T50" fmla="*/ 24 w 296"/>
              <a:gd name="T51" fmla="*/ 45 h 350"/>
              <a:gd name="T52" fmla="*/ 17 w 296"/>
              <a:gd name="T53" fmla="*/ 57 h 350"/>
              <a:gd name="T54" fmla="*/ 11 w 296"/>
              <a:gd name="T55" fmla="*/ 70 h 350"/>
              <a:gd name="T56" fmla="*/ 6 w 296"/>
              <a:gd name="T57" fmla="*/ 83 h 350"/>
              <a:gd name="T58" fmla="*/ 3 w 296"/>
              <a:gd name="T59" fmla="*/ 96 h 350"/>
              <a:gd name="T60" fmla="*/ 1 w 296"/>
              <a:gd name="T61" fmla="*/ 106 h 350"/>
              <a:gd name="T62" fmla="*/ 0 w 296"/>
              <a:gd name="T63" fmla="*/ 123 h 350"/>
              <a:gd name="T64" fmla="*/ 0 w 296"/>
              <a:gd name="T65" fmla="*/ 129 h 350"/>
              <a:gd name="T66" fmla="*/ 4 w 296"/>
              <a:gd name="T67" fmla="*/ 213 h 350"/>
              <a:gd name="T68" fmla="*/ 4 w 296"/>
              <a:gd name="T69" fmla="*/ 213 h 350"/>
              <a:gd name="T70" fmla="*/ 4 w 296"/>
              <a:gd name="T71" fmla="*/ 219 h 350"/>
              <a:gd name="T72" fmla="*/ 6 w 296"/>
              <a:gd name="T73" fmla="*/ 235 h 350"/>
              <a:gd name="T74" fmla="*/ 11 w 296"/>
              <a:gd name="T75" fmla="*/ 256 h 350"/>
              <a:gd name="T76" fmla="*/ 15 w 296"/>
              <a:gd name="T77" fmla="*/ 268 h 350"/>
              <a:gd name="T78" fmla="*/ 19 w 296"/>
              <a:gd name="T79" fmla="*/ 282 h 350"/>
              <a:gd name="T80" fmla="*/ 24 w 296"/>
              <a:gd name="T81" fmla="*/ 294 h 350"/>
              <a:gd name="T82" fmla="*/ 31 w 296"/>
              <a:gd name="T83" fmla="*/ 306 h 350"/>
              <a:gd name="T84" fmla="*/ 39 w 296"/>
              <a:gd name="T85" fmla="*/ 319 h 350"/>
              <a:gd name="T86" fmla="*/ 48 w 296"/>
              <a:gd name="T87" fmla="*/ 329 h 350"/>
              <a:gd name="T88" fmla="*/ 53 w 296"/>
              <a:gd name="T89" fmla="*/ 333 h 350"/>
              <a:gd name="T90" fmla="*/ 60 w 296"/>
              <a:gd name="T91" fmla="*/ 337 h 350"/>
              <a:gd name="T92" fmla="*/ 66 w 296"/>
              <a:gd name="T93" fmla="*/ 341 h 350"/>
              <a:gd name="T94" fmla="*/ 72 w 296"/>
              <a:gd name="T95" fmla="*/ 344 h 350"/>
              <a:gd name="T96" fmla="*/ 79 w 296"/>
              <a:gd name="T97" fmla="*/ 346 h 350"/>
              <a:gd name="T98" fmla="*/ 86 w 296"/>
              <a:gd name="T99" fmla="*/ 348 h 350"/>
              <a:gd name="T100" fmla="*/ 94 w 296"/>
              <a:gd name="T101" fmla="*/ 349 h 350"/>
              <a:gd name="T102" fmla="*/ 103 w 296"/>
              <a:gd name="T103" fmla="*/ 35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6" h="350">
                <a:moveTo>
                  <a:pt x="103" y="350"/>
                </a:moveTo>
                <a:lnTo>
                  <a:pt x="103" y="350"/>
                </a:lnTo>
                <a:lnTo>
                  <a:pt x="132" y="349"/>
                </a:lnTo>
                <a:lnTo>
                  <a:pt x="164" y="346"/>
                </a:lnTo>
                <a:lnTo>
                  <a:pt x="196" y="343"/>
                </a:lnTo>
                <a:lnTo>
                  <a:pt x="226" y="339"/>
                </a:lnTo>
                <a:lnTo>
                  <a:pt x="276" y="333"/>
                </a:lnTo>
                <a:lnTo>
                  <a:pt x="296" y="329"/>
                </a:lnTo>
                <a:lnTo>
                  <a:pt x="293" y="25"/>
                </a:lnTo>
                <a:lnTo>
                  <a:pt x="293" y="25"/>
                </a:lnTo>
                <a:lnTo>
                  <a:pt x="244" y="18"/>
                </a:lnTo>
                <a:lnTo>
                  <a:pt x="142" y="2"/>
                </a:lnTo>
                <a:lnTo>
                  <a:pt x="142" y="2"/>
                </a:lnTo>
                <a:lnTo>
                  <a:pt x="129" y="1"/>
                </a:lnTo>
                <a:lnTo>
                  <a:pt x="117" y="0"/>
                </a:lnTo>
                <a:lnTo>
                  <a:pt x="105" y="0"/>
                </a:lnTo>
                <a:lnTo>
                  <a:pt x="94" y="1"/>
                </a:lnTo>
                <a:lnTo>
                  <a:pt x="84" y="3"/>
                </a:lnTo>
                <a:lnTo>
                  <a:pt x="75" y="6"/>
                </a:lnTo>
                <a:lnTo>
                  <a:pt x="66" y="9"/>
                </a:lnTo>
                <a:lnTo>
                  <a:pt x="59" y="13"/>
                </a:lnTo>
                <a:lnTo>
                  <a:pt x="51" y="17"/>
                </a:lnTo>
                <a:lnTo>
                  <a:pt x="44" y="22"/>
                </a:lnTo>
                <a:lnTo>
                  <a:pt x="38" y="27"/>
                </a:lnTo>
                <a:lnTo>
                  <a:pt x="33" y="32"/>
                </a:lnTo>
                <a:lnTo>
                  <a:pt x="24" y="45"/>
                </a:lnTo>
                <a:lnTo>
                  <a:pt x="17" y="57"/>
                </a:lnTo>
                <a:lnTo>
                  <a:pt x="11" y="70"/>
                </a:lnTo>
                <a:lnTo>
                  <a:pt x="6" y="83"/>
                </a:lnTo>
                <a:lnTo>
                  <a:pt x="3" y="96"/>
                </a:lnTo>
                <a:lnTo>
                  <a:pt x="1" y="106"/>
                </a:lnTo>
                <a:lnTo>
                  <a:pt x="0" y="123"/>
                </a:lnTo>
                <a:lnTo>
                  <a:pt x="0" y="129"/>
                </a:lnTo>
                <a:lnTo>
                  <a:pt x="4" y="213"/>
                </a:lnTo>
                <a:lnTo>
                  <a:pt x="4" y="213"/>
                </a:lnTo>
                <a:lnTo>
                  <a:pt x="4" y="219"/>
                </a:lnTo>
                <a:lnTo>
                  <a:pt x="6" y="235"/>
                </a:lnTo>
                <a:lnTo>
                  <a:pt x="11" y="256"/>
                </a:lnTo>
                <a:lnTo>
                  <a:pt x="15" y="268"/>
                </a:lnTo>
                <a:lnTo>
                  <a:pt x="19" y="282"/>
                </a:lnTo>
                <a:lnTo>
                  <a:pt x="24" y="294"/>
                </a:lnTo>
                <a:lnTo>
                  <a:pt x="31" y="306"/>
                </a:lnTo>
                <a:lnTo>
                  <a:pt x="39" y="319"/>
                </a:lnTo>
                <a:lnTo>
                  <a:pt x="48" y="329"/>
                </a:lnTo>
                <a:lnTo>
                  <a:pt x="53" y="333"/>
                </a:lnTo>
                <a:lnTo>
                  <a:pt x="60" y="337"/>
                </a:lnTo>
                <a:lnTo>
                  <a:pt x="66" y="341"/>
                </a:lnTo>
                <a:lnTo>
                  <a:pt x="72" y="344"/>
                </a:lnTo>
                <a:lnTo>
                  <a:pt x="79" y="346"/>
                </a:lnTo>
                <a:lnTo>
                  <a:pt x="86" y="348"/>
                </a:lnTo>
                <a:lnTo>
                  <a:pt x="94" y="349"/>
                </a:lnTo>
                <a:lnTo>
                  <a:pt x="103" y="3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7" name="Freeform 34"/>
          <p:cNvSpPr>
            <a:spLocks/>
          </p:cNvSpPr>
          <p:nvPr userDrawn="1"/>
        </p:nvSpPr>
        <p:spPr bwMode="auto">
          <a:xfrm>
            <a:off x="7237412" y="1203028"/>
            <a:ext cx="60325" cy="57150"/>
          </a:xfrm>
          <a:custGeom>
            <a:avLst/>
            <a:gdLst>
              <a:gd name="T0" fmla="*/ 450 w 450"/>
              <a:gd name="T1" fmla="*/ 290 h 425"/>
              <a:gd name="T2" fmla="*/ 450 w 450"/>
              <a:gd name="T3" fmla="*/ 225 h 425"/>
              <a:gd name="T4" fmla="*/ 449 w 450"/>
              <a:gd name="T5" fmla="*/ 54 h 425"/>
              <a:gd name="T6" fmla="*/ 444 w 450"/>
              <a:gd name="T7" fmla="*/ 20 h 425"/>
              <a:gd name="T8" fmla="*/ 436 w 450"/>
              <a:gd name="T9" fmla="*/ 3 h 425"/>
              <a:gd name="T10" fmla="*/ 429 w 450"/>
              <a:gd name="T11" fmla="*/ 0 h 425"/>
              <a:gd name="T12" fmla="*/ 367 w 450"/>
              <a:gd name="T13" fmla="*/ 2 h 425"/>
              <a:gd name="T14" fmla="*/ 362 w 450"/>
              <a:gd name="T15" fmla="*/ 14 h 425"/>
              <a:gd name="T16" fmla="*/ 347 w 450"/>
              <a:gd name="T17" fmla="*/ 59 h 425"/>
              <a:gd name="T18" fmla="*/ 325 w 450"/>
              <a:gd name="T19" fmla="*/ 2 h 425"/>
              <a:gd name="T20" fmla="*/ 261 w 450"/>
              <a:gd name="T21" fmla="*/ 2 h 425"/>
              <a:gd name="T22" fmla="*/ 242 w 450"/>
              <a:gd name="T23" fmla="*/ 16 h 425"/>
              <a:gd name="T24" fmla="*/ 224 w 450"/>
              <a:gd name="T25" fmla="*/ 64 h 425"/>
              <a:gd name="T26" fmla="*/ 192 w 450"/>
              <a:gd name="T27" fmla="*/ 4 h 425"/>
              <a:gd name="T28" fmla="*/ 135 w 450"/>
              <a:gd name="T29" fmla="*/ 6 h 425"/>
              <a:gd name="T30" fmla="*/ 127 w 450"/>
              <a:gd name="T31" fmla="*/ 11 h 425"/>
              <a:gd name="T32" fmla="*/ 110 w 450"/>
              <a:gd name="T33" fmla="*/ 53 h 425"/>
              <a:gd name="T34" fmla="*/ 86 w 450"/>
              <a:gd name="T35" fmla="*/ 6 h 425"/>
              <a:gd name="T36" fmla="*/ 38 w 450"/>
              <a:gd name="T37" fmla="*/ 6 h 425"/>
              <a:gd name="T38" fmla="*/ 25 w 450"/>
              <a:gd name="T39" fmla="*/ 10 h 425"/>
              <a:gd name="T40" fmla="*/ 10 w 450"/>
              <a:gd name="T41" fmla="*/ 28 h 425"/>
              <a:gd name="T42" fmla="*/ 1 w 450"/>
              <a:gd name="T43" fmla="*/ 55 h 425"/>
              <a:gd name="T44" fmla="*/ 1 w 450"/>
              <a:gd name="T45" fmla="*/ 141 h 425"/>
              <a:gd name="T46" fmla="*/ 5 w 450"/>
              <a:gd name="T47" fmla="*/ 324 h 425"/>
              <a:gd name="T48" fmla="*/ 27 w 450"/>
              <a:gd name="T49" fmla="*/ 401 h 425"/>
              <a:gd name="T50" fmla="*/ 54 w 450"/>
              <a:gd name="T51" fmla="*/ 396 h 425"/>
              <a:gd name="T52" fmla="*/ 74 w 450"/>
              <a:gd name="T53" fmla="*/ 384 h 425"/>
              <a:gd name="T54" fmla="*/ 83 w 450"/>
              <a:gd name="T55" fmla="*/ 374 h 425"/>
              <a:gd name="T56" fmla="*/ 100 w 450"/>
              <a:gd name="T57" fmla="*/ 341 h 425"/>
              <a:gd name="T58" fmla="*/ 105 w 450"/>
              <a:gd name="T59" fmla="*/ 317 h 425"/>
              <a:gd name="T60" fmla="*/ 105 w 450"/>
              <a:gd name="T61" fmla="*/ 367 h 425"/>
              <a:gd name="T62" fmla="*/ 108 w 450"/>
              <a:gd name="T63" fmla="*/ 420 h 425"/>
              <a:gd name="T64" fmla="*/ 116 w 450"/>
              <a:gd name="T65" fmla="*/ 424 h 425"/>
              <a:gd name="T66" fmla="*/ 150 w 450"/>
              <a:gd name="T67" fmla="*/ 423 h 425"/>
              <a:gd name="T68" fmla="*/ 176 w 450"/>
              <a:gd name="T69" fmla="*/ 412 h 425"/>
              <a:gd name="T70" fmla="*/ 189 w 450"/>
              <a:gd name="T71" fmla="*/ 402 h 425"/>
              <a:gd name="T72" fmla="*/ 209 w 450"/>
              <a:gd name="T73" fmla="*/ 368 h 425"/>
              <a:gd name="T74" fmla="*/ 224 w 450"/>
              <a:gd name="T75" fmla="*/ 317 h 425"/>
              <a:gd name="T76" fmla="*/ 225 w 450"/>
              <a:gd name="T77" fmla="*/ 381 h 425"/>
              <a:gd name="T78" fmla="*/ 229 w 450"/>
              <a:gd name="T79" fmla="*/ 419 h 425"/>
              <a:gd name="T80" fmla="*/ 237 w 450"/>
              <a:gd name="T81" fmla="*/ 421 h 425"/>
              <a:gd name="T82" fmla="*/ 266 w 450"/>
              <a:gd name="T83" fmla="*/ 418 h 425"/>
              <a:gd name="T84" fmla="*/ 300 w 450"/>
              <a:gd name="T85" fmla="*/ 405 h 425"/>
              <a:gd name="T86" fmla="*/ 309 w 450"/>
              <a:gd name="T87" fmla="*/ 397 h 425"/>
              <a:gd name="T88" fmla="*/ 331 w 450"/>
              <a:gd name="T89" fmla="*/ 367 h 425"/>
              <a:gd name="T90" fmla="*/ 342 w 450"/>
              <a:gd name="T91" fmla="*/ 334 h 425"/>
              <a:gd name="T92" fmla="*/ 345 w 450"/>
              <a:gd name="T93" fmla="*/ 346 h 425"/>
              <a:gd name="T94" fmla="*/ 348 w 450"/>
              <a:gd name="T95" fmla="*/ 391 h 425"/>
              <a:gd name="T96" fmla="*/ 379 w 450"/>
              <a:gd name="T97" fmla="*/ 386 h 425"/>
              <a:gd name="T98" fmla="*/ 404 w 450"/>
              <a:gd name="T99" fmla="*/ 375 h 425"/>
              <a:gd name="T100" fmla="*/ 425 w 450"/>
              <a:gd name="T101" fmla="*/ 360 h 425"/>
              <a:gd name="T102" fmla="*/ 439 w 450"/>
              <a:gd name="T103" fmla="*/ 342 h 425"/>
              <a:gd name="T104" fmla="*/ 448 w 450"/>
              <a:gd name="T105" fmla="*/ 311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0" h="425">
                <a:moveTo>
                  <a:pt x="448" y="311"/>
                </a:moveTo>
                <a:lnTo>
                  <a:pt x="448" y="311"/>
                </a:lnTo>
                <a:lnTo>
                  <a:pt x="450" y="290"/>
                </a:lnTo>
                <a:lnTo>
                  <a:pt x="450" y="268"/>
                </a:lnTo>
                <a:lnTo>
                  <a:pt x="450" y="225"/>
                </a:lnTo>
                <a:lnTo>
                  <a:pt x="450" y="225"/>
                </a:lnTo>
                <a:lnTo>
                  <a:pt x="449" y="64"/>
                </a:lnTo>
                <a:lnTo>
                  <a:pt x="449" y="64"/>
                </a:lnTo>
                <a:lnTo>
                  <a:pt x="449" y="54"/>
                </a:lnTo>
                <a:lnTo>
                  <a:pt x="448" y="44"/>
                </a:lnTo>
                <a:lnTo>
                  <a:pt x="447" y="33"/>
                </a:lnTo>
                <a:lnTo>
                  <a:pt x="444" y="20"/>
                </a:lnTo>
                <a:lnTo>
                  <a:pt x="441" y="10"/>
                </a:lnTo>
                <a:lnTo>
                  <a:pt x="439" y="6"/>
                </a:lnTo>
                <a:lnTo>
                  <a:pt x="436" y="3"/>
                </a:lnTo>
                <a:lnTo>
                  <a:pt x="433" y="1"/>
                </a:lnTo>
                <a:lnTo>
                  <a:pt x="429" y="0"/>
                </a:lnTo>
                <a:lnTo>
                  <a:pt x="429" y="0"/>
                </a:lnTo>
                <a:lnTo>
                  <a:pt x="396" y="0"/>
                </a:lnTo>
                <a:lnTo>
                  <a:pt x="378" y="1"/>
                </a:lnTo>
                <a:lnTo>
                  <a:pt x="367" y="2"/>
                </a:lnTo>
                <a:lnTo>
                  <a:pt x="367" y="2"/>
                </a:lnTo>
                <a:lnTo>
                  <a:pt x="364" y="7"/>
                </a:lnTo>
                <a:lnTo>
                  <a:pt x="362" y="14"/>
                </a:lnTo>
                <a:lnTo>
                  <a:pt x="356" y="33"/>
                </a:lnTo>
                <a:lnTo>
                  <a:pt x="350" y="52"/>
                </a:lnTo>
                <a:lnTo>
                  <a:pt x="347" y="59"/>
                </a:lnTo>
                <a:lnTo>
                  <a:pt x="345" y="64"/>
                </a:lnTo>
                <a:lnTo>
                  <a:pt x="325" y="2"/>
                </a:lnTo>
                <a:lnTo>
                  <a:pt x="325" y="2"/>
                </a:lnTo>
                <a:lnTo>
                  <a:pt x="309" y="1"/>
                </a:lnTo>
                <a:lnTo>
                  <a:pt x="286" y="1"/>
                </a:lnTo>
                <a:lnTo>
                  <a:pt x="261" y="2"/>
                </a:lnTo>
                <a:lnTo>
                  <a:pt x="247" y="4"/>
                </a:lnTo>
                <a:lnTo>
                  <a:pt x="247" y="4"/>
                </a:lnTo>
                <a:lnTo>
                  <a:pt x="242" y="16"/>
                </a:lnTo>
                <a:lnTo>
                  <a:pt x="236" y="34"/>
                </a:lnTo>
                <a:lnTo>
                  <a:pt x="229" y="52"/>
                </a:lnTo>
                <a:lnTo>
                  <a:pt x="224" y="64"/>
                </a:lnTo>
                <a:lnTo>
                  <a:pt x="205" y="5"/>
                </a:lnTo>
                <a:lnTo>
                  <a:pt x="205" y="5"/>
                </a:lnTo>
                <a:lnTo>
                  <a:pt x="192" y="4"/>
                </a:lnTo>
                <a:lnTo>
                  <a:pt x="168" y="4"/>
                </a:lnTo>
                <a:lnTo>
                  <a:pt x="144" y="5"/>
                </a:lnTo>
                <a:lnTo>
                  <a:pt x="135" y="6"/>
                </a:lnTo>
                <a:lnTo>
                  <a:pt x="131" y="6"/>
                </a:lnTo>
                <a:lnTo>
                  <a:pt x="131" y="6"/>
                </a:lnTo>
                <a:lnTo>
                  <a:pt x="127" y="11"/>
                </a:lnTo>
                <a:lnTo>
                  <a:pt x="124" y="18"/>
                </a:lnTo>
                <a:lnTo>
                  <a:pt x="117" y="36"/>
                </a:lnTo>
                <a:lnTo>
                  <a:pt x="110" y="53"/>
                </a:lnTo>
                <a:lnTo>
                  <a:pt x="105" y="64"/>
                </a:lnTo>
                <a:lnTo>
                  <a:pt x="86" y="6"/>
                </a:lnTo>
                <a:lnTo>
                  <a:pt x="86" y="6"/>
                </a:lnTo>
                <a:lnTo>
                  <a:pt x="69" y="6"/>
                </a:lnTo>
                <a:lnTo>
                  <a:pt x="38" y="6"/>
                </a:lnTo>
                <a:lnTo>
                  <a:pt x="38" y="6"/>
                </a:lnTo>
                <a:lnTo>
                  <a:pt x="33" y="7"/>
                </a:lnTo>
                <a:lnTo>
                  <a:pt x="29" y="8"/>
                </a:lnTo>
                <a:lnTo>
                  <a:pt x="25" y="10"/>
                </a:lnTo>
                <a:lnTo>
                  <a:pt x="21" y="12"/>
                </a:lnTo>
                <a:lnTo>
                  <a:pt x="15" y="19"/>
                </a:lnTo>
                <a:lnTo>
                  <a:pt x="10" y="28"/>
                </a:lnTo>
                <a:lnTo>
                  <a:pt x="5" y="36"/>
                </a:lnTo>
                <a:lnTo>
                  <a:pt x="2" y="46"/>
                </a:lnTo>
                <a:lnTo>
                  <a:pt x="1" y="55"/>
                </a:lnTo>
                <a:lnTo>
                  <a:pt x="0" y="63"/>
                </a:lnTo>
                <a:lnTo>
                  <a:pt x="0" y="63"/>
                </a:lnTo>
                <a:lnTo>
                  <a:pt x="1" y="141"/>
                </a:lnTo>
                <a:lnTo>
                  <a:pt x="2" y="220"/>
                </a:lnTo>
                <a:lnTo>
                  <a:pt x="2" y="220"/>
                </a:lnTo>
                <a:lnTo>
                  <a:pt x="5" y="324"/>
                </a:lnTo>
                <a:lnTo>
                  <a:pt x="8" y="402"/>
                </a:lnTo>
                <a:lnTo>
                  <a:pt x="8" y="402"/>
                </a:lnTo>
                <a:lnTo>
                  <a:pt x="27" y="401"/>
                </a:lnTo>
                <a:lnTo>
                  <a:pt x="37" y="399"/>
                </a:lnTo>
                <a:lnTo>
                  <a:pt x="45" y="398"/>
                </a:lnTo>
                <a:lnTo>
                  <a:pt x="54" y="396"/>
                </a:lnTo>
                <a:lnTo>
                  <a:pt x="62" y="393"/>
                </a:lnTo>
                <a:lnTo>
                  <a:pt x="68" y="388"/>
                </a:lnTo>
                <a:lnTo>
                  <a:pt x="74" y="384"/>
                </a:lnTo>
                <a:lnTo>
                  <a:pt x="74" y="384"/>
                </a:lnTo>
                <a:lnTo>
                  <a:pt x="79" y="379"/>
                </a:lnTo>
                <a:lnTo>
                  <a:pt x="83" y="374"/>
                </a:lnTo>
                <a:lnTo>
                  <a:pt x="90" y="363"/>
                </a:lnTo>
                <a:lnTo>
                  <a:pt x="95" y="352"/>
                </a:lnTo>
                <a:lnTo>
                  <a:pt x="100" y="341"/>
                </a:lnTo>
                <a:lnTo>
                  <a:pt x="103" y="331"/>
                </a:lnTo>
                <a:lnTo>
                  <a:pt x="104" y="324"/>
                </a:lnTo>
                <a:lnTo>
                  <a:pt x="105" y="317"/>
                </a:lnTo>
                <a:lnTo>
                  <a:pt x="105" y="317"/>
                </a:lnTo>
                <a:lnTo>
                  <a:pt x="105" y="337"/>
                </a:lnTo>
                <a:lnTo>
                  <a:pt x="105" y="367"/>
                </a:lnTo>
                <a:lnTo>
                  <a:pt x="106" y="397"/>
                </a:lnTo>
                <a:lnTo>
                  <a:pt x="108" y="420"/>
                </a:lnTo>
                <a:lnTo>
                  <a:pt x="108" y="420"/>
                </a:lnTo>
                <a:lnTo>
                  <a:pt x="108" y="421"/>
                </a:lnTo>
                <a:lnTo>
                  <a:pt x="110" y="422"/>
                </a:lnTo>
                <a:lnTo>
                  <a:pt x="116" y="424"/>
                </a:lnTo>
                <a:lnTo>
                  <a:pt x="125" y="425"/>
                </a:lnTo>
                <a:lnTo>
                  <a:pt x="136" y="425"/>
                </a:lnTo>
                <a:lnTo>
                  <a:pt x="150" y="423"/>
                </a:lnTo>
                <a:lnTo>
                  <a:pt x="163" y="418"/>
                </a:lnTo>
                <a:lnTo>
                  <a:pt x="169" y="415"/>
                </a:lnTo>
                <a:lnTo>
                  <a:pt x="176" y="412"/>
                </a:lnTo>
                <a:lnTo>
                  <a:pt x="182" y="407"/>
                </a:lnTo>
                <a:lnTo>
                  <a:pt x="189" y="402"/>
                </a:lnTo>
                <a:lnTo>
                  <a:pt x="189" y="402"/>
                </a:lnTo>
                <a:lnTo>
                  <a:pt x="197" y="392"/>
                </a:lnTo>
                <a:lnTo>
                  <a:pt x="204" y="380"/>
                </a:lnTo>
                <a:lnTo>
                  <a:pt x="209" y="368"/>
                </a:lnTo>
                <a:lnTo>
                  <a:pt x="213" y="356"/>
                </a:lnTo>
                <a:lnTo>
                  <a:pt x="220" y="333"/>
                </a:lnTo>
                <a:lnTo>
                  <a:pt x="224" y="317"/>
                </a:lnTo>
                <a:lnTo>
                  <a:pt x="224" y="317"/>
                </a:lnTo>
                <a:lnTo>
                  <a:pt x="224" y="348"/>
                </a:lnTo>
                <a:lnTo>
                  <a:pt x="225" y="381"/>
                </a:lnTo>
                <a:lnTo>
                  <a:pt x="227" y="408"/>
                </a:lnTo>
                <a:lnTo>
                  <a:pt x="228" y="417"/>
                </a:lnTo>
                <a:lnTo>
                  <a:pt x="229" y="419"/>
                </a:lnTo>
                <a:lnTo>
                  <a:pt x="230" y="420"/>
                </a:lnTo>
                <a:lnTo>
                  <a:pt x="230" y="420"/>
                </a:lnTo>
                <a:lnTo>
                  <a:pt x="237" y="421"/>
                </a:lnTo>
                <a:lnTo>
                  <a:pt x="245" y="421"/>
                </a:lnTo>
                <a:lnTo>
                  <a:pt x="255" y="420"/>
                </a:lnTo>
                <a:lnTo>
                  <a:pt x="266" y="418"/>
                </a:lnTo>
                <a:lnTo>
                  <a:pt x="277" y="415"/>
                </a:lnTo>
                <a:lnTo>
                  <a:pt x="289" y="411"/>
                </a:lnTo>
                <a:lnTo>
                  <a:pt x="300" y="405"/>
                </a:lnTo>
                <a:lnTo>
                  <a:pt x="305" y="401"/>
                </a:lnTo>
                <a:lnTo>
                  <a:pt x="309" y="397"/>
                </a:lnTo>
                <a:lnTo>
                  <a:pt x="309" y="397"/>
                </a:lnTo>
                <a:lnTo>
                  <a:pt x="317" y="387"/>
                </a:lnTo>
                <a:lnTo>
                  <a:pt x="325" y="377"/>
                </a:lnTo>
                <a:lnTo>
                  <a:pt x="331" y="367"/>
                </a:lnTo>
                <a:lnTo>
                  <a:pt x="336" y="356"/>
                </a:lnTo>
                <a:lnTo>
                  <a:pt x="339" y="345"/>
                </a:lnTo>
                <a:lnTo>
                  <a:pt x="342" y="334"/>
                </a:lnTo>
                <a:lnTo>
                  <a:pt x="345" y="317"/>
                </a:lnTo>
                <a:lnTo>
                  <a:pt x="345" y="317"/>
                </a:lnTo>
                <a:lnTo>
                  <a:pt x="345" y="346"/>
                </a:lnTo>
                <a:lnTo>
                  <a:pt x="346" y="370"/>
                </a:lnTo>
                <a:lnTo>
                  <a:pt x="348" y="391"/>
                </a:lnTo>
                <a:lnTo>
                  <a:pt x="348" y="391"/>
                </a:lnTo>
                <a:lnTo>
                  <a:pt x="362" y="390"/>
                </a:lnTo>
                <a:lnTo>
                  <a:pt x="371" y="388"/>
                </a:lnTo>
                <a:lnTo>
                  <a:pt x="379" y="386"/>
                </a:lnTo>
                <a:lnTo>
                  <a:pt x="379" y="386"/>
                </a:lnTo>
                <a:lnTo>
                  <a:pt x="393" y="380"/>
                </a:lnTo>
                <a:lnTo>
                  <a:pt x="404" y="375"/>
                </a:lnTo>
                <a:lnTo>
                  <a:pt x="415" y="368"/>
                </a:lnTo>
                <a:lnTo>
                  <a:pt x="415" y="368"/>
                </a:lnTo>
                <a:lnTo>
                  <a:pt x="425" y="360"/>
                </a:lnTo>
                <a:lnTo>
                  <a:pt x="430" y="355"/>
                </a:lnTo>
                <a:lnTo>
                  <a:pt x="435" y="349"/>
                </a:lnTo>
                <a:lnTo>
                  <a:pt x="439" y="342"/>
                </a:lnTo>
                <a:lnTo>
                  <a:pt x="443" y="333"/>
                </a:lnTo>
                <a:lnTo>
                  <a:pt x="446" y="323"/>
                </a:lnTo>
                <a:lnTo>
                  <a:pt x="448" y="3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8" name="Freeform 35"/>
          <p:cNvSpPr>
            <a:spLocks/>
          </p:cNvSpPr>
          <p:nvPr userDrawn="1"/>
        </p:nvSpPr>
        <p:spPr bwMode="auto">
          <a:xfrm>
            <a:off x="7245350" y="1206203"/>
            <a:ext cx="73025" cy="80963"/>
          </a:xfrm>
          <a:custGeom>
            <a:avLst/>
            <a:gdLst>
              <a:gd name="T0" fmla="*/ 554 w 554"/>
              <a:gd name="T1" fmla="*/ 356 h 620"/>
              <a:gd name="T2" fmla="*/ 549 w 554"/>
              <a:gd name="T3" fmla="*/ 350 h 620"/>
              <a:gd name="T4" fmla="*/ 535 w 554"/>
              <a:gd name="T5" fmla="*/ 331 h 620"/>
              <a:gd name="T6" fmla="*/ 525 w 554"/>
              <a:gd name="T7" fmla="*/ 306 h 620"/>
              <a:gd name="T8" fmla="*/ 520 w 554"/>
              <a:gd name="T9" fmla="*/ 285 h 620"/>
              <a:gd name="T10" fmla="*/ 516 w 554"/>
              <a:gd name="T11" fmla="*/ 258 h 620"/>
              <a:gd name="T12" fmla="*/ 515 w 554"/>
              <a:gd name="T13" fmla="*/ 243 h 620"/>
              <a:gd name="T14" fmla="*/ 516 w 554"/>
              <a:gd name="T15" fmla="*/ 222 h 620"/>
              <a:gd name="T16" fmla="*/ 520 w 554"/>
              <a:gd name="T17" fmla="*/ 202 h 620"/>
              <a:gd name="T18" fmla="*/ 532 w 554"/>
              <a:gd name="T19" fmla="*/ 167 h 620"/>
              <a:gd name="T20" fmla="*/ 546 w 554"/>
              <a:gd name="T21" fmla="*/ 142 h 620"/>
              <a:gd name="T22" fmla="*/ 551 w 554"/>
              <a:gd name="T23" fmla="*/ 43 h 620"/>
              <a:gd name="T24" fmla="*/ 542 w 554"/>
              <a:gd name="T25" fmla="*/ 36 h 620"/>
              <a:gd name="T26" fmla="*/ 504 w 554"/>
              <a:gd name="T27" fmla="*/ 13 h 620"/>
              <a:gd name="T28" fmla="*/ 482 w 554"/>
              <a:gd name="T29" fmla="*/ 2 h 620"/>
              <a:gd name="T30" fmla="*/ 470 w 554"/>
              <a:gd name="T31" fmla="*/ 0 h 620"/>
              <a:gd name="T32" fmla="*/ 465 w 554"/>
              <a:gd name="T33" fmla="*/ 327 h 620"/>
              <a:gd name="T34" fmla="*/ 465 w 554"/>
              <a:gd name="T35" fmla="*/ 339 h 620"/>
              <a:gd name="T36" fmla="*/ 458 w 554"/>
              <a:gd name="T37" fmla="*/ 360 h 620"/>
              <a:gd name="T38" fmla="*/ 444 w 554"/>
              <a:gd name="T39" fmla="*/ 382 h 620"/>
              <a:gd name="T40" fmla="*/ 426 w 554"/>
              <a:gd name="T41" fmla="*/ 402 h 620"/>
              <a:gd name="T42" fmla="*/ 405 w 554"/>
              <a:gd name="T43" fmla="*/ 421 h 620"/>
              <a:gd name="T44" fmla="*/ 380 w 554"/>
              <a:gd name="T45" fmla="*/ 437 h 620"/>
              <a:gd name="T46" fmla="*/ 353 w 554"/>
              <a:gd name="T47" fmla="*/ 449 h 620"/>
              <a:gd name="T48" fmla="*/ 327 w 554"/>
              <a:gd name="T49" fmla="*/ 458 h 620"/>
              <a:gd name="T50" fmla="*/ 314 w 554"/>
              <a:gd name="T51" fmla="*/ 461 h 620"/>
              <a:gd name="T52" fmla="*/ 255 w 554"/>
              <a:gd name="T53" fmla="*/ 471 h 620"/>
              <a:gd name="T54" fmla="*/ 199 w 554"/>
              <a:gd name="T55" fmla="*/ 477 h 620"/>
              <a:gd name="T56" fmla="*/ 98 w 554"/>
              <a:gd name="T57" fmla="*/ 482 h 620"/>
              <a:gd name="T58" fmla="*/ 27 w 554"/>
              <a:gd name="T59" fmla="*/ 482 h 620"/>
              <a:gd name="T60" fmla="*/ 0 w 554"/>
              <a:gd name="T61" fmla="*/ 481 h 620"/>
              <a:gd name="T62" fmla="*/ 4 w 554"/>
              <a:gd name="T63" fmla="*/ 508 h 620"/>
              <a:gd name="T64" fmla="*/ 13 w 554"/>
              <a:gd name="T65" fmla="*/ 550 h 620"/>
              <a:gd name="T66" fmla="*/ 18 w 554"/>
              <a:gd name="T67" fmla="*/ 566 h 620"/>
              <a:gd name="T68" fmla="*/ 29 w 554"/>
              <a:gd name="T69" fmla="*/ 586 h 620"/>
              <a:gd name="T70" fmla="*/ 44 w 554"/>
              <a:gd name="T71" fmla="*/ 604 h 620"/>
              <a:gd name="T72" fmla="*/ 62 w 554"/>
              <a:gd name="T73" fmla="*/ 620 h 620"/>
              <a:gd name="T74" fmla="*/ 554 w 554"/>
              <a:gd name="T75" fmla="*/ 450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4" h="620">
                <a:moveTo>
                  <a:pt x="554" y="450"/>
                </a:moveTo>
                <a:lnTo>
                  <a:pt x="554" y="356"/>
                </a:lnTo>
                <a:lnTo>
                  <a:pt x="554" y="356"/>
                </a:lnTo>
                <a:lnTo>
                  <a:pt x="549" y="350"/>
                </a:lnTo>
                <a:lnTo>
                  <a:pt x="543" y="342"/>
                </a:lnTo>
                <a:lnTo>
                  <a:pt x="535" y="331"/>
                </a:lnTo>
                <a:lnTo>
                  <a:pt x="528" y="315"/>
                </a:lnTo>
                <a:lnTo>
                  <a:pt x="525" y="306"/>
                </a:lnTo>
                <a:lnTo>
                  <a:pt x="522" y="296"/>
                </a:lnTo>
                <a:lnTo>
                  <a:pt x="520" y="285"/>
                </a:lnTo>
                <a:lnTo>
                  <a:pt x="517" y="271"/>
                </a:lnTo>
                <a:lnTo>
                  <a:pt x="516" y="258"/>
                </a:lnTo>
                <a:lnTo>
                  <a:pt x="515" y="243"/>
                </a:lnTo>
                <a:lnTo>
                  <a:pt x="515" y="243"/>
                </a:lnTo>
                <a:lnTo>
                  <a:pt x="515" y="232"/>
                </a:lnTo>
                <a:lnTo>
                  <a:pt x="516" y="222"/>
                </a:lnTo>
                <a:lnTo>
                  <a:pt x="517" y="212"/>
                </a:lnTo>
                <a:lnTo>
                  <a:pt x="520" y="202"/>
                </a:lnTo>
                <a:lnTo>
                  <a:pt x="526" y="183"/>
                </a:lnTo>
                <a:lnTo>
                  <a:pt x="532" y="167"/>
                </a:lnTo>
                <a:lnTo>
                  <a:pt x="540" y="154"/>
                </a:lnTo>
                <a:lnTo>
                  <a:pt x="546" y="142"/>
                </a:lnTo>
                <a:lnTo>
                  <a:pt x="552" y="133"/>
                </a:lnTo>
                <a:lnTo>
                  <a:pt x="551" y="43"/>
                </a:lnTo>
                <a:lnTo>
                  <a:pt x="551" y="43"/>
                </a:lnTo>
                <a:lnTo>
                  <a:pt x="542" y="36"/>
                </a:lnTo>
                <a:lnTo>
                  <a:pt x="518" y="21"/>
                </a:lnTo>
                <a:lnTo>
                  <a:pt x="504" y="13"/>
                </a:lnTo>
                <a:lnTo>
                  <a:pt x="489" y="5"/>
                </a:lnTo>
                <a:lnTo>
                  <a:pt x="482" y="2"/>
                </a:lnTo>
                <a:lnTo>
                  <a:pt x="476" y="1"/>
                </a:lnTo>
                <a:lnTo>
                  <a:pt x="470" y="0"/>
                </a:lnTo>
                <a:lnTo>
                  <a:pt x="464" y="0"/>
                </a:lnTo>
                <a:lnTo>
                  <a:pt x="465" y="327"/>
                </a:lnTo>
                <a:lnTo>
                  <a:pt x="465" y="327"/>
                </a:lnTo>
                <a:lnTo>
                  <a:pt x="465" y="339"/>
                </a:lnTo>
                <a:lnTo>
                  <a:pt x="462" y="349"/>
                </a:lnTo>
                <a:lnTo>
                  <a:pt x="458" y="360"/>
                </a:lnTo>
                <a:lnTo>
                  <a:pt x="452" y="370"/>
                </a:lnTo>
                <a:lnTo>
                  <a:pt x="444" y="382"/>
                </a:lnTo>
                <a:lnTo>
                  <a:pt x="436" y="392"/>
                </a:lnTo>
                <a:lnTo>
                  <a:pt x="426" y="402"/>
                </a:lnTo>
                <a:lnTo>
                  <a:pt x="416" y="411"/>
                </a:lnTo>
                <a:lnTo>
                  <a:pt x="405" y="421"/>
                </a:lnTo>
                <a:lnTo>
                  <a:pt x="392" y="429"/>
                </a:lnTo>
                <a:lnTo>
                  <a:pt x="380" y="437"/>
                </a:lnTo>
                <a:lnTo>
                  <a:pt x="367" y="443"/>
                </a:lnTo>
                <a:lnTo>
                  <a:pt x="353" y="449"/>
                </a:lnTo>
                <a:lnTo>
                  <a:pt x="340" y="454"/>
                </a:lnTo>
                <a:lnTo>
                  <a:pt x="327" y="458"/>
                </a:lnTo>
                <a:lnTo>
                  <a:pt x="314" y="461"/>
                </a:lnTo>
                <a:lnTo>
                  <a:pt x="314" y="461"/>
                </a:lnTo>
                <a:lnTo>
                  <a:pt x="284" y="467"/>
                </a:lnTo>
                <a:lnTo>
                  <a:pt x="255" y="471"/>
                </a:lnTo>
                <a:lnTo>
                  <a:pt x="227" y="474"/>
                </a:lnTo>
                <a:lnTo>
                  <a:pt x="199" y="477"/>
                </a:lnTo>
                <a:lnTo>
                  <a:pt x="146" y="480"/>
                </a:lnTo>
                <a:lnTo>
                  <a:pt x="98" y="482"/>
                </a:lnTo>
                <a:lnTo>
                  <a:pt x="58" y="482"/>
                </a:lnTo>
                <a:lnTo>
                  <a:pt x="27" y="482"/>
                </a:lnTo>
                <a:lnTo>
                  <a:pt x="0" y="481"/>
                </a:lnTo>
                <a:lnTo>
                  <a:pt x="0" y="481"/>
                </a:lnTo>
                <a:lnTo>
                  <a:pt x="1" y="488"/>
                </a:lnTo>
                <a:lnTo>
                  <a:pt x="4" y="508"/>
                </a:lnTo>
                <a:lnTo>
                  <a:pt x="10" y="535"/>
                </a:lnTo>
                <a:lnTo>
                  <a:pt x="13" y="550"/>
                </a:lnTo>
                <a:lnTo>
                  <a:pt x="18" y="566"/>
                </a:lnTo>
                <a:lnTo>
                  <a:pt x="18" y="566"/>
                </a:lnTo>
                <a:lnTo>
                  <a:pt x="23" y="576"/>
                </a:lnTo>
                <a:lnTo>
                  <a:pt x="29" y="586"/>
                </a:lnTo>
                <a:lnTo>
                  <a:pt x="36" y="595"/>
                </a:lnTo>
                <a:lnTo>
                  <a:pt x="44" y="604"/>
                </a:lnTo>
                <a:lnTo>
                  <a:pt x="57" y="616"/>
                </a:lnTo>
                <a:lnTo>
                  <a:pt x="62" y="620"/>
                </a:lnTo>
                <a:lnTo>
                  <a:pt x="451" y="620"/>
                </a:lnTo>
                <a:lnTo>
                  <a:pt x="554" y="4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9" name="Freeform 36"/>
          <p:cNvSpPr>
            <a:spLocks/>
          </p:cNvSpPr>
          <p:nvPr userDrawn="1"/>
        </p:nvSpPr>
        <p:spPr bwMode="auto">
          <a:xfrm>
            <a:off x="7251700" y="1298278"/>
            <a:ext cx="57150" cy="17463"/>
          </a:xfrm>
          <a:custGeom>
            <a:avLst/>
            <a:gdLst>
              <a:gd name="T0" fmla="*/ 20 w 435"/>
              <a:gd name="T1" fmla="*/ 142 h 142"/>
              <a:gd name="T2" fmla="*/ 411 w 435"/>
              <a:gd name="T3" fmla="*/ 142 h 142"/>
              <a:gd name="T4" fmla="*/ 411 w 435"/>
              <a:gd name="T5" fmla="*/ 142 h 142"/>
              <a:gd name="T6" fmla="*/ 422 w 435"/>
              <a:gd name="T7" fmla="*/ 109 h 142"/>
              <a:gd name="T8" fmla="*/ 430 w 435"/>
              <a:gd name="T9" fmla="*/ 83 h 142"/>
              <a:gd name="T10" fmla="*/ 433 w 435"/>
              <a:gd name="T11" fmla="*/ 72 h 142"/>
              <a:gd name="T12" fmla="*/ 435 w 435"/>
              <a:gd name="T13" fmla="*/ 63 h 142"/>
              <a:gd name="T14" fmla="*/ 417 w 435"/>
              <a:gd name="T15" fmla="*/ 0 h 142"/>
              <a:gd name="T16" fmla="*/ 22 w 435"/>
              <a:gd name="T17" fmla="*/ 0 h 142"/>
              <a:gd name="T18" fmla="*/ 0 w 435"/>
              <a:gd name="T19" fmla="*/ 65 h 142"/>
              <a:gd name="T20" fmla="*/ 20 w 435"/>
              <a:gd name="T2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5" h="142">
                <a:moveTo>
                  <a:pt x="20" y="142"/>
                </a:moveTo>
                <a:lnTo>
                  <a:pt x="411" y="142"/>
                </a:lnTo>
                <a:lnTo>
                  <a:pt x="411" y="142"/>
                </a:lnTo>
                <a:lnTo>
                  <a:pt x="422" y="109"/>
                </a:lnTo>
                <a:lnTo>
                  <a:pt x="430" y="83"/>
                </a:lnTo>
                <a:lnTo>
                  <a:pt x="433" y="72"/>
                </a:lnTo>
                <a:lnTo>
                  <a:pt x="435" y="63"/>
                </a:lnTo>
                <a:lnTo>
                  <a:pt x="417" y="0"/>
                </a:lnTo>
                <a:lnTo>
                  <a:pt x="22" y="0"/>
                </a:lnTo>
                <a:lnTo>
                  <a:pt x="0" y="65"/>
                </a:lnTo>
                <a:lnTo>
                  <a:pt x="20" y="1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0" name="Freeform 37"/>
          <p:cNvSpPr>
            <a:spLocks/>
          </p:cNvSpPr>
          <p:nvPr userDrawn="1"/>
        </p:nvSpPr>
        <p:spPr bwMode="auto">
          <a:xfrm>
            <a:off x="7254875" y="1326853"/>
            <a:ext cx="57150" cy="66675"/>
          </a:xfrm>
          <a:custGeom>
            <a:avLst/>
            <a:gdLst>
              <a:gd name="T0" fmla="*/ 384 w 436"/>
              <a:gd name="T1" fmla="*/ 0 h 514"/>
              <a:gd name="T2" fmla="*/ 2 w 436"/>
              <a:gd name="T3" fmla="*/ 0 h 514"/>
              <a:gd name="T4" fmla="*/ 0 w 436"/>
              <a:gd name="T5" fmla="*/ 505 h 514"/>
              <a:gd name="T6" fmla="*/ 331 w 436"/>
              <a:gd name="T7" fmla="*/ 514 h 514"/>
              <a:gd name="T8" fmla="*/ 436 w 436"/>
              <a:gd name="T9" fmla="*/ 431 h 514"/>
              <a:gd name="T10" fmla="*/ 384 w 436"/>
              <a:gd name="T11" fmla="*/ 0 h 514"/>
            </a:gdLst>
            <a:ahLst/>
            <a:cxnLst>
              <a:cxn ang="0">
                <a:pos x="T0" y="T1"/>
              </a:cxn>
              <a:cxn ang="0">
                <a:pos x="T2" y="T3"/>
              </a:cxn>
              <a:cxn ang="0">
                <a:pos x="T4" y="T5"/>
              </a:cxn>
              <a:cxn ang="0">
                <a:pos x="T6" y="T7"/>
              </a:cxn>
              <a:cxn ang="0">
                <a:pos x="T8" y="T9"/>
              </a:cxn>
              <a:cxn ang="0">
                <a:pos x="T10" y="T11"/>
              </a:cxn>
            </a:cxnLst>
            <a:rect l="0" t="0" r="r" b="b"/>
            <a:pathLst>
              <a:path w="436" h="514">
                <a:moveTo>
                  <a:pt x="384" y="0"/>
                </a:moveTo>
                <a:lnTo>
                  <a:pt x="2" y="0"/>
                </a:lnTo>
                <a:lnTo>
                  <a:pt x="0" y="505"/>
                </a:lnTo>
                <a:lnTo>
                  <a:pt x="331" y="514"/>
                </a:lnTo>
                <a:lnTo>
                  <a:pt x="436" y="431"/>
                </a:lnTo>
                <a:lnTo>
                  <a:pt x="3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1" name="Freeform 38"/>
          <p:cNvSpPr>
            <a:spLocks/>
          </p:cNvSpPr>
          <p:nvPr userDrawn="1"/>
        </p:nvSpPr>
        <p:spPr bwMode="auto">
          <a:xfrm>
            <a:off x="7251700" y="1391940"/>
            <a:ext cx="77788" cy="68263"/>
          </a:xfrm>
          <a:custGeom>
            <a:avLst/>
            <a:gdLst>
              <a:gd name="T0" fmla="*/ 586 w 586"/>
              <a:gd name="T1" fmla="*/ 139 h 523"/>
              <a:gd name="T2" fmla="*/ 586 w 586"/>
              <a:gd name="T3" fmla="*/ 139 h 523"/>
              <a:gd name="T4" fmla="*/ 552 w 586"/>
              <a:gd name="T5" fmla="*/ 115 h 523"/>
              <a:gd name="T6" fmla="*/ 527 w 586"/>
              <a:gd name="T7" fmla="*/ 97 h 523"/>
              <a:gd name="T8" fmla="*/ 519 w 586"/>
              <a:gd name="T9" fmla="*/ 90 h 523"/>
              <a:gd name="T10" fmla="*/ 514 w 586"/>
              <a:gd name="T11" fmla="*/ 85 h 523"/>
              <a:gd name="T12" fmla="*/ 514 w 586"/>
              <a:gd name="T13" fmla="*/ 85 h 523"/>
              <a:gd name="T14" fmla="*/ 512 w 586"/>
              <a:gd name="T15" fmla="*/ 79 h 523"/>
              <a:gd name="T16" fmla="*/ 510 w 586"/>
              <a:gd name="T17" fmla="*/ 69 h 523"/>
              <a:gd name="T18" fmla="*/ 506 w 586"/>
              <a:gd name="T19" fmla="*/ 40 h 523"/>
              <a:gd name="T20" fmla="*/ 503 w 586"/>
              <a:gd name="T21" fmla="*/ 0 h 523"/>
              <a:gd name="T22" fmla="*/ 381 w 586"/>
              <a:gd name="T23" fmla="*/ 98 h 523"/>
              <a:gd name="T24" fmla="*/ 8 w 586"/>
              <a:gd name="T25" fmla="*/ 97 h 523"/>
              <a:gd name="T26" fmla="*/ 8 w 586"/>
              <a:gd name="T27" fmla="*/ 97 h 523"/>
              <a:gd name="T28" fmla="*/ 8 w 586"/>
              <a:gd name="T29" fmla="*/ 98 h 523"/>
              <a:gd name="T30" fmla="*/ 7 w 586"/>
              <a:gd name="T31" fmla="*/ 100 h 523"/>
              <a:gd name="T32" fmla="*/ 5 w 586"/>
              <a:gd name="T33" fmla="*/ 108 h 523"/>
              <a:gd name="T34" fmla="*/ 3 w 586"/>
              <a:gd name="T35" fmla="*/ 139 h 523"/>
              <a:gd name="T36" fmla="*/ 2 w 586"/>
              <a:gd name="T37" fmla="*/ 183 h 523"/>
              <a:gd name="T38" fmla="*/ 1 w 586"/>
              <a:gd name="T39" fmla="*/ 233 h 523"/>
              <a:gd name="T40" fmla="*/ 0 w 586"/>
              <a:gd name="T41" fmla="*/ 327 h 523"/>
              <a:gd name="T42" fmla="*/ 0 w 586"/>
              <a:gd name="T43" fmla="*/ 369 h 523"/>
              <a:gd name="T44" fmla="*/ 0 w 586"/>
              <a:gd name="T45" fmla="*/ 369 h 523"/>
              <a:gd name="T46" fmla="*/ 29 w 586"/>
              <a:gd name="T47" fmla="*/ 395 h 523"/>
              <a:gd name="T48" fmla="*/ 95 w 586"/>
              <a:gd name="T49" fmla="*/ 448 h 523"/>
              <a:gd name="T50" fmla="*/ 131 w 586"/>
              <a:gd name="T51" fmla="*/ 477 h 523"/>
              <a:gd name="T52" fmla="*/ 162 w 586"/>
              <a:gd name="T53" fmla="*/ 501 h 523"/>
              <a:gd name="T54" fmla="*/ 186 w 586"/>
              <a:gd name="T55" fmla="*/ 517 h 523"/>
              <a:gd name="T56" fmla="*/ 193 w 586"/>
              <a:gd name="T57" fmla="*/ 522 h 523"/>
              <a:gd name="T58" fmla="*/ 195 w 586"/>
              <a:gd name="T59" fmla="*/ 523 h 523"/>
              <a:gd name="T60" fmla="*/ 197 w 586"/>
              <a:gd name="T61" fmla="*/ 523 h 523"/>
              <a:gd name="T62" fmla="*/ 448 w 586"/>
              <a:gd name="T63" fmla="*/ 206 h 523"/>
              <a:gd name="T64" fmla="*/ 586 w 586"/>
              <a:gd name="T65" fmla="*/ 139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86" h="523">
                <a:moveTo>
                  <a:pt x="586" y="139"/>
                </a:moveTo>
                <a:lnTo>
                  <a:pt x="586" y="139"/>
                </a:lnTo>
                <a:lnTo>
                  <a:pt x="552" y="115"/>
                </a:lnTo>
                <a:lnTo>
                  <a:pt x="527" y="97"/>
                </a:lnTo>
                <a:lnTo>
                  <a:pt x="519" y="90"/>
                </a:lnTo>
                <a:lnTo>
                  <a:pt x="514" y="85"/>
                </a:lnTo>
                <a:lnTo>
                  <a:pt x="514" y="85"/>
                </a:lnTo>
                <a:lnTo>
                  <a:pt x="512" y="79"/>
                </a:lnTo>
                <a:lnTo>
                  <a:pt x="510" y="69"/>
                </a:lnTo>
                <a:lnTo>
                  <a:pt x="506" y="40"/>
                </a:lnTo>
                <a:lnTo>
                  <a:pt x="503" y="0"/>
                </a:lnTo>
                <a:lnTo>
                  <a:pt x="381" y="98"/>
                </a:lnTo>
                <a:lnTo>
                  <a:pt x="8" y="97"/>
                </a:lnTo>
                <a:lnTo>
                  <a:pt x="8" y="97"/>
                </a:lnTo>
                <a:lnTo>
                  <a:pt x="8" y="98"/>
                </a:lnTo>
                <a:lnTo>
                  <a:pt x="7" y="100"/>
                </a:lnTo>
                <a:lnTo>
                  <a:pt x="5" y="108"/>
                </a:lnTo>
                <a:lnTo>
                  <a:pt x="3" y="139"/>
                </a:lnTo>
                <a:lnTo>
                  <a:pt x="2" y="183"/>
                </a:lnTo>
                <a:lnTo>
                  <a:pt x="1" y="233"/>
                </a:lnTo>
                <a:lnTo>
                  <a:pt x="0" y="327"/>
                </a:lnTo>
                <a:lnTo>
                  <a:pt x="0" y="369"/>
                </a:lnTo>
                <a:lnTo>
                  <a:pt x="0" y="369"/>
                </a:lnTo>
                <a:lnTo>
                  <a:pt x="29" y="395"/>
                </a:lnTo>
                <a:lnTo>
                  <a:pt x="95" y="448"/>
                </a:lnTo>
                <a:lnTo>
                  <a:pt x="131" y="477"/>
                </a:lnTo>
                <a:lnTo>
                  <a:pt x="162" y="501"/>
                </a:lnTo>
                <a:lnTo>
                  <a:pt x="186" y="517"/>
                </a:lnTo>
                <a:lnTo>
                  <a:pt x="193" y="522"/>
                </a:lnTo>
                <a:lnTo>
                  <a:pt x="195" y="523"/>
                </a:lnTo>
                <a:lnTo>
                  <a:pt x="197" y="523"/>
                </a:lnTo>
                <a:lnTo>
                  <a:pt x="448" y="206"/>
                </a:lnTo>
                <a:lnTo>
                  <a:pt x="586" y="13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2" name="Freeform 39"/>
          <p:cNvSpPr>
            <a:spLocks/>
          </p:cNvSpPr>
          <p:nvPr userDrawn="1"/>
        </p:nvSpPr>
        <p:spPr bwMode="auto">
          <a:xfrm>
            <a:off x="7288212" y="1417340"/>
            <a:ext cx="115888" cy="66675"/>
          </a:xfrm>
          <a:custGeom>
            <a:avLst/>
            <a:gdLst>
              <a:gd name="T0" fmla="*/ 226 w 879"/>
              <a:gd name="T1" fmla="*/ 65 h 509"/>
              <a:gd name="T2" fmla="*/ 0 w 879"/>
              <a:gd name="T3" fmla="*/ 355 h 509"/>
              <a:gd name="T4" fmla="*/ 369 w 879"/>
              <a:gd name="T5" fmla="*/ 509 h 509"/>
              <a:gd name="T6" fmla="*/ 369 w 879"/>
              <a:gd name="T7" fmla="*/ 509 h 509"/>
              <a:gd name="T8" fmla="*/ 409 w 879"/>
              <a:gd name="T9" fmla="*/ 487 h 509"/>
              <a:gd name="T10" fmla="*/ 452 w 879"/>
              <a:gd name="T11" fmla="*/ 464 h 509"/>
              <a:gd name="T12" fmla="*/ 495 w 879"/>
              <a:gd name="T13" fmla="*/ 439 h 509"/>
              <a:gd name="T14" fmla="*/ 538 w 879"/>
              <a:gd name="T15" fmla="*/ 413 h 509"/>
              <a:gd name="T16" fmla="*/ 623 w 879"/>
              <a:gd name="T17" fmla="*/ 361 h 509"/>
              <a:gd name="T18" fmla="*/ 703 w 879"/>
              <a:gd name="T19" fmla="*/ 311 h 509"/>
              <a:gd name="T20" fmla="*/ 773 w 879"/>
              <a:gd name="T21" fmla="*/ 266 h 509"/>
              <a:gd name="T22" fmla="*/ 829 w 879"/>
              <a:gd name="T23" fmla="*/ 229 h 509"/>
              <a:gd name="T24" fmla="*/ 879 w 879"/>
              <a:gd name="T25" fmla="*/ 196 h 509"/>
              <a:gd name="T26" fmla="*/ 359 w 879"/>
              <a:gd name="T27" fmla="*/ 0 h 509"/>
              <a:gd name="T28" fmla="*/ 226 w 879"/>
              <a:gd name="T29" fmla="*/ 65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9" h="509">
                <a:moveTo>
                  <a:pt x="226" y="65"/>
                </a:moveTo>
                <a:lnTo>
                  <a:pt x="0" y="355"/>
                </a:lnTo>
                <a:lnTo>
                  <a:pt x="369" y="509"/>
                </a:lnTo>
                <a:lnTo>
                  <a:pt x="369" y="509"/>
                </a:lnTo>
                <a:lnTo>
                  <a:pt x="409" y="487"/>
                </a:lnTo>
                <a:lnTo>
                  <a:pt x="452" y="464"/>
                </a:lnTo>
                <a:lnTo>
                  <a:pt x="495" y="439"/>
                </a:lnTo>
                <a:lnTo>
                  <a:pt x="538" y="413"/>
                </a:lnTo>
                <a:lnTo>
                  <a:pt x="623" y="361"/>
                </a:lnTo>
                <a:lnTo>
                  <a:pt x="703" y="311"/>
                </a:lnTo>
                <a:lnTo>
                  <a:pt x="773" y="266"/>
                </a:lnTo>
                <a:lnTo>
                  <a:pt x="829" y="229"/>
                </a:lnTo>
                <a:lnTo>
                  <a:pt x="879" y="196"/>
                </a:lnTo>
                <a:lnTo>
                  <a:pt x="359" y="0"/>
                </a:lnTo>
                <a:lnTo>
                  <a:pt x="226" y="6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3" name="Freeform 40"/>
          <p:cNvSpPr>
            <a:spLocks/>
          </p:cNvSpPr>
          <p:nvPr userDrawn="1"/>
        </p:nvSpPr>
        <p:spPr bwMode="auto">
          <a:xfrm>
            <a:off x="7323137" y="1172865"/>
            <a:ext cx="26988" cy="123825"/>
          </a:xfrm>
          <a:custGeom>
            <a:avLst/>
            <a:gdLst>
              <a:gd name="T0" fmla="*/ 170 w 211"/>
              <a:gd name="T1" fmla="*/ 388 h 928"/>
              <a:gd name="T2" fmla="*/ 169 w 211"/>
              <a:gd name="T3" fmla="*/ 133 h 928"/>
              <a:gd name="T4" fmla="*/ 171 w 211"/>
              <a:gd name="T5" fmla="*/ 84 h 928"/>
              <a:gd name="T6" fmla="*/ 172 w 211"/>
              <a:gd name="T7" fmla="*/ 79 h 928"/>
              <a:gd name="T8" fmla="*/ 182 w 211"/>
              <a:gd name="T9" fmla="*/ 64 h 928"/>
              <a:gd name="T10" fmla="*/ 188 w 211"/>
              <a:gd name="T11" fmla="*/ 53 h 928"/>
              <a:gd name="T12" fmla="*/ 192 w 211"/>
              <a:gd name="T13" fmla="*/ 36 h 928"/>
              <a:gd name="T14" fmla="*/ 191 w 211"/>
              <a:gd name="T15" fmla="*/ 18 h 928"/>
              <a:gd name="T16" fmla="*/ 188 w 211"/>
              <a:gd name="T17" fmla="*/ 0 h 928"/>
              <a:gd name="T18" fmla="*/ 6 w 211"/>
              <a:gd name="T19" fmla="*/ 0 h 928"/>
              <a:gd name="T20" fmla="*/ 4 w 211"/>
              <a:gd name="T21" fmla="*/ 8 h 928"/>
              <a:gd name="T22" fmla="*/ 5 w 211"/>
              <a:gd name="T23" fmla="*/ 33 h 928"/>
              <a:gd name="T24" fmla="*/ 7 w 211"/>
              <a:gd name="T25" fmla="*/ 43 h 928"/>
              <a:gd name="T26" fmla="*/ 17 w 211"/>
              <a:gd name="T27" fmla="*/ 65 h 928"/>
              <a:gd name="T28" fmla="*/ 28 w 211"/>
              <a:gd name="T29" fmla="*/ 80 h 928"/>
              <a:gd name="T30" fmla="*/ 33 w 211"/>
              <a:gd name="T31" fmla="*/ 388 h 928"/>
              <a:gd name="T32" fmla="*/ 29 w 211"/>
              <a:gd name="T33" fmla="*/ 395 h 928"/>
              <a:gd name="T34" fmla="*/ 19 w 211"/>
              <a:gd name="T35" fmla="*/ 412 h 928"/>
              <a:gd name="T36" fmla="*/ 9 w 211"/>
              <a:gd name="T37" fmla="*/ 443 h 928"/>
              <a:gd name="T38" fmla="*/ 0 w 211"/>
              <a:gd name="T39" fmla="*/ 487 h 928"/>
              <a:gd name="T40" fmla="*/ 0 w 211"/>
              <a:gd name="T41" fmla="*/ 498 h 928"/>
              <a:gd name="T42" fmla="*/ 1 w 211"/>
              <a:gd name="T43" fmla="*/ 518 h 928"/>
              <a:gd name="T44" fmla="*/ 10 w 211"/>
              <a:gd name="T45" fmla="*/ 546 h 928"/>
              <a:gd name="T46" fmla="*/ 23 w 211"/>
              <a:gd name="T47" fmla="*/ 576 h 928"/>
              <a:gd name="T48" fmla="*/ 35 w 211"/>
              <a:gd name="T49" fmla="*/ 594 h 928"/>
              <a:gd name="T50" fmla="*/ 31 w 211"/>
              <a:gd name="T51" fmla="*/ 850 h 928"/>
              <a:gd name="T52" fmla="*/ 23 w 211"/>
              <a:gd name="T53" fmla="*/ 859 h 928"/>
              <a:gd name="T54" fmla="*/ 18 w 211"/>
              <a:gd name="T55" fmla="*/ 871 h 928"/>
              <a:gd name="T56" fmla="*/ 14 w 211"/>
              <a:gd name="T57" fmla="*/ 888 h 928"/>
              <a:gd name="T58" fmla="*/ 14 w 211"/>
              <a:gd name="T59" fmla="*/ 898 h 928"/>
              <a:gd name="T60" fmla="*/ 15 w 211"/>
              <a:gd name="T61" fmla="*/ 919 h 928"/>
              <a:gd name="T62" fmla="*/ 18 w 211"/>
              <a:gd name="T63" fmla="*/ 928 h 928"/>
              <a:gd name="T64" fmla="*/ 188 w 211"/>
              <a:gd name="T65" fmla="*/ 928 h 928"/>
              <a:gd name="T66" fmla="*/ 191 w 211"/>
              <a:gd name="T67" fmla="*/ 906 h 928"/>
              <a:gd name="T68" fmla="*/ 190 w 211"/>
              <a:gd name="T69" fmla="*/ 881 h 928"/>
              <a:gd name="T70" fmla="*/ 188 w 211"/>
              <a:gd name="T71" fmla="*/ 873 h 928"/>
              <a:gd name="T72" fmla="*/ 179 w 211"/>
              <a:gd name="T73" fmla="*/ 857 h 928"/>
              <a:gd name="T74" fmla="*/ 169 w 211"/>
              <a:gd name="T75" fmla="*/ 846 h 928"/>
              <a:gd name="T76" fmla="*/ 168 w 211"/>
              <a:gd name="T77" fmla="*/ 594 h 928"/>
              <a:gd name="T78" fmla="*/ 190 w 211"/>
              <a:gd name="T79" fmla="*/ 561 h 928"/>
              <a:gd name="T80" fmla="*/ 202 w 211"/>
              <a:gd name="T81" fmla="*/ 537 h 928"/>
              <a:gd name="T82" fmla="*/ 210 w 211"/>
              <a:gd name="T83" fmla="*/ 507 h 928"/>
              <a:gd name="T84" fmla="*/ 211 w 211"/>
              <a:gd name="T85" fmla="*/ 491 h 928"/>
              <a:gd name="T86" fmla="*/ 211 w 211"/>
              <a:gd name="T87" fmla="*/ 482 h 928"/>
              <a:gd name="T88" fmla="*/ 206 w 211"/>
              <a:gd name="T89" fmla="*/ 458 h 928"/>
              <a:gd name="T90" fmla="*/ 195 w 211"/>
              <a:gd name="T91" fmla="*/ 428 h 928"/>
              <a:gd name="T92" fmla="*/ 181 w 211"/>
              <a:gd name="T93" fmla="*/ 405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1" h="928">
                <a:moveTo>
                  <a:pt x="170" y="388"/>
                </a:moveTo>
                <a:lnTo>
                  <a:pt x="170" y="388"/>
                </a:lnTo>
                <a:lnTo>
                  <a:pt x="169" y="238"/>
                </a:lnTo>
                <a:lnTo>
                  <a:pt x="169" y="133"/>
                </a:lnTo>
                <a:lnTo>
                  <a:pt x="170" y="96"/>
                </a:lnTo>
                <a:lnTo>
                  <a:pt x="171" y="84"/>
                </a:lnTo>
                <a:lnTo>
                  <a:pt x="172" y="79"/>
                </a:lnTo>
                <a:lnTo>
                  <a:pt x="172" y="79"/>
                </a:lnTo>
                <a:lnTo>
                  <a:pt x="177" y="71"/>
                </a:lnTo>
                <a:lnTo>
                  <a:pt x="182" y="64"/>
                </a:lnTo>
                <a:lnTo>
                  <a:pt x="188" y="53"/>
                </a:lnTo>
                <a:lnTo>
                  <a:pt x="188" y="53"/>
                </a:lnTo>
                <a:lnTo>
                  <a:pt x="191" y="45"/>
                </a:lnTo>
                <a:lnTo>
                  <a:pt x="192" y="36"/>
                </a:lnTo>
                <a:lnTo>
                  <a:pt x="192" y="28"/>
                </a:lnTo>
                <a:lnTo>
                  <a:pt x="191" y="18"/>
                </a:lnTo>
                <a:lnTo>
                  <a:pt x="189" y="5"/>
                </a:lnTo>
                <a:lnTo>
                  <a:pt x="188" y="0"/>
                </a:lnTo>
                <a:lnTo>
                  <a:pt x="6" y="0"/>
                </a:lnTo>
                <a:lnTo>
                  <a:pt x="6" y="0"/>
                </a:lnTo>
                <a:lnTo>
                  <a:pt x="5" y="4"/>
                </a:lnTo>
                <a:lnTo>
                  <a:pt x="4" y="8"/>
                </a:lnTo>
                <a:lnTo>
                  <a:pt x="4" y="20"/>
                </a:lnTo>
                <a:lnTo>
                  <a:pt x="5" y="33"/>
                </a:lnTo>
                <a:lnTo>
                  <a:pt x="7" y="43"/>
                </a:lnTo>
                <a:lnTo>
                  <a:pt x="7" y="43"/>
                </a:lnTo>
                <a:lnTo>
                  <a:pt x="11" y="54"/>
                </a:lnTo>
                <a:lnTo>
                  <a:pt x="17" y="65"/>
                </a:lnTo>
                <a:lnTo>
                  <a:pt x="24" y="76"/>
                </a:lnTo>
                <a:lnTo>
                  <a:pt x="28" y="80"/>
                </a:lnTo>
                <a:lnTo>
                  <a:pt x="33" y="83"/>
                </a:lnTo>
                <a:lnTo>
                  <a:pt x="33" y="388"/>
                </a:lnTo>
                <a:lnTo>
                  <a:pt x="33" y="388"/>
                </a:lnTo>
                <a:lnTo>
                  <a:pt x="29" y="395"/>
                </a:lnTo>
                <a:lnTo>
                  <a:pt x="24" y="402"/>
                </a:lnTo>
                <a:lnTo>
                  <a:pt x="19" y="412"/>
                </a:lnTo>
                <a:lnTo>
                  <a:pt x="14" y="426"/>
                </a:lnTo>
                <a:lnTo>
                  <a:pt x="9" y="443"/>
                </a:lnTo>
                <a:lnTo>
                  <a:pt x="4" y="463"/>
                </a:lnTo>
                <a:lnTo>
                  <a:pt x="0" y="487"/>
                </a:lnTo>
                <a:lnTo>
                  <a:pt x="0" y="487"/>
                </a:lnTo>
                <a:lnTo>
                  <a:pt x="0" y="498"/>
                </a:lnTo>
                <a:lnTo>
                  <a:pt x="0" y="508"/>
                </a:lnTo>
                <a:lnTo>
                  <a:pt x="1" y="518"/>
                </a:lnTo>
                <a:lnTo>
                  <a:pt x="4" y="529"/>
                </a:lnTo>
                <a:lnTo>
                  <a:pt x="10" y="546"/>
                </a:lnTo>
                <a:lnTo>
                  <a:pt x="16" y="562"/>
                </a:lnTo>
                <a:lnTo>
                  <a:pt x="23" y="576"/>
                </a:lnTo>
                <a:lnTo>
                  <a:pt x="29" y="585"/>
                </a:lnTo>
                <a:lnTo>
                  <a:pt x="35" y="594"/>
                </a:lnTo>
                <a:lnTo>
                  <a:pt x="31" y="850"/>
                </a:lnTo>
                <a:lnTo>
                  <a:pt x="31" y="850"/>
                </a:lnTo>
                <a:lnTo>
                  <a:pt x="29" y="852"/>
                </a:lnTo>
                <a:lnTo>
                  <a:pt x="23" y="859"/>
                </a:lnTo>
                <a:lnTo>
                  <a:pt x="20" y="864"/>
                </a:lnTo>
                <a:lnTo>
                  <a:pt x="18" y="871"/>
                </a:lnTo>
                <a:lnTo>
                  <a:pt x="15" y="879"/>
                </a:lnTo>
                <a:lnTo>
                  <a:pt x="14" y="888"/>
                </a:lnTo>
                <a:lnTo>
                  <a:pt x="14" y="888"/>
                </a:lnTo>
                <a:lnTo>
                  <a:pt x="14" y="898"/>
                </a:lnTo>
                <a:lnTo>
                  <a:pt x="14" y="906"/>
                </a:lnTo>
                <a:lnTo>
                  <a:pt x="15" y="919"/>
                </a:lnTo>
                <a:lnTo>
                  <a:pt x="17" y="926"/>
                </a:lnTo>
                <a:lnTo>
                  <a:pt x="18" y="928"/>
                </a:lnTo>
                <a:lnTo>
                  <a:pt x="188" y="928"/>
                </a:lnTo>
                <a:lnTo>
                  <a:pt x="188" y="928"/>
                </a:lnTo>
                <a:lnTo>
                  <a:pt x="190" y="920"/>
                </a:lnTo>
                <a:lnTo>
                  <a:pt x="191" y="906"/>
                </a:lnTo>
                <a:lnTo>
                  <a:pt x="190" y="889"/>
                </a:lnTo>
                <a:lnTo>
                  <a:pt x="190" y="881"/>
                </a:lnTo>
                <a:lnTo>
                  <a:pt x="188" y="873"/>
                </a:lnTo>
                <a:lnTo>
                  <a:pt x="188" y="873"/>
                </a:lnTo>
                <a:lnTo>
                  <a:pt x="185" y="864"/>
                </a:lnTo>
                <a:lnTo>
                  <a:pt x="179" y="857"/>
                </a:lnTo>
                <a:lnTo>
                  <a:pt x="174" y="851"/>
                </a:lnTo>
                <a:lnTo>
                  <a:pt x="169" y="846"/>
                </a:lnTo>
                <a:lnTo>
                  <a:pt x="168" y="594"/>
                </a:lnTo>
                <a:lnTo>
                  <a:pt x="168" y="594"/>
                </a:lnTo>
                <a:lnTo>
                  <a:pt x="181" y="573"/>
                </a:lnTo>
                <a:lnTo>
                  <a:pt x="190" y="561"/>
                </a:lnTo>
                <a:lnTo>
                  <a:pt x="196" y="550"/>
                </a:lnTo>
                <a:lnTo>
                  <a:pt x="202" y="537"/>
                </a:lnTo>
                <a:lnTo>
                  <a:pt x="207" y="522"/>
                </a:lnTo>
                <a:lnTo>
                  <a:pt x="210" y="507"/>
                </a:lnTo>
                <a:lnTo>
                  <a:pt x="211" y="499"/>
                </a:lnTo>
                <a:lnTo>
                  <a:pt x="211" y="491"/>
                </a:lnTo>
                <a:lnTo>
                  <a:pt x="211" y="491"/>
                </a:lnTo>
                <a:lnTo>
                  <a:pt x="211" y="482"/>
                </a:lnTo>
                <a:lnTo>
                  <a:pt x="210" y="473"/>
                </a:lnTo>
                <a:lnTo>
                  <a:pt x="206" y="458"/>
                </a:lnTo>
                <a:lnTo>
                  <a:pt x="201" y="443"/>
                </a:lnTo>
                <a:lnTo>
                  <a:pt x="195" y="428"/>
                </a:lnTo>
                <a:lnTo>
                  <a:pt x="189" y="416"/>
                </a:lnTo>
                <a:lnTo>
                  <a:pt x="181" y="405"/>
                </a:lnTo>
                <a:lnTo>
                  <a:pt x="170" y="3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4" name="Freeform 41"/>
          <p:cNvSpPr>
            <a:spLocks/>
          </p:cNvSpPr>
          <p:nvPr userDrawn="1"/>
        </p:nvSpPr>
        <p:spPr bwMode="auto">
          <a:xfrm>
            <a:off x="7351712" y="1209378"/>
            <a:ext cx="80963" cy="58738"/>
          </a:xfrm>
          <a:custGeom>
            <a:avLst/>
            <a:gdLst>
              <a:gd name="T0" fmla="*/ 617 w 617"/>
              <a:gd name="T1" fmla="*/ 73 h 442"/>
              <a:gd name="T2" fmla="*/ 433 w 617"/>
              <a:gd name="T3" fmla="*/ 70 h 442"/>
              <a:gd name="T4" fmla="*/ 202 w 617"/>
              <a:gd name="T5" fmla="*/ 68 h 442"/>
              <a:gd name="T6" fmla="*/ 195 w 617"/>
              <a:gd name="T7" fmla="*/ 67 h 442"/>
              <a:gd name="T8" fmla="*/ 174 w 617"/>
              <a:gd name="T9" fmla="*/ 61 h 442"/>
              <a:gd name="T10" fmla="*/ 137 w 617"/>
              <a:gd name="T11" fmla="*/ 44 h 442"/>
              <a:gd name="T12" fmla="*/ 84 w 617"/>
              <a:gd name="T13" fmla="*/ 16 h 442"/>
              <a:gd name="T14" fmla="*/ 53 w 617"/>
              <a:gd name="T15" fmla="*/ 2 h 442"/>
              <a:gd name="T16" fmla="*/ 40 w 617"/>
              <a:gd name="T17" fmla="*/ 0 h 442"/>
              <a:gd name="T18" fmla="*/ 37 w 617"/>
              <a:gd name="T19" fmla="*/ 2 h 442"/>
              <a:gd name="T20" fmla="*/ 22 w 617"/>
              <a:gd name="T21" fmla="*/ 38 h 442"/>
              <a:gd name="T22" fmla="*/ 1 w 617"/>
              <a:gd name="T23" fmla="*/ 91 h 442"/>
              <a:gd name="T24" fmla="*/ 19 w 617"/>
              <a:gd name="T25" fmla="*/ 113 h 442"/>
              <a:gd name="T26" fmla="*/ 38 w 617"/>
              <a:gd name="T27" fmla="*/ 147 h 442"/>
              <a:gd name="T28" fmla="*/ 47 w 617"/>
              <a:gd name="T29" fmla="*/ 169 h 442"/>
              <a:gd name="T30" fmla="*/ 52 w 617"/>
              <a:gd name="T31" fmla="*/ 191 h 442"/>
              <a:gd name="T32" fmla="*/ 55 w 617"/>
              <a:gd name="T33" fmla="*/ 216 h 442"/>
              <a:gd name="T34" fmla="*/ 53 w 617"/>
              <a:gd name="T35" fmla="*/ 235 h 442"/>
              <a:gd name="T36" fmla="*/ 48 w 617"/>
              <a:gd name="T37" fmla="*/ 265 h 442"/>
              <a:gd name="T38" fmla="*/ 42 w 617"/>
              <a:gd name="T39" fmla="*/ 283 h 442"/>
              <a:gd name="T40" fmla="*/ 32 w 617"/>
              <a:gd name="T41" fmla="*/ 304 h 442"/>
              <a:gd name="T42" fmla="*/ 19 w 617"/>
              <a:gd name="T43" fmla="*/ 324 h 442"/>
              <a:gd name="T44" fmla="*/ 0 w 617"/>
              <a:gd name="T45" fmla="*/ 345 h 442"/>
              <a:gd name="T46" fmla="*/ 23 w 617"/>
              <a:gd name="T47" fmla="*/ 391 h 442"/>
              <a:gd name="T48" fmla="*/ 47 w 617"/>
              <a:gd name="T49" fmla="*/ 435 h 442"/>
              <a:gd name="T50" fmla="*/ 52 w 617"/>
              <a:gd name="T51" fmla="*/ 442 h 442"/>
              <a:gd name="T52" fmla="*/ 84 w 617"/>
              <a:gd name="T53" fmla="*/ 423 h 442"/>
              <a:gd name="T54" fmla="*/ 129 w 617"/>
              <a:gd name="T55" fmla="*/ 400 h 442"/>
              <a:gd name="T56" fmla="*/ 183 w 617"/>
              <a:gd name="T57" fmla="*/ 378 h 442"/>
              <a:gd name="T58" fmla="*/ 211 w 617"/>
              <a:gd name="T59" fmla="*/ 371 h 442"/>
              <a:gd name="T60" fmla="*/ 224 w 617"/>
              <a:gd name="T61" fmla="*/ 369 h 442"/>
              <a:gd name="T62" fmla="*/ 330 w 617"/>
              <a:gd name="T63" fmla="*/ 363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17" h="442">
                <a:moveTo>
                  <a:pt x="330" y="363"/>
                </a:moveTo>
                <a:lnTo>
                  <a:pt x="617" y="73"/>
                </a:lnTo>
                <a:lnTo>
                  <a:pt x="617" y="73"/>
                </a:lnTo>
                <a:lnTo>
                  <a:pt x="433" y="70"/>
                </a:lnTo>
                <a:lnTo>
                  <a:pt x="324" y="69"/>
                </a:lnTo>
                <a:lnTo>
                  <a:pt x="202" y="68"/>
                </a:lnTo>
                <a:lnTo>
                  <a:pt x="202" y="68"/>
                </a:lnTo>
                <a:lnTo>
                  <a:pt x="195" y="67"/>
                </a:lnTo>
                <a:lnTo>
                  <a:pt x="185" y="65"/>
                </a:lnTo>
                <a:lnTo>
                  <a:pt x="174" y="61"/>
                </a:lnTo>
                <a:lnTo>
                  <a:pt x="163" y="56"/>
                </a:lnTo>
                <a:lnTo>
                  <a:pt x="137" y="44"/>
                </a:lnTo>
                <a:lnTo>
                  <a:pt x="110" y="30"/>
                </a:lnTo>
                <a:lnTo>
                  <a:pt x="84" y="16"/>
                </a:lnTo>
                <a:lnTo>
                  <a:pt x="63" y="6"/>
                </a:lnTo>
                <a:lnTo>
                  <a:pt x="53" y="2"/>
                </a:lnTo>
                <a:lnTo>
                  <a:pt x="45" y="1"/>
                </a:lnTo>
                <a:lnTo>
                  <a:pt x="40" y="0"/>
                </a:lnTo>
                <a:lnTo>
                  <a:pt x="38" y="1"/>
                </a:lnTo>
                <a:lnTo>
                  <a:pt x="37" y="2"/>
                </a:lnTo>
                <a:lnTo>
                  <a:pt x="37" y="2"/>
                </a:lnTo>
                <a:lnTo>
                  <a:pt x="22" y="38"/>
                </a:lnTo>
                <a:lnTo>
                  <a:pt x="1" y="91"/>
                </a:lnTo>
                <a:lnTo>
                  <a:pt x="1" y="91"/>
                </a:lnTo>
                <a:lnTo>
                  <a:pt x="10" y="101"/>
                </a:lnTo>
                <a:lnTo>
                  <a:pt x="19" y="113"/>
                </a:lnTo>
                <a:lnTo>
                  <a:pt x="29" y="129"/>
                </a:lnTo>
                <a:lnTo>
                  <a:pt x="38" y="147"/>
                </a:lnTo>
                <a:lnTo>
                  <a:pt x="43" y="157"/>
                </a:lnTo>
                <a:lnTo>
                  <a:pt x="47" y="169"/>
                </a:lnTo>
                <a:lnTo>
                  <a:pt x="50" y="180"/>
                </a:lnTo>
                <a:lnTo>
                  <a:pt x="52" y="191"/>
                </a:lnTo>
                <a:lnTo>
                  <a:pt x="55" y="203"/>
                </a:lnTo>
                <a:lnTo>
                  <a:pt x="55" y="216"/>
                </a:lnTo>
                <a:lnTo>
                  <a:pt x="55" y="216"/>
                </a:lnTo>
                <a:lnTo>
                  <a:pt x="53" y="235"/>
                </a:lnTo>
                <a:lnTo>
                  <a:pt x="51" y="248"/>
                </a:lnTo>
                <a:lnTo>
                  <a:pt x="48" y="265"/>
                </a:lnTo>
                <a:lnTo>
                  <a:pt x="45" y="274"/>
                </a:lnTo>
                <a:lnTo>
                  <a:pt x="42" y="283"/>
                </a:lnTo>
                <a:lnTo>
                  <a:pt x="38" y="293"/>
                </a:lnTo>
                <a:lnTo>
                  <a:pt x="32" y="304"/>
                </a:lnTo>
                <a:lnTo>
                  <a:pt x="26" y="313"/>
                </a:lnTo>
                <a:lnTo>
                  <a:pt x="19" y="324"/>
                </a:lnTo>
                <a:lnTo>
                  <a:pt x="11" y="334"/>
                </a:lnTo>
                <a:lnTo>
                  <a:pt x="0" y="345"/>
                </a:lnTo>
                <a:lnTo>
                  <a:pt x="0" y="345"/>
                </a:lnTo>
                <a:lnTo>
                  <a:pt x="23" y="391"/>
                </a:lnTo>
                <a:lnTo>
                  <a:pt x="40" y="423"/>
                </a:lnTo>
                <a:lnTo>
                  <a:pt x="47" y="435"/>
                </a:lnTo>
                <a:lnTo>
                  <a:pt x="52" y="442"/>
                </a:lnTo>
                <a:lnTo>
                  <a:pt x="52" y="442"/>
                </a:lnTo>
                <a:lnTo>
                  <a:pt x="67" y="433"/>
                </a:lnTo>
                <a:lnTo>
                  <a:pt x="84" y="423"/>
                </a:lnTo>
                <a:lnTo>
                  <a:pt x="105" y="412"/>
                </a:lnTo>
                <a:lnTo>
                  <a:pt x="129" y="400"/>
                </a:lnTo>
                <a:lnTo>
                  <a:pt x="156" y="388"/>
                </a:lnTo>
                <a:lnTo>
                  <a:pt x="183" y="378"/>
                </a:lnTo>
                <a:lnTo>
                  <a:pt x="198" y="374"/>
                </a:lnTo>
                <a:lnTo>
                  <a:pt x="211" y="371"/>
                </a:lnTo>
                <a:lnTo>
                  <a:pt x="211" y="371"/>
                </a:lnTo>
                <a:lnTo>
                  <a:pt x="224" y="369"/>
                </a:lnTo>
                <a:lnTo>
                  <a:pt x="248" y="367"/>
                </a:lnTo>
                <a:lnTo>
                  <a:pt x="330" y="36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5" name="Freeform 42"/>
          <p:cNvSpPr>
            <a:spLocks/>
          </p:cNvSpPr>
          <p:nvPr userDrawn="1"/>
        </p:nvSpPr>
        <p:spPr bwMode="auto">
          <a:xfrm>
            <a:off x="7453312" y="1131590"/>
            <a:ext cx="158750" cy="127000"/>
          </a:xfrm>
          <a:custGeom>
            <a:avLst/>
            <a:gdLst>
              <a:gd name="T0" fmla="*/ 1179 w 1207"/>
              <a:gd name="T1" fmla="*/ 480 h 962"/>
              <a:gd name="T2" fmla="*/ 1115 w 1207"/>
              <a:gd name="T3" fmla="*/ 496 h 962"/>
              <a:gd name="T4" fmla="*/ 1079 w 1207"/>
              <a:gd name="T5" fmla="*/ 532 h 962"/>
              <a:gd name="T6" fmla="*/ 1057 w 1207"/>
              <a:gd name="T7" fmla="*/ 600 h 962"/>
              <a:gd name="T8" fmla="*/ 1046 w 1207"/>
              <a:gd name="T9" fmla="*/ 585 h 962"/>
              <a:gd name="T10" fmla="*/ 1007 w 1207"/>
              <a:gd name="T11" fmla="*/ 556 h 962"/>
              <a:gd name="T12" fmla="*/ 935 w 1207"/>
              <a:gd name="T13" fmla="*/ 562 h 962"/>
              <a:gd name="T14" fmla="*/ 930 w 1207"/>
              <a:gd name="T15" fmla="*/ 613 h 962"/>
              <a:gd name="T16" fmla="*/ 935 w 1207"/>
              <a:gd name="T17" fmla="*/ 696 h 962"/>
              <a:gd name="T18" fmla="*/ 890 w 1207"/>
              <a:gd name="T19" fmla="*/ 725 h 962"/>
              <a:gd name="T20" fmla="*/ 842 w 1207"/>
              <a:gd name="T21" fmla="*/ 709 h 962"/>
              <a:gd name="T22" fmla="*/ 816 w 1207"/>
              <a:gd name="T23" fmla="*/ 658 h 962"/>
              <a:gd name="T24" fmla="*/ 805 w 1207"/>
              <a:gd name="T25" fmla="*/ 643 h 962"/>
              <a:gd name="T26" fmla="*/ 749 w 1207"/>
              <a:gd name="T27" fmla="*/ 659 h 962"/>
              <a:gd name="T28" fmla="*/ 701 w 1207"/>
              <a:gd name="T29" fmla="*/ 634 h 962"/>
              <a:gd name="T30" fmla="*/ 694 w 1207"/>
              <a:gd name="T31" fmla="*/ 581 h 962"/>
              <a:gd name="T32" fmla="*/ 754 w 1207"/>
              <a:gd name="T33" fmla="*/ 540 h 962"/>
              <a:gd name="T34" fmla="*/ 824 w 1207"/>
              <a:gd name="T35" fmla="*/ 520 h 962"/>
              <a:gd name="T36" fmla="*/ 805 w 1207"/>
              <a:gd name="T37" fmla="*/ 460 h 962"/>
              <a:gd name="T38" fmla="*/ 764 w 1207"/>
              <a:gd name="T39" fmla="*/ 421 h 962"/>
              <a:gd name="T40" fmla="*/ 698 w 1207"/>
              <a:gd name="T41" fmla="*/ 414 h 962"/>
              <a:gd name="T42" fmla="*/ 672 w 1207"/>
              <a:gd name="T43" fmla="*/ 415 h 962"/>
              <a:gd name="T44" fmla="*/ 712 w 1207"/>
              <a:gd name="T45" fmla="*/ 360 h 962"/>
              <a:gd name="T46" fmla="*/ 709 w 1207"/>
              <a:gd name="T47" fmla="*/ 285 h 962"/>
              <a:gd name="T48" fmla="*/ 668 w 1207"/>
              <a:gd name="T49" fmla="*/ 214 h 962"/>
              <a:gd name="T50" fmla="*/ 606 w 1207"/>
              <a:gd name="T51" fmla="*/ 224 h 962"/>
              <a:gd name="T52" fmla="*/ 535 w 1207"/>
              <a:gd name="T53" fmla="*/ 272 h 962"/>
              <a:gd name="T54" fmla="*/ 516 w 1207"/>
              <a:gd name="T55" fmla="*/ 334 h 962"/>
              <a:gd name="T56" fmla="*/ 508 w 1207"/>
              <a:gd name="T57" fmla="*/ 341 h 962"/>
              <a:gd name="T58" fmla="*/ 458 w 1207"/>
              <a:gd name="T59" fmla="*/ 287 h 962"/>
              <a:gd name="T60" fmla="*/ 404 w 1207"/>
              <a:gd name="T61" fmla="*/ 278 h 962"/>
              <a:gd name="T62" fmla="*/ 345 w 1207"/>
              <a:gd name="T63" fmla="*/ 300 h 962"/>
              <a:gd name="T64" fmla="*/ 362 w 1207"/>
              <a:gd name="T65" fmla="*/ 357 h 962"/>
              <a:gd name="T66" fmla="*/ 382 w 1207"/>
              <a:gd name="T67" fmla="*/ 432 h 962"/>
              <a:gd name="T68" fmla="*/ 347 w 1207"/>
              <a:gd name="T69" fmla="*/ 472 h 962"/>
              <a:gd name="T70" fmla="*/ 292 w 1207"/>
              <a:gd name="T71" fmla="*/ 462 h 962"/>
              <a:gd name="T72" fmla="*/ 262 w 1207"/>
              <a:gd name="T73" fmla="*/ 417 h 962"/>
              <a:gd name="T74" fmla="*/ 249 w 1207"/>
              <a:gd name="T75" fmla="*/ 398 h 962"/>
              <a:gd name="T76" fmla="*/ 194 w 1207"/>
              <a:gd name="T77" fmla="*/ 421 h 962"/>
              <a:gd name="T78" fmla="*/ 147 w 1207"/>
              <a:gd name="T79" fmla="*/ 404 h 962"/>
              <a:gd name="T80" fmla="*/ 128 w 1207"/>
              <a:gd name="T81" fmla="*/ 354 h 962"/>
              <a:gd name="T82" fmla="*/ 178 w 1207"/>
              <a:gd name="T83" fmla="*/ 300 h 962"/>
              <a:gd name="T84" fmla="*/ 233 w 1207"/>
              <a:gd name="T85" fmla="*/ 262 h 962"/>
              <a:gd name="T86" fmla="*/ 195 w 1207"/>
              <a:gd name="T87" fmla="*/ 203 h 962"/>
              <a:gd name="T88" fmla="*/ 145 w 1207"/>
              <a:gd name="T89" fmla="*/ 185 h 962"/>
              <a:gd name="T90" fmla="*/ 115 w 1207"/>
              <a:gd name="T91" fmla="*/ 191 h 962"/>
              <a:gd name="T92" fmla="*/ 153 w 1207"/>
              <a:gd name="T93" fmla="*/ 136 h 962"/>
              <a:gd name="T94" fmla="*/ 157 w 1207"/>
              <a:gd name="T95" fmla="*/ 76 h 962"/>
              <a:gd name="T96" fmla="*/ 134 w 1207"/>
              <a:gd name="T97" fmla="*/ 28 h 962"/>
              <a:gd name="T98" fmla="*/ 269 w 1207"/>
              <a:gd name="T99" fmla="*/ 712 h 962"/>
              <a:gd name="T100" fmla="*/ 354 w 1207"/>
              <a:gd name="T101" fmla="*/ 656 h 962"/>
              <a:gd name="T102" fmla="*/ 437 w 1207"/>
              <a:gd name="T103" fmla="*/ 636 h 962"/>
              <a:gd name="T104" fmla="*/ 517 w 1207"/>
              <a:gd name="T105" fmla="*/ 643 h 962"/>
              <a:gd name="T106" fmla="*/ 610 w 1207"/>
              <a:gd name="T107" fmla="*/ 683 h 962"/>
              <a:gd name="T108" fmla="*/ 658 w 1207"/>
              <a:gd name="T109" fmla="*/ 735 h 962"/>
              <a:gd name="T110" fmla="*/ 673 w 1207"/>
              <a:gd name="T111" fmla="*/ 793 h 962"/>
              <a:gd name="T112" fmla="*/ 646 w 1207"/>
              <a:gd name="T113" fmla="*/ 877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07" h="962">
                <a:moveTo>
                  <a:pt x="841" y="962"/>
                </a:moveTo>
                <a:lnTo>
                  <a:pt x="1207" y="484"/>
                </a:lnTo>
                <a:lnTo>
                  <a:pt x="1207" y="484"/>
                </a:lnTo>
                <a:lnTo>
                  <a:pt x="1200" y="482"/>
                </a:lnTo>
                <a:lnTo>
                  <a:pt x="1190" y="481"/>
                </a:lnTo>
                <a:lnTo>
                  <a:pt x="1179" y="480"/>
                </a:lnTo>
                <a:lnTo>
                  <a:pt x="1166" y="480"/>
                </a:lnTo>
                <a:lnTo>
                  <a:pt x="1149" y="483"/>
                </a:lnTo>
                <a:lnTo>
                  <a:pt x="1141" y="485"/>
                </a:lnTo>
                <a:lnTo>
                  <a:pt x="1133" y="488"/>
                </a:lnTo>
                <a:lnTo>
                  <a:pt x="1124" y="492"/>
                </a:lnTo>
                <a:lnTo>
                  <a:pt x="1115" y="496"/>
                </a:lnTo>
                <a:lnTo>
                  <a:pt x="1115" y="496"/>
                </a:lnTo>
                <a:lnTo>
                  <a:pt x="1106" y="502"/>
                </a:lnTo>
                <a:lnTo>
                  <a:pt x="1097" y="508"/>
                </a:lnTo>
                <a:lnTo>
                  <a:pt x="1090" y="515"/>
                </a:lnTo>
                <a:lnTo>
                  <a:pt x="1084" y="523"/>
                </a:lnTo>
                <a:lnTo>
                  <a:pt x="1079" y="532"/>
                </a:lnTo>
                <a:lnTo>
                  <a:pt x="1074" y="540"/>
                </a:lnTo>
                <a:lnTo>
                  <a:pt x="1070" y="548"/>
                </a:lnTo>
                <a:lnTo>
                  <a:pt x="1067" y="557"/>
                </a:lnTo>
                <a:lnTo>
                  <a:pt x="1062" y="574"/>
                </a:lnTo>
                <a:lnTo>
                  <a:pt x="1058" y="589"/>
                </a:lnTo>
                <a:lnTo>
                  <a:pt x="1057" y="600"/>
                </a:lnTo>
                <a:lnTo>
                  <a:pt x="1058" y="605"/>
                </a:lnTo>
                <a:lnTo>
                  <a:pt x="1059" y="608"/>
                </a:lnTo>
                <a:lnTo>
                  <a:pt x="1059" y="608"/>
                </a:lnTo>
                <a:lnTo>
                  <a:pt x="1055" y="599"/>
                </a:lnTo>
                <a:lnTo>
                  <a:pt x="1051" y="592"/>
                </a:lnTo>
                <a:lnTo>
                  <a:pt x="1046" y="585"/>
                </a:lnTo>
                <a:lnTo>
                  <a:pt x="1041" y="579"/>
                </a:lnTo>
                <a:lnTo>
                  <a:pt x="1036" y="574"/>
                </a:lnTo>
                <a:lnTo>
                  <a:pt x="1031" y="568"/>
                </a:lnTo>
                <a:lnTo>
                  <a:pt x="1025" y="564"/>
                </a:lnTo>
                <a:lnTo>
                  <a:pt x="1020" y="561"/>
                </a:lnTo>
                <a:lnTo>
                  <a:pt x="1007" y="556"/>
                </a:lnTo>
                <a:lnTo>
                  <a:pt x="994" y="554"/>
                </a:lnTo>
                <a:lnTo>
                  <a:pt x="982" y="553"/>
                </a:lnTo>
                <a:lnTo>
                  <a:pt x="970" y="554"/>
                </a:lnTo>
                <a:lnTo>
                  <a:pt x="957" y="556"/>
                </a:lnTo>
                <a:lnTo>
                  <a:pt x="946" y="558"/>
                </a:lnTo>
                <a:lnTo>
                  <a:pt x="935" y="562"/>
                </a:lnTo>
                <a:lnTo>
                  <a:pt x="927" y="565"/>
                </a:lnTo>
                <a:lnTo>
                  <a:pt x="913" y="572"/>
                </a:lnTo>
                <a:lnTo>
                  <a:pt x="908" y="574"/>
                </a:lnTo>
                <a:lnTo>
                  <a:pt x="908" y="574"/>
                </a:lnTo>
                <a:lnTo>
                  <a:pt x="920" y="594"/>
                </a:lnTo>
                <a:lnTo>
                  <a:pt x="930" y="613"/>
                </a:lnTo>
                <a:lnTo>
                  <a:pt x="936" y="632"/>
                </a:lnTo>
                <a:lnTo>
                  <a:pt x="940" y="647"/>
                </a:lnTo>
                <a:lnTo>
                  <a:pt x="941" y="663"/>
                </a:lnTo>
                <a:lnTo>
                  <a:pt x="941" y="675"/>
                </a:lnTo>
                <a:lnTo>
                  <a:pt x="939" y="687"/>
                </a:lnTo>
                <a:lnTo>
                  <a:pt x="935" y="696"/>
                </a:lnTo>
                <a:lnTo>
                  <a:pt x="930" y="705"/>
                </a:lnTo>
                <a:lnTo>
                  <a:pt x="924" y="712"/>
                </a:lnTo>
                <a:lnTo>
                  <a:pt x="915" y="718"/>
                </a:lnTo>
                <a:lnTo>
                  <a:pt x="907" y="722"/>
                </a:lnTo>
                <a:lnTo>
                  <a:pt x="899" y="724"/>
                </a:lnTo>
                <a:lnTo>
                  <a:pt x="890" y="725"/>
                </a:lnTo>
                <a:lnTo>
                  <a:pt x="881" y="725"/>
                </a:lnTo>
                <a:lnTo>
                  <a:pt x="871" y="724"/>
                </a:lnTo>
                <a:lnTo>
                  <a:pt x="871" y="724"/>
                </a:lnTo>
                <a:lnTo>
                  <a:pt x="859" y="720"/>
                </a:lnTo>
                <a:lnTo>
                  <a:pt x="850" y="715"/>
                </a:lnTo>
                <a:lnTo>
                  <a:pt x="842" y="709"/>
                </a:lnTo>
                <a:lnTo>
                  <a:pt x="835" y="702"/>
                </a:lnTo>
                <a:lnTo>
                  <a:pt x="829" y="695"/>
                </a:lnTo>
                <a:lnTo>
                  <a:pt x="825" y="688"/>
                </a:lnTo>
                <a:lnTo>
                  <a:pt x="821" y="680"/>
                </a:lnTo>
                <a:lnTo>
                  <a:pt x="819" y="673"/>
                </a:lnTo>
                <a:lnTo>
                  <a:pt x="816" y="658"/>
                </a:lnTo>
                <a:lnTo>
                  <a:pt x="816" y="646"/>
                </a:lnTo>
                <a:lnTo>
                  <a:pt x="816" y="638"/>
                </a:lnTo>
                <a:lnTo>
                  <a:pt x="816" y="635"/>
                </a:lnTo>
                <a:lnTo>
                  <a:pt x="816" y="635"/>
                </a:lnTo>
                <a:lnTo>
                  <a:pt x="813" y="637"/>
                </a:lnTo>
                <a:lnTo>
                  <a:pt x="805" y="643"/>
                </a:lnTo>
                <a:lnTo>
                  <a:pt x="793" y="650"/>
                </a:lnTo>
                <a:lnTo>
                  <a:pt x="785" y="653"/>
                </a:lnTo>
                <a:lnTo>
                  <a:pt x="777" y="656"/>
                </a:lnTo>
                <a:lnTo>
                  <a:pt x="768" y="658"/>
                </a:lnTo>
                <a:lnTo>
                  <a:pt x="759" y="659"/>
                </a:lnTo>
                <a:lnTo>
                  <a:pt x="749" y="659"/>
                </a:lnTo>
                <a:lnTo>
                  <a:pt x="739" y="658"/>
                </a:lnTo>
                <a:lnTo>
                  <a:pt x="729" y="655"/>
                </a:lnTo>
                <a:lnTo>
                  <a:pt x="720" y="650"/>
                </a:lnTo>
                <a:lnTo>
                  <a:pt x="710" y="643"/>
                </a:lnTo>
                <a:lnTo>
                  <a:pt x="701" y="634"/>
                </a:lnTo>
                <a:lnTo>
                  <a:pt x="701" y="634"/>
                </a:lnTo>
                <a:lnTo>
                  <a:pt x="694" y="625"/>
                </a:lnTo>
                <a:lnTo>
                  <a:pt x="690" y="616"/>
                </a:lnTo>
                <a:lnTo>
                  <a:pt x="688" y="607"/>
                </a:lnTo>
                <a:lnTo>
                  <a:pt x="689" y="598"/>
                </a:lnTo>
                <a:lnTo>
                  <a:pt x="690" y="589"/>
                </a:lnTo>
                <a:lnTo>
                  <a:pt x="694" y="581"/>
                </a:lnTo>
                <a:lnTo>
                  <a:pt x="701" y="572"/>
                </a:lnTo>
                <a:lnTo>
                  <a:pt x="708" y="564"/>
                </a:lnTo>
                <a:lnTo>
                  <a:pt x="717" y="557"/>
                </a:lnTo>
                <a:lnTo>
                  <a:pt x="727" y="550"/>
                </a:lnTo>
                <a:lnTo>
                  <a:pt x="740" y="544"/>
                </a:lnTo>
                <a:lnTo>
                  <a:pt x="754" y="540"/>
                </a:lnTo>
                <a:lnTo>
                  <a:pt x="769" y="536"/>
                </a:lnTo>
                <a:lnTo>
                  <a:pt x="786" y="533"/>
                </a:lnTo>
                <a:lnTo>
                  <a:pt x="804" y="532"/>
                </a:lnTo>
                <a:lnTo>
                  <a:pt x="823" y="531"/>
                </a:lnTo>
                <a:lnTo>
                  <a:pt x="823" y="531"/>
                </a:lnTo>
                <a:lnTo>
                  <a:pt x="824" y="520"/>
                </a:lnTo>
                <a:lnTo>
                  <a:pt x="823" y="509"/>
                </a:lnTo>
                <a:lnTo>
                  <a:pt x="820" y="494"/>
                </a:lnTo>
                <a:lnTo>
                  <a:pt x="817" y="486"/>
                </a:lnTo>
                <a:lnTo>
                  <a:pt x="814" y="477"/>
                </a:lnTo>
                <a:lnTo>
                  <a:pt x="810" y="469"/>
                </a:lnTo>
                <a:lnTo>
                  <a:pt x="805" y="460"/>
                </a:lnTo>
                <a:lnTo>
                  <a:pt x="799" y="451"/>
                </a:lnTo>
                <a:lnTo>
                  <a:pt x="792" y="443"/>
                </a:lnTo>
                <a:lnTo>
                  <a:pt x="782" y="435"/>
                </a:lnTo>
                <a:lnTo>
                  <a:pt x="772" y="426"/>
                </a:lnTo>
                <a:lnTo>
                  <a:pt x="772" y="426"/>
                </a:lnTo>
                <a:lnTo>
                  <a:pt x="764" y="421"/>
                </a:lnTo>
                <a:lnTo>
                  <a:pt x="755" y="417"/>
                </a:lnTo>
                <a:lnTo>
                  <a:pt x="745" y="415"/>
                </a:lnTo>
                <a:lnTo>
                  <a:pt x="735" y="413"/>
                </a:lnTo>
                <a:lnTo>
                  <a:pt x="725" y="412"/>
                </a:lnTo>
                <a:lnTo>
                  <a:pt x="716" y="412"/>
                </a:lnTo>
                <a:lnTo>
                  <a:pt x="698" y="414"/>
                </a:lnTo>
                <a:lnTo>
                  <a:pt x="681" y="418"/>
                </a:lnTo>
                <a:lnTo>
                  <a:pt x="668" y="421"/>
                </a:lnTo>
                <a:lnTo>
                  <a:pt x="657" y="425"/>
                </a:lnTo>
                <a:lnTo>
                  <a:pt x="657" y="425"/>
                </a:lnTo>
                <a:lnTo>
                  <a:pt x="664" y="421"/>
                </a:lnTo>
                <a:lnTo>
                  <a:pt x="672" y="415"/>
                </a:lnTo>
                <a:lnTo>
                  <a:pt x="681" y="408"/>
                </a:lnTo>
                <a:lnTo>
                  <a:pt x="691" y="397"/>
                </a:lnTo>
                <a:lnTo>
                  <a:pt x="701" y="384"/>
                </a:lnTo>
                <a:lnTo>
                  <a:pt x="705" y="376"/>
                </a:lnTo>
                <a:lnTo>
                  <a:pt x="709" y="369"/>
                </a:lnTo>
                <a:lnTo>
                  <a:pt x="712" y="360"/>
                </a:lnTo>
                <a:lnTo>
                  <a:pt x="714" y="351"/>
                </a:lnTo>
                <a:lnTo>
                  <a:pt x="714" y="351"/>
                </a:lnTo>
                <a:lnTo>
                  <a:pt x="716" y="336"/>
                </a:lnTo>
                <a:lnTo>
                  <a:pt x="715" y="320"/>
                </a:lnTo>
                <a:lnTo>
                  <a:pt x="713" y="303"/>
                </a:lnTo>
                <a:lnTo>
                  <a:pt x="709" y="285"/>
                </a:lnTo>
                <a:lnTo>
                  <a:pt x="702" y="267"/>
                </a:lnTo>
                <a:lnTo>
                  <a:pt x="693" y="249"/>
                </a:lnTo>
                <a:lnTo>
                  <a:pt x="682" y="232"/>
                </a:lnTo>
                <a:lnTo>
                  <a:pt x="676" y="223"/>
                </a:lnTo>
                <a:lnTo>
                  <a:pt x="669" y="216"/>
                </a:lnTo>
                <a:lnTo>
                  <a:pt x="668" y="214"/>
                </a:lnTo>
                <a:lnTo>
                  <a:pt x="665" y="214"/>
                </a:lnTo>
                <a:lnTo>
                  <a:pt x="665" y="214"/>
                </a:lnTo>
                <a:lnTo>
                  <a:pt x="655" y="214"/>
                </a:lnTo>
                <a:lnTo>
                  <a:pt x="644" y="215"/>
                </a:lnTo>
                <a:lnTo>
                  <a:pt x="624" y="219"/>
                </a:lnTo>
                <a:lnTo>
                  <a:pt x="606" y="224"/>
                </a:lnTo>
                <a:lnTo>
                  <a:pt x="587" y="232"/>
                </a:lnTo>
                <a:lnTo>
                  <a:pt x="572" y="240"/>
                </a:lnTo>
                <a:lnTo>
                  <a:pt x="557" y="250"/>
                </a:lnTo>
                <a:lnTo>
                  <a:pt x="545" y="261"/>
                </a:lnTo>
                <a:lnTo>
                  <a:pt x="535" y="272"/>
                </a:lnTo>
                <a:lnTo>
                  <a:pt x="535" y="272"/>
                </a:lnTo>
                <a:lnTo>
                  <a:pt x="530" y="280"/>
                </a:lnTo>
                <a:lnTo>
                  <a:pt x="526" y="288"/>
                </a:lnTo>
                <a:lnTo>
                  <a:pt x="523" y="297"/>
                </a:lnTo>
                <a:lnTo>
                  <a:pt x="520" y="305"/>
                </a:lnTo>
                <a:lnTo>
                  <a:pt x="517" y="320"/>
                </a:lnTo>
                <a:lnTo>
                  <a:pt x="516" y="334"/>
                </a:lnTo>
                <a:lnTo>
                  <a:pt x="516" y="347"/>
                </a:lnTo>
                <a:lnTo>
                  <a:pt x="517" y="357"/>
                </a:lnTo>
                <a:lnTo>
                  <a:pt x="519" y="365"/>
                </a:lnTo>
                <a:lnTo>
                  <a:pt x="519" y="365"/>
                </a:lnTo>
                <a:lnTo>
                  <a:pt x="513" y="354"/>
                </a:lnTo>
                <a:lnTo>
                  <a:pt x="508" y="341"/>
                </a:lnTo>
                <a:lnTo>
                  <a:pt x="499" y="327"/>
                </a:lnTo>
                <a:lnTo>
                  <a:pt x="488" y="313"/>
                </a:lnTo>
                <a:lnTo>
                  <a:pt x="482" y="306"/>
                </a:lnTo>
                <a:lnTo>
                  <a:pt x="475" y="299"/>
                </a:lnTo>
                <a:lnTo>
                  <a:pt x="467" y="292"/>
                </a:lnTo>
                <a:lnTo>
                  <a:pt x="458" y="287"/>
                </a:lnTo>
                <a:lnTo>
                  <a:pt x="450" y="283"/>
                </a:lnTo>
                <a:lnTo>
                  <a:pt x="440" y="281"/>
                </a:lnTo>
                <a:lnTo>
                  <a:pt x="440" y="281"/>
                </a:lnTo>
                <a:lnTo>
                  <a:pt x="428" y="278"/>
                </a:lnTo>
                <a:lnTo>
                  <a:pt x="415" y="278"/>
                </a:lnTo>
                <a:lnTo>
                  <a:pt x="404" y="278"/>
                </a:lnTo>
                <a:lnTo>
                  <a:pt x="393" y="279"/>
                </a:lnTo>
                <a:lnTo>
                  <a:pt x="384" y="281"/>
                </a:lnTo>
                <a:lnTo>
                  <a:pt x="374" y="284"/>
                </a:lnTo>
                <a:lnTo>
                  <a:pt x="365" y="287"/>
                </a:lnTo>
                <a:lnTo>
                  <a:pt x="358" y="291"/>
                </a:lnTo>
                <a:lnTo>
                  <a:pt x="345" y="300"/>
                </a:lnTo>
                <a:lnTo>
                  <a:pt x="336" y="307"/>
                </a:lnTo>
                <a:lnTo>
                  <a:pt x="328" y="314"/>
                </a:lnTo>
                <a:lnTo>
                  <a:pt x="328" y="314"/>
                </a:lnTo>
                <a:lnTo>
                  <a:pt x="342" y="328"/>
                </a:lnTo>
                <a:lnTo>
                  <a:pt x="353" y="343"/>
                </a:lnTo>
                <a:lnTo>
                  <a:pt x="362" y="357"/>
                </a:lnTo>
                <a:lnTo>
                  <a:pt x="369" y="371"/>
                </a:lnTo>
                <a:lnTo>
                  <a:pt x="375" y="384"/>
                </a:lnTo>
                <a:lnTo>
                  <a:pt x="380" y="398"/>
                </a:lnTo>
                <a:lnTo>
                  <a:pt x="382" y="410"/>
                </a:lnTo>
                <a:lnTo>
                  <a:pt x="383" y="421"/>
                </a:lnTo>
                <a:lnTo>
                  <a:pt x="382" y="432"/>
                </a:lnTo>
                <a:lnTo>
                  <a:pt x="380" y="442"/>
                </a:lnTo>
                <a:lnTo>
                  <a:pt x="375" y="451"/>
                </a:lnTo>
                <a:lnTo>
                  <a:pt x="370" y="458"/>
                </a:lnTo>
                <a:lnTo>
                  <a:pt x="363" y="464"/>
                </a:lnTo>
                <a:lnTo>
                  <a:pt x="356" y="469"/>
                </a:lnTo>
                <a:lnTo>
                  <a:pt x="347" y="472"/>
                </a:lnTo>
                <a:lnTo>
                  <a:pt x="337" y="473"/>
                </a:lnTo>
                <a:lnTo>
                  <a:pt x="337" y="473"/>
                </a:lnTo>
                <a:lnTo>
                  <a:pt x="322" y="473"/>
                </a:lnTo>
                <a:lnTo>
                  <a:pt x="311" y="471"/>
                </a:lnTo>
                <a:lnTo>
                  <a:pt x="301" y="467"/>
                </a:lnTo>
                <a:lnTo>
                  <a:pt x="292" y="462"/>
                </a:lnTo>
                <a:lnTo>
                  <a:pt x="283" y="456"/>
                </a:lnTo>
                <a:lnTo>
                  <a:pt x="277" y="449"/>
                </a:lnTo>
                <a:lnTo>
                  <a:pt x="272" y="441"/>
                </a:lnTo>
                <a:lnTo>
                  <a:pt x="268" y="432"/>
                </a:lnTo>
                <a:lnTo>
                  <a:pt x="264" y="424"/>
                </a:lnTo>
                <a:lnTo>
                  <a:pt x="262" y="417"/>
                </a:lnTo>
                <a:lnTo>
                  <a:pt x="259" y="403"/>
                </a:lnTo>
                <a:lnTo>
                  <a:pt x="257" y="393"/>
                </a:lnTo>
                <a:lnTo>
                  <a:pt x="257" y="390"/>
                </a:lnTo>
                <a:lnTo>
                  <a:pt x="257" y="390"/>
                </a:lnTo>
                <a:lnTo>
                  <a:pt x="255" y="392"/>
                </a:lnTo>
                <a:lnTo>
                  <a:pt x="249" y="398"/>
                </a:lnTo>
                <a:lnTo>
                  <a:pt x="239" y="405"/>
                </a:lnTo>
                <a:lnTo>
                  <a:pt x="227" y="413"/>
                </a:lnTo>
                <a:lnTo>
                  <a:pt x="220" y="416"/>
                </a:lnTo>
                <a:lnTo>
                  <a:pt x="212" y="419"/>
                </a:lnTo>
                <a:lnTo>
                  <a:pt x="204" y="420"/>
                </a:lnTo>
                <a:lnTo>
                  <a:pt x="194" y="421"/>
                </a:lnTo>
                <a:lnTo>
                  <a:pt x="185" y="421"/>
                </a:lnTo>
                <a:lnTo>
                  <a:pt x="175" y="419"/>
                </a:lnTo>
                <a:lnTo>
                  <a:pt x="165" y="415"/>
                </a:lnTo>
                <a:lnTo>
                  <a:pt x="155" y="409"/>
                </a:lnTo>
                <a:lnTo>
                  <a:pt x="155" y="409"/>
                </a:lnTo>
                <a:lnTo>
                  <a:pt x="147" y="404"/>
                </a:lnTo>
                <a:lnTo>
                  <a:pt x="140" y="397"/>
                </a:lnTo>
                <a:lnTo>
                  <a:pt x="135" y="390"/>
                </a:lnTo>
                <a:lnTo>
                  <a:pt x="131" y="381"/>
                </a:lnTo>
                <a:lnTo>
                  <a:pt x="129" y="372"/>
                </a:lnTo>
                <a:lnTo>
                  <a:pt x="128" y="363"/>
                </a:lnTo>
                <a:lnTo>
                  <a:pt x="128" y="354"/>
                </a:lnTo>
                <a:lnTo>
                  <a:pt x="131" y="345"/>
                </a:lnTo>
                <a:lnTo>
                  <a:pt x="136" y="334"/>
                </a:lnTo>
                <a:lnTo>
                  <a:pt x="142" y="325"/>
                </a:lnTo>
                <a:lnTo>
                  <a:pt x="153" y="316"/>
                </a:lnTo>
                <a:lnTo>
                  <a:pt x="164" y="308"/>
                </a:lnTo>
                <a:lnTo>
                  <a:pt x="178" y="300"/>
                </a:lnTo>
                <a:lnTo>
                  <a:pt x="195" y="292"/>
                </a:lnTo>
                <a:lnTo>
                  <a:pt x="216" y="286"/>
                </a:lnTo>
                <a:lnTo>
                  <a:pt x="239" y="280"/>
                </a:lnTo>
                <a:lnTo>
                  <a:pt x="239" y="280"/>
                </a:lnTo>
                <a:lnTo>
                  <a:pt x="238" y="275"/>
                </a:lnTo>
                <a:lnTo>
                  <a:pt x="233" y="262"/>
                </a:lnTo>
                <a:lnTo>
                  <a:pt x="230" y="253"/>
                </a:lnTo>
                <a:lnTo>
                  <a:pt x="225" y="242"/>
                </a:lnTo>
                <a:lnTo>
                  <a:pt x="220" y="232"/>
                </a:lnTo>
                <a:lnTo>
                  <a:pt x="213" y="222"/>
                </a:lnTo>
                <a:lnTo>
                  <a:pt x="205" y="213"/>
                </a:lnTo>
                <a:lnTo>
                  <a:pt x="195" y="203"/>
                </a:lnTo>
                <a:lnTo>
                  <a:pt x="185" y="196"/>
                </a:lnTo>
                <a:lnTo>
                  <a:pt x="173" y="190"/>
                </a:lnTo>
                <a:lnTo>
                  <a:pt x="167" y="188"/>
                </a:lnTo>
                <a:lnTo>
                  <a:pt x="161" y="187"/>
                </a:lnTo>
                <a:lnTo>
                  <a:pt x="154" y="186"/>
                </a:lnTo>
                <a:lnTo>
                  <a:pt x="145" y="185"/>
                </a:lnTo>
                <a:lnTo>
                  <a:pt x="138" y="186"/>
                </a:lnTo>
                <a:lnTo>
                  <a:pt x="129" y="187"/>
                </a:lnTo>
                <a:lnTo>
                  <a:pt x="121" y="190"/>
                </a:lnTo>
                <a:lnTo>
                  <a:pt x="112" y="193"/>
                </a:lnTo>
                <a:lnTo>
                  <a:pt x="112" y="193"/>
                </a:lnTo>
                <a:lnTo>
                  <a:pt x="115" y="191"/>
                </a:lnTo>
                <a:lnTo>
                  <a:pt x="119" y="188"/>
                </a:lnTo>
                <a:lnTo>
                  <a:pt x="127" y="180"/>
                </a:lnTo>
                <a:lnTo>
                  <a:pt x="136" y="168"/>
                </a:lnTo>
                <a:lnTo>
                  <a:pt x="144" y="153"/>
                </a:lnTo>
                <a:lnTo>
                  <a:pt x="148" y="144"/>
                </a:lnTo>
                <a:lnTo>
                  <a:pt x="153" y="136"/>
                </a:lnTo>
                <a:lnTo>
                  <a:pt x="156" y="127"/>
                </a:lnTo>
                <a:lnTo>
                  <a:pt x="158" y="117"/>
                </a:lnTo>
                <a:lnTo>
                  <a:pt x="159" y="106"/>
                </a:lnTo>
                <a:lnTo>
                  <a:pt x="160" y="97"/>
                </a:lnTo>
                <a:lnTo>
                  <a:pt x="159" y="86"/>
                </a:lnTo>
                <a:lnTo>
                  <a:pt x="157" y="76"/>
                </a:lnTo>
                <a:lnTo>
                  <a:pt x="157" y="76"/>
                </a:lnTo>
                <a:lnTo>
                  <a:pt x="155" y="66"/>
                </a:lnTo>
                <a:lnTo>
                  <a:pt x="150" y="57"/>
                </a:lnTo>
                <a:lnTo>
                  <a:pt x="147" y="49"/>
                </a:lnTo>
                <a:lnTo>
                  <a:pt x="143" y="41"/>
                </a:lnTo>
                <a:lnTo>
                  <a:pt x="134" y="28"/>
                </a:lnTo>
                <a:lnTo>
                  <a:pt x="125" y="17"/>
                </a:lnTo>
                <a:lnTo>
                  <a:pt x="117" y="9"/>
                </a:lnTo>
                <a:lnTo>
                  <a:pt x="110" y="4"/>
                </a:lnTo>
                <a:lnTo>
                  <a:pt x="103" y="0"/>
                </a:lnTo>
                <a:lnTo>
                  <a:pt x="0" y="593"/>
                </a:lnTo>
                <a:lnTo>
                  <a:pt x="269" y="712"/>
                </a:lnTo>
                <a:lnTo>
                  <a:pt x="269" y="712"/>
                </a:lnTo>
                <a:lnTo>
                  <a:pt x="293" y="693"/>
                </a:lnTo>
                <a:lnTo>
                  <a:pt x="315" y="677"/>
                </a:lnTo>
                <a:lnTo>
                  <a:pt x="336" y="665"/>
                </a:lnTo>
                <a:lnTo>
                  <a:pt x="354" y="656"/>
                </a:lnTo>
                <a:lnTo>
                  <a:pt x="354" y="656"/>
                </a:lnTo>
                <a:lnTo>
                  <a:pt x="367" y="650"/>
                </a:lnTo>
                <a:lnTo>
                  <a:pt x="382" y="646"/>
                </a:lnTo>
                <a:lnTo>
                  <a:pt x="396" y="642"/>
                </a:lnTo>
                <a:lnTo>
                  <a:pt x="409" y="639"/>
                </a:lnTo>
                <a:lnTo>
                  <a:pt x="423" y="637"/>
                </a:lnTo>
                <a:lnTo>
                  <a:pt x="437" y="636"/>
                </a:lnTo>
                <a:lnTo>
                  <a:pt x="450" y="635"/>
                </a:lnTo>
                <a:lnTo>
                  <a:pt x="464" y="635"/>
                </a:lnTo>
                <a:lnTo>
                  <a:pt x="478" y="636"/>
                </a:lnTo>
                <a:lnTo>
                  <a:pt x="491" y="638"/>
                </a:lnTo>
                <a:lnTo>
                  <a:pt x="504" y="640"/>
                </a:lnTo>
                <a:lnTo>
                  <a:pt x="517" y="643"/>
                </a:lnTo>
                <a:lnTo>
                  <a:pt x="542" y="650"/>
                </a:lnTo>
                <a:lnTo>
                  <a:pt x="566" y="658"/>
                </a:lnTo>
                <a:lnTo>
                  <a:pt x="566" y="658"/>
                </a:lnTo>
                <a:lnTo>
                  <a:pt x="582" y="667"/>
                </a:lnTo>
                <a:lnTo>
                  <a:pt x="596" y="675"/>
                </a:lnTo>
                <a:lnTo>
                  <a:pt x="610" y="683"/>
                </a:lnTo>
                <a:lnTo>
                  <a:pt x="621" y="691"/>
                </a:lnTo>
                <a:lnTo>
                  <a:pt x="631" y="699"/>
                </a:lnTo>
                <a:lnTo>
                  <a:pt x="639" y="709"/>
                </a:lnTo>
                <a:lnTo>
                  <a:pt x="646" y="717"/>
                </a:lnTo>
                <a:lnTo>
                  <a:pt x="653" y="726"/>
                </a:lnTo>
                <a:lnTo>
                  <a:pt x="658" y="735"/>
                </a:lnTo>
                <a:lnTo>
                  <a:pt x="662" y="743"/>
                </a:lnTo>
                <a:lnTo>
                  <a:pt x="665" y="753"/>
                </a:lnTo>
                <a:lnTo>
                  <a:pt x="668" y="761"/>
                </a:lnTo>
                <a:lnTo>
                  <a:pt x="671" y="778"/>
                </a:lnTo>
                <a:lnTo>
                  <a:pt x="673" y="793"/>
                </a:lnTo>
                <a:lnTo>
                  <a:pt x="673" y="793"/>
                </a:lnTo>
                <a:lnTo>
                  <a:pt x="672" y="804"/>
                </a:lnTo>
                <a:lnTo>
                  <a:pt x="670" y="815"/>
                </a:lnTo>
                <a:lnTo>
                  <a:pt x="667" y="827"/>
                </a:lnTo>
                <a:lnTo>
                  <a:pt x="663" y="839"/>
                </a:lnTo>
                <a:lnTo>
                  <a:pt x="654" y="863"/>
                </a:lnTo>
                <a:lnTo>
                  <a:pt x="646" y="877"/>
                </a:lnTo>
                <a:lnTo>
                  <a:pt x="841" y="96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6" name="Freeform 43"/>
          <p:cNvSpPr>
            <a:spLocks/>
          </p:cNvSpPr>
          <p:nvPr userDrawn="1"/>
        </p:nvSpPr>
        <p:spPr bwMode="auto">
          <a:xfrm>
            <a:off x="7581900" y="1218903"/>
            <a:ext cx="193675" cy="33338"/>
          </a:xfrm>
          <a:custGeom>
            <a:avLst/>
            <a:gdLst>
              <a:gd name="T0" fmla="*/ 1228 w 1463"/>
              <a:gd name="T1" fmla="*/ 227 h 256"/>
              <a:gd name="T2" fmla="*/ 1463 w 1463"/>
              <a:gd name="T3" fmla="*/ 113 h 256"/>
              <a:gd name="T4" fmla="*/ 1225 w 1463"/>
              <a:gd name="T5" fmla="*/ 14 h 256"/>
              <a:gd name="T6" fmla="*/ 1225 w 1463"/>
              <a:gd name="T7" fmla="*/ 14 h 256"/>
              <a:gd name="T8" fmla="*/ 1152 w 1463"/>
              <a:gd name="T9" fmla="*/ 15 h 256"/>
              <a:gd name="T10" fmla="*/ 1060 w 1463"/>
              <a:gd name="T11" fmla="*/ 16 h 256"/>
              <a:gd name="T12" fmla="*/ 949 w 1463"/>
              <a:gd name="T13" fmla="*/ 15 h 256"/>
              <a:gd name="T14" fmla="*/ 824 w 1463"/>
              <a:gd name="T15" fmla="*/ 13 h 256"/>
              <a:gd name="T16" fmla="*/ 531 w 1463"/>
              <a:gd name="T17" fmla="*/ 7 h 256"/>
              <a:gd name="T18" fmla="*/ 197 w 1463"/>
              <a:gd name="T19" fmla="*/ 0 h 256"/>
              <a:gd name="T20" fmla="*/ 0 w 1463"/>
              <a:gd name="T21" fmla="*/ 256 h 256"/>
              <a:gd name="T22" fmla="*/ 0 w 1463"/>
              <a:gd name="T23" fmla="*/ 256 h 256"/>
              <a:gd name="T24" fmla="*/ 734 w 1463"/>
              <a:gd name="T25" fmla="*/ 240 h 256"/>
              <a:gd name="T26" fmla="*/ 1024 w 1463"/>
              <a:gd name="T27" fmla="*/ 234 h 256"/>
              <a:gd name="T28" fmla="*/ 1228 w 1463"/>
              <a:gd name="T29" fmla="*/ 22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3" h="256">
                <a:moveTo>
                  <a:pt x="1228" y="227"/>
                </a:moveTo>
                <a:lnTo>
                  <a:pt x="1463" y="113"/>
                </a:lnTo>
                <a:lnTo>
                  <a:pt x="1225" y="14"/>
                </a:lnTo>
                <a:lnTo>
                  <a:pt x="1225" y="14"/>
                </a:lnTo>
                <a:lnTo>
                  <a:pt x="1152" y="15"/>
                </a:lnTo>
                <a:lnTo>
                  <a:pt x="1060" y="16"/>
                </a:lnTo>
                <a:lnTo>
                  <a:pt x="949" y="15"/>
                </a:lnTo>
                <a:lnTo>
                  <a:pt x="824" y="13"/>
                </a:lnTo>
                <a:lnTo>
                  <a:pt x="531" y="7"/>
                </a:lnTo>
                <a:lnTo>
                  <a:pt x="197" y="0"/>
                </a:lnTo>
                <a:lnTo>
                  <a:pt x="0" y="256"/>
                </a:lnTo>
                <a:lnTo>
                  <a:pt x="0" y="256"/>
                </a:lnTo>
                <a:lnTo>
                  <a:pt x="734" y="240"/>
                </a:lnTo>
                <a:lnTo>
                  <a:pt x="1024" y="234"/>
                </a:lnTo>
                <a:lnTo>
                  <a:pt x="1228" y="22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7" name="Freeform 44"/>
          <p:cNvSpPr>
            <a:spLocks/>
          </p:cNvSpPr>
          <p:nvPr userDrawn="1"/>
        </p:nvSpPr>
        <p:spPr bwMode="auto">
          <a:xfrm>
            <a:off x="7643812" y="1301453"/>
            <a:ext cx="114300" cy="112713"/>
          </a:xfrm>
          <a:custGeom>
            <a:avLst/>
            <a:gdLst>
              <a:gd name="T0" fmla="*/ 386 w 869"/>
              <a:gd name="T1" fmla="*/ 818 h 851"/>
              <a:gd name="T2" fmla="*/ 235 w 869"/>
              <a:gd name="T3" fmla="*/ 737 h 851"/>
              <a:gd name="T4" fmla="*/ 156 w 869"/>
              <a:gd name="T5" fmla="*/ 685 h 851"/>
              <a:gd name="T6" fmla="*/ 90 w 869"/>
              <a:gd name="T7" fmla="*/ 626 h 851"/>
              <a:gd name="T8" fmla="*/ 37 w 869"/>
              <a:gd name="T9" fmla="*/ 557 h 851"/>
              <a:gd name="T10" fmla="*/ 24 w 869"/>
              <a:gd name="T11" fmla="*/ 531 h 851"/>
              <a:gd name="T12" fmla="*/ 10 w 869"/>
              <a:gd name="T13" fmla="*/ 487 h 851"/>
              <a:gd name="T14" fmla="*/ 2 w 869"/>
              <a:gd name="T15" fmla="*/ 439 h 851"/>
              <a:gd name="T16" fmla="*/ 0 w 869"/>
              <a:gd name="T17" fmla="*/ 389 h 851"/>
              <a:gd name="T18" fmla="*/ 5 w 869"/>
              <a:gd name="T19" fmla="*/ 336 h 851"/>
              <a:gd name="T20" fmla="*/ 15 w 869"/>
              <a:gd name="T21" fmla="*/ 283 h 851"/>
              <a:gd name="T22" fmla="*/ 34 w 869"/>
              <a:gd name="T23" fmla="*/ 231 h 851"/>
              <a:gd name="T24" fmla="*/ 59 w 869"/>
              <a:gd name="T25" fmla="*/ 182 h 851"/>
              <a:gd name="T26" fmla="*/ 93 w 869"/>
              <a:gd name="T27" fmla="*/ 136 h 851"/>
              <a:gd name="T28" fmla="*/ 134 w 869"/>
              <a:gd name="T29" fmla="*/ 94 h 851"/>
              <a:gd name="T30" fmla="*/ 183 w 869"/>
              <a:gd name="T31" fmla="*/ 59 h 851"/>
              <a:gd name="T32" fmla="*/ 198 w 869"/>
              <a:gd name="T33" fmla="*/ 75 h 851"/>
              <a:gd name="T34" fmla="*/ 217 w 869"/>
              <a:gd name="T35" fmla="*/ 106 h 851"/>
              <a:gd name="T36" fmla="*/ 227 w 869"/>
              <a:gd name="T37" fmla="*/ 141 h 851"/>
              <a:gd name="T38" fmla="*/ 247 w 869"/>
              <a:gd name="T39" fmla="*/ 150 h 851"/>
              <a:gd name="T40" fmla="*/ 379 w 869"/>
              <a:gd name="T41" fmla="*/ 144 h 851"/>
              <a:gd name="T42" fmla="*/ 424 w 869"/>
              <a:gd name="T43" fmla="*/ 143 h 851"/>
              <a:gd name="T44" fmla="*/ 424 w 869"/>
              <a:gd name="T45" fmla="*/ 94 h 851"/>
              <a:gd name="T46" fmla="*/ 414 w 869"/>
              <a:gd name="T47" fmla="*/ 37 h 851"/>
              <a:gd name="T48" fmla="*/ 397 w 869"/>
              <a:gd name="T49" fmla="*/ 0 h 851"/>
              <a:gd name="T50" fmla="*/ 431 w 869"/>
              <a:gd name="T51" fmla="*/ 27 h 851"/>
              <a:gd name="T52" fmla="*/ 459 w 869"/>
              <a:gd name="T53" fmla="*/ 55 h 851"/>
              <a:gd name="T54" fmla="*/ 475 w 869"/>
              <a:gd name="T55" fmla="*/ 82 h 851"/>
              <a:gd name="T56" fmla="*/ 487 w 869"/>
              <a:gd name="T57" fmla="*/ 116 h 851"/>
              <a:gd name="T58" fmla="*/ 493 w 869"/>
              <a:gd name="T59" fmla="*/ 143 h 851"/>
              <a:gd name="T60" fmla="*/ 671 w 869"/>
              <a:gd name="T61" fmla="*/ 133 h 851"/>
              <a:gd name="T62" fmla="*/ 662 w 869"/>
              <a:gd name="T63" fmla="*/ 88 h 851"/>
              <a:gd name="T64" fmla="*/ 643 w 869"/>
              <a:gd name="T65" fmla="*/ 50 h 851"/>
              <a:gd name="T66" fmla="*/ 651 w 869"/>
              <a:gd name="T67" fmla="*/ 46 h 851"/>
              <a:gd name="T68" fmla="*/ 699 w 869"/>
              <a:gd name="T69" fmla="*/ 73 h 851"/>
              <a:gd name="T70" fmla="*/ 740 w 869"/>
              <a:gd name="T71" fmla="*/ 104 h 851"/>
              <a:gd name="T72" fmla="*/ 775 w 869"/>
              <a:gd name="T73" fmla="*/ 138 h 851"/>
              <a:gd name="T74" fmla="*/ 803 w 869"/>
              <a:gd name="T75" fmla="*/ 175 h 851"/>
              <a:gd name="T76" fmla="*/ 837 w 869"/>
              <a:gd name="T77" fmla="*/ 238 h 851"/>
              <a:gd name="T78" fmla="*/ 861 w 869"/>
              <a:gd name="T79" fmla="*/ 312 h 851"/>
              <a:gd name="T80" fmla="*/ 869 w 869"/>
              <a:gd name="T81" fmla="*/ 379 h 851"/>
              <a:gd name="T82" fmla="*/ 869 w 869"/>
              <a:gd name="T83" fmla="*/ 423 h 851"/>
              <a:gd name="T84" fmla="*/ 859 w 869"/>
              <a:gd name="T85" fmla="*/ 499 h 851"/>
              <a:gd name="T86" fmla="*/ 834 w 869"/>
              <a:gd name="T87" fmla="*/ 569 h 851"/>
              <a:gd name="T88" fmla="*/ 796 w 869"/>
              <a:gd name="T89" fmla="*/ 631 h 851"/>
              <a:gd name="T90" fmla="*/ 749 w 869"/>
              <a:gd name="T91" fmla="*/ 684 h 851"/>
              <a:gd name="T92" fmla="*/ 693 w 869"/>
              <a:gd name="T93" fmla="*/ 727 h 851"/>
              <a:gd name="T94" fmla="*/ 626 w 869"/>
              <a:gd name="T95" fmla="*/ 766 h 851"/>
              <a:gd name="T96" fmla="*/ 506 w 869"/>
              <a:gd name="T97" fmla="*/ 826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9" h="851">
                <a:moveTo>
                  <a:pt x="452" y="851"/>
                </a:moveTo>
                <a:lnTo>
                  <a:pt x="452" y="851"/>
                </a:lnTo>
                <a:lnTo>
                  <a:pt x="386" y="818"/>
                </a:lnTo>
                <a:lnTo>
                  <a:pt x="323" y="785"/>
                </a:lnTo>
                <a:lnTo>
                  <a:pt x="264" y="754"/>
                </a:lnTo>
                <a:lnTo>
                  <a:pt x="235" y="737"/>
                </a:lnTo>
                <a:lnTo>
                  <a:pt x="207" y="720"/>
                </a:lnTo>
                <a:lnTo>
                  <a:pt x="181" y="703"/>
                </a:lnTo>
                <a:lnTo>
                  <a:pt x="156" y="685"/>
                </a:lnTo>
                <a:lnTo>
                  <a:pt x="133" y="666"/>
                </a:lnTo>
                <a:lnTo>
                  <a:pt x="110" y="646"/>
                </a:lnTo>
                <a:lnTo>
                  <a:pt x="90" y="626"/>
                </a:lnTo>
                <a:lnTo>
                  <a:pt x="70" y="605"/>
                </a:lnTo>
                <a:lnTo>
                  <a:pt x="53" y="581"/>
                </a:lnTo>
                <a:lnTo>
                  <a:pt x="37" y="557"/>
                </a:lnTo>
                <a:lnTo>
                  <a:pt x="37" y="557"/>
                </a:lnTo>
                <a:lnTo>
                  <a:pt x="31" y="544"/>
                </a:lnTo>
                <a:lnTo>
                  <a:pt x="24" y="531"/>
                </a:lnTo>
                <a:lnTo>
                  <a:pt x="19" y="517"/>
                </a:lnTo>
                <a:lnTo>
                  <a:pt x="14" y="502"/>
                </a:lnTo>
                <a:lnTo>
                  <a:pt x="10" y="487"/>
                </a:lnTo>
                <a:lnTo>
                  <a:pt x="7" y="472"/>
                </a:lnTo>
                <a:lnTo>
                  <a:pt x="4" y="455"/>
                </a:lnTo>
                <a:lnTo>
                  <a:pt x="2" y="439"/>
                </a:lnTo>
                <a:lnTo>
                  <a:pt x="1" y="423"/>
                </a:lnTo>
                <a:lnTo>
                  <a:pt x="0" y="405"/>
                </a:lnTo>
                <a:lnTo>
                  <a:pt x="0" y="389"/>
                </a:lnTo>
                <a:lnTo>
                  <a:pt x="1" y="371"/>
                </a:lnTo>
                <a:lnTo>
                  <a:pt x="2" y="353"/>
                </a:lnTo>
                <a:lnTo>
                  <a:pt x="5" y="336"/>
                </a:lnTo>
                <a:lnTo>
                  <a:pt x="7" y="318"/>
                </a:lnTo>
                <a:lnTo>
                  <a:pt x="11" y="301"/>
                </a:lnTo>
                <a:lnTo>
                  <a:pt x="15" y="283"/>
                </a:lnTo>
                <a:lnTo>
                  <a:pt x="21" y="266"/>
                </a:lnTo>
                <a:lnTo>
                  <a:pt x="26" y="249"/>
                </a:lnTo>
                <a:lnTo>
                  <a:pt x="34" y="231"/>
                </a:lnTo>
                <a:lnTo>
                  <a:pt x="42" y="215"/>
                </a:lnTo>
                <a:lnTo>
                  <a:pt x="50" y="199"/>
                </a:lnTo>
                <a:lnTo>
                  <a:pt x="59" y="182"/>
                </a:lnTo>
                <a:lnTo>
                  <a:pt x="69" y="166"/>
                </a:lnTo>
                <a:lnTo>
                  <a:pt x="81" y="151"/>
                </a:lnTo>
                <a:lnTo>
                  <a:pt x="93" y="136"/>
                </a:lnTo>
                <a:lnTo>
                  <a:pt x="105" y="122"/>
                </a:lnTo>
                <a:lnTo>
                  <a:pt x="120" y="108"/>
                </a:lnTo>
                <a:lnTo>
                  <a:pt x="134" y="94"/>
                </a:lnTo>
                <a:lnTo>
                  <a:pt x="149" y="82"/>
                </a:lnTo>
                <a:lnTo>
                  <a:pt x="166" y="70"/>
                </a:lnTo>
                <a:lnTo>
                  <a:pt x="183" y="59"/>
                </a:lnTo>
                <a:lnTo>
                  <a:pt x="183" y="59"/>
                </a:lnTo>
                <a:lnTo>
                  <a:pt x="191" y="67"/>
                </a:lnTo>
                <a:lnTo>
                  <a:pt x="198" y="75"/>
                </a:lnTo>
                <a:lnTo>
                  <a:pt x="203" y="82"/>
                </a:lnTo>
                <a:lnTo>
                  <a:pt x="208" y="90"/>
                </a:lnTo>
                <a:lnTo>
                  <a:pt x="217" y="106"/>
                </a:lnTo>
                <a:lnTo>
                  <a:pt x="222" y="120"/>
                </a:lnTo>
                <a:lnTo>
                  <a:pt x="225" y="132"/>
                </a:lnTo>
                <a:lnTo>
                  <a:pt x="227" y="141"/>
                </a:lnTo>
                <a:lnTo>
                  <a:pt x="227" y="150"/>
                </a:lnTo>
                <a:lnTo>
                  <a:pt x="227" y="150"/>
                </a:lnTo>
                <a:lnTo>
                  <a:pt x="247" y="150"/>
                </a:lnTo>
                <a:lnTo>
                  <a:pt x="272" y="150"/>
                </a:lnTo>
                <a:lnTo>
                  <a:pt x="325" y="146"/>
                </a:lnTo>
                <a:lnTo>
                  <a:pt x="379" y="144"/>
                </a:lnTo>
                <a:lnTo>
                  <a:pt x="404" y="143"/>
                </a:lnTo>
                <a:lnTo>
                  <a:pt x="424" y="143"/>
                </a:lnTo>
                <a:lnTo>
                  <a:pt x="424" y="143"/>
                </a:lnTo>
                <a:lnTo>
                  <a:pt x="425" y="129"/>
                </a:lnTo>
                <a:lnTo>
                  <a:pt x="425" y="112"/>
                </a:lnTo>
                <a:lnTo>
                  <a:pt x="424" y="94"/>
                </a:lnTo>
                <a:lnTo>
                  <a:pt x="422" y="76"/>
                </a:lnTo>
                <a:lnTo>
                  <a:pt x="419" y="56"/>
                </a:lnTo>
                <a:lnTo>
                  <a:pt x="414" y="37"/>
                </a:lnTo>
                <a:lnTo>
                  <a:pt x="407" y="19"/>
                </a:lnTo>
                <a:lnTo>
                  <a:pt x="402" y="9"/>
                </a:lnTo>
                <a:lnTo>
                  <a:pt x="397" y="0"/>
                </a:lnTo>
                <a:lnTo>
                  <a:pt x="397" y="0"/>
                </a:lnTo>
                <a:lnTo>
                  <a:pt x="415" y="14"/>
                </a:lnTo>
                <a:lnTo>
                  <a:pt x="431" y="27"/>
                </a:lnTo>
                <a:lnTo>
                  <a:pt x="446" y="40"/>
                </a:lnTo>
                <a:lnTo>
                  <a:pt x="453" y="47"/>
                </a:lnTo>
                <a:lnTo>
                  <a:pt x="459" y="55"/>
                </a:lnTo>
                <a:lnTo>
                  <a:pt x="465" y="64"/>
                </a:lnTo>
                <a:lnTo>
                  <a:pt x="470" y="73"/>
                </a:lnTo>
                <a:lnTo>
                  <a:pt x="475" y="82"/>
                </a:lnTo>
                <a:lnTo>
                  <a:pt x="479" y="92"/>
                </a:lnTo>
                <a:lnTo>
                  <a:pt x="484" y="104"/>
                </a:lnTo>
                <a:lnTo>
                  <a:pt x="487" y="116"/>
                </a:lnTo>
                <a:lnTo>
                  <a:pt x="490" y="129"/>
                </a:lnTo>
                <a:lnTo>
                  <a:pt x="493" y="143"/>
                </a:lnTo>
                <a:lnTo>
                  <a:pt x="493" y="143"/>
                </a:lnTo>
                <a:lnTo>
                  <a:pt x="671" y="150"/>
                </a:lnTo>
                <a:lnTo>
                  <a:pt x="671" y="150"/>
                </a:lnTo>
                <a:lnTo>
                  <a:pt x="671" y="133"/>
                </a:lnTo>
                <a:lnTo>
                  <a:pt x="670" y="118"/>
                </a:lnTo>
                <a:lnTo>
                  <a:pt x="667" y="103"/>
                </a:lnTo>
                <a:lnTo>
                  <a:pt x="662" y="88"/>
                </a:lnTo>
                <a:lnTo>
                  <a:pt x="657" y="75"/>
                </a:lnTo>
                <a:lnTo>
                  <a:pt x="651" y="62"/>
                </a:lnTo>
                <a:lnTo>
                  <a:pt x="643" y="50"/>
                </a:lnTo>
                <a:lnTo>
                  <a:pt x="634" y="38"/>
                </a:lnTo>
                <a:lnTo>
                  <a:pt x="634" y="38"/>
                </a:lnTo>
                <a:lnTo>
                  <a:pt x="651" y="46"/>
                </a:lnTo>
                <a:lnTo>
                  <a:pt x="669" y="54"/>
                </a:lnTo>
                <a:lnTo>
                  <a:pt x="684" y="64"/>
                </a:lnTo>
                <a:lnTo>
                  <a:pt x="699" y="73"/>
                </a:lnTo>
                <a:lnTo>
                  <a:pt x="714" y="83"/>
                </a:lnTo>
                <a:lnTo>
                  <a:pt x="728" y="93"/>
                </a:lnTo>
                <a:lnTo>
                  <a:pt x="740" y="104"/>
                </a:lnTo>
                <a:lnTo>
                  <a:pt x="752" y="115"/>
                </a:lnTo>
                <a:lnTo>
                  <a:pt x="764" y="126"/>
                </a:lnTo>
                <a:lnTo>
                  <a:pt x="775" y="138"/>
                </a:lnTo>
                <a:lnTo>
                  <a:pt x="785" y="151"/>
                </a:lnTo>
                <a:lnTo>
                  <a:pt x="794" y="163"/>
                </a:lnTo>
                <a:lnTo>
                  <a:pt x="803" y="175"/>
                </a:lnTo>
                <a:lnTo>
                  <a:pt x="811" y="187"/>
                </a:lnTo>
                <a:lnTo>
                  <a:pt x="825" y="213"/>
                </a:lnTo>
                <a:lnTo>
                  <a:pt x="837" y="238"/>
                </a:lnTo>
                <a:lnTo>
                  <a:pt x="848" y="263"/>
                </a:lnTo>
                <a:lnTo>
                  <a:pt x="855" y="289"/>
                </a:lnTo>
                <a:lnTo>
                  <a:pt x="861" y="312"/>
                </a:lnTo>
                <a:lnTo>
                  <a:pt x="865" y="336"/>
                </a:lnTo>
                <a:lnTo>
                  <a:pt x="868" y="358"/>
                </a:lnTo>
                <a:lnTo>
                  <a:pt x="869" y="379"/>
                </a:lnTo>
                <a:lnTo>
                  <a:pt x="869" y="397"/>
                </a:lnTo>
                <a:lnTo>
                  <a:pt x="869" y="397"/>
                </a:lnTo>
                <a:lnTo>
                  <a:pt x="869" y="423"/>
                </a:lnTo>
                <a:lnTo>
                  <a:pt x="868" y="449"/>
                </a:lnTo>
                <a:lnTo>
                  <a:pt x="864" y="474"/>
                </a:lnTo>
                <a:lnTo>
                  <a:pt x="859" y="499"/>
                </a:lnTo>
                <a:lnTo>
                  <a:pt x="852" y="523"/>
                </a:lnTo>
                <a:lnTo>
                  <a:pt x="843" y="546"/>
                </a:lnTo>
                <a:lnTo>
                  <a:pt x="834" y="569"/>
                </a:lnTo>
                <a:lnTo>
                  <a:pt x="823" y="590"/>
                </a:lnTo>
                <a:lnTo>
                  <a:pt x="811" y="612"/>
                </a:lnTo>
                <a:lnTo>
                  <a:pt x="796" y="631"/>
                </a:lnTo>
                <a:lnTo>
                  <a:pt x="782" y="651"/>
                </a:lnTo>
                <a:lnTo>
                  <a:pt x="766" y="668"/>
                </a:lnTo>
                <a:lnTo>
                  <a:pt x="749" y="684"/>
                </a:lnTo>
                <a:lnTo>
                  <a:pt x="731" y="700"/>
                </a:lnTo>
                <a:lnTo>
                  <a:pt x="713" y="714"/>
                </a:lnTo>
                <a:lnTo>
                  <a:pt x="693" y="727"/>
                </a:lnTo>
                <a:lnTo>
                  <a:pt x="693" y="727"/>
                </a:lnTo>
                <a:lnTo>
                  <a:pt x="658" y="748"/>
                </a:lnTo>
                <a:lnTo>
                  <a:pt x="626" y="766"/>
                </a:lnTo>
                <a:lnTo>
                  <a:pt x="594" y="783"/>
                </a:lnTo>
                <a:lnTo>
                  <a:pt x="563" y="799"/>
                </a:lnTo>
                <a:lnTo>
                  <a:pt x="506" y="826"/>
                </a:lnTo>
                <a:lnTo>
                  <a:pt x="452" y="85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8" name="Freeform 45"/>
          <p:cNvSpPr>
            <a:spLocks/>
          </p:cNvSpPr>
          <p:nvPr userDrawn="1"/>
        </p:nvSpPr>
        <p:spPr bwMode="auto">
          <a:xfrm>
            <a:off x="7677150" y="1579265"/>
            <a:ext cx="1588" cy="0"/>
          </a:xfrm>
          <a:custGeom>
            <a:avLst/>
            <a:gdLst>
              <a:gd name="T0" fmla="*/ 22 w 22"/>
              <a:gd name="T1" fmla="*/ 9 h 9"/>
              <a:gd name="T2" fmla="*/ 22 w 22"/>
              <a:gd name="T3" fmla="*/ 9 h 9"/>
              <a:gd name="T4" fmla="*/ 3 w 22"/>
              <a:gd name="T5" fmla="*/ 2 h 9"/>
              <a:gd name="T6" fmla="*/ 3 w 22"/>
              <a:gd name="T7" fmla="*/ 2 h 9"/>
              <a:gd name="T8" fmla="*/ 0 w 22"/>
              <a:gd name="T9" fmla="*/ 0 h 9"/>
              <a:gd name="T10" fmla="*/ 0 w 22"/>
              <a:gd name="T11" fmla="*/ 0 h 9"/>
              <a:gd name="T12" fmla="*/ 22 w 22"/>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22" h="9">
                <a:moveTo>
                  <a:pt x="22" y="9"/>
                </a:moveTo>
                <a:lnTo>
                  <a:pt x="22" y="9"/>
                </a:lnTo>
                <a:lnTo>
                  <a:pt x="3" y="2"/>
                </a:lnTo>
                <a:lnTo>
                  <a:pt x="3" y="2"/>
                </a:lnTo>
                <a:lnTo>
                  <a:pt x="0" y="0"/>
                </a:lnTo>
                <a:lnTo>
                  <a:pt x="0" y="0"/>
                </a:lnTo>
                <a:lnTo>
                  <a:pt x="22"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9" name="Freeform 46"/>
          <p:cNvSpPr>
            <a:spLocks/>
          </p:cNvSpPr>
          <p:nvPr userDrawn="1"/>
        </p:nvSpPr>
        <p:spPr bwMode="auto">
          <a:xfrm>
            <a:off x="7429500" y="1261765"/>
            <a:ext cx="20638" cy="12700"/>
          </a:xfrm>
          <a:custGeom>
            <a:avLst/>
            <a:gdLst>
              <a:gd name="T0" fmla="*/ 166 w 166"/>
              <a:gd name="T1" fmla="*/ 69 h 96"/>
              <a:gd name="T2" fmla="*/ 166 w 166"/>
              <a:gd name="T3" fmla="*/ 69 h 96"/>
              <a:gd name="T4" fmla="*/ 166 w 166"/>
              <a:gd name="T5" fmla="*/ 70 h 96"/>
              <a:gd name="T6" fmla="*/ 165 w 166"/>
              <a:gd name="T7" fmla="*/ 72 h 96"/>
              <a:gd name="T8" fmla="*/ 161 w 166"/>
              <a:gd name="T9" fmla="*/ 74 h 96"/>
              <a:gd name="T10" fmla="*/ 155 w 166"/>
              <a:gd name="T11" fmla="*/ 77 h 96"/>
              <a:gd name="T12" fmla="*/ 145 w 166"/>
              <a:gd name="T13" fmla="*/ 79 h 96"/>
              <a:gd name="T14" fmla="*/ 123 w 166"/>
              <a:gd name="T15" fmla="*/ 85 h 96"/>
              <a:gd name="T16" fmla="*/ 95 w 166"/>
              <a:gd name="T17" fmla="*/ 90 h 96"/>
              <a:gd name="T18" fmla="*/ 68 w 166"/>
              <a:gd name="T19" fmla="*/ 94 h 96"/>
              <a:gd name="T20" fmla="*/ 42 w 166"/>
              <a:gd name="T21" fmla="*/ 96 h 96"/>
              <a:gd name="T22" fmla="*/ 24 w 166"/>
              <a:gd name="T23" fmla="*/ 96 h 96"/>
              <a:gd name="T24" fmla="*/ 17 w 166"/>
              <a:gd name="T25" fmla="*/ 95 h 96"/>
              <a:gd name="T26" fmla="*/ 13 w 166"/>
              <a:gd name="T27" fmla="*/ 94 h 96"/>
              <a:gd name="T28" fmla="*/ 13 w 166"/>
              <a:gd name="T29" fmla="*/ 94 h 96"/>
              <a:gd name="T30" fmla="*/ 10 w 166"/>
              <a:gd name="T31" fmla="*/ 92 h 96"/>
              <a:gd name="T32" fmla="*/ 8 w 166"/>
              <a:gd name="T33" fmla="*/ 88 h 96"/>
              <a:gd name="T34" fmla="*/ 5 w 166"/>
              <a:gd name="T35" fmla="*/ 77 h 96"/>
              <a:gd name="T36" fmla="*/ 2 w 166"/>
              <a:gd name="T37" fmla="*/ 65 h 96"/>
              <a:gd name="T38" fmla="*/ 0 w 166"/>
              <a:gd name="T39" fmla="*/ 51 h 96"/>
              <a:gd name="T40" fmla="*/ 0 w 166"/>
              <a:gd name="T41" fmla="*/ 36 h 96"/>
              <a:gd name="T42" fmla="*/ 0 w 166"/>
              <a:gd name="T43" fmla="*/ 23 h 96"/>
              <a:gd name="T44" fmla="*/ 1 w 166"/>
              <a:gd name="T45" fmla="*/ 13 h 96"/>
              <a:gd name="T46" fmla="*/ 2 w 166"/>
              <a:gd name="T47" fmla="*/ 8 h 96"/>
              <a:gd name="T48" fmla="*/ 4 w 166"/>
              <a:gd name="T49" fmla="*/ 5 h 96"/>
              <a:gd name="T50" fmla="*/ 4 w 166"/>
              <a:gd name="T51" fmla="*/ 5 h 96"/>
              <a:gd name="T52" fmla="*/ 5 w 166"/>
              <a:gd name="T53" fmla="*/ 4 h 96"/>
              <a:gd name="T54" fmla="*/ 7 w 166"/>
              <a:gd name="T55" fmla="*/ 2 h 96"/>
              <a:gd name="T56" fmla="*/ 13 w 166"/>
              <a:gd name="T57" fmla="*/ 1 h 96"/>
              <a:gd name="T58" fmla="*/ 22 w 166"/>
              <a:gd name="T59" fmla="*/ 0 h 96"/>
              <a:gd name="T60" fmla="*/ 32 w 166"/>
              <a:gd name="T61" fmla="*/ 0 h 96"/>
              <a:gd name="T62" fmla="*/ 43 w 166"/>
              <a:gd name="T63" fmla="*/ 1 h 96"/>
              <a:gd name="T64" fmla="*/ 55 w 166"/>
              <a:gd name="T65" fmla="*/ 3 h 96"/>
              <a:gd name="T66" fmla="*/ 69 w 166"/>
              <a:gd name="T67" fmla="*/ 6 h 96"/>
              <a:gd name="T68" fmla="*/ 83 w 166"/>
              <a:gd name="T69" fmla="*/ 10 h 96"/>
              <a:gd name="T70" fmla="*/ 96 w 166"/>
              <a:gd name="T71" fmla="*/ 15 h 96"/>
              <a:gd name="T72" fmla="*/ 110 w 166"/>
              <a:gd name="T73" fmla="*/ 20 h 96"/>
              <a:gd name="T74" fmla="*/ 123 w 166"/>
              <a:gd name="T75" fmla="*/ 27 h 96"/>
              <a:gd name="T76" fmla="*/ 135 w 166"/>
              <a:gd name="T77" fmla="*/ 34 h 96"/>
              <a:gd name="T78" fmla="*/ 145 w 166"/>
              <a:gd name="T79" fmla="*/ 42 h 96"/>
              <a:gd name="T80" fmla="*/ 155 w 166"/>
              <a:gd name="T81" fmla="*/ 51 h 96"/>
              <a:gd name="T82" fmla="*/ 162 w 166"/>
              <a:gd name="T83" fmla="*/ 60 h 96"/>
              <a:gd name="T84" fmla="*/ 164 w 166"/>
              <a:gd name="T85" fmla="*/ 64 h 96"/>
              <a:gd name="T86" fmla="*/ 166 w 166"/>
              <a:gd name="T87" fmla="*/ 6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6" h="96">
                <a:moveTo>
                  <a:pt x="166" y="69"/>
                </a:moveTo>
                <a:lnTo>
                  <a:pt x="166" y="69"/>
                </a:lnTo>
                <a:lnTo>
                  <a:pt x="166" y="70"/>
                </a:lnTo>
                <a:lnTo>
                  <a:pt x="165" y="72"/>
                </a:lnTo>
                <a:lnTo>
                  <a:pt x="161" y="74"/>
                </a:lnTo>
                <a:lnTo>
                  <a:pt x="155" y="77"/>
                </a:lnTo>
                <a:lnTo>
                  <a:pt x="145" y="79"/>
                </a:lnTo>
                <a:lnTo>
                  <a:pt x="123" y="85"/>
                </a:lnTo>
                <a:lnTo>
                  <a:pt x="95" y="90"/>
                </a:lnTo>
                <a:lnTo>
                  <a:pt x="68" y="94"/>
                </a:lnTo>
                <a:lnTo>
                  <a:pt x="42" y="96"/>
                </a:lnTo>
                <a:lnTo>
                  <a:pt x="24" y="96"/>
                </a:lnTo>
                <a:lnTo>
                  <a:pt x="17" y="95"/>
                </a:lnTo>
                <a:lnTo>
                  <a:pt x="13" y="94"/>
                </a:lnTo>
                <a:lnTo>
                  <a:pt x="13" y="94"/>
                </a:lnTo>
                <a:lnTo>
                  <a:pt x="10" y="92"/>
                </a:lnTo>
                <a:lnTo>
                  <a:pt x="8" y="88"/>
                </a:lnTo>
                <a:lnTo>
                  <a:pt x="5" y="77"/>
                </a:lnTo>
                <a:lnTo>
                  <a:pt x="2" y="65"/>
                </a:lnTo>
                <a:lnTo>
                  <a:pt x="0" y="51"/>
                </a:lnTo>
                <a:lnTo>
                  <a:pt x="0" y="36"/>
                </a:lnTo>
                <a:lnTo>
                  <a:pt x="0" y="23"/>
                </a:lnTo>
                <a:lnTo>
                  <a:pt x="1" y="13"/>
                </a:lnTo>
                <a:lnTo>
                  <a:pt x="2" y="8"/>
                </a:lnTo>
                <a:lnTo>
                  <a:pt x="4" y="5"/>
                </a:lnTo>
                <a:lnTo>
                  <a:pt x="4" y="5"/>
                </a:lnTo>
                <a:lnTo>
                  <a:pt x="5" y="4"/>
                </a:lnTo>
                <a:lnTo>
                  <a:pt x="7" y="2"/>
                </a:lnTo>
                <a:lnTo>
                  <a:pt x="13" y="1"/>
                </a:lnTo>
                <a:lnTo>
                  <a:pt x="22" y="0"/>
                </a:lnTo>
                <a:lnTo>
                  <a:pt x="32" y="0"/>
                </a:lnTo>
                <a:lnTo>
                  <a:pt x="43" y="1"/>
                </a:lnTo>
                <a:lnTo>
                  <a:pt x="55" y="3"/>
                </a:lnTo>
                <a:lnTo>
                  <a:pt x="69" y="6"/>
                </a:lnTo>
                <a:lnTo>
                  <a:pt x="83" y="10"/>
                </a:lnTo>
                <a:lnTo>
                  <a:pt x="96" y="15"/>
                </a:lnTo>
                <a:lnTo>
                  <a:pt x="110" y="20"/>
                </a:lnTo>
                <a:lnTo>
                  <a:pt x="123" y="27"/>
                </a:lnTo>
                <a:lnTo>
                  <a:pt x="135" y="34"/>
                </a:lnTo>
                <a:lnTo>
                  <a:pt x="145" y="42"/>
                </a:lnTo>
                <a:lnTo>
                  <a:pt x="155" y="51"/>
                </a:lnTo>
                <a:lnTo>
                  <a:pt x="162" y="60"/>
                </a:lnTo>
                <a:lnTo>
                  <a:pt x="164" y="64"/>
                </a:lnTo>
                <a:lnTo>
                  <a:pt x="166" y="6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50" name="Freeform 47"/>
          <p:cNvSpPr>
            <a:spLocks/>
          </p:cNvSpPr>
          <p:nvPr userDrawn="1"/>
        </p:nvSpPr>
        <p:spPr bwMode="auto">
          <a:xfrm>
            <a:off x="7151687" y="1218903"/>
            <a:ext cx="657225" cy="776288"/>
          </a:xfrm>
          <a:custGeom>
            <a:avLst/>
            <a:gdLst>
              <a:gd name="T0" fmla="*/ 4703 w 4973"/>
              <a:gd name="T1" fmla="*/ 1877 h 5865"/>
              <a:gd name="T2" fmla="*/ 4733 w 4973"/>
              <a:gd name="T3" fmla="*/ 1183 h 5865"/>
              <a:gd name="T4" fmla="*/ 4302 w 4973"/>
              <a:gd name="T5" fmla="*/ 476 h 5865"/>
              <a:gd name="T6" fmla="*/ 3581 w 4973"/>
              <a:gd name="T7" fmla="*/ 813 h 5865"/>
              <a:gd name="T8" fmla="*/ 3899 w 4973"/>
              <a:gd name="T9" fmla="*/ 1529 h 5865"/>
              <a:gd name="T10" fmla="*/ 3757 w 4973"/>
              <a:gd name="T11" fmla="*/ 2227 h 5865"/>
              <a:gd name="T12" fmla="*/ 3939 w 4973"/>
              <a:gd name="T13" fmla="*/ 2068 h 5865"/>
              <a:gd name="T14" fmla="*/ 4069 w 4973"/>
              <a:gd name="T15" fmla="*/ 1928 h 5865"/>
              <a:gd name="T16" fmla="*/ 4545 w 4973"/>
              <a:gd name="T17" fmla="*/ 1985 h 5865"/>
              <a:gd name="T18" fmla="*/ 4487 w 4973"/>
              <a:gd name="T19" fmla="*/ 2697 h 5865"/>
              <a:gd name="T20" fmla="*/ 3601 w 4973"/>
              <a:gd name="T21" fmla="*/ 2477 h 5865"/>
              <a:gd name="T22" fmla="*/ 3285 w 4973"/>
              <a:gd name="T23" fmla="*/ 1581 h 5865"/>
              <a:gd name="T24" fmla="*/ 3364 w 4973"/>
              <a:gd name="T25" fmla="*/ 1421 h 5865"/>
              <a:gd name="T26" fmla="*/ 3101 w 4973"/>
              <a:gd name="T27" fmla="*/ 996 h 5865"/>
              <a:gd name="T28" fmla="*/ 3251 w 4973"/>
              <a:gd name="T29" fmla="*/ 599 h 5865"/>
              <a:gd name="T30" fmla="*/ 2863 w 4973"/>
              <a:gd name="T31" fmla="*/ 144 h 5865"/>
              <a:gd name="T32" fmla="*/ 1960 w 4973"/>
              <a:gd name="T33" fmla="*/ 304 h 5865"/>
              <a:gd name="T34" fmla="*/ 1819 w 4973"/>
              <a:gd name="T35" fmla="*/ 748 h 5865"/>
              <a:gd name="T36" fmla="*/ 2202 w 4973"/>
              <a:gd name="T37" fmla="*/ 626 h 5865"/>
              <a:gd name="T38" fmla="*/ 2215 w 4973"/>
              <a:gd name="T39" fmla="*/ 803 h 5865"/>
              <a:gd name="T40" fmla="*/ 1623 w 4973"/>
              <a:gd name="T41" fmla="*/ 851 h 5865"/>
              <a:gd name="T42" fmla="*/ 1602 w 4973"/>
              <a:gd name="T43" fmla="*/ 1055 h 5865"/>
              <a:gd name="T44" fmla="*/ 2246 w 4973"/>
              <a:gd name="T45" fmla="*/ 924 h 5865"/>
              <a:gd name="T46" fmla="*/ 2036 w 4973"/>
              <a:gd name="T47" fmla="*/ 981 h 5865"/>
              <a:gd name="T48" fmla="*/ 1754 w 4973"/>
              <a:gd name="T49" fmla="*/ 1278 h 5865"/>
              <a:gd name="T50" fmla="*/ 2105 w 4973"/>
              <a:gd name="T51" fmla="*/ 1619 h 5865"/>
              <a:gd name="T52" fmla="*/ 863 w 4973"/>
              <a:gd name="T53" fmla="*/ 2239 h 5865"/>
              <a:gd name="T54" fmla="*/ 310 w 4973"/>
              <a:gd name="T55" fmla="*/ 2027 h 5865"/>
              <a:gd name="T56" fmla="*/ 319 w 4973"/>
              <a:gd name="T57" fmla="*/ 2172 h 5865"/>
              <a:gd name="T58" fmla="*/ 380 w 4973"/>
              <a:gd name="T59" fmla="*/ 2295 h 5865"/>
              <a:gd name="T60" fmla="*/ 39 w 4973"/>
              <a:gd name="T61" fmla="*/ 2396 h 5865"/>
              <a:gd name="T62" fmla="*/ 189 w 4973"/>
              <a:gd name="T63" fmla="*/ 2511 h 5865"/>
              <a:gd name="T64" fmla="*/ 322 w 4973"/>
              <a:gd name="T65" fmla="*/ 2588 h 5865"/>
              <a:gd name="T66" fmla="*/ 272 w 4973"/>
              <a:gd name="T67" fmla="*/ 2893 h 5865"/>
              <a:gd name="T68" fmla="*/ 630 w 4973"/>
              <a:gd name="T69" fmla="*/ 2730 h 5865"/>
              <a:gd name="T70" fmla="*/ 811 w 4973"/>
              <a:gd name="T71" fmla="*/ 2843 h 5865"/>
              <a:gd name="T72" fmla="*/ 1024 w 4973"/>
              <a:gd name="T73" fmla="*/ 2773 h 5865"/>
              <a:gd name="T74" fmla="*/ 1290 w 4973"/>
              <a:gd name="T75" fmla="*/ 2556 h 5865"/>
              <a:gd name="T76" fmla="*/ 1713 w 4973"/>
              <a:gd name="T77" fmla="*/ 2519 h 5865"/>
              <a:gd name="T78" fmla="*/ 2306 w 4973"/>
              <a:gd name="T79" fmla="*/ 2641 h 5865"/>
              <a:gd name="T80" fmla="*/ 3357 w 4973"/>
              <a:gd name="T81" fmla="*/ 3092 h 5865"/>
              <a:gd name="T82" fmla="*/ 3742 w 4973"/>
              <a:gd name="T83" fmla="*/ 3928 h 5865"/>
              <a:gd name="T84" fmla="*/ 3685 w 4973"/>
              <a:gd name="T85" fmla="*/ 4224 h 5865"/>
              <a:gd name="T86" fmla="*/ 4224 w 4973"/>
              <a:gd name="T87" fmla="*/ 4337 h 5865"/>
              <a:gd name="T88" fmla="*/ 4264 w 4973"/>
              <a:gd name="T89" fmla="*/ 5017 h 5865"/>
              <a:gd name="T90" fmla="*/ 3761 w 4973"/>
              <a:gd name="T91" fmla="*/ 5058 h 5865"/>
              <a:gd name="T92" fmla="*/ 3894 w 4973"/>
              <a:gd name="T93" fmla="*/ 5210 h 5865"/>
              <a:gd name="T94" fmla="*/ 3894 w 4973"/>
              <a:gd name="T95" fmla="*/ 5294 h 5865"/>
              <a:gd name="T96" fmla="*/ 3751 w 4973"/>
              <a:gd name="T97" fmla="*/ 5644 h 5865"/>
              <a:gd name="T98" fmla="*/ 3926 w 4973"/>
              <a:gd name="T99" fmla="*/ 5586 h 5865"/>
              <a:gd name="T100" fmla="*/ 4212 w 4973"/>
              <a:gd name="T101" fmla="*/ 5447 h 5865"/>
              <a:gd name="T102" fmla="*/ 4257 w 4973"/>
              <a:gd name="T103" fmla="*/ 5812 h 5865"/>
              <a:gd name="T104" fmla="*/ 4352 w 4973"/>
              <a:gd name="T105" fmla="*/ 5675 h 5865"/>
              <a:gd name="T106" fmla="*/ 4557 w 4973"/>
              <a:gd name="T107" fmla="*/ 5328 h 5865"/>
              <a:gd name="T108" fmla="*/ 4736 w 4973"/>
              <a:gd name="T109" fmla="*/ 5505 h 5865"/>
              <a:gd name="T110" fmla="*/ 4753 w 4973"/>
              <a:gd name="T111" fmla="*/ 5108 h 5865"/>
              <a:gd name="T112" fmla="*/ 4693 w 4973"/>
              <a:gd name="T113" fmla="*/ 4810 h 5865"/>
              <a:gd name="T114" fmla="*/ 4677 w 4973"/>
              <a:gd name="T115" fmla="*/ 4437 h 5865"/>
              <a:gd name="T116" fmla="*/ 4640 w 4973"/>
              <a:gd name="T117" fmla="*/ 4108 h 5865"/>
              <a:gd name="T118" fmla="*/ 4297 w 4973"/>
              <a:gd name="T119" fmla="*/ 3793 h 5865"/>
              <a:gd name="T120" fmla="*/ 4267 w 4973"/>
              <a:gd name="T121" fmla="*/ 3366 h 5865"/>
              <a:gd name="T122" fmla="*/ 4428 w 4973"/>
              <a:gd name="T123" fmla="*/ 2994 h 5865"/>
              <a:gd name="T124" fmla="*/ 4923 w 4973"/>
              <a:gd name="T125" fmla="*/ 2543 h 5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973" h="5865">
                <a:moveTo>
                  <a:pt x="4842" y="2253"/>
                </a:moveTo>
                <a:lnTo>
                  <a:pt x="4842" y="2253"/>
                </a:lnTo>
                <a:lnTo>
                  <a:pt x="4862" y="2257"/>
                </a:lnTo>
                <a:lnTo>
                  <a:pt x="4881" y="2259"/>
                </a:lnTo>
                <a:lnTo>
                  <a:pt x="4900" y="2260"/>
                </a:lnTo>
                <a:lnTo>
                  <a:pt x="4916" y="2259"/>
                </a:lnTo>
                <a:lnTo>
                  <a:pt x="4932" y="2257"/>
                </a:lnTo>
                <a:lnTo>
                  <a:pt x="4946" y="2254"/>
                </a:lnTo>
                <a:lnTo>
                  <a:pt x="4958" y="2249"/>
                </a:lnTo>
                <a:lnTo>
                  <a:pt x="4969" y="2243"/>
                </a:lnTo>
                <a:lnTo>
                  <a:pt x="4969" y="2243"/>
                </a:lnTo>
                <a:lnTo>
                  <a:pt x="4967" y="2217"/>
                </a:lnTo>
                <a:lnTo>
                  <a:pt x="4960" y="2157"/>
                </a:lnTo>
                <a:lnTo>
                  <a:pt x="4951" y="2084"/>
                </a:lnTo>
                <a:lnTo>
                  <a:pt x="4946" y="2052"/>
                </a:lnTo>
                <a:lnTo>
                  <a:pt x="4940" y="2024"/>
                </a:lnTo>
                <a:lnTo>
                  <a:pt x="4940" y="2024"/>
                </a:lnTo>
                <a:lnTo>
                  <a:pt x="4922" y="2027"/>
                </a:lnTo>
                <a:lnTo>
                  <a:pt x="4902" y="2030"/>
                </a:lnTo>
                <a:lnTo>
                  <a:pt x="4891" y="2030"/>
                </a:lnTo>
                <a:lnTo>
                  <a:pt x="4879" y="2030"/>
                </a:lnTo>
                <a:lnTo>
                  <a:pt x="4867" y="2029"/>
                </a:lnTo>
                <a:lnTo>
                  <a:pt x="4855" y="2027"/>
                </a:lnTo>
                <a:lnTo>
                  <a:pt x="4843" y="2024"/>
                </a:lnTo>
                <a:lnTo>
                  <a:pt x="4830" y="2020"/>
                </a:lnTo>
                <a:lnTo>
                  <a:pt x="4818" y="2015"/>
                </a:lnTo>
                <a:lnTo>
                  <a:pt x="4806" y="2008"/>
                </a:lnTo>
                <a:lnTo>
                  <a:pt x="4794" y="1998"/>
                </a:lnTo>
                <a:lnTo>
                  <a:pt x="4782" y="1988"/>
                </a:lnTo>
                <a:lnTo>
                  <a:pt x="4771" y="1976"/>
                </a:lnTo>
                <a:lnTo>
                  <a:pt x="4761" y="1962"/>
                </a:lnTo>
                <a:lnTo>
                  <a:pt x="4761" y="1962"/>
                </a:lnTo>
                <a:lnTo>
                  <a:pt x="4743" y="1933"/>
                </a:lnTo>
                <a:lnTo>
                  <a:pt x="4724" y="1905"/>
                </a:lnTo>
                <a:lnTo>
                  <a:pt x="4724" y="1905"/>
                </a:lnTo>
                <a:lnTo>
                  <a:pt x="4703" y="1877"/>
                </a:lnTo>
                <a:lnTo>
                  <a:pt x="4680" y="1849"/>
                </a:lnTo>
                <a:lnTo>
                  <a:pt x="4658" y="1823"/>
                </a:lnTo>
                <a:lnTo>
                  <a:pt x="4634" y="1797"/>
                </a:lnTo>
                <a:lnTo>
                  <a:pt x="4611" y="1773"/>
                </a:lnTo>
                <a:lnTo>
                  <a:pt x="4586" y="1750"/>
                </a:lnTo>
                <a:lnTo>
                  <a:pt x="4562" y="1727"/>
                </a:lnTo>
                <a:lnTo>
                  <a:pt x="4538" y="1707"/>
                </a:lnTo>
                <a:lnTo>
                  <a:pt x="4513" y="1687"/>
                </a:lnTo>
                <a:lnTo>
                  <a:pt x="4489" y="1667"/>
                </a:lnTo>
                <a:lnTo>
                  <a:pt x="4463" y="1649"/>
                </a:lnTo>
                <a:lnTo>
                  <a:pt x="4439" y="1630"/>
                </a:lnTo>
                <a:lnTo>
                  <a:pt x="4413" y="1614"/>
                </a:lnTo>
                <a:lnTo>
                  <a:pt x="4389" y="1598"/>
                </a:lnTo>
                <a:lnTo>
                  <a:pt x="4337" y="1566"/>
                </a:lnTo>
                <a:lnTo>
                  <a:pt x="4337" y="1566"/>
                </a:lnTo>
                <a:lnTo>
                  <a:pt x="4381" y="1543"/>
                </a:lnTo>
                <a:lnTo>
                  <a:pt x="4422" y="1521"/>
                </a:lnTo>
                <a:lnTo>
                  <a:pt x="4459" y="1498"/>
                </a:lnTo>
                <a:lnTo>
                  <a:pt x="4492" y="1477"/>
                </a:lnTo>
                <a:lnTo>
                  <a:pt x="4523" y="1455"/>
                </a:lnTo>
                <a:lnTo>
                  <a:pt x="4549" y="1434"/>
                </a:lnTo>
                <a:lnTo>
                  <a:pt x="4574" y="1414"/>
                </a:lnTo>
                <a:lnTo>
                  <a:pt x="4595" y="1393"/>
                </a:lnTo>
                <a:lnTo>
                  <a:pt x="4615" y="1374"/>
                </a:lnTo>
                <a:lnTo>
                  <a:pt x="4632" y="1355"/>
                </a:lnTo>
                <a:lnTo>
                  <a:pt x="4647" y="1337"/>
                </a:lnTo>
                <a:lnTo>
                  <a:pt x="4661" y="1319"/>
                </a:lnTo>
                <a:lnTo>
                  <a:pt x="4673" y="1303"/>
                </a:lnTo>
                <a:lnTo>
                  <a:pt x="4683" y="1288"/>
                </a:lnTo>
                <a:lnTo>
                  <a:pt x="4700" y="1260"/>
                </a:lnTo>
                <a:lnTo>
                  <a:pt x="4700" y="1260"/>
                </a:lnTo>
                <a:lnTo>
                  <a:pt x="4708" y="1248"/>
                </a:lnTo>
                <a:lnTo>
                  <a:pt x="4714" y="1234"/>
                </a:lnTo>
                <a:lnTo>
                  <a:pt x="4721" y="1218"/>
                </a:lnTo>
                <a:lnTo>
                  <a:pt x="4727" y="1202"/>
                </a:lnTo>
                <a:lnTo>
                  <a:pt x="4733" y="1183"/>
                </a:lnTo>
                <a:lnTo>
                  <a:pt x="4739" y="1164"/>
                </a:lnTo>
                <a:lnTo>
                  <a:pt x="4743" y="1144"/>
                </a:lnTo>
                <a:lnTo>
                  <a:pt x="4749" y="1123"/>
                </a:lnTo>
                <a:lnTo>
                  <a:pt x="4753" y="1101"/>
                </a:lnTo>
                <a:lnTo>
                  <a:pt x="4756" y="1078"/>
                </a:lnTo>
                <a:lnTo>
                  <a:pt x="4758" y="1054"/>
                </a:lnTo>
                <a:lnTo>
                  <a:pt x="4759" y="1030"/>
                </a:lnTo>
                <a:lnTo>
                  <a:pt x="4760" y="1005"/>
                </a:lnTo>
                <a:lnTo>
                  <a:pt x="4759" y="980"/>
                </a:lnTo>
                <a:lnTo>
                  <a:pt x="4758" y="954"/>
                </a:lnTo>
                <a:lnTo>
                  <a:pt x="4755" y="928"/>
                </a:lnTo>
                <a:lnTo>
                  <a:pt x="4751" y="902"/>
                </a:lnTo>
                <a:lnTo>
                  <a:pt x="4745" y="876"/>
                </a:lnTo>
                <a:lnTo>
                  <a:pt x="4738" y="849"/>
                </a:lnTo>
                <a:lnTo>
                  <a:pt x="4730" y="824"/>
                </a:lnTo>
                <a:lnTo>
                  <a:pt x="4720" y="797"/>
                </a:lnTo>
                <a:lnTo>
                  <a:pt x="4709" y="771"/>
                </a:lnTo>
                <a:lnTo>
                  <a:pt x="4695" y="746"/>
                </a:lnTo>
                <a:lnTo>
                  <a:pt x="4681" y="721"/>
                </a:lnTo>
                <a:lnTo>
                  <a:pt x="4665" y="697"/>
                </a:lnTo>
                <a:lnTo>
                  <a:pt x="4646" y="672"/>
                </a:lnTo>
                <a:lnTo>
                  <a:pt x="4625" y="649"/>
                </a:lnTo>
                <a:lnTo>
                  <a:pt x="4602" y="626"/>
                </a:lnTo>
                <a:lnTo>
                  <a:pt x="4578" y="605"/>
                </a:lnTo>
                <a:lnTo>
                  <a:pt x="4551" y="584"/>
                </a:lnTo>
                <a:lnTo>
                  <a:pt x="4522" y="565"/>
                </a:lnTo>
                <a:lnTo>
                  <a:pt x="4490" y="545"/>
                </a:lnTo>
                <a:lnTo>
                  <a:pt x="4490" y="545"/>
                </a:lnTo>
                <a:lnTo>
                  <a:pt x="4466" y="533"/>
                </a:lnTo>
                <a:lnTo>
                  <a:pt x="4443" y="522"/>
                </a:lnTo>
                <a:lnTo>
                  <a:pt x="4419" y="512"/>
                </a:lnTo>
                <a:lnTo>
                  <a:pt x="4396" y="503"/>
                </a:lnTo>
                <a:lnTo>
                  <a:pt x="4372" y="494"/>
                </a:lnTo>
                <a:lnTo>
                  <a:pt x="4348" y="487"/>
                </a:lnTo>
                <a:lnTo>
                  <a:pt x="4325" y="481"/>
                </a:lnTo>
                <a:lnTo>
                  <a:pt x="4302" y="476"/>
                </a:lnTo>
                <a:lnTo>
                  <a:pt x="4278" y="471"/>
                </a:lnTo>
                <a:lnTo>
                  <a:pt x="4256" y="468"/>
                </a:lnTo>
                <a:lnTo>
                  <a:pt x="4233" y="465"/>
                </a:lnTo>
                <a:lnTo>
                  <a:pt x="4211" y="463"/>
                </a:lnTo>
                <a:lnTo>
                  <a:pt x="4188" y="461"/>
                </a:lnTo>
                <a:lnTo>
                  <a:pt x="4167" y="461"/>
                </a:lnTo>
                <a:lnTo>
                  <a:pt x="4145" y="461"/>
                </a:lnTo>
                <a:lnTo>
                  <a:pt x="4124" y="461"/>
                </a:lnTo>
                <a:lnTo>
                  <a:pt x="4083" y="464"/>
                </a:lnTo>
                <a:lnTo>
                  <a:pt x="4044" y="468"/>
                </a:lnTo>
                <a:lnTo>
                  <a:pt x="4007" y="474"/>
                </a:lnTo>
                <a:lnTo>
                  <a:pt x="3973" y="482"/>
                </a:lnTo>
                <a:lnTo>
                  <a:pt x="3941" y="490"/>
                </a:lnTo>
                <a:lnTo>
                  <a:pt x="3912" y="499"/>
                </a:lnTo>
                <a:lnTo>
                  <a:pt x="3887" y="510"/>
                </a:lnTo>
                <a:lnTo>
                  <a:pt x="3864" y="519"/>
                </a:lnTo>
                <a:lnTo>
                  <a:pt x="3864" y="519"/>
                </a:lnTo>
                <a:lnTo>
                  <a:pt x="3844" y="529"/>
                </a:lnTo>
                <a:lnTo>
                  <a:pt x="3824" y="539"/>
                </a:lnTo>
                <a:lnTo>
                  <a:pt x="3806" y="551"/>
                </a:lnTo>
                <a:lnTo>
                  <a:pt x="3787" y="562"/>
                </a:lnTo>
                <a:lnTo>
                  <a:pt x="3769" y="575"/>
                </a:lnTo>
                <a:lnTo>
                  <a:pt x="3752" y="587"/>
                </a:lnTo>
                <a:lnTo>
                  <a:pt x="3735" y="602"/>
                </a:lnTo>
                <a:lnTo>
                  <a:pt x="3719" y="616"/>
                </a:lnTo>
                <a:lnTo>
                  <a:pt x="3703" y="631"/>
                </a:lnTo>
                <a:lnTo>
                  <a:pt x="3687" y="647"/>
                </a:lnTo>
                <a:lnTo>
                  <a:pt x="3673" y="663"/>
                </a:lnTo>
                <a:lnTo>
                  <a:pt x="3659" y="679"/>
                </a:lnTo>
                <a:lnTo>
                  <a:pt x="3645" y="697"/>
                </a:lnTo>
                <a:lnTo>
                  <a:pt x="3633" y="715"/>
                </a:lnTo>
                <a:lnTo>
                  <a:pt x="3621" y="734"/>
                </a:lnTo>
                <a:lnTo>
                  <a:pt x="3609" y="753"/>
                </a:lnTo>
                <a:lnTo>
                  <a:pt x="3599" y="772"/>
                </a:lnTo>
                <a:lnTo>
                  <a:pt x="3589" y="793"/>
                </a:lnTo>
                <a:lnTo>
                  <a:pt x="3581" y="813"/>
                </a:lnTo>
                <a:lnTo>
                  <a:pt x="3573" y="835"/>
                </a:lnTo>
                <a:lnTo>
                  <a:pt x="3565" y="856"/>
                </a:lnTo>
                <a:lnTo>
                  <a:pt x="3559" y="879"/>
                </a:lnTo>
                <a:lnTo>
                  <a:pt x="3554" y="901"/>
                </a:lnTo>
                <a:lnTo>
                  <a:pt x="3550" y="924"/>
                </a:lnTo>
                <a:lnTo>
                  <a:pt x="3547" y="947"/>
                </a:lnTo>
                <a:lnTo>
                  <a:pt x="3545" y="972"/>
                </a:lnTo>
                <a:lnTo>
                  <a:pt x="3544" y="996"/>
                </a:lnTo>
                <a:lnTo>
                  <a:pt x="3543" y="1021"/>
                </a:lnTo>
                <a:lnTo>
                  <a:pt x="3544" y="1046"/>
                </a:lnTo>
                <a:lnTo>
                  <a:pt x="3546" y="1072"/>
                </a:lnTo>
                <a:lnTo>
                  <a:pt x="3550" y="1098"/>
                </a:lnTo>
                <a:lnTo>
                  <a:pt x="3554" y="1124"/>
                </a:lnTo>
                <a:lnTo>
                  <a:pt x="3554" y="1124"/>
                </a:lnTo>
                <a:lnTo>
                  <a:pt x="3559" y="1148"/>
                </a:lnTo>
                <a:lnTo>
                  <a:pt x="3564" y="1169"/>
                </a:lnTo>
                <a:lnTo>
                  <a:pt x="3571" y="1191"/>
                </a:lnTo>
                <a:lnTo>
                  <a:pt x="3577" y="1211"/>
                </a:lnTo>
                <a:lnTo>
                  <a:pt x="3585" y="1231"/>
                </a:lnTo>
                <a:lnTo>
                  <a:pt x="3592" y="1249"/>
                </a:lnTo>
                <a:lnTo>
                  <a:pt x="3601" y="1267"/>
                </a:lnTo>
                <a:lnTo>
                  <a:pt x="3610" y="1285"/>
                </a:lnTo>
                <a:lnTo>
                  <a:pt x="3620" y="1301"/>
                </a:lnTo>
                <a:lnTo>
                  <a:pt x="3631" y="1316"/>
                </a:lnTo>
                <a:lnTo>
                  <a:pt x="3641" y="1332"/>
                </a:lnTo>
                <a:lnTo>
                  <a:pt x="3652" y="1347"/>
                </a:lnTo>
                <a:lnTo>
                  <a:pt x="3665" y="1361"/>
                </a:lnTo>
                <a:lnTo>
                  <a:pt x="3677" y="1375"/>
                </a:lnTo>
                <a:lnTo>
                  <a:pt x="3690" y="1388"/>
                </a:lnTo>
                <a:lnTo>
                  <a:pt x="3704" y="1400"/>
                </a:lnTo>
                <a:lnTo>
                  <a:pt x="3732" y="1425"/>
                </a:lnTo>
                <a:lnTo>
                  <a:pt x="3763" y="1447"/>
                </a:lnTo>
                <a:lnTo>
                  <a:pt x="3795" y="1469"/>
                </a:lnTo>
                <a:lnTo>
                  <a:pt x="3828" y="1489"/>
                </a:lnTo>
                <a:lnTo>
                  <a:pt x="3863" y="1510"/>
                </a:lnTo>
                <a:lnTo>
                  <a:pt x="3899" y="1529"/>
                </a:lnTo>
                <a:lnTo>
                  <a:pt x="3976" y="1567"/>
                </a:lnTo>
                <a:lnTo>
                  <a:pt x="3976" y="1567"/>
                </a:lnTo>
                <a:lnTo>
                  <a:pt x="3945" y="1584"/>
                </a:lnTo>
                <a:lnTo>
                  <a:pt x="3916" y="1601"/>
                </a:lnTo>
                <a:lnTo>
                  <a:pt x="3890" y="1618"/>
                </a:lnTo>
                <a:lnTo>
                  <a:pt x="3864" y="1636"/>
                </a:lnTo>
                <a:lnTo>
                  <a:pt x="3840" y="1656"/>
                </a:lnTo>
                <a:lnTo>
                  <a:pt x="3817" y="1675"/>
                </a:lnTo>
                <a:lnTo>
                  <a:pt x="3797" y="1696"/>
                </a:lnTo>
                <a:lnTo>
                  <a:pt x="3778" y="1717"/>
                </a:lnTo>
                <a:lnTo>
                  <a:pt x="3761" y="1741"/>
                </a:lnTo>
                <a:lnTo>
                  <a:pt x="3754" y="1753"/>
                </a:lnTo>
                <a:lnTo>
                  <a:pt x="3746" y="1765"/>
                </a:lnTo>
                <a:lnTo>
                  <a:pt x="3739" y="1778"/>
                </a:lnTo>
                <a:lnTo>
                  <a:pt x="3733" y="1791"/>
                </a:lnTo>
                <a:lnTo>
                  <a:pt x="3728" y="1804"/>
                </a:lnTo>
                <a:lnTo>
                  <a:pt x="3723" y="1818"/>
                </a:lnTo>
                <a:lnTo>
                  <a:pt x="3718" y="1833"/>
                </a:lnTo>
                <a:lnTo>
                  <a:pt x="3714" y="1848"/>
                </a:lnTo>
                <a:lnTo>
                  <a:pt x="3711" y="1863"/>
                </a:lnTo>
                <a:lnTo>
                  <a:pt x="3708" y="1879"/>
                </a:lnTo>
                <a:lnTo>
                  <a:pt x="3706" y="1895"/>
                </a:lnTo>
                <a:lnTo>
                  <a:pt x="3705" y="1912"/>
                </a:lnTo>
                <a:lnTo>
                  <a:pt x="3704" y="1930"/>
                </a:lnTo>
                <a:lnTo>
                  <a:pt x="3703" y="1947"/>
                </a:lnTo>
                <a:lnTo>
                  <a:pt x="3703" y="1947"/>
                </a:lnTo>
                <a:lnTo>
                  <a:pt x="3704" y="1970"/>
                </a:lnTo>
                <a:lnTo>
                  <a:pt x="3707" y="1993"/>
                </a:lnTo>
                <a:lnTo>
                  <a:pt x="3711" y="2016"/>
                </a:lnTo>
                <a:lnTo>
                  <a:pt x="3716" y="2039"/>
                </a:lnTo>
                <a:lnTo>
                  <a:pt x="3729" y="2087"/>
                </a:lnTo>
                <a:lnTo>
                  <a:pt x="3736" y="2113"/>
                </a:lnTo>
                <a:lnTo>
                  <a:pt x="3742" y="2139"/>
                </a:lnTo>
                <a:lnTo>
                  <a:pt x="3749" y="2168"/>
                </a:lnTo>
                <a:lnTo>
                  <a:pt x="3753" y="2197"/>
                </a:lnTo>
                <a:lnTo>
                  <a:pt x="3757" y="2227"/>
                </a:lnTo>
                <a:lnTo>
                  <a:pt x="3758" y="2260"/>
                </a:lnTo>
                <a:lnTo>
                  <a:pt x="3758" y="2295"/>
                </a:lnTo>
                <a:lnTo>
                  <a:pt x="3757" y="2313"/>
                </a:lnTo>
                <a:lnTo>
                  <a:pt x="3755" y="2332"/>
                </a:lnTo>
                <a:lnTo>
                  <a:pt x="3753" y="2350"/>
                </a:lnTo>
                <a:lnTo>
                  <a:pt x="3750" y="2371"/>
                </a:lnTo>
                <a:lnTo>
                  <a:pt x="3745" y="2391"/>
                </a:lnTo>
                <a:lnTo>
                  <a:pt x="3741" y="2411"/>
                </a:lnTo>
                <a:lnTo>
                  <a:pt x="3741" y="2411"/>
                </a:lnTo>
                <a:lnTo>
                  <a:pt x="3741" y="2413"/>
                </a:lnTo>
                <a:lnTo>
                  <a:pt x="3741" y="2414"/>
                </a:lnTo>
                <a:lnTo>
                  <a:pt x="3743" y="2414"/>
                </a:lnTo>
                <a:lnTo>
                  <a:pt x="3745" y="2416"/>
                </a:lnTo>
                <a:lnTo>
                  <a:pt x="3753" y="2413"/>
                </a:lnTo>
                <a:lnTo>
                  <a:pt x="3762" y="2411"/>
                </a:lnTo>
                <a:lnTo>
                  <a:pt x="3785" y="2401"/>
                </a:lnTo>
                <a:lnTo>
                  <a:pt x="3814" y="2389"/>
                </a:lnTo>
                <a:lnTo>
                  <a:pt x="3842" y="2374"/>
                </a:lnTo>
                <a:lnTo>
                  <a:pt x="3867" y="2360"/>
                </a:lnTo>
                <a:lnTo>
                  <a:pt x="3886" y="2349"/>
                </a:lnTo>
                <a:lnTo>
                  <a:pt x="3891" y="2345"/>
                </a:lnTo>
                <a:lnTo>
                  <a:pt x="3894" y="2343"/>
                </a:lnTo>
                <a:lnTo>
                  <a:pt x="3894" y="2343"/>
                </a:lnTo>
                <a:lnTo>
                  <a:pt x="3903" y="2319"/>
                </a:lnTo>
                <a:lnTo>
                  <a:pt x="3910" y="2296"/>
                </a:lnTo>
                <a:lnTo>
                  <a:pt x="3916" y="2272"/>
                </a:lnTo>
                <a:lnTo>
                  <a:pt x="3921" y="2248"/>
                </a:lnTo>
                <a:lnTo>
                  <a:pt x="3925" y="2224"/>
                </a:lnTo>
                <a:lnTo>
                  <a:pt x="3928" y="2201"/>
                </a:lnTo>
                <a:lnTo>
                  <a:pt x="3930" y="2178"/>
                </a:lnTo>
                <a:lnTo>
                  <a:pt x="3932" y="2156"/>
                </a:lnTo>
                <a:lnTo>
                  <a:pt x="3932" y="2117"/>
                </a:lnTo>
                <a:lnTo>
                  <a:pt x="3931" y="2086"/>
                </a:lnTo>
                <a:lnTo>
                  <a:pt x="3928" y="2059"/>
                </a:lnTo>
                <a:lnTo>
                  <a:pt x="3928" y="2059"/>
                </a:lnTo>
                <a:lnTo>
                  <a:pt x="3939" y="2068"/>
                </a:lnTo>
                <a:lnTo>
                  <a:pt x="3947" y="2079"/>
                </a:lnTo>
                <a:lnTo>
                  <a:pt x="3954" y="2091"/>
                </a:lnTo>
                <a:lnTo>
                  <a:pt x="3960" y="2105"/>
                </a:lnTo>
                <a:lnTo>
                  <a:pt x="3964" y="2120"/>
                </a:lnTo>
                <a:lnTo>
                  <a:pt x="3968" y="2135"/>
                </a:lnTo>
                <a:lnTo>
                  <a:pt x="3971" y="2152"/>
                </a:lnTo>
                <a:lnTo>
                  <a:pt x="3973" y="2168"/>
                </a:lnTo>
                <a:lnTo>
                  <a:pt x="3975" y="2185"/>
                </a:lnTo>
                <a:lnTo>
                  <a:pt x="3976" y="2203"/>
                </a:lnTo>
                <a:lnTo>
                  <a:pt x="3976" y="2219"/>
                </a:lnTo>
                <a:lnTo>
                  <a:pt x="3975" y="2237"/>
                </a:lnTo>
                <a:lnTo>
                  <a:pt x="3971" y="2268"/>
                </a:lnTo>
                <a:lnTo>
                  <a:pt x="3965" y="2297"/>
                </a:lnTo>
                <a:lnTo>
                  <a:pt x="3965" y="2297"/>
                </a:lnTo>
                <a:lnTo>
                  <a:pt x="3982" y="2288"/>
                </a:lnTo>
                <a:lnTo>
                  <a:pt x="3998" y="2276"/>
                </a:lnTo>
                <a:lnTo>
                  <a:pt x="4016" y="2263"/>
                </a:lnTo>
                <a:lnTo>
                  <a:pt x="4036" y="2249"/>
                </a:lnTo>
                <a:lnTo>
                  <a:pt x="4053" y="2234"/>
                </a:lnTo>
                <a:lnTo>
                  <a:pt x="4061" y="2226"/>
                </a:lnTo>
                <a:lnTo>
                  <a:pt x="4068" y="2219"/>
                </a:lnTo>
                <a:lnTo>
                  <a:pt x="4072" y="2212"/>
                </a:lnTo>
                <a:lnTo>
                  <a:pt x="4075" y="2206"/>
                </a:lnTo>
                <a:lnTo>
                  <a:pt x="4075" y="2206"/>
                </a:lnTo>
                <a:lnTo>
                  <a:pt x="4083" y="2176"/>
                </a:lnTo>
                <a:lnTo>
                  <a:pt x="4090" y="2148"/>
                </a:lnTo>
                <a:lnTo>
                  <a:pt x="4094" y="2121"/>
                </a:lnTo>
                <a:lnTo>
                  <a:pt x="4096" y="2095"/>
                </a:lnTo>
                <a:lnTo>
                  <a:pt x="4096" y="2071"/>
                </a:lnTo>
                <a:lnTo>
                  <a:pt x="4095" y="2047"/>
                </a:lnTo>
                <a:lnTo>
                  <a:pt x="4093" y="2025"/>
                </a:lnTo>
                <a:lnTo>
                  <a:pt x="4090" y="2003"/>
                </a:lnTo>
                <a:lnTo>
                  <a:pt x="4085" y="1983"/>
                </a:lnTo>
                <a:lnTo>
                  <a:pt x="4080" y="1964"/>
                </a:lnTo>
                <a:lnTo>
                  <a:pt x="4075" y="1945"/>
                </a:lnTo>
                <a:lnTo>
                  <a:pt x="4069" y="1928"/>
                </a:lnTo>
                <a:lnTo>
                  <a:pt x="4055" y="1894"/>
                </a:lnTo>
                <a:lnTo>
                  <a:pt x="4043" y="1862"/>
                </a:lnTo>
                <a:lnTo>
                  <a:pt x="4043" y="1862"/>
                </a:lnTo>
                <a:lnTo>
                  <a:pt x="4038" y="1847"/>
                </a:lnTo>
                <a:lnTo>
                  <a:pt x="4035" y="1832"/>
                </a:lnTo>
                <a:lnTo>
                  <a:pt x="4034" y="1817"/>
                </a:lnTo>
                <a:lnTo>
                  <a:pt x="4035" y="1802"/>
                </a:lnTo>
                <a:lnTo>
                  <a:pt x="4037" y="1788"/>
                </a:lnTo>
                <a:lnTo>
                  <a:pt x="4041" y="1773"/>
                </a:lnTo>
                <a:lnTo>
                  <a:pt x="4046" y="1759"/>
                </a:lnTo>
                <a:lnTo>
                  <a:pt x="4053" y="1746"/>
                </a:lnTo>
                <a:lnTo>
                  <a:pt x="4061" y="1733"/>
                </a:lnTo>
                <a:lnTo>
                  <a:pt x="4071" y="1719"/>
                </a:lnTo>
                <a:lnTo>
                  <a:pt x="4081" y="1707"/>
                </a:lnTo>
                <a:lnTo>
                  <a:pt x="4092" y="1696"/>
                </a:lnTo>
                <a:lnTo>
                  <a:pt x="4103" y="1684"/>
                </a:lnTo>
                <a:lnTo>
                  <a:pt x="4117" y="1673"/>
                </a:lnTo>
                <a:lnTo>
                  <a:pt x="4130" y="1664"/>
                </a:lnTo>
                <a:lnTo>
                  <a:pt x="4145" y="1655"/>
                </a:lnTo>
                <a:lnTo>
                  <a:pt x="4145" y="1655"/>
                </a:lnTo>
                <a:lnTo>
                  <a:pt x="4180" y="1674"/>
                </a:lnTo>
                <a:lnTo>
                  <a:pt x="4215" y="1695"/>
                </a:lnTo>
                <a:lnTo>
                  <a:pt x="4251" y="1716"/>
                </a:lnTo>
                <a:lnTo>
                  <a:pt x="4286" y="1740"/>
                </a:lnTo>
                <a:lnTo>
                  <a:pt x="4286" y="1740"/>
                </a:lnTo>
                <a:lnTo>
                  <a:pt x="4307" y="1754"/>
                </a:lnTo>
                <a:lnTo>
                  <a:pt x="4341" y="1779"/>
                </a:lnTo>
                <a:lnTo>
                  <a:pt x="4361" y="1794"/>
                </a:lnTo>
                <a:lnTo>
                  <a:pt x="4382" y="1812"/>
                </a:lnTo>
                <a:lnTo>
                  <a:pt x="4405" y="1832"/>
                </a:lnTo>
                <a:lnTo>
                  <a:pt x="4430" y="1853"/>
                </a:lnTo>
                <a:lnTo>
                  <a:pt x="4453" y="1877"/>
                </a:lnTo>
                <a:lnTo>
                  <a:pt x="4478" y="1901"/>
                </a:lnTo>
                <a:lnTo>
                  <a:pt x="4501" y="1928"/>
                </a:lnTo>
                <a:lnTo>
                  <a:pt x="4524" y="1956"/>
                </a:lnTo>
                <a:lnTo>
                  <a:pt x="4545" y="1985"/>
                </a:lnTo>
                <a:lnTo>
                  <a:pt x="4564" y="2016"/>
                </a:lnTo>
                <a:lnTo>
                  <a:pt x="4574" y="2031"/>
                </a:lnTo>
                <a:lnTo>
                  <a:pt x="4582" y="2047"/>
                </a:lnTo>
                <a:lnTo>
                  <a:pt x="4590" y="2064"/>
                </a:lnTo>
                <a:lnTo>
                  <a:pt x="4596" y="2080"/>
                </a:lnTo>
                <a:lnTo>
                  <a:pt x="4596" y="2080"/>
                </a:lnTo>
                <a:lnTo>
                  <a:pt x="4606" y="2106"/>
                </a:lnTo>
                <a:lnTo>
                  <a:pt x="4616" y="2130"/>
                </a:lnTo>
                <a:lnTo>
                  <a:pt x="4624" y="2155"/>
                </a:lnTo>
                <a:lnTo>
                  <a:pt x="4630" y="2178"/>
                </a:lnTo>
                <a:lnTo>
                  <a:pt x="4636" y="2202"/>
                </a:lnTo>
                <a:lnTo>
                  <a:pt x="4641" y="2224"/>
                </a:lnTo>
                <a:lnTo>
                  <a:pt x="4645" y="2246"/>
                </a:lnTo>
                <a:lnTo>
                  <a:pt x="4649" y="2266"/>
                </a:lnTo>
                <a:lnTo>
                  <a:pt x="4651" y="2287"/>
                </a:lnTo>
                <a:lnTo>
                  <a:pt x="4653" y="2306"/>
                </a:lnTo>
                <a:lnTo>
                  <a:pt x="4654" y="2325"/>
                </a:lnTo>
                <a:lnTo>
                  <a:pt x="4655" y="2343"/>
                </a:lnTo>
                <a:lnTo>
                  <a:pt x="4654" y="2377"/>
                </a:lnTo>
                <a:lnTo>
                  <a:pt x="4652" y="2408"/>
                </a:lnTo>
                <a:lnTo>
                  <a:pt x="4648" y="2437"/>
                </a:lnTo>
                <a:lnTo>
                  <a:pt x="4642" y="2464"/>
                </a:lnTo>
                <a:lnTo>
                  <a:pt x="4635" y="2487"/>
                </a:lnTo>
                <a:lnTo>
                  <a:pt x="4628" y="2509"/>
                </a:lnTo>
                <a:lnTo>
                  <a:pt x="4620" y="2527"/>
                </a:lnTo>
                <a:lnTo>
                  <a:pt x="4612" y="2544"/>
                </a:lnTo>
                <a:lnTo>
                  <a:pt x="4603" y="2559"/>
                </a:lnTo>
                <a:lnTo>
                  <a:pt x="4596" y="2570"/>
                </a:lnTo>
                <a:lnTo>
                  <a:pt x="4596" y="2570"/>
                </a:lnTo>
                <a:lnTo>
                  <a:pt x="4582" y="2590"/>
                </a:lnTo>
                <a:lnTo>
                  <a:pt x="4568" y="2611"/>
                </a:lnTo>
                <a:lnTo>
                  <a:pt x="4553" y="2629"/>
                </a:lnTo>
                <a:lnTo>
                  <a:pt x="4538" y="2648"/>
                </a:lnTo>
                <a:lnTo>
                  <a:pt x="4522" y="2665"/>
                </a:lnTo>
                <a:lnTo>
                  <a:pt x="4505" y="2681"/>
                </a:lnTo>
                <a:lnTo>
                  <a:pt x="4487" y="2697"/>
                </a:lnTo>
                <a:lnTo>
                  <a:pt x="4469" y="2711"/>
                </a:lnTo>
                <a:lnTo>
                  <a:pt x="4450" y="2724"/>
                </a:lnTo>
                <a:lnTo>
                  <a:pt x="4430" y="2736"/>
                </a:lnTo>
                <a:lnTo>
                  <a:pt x="4409" y="2747"/>
                </a:lnTo>
                <a:lnTo>
                  <a:pt x="4388" y="2756"/>
                </a:lnTo>
                <a:lnTo>
                  <a:pt x="4364" y="2764"/>
                </a:lnTo>
                <a:lnTo>
                  <a:pt x="4341" y="2771"/>
                </a:lnTo>
                <a:lnTo>
                  <a:pt x="4316" y="2776"/>
                </a:lnTo>
                <a:lnTo>
                  <a:pt x="4290" y="2779"/>
                </a:lnTo>
                <a:lnTo>
                  <a:pt x="4290" y="2779"/>
                </a:lnTo>
                <a:lnTo>
                  <a:pt x="4283" y="2778"/>
                </a:lnTo>
                <a:lnTo>
                  <a:pt x="4275" y="2778"/>
                </a:lnTo>
                <a:lnTo>
                  <a:pt x="4275" y="2778"/>
                </a:lnTo>
                <a:lnTo>
                  <a:pt x="4242" y="2779"/>
                </a:lnTo>
                <a:lnTo>
                  <a:pt x="4213" y="2779"/>
                </a:lnTo>
                <a:lnTo>
                  <a:pt x="4185" y="2778"/>
                </a:lnTo>
                <a:lnTo>
                  <a:pt x="4159" y="2775"/>
                </a:lnTo>
                <a:lnTo>
                  <a:pt x="4159" y="2775"/>
                </a:lnTo>
                <a:lnTo>
                  <a:pt x="4131" y="2770"/>
                </a:lnTo>
                <a:lnTo>
                  <a:pt x="4103" y="2765"/>
                </a:lnTo>
                <a:lnTo>
                  <a:pt x="4077" y="2758"/>
                </a:lnTo>
                <a:lnTo>
                  <a:pt x="4052" y="2751"/>
                </a:lnTo>
                <a:lnTo>
                  <a:pt x="4052" y="2751"/>
                </a:lnTo>
                <a:lnTo>
                  <a:pt x="4009" y="2736"/>
                </a:lnTo>
                <a:lnTo>
                  <a:pt x="3965" y="2717"/>
                </a:lnTo>
                <a:lnTo>
                  <a:pt x="3965" y="2717"/>
                </a:lnTo>
                <a:lnTo>
                  <a:pt x="3925" y="2697"/>
                </a:lnTo>
                <a:lnTo>
                  <a:pt x="3874" y="2669"/>
                </a:lnTo>
                <a:lnTo>
                  <a:pt x="3846" y="2652"/>
                </a:lnTo>
                <a:lnTo>
                  <a:pt x="3815" y="2632"/>
                </a:lnTo>
                <a:lnTo>
                  <a:pt x="3782" y="2612"/>
                </a:lnTo>
                <a:lnTo>
                  <a:pt x="3748" y="2588"/>
                </a:lnTo>
                <a:lnTo>
                  <a:pt x="3712" y="2564"/>
                </a:lnTo>
                <a:lnTo>
                  <a:pt x="3676" y="2536"/>
                </a:lnTo>
                <a:lnTo>
                  <a:pt x="3638" y="2508"/>
                </a:lnTo>
                <a:lnTo>
                  <a:pt x="3601" y="2477"/>
                </a:lnTo>
                <a:lnTo>
                  <a:pt x="3563" y="2444"/>
                </a:lnTo>
                <a:lnTo>
                  <a:pt x="3526" y="2409"/>
                </a:lnTo>
                <a:lnTo>
                  <a:pt x="3488" y="2373"/>
                </a:lnTo>
                <a:lnTo>
                  <a:pt x="3451" y="2335"/>
                </a:lnTo>
                <a:lnTo>
                  <a:pt x="3451" y="2335"/>
                </a:lnTo>
                <a:lnTo>
                  <a:pt x="3394" y="2271"/>
                </a:lnTo>
                <a:lnTo>
                  <a:pt x="3342" y="2212"/>
                </a:lnTo>
                <a:lnTo>
                  <a:pt x="3295" y="2157"/>
                </a:lnTo>
                <a:lnTo>
                  <a:pt x="3253" y="2107"/>
                </a:lnTo>
                <a:lnTo>
                  <a:pt x="3215" y="2060"/>
                </a:lnTo>
                <a:lnTo>
                  <a:pt x="3180" y="2017"/>
                </a:lnTo>
                <a:lnTo>
                  <a:pt x="3120" y="1940"/>
                </a:lnTo>
                <a:lnTo>
                  <a:pt x="3120" y="1940"/>
                </a:lnTo>
                <a:lnTo>
                  <a:pt x="3138" y="1947"/>
                </a:lnTo>
                <a:lnTo>
                  <a:pt x="3156" y="1953"/>
                </a:lnTo>
                <a:lnTo>
                  <a:pt x="3175" y="1958"/>
                </a:lnTo>
                <a:lnTo>
                  <a:pt x="3193" y="1963"/>
                </a:lnTo>
                <a:lnTo>
                  <a:pt x="3211" y="1966"/>
                </a:lnTo>
                <a:lnTo>
                  <a:pt x="3229" y="1968"/>
                </a:lnTo>
                <a:lnTo>
                  <a:pt x="3262" y="1971"/>
                </a:lnTo>
                <a:lnTo>
                  <a:pt x="3289" y="1971"/>
                </a:lnTo>
                <a:lnTo>
                  <a:pt x="3312" y="1970"/>
                </a:lnTo>
                <a:lnTo>
                  <a:pt x="3332" y="1968"/>
                </a:lnTo>
                <a:lnTo>
                  <a:pt x="3332" y="1968"/>
                </a:lnTo>
                <a:lnTo>
                  <a:pt x="3336" y="1918"/>
                </a:lnTo>
                <a:lnTo>
                  <a:pt x="3338" y="1873"/>
                </a:lnTo>
                <a:lnTo>
                  <a:pt x="3340" y="1833"/>
                </a:lnTo>
                <a:lnTo>
                  <a:pt x="3346" y="1698"/>
                </a:lnTo>
                <a:lnTo>
                  <a:pt x="3346" y="1698"/>
                </a:lnTo>
                <a:lnTo>
                  <a:pt x="3349" y="1661"/>
                </a:lnTo>
                <a:lnTo>
                  <a:pt x="3351" y="1626"/>
                </a:lnTo>
                <a:lnTo>
                  <a:pt x="3352" y="1589"/>
                </a:lnTo>
                <a:lnTo>
                  <a:pt x="3352" y="1589"/>
                </a:lnTo>
                <a:lnTo>
                  <a:pt x="3340" y="1588"/>
                </a:lnTo>
                <a:lnTo>
                  <a:pt x="3307" y="1584"/>
                </a:lnTo>
                <a:lnTo>
                  <a:pt x="3285" y="1581"/>
                </a:lnTo>
                <a:lnTo>
                  <a:pt x="3260" y="1576"/>
                </a:lnTo>
                <a:lnTo>
                  <a:pt x="3233" y="1571"/>
                </a:lnTo>
                <a:lnTo>
                  <a:pt x="3206" y="1564"/>
                </a:lnTo>
                <a:lnTo>
                  <a:pt x="3176" y="1555"/>
                </a:lnTo>
                <a:lnTo>
                  <a:pt x="3147" y="1544"/>
                </a:lnTo>
                <a:lnTo>
                  <a:pt x="3120" y="1532"/>
                </a:lnTo>
                <a:lnTo>
                  <a:pt x="3106" y="1526"/>
                </a:lnTo>
                <a:lnTo>
                  <a:pt x="3093" y="1519"/>
                </a:lnTo>
                <a:lnTo>
                  <a:pt x="3081" y="1511"/>
                </a:lnTo>
                <a:lnTo>
                  <a:pt x="3070" y="1502"/>
                </a:lnTo>
                <a:lnTo>
                  <a:pt x="3058" y="1493"/>
                </a:lnTo>
                <a:lnTo>
                  <a:pt x="3049" y="1484"/>
                </a:lnTo>
                <a:lnTo>
                  <a:pt x="3040" y="1474"/>
                </a:lnTo>
                <a:lnTo>
                  <a:pt x="3032" y="1463"/>
                </a:lnTo>
                <a:lnTo>
                  <a:pt x="3025" y="1451"/>
                </a:lnTo>
                <a:lnTo>
                  <a:pt x="3019" y="1439"/>
                </a:lnTo>
                <a:lnTo>
                  <a:pt x="3019" y="1439"/>
                </a:lnTo>
                <a:lnTo>
                  <a:pt x="3030" y="1445"/>
                </a:lnTo>
                <a:lnTo>
                  <a:pt x="3042" y="1450"/>
                </a:lnTo>
                <a:lnTo>
                  <a:pt x="3059" y="1457"/>
                </a:lnTo>
                <a:lnTo>
                  <a:pt x="3081" y="1465"/>
                </a:lnTo>
                <a:lnTo>
                  <a:pt x="3106" y="1472"/>
                </a:lnTo>
                <a:lnTo>
                  <a:pt x="3136" y="1477"/>
                </a:lnTo>
                <a:lnTo>
                  <a:pt x="3152" y="1479"/>
                </a:lnTo>
                <a:lnTo>
                  <a:pt x="3169" y="1480"/>
                </a:lnTo>
                <a:lnTo>
                  <a:pt x="3169" y="1480"/>
                </a:lnTo>
                <a:lnTo>
                  <a:pt x="3201" y="1481"/>
                </a:lnTo>
                <a:lnTo>
                  <a:pt x="3234" y="1481"/>
                </a:lnTo>
                <a:lnTo>
                  <a:pt x="3266" y="1479"/>
                </a:lnTo>
                <a:lnTo>
                  <a:pt x="3295" y="1477"/>
                </a:lnTo>
                <a:lnTo>
                  <a:pt x="3340" y="1471"/>
                </a:lnTo>
                <a:lnTo>
                  <a:pt x="3357" y="1469"/>
                </a:lnTo>
                <a:lnTo>
                  <a:pt x="3357" y="1469"/>
                </a:lnTo>
                <a:lnTo>
                  <a:pt x="3359" y="1463"/>
                </a:lnTo>
                <a:lnTo>
                  <a:pt x="3361" y="1451"/>
                </a:lnTo>
                <a:lnTo>
                  <a:pt x="3364" y="1421"/>
                </a:lnTo>
                <a:lnTo>
                  <a:pt x="3367" y="1381"/>
                </a:lnTo>
                <a:lnTo>
                  <a:pt x="3369" y="1337"/>
                </a:lnTo>
                <a:lnTo>
                  <a:pt x="3373" y="1257"/>
                </a:lnTo>
                <a:lnTo>
                  <a:pt x="3375" y="1222"/>
                </a:lnTo>
                <a:lnTo>
                  <a:pt x="3375" y="1222"/>
                </a:lnTo>
                <a:lnTo>
                  <a:pt x="3376" y="1194"/>
                </a:lnTo>
                <a:lnTo>
                  <a:pt x="3377" y="1154"/>
                </a:lnTo>
                <a:lnTo>
                  <a:pt x="3377" y="1105"/>
                </a:lnTo>
                <a:lnTo>
                  <a:pt x="3377" y="1105"/>
                </a:lnTo>
                <a:lnTo>
                  <a:pt x="3369" y="1107"/>
                </a:lnTo>
                <a:lnTo>
                  <a:pt x="3359" y="1108"/>
                </a:lnTo>
                <a:lnTo>
                  <a:pt x="3338" y="1110"/>
                </a:lnTo>
                <a:lnTo>
                  <a:pt x="3315" y="1109"/>
                </a:lnTo>
                <a:lnTo>
                  <a:pt x="3290" y="1107"/>
                </a:lnTo>
                <a:lnTo>
                  <a:pt x="3264" y="1104"/>
                </a:lnTo>
                <a:lnTo>
                  <a:pt x="3236" y="1100"/>
                </a:lnTo>
                <a:lnTo>
                  <a:pt x="3208" y="1094"/>
                </a:lnTo>
                <a:lnTo>
                  <a:pt x="3178" y="1086"/>
                </a:lnTo>
                <a:lnTo>
                  <a:pt x="3178" y="1086"/>
                </a:lnTo>
                <a:lnTo>
                  <a:pt x="3158" y="1080"/>
                </a:lnTo>
                <a:lnTo>
                  <a:pt x="3135" y="1071"/>
                </a:lnTo>
                <a:lnTo>
                  <a:pt x="3112" y="1059"/>
                </a:lnTo>
                <a:lnTo>
                  <a:pt x="3088" y="1044"/>
                </a:lnTo>
                <a:lnTo>
                  <a:pt x="3064" y="1028"/>
                </a:lnTo>
                <a:lnTo>
                  <a:pt x="3053" y="1019"/>
                </a:lnTo>
                <a:lnTo>
                  <a:pt x="3043" y="1010"/>
                </a:lnTo>
                <a:lnTo>
                  <a:pt x="3034" y="999"/>
                </a:lnTo>
                <a:lnTo>
                  <a:pt x="3025" y="990"/>
                </a:lnTo>
                <a:lnTo>
                  <a:pt x="3017" y="980"/>
                </a:lnTo>
                <a:lnTo>
                  <a:pt x="3010" y="969"/>
                </a:lnTo>
                <a:lnTo>
                  <a:pt x="3010" y="969"/>
                </a:lnTo>
                <a:lnTo>
                  <a:pt x="3022" y="974"/>
                </a:lnTo>
                <a:lnTo>
                  <a:pt x="3035" y="978"/>
                </a:lnTo>
                <a:lnTo>
                  <a:pt x="3052" y="984"/>
                </a:lnTo>
                <a:lnTo>
                  <a:pt x="3075" y="990"/>
                </a:lnTo>
                <a:lnTo>
                  <a:pt x="3101" y="996"/>
                </a:lnTo>
                <a:lnTo>
                  <a:pt x="3132" y="1003"/>
                </a:lnTo>
                <a:lnTo>
                  <a:pt x="3167" y="1008"/>
                </a:lnTo>
                <a:lnTo>
                  <a:pt x="3167" y="1008"/>
                </a:lnTo>
                <a:lnTo>
                  <a:pt x="3187" y="1010"/>
                </a:lnTo>
                <a:lnTo>
                  <a:pt x="3207" y="1011"/>
                </a:lnTo>
                <a:lnTo>
                  <a:pt x="3226" y="1012"/>
                </a:lnTo>
                <a:lnTo>
                  <a:pt x="3245" y="1012"/>
                </a:lnTo>
                <a:lnTo>
                  <a:pt x="3283" y="1010"/>
                </a:lnTo>
                <a:lnTo>
                  <a:pt x="3317" y="1007"/>
                </a:lnTo>
                <a:lnTo>
                  <a:pt x="3346" y="1001"/>
                </a:lnTo>
                <a:lnTo>
                  <a:pt x="3369" y="996"/>
                </a:lnTo>
                <a:lnTo>
                  <a:pt x="3377" y="993"/>
                </a:lnTo>
                <a:lnTo>
                  <a:pt x="3383" y="991"/>
                </a:lnTo>
                <a:lnTo>
                  <a:pt x="3388" y="988"/>
                </a:lnTo>
                <a:lnTo>
                  <a:pt x="3390" y="985"/>
                </a:lnTo>
                <a:lnTo>
                  <a:pt x="3390" y="985"/>
                </a:lnTo>
                <a:lnTo>
                  <a:pt x="3392" y="959"/>
                </a:lnTo>
                <a:lnTo>
                  <a:pt x="3393" y="925"/>
                </a:lnTo>
                <a:lnTo>
                  <a:pt x="3394" y="848"/>
                </a:lnTo>
                <a:lnTo>
                  <a:pt x="3394" y="750"/>
                </a:lnTo>
                <a:lnTo>
                  <a:pt x="3394" y="750"/>
                </a:lnTo>
                <a:lnTo>
                  <a:pt x="3399" y="686"/>
                </a:lnTo>
                <a:lnTo>
                  <a:pt x="3400" y="642"/>
                </a:lnTo>
                <a:lnTo>
                  <a:pt x="3400" y="627"/>
                </a:lnTo>
                <a:lnTo>
                  <a:pt x="3399" y="623"/>
                </a:lnTo>
                <a:lnTo>
                  <a:pt x="3398" y="622"/>
                </a:lnTo>
                <a:lnTo>
                  <a:pt x="3398" y="622"/>
                </a:lnTo>
                <a:lnTo>
                  <a:pt x="3392" y="622"/>
                </a:lnTo>
                <a:lnTo>
                  <a:pt x="3381" y="623"/>
                </a:lnTo>
                <a:lnTo>
                  <a:pt x="3368" y="623"/>
                </a:lnTo>
                <a:lnTo>
                  <a:pt x="3354" y="622"/>
                </a:lnTo>
                <a:lnTo>
                  <a:pt x="3336" y="620"/>
                </a:lnTo>
                <a:lnTo>
                  <a:pt x="3317" y="617"/>
                </a:lnTo>
                <a:lnTo>
                  <a:pt x="3297" y="612"/>
                </a:lnTo>
                <a:lnTo>
                  <a:pt x="3274" y="607"/>
                </a:lnTo>
                <a:lnTo>
                  <a:pt x="3251" y="599"/>
                </a:lnTo>
                <a:lnTo>
                  <a:pt x="3226" y="589"/>
                </a:lnTo>
                <a:lnTo>
                  <a:pt x="3200" y="578"/>
                </a:lnTo>
                <a:lnTo>
                  <a:pt x="3175" y="564"/>
                </a:lnTo>
                <a:lnTo>
                  <a:pt x="3149" y="548"/>
                </a:lnTo>
                <a:lnTo>
                  <a:pt x="3123" y="529"/>
                </a:lnTo>
                <a:lnTo>
                  <a:pt x="3110" y="519"/>
                </a:lnTo>
                <a:lnTo>
                  <a:pt x="3097" y="508"/>
                </a:lnTo>
                <a:lnTo>
                  <a:pt x="3085" y="495"/>
                </a:lnTo>
                <a:lnTo>
                  <a:pt x="3073" y="483"/>
                </a:lnTo>
                <a:lnTo>
                  <a:pt x="3073" y="483"/>
                </a:lnTo>
                <a:lnTo>
                  <a:pt x="3071" y="481"/>
                </a:lnTo>
                <a:lnTo>
                  <a:pt x="3065" y="476"/>
                </a:lnTo>
                <a:lnTo>
                  <a:pt x="3059" y="467"/>
                </a:lnTo>
                <a:lnTo>
                  <a:pt x="3056" y="461"/>
                </a:lnTo>
                <a:lnTo>
                  <a:pt x="3053" y="454"/>
                </a:lnTo>
                <a:lnTo>
                  <a:pt x="3051" y="447"/>
                </a:lnTo>
                <a:lnTo>
                  <a:pt x="3050" y="439"/>
                </a:lnTo>
                <a:lnTo>
                  <a:pt x="3049" y="430"/>
                </a:lnTo>
                <a:lnTo>
                  <a:pt x="3050" y="420"/>
                </a:lnTo>
                <a:lnTo>
                  <a:pt x="3053" y="410"/>
                </a:lnTo>
                <a:lnTo>
                  <a:pt x="3056" y="398"/>
                </a:lnTo>
                <a:lnTo>
                  <a:pt x="3062" y="386"/>
                </a:lnTo>
                <a:lnTo>
                  <a:pt x="3071" y="373"/>
                </a:lnTo>
                <a:lnTo>
                  <a:pt x="3071" y="373"/>
                </a:lnTo>
                <a:lnTo>
                  <a:pt x="2806" y="254"/>
                </a:lnTo>
                <a:lnTo>
                  <a:pt x="2806" y="254"/>
                </a:lnTo>
                <a:lnTo>
                  <a:pt x="2815" y="245"/>
                </a:lnTo>
                <a:lnTo>
                  <a:pt x="2824" y="234"/>
                </a:lnTo>
                <a:lnTo>
                  <a:pt x="2834" y="219"/>
                </a:lnTo>
                <a:lnTo>
                  <a:pt x="2845" y="203"/>
                </a:lnTo>
                <a:lnTo>
                  <a:pt x="2850" y="194"/>
                </a:lnTo>
                <a:lnTo>
                  <a:pt x="2854" y="185"/>
                </a:lnTo>
                <a:lnTo>
                  <a:pt x="2858" y="174"/>
                </a:lnTo>
                <a:lnTo>
                  <a:pt x="2861" y="164"/>
                </a:lnTo>
                <a:lnTo>
                  <a:pt x="2863" y="154"/>
                </a:lnTo>
                <a:lnTo>
                  <a:pt x="2863" y="144"/>
                </a:lnTo>
                <a:lnTo>
                  <a:pt x="2863" y="144"/>
                </a:lnTo>
                <a:lnTo>
                  <a:pt x="2863" y="132"/>
                </a:lnTo>
                <a:lnTo>
                  <a:pt x="2860" y="122"/>
                </a:lnTo>
                <a:lnTo>
                  <a:pt x="2855" y="112"/>
                </a:lnTo>
                <a:lnTo>
                  <a:pt x="2849" y="103"/>
                </a:lnTo>
                <a:lnTo>
                  <a:pt x="2841" y="94"/>
                </a:lnTo>
                <a:lnTo>
                  <a:pt x="2830" y="86"/>
                </a:lnTo>
                <a:lnTo>
                  <a:pt x="2820" y="79"/>
                </a:lnTo>
                <a:lnTo>
                  <a:pt x="2808" y="73"/>
                </a:lnTo>
                <a:lnTo>
                  <a:pt x="2795" y="68"/>
                </a:lnTo>
                <a:lnTo>
                  <a:pt x="2781" y="64"/>
                </a:lnTo>
                <a:lnTo>
                  <a:pt x="2767" y="60"/>
                </a:lnTo>
                <a:lnTo>
                  <a:pt x="2753" y="58"/>
                </a:lnTo>
                <a:lnTo>
                  <a:pt x="2738" y="56"/>
                </a:lnTo>
                <a:lnTo>
                  <a:pt x="2723" y="56"/>
                </a:lnTo>
                <a:lnTo>
                  <a:pt x="2709" y="57"/>
                </a:lnTo>
                <a:lnTo>
                  <a:pt x="2694" y="59"/>
                </a:lnTo>
                <a:lnTo>
                  <a:pt x="2694" y="59"/>
                </a:lnTo>
                <a:lnTo>
                  <a:pt x="2681" y="62"/>
                </a:lnTo>
                <a:lnTo>
                  <a:pt x="2669" y="66"/>
                </a:lnTo>
                <a:lnTo>
                  <a:pt x="2656" y="71"/>
                </a:lnTo>
                <a:lnTo>
                  <a:pt x="2644" y="77"/>
                </a:lnTo>
                <a:lnTo>
                  <a:pt x="2634" y="84"/>
                </a:lnTo>
                <a:lnTo>
                  <a:pt x="2623" y="92"/>
                </a:lnTo>
                <a:lnTo>
                  <a:pt x="2604" y="107"/>
                </a:lnTo>
                <a:lnTo>
                  <a:pt x="2589" y="122"/>
                </a:lnTo>
                <a:lnTo>
                  <a:pt x="2578" y="134"/>
                </a:lnTo>
                <a:lnTo>
                  <a:pt x="2569" y="147"/>
                </a:lnTo>
                <a:lnTo>
                  <a:pt x="2238" y="0"/>
                </a:lnTo>
                <a:lnTo>
                  <a:pt x="1977" y="263"/>
                </a:lnTo>
                <a:lnTo>
                  <a:pt x="1977" y="263"/>
                </a:lnTo>
                <a:lnTo>
                  <a:pt x="1972" y="268"/>
                </a:lnTo>
                <a:lnTo>
                  <a:pt x="1966" y="280"/>
                </a:lnTo>
                <a:lnTo>
                  <a:pt x="1963" y="287"/>
                </a:lnTo>
                <a:lnTo>
                  <a:pt x="1961" y="295"/>
                </a:lnTo>
                <a:lnTo>
                  <a:pt x="1960" y="304"/>
                </a:lnTo>
                <a:lnTo>
                  <a:pt x="1960" y="313"/>
                </a:lnTo>
                <a:lnTo>
                  <a:pt x="1964" y="337"/>
                </a:lnTo>
                <a:lnTo>
                  <a:pt x="1964" y="337"/>
                </a:lnTo>
                <a:lnTo>
                  <a:pt x="1964" y="343"/>
                </a:lnTo>
                <a:lnTo>
                  <a:pt x="1963" y="349"/>
                </a:lnTo>
                <a:lnTo>
                  <a:pt x="1962" y="354"/>
                </a:lnTo>
                <a:lnTo>
                  <a:pt x="1961" y="358"/>
                </a:lnTo>
                <a:lnTo>
                  <a:pt x="1957" y="366"/>
                </a:lnTo>
                <a:lnTo>
                  <a:pt x="1955" y="370"/>
                </a:lnTo>
                <a:lnTo>
                  <a:pt x="1955" y="370"/>
                </a:lnTo>
                <a:lnTo>
                  <a:pt x="1936" y="392"/>
                </a:lnTo>
                <a:lnTo>
                  <a:pt x="1916" y="416"/>
                </a:lnTo>
                <a:lnTo>
                  <a:pt x="1896" y="438"/>
                </a:lnTo>
                <a:lnTo>
                  <a:pt x="1876" y="461"/>
                </a:lnTo>
                <a:lnTo>
                  <a:pt x="1876" y="461"/>
                </a:lnTo>
                <a:lnTo>
                  <a:pt x="1847" y="499"/>
                </a:lnTo>
                <a:lnTo>
                  <a:pt x="1836" y="515"/>
                </a:lnTo>
                <a:lnTo>
                  <a:pt x="1828" y="527"/>
                </a:lnTo>
                <a:lnTo>
                  <a:pt x="1828" y="527"/>
                </a:lnTo>
                <a:lnTo>
                  <a:pt x="1819" y="542"/>
                </a:lnTo>
                <a:lnTo>
                  <a:pt x="1811" y="558"/>
                </a:lnTo>
                <a:lnTo>
                  <a:pt x="1799" y="583"/>
                </a:lnTo>
                <a:lnTo>
                  <a:pt x="1789" y="607"/>
                </a:lnTo>
                <a:lnTo>
                  <a:pt x="1781" y="628"/>
                </a:lnTo>
                <a:lnTo>
                  <a:pt x="1781" y="628"/>
                </a:lnTo>
                <a:lnTo>
                  <a:pt x="1780" y="631"/>
                </a:lnTo>
                <a:lnTo>
                  <a:pt x="1778" y="642"/>
                </a:lnTo>
                <a:lnTo>
                  <a:pt x="1778" y="649"/>
                </a:lnTo>
                <a:lnTo>
                  <a:pt x="1777" y="657"/>
                </a:lnTo>
                <a:lnTo>
                  <a:pt x="1778" y="666"/>
                </a:lnTo>
                <a:lnTo>
                  <a:pt x="1780" y="677"/>
                </a:lnTo>
                <a:lnTo>
                  <a:pt x="1784" y="690"/>
                </a:lnTo>
                <a:lnTo>
                  <a:pt x="1789" y="703"/>
                </a:lnTo>
                <a:lnTo>
                  <a:pt x="1797" y="716"/>
                </a:lnTo>
                <a:lnTo>
                  <a:pt x="1807" y="732"/>
                </a:lnTo>
                <a:lnTo>
                  <a:pt x="1819" y="748"/>
                </a:lnTo>
                <a:lnTo>
                  <a:pt x="1833" y="764"/>
                </a:lnTo>
                <a:lnTo>
                  <a:pt x="1852" y="782"/>
                </a:lnTo>
                <a:lnTo>
                  <a:pt x="1874" y="800"/>
                </a:lnTo>
                <a:lnTo>
                  <a:pt x="1881" y="806"/>
                </a:lnTo>
                <a:lnTo>
                  <a:pt x="1881" y="806"/>
                </a:lnTo>
                <a:lnTo>
                  <a:pt x="1894" y="789"/>
                </a:lnTo>
                <a:lnTo>
                  <a:pt x="1905" y="800"/>
                </a:lnTo>
                <a:lnTo>
                  <a:pt x="1905" y="800"/>
                </a:lnTo>
                <a:lnTo>
                  <a:pt x="1914" y="809"/>
                </a:lnTo>
                <a:lnTo>
                  <a:pt x="1926" y="820"/>
                </a:lnTo>
                <a:lnTo>
                  <a:pt x="1941" y="832"/>
                </a:lnTo>
                <a:lnTo>
                  <a:pt x="1957" y="842"/>
                </a:lnTo>
                <a:lnTo>
                  <a:pt x="1957" y="842"/>
                </a:lnTo>
                <a:lnTo>
                  <a:pt x="1959" y="835"/>
                </a:lnTo>
                <a:lnTo>
                  <a:pt x="1964" y="815"/>
                </a:lnTo>
                <a:lnTo>
                  <a:pt x="1969" y="802"/>
                </a:lnTo>
                <a:lnTo>
                  <a:pt x="1975" y="789"/>
                </a:lnTo>
                <a:lnTo>
                  <a:pt x="1983" y="775"/>
                </a:lnTo>
                <a:lnTo>
                  <a:pt x="1991" y="760"/>
                </a:lnTo>
                <a:lnTo>
                  <a:pt x="1991" y="760"/>
                </a:lnTo>
                <a:lnTo>
                  <a:pt x="2000" y="748"/>
                </a:lnTo>
                <a:lnTo>
                  <a:pt x="2011" y="736"/>
                </a:lnTo>
                <a:lnTo>
                  <a:pt x="2025" y="722"/>
                </a:lnTo>
                <a:lnTo>
                  <a:pt x="2038" y="709"/>
                </a:lnTo>
                <a:lnTo>
                  <a:pt x="2052" y="697"/>
                </a:lnTo>
                <a:lnTo>
                  <a:pt x="2065" y="686"/>
                </a:lnTo>
                <a:lnTo>
                  <a:pt x="2080" y="675"/>
                </a:lnTo>
                <a:lnTo>
                  <a:pt x="2092" y="667"/>
                </a:lnTo>
                <a:lnTo>
                  <a:pt x="2092" y="667"/>
                </a:lnTo>
                <a:lnTo>
                  <a:pt x="2107" y="658"/>
                </a:lnTo>
                <a:lnTo>
                  <a:pt x="2123" y="650"/>
                </a:lnTo>
                <a:lnTo>
                  <a:pt x="2138" y="643"/>
                </a:lnTo>
                <a:lnTo>
                  <a:pt x="2154" y="636"/>
                </a:lnTo>
                <a:lnTo>
                  <a:pt x="2170" y="632"/>
                </a:lnTo>
                <a:lnTo>
                  <a:pt x="2186" y="629"/>
                </a:lnTo>
                <a:lnTo>
                  <a:pt x="2202" y="626"/>
                </a:lnTo>
                <a:lnTo>
                  <a:pt x="2220" y="625"/>
                </a:lnTo>
                <a:lnTo>
                  <a:pt x="2220" y="625"/>
                </a:lnTo>
                <a:lnTo>
                  <a:pt x="2234" y="626"/>
                </a:lnTo>
                <a:lnTo>
                  <a:pt x="2247" y="627"/>
                </a:lnTo>
                <a:lnTo>
                  <a:pt x="2261" y="630"/>
                </a:lnTo>
                <a:lnTo>
                  <a:pt x="2272" y="635"/>
                </a:lnTo>
                <a:lnTo>
                  <a:pt x="2283" y="642"/>
                </a:lnTo>
                <a:lnTo>
                  <a:pt x="2295" y="649"/>
                </a:lnTo>
                <a:lnTo>
                  <a:pt x="2305" y="658"/>
                </a:lnTo>
                <a:lnTo>
                  <a:pt x="2316" y="668"/>
                </a:lnTo>
                <a:lnTo>
                  <a:pt x="2316" y="668"/>
                </a:lnTo>
                <a:lnTo>
                  <a:pt x="2323" y="676"/>
                </a:lnTo>
                <a:lnTo>
                  <a:pt x="2330" y="687"/>
                </a:lnTo>
                <a:lnTo>
                  <a:pt x="2336" y="698"/>
                </a:lnTo>
                <a:lnTo>
                  <a:pt x="2342" y="710"/>
                </a:lnTo>
                <a:lnTo>
                  <a:pt x="2347" y="722"/>
                </a:lnTo>
                <a:lnTo>
                  <a:pt x="2351" y="736"/>
                </a:lnTo>
                <a:lnTo>
                  <a:pt x="2355" y="750"/>
                </a:lnTo>
                <a:lnTo>
                  <a:pt x="2358" y="764"/>
                </a:lnTo>
                <a:lnTo>
                  <a:pt x="2360" y="778"/>
                </a:lnTo>
                <a:lnTo>
                  <a:pt x="2362" y="792"/>
                </a:lnTo>
                <a:lnTo>
                  <a:pt x="2363" y="805"/>
                </a:lnTo>
                <a:lnTo>
                  <a:pt x="2364" y="818"/>
                </a:lnTo>
                <a:lnTo>
                  <a:pt x="2364" y="831"/>
                </a:lnTo>
                <a:lnTo>
                  <a:pt x="2363" y="842"/>
                </a:lnTo>
                <a:lnTo>
                  <a:pt x="2361" y="852"/>
                </a:lnTo>
                <a:lnTo>
                  <a:pt x="2359" y="861"/>
                </a:lnTo>
                <a:lnTo>
                  <a:pt x="2359" y="861"/>
                </a:lnTo>
                <a:lnTo>
                  <a:pt x="2330" y="843"/>
                </a:lnTo>
                <a:lnTo>
                  <a:pt x="2330" y="843"/>
                </a:lnTo>
                <a:lnTo>
                  <a:pt x="2309" y="832"/>
                </a:lnTo>
                <a:lnTo>
                  <a:pt x="2281" y="822"/>
                </a:lnTo>
                <a:lnTo>
                  <a:pt x="2266" y="815"/>
                </a:lnTo>
                <a:lnTo>
                  <a:pt x="2251" y="811"/>
                </a:lnTo>
                <a:lnTo>
                  <a:pt x="2233" y="807"/>
                </a:lnTo>
                <a:lnTo>
                  <a:pt x="2215" y="803"/>
                </a:lnTo>
                <a:lnTo>
                  <a:pt x="2195" y="801"/>
                </a:lnTo>
                <a:lnTo>
                  <a:pt x="2175" y="800"/>
                </a:lnTo>
                <a:lnTo>
                  <a:pt x="2154" y="800"/>
                </a:lnTo>
                <a:lnTo>
                  <a:pt x="2132" y="802"/>
                </a:lnTo>
                <a:lnTo>
                  <a:pt x="2109" y="805"/>
                </a:lnTo>
                <a:lnTo>
                  <a:pt x="2086" y="810"/>
                </a:lnTo>
                <a:lnTo>
                  <a:pt x="2062" y="818"/>
                </a:lnTo>
                <a:lnTo>
                  <a:pt x="2037" y="829"/>
                </a:lnTo>
                <a:lnTo>
                  <a:pt x="2037" y="829"/>
                </a:lnTo>
                <a:lnTo>
                  <a:pt x="1995" y="847"/>
                </a:lnTo>
                <a:lnTo>
                  <a:pt x="1967" y="859"/>
                </a:lnTo>
                <a:lnTo>
                  <a:pt x="1936" y="872"/>
                </a:lnTo>
                <a:lnTo>
                  <a:pt x="1900" y="886"/>
                </a:lnTo>
                <a:lnTo>
                  <a:pt x="1860" y="900"/>
                </a:lnTo>
                <a:lnTo>
                  <a:pt x="1814" y="916"/>
                </a:lnTo>
                <a:lnTo>
                  <a:pt x="1764" y="931"/>
                </a:lnTo>
                <a:lnTo>
                  <a:pt x="1764" y="931"/>
                </a:lnTo>
                <a:lnTo>
                  <a:pt x="1737" y="938"/>
                </a:lnTo>
                <a:lnTo>
                  <a:pt x="1725" y="940"/>
                </a:lnTo>
                <a:lnTo>
                  <a:pt x="1713" y="941"/>
                </a:lnTo>
                <a:lnTo>
                  <a:pt x="1701" y="941"/>
                </a:lnTo>
                <a:lnTo>
                  <a:pt x="1691" y="941"/>
                </a:lnTo>
                <a:lnTo>
                  <a:pt x="1681" y="940"/>
                </a:lnTo>
                <a:lnTo>
                  <a:pt x="1672" y="938"/>
                </a:lnTo>
                <a:lnTo>
                  <a:pt x="1664" y="935"/>
                </a:lnTo>
                <a:lnTo>
                  <a:pt x="1655" y="930"/>
                </a:lnTo>
                <a:lnTo>
                  <a:pt x="1649" y="925"/>
                </a:lnTo>
                <a:lnTo>
                  <a:pt x="1642" y="919"/>
                </a:lnTo>
                <a:lnTo>
                  <a:pt x="1637" y="912"/>
                </a:lnTo>
                <a:lnTo>
                  <a:pt x="1633" y="902"/>
                </a:lnTo>
                <a:lnTo>
                  <a:pt x="1629" y="892"/>
                </a:lnTo>
                <a:lnTo>
                  <a:pt x="1626" y="881"/>
                </a:lnTo>
                <a:lnTo>
                  <a:pt x="1626" y="881"/>
                </a:lnTo>
                <a:lnTo>
                  <a:pt x="1624" y="871"/>
                </a:lnTo>
                <a:lnTo>
                  <a:pt x="1623" y="860"/>
                </a:lnTo>
                <a:lnTo>
                  <a:pt x="1623" y="851"/>
                </a:lnTo>
                <a:lnTo>
                  <a:pt x="1623" y="842"/>
                </a:lnTo>
                <a:lnTo>
                  <a:pt x="1625" y="826"/>
                </a:lnTo>
                <a:lnTo>
                  <a:pt x="1629" y="811"/>
                </a:lnTo>
                <a:lnTo>
                  <a:pt x="1633" y="800"/>
                </a:lnTo>
                <a:lnTo>
                  <a:pt x="1636" y="792"/>
                </a:lnTo>
                <a:lnTo>
                  <a:pt x="1640" y="784"/>
                </a:lnTo>
                <a:lnTo>
                  <a:pt x="1640" y="784"/>
                </a:lnTo>
                <a:lnTo>
                  <a:pt x="1636" y="785"/>
                </a:lnTo>
                <a:lnTo>
                  <a:pt x="1626" y="788"/>
                </a:lnTo>
                <a:lnTo>
                  <a:pt x="1610" y="794"/>
                </a:lnTo>
                <a:lnTo>
                  <a:pt x="1601" y="797"/>
                </a:lnTo>
                <a:lnTo>
                  <a:pt x="1592" y="802"/>
                </a:lnTo>
                <a:lnTo>
                  <a:pt x="1582" y="808"/>
                </a:lnTo>
                <a:lnTo>
                  <a:pt x="1573" y="814"/>
                </a:lnTo>
                <a:lnTo>
                  <a:pt x="1563" y="823"/>
                </a:lnTo>
                <a:lnTo>
                  <a:pt x="1554" y="832"/>
                </a:lnTo>
                <a:lnTo>
                  <a:pt x="1546" y="842"/>
                </a:lnTo>
                <a:lnTo>
                  <a:pt x="1539" y="853"/>
                </a:lnTo>
                <a:lnTo>
                  <a:pt x="1533" y="867"/>
                </a:lnTo>
                <a:lnTo>
                  <a:pt x="1528" y="881"/>
                </a:lnTo>
                <a:lnTo>
                  <a:pt x="1528" y="881"/>
                </a:lnTo>
                <a:lnTo>
                  <a:pt x="1525" y="896"/>
                </a:lnTo>
                <a:lnTo>
                  <a:pt x="1523" y="912"/>
                </a:lnTo>
                <a:lnTo>
                  <a:pt x="1523" y="927"/>
                </a:lnTo>
                <a:lnTo>
                  <a:pt x="1523" y="941"/>
                </a:lnTo>
                <a:lnTo>
                  <a:pt x="1524" y="954"/>
                </a:lnTo>
                <a:lnTo>
                  <a:pt x="1527" y="969"/>
                </a:lnTo>
                <a:lnTo>
                  <a:pt x="1531" y="981"/>
                </a:lnTo>
                <a:lnTo>
                  <a:pt x="1536" y="993"/>
                </a:lnTo>
                <a:lnTo>
                  <a:pt x="1542" y="1006"/>
                </a:lnTo>
                <a:lnTo>
                  <a:pt x="1549" y="1016"/>
                </a:lnTo>
                <a:lnTo>
                  <a:pt x="1557" y="1026"/>
                </a:lnTo>
                <a:lnTo>
                  <a:pt x="1568" y="1034"/>
                </a:lnTo>
                <a:lnTo>
                  <a:pt x="1578" y="1042"/>
                </a:lnTo>
                <a:lnTo>
                  <a:pt x="1590" y="1049"/>
                </a:lnTo>
                <a:lnTo>
                  <a:pt x="1602" y="1055"/>
                </a:lnTo>
                <a:lnTo>
                  <a:pt x="1617" y="1059"/>
                </a:lnTo>
                <a:lnTo>
                  <a:pt x="1617" y="1059"/>
                </a:lnTo>
                <a:lnTo>
                  <a:pt x="1630" y="1062"/>
                </a:lnTo>
                <a:lnTo>
                  <a:pt x="1644" y="1063"/>
                </a:lnTo>
                <a:lnTo>
                  <a:pt x="1660" y="1062"/>
                </a:lnTo>
                <a:lnTo>
                  <a:pt x="1676" y="1060"/>
                </a:lnTo>
                <a:lnTo>
                  <a:pt x="1692" y="1058"/>
                </a:lnTo>
                <a:lnTo>
                  <a:pt x="1710" y="1054"/>
                </a:lnTo>
                <a:lnTo>
                  <a:pt x="1727" y="1049"/>
                </a:lnTo>
                <a:lnTo>
                  <a:pt x="1744" y="1043"/>
                </a:lnTo>
                <a:lnTo>
                  <a:pt x="1779" y="1029"/>
                </a:lnTo>
                <a:lnTo>
                  <a:pt x="1815" y="1014"/>
                </a:lnTo>
                <a:lnTo>
                  <a:pt x="1849" y="997"/>
                </a:lnTo>
                <a:lnTo>
                  <a:pt x="1880" y="981"/>
                </a:lnTo>
                <a:lnTo>
                  <a:pt x="1880" y="981"/>
                </a:lnTo>
                <a:lnTo>
                  <a:pt x="1942" y="949"/>
                </a:lnTo>
                <a:lnTo>
                  <a:pt x="1979" y="931"/>
                </a:lnTo>
                <a:lnTo>
                  <a:pt x="2013" y="915"/>
                </a:lnTo>
                <a:lnTo>
                  <a:pt x="2013" y="915"/>
                </a:lnTo>
                <a:lnTo>
                  <a:pt x="2041" y="903"/>
                </a:lnTo>
                <a:lnTo>
                  <a:pt x="2054" y="899"/>
                </a:lnTo>
                <a:lnTo>
                  <a:pt x="2068" y="895"/>
                </a:lnTo>
                <a:lnTo>
                  <a:pt x="2081" y="892"/>
                </a:lnTo>
                <a:lnTo>
                  <a:pt x="2093" y="890"/>
                </a:lnTo>
                <a:lnTo>
                  <a:pt x="2105" y="888"/>
                </a:lnTo>
                <a:lnTo>
                  <a:pt x="2119" y="888"/>
                </a:lnTo>
                <a:lnTo>
                  <a:pt x="2131" y="888"/>
                </a:lnTo>
                <a:lnTo>
                  <a:pt x="2143" y="889"/>
                </a:lnTo>
                <a:lnTo>
                  <a:pt x="2156" y="891"/>
                </a:lnTo>
                <a:lnTo>
                  <a:pt x="2170" y="893"/>
                </a:lnTo>
                <a:lnTo>
                  <a:pt x="2183" y="897"/>
                </a:lnTo>
                <a:lnTo>
                  <a:pt x="2196" y="901"/>
                </a:lnTo>
                <a:lnTo>
                  <a:pt x="2211" y="907"/>
                </a:lnTo>
                <a:lnTo>
                  <a:pt x="2226" y="914"/>
                </a:lnTo>
                <a:lnTo>
                  <a:pt x="2226" y="914"/>
                </a:lnTo>
                <a:lnTo>
                  <a:pt x="2246" y="924"/>
                </a:lnTo>
                <a:lnTo>
                  <a:pt x="2265" y="934"/>
                </a:lnTo>
                <a:lnTo>
                  <a:pt x="2281" y="945"/>
                </a:lnTo>
                <a:lnTo>
                  <a:pt x="2295" y="954"/>
                </a:lnTo>
                <a:lnTo>
                  <a:pt x="2305" y="964"/>
                </a:lnTo>
                <a:lnTo>
                  <a:pt x="2312" y="971"/>
                </a:lnTo>
                <a:lnTo>
                  <a:pt x="2319" y="977"/>
                </a:lnTo>
                <a:lnTo>
                  <a:pt x="2319" y="977"/>
                </a:lnTo>
                <a:lnTo>
                  <a:pt x="2317" y="980"/>
                </a:lnTo>
                <a:lnTo>
                  <a:pt x="2313" y="987"/>
                </a:lnTo>
                <a:lnTo>
                  <a:pt x="2305" y="998"/>
                </a:lnTo>
                <a:lnTo>
                  <a:pt x="2300" y="1005"/>
                </a:lnTo>
                <a:lnTo>
                  <a:pt x="2293" y="1012"/>
                </a:lnTo>
                <a:lnTo>
                  <a:pt x="2285" y="1018"/>
                </a:lnTo>
                <a:lnTo>
                  <a:pt x="2276" y="1025"/>
                </a:lnTo>
                <a:lnTo>
                  <a:pt x="2267" y="1031"/>
                </a:lnTo>
                <a:lnTo>
                  <a:pt x="2255" y="1036"/>
                </a:lnTo>
                <a:lnTo>
                  <a:pt x="2242" y="1041"/>
                </a:lnTo>
                <a:lnTo>
                  <a:pt x="2228" y="1045"/>
                </a:lnTo>
                <a:lnTo>
                  <a:pt x="2212" y="1049"/>
                </a:lnTo>
                <a:lnTo>
                  <a:pt x="2194" y="1050"/>
                </a:lnTo>
                <a:lnTo>
                  <a:pt x="2194" y="1050"/>
                </a:lnTo>
                <a:lnTo>
                  <a:pt x="2180" y="1051"/>
                </a:lnTo>
                <a:lnTo>
                  <a:pt x="2166" y="1050"/>
                </a:lnTo>
                <a:lnTo>
                  <a:pt x="2152" y="1048"/>
                </a:lnTo>
                <a:lnTo>
                  <a:pt x="2139" y="1044"/>
                </a:lnTo>
                <a:lnTo>
                  <a:pt x="2127" y="1041"/>
                </a:lnTo>
                <a:lnTo>
                  <a:pt x="2115" y="1037"/>
                </a:lnTo>
                <a:lnTo>
                  <a:pt x="2103" y="1033"/>
                </a:lnTo>
                <a:lnTo>
                  <a:pt x="2092" y="1027"/>
                </a:lnTo>
                <a:lnTo>
                  <a:pt x="2082" y="1022"/>
                </a:lnTo>
                <a:lnTo>
                  <a:pt x="2073" y="1016"/>
                </a:lnTo>
                <a:lnTo>
                  <a:pt x="2064" y="1010"/>
                </a:lnTo>
                <a:lnTo>
                  <a:pt x="2056" y="1003"/>
                </a:lnTo>
                <a:lnTo>
                  <a:pt x="2048" y="995"/>
                </a:lnTo>
                <a:lnTo>
                  <a:pt x="2042" y="988"/>
                </a:lnTo>
                <a:lnTo>
                  <a:pt x="2036" y="981"/>
                </a:lnTo>
                <a:lnTo>
                  <a:pt x="2031" y="974"/>
                </a:lnTo>
                <a:lnTo>
                  <a:pt x="2031" y="974"/>
                </a:lnTo>
                <a:lnTo>
                  <a:pt x="2022" y="996"/>
                </a:lnTo>
                <a:lnTo>
                  <a:pt x="2013" y="1014"/>
                </a:lnTo>
                <a:lnTo>
                  <a:pt x="2007" y="1027"/>
                </a:lnTo>
                <a:lnTo>
                  <a:pt x="2007" y="1027"/>
                </a:lnTo>
                <a:lnTo>
                  <a:pt x="2003" y="1035"/>
                </a:lnTo>
                <a:lnTo>
                  <a:pt x="2000" y="1042"/>
                </a:lnTo>
                <a:lnTo>
                  <a:pt x="1998" y="1051"/>
                </a:lnTo>
                <a:lnTo>
                  <a:pt x="1997" y="1057"/>
                </a:lnTo>
                <a:lnTo>
                  <a:pt x="1997" y="1064"/>
                </a:lnTo>
                <a:lnTo>
                  <a:pt x="1997" y="1070"/>
                </a:lnTo>
                <a:lnTo>
                  <a:pt x="1999" y="1082"/>
                </a:lnTo>
                <a:lnTo>
                  <a:pt x="2001" y="1094"/>
                </a:lnTo>
                <a:lnTo>
                  <a:pt x="2003" y="1104"/>
                </a:lnTo>
                <a:lnTo>
                  <a:pt x="2004" y="1115"/>
                </a:lnTo>
                <a:lnTo>
                  <a:pt x="2003" y="1121"/>
                </a:lnTo>
                <a:lnTo>
                  <a:pt x="2001" y="1126"/>
                </a:lnTo>
                <a:lnTo>
                  <a:pt x="2001" y="1126"/>
                </a:lnTo>
                <a:lnTo>
                  <a:pt x="1999" y="1132"/>
                </a:lnTo>
                <a:lnTo>
                  <a:pt x="1995" y="1138"/>
                </a:lnTo>
                <a:lnTo>
                  <a:pt x="1986" y="1151"/>
                </a:lnTo>
                <a:lnTo>
                  <a:pt x="1973" y="1163"/>
                </a:lnTo>
                <a:lnTo>
                  <a:pt x="1960" y="1175"/>
                </a:lnTo>
                <a:lnTo>
                  <a:pt x="1945" y="1187"/>
                </a:lnTo>
                <a:lnTo>
                  <a:pt x="1931" y="1198"/>
                </a:lnTo>
                <a:lnTo>
                  <a:pt x="1904" y="1216"/>
                </a:lnTo>
                <a:lnTo>
                  <a:pt x="1904" y="1216"/>
                </a:lnTo>
                <a:lnTo>
                  <a:pt x="1886" y="1227"/>
                </a:lnTo>
                <a:lnTo>
                  <a:pt x="1864" y="1239"/>
                </a:lnTo>
                <a:lnTo>
                  <a:pt x="1842" y="1249"/>
                </a:lnTo>
                <a:lnTo>
                  <a:pt x="1819" y="1257"/>
                </a:lnTo>
                <a:lnTo>
                  <a:pt x="1798" y="1264"/>
                </a:lnTo>
                <a:lnTo>
                  <a:pt x="1779" y="1270"/>
                </a:lnTo>
                <a:lnTo>
                  <a:pt x="1754" y="1278"/>
                </a:lnTo>
                <a:lnTo>
                  <a:pt x="1754" y="1278"/>
                </a:lnTo>
                <a:lnTo>
                  <a:pt x="1779" y="1336"/>
                </a:lnTo>
                <a:lnTo>
                  <a:pt x="1811" y="1404"/>
                </a:lnTo>
                <a:lnTo>
                  <a:pt x="1811" y="1404"/>
                </a:lnTo>
                <a:lnTo>
                  <a:pt x="1833" y="1449"/>
                </a:lnTo>
                <a:lnTo>
                  <a:pt x="1862" y="1504"/>
                </a:lnTo>
                <a:lnTo>
                  <a:pt x="1877" y="1531"/>
                </a:lnTo>
                <a:lnTo>
                  <a:pt x="1893" y="1557"/>
                </a:lnTo>
                <a:lnTo>
                  <a:pt x="1909" y="1578"/>
                </a:lnTo>
                <a:lnTo>
                  <a:pt x="1916" y="1588"/>
                </a:lnTo>
                <a:lnTo>
                  <a:pt x="1924" y="1597"/>
                </a:lnTo>
                <a:lnTo>
                  <a:pt x="1924" y="1597"/>
                </a:lnTo>
                <a:lnTo>
                  <a:pt x="1940" y="1592"/>
                </a:lnTo>
                <a:lnTo>
                  <a:pt x="1957" y="1587"/>
                </a:lnTo>
                <a:lnTo>
                  <a:pt x="1980" y="1581"/>
                </a:lnTo>
                <a:lnTo>
                  <a:pt x="2004" y="1573"/>
                </a:lnTo>
                <a:lnTo>
                  <a:pt x="2031" y="1563"/>
                </a:lnTo>
                <a:lnTo>
                  <a:pt x="2057" y="1551"/>
                </a:lnTo>
                <a:lnTo>
                  <a:pt x="2071" y="1544"/>
                </a:lnTo>
                <a:lnTo>
                  <a:pt x="2083" y="1537"/>
                </a:lnTo>
                <a:lnTo>
                  <a:pt x="2083" y="1537"/>
                </a:lnTo>
                <a:lnTo>
                  <a:pt x="2105" y="1524"/>
                </a:lnTo>
                <a:lnTo>
                  <a:pt x="2126" y="1510"/>
                </a:lnTo>
                <a:lnTo>
                  <a:pt x="2145" y="1495"/>
                </a:lnTo>
                <a:lnTo>
                  <a:pt x="2162" y="1480"/>
                </a:lnTo>
                <a:lnTo>
                  <a:pt x="2177" y="1466"/>
                </a:lnTo>
                <a:lnTo>
                  <a:pt x="2189" y="1451"/>
                </a:lnTo>
                <a:lnTo>
                  <a:pt x="2199" y="1437"/>
                </a:lnTo>
                <a:lnTo>
                  <a:pt x="2207" y="1424"/>
                </a:lnTo>
                <a:lnTo>
                  <a:pt x="2207" y="1424"/>
                </a:lnTo>
                <a:lnTo>
                  <a:pt x="2190" y="1460"/>
                </a:lnTo>
                <a:lnTo>
                  <a:pt x="2175" y="1493"/>
                </a:lnTo>
                <a:lnTo>
                  <a:pt x="2161" y="1523"/>
                </a:lnTo>
                <a:lnTo>
                  <a:pt x="2146" y="1551"/>
                </a:lnTo>
                <a:lnTo>
                  <a:pt x="2132" y="1576"/>
                </a:lnTo>
                <a:lnTo>
                  <a:pt x="2119" y="1599"/>
                </a:lnTo>
                <a:lnTo>
                  <a:pt x="2105" y="1619"/>
                </a:lnTo>
                <a:lnTo>
                  <a:pt x="2092" y="1637"/>
                </a:lnTo>
                <a:lnTo>
                  <a:pt x="2080" y="1655"/>
                </a:lnTo>
                <a:lnTo>
                  <a:pt x="2068" y="1669"/>
                </a:lnTo>
                <a:lnTo>
                  <a:pt x="2055" y="1682"/>
                </a:lnTo>
                <a:lnTo>
                  <a:pt x="2044" y="1694"/>
                </a:lnTo>
                <a:lnTo>
                  <a:pt x="2033" y="1705"/>
                </a:lnTo>
                <a:lnTo>
                  <a:pt x="2022" y="1714"/>
                </a:lnTo>
                <a:lnTo>
                  <a:pt x="2011" y="1721"/>
                </a:lnTo>
                <a:lnTo>
                  <a:pt x="2000" y="1729"/>
                </a:lnTo>
                <a:lnTo>
                  <a:pt x="2000" y="1729"/>
                </a:lnTo>
                <a:lnTo>
                  <a:pt x="1907" y="1790"/>
                </a:lnTo>
                <a:lnTo>
                  <a:pt x="1797" y="1862"/>
                </a:lnTo>
                <a:lnTo>
                  <a:pt x="1735" y="1901"/>
                </a:lnTo>
                <a:lnTo>
                  <a:pt x="1671" y="1940"/>
                </a:lnTo>
                <a:lnTo>
                  <a:pt x="1602" y="1980"/>
                </a:lnTo>
                <a:lnTo>
                  <a:pt x="1532" y="2020"/>
                </a:lnTo>
                <a:lnTo>
                  <a:pt x="1459" y="2058"/>
                </a:lnTo>
                <a:lnTo>
                  <a:pt x="1422" y="2077"/>
                </a:lnTo>
                <a:lnTo>
                  <a:pt x="1384" y="2094"/>
                </a:lnTo>
                <a:lnTo>
                  <a:pt x="1347" y="2112"/>
                </a:lnTo>
                <a:lnTo>
                  <a:pt x="1308" y="2129"/>
                </a:lnTo>
                <a:lnTo>
                  <a:pt x="1269" y="2146"/>
                </a:lnTo>
                <a:lnTo>
                  <a:pt x="1230" y="2161"/>
                </a:lnTo>
                <a:lnTo>
                  <a:pt x="1190" y="2175"/>
                </a:lnTo>
                <a:lnTo>
                  <a:pt x="1151" y="2189"/>
                </a:lnTo>
                <a:lnTo>
                  <a:pt x="1111" y="2202"/>
                </a:lnTo>
                <a:lnTo>
                  <a:pt x="1072" y="2213"/>
                </a:lnTo>
                <a:lnTo>
                  <a:pt x="1032" y="2223"/>
                </a:lnTo>
                <a:lnTo>
                  <a:pt x="992" y="2231"/>
                </a:lnTo>
                <a:lnTo>
                  <a:pt x="952" y="2240"/>
                </a:lnTo>
                <a:lnTo>
                  <a:pt x="913" y="2246"/>
                </a:lnTo>
                <a:lnTo>
                  <a:pt x="913" y="2246"/>
                </a:lnTo>
                <a:lnTo>
                  <a:pt x="901" y="2246"/>
                </a:lnTo>
                <a:lnTo>
                  <a:pt x="889" y="2245"/>
                </a:lnTo>
                <a:lnTo>
                  <a:pt x="876" y="2242"/>
                </a:lnTo>
                <a:lnTo>
                  <a:pt x="863" y="2239"/>
                </a:lnTo>
                <a:lnTo>
                  <a:pt x="850" y="2236"/>
                </a:lnTo>
                <a:lnTo>
                  <a:pt x="836" y="2230"/>
                </a:lnTo>
                <a:lnTo>
                  <a:pt x="809" y="2218"/>
                </a:lnTo>
                <a:lnTo>
                  <a:pt x="781" y="2204"/>
                </a:lnTo>
                <a:lnTo>
                  <a:pt x="754" y="2188"/>
                </a:lnTo>
                <a:lnTo>
                  <a:pt x="726" y="2170"/>
                </a:lnTo>
                <a:lnTo>
                  <a:pt x="698" y="2151"/>
                </a:lnTo>
                <a:lnTo>
                  <a:pt x="672" y="2130"/>
                </a:lnTo>
                <a:lnTo>
                  <a:pt x="646" y="2110"/>
                </a:lnTo>
                <a:lnTo>
                  <a:pt x="623" y="2089"/>
                </a:lnTo>
                <a:lnTo>
                  <a:pt x="600" y="2069"/>
                </a:lnTo>
                <a:lnTo>
                  <a:pt x="581" y="2049"/>
                </a:lnTo>
                <a:lnTo>
                  <a:pt x="563" y="2032"/>
                </a:lnTo>
                <a:lnTo>
                  <a:pt x="548" y="2017"/>
                </a:lnTo>
                <a:lnTo>
                  <a:pt x="537" y="2003"/>
                </a:lnTo>
                <a:lnTo>
                  <a:pt x="537" y="2003"/>
                </a:lnTo>
                <a:lnTo>
                  <a:pt x="533" y="1999"/>
                </a:lnTo>
                <a:lnTo>
                  <a:pt x="530" y="1995"/>
                </a:lnTo>
                <a:lnTo>
                  <a:pt x="520" y="1990"/>
                </a:lnTo>
                <a:lnTo>
                  <a:pt x="512" y="1988"/>
                </a:lnTo>
                <a:lnTo>
                  <a:pt x="502" y="1987"/>
                </a:lnTo>
                <a:lnTo>
                  <a:pt x="493" y="1987"/>
                </a:lnTo>
                <a:lnTo>
                  <a:pt x="483" y="1989"/>
                </a:lnTo>
                <a:lnTo>
                  <a:pt x="473" y="1992"/>
                </a:lnTo>
                <a:lnTo>
                  <a:pt x="464" y="1996"/>
                </a:lnTo>
                <a:lnTo>
                  <a:pt x="447" y="2004"/>
                </a:lnTo>
                <a:lnTo>
                  <a:pt x="433" y="2014"/>
                </a:lnTo>
                <a:lnTo>
                  <a:pt x="419" y="2024"/>
                </a:lnTo>
                <a:lnTo>
                  <a:pt x="419" y="2024"/>
                </a:lnTo>
                <a:lnTo>
                  <a:pt x="412" y="2023"/>
                </a:lnTo>
                <a:lnTo>
                  <a:pt x="393" y="2021"/>
                </a:lnTo>
                <a:lnTo>
                  <a:pt x="379" y="2021"/>
                </a:lnTo>
                <a:lnTo>
                  <a:pt x="364" y="2021"/>
                </a:lnTo>
                <a:lnTo>
                  <a:pt x="348" y="2022"/>
                </a:lnTo>
                <a:lnTo>
                  <a:pt x="329" y="2024"/>
                </a:lnTo>
                <a:lnTo>
                  <a:pt x="310" y="2027"/>
                </a:lnTo>
                <a:lnTo>
                  <a:pt x="290" y="2032"/>
                </a:lnTo>
                <a:lnTo>
                  <a:pt x="271" y="2038"/>
                </a:lnTo>
                <a:lnTo>
                  <a:pt x="252" y="2047"/>
                </a:lnTo>
                <a:lnTo>
                  <a:pt x="242" y="2053"/>
                </a:lnTo>
                <a:lnTo>
                  <a:pt x="233" y="2058"/>
                </a:lnTo>
                <a:lnTo>
                  <a:pt x="224" y="2064"/>
                </a:lnTo>
                <a:lnTo>
                  <a:pt x="216" y="2071"/>
                </a:lnTo>
                <a:lnTo>
                  <a:pt x="207" y="2079"/>
                </a:lnTo>
                <a:lnTo>
                  <a:pt x="199" y="2087"/>
                </a:lnTo>
                <a:lnTo>
                  <a:pt x="191" y="2097"/>
                </a:lnTo>
                <a:lnTo>
                  <a:pt x="184" y="2106"/>
                </a:lnTo>
                <a:lnTo>
                  <a:pt x="184" y="2106"/>
                </a:lnTo>
                <a:lnTo>
                  <a:pt x="183" y="2109"/>
                </a:lnTo>
                <a:lnTo>
                  <a:pt x="185" y="2111"/>
                </a:lnTo>
                <a:lnTo>
                  <a:pt x="188" y="2112"/>
                </a:lnTo>
                <a:lnTo>
                  <a:pt x="193" y="2112"/>
                </a:lnTo>
                <a:lnTo>
                  <a:pt x="210" y="2110"/>
                </a:lnTo>
                <a:lnTo>
                  <a:pt x="230" y="2108"/>
                </a:lnTo>
                <a:lnTo>
                  <a:pt x="255" y="2106"/>
                </a:lnTo>
                <a:lnTo>
                  <a:pt x="280" y="2105"/>
                </a:lnTo>
                <a:lnTo>
                  <a:pt x="293" y="2106"/>
                </a:lnTo>
                <a:lnTo>
                  <a:pt x="307" y="2107"/>
                </a:lnTo>
                <a:lnTo>
                  <a:pt x="319" y="2109"/>
                </a:lnTo>
                <a:lnTo>
                  <a:pt x="331" y="2112"/>
                </a:lnTo>
                <a:lnTo>
                  <a:pt x="331" y="2112"/>
                </a:lnTo>
                <a:lnTo>
                  <a:pt x="338" y="2115"/>
                </a:lnTo>
                <a:lnTo>
                  <a:pt x="343" y="2118"/>
                </a:lnTo>
                <a:lnTo>
                  <a:pt x="346" y="2121"/>
                </a:lnTo>
                <a:lnTo>
                  <a:pt x="347" y="2124"/>
                </a:lnTo>
                <a:lnTo>
                  <a:pt x="347" y="2127"/>
                </a:lnTo>
                <a:lnTo>
                  <a:pt x="345" y="2131"/>
                </a:lnTo>
                <a:lnTo>
                  <a:pt x="339" y="2139"/>
                </a:lnTo>
                <a:lnTo>
                  <a:pt x="332" y="2149"/>
                </a:lnTo>
                <a:lnTo>
                  <a:pt x="325" y="2160"/>
                </a:lnTo>
                <a:lnTo>
                  <a:pt x="321" y="2166"/>
                </a:lnTo>
                <a:lnTo>
                  <a:pt x="319" y="2172"/>
                </a:lnTo>
                <a:lnTo>
                  <a:pt x="317" y="2178"/>
                </a:lnTo>
                <a:lnTo>
                  <a:pt x="317" y="2185"/>
                </a:lnTo>
                <a:lnTo>
                  <a:pt x="317" y="2185"/>
                </a:lnTo>
                <a:lnTo>
                  <a:pt x="317" y="2191"/>
                </a:lnTo>
                <a:lnTo>
                  <a:pt x="319" y="2197"/>
                </a:lnTo>
                <a:lnTo>
                  <a:pt x="321" y="2202"/>
                </a:lnTo>
                <a:lnTo>
                  <a:pt x="324" y="2207"/>
                </a:lnTo>
                <a:lnTo>
                  <a:pt x="328" y="2212"/>
                </a:lnTo>
                <a:lnTo>
                  <a:pt x="333" y="2217"/>
                </a:lnTo>
                <a:lnTo>
                  <a:pt x="346" y="2227"/>
                </a:lnTo>
                <a:lnTo>
                  <a:pt x="361" y="2237"/>
                </a:lnTo>
                <a:lnTo>
                  <a:pt x="377" y="2246"/>
                </a:lnTo>
                <a:lnTo>
                  <a:pt x="397" y="2255"/>
                </a:lnTo>
                <a:lnTo>
                  <a:pt x="416" y="2263"/>
                </a:lnTo>
                <a:lnTo>
                  <a:pt x="458" y="2279"/>
                </a:lnTo>
                <a:lnTo>
                  <a:pt x="500" y="2293"/>
                </a:lnTo>
                <a:lnTo>
                  <a:pt x="571" y="2314"/>
                </a:lnTo>
                <a:lnTo>
                  <a:pt x="571" y="2314"/>
                </a:lnTo>
                <a:lnTo>
                  <a:pt x="579" y="2318"/>
                </a:lnTo>
                <a:lnTo>
                  <a:pt x="585" y="2322"/>
                </a:lnTo>
                <a:lnTo>
                  <a:pt x="588" y="2328"/>
                </a:lnTo>
                <a:lnTo>
                  <a:pt x="590" y="2333"/>
                </a:lnTo>
                <a:lnTo>
                  <a:pt x="590" y="2337"/>
                </a:lnTo>
                <a:lnTo>
                  <a:pt x="588" y="2341"/>
                </a:lnTo>
                <a:lnTo>
                  <a:pt x="585" y="2343"/>
                </a:lnTo>
                <a:lnTo>
                  <a:pt x="581" y="2344"/>
                </a:lnTo>
                <a:lnTo>
                  <a:pt x="581" y="2344"/>
                </a:lnTo>
                <a:lnTo>
                  <a:pt x="556" y="2343"/>
                </a:lnTo>
                <a:lnTo>
                  <a:pt x="532" y="2340"/>
                </a:lnTo>
                <a:lnTo>
                  <a:pt x="509" y="2337"/>
                </a:lnTo>
                <a:lnTo>
                  <a:pt x="488" y="2332"/>
                </a:lnTo>
                <a:lnTo>
                  <a:pt x="467" y="2327"/>
                </a:lnTo>
                <a:lnTo>
                  <a:pt x="448" y="2320"/>
                </a:lnTo>
                <a:lnTo>
                  <a:pt x="429" y="2314"/>
                </a:lnTo>
                <a:lnTo>
                  <a:pt x="412" y="2308"/>
                </a:lnTo>
                <a:lnTo>
                  <a:pt x="380" y="2295"/>
                </a:lnTo>
                <a:lnTo>
                  <a:pt x="352" y="2283"/>
                </a:lnTo>
                <a:lnTo>
                  <a:pt x="327" y="2271"/>
                </a:lnTo>
                <a:lnTo>
                  <a:pt x="316" y="2267"/>
                </a:lnTo>
                <a:lnTo>
                  <a:pt x="305" y="2263"/>
                </a:lnTo>
                <a:lnTo>
                  <a:pt x="305" y="2263"/>
                </a:lnTo>
                <a:lnTo>
                  <a:pt x="286" y="2258"/>
                </a:lnTo>
                <a:lnTo>
                  <a:pt x="268" y="2254"/>
                </a:lnTo>
                <a:lnTo>
                  <a:pt x="253" y="2251"/>
                </a:lnTo>
                <a:lnTo>
                  <a:pt x="237" y="2249"/>
                </a:lnTo>
                <a:lnTo>
                  <a:pt x="224" y="2248"/>
                </a:lnTo>
                <a:lnTo>
                  <a:pt x="213" y="2249"/>
                </a:lnTo>
                <a:lnTo>
                  <a:pt x="202" y="2250"/>
                </a:lnTo>
                <a:lnTo>
                  <a:pt x="192" y="2252"/>
                </a:lnTo>
                <a:lnTo>
                  <a:pt x="185" y="2256"/>
                </a:lnTo>
                <a:lnTo>
                  <a:pt x="178" y="2260"/>
                </a:lnTo>
                <a:lnTo>
                  <a:pt x="172" y="2265"/>
                </a:lnTo>
                <a:lnTo>
                  <a:pt x="167" y="2271"/>
                </a:lnTo>
                <a:lnTo>
                  <a:pt x="163" y="2277"/>
                </a:lnTo>
                <a:lnTo>
                  <a:pt x="160" y="2286"/>
                </a:lnTo>
                <a:lnTo>
                  <a:pt x="156" y="2294"/>
                </a:lnTo>
                <a:lnTo>
                  <a:pt x="155" y="2303"/>
                </a:lnTo>
                <a:lnTo>
                  <a:pt x="155" y="2303"/>
                </a:lnTo>
                <a:lnTo>
                  <a:pt x="154" y="2306"/>
                </a:lnTo>
                <a:lnTo>
                  <a:pt x="152" y="2309"/>
                </a:lnTo>
                <a:lnTo>
                  <a:pt x="150" y="2312"/>
                </a:lnTo>
                <a:lnTo>
                  <a:pt x="147" y="2314"/>
                </a:lnTo>
                <a:lnTo>
                  <a:pt x="140" y="2318"/>
                </a:lnTo>
                <a:lnTo>
                  <a:pt x="132" y="2323"/>
                </a:lnTo>
                <a:lnTo>
                  <a:pt x="109" y="2333"/>
                </a:lnTo>
                <a:lnTo>
                  <a:pt x="97" y="2339"/>
                </a:lnTo>
                <a:lnTo>
                  <a:pt x="84" y="2347"/>
                </a:lnTo>
                <a:lnTo>
                  <a:pt x="71" y="2357"/>
                </a:lnTo>
                <a:lnTo>
                  <a:pt x="57" y="2371"/>
                </a:lnTo>
                <a:lnTo>
                  <a:pt x="51" y="2378"/>
                </a:lnTo>
                <a:lnTo>
                  <a:pt x="45" y="2386"/>
                </a:lnTo>
                <a:lnTo>
                  <a:pt x="39" y="2396"/>
                </a:lnTo>
                <a:lnTo>
                  <a:pt x="33" y="2406"/>
                </a:lnTo>
                <a:lnTo>
                  <a:pt x="28" y="2418"/>
                </a:lnTo>
                <a:lnTo>
                  <a:pt x="22" y="2430"/>
                </a:lnTo>
                <a:lnTo>
                  <a:pt x="17" y="2444"/>
                </a:lnTo>
                <a:lnTo>
                  <a:pt x="13" y="2458"/>
                </a:lnTo>
                <a:lnTo>
                  <a:pt x="9" y="2475"/>
                </a:lnTo>
                <a:lnTo>
                  <a:pt x="6" y="2492"/>
                </a:lnTo>
                <a:lnTo>
                  <a:pt x="3" y="2512"/>
                </a:lnTo>
                <a:lnTo>
                  <a:pt x="0" y="2532"/>
                </a:lnTo>
                <a:lnTo>
                  <a:pt x="0" y="2532"/>
                </a:lnTo>
                <a:lnTo>
                  <a:pt x="1" y="2533"/>
                </a:lnTo>
                <a:lnTo>
                  <a:pt x="2" y="2534"/>
                </a:lnTo>
                <a:lnTo>
                  <a:pt x="6" y="2532"/>
                </a:lnTo>
                <a:lnTo>
                  <a:pt x="12" y="2527"/>
                </a:lnTo>
                <a:lnTo>
                  <a:pt x="20" y="2519"/>
                </a:lnTo>
                <a:lnTo>
                  <a:pt x="43" y="2496"/>
                </a:lnTo>
                <a:lnTo>
                  <a:pt x="69" y="2472"/>
                </a:lnTo>
                <a:lnTo>
                  <a:pt x="82" y="2459"/>
                </a:lnTo>
                <a:lnTo>
                  <a:pt x="95" y="2448"/>
                </a:lnTo>
                <a:lnTo>
                  <a:pt x="107" y="2439"/>
                </a:lnTo>
                <a:lnTo>
                  <a:pt x="119" y="2432"/>
                </a:lnTo>
                <a:lnTo>
                  <a:pt x="124" y="2429"/>
                </a:lnTo>
                <a:lnTo>
                  <a:pt x="129" y="2428"/>
                </a:lnTo>
                <a:lnTo>
                  <a:pt x="133" y="2427"/>
                </a:lnTo>
                <a:lnTo>
                  <a:pt x="137" y="2427"/>
                </a:lnTo>
                <a:lnTo>
                  <a:pt x="140" y="2429"/>
                </a:lnTo>
                <a:lnTo>
                  <a:pt x="143" y="2431"/>
                </a:lnTo>
                <a:lnTo>
                  <a:pt x="144" y="2435"/>
                </a:lnTo>
                <a:lnTo>
                  <a:pt x="146" y="2439"/>
                </a:lnTo>
                <a:lnTo>
                  <a:pt x="146" y="2439"/>
                </a:lnTo>
                <a:lnTo>
                  <a:pt x="149" y="2455"/>
                </a:lnTo>
                <a:lnTo>
                  <a:pt x="154" y="2470"/>
                </a:lnTo>
                <a:lnTo>
                  <a:pt x="162" y="2483"/>
                </a:lnTo>
                <a:lnTo>
                  <a:pt x="170" y="2493"/>
                </a:lnTo>
                <a:lnTo>
                  <a:pt x="179" y="2503"/>
                </a:lnTo>
                <a:lnTo>
                  <a:pt x="189" y="2511"/>
                </a:lnTo>
                <a:lnTo>
                  <a:pt x="200" y="2518"/>
                </a:lnTo>
                <a:lnTo>
                  <a:pt x="214" y="2523"/>
                </a:lnTo>
                <a:lnTo>
                  <a:pt x="227" y="2527"/>
                </a:lnTo>
                <a:lnTo>
                  <a:pt x="241" y="2529"/>
                </a:lnTo>
                <a:lnTo>
                  <a:pt x="256" y="2531"/>
                </a:lnTo>
                <a:lnTo>
                  <a:pt x="271" y="2532"/>
                </a:lnTo>
                <a:lnTo>
                  <a:pt x="287" y="2533"/>
                </a:lnTo>
                <a:lnTo>
                  <a:pt x="304" y="2532"/>
                </a:lnTo>
                <a:lnTo>
                  <a:pt x="337" y="2530"/>
                </a:lnTo>
                <a:lnTo>
                  <a:pt x="371" y="2526"/>
                </a:lnTo>
                <a:lnTo>
                  <a:pt x="405" y="2521"/>
                </a:lnTo>
                <a:lnTo>
                  <a:pt x="438" y="2516"/>
                </a:lnTo>
                <a:lnTo>
                  <a:pt x="468" y="2512"/>
                </a:lnTo>
                <a:lnTo>
                  <a:pt x="496" y="2510"/>
                </a:lnTo>
                <a:lnTo>
                  <a:pt x="509" y="2509"/>
                </a:lnTo>
                <a:lnTo>
                  <a:pt x="520" y="2509"/>
                </a:lnTo>
                <a:lnTo>
                  <a:pt x="531" y="2510"/>
                </a:lnTo>
                <a:lnTo>
                  <a:pt x="541" y="2512"/>
                </a:lnTo>
                <a:lnTo>
                  <a:pt x="549" y="2515"/>
                </a:lnTo>
                <a:lnTo>
                  <a:pt x="555" y="2519"/>
                </a:lnTo>
                <a:lnTo>
                  <a:pt x="555" y="2519"/>
                </a:lnTo>
                <a:lnTo>
                  <a:pt x="558" y="2522"/>
                </a:lnTo>
                <a:lnTo>
                  <a:pt x="559" y="2524"/>
                </a:lnTo>
                <a:lnTo>
                  <a:pt x="557" y="2527"/>
                </a:lnTo>
                <a:lnTo>
                  <a:pt x="554" y="2529"/>
                </a:lnTo>
                <a:lnTo>
                  <a:pt x="549" y="2532"/>
                </a:lnTo>
                <a:lnTo>
                  <a:pt x="542" y="2534"/>
                </a:lnTo>
                <a:lnTo>
                  <a:pt x="525" y="2538"/>
                </a:lnTo>
                <a:lnTo>
                  <a:pt x="475" y="2547"/>
                </a:lnTo>
                <a:lnTo>
                  <a:pt x="447" y="2553"/>
                </a:lnTo>
                <a:lnTo>
                  <a:pt x="417" y="2559"/>
                </a:lnTo>
                <a:lnTo>
                  <a:pt x="388" y="2566"/>
                </a:lnTo>
                <a:lnTo>
                  <a:pt x="359" y="2574"/>
                </a:lnTo>
                <a:lnTo>
                  <a:pt x="346" y="2578"/>
                </a:lnTo>
                <a:lnTo>
                  <a:pt x="333" y="2583"/>
                </a:lnTo>
                <a:lnTo>
                  <a:pt x="322" y="2588"/>
                </a:lnTo>
                <a:lnTo>
                  <a:pt x="312" y="2594"/>
                </a:lnTo>
                <a:lnTo>
                  <a:pt x="303" y="2601"/>
                </a:lnTo>
                <a:lnTo>
                  <a:pt x="294" y="2607"/>
                </a:lnTo>
                <a:lnTo>
                  <a:pt x="288" y="2614"/>
                </a:lnTo>
                <a:lnTo>
                  <a:pt x="284" y="2622"/>
                </a:lnTo>
                <a:lnTo>
                  <a:pt x="282" y="2630"/>
                </a:lnTo>
                <a:lnTo>
                  <a:pt x="281" y="2638"/>
                </a:lnTo>
                <a:lnTo>
                  <a:pt x="283" y="2649"/>
                </a:lnTo>
                <a:lnTo>
                  <a:pt x="287" y="2659"/>
                </a:lnTo>
                <a:lnTo>
                  <a:pt x="287" y="2659"/>
                </a:lnTo>
                <a:lnTo>
                  <a:pt x="287" y="2660"/>
                </a:lnTo>
                <a:lnTo>
                  <a:pt x="286" y="2663"/>
                </a:lnTo>
                <a:lnTo>
                  <a:pt x="283" y="2669"/>
                </a:lnTo>
                <a:lnTo>
                  <a:pt x="268" y="2686"/>
                </a:lnTo>
                <a:lnTo>
                  <a:pt x="258" y="2699"/>
                </a:lnTo>
                <a:lnTo>
                  <a:pt x="247" y="2712"/>
                </a:lnTo>
                <a:lnTo>
                  <a:pt x="237" y="2727"/>
                </a:lnTo>
                <a:lnTo>
                  <a:pt x="228" y="2744"/>
                </a:lnTo>
                <a:lnTo>
                  <a:pt x="220" y="2761"/>
                </a:lnTo>
                <a:lnTo>
                  <a:pt x="217" y="2770"/>
                </a:lnTo>
                <a:lnTo>
                  <a:pt x="214" y="2781"/>
                </a:lnTo>
                <a:lnTo>
                  <a:pt x="213" y="2790"/>
                </a:lnTo>
                <a:lnTo>
                  <a:pt x="212" y="2801"/>
                </a:lnTo>
                <a:lnTo>
                  <a:pt x="212" y="2811"/>
                </a:lnTo>
                <a:lnTo>
                  <a:pt x="213" y="2821"/>
                </a:lnTo>
                <a:lnTo>
                  <a:pt x="215" y="2833"/>
                </a:lnTo>
                <a:lnTo>
                  <a:pt x="219" y="2844"/>
                </a:lnTo>
                <a:lnTo>
                  <a:pt x="223" y="2856"/>
                </a:lnTo>
                <a:lnTo>
                  <a:pt x="229" y="2867"/>
                </a:lnTo>
                <a:lnTo>
                  <a:pt x="237" y="2880"/>
                </a:lnTo>
                <a:lnTo>
                  <a:pt x="246" y="2892"/>
                </a:lnTo>
                <a:lnTo>
                  <a:pt x="257" y="2904"/>
                </a:lnTo>
                <a:lnTo>
                  <a:pt x="270" y="2917"/>
                </a:lnTo>
                <a:lnTo>
                  <a:pt x="270" y="2917"/>
                </a:lnTo>
                <a:lnTo>
                  <a:pt x="270" y="2910"/>
                </a:lnTo>
                <a:lnTo>
                  <a:pt x="272" y="2893"/>
                </a:lnTo>
                <a:lnTo>
                  <a:pt x="277" y="2868"/>
                </a:lnTo>
                <a:lnTo>
                  <a:pt x="281" y="2855"/>
                </a:lnTo>
                <a:lnTo>
                  <a:pt x="285" y="2841"/>
                </a:lnTo>
                <a:lnTo>
                  <a:pt x="291" y="2828"/>
                </a:lnTo>
                <a:lnTo>
                  <a:pt x="298" y="2814"/>
                </a:lnTo>
                <a:lnTo>
                  <a:pt x="306" y="2801"/>
                </a:lnTo>
                <a:lnTo>
                  <a:pt x="315" y="2791"/>
                </a:lnTo>
                <a:lnTo>
                  <a:pt x="321" y="2786"/>
                </a:lnTo>
                <a:lnTo>
                  <a:pt x="326" y="2782"/>
                </a:lnTo>
                <a:lnTo>
                  <a:pt x="332" y="2777"/>
                </a:lnTo>
                <a:lnTo>
                  <a:pt x="339" y="2774"/>
                </a:lnTo>
                <a:lnTo>
                  <a:pt x="346" y="2772"/>
                </a:lnTo>
                <a:lnTo>
                  <a:pt x="354" y="2770"/>
                </a:lnTo>
                <a:lnTo>
                  <a:pt x="361" y="2770"/>
                </a:lnTo>
                <a:lnTo>
                  <a:pt x="369" y="2770"/>
                </a:lnTo>
                <a:lnTo>
                  <a:pt x="369" y="2770"/>
                </a:lnTo>
                <a:lnTo>
                  <a:pt x="383" y="2771"/>
                </a:lnTo>
                <a:lnTo>
                  <a:pt x="396" y="2774"/>
                </a:lnTo>
                <a:lnTo>
                  <a:pt x="408" y="2778"/>
                </a:lnTo>
                <a:lnTo>
                  <a:pt x="420" y="2783"/>
                </a:lnTo>
                <a:lnTo>
                  <a:pt x="443" y="2793"/>
                </a:lnTo>
                <a:lnTo>
                  <a:pt x="454" y="2797"/>
                </a:lnTo>
                <a:lnTo>
                  <a:pt x="465" y="2801"/>
                </a:lnTo>
                <a:lnTo>
                  <a:pt x="476" y="2804"/>
                </a:lnTo>
                <a:lnTo>
                  <a:pt x="489" y="2806"/>
                </a:lnTo>
                <a:lnTo>
                  <a:pt x="501" y="2807"/>
                </a:lnTo>
                <a:lnTo>
                  <a:pt x="514" y="2805"/>
                </a:lnTo>
                <a:lnTo>
                  <a:pt x="528" y="2802"/>
                </a:lnTo>
                <a:lnTo>
                  <a:pt x="542" y="2796"/>
                </a:lnTo>
                <a:lnTo>
                  <a:pt x="558" y="2788"/>
                </a:lnTo>
                <a:lnTo>
                  <a:pt x="575" y="2775"/>
                </a:lnTo>
                <a:lnTo>
                  <a:pt x="575" y="2775"/>
                </a:lnTo>
                <a:lnTo>
                  <a:pt x="588" y="2766"/>
                </a:lnTo>
                <a:lnTo>
                  <a:pt x="600" y="2755"/>
                </a:lnTo>
                <a:lnTo>
                  <a:pt x="614" y="2743"/>
                </a:lnTo>
                <a:lnTo>
                  <a:pt x="630" y="2730"/>
                </a:lnTo>
                <a:lnTo>
                  <a:pt x="651" y="2718"/>
                </a:lnTo>
                <a:lnTo>
                  <a:pt x="664" y="2711"/>
                </a:lnTo>
                <a:lnTo>
                  <a:pt x="678" y="2705"/>
                </a:lnTo>
                <a:lnTo>
                  <a:pt x="693" y="2698"/>
                </a:lnTo>
                <a:lnTo>
                  <a:pt x="712" y="2692"/>
                </a:lnTo>
                <a:lnTo>
                  <a:pt x="732" y="2684"/>
                </a:lnTo>
                <a:lnTo>
                  <a:pt x="754" y="2677"/>
                </a:lnTo>
                <a:lnTo>
                  <a:pt x="754" y="2677"/>
                </a:lnTo>
                <a:lnTo>
                  <a:pt x="756" y="2677"/>
                </a:lnTo>
                <a:lnTo>
                  <a:pt x="757" y="2678"/>
                </a:lnTo>
                <a:lnTo>
                  <a:pt x="760" y="2683"/>
                </a:lnTo>
                <a:lnTo>
                  <a:pt x="762" y="2692"/>
                </a:lnTo>
                <a:lnTo>
                  <a:pt x="765" y="2701"/>
                </a:lnTo>
                <a:lnTo>
                  <a:pt x="768" y="2713"/>
                </a:lnTo>
                <a:lnTo>
                  <a:pt x="772" y="2725"/>
                </a:lnTo>
                <a:lnTo>
                  <a:pt x="777" y="2738"/>
                </a:lnTo>
                <a:lnTo>
                  <a:pt x="783" y="2750"/>
                </a:lnTo>
                <a:lnTo>
                  <a:pt x="783" y="2750"/>
                </a:lnTo>
                <a:lnTo>
                  <a:pt x="786" y="2753"/>
                </a:lnTo>
                <a:lnTo>
                  <a:pt x="789" y="2755"/>
                </a:lnTo>
                <a:lnTo>
                  <a:pt x="797" y="2760"/>
                </a:lnTo>
                <a:lnTo>
                  <a:pt x="805" y="2763"/>
                </a:lnTo>
                <a:lnTo>
                  <a:pt x="813" y="2767"/>
                </a:lnTo>
                <a:lnTo>
                  <a:pt x="821" y="2770"/>
                </a:lnTo>
                <a:lnTo>
                  <a:pt x="827" y="2773"/>
                </a:lnTo>
                <a:lnTo>
                  <a:pt x="830" y="2775"/>
                </a:lnTo>
                <a:lnTo>
                  <a:pt x="831" y="2777"/>
                </a:lnTo>
                <a:lnTo>
                  <a:pt x="833" y="2781"/>
                </a:lnTo>
                <a:lnTo>
                  <a:pt x="833" y="2784"/>
                </a:lnTo>
                <a:lnTo>
                  <a:pt x="833" y="2784"/>
                </a:lnTo>
                <a:lnTo>
                  <a:pt x="832" y="2794"/>
                </a:lnTo>
                <a:lnTo>
                  <a:pt x="830" y="2805"/>
                </a:lnTo>
                <a:lnTo>
                  <a:pt x="826" y="2815"/>
                </a:lnTo>
                <a:lnTo>
                  <a:pt x="822" y="2824"/>
                </a:lnTo>
                <a:lnTo>
                  <a:pt x="817" y="2834"/>
                </a:lnTo>
                <a:lnTo>
                  <a:pt x="811" y="2843"/>
                </a:lnTo>
                <a:lnTo>
                  <a:pt x="798" y="2859"/>
                </a:lnTo>
                <a:lnTo>
                  <a:pt x="784" y="2873"/>
                </a:lnTo>
                <a:lnTo>
                  <a:pt x="773" y="2884"/>
                </a:lnTo>
                <a:lnTo>
                  <a:pt x="765" y="2890"/>
                </a:lnTo>
                <a:lnTo>
                  <a:pt x="763" y="2893"/>
                </a:lnTo>
                <a:lnTo>
                  <a:pt x="763" y="2893"/>
                </a:lnTo>
                <a:lnTo>
                  <a:pt x="767" y="2896"/>
                </a:lnTo>
                <a:lnTo>
                  <a:pt x="778" y="2899"/>
                </a:lnTo>
                <a:lnTo>
                  <a:pt x="785" y="2900"/>
                </a:lnTo>
                <a:lnTo>
                  <a:pt x="794" y="2901"/>
                </a:lnTo>
                <a:lnTo>
                  <a:pt x="804" y="2901"/>
                </a:lnTo>
                <a:lnTo>
                  <a:pt x="815" y="2899"/>
                </a:lnTo>
                <a:lnTo>
                  <a:pt x="826" y="2896"/>
                </a:lnTo>
                <a:lnTo>
                  <a:pt x="839" y="2891"/>
                </a:lnTo>
                <a:lnTo>
                  <a:pt x="852" y="2884"/>
                </a:lnTo>
                <a:lnTo>
                  <a:pt x="865" y="2874"/>
                </a:lnTo>
                <a:lnTo>
                  <a:pt x="879" y="2860"/>
                </a:lnTo>
                <a:lnTo>
                  <a:pt x="894" y="2844"/>
                </a:lnTo>
                <a:lnTo>
                  <a:pt x="907" y="2824"/>
                </a:lnTo>
                <a:lnTo>
                  <a:pt x="921" y="2801"/>
                </a:lnTo>
                <a:lnTo>
                  <a:pt x="921" y="2801"/>
                </a:lnTo>
                <a:lnTo>
                  <a:pt x="924" y="2797"/>
                </a:lnTo>
                <a:lnTo>
                  <a:pt x="927" y="2793"/>
                </a:lnTo>
                <a:lnTo>
                  <a:pt x="930" y="2791"/>
                </a:lnTo>
                <a:lnTo>
                  <a:pt x="935" y="2789"/>
                </a:lnTo>
                <a:lnTo>
                  <a:pt x="939" y="2788"/>
                </a:lnTo>
                <a:lnTo>
                  <a:pt x="943" y="2788"/>
                </a:lnTo>
                <a:lnTo>
                  <a:pt x="951" y="2788"/>
                </a:lnTo>
                <a:lnTo>
                  <a:pt x="970" y="2790"/>
                </a:lnTo>
                <a:lnTo>
                  <a:pt x="982" y="2790"/>
                </a:lnTo>
                <a:lnTo>
                  <a:pt x="987" y="2789"/>
                </a:lnTo>
                <a:lnTo>
                  <a:pt x="992" y="2788"/>
                </a:lnTo>
                <a:lnTo>
                  <a:pt x="992" y="2788"/>
                </a:lnTo>
                <a:lnTo>
                  <a:pt x="1010" y="2782"/>
                </a:lnTo>
                <a:lnTo>
                  <a:pt x="1017" y="2777"/>
                </a:lnTo>
                <a:lnTo>
                  <a:pt x="1024" y="2773"/>
                </a:lnTo>
                <a:lnTo>
                  <a:pt x="1029" y="2770"/>
                </a:lnTo>
                <a:lnTo>
                  <a:pt x="1033" y="2766"/>
                </a:lnTo>
                <a:lnTo>
                  <a:pt x="1036" y="2762"/>
                </a:lnTo>
                <a:lnTo>
                  <a:pt x="1039" y="2757"/>
                </a:lnTo>
                <a:lnTo>
                  <a:pt x="1041" y="2753"/>
                </a:lnTo>
                <a:lnTo>
                  <a:pt x="1042" y="2748"/>
                </a:lnTo>
                <a:lnTo>
                  <a:pt x="1043" y="2739"/>
                </a:lnTo>
                <a:lnTo>
                  <a:pt x="1042" y="2728"/>
                </a:lnTo>
                <a:lnTo>
                  <a:pt x="1040" y="2718"/>
                </a:lnTo>
                <a:lnTo>
                  <a:pt x="1035" y="2696"/>
                </a:lnTo>
                <a:lnTo>
                  <a:pt x="1034" y="2685"/>
                </a:lnTo>
                <a:lnTo>
                  <a:pt x="1033" y="2673"/>
                </a:lnTo>
                <a:lnTo>
                  <a:pt x="1034" y="2662"/>
                </a:lnTo>
                <a:lnTo>
                  <a:pt x="1036" y="2657"/>
                </a:lnTo>
                <a:lnTo>
                  <a:pt x="1038" y="2651"/>
                </a:lnTo>
                <a:lnTo>
                  <a:pt x="1040" y="2646"/>
                </a:lnTo>
                <a:lnTo>
                  <a:pt x="1044" y="2640"/>
                </a:lnTo>
                <a:lnTo>
                  <a:pt x="1048" y="2634"/>
                </a:lnTo>
                <a:lnTo>
                  <a:pt x="1054" y="2629"/>
                </a:lnTo>
                <a:lnTo>
                  <a:pt x="1054" y="2629"/>
                </a:lnTo>
                <a:lnTo>
                  <a:pt x="1069" y="2616"/>
                </a:lnTo>
                <a:lnTo>
                  <a:pt x="1084" y="2603"/>
                </a:lnTo>
                <a:lnTo>
                  <a:pt x="1099" y="2591"/>
                </a:lnTo>
                <a:lnTo>
                  <a:pt x="1115" y="2579"/>
                </a:lnTo>
                <a:lnTo>
                  <a:pt x="1146" y="2559"/>
                </a:lnTo>
                <a:lnTo>
                  <a:pt x="1178" y="2540"/>
                </a:lnTo>
                <a:lnTo>
                  <a:pt x="1210" y="2524"/>
                </a:lnTo>
                <a:lnTo>
                  <a:pt x="1241" y="2509"/>
                </a:lnTo>
                <a:lnTo>
                  <a:pt x="1273" y="2494"/>
                </a:lnTo>
                <a:lnTo>
                  <a:pt x="1304" y="2482"/>
                </a:lnTo>
                <a:lnTo>
                  <a:pt x="1304" y="2482"/>
                </a:lnTo>
                <a:lnTo>
                  <a:pt x="1303" y="2486"/>
                </a:lnTo>
                <a:lnTo>
                  <a:pt x="1299" y="2498"/>
                </a:lnTo>
                <a:lnTo>
                  <a:pt x="1294" y="2518"/>
                </a:lnTo>
                <a:lnTo>
                  <a:pt x="1291" y="2541"/>
                </a:lnTo>
                <a:lnTo>
                  <a:pt x="1290" y="2556"/>
                </a:lnTo>
                <a:lnTo>
                  <a:pt x="1290" y="2570"/>
                </a:lnTo>
                <a:lnTo>
                  <a:pt x="1291" y="2585"/>
                </a:lnTo>
                <a:lnTo>
                  <a:pt x="1292" y="2602"/>
                </a:lnTo>
                <a:lnTo>
                  <a:pt x="1296" y="2618"/>
                </a:lnTo>
                <a:lnTo>
                  <a:pt x="1301" y="2634"/>
                </a:lnTo>
                <a:lnTo>
                  <a:pt x="1306" y="2652"/>
                </a:lnTo>
                <a:lnTo>
                  <a:pt x="1314" y="2669"/>
                </a:lnTo>
                <a:lnTo>
                  <a:pt x="1640" y="2585"/>
                </a:lnTo>
                <a:lnTo>
                  <a:pt x="1640" y="2585"/>
                </a:lnTo>
                <a:lnTo>
                  <a:pt x="1634" y="2569"/>
                </a:lnTo>
                <a:lnTo>
                  <a:pt x="1631" y="2553"/>
                </a:lnTo>
                <a:lnTo>
                  <a:pt x="1629" y="2535"/>
                </a:lnTo>
                <a:lnTo>
                  <a:pt x="1629" y="2518"/>
                </a:lnTo>
                <a:lnTo>
                  <a:pt x="1631" y="2500"/>
                </a:lnTo>
                <a:lnTo>
                  <a:pt x="1634" y="2483"/>
                </a:lnTo>
                <a:lnTo>
                  <a:pt x="1638" y="2466"/>
                </a:lnTo>
                <a:lnTo>
                  <a:pt x="1644" y="2447"/>
                </a:lnTo>
                <a:lnTo>
                  <a:pt x="1651" y="2430"/>
                </a:lnTo>
                <a:lnTo>
                  <a:pt x="1660" y="2411"/>
                </a:lnTo>
                <a:lnTo>
                  <a:pt x="1669" y="2394"/>
                </a:lnTo>
                <a:lnTo>
                  <a:pt x="1679" y="2377"/>
                </a:lnTo>
                <a:lnTo>
                  <a:pt x="1689" y="2359"/>
                </a:lnTo>
                <a:lnTo>
                  <a:pt x="1701" y="2342"/>
                </a:lnTo>
                <a:lnTo>
                  <a:pt x="1725" y="2310"/>
                </a:lnTo>
                <a:lnTo>
                  <a:pt x="1725" y="2310"/>
                </a:lnTo>
                <a:lnTo>
                  <a:pt x="1726" y="2309"/>
                </a:lnTo>
                <a:lnTo>
                  <a:pt x="1727" y="2309"/>
                </a:lnTo>
                <a:lnTo>
                  <a:pt x="1728" y="2313"/>
                </a:lnTo>
                <a:lnTo>
                  <a:pt x="1725" y="2335"/>
                </a:lnTo>
                <a:lnTo>
                  <a:pt x="1721" y="2368"/>
                </a:lnTo>
                <a:lnTo>
                  <a:pt x="1715" y="2410"/>
                </a:lnTo>
                <a:lnTo>
                  <a:pt x="1713" y="2433"/>
                </a:lnTo>
                <a:lnTo>
                  <a:pt x="1711" y="2456"/>
                </a:lnTo>
                <a:lnTo>
                  <a:pt x="1711" y="2478"/>
                </a:lnTo>
                <a:lnTo>
                  <a:pt x="1711" y="2499"/>
                </a:lnTo>
                <a:lnTo>
                  <a:pt x="1713" y="2519"/>
                </a:lnTo>
                <a:lnTo>
                  <a:pt x="1716" y="2536"/>
                </a:lnTo>
                <a:lnTo>
                  <a:pt x="1719" y="2544"/>
                </a:lnTo>
                <a:lnTo>
                  <a:pt x="1722" y="2551"/>
                </a:lnTo>
                <a:lnTo>
                  <a:pt x="1726" y="2557"/>
                </a:lnTo>
                <a:lnTo>
                  <a:pt x="1730" y="2562"/>
                </a:lnTo>
                <a:lnTo>
                  <a:pt x="2050" y="2479"/>
                </a:lnTo>
                <a:lnTo>
                  <a:pt x="2050" y="2479"/>
                </a:lnTo>
                <a:lnTo>
                  <a:pt x="2046" y="2469"/>
                </a:lnTo>
                <a:lnTo>
                  <a:pt x="2043" y="2457"/>
                </a:lnTo>
                <a:lnTo>
                  <a:pt x="2041" y="2446"/>
                </a:lnTo>
                <a:lnTo>
                  <a:pt x="2039" y="2434"/>
                </a:lnTo>
                <a:lnTo>
                  <a:pt x="2038" y="2422"/>
                </a:lnTo>
                <a:lnTo>
                  <a:pt x="2038" y="2409"/>
                </a:lnTo>
                <a:lnTo>
                  <a:pt x="2039" y="2383"/>
                </a:lnTo>
                <a:lnTo>
                  <a:pt x="2043" y="2356"/>
                </a:lnTo>
                <a:lnTo>
                  <a:pt x="2048" y="2330"/>
                </a:lnTo>
                <a:lnTo>
                  <a:pt x="2055" y="2303"/>
                </a:lnTo>
                <a:lnTo>
                  <a:pt x="2064" y="2279"/>
                </a:lnTo>
                <a:lnTo>
                  <a:pt x="2064" y="2279"/>
                </a:lnTo>
                <a:lnTo>
                  <a:pt x="2072" y="2306"/>
                </a:lnTo>
                <a:lnTo>
                  <a:pt x="2079" y="2335"/>
                </a:lnTo>
                <a:lnTo>
                  <a:pt x="2088" y="2362"/>
                </a:lnTo>
                <a:lnTo>
                  <a:pt x="2098" y="2390"/>
                </a:lnTo>
                <a:lnTo>
                  <a:pt x="2108" y="2417"/>
                </a:lnTo>
                <a:lnTo>
                  <a:pt x="2121" y="2443"/>
                </a:lnTo>
                <a:lnTo>
                  <a:pt x="2135" y="2469"/>
                </a:lnTo>
                <a:lnTo>
                  <a:pt x="2149" y="2494"/>
                </a:lnTo>
                <a:lnTo>
                  <a:pt x="2166" y="2519"/>
                </a:lnTo>
                <a:lnTo>
                  <a:pt x="2183" y="2541"/>
                </a:lnTo>
                <a:lnTo>
                  <a:pt x="2201" y="2563"/>
                </a:lnTo>
                <a:lnTo>
                  <a:pt x="2222" y="2583"/>
                </a:lnTo>
                <a:lnTo>
                  <a:pt x="2244" y="2603"/>
                </a:lnTo>
                <a:lnTo>
                  <a:pt x="2268" y="2619"/>
                </a:lnTo>
                <a:lnTo>
                  <a:pt x="2280" y="2627"/>
                </a:lnTo>
                <a:lnTo>
                  <a:pt x="2292" y="2634"/>
                </a:lnTo>
                <a:lnTo>
                  <a:pt x="2306" y="2641"/>
                </a:lnTo>
                <a:lnTo>
                  <a:pt x="2320" y="2648"/>
                </a:lnTo>
                <a:lnTo>
                  <a:pt x="2320" y="2648"/>
                </a:lnTo>
                <a:lnTo>
                  <a:pt x="2365" y="2667"/>
                </a:lnTo>
                <a:lnTo>
                  <a:pt x="2410" y="2685"/>
                </a:lnTo>
                <a:lnTo>
                  <a:pt x="2454" y="2702"/>
                </a:lnTo>
                <a:lnTo>
                  <a:pt x="2499" y="2718"/>
                </a:lnTo>
                <a:lnTo>
                  <a:pt x="2544" y="2733"/>
                </a:lnTo>
                <a:lnTo>
                  <a:pt x="2589" y="2749"/>
                </a:lnTo>
                <a:lnTo>
                  <a:pt x="2683" y="2778"/>
                </a:lnTo>
                <a:lnTo>
                  <a:pt x="2782" y="2807"/>
                </a:lnTo>
                <a:lnTo>
                  <a:pt x="2889" y="2838"/>
                </a:lnTo>
                <a:lnTo>
                  <a:pt x="3005" y="2872"/>
                </a:lnTo>
                <a:lnTo>
                  <a:pt x="3133" y="2908"/>
                </a:lnTo>
                <a:lnTo>
                  <a:pt x="3133" y="2908"/>
                </a:lnTo>
                <a:lnTo>
                  <a:pt x="3205" y="2931"/>
                </a:lnTo>
                <a:lnTo>
                  <a:pt x="3273" y="2954"/>
                </a:lnTo>
                <a:lnTo>
                  <a:pt x="3305" y="2966"/>
                </a:lnTo>
                <a:lnTo>
                  <a:pt x="3333" y="2977"/>
                </a:lnTo>
                <a:lnTo>
                  <a:pt x="3358" y="2987"/>
                </a:lnTo>
                <a:lnTo>
                  <a:pt x="3377" y="2996"/>
                </a:lnTo>
                <a:lnTo>
                  <a:pt x="3377" y="2996"/>
                </a:lnTo>
                <a:lnTo>
                  <a:pt x="3383" y="2999"/>
                </a:lnTo>
                <a:lnTo>
                  <a:pt x="3389" y="3003"/>
                </a:lnTo>
                <a:lnTo>
                  <a:pt x="3393" y="3006"/>
                </a:lnTo>
                <a:lnTo>
                  <a:pt x="3397" y="3011"/>
                </a:lnTo>
                <a:lnTo>
                  <a:pt x="3399" y="3015"/>
                </a:lnTo>
                <a:lnTo>
                  <a:pt x="3401" y="3020"/>
                </a:lnTo>
                <a:lnTo>
                  <a:pt x="3402" y="3024"/>
                </a:lnTo>
                <a:lnTo>
                  <a:pt x="3402" y="3028"/>
                </a:lnTo>
                <a:lnTo>
                  <a:pt x="3401" y="3037"/>
                </a:lnTo>
                <a:lnTo>
                  <a:pt x="3397" y="3046"/>
                </a:lnTo>
                <a:lnTo>
                  <a:pt x="3392" y="3055"/>
                </a:lnTo>
                <a:lnTo>
                  <a:pt x="3386" y="3064"/>
                </a:lnTo>
                <a:lnTo>
                  <a:pt x="3378" y="3072"/>
                </a:lnTo>
                <a:lnTo>
                  <a:pt x="3371" y="3080"/>
                </a:lnTo>
                <a:lnTo>
                  <a:pt x="3357" y="3092"/>
                </a:lnTo>
                <a:lnTo>
                  <a:pt x="3346" y="3102"/>
                </a:lnTo>
                <a:lnTo>
                  <a:pt x="3341" y="3105"/>
                </a:lnTo>
                <a:lnTo>
                  <a:pt x="3341" y="3105"/>
                </a:lnTo>
                <a:lnTo>
                  <a:pt x="3355" y="3113"/>
                </a:lnTo>
                <a:lnTo>
                  <a:pt x="3371" y="3121"/>
                </a:lnTo>
                <a:lnTo>
                  <a:pt x="3411" y="3139"/>
                </a:lnTo>
                <a:lnTo>
                  <a:pt x="3435" y="3152"/>
                </a:lnTo>
                <a:lnTo>
                  <a:pt x="3461" y="3167"/>
                </a:lnTo>
                <a:lnTo>
                  <a:pt x="3492" y="3186"/>
                </a:lnTo>
                <a:lnTo>
                  <a:pt x="3527" y="3211"/>
                </a:lnTo>
                <a:lnTo>
                  <a:pt x="3527" y="3211"/>
                </a:lnTo>
                <a:lnTo>
                  <a:pt x="3545" y="3226"/>
                </a:lnTo>
                <a:lnTo>
                  <a:pt x="3563" y="3244"/>
                </a:lnTo>
                <a:lnTo>
                  <a:pt x="3580" y="3263"/>
                </a:lnTo>
                <a:lnTo>
                  <a:pt x="3595" y="3284"/>
                </a:lnTo>
                <a:lnTo>
                  <a:pt x="3608" y="3305"/>
                </a:lnTo>
                <a:lnTo>
                  <a:pt x="3622" y="3329"/>
                </a:lnTo>
                <a:lnTo>
                  <a:pt x="3634" y="3352"/>
                </a:lnTo>
                <a:lnTo>
                  <a:pt x="3645" y="3378"/>
                </a:lnTo>
                <a:lnTo>
                  <a:pt x="3655" y="3404"/>
                </a:lnTo>
                <a:lnTo>
                  <a:pt x="3665" y="3432"/>
                </a:lnTo>
                <a:lnTo>
                  <a:pt x="3674" y="3460"/>
                </a:lnTo>
                <a:lnTo>
                  <a:pt x="3682" y="3489"/>
                </a:lnTo>
                <a:lnTo>
                  <a:pt x="3698" y="3549"/>
                </a:lnTo>
                <a:lnTo>
                  <a:pt x="3714" y="3612"/>
                </a:lnTo>
                <a:lnTo>
                  <a:pt x="3714" y="3612"/>
                </a:lnTo>
                <a:lnTo>
                  <a:pt x="3725" y="3662"/>
                </a:lnTo>
                <a:lnTo>
                  <a:pt x="3734" y="3715"/>
                </a:lnTo>
                <a:lnTo>
                  <a:pt x="3742" y="3768"/>
                </a:lnTo>
                <a:lnTo>
                  <a:pt x="3744" y="3795"/>
                </a:lnTo>
                <a:lnTo>
                  <a:pt x="3746" y="3819"/>
                </a:lnTo>
                <a:lnTo>
                  <a:pt x="3748" y="3844"/>
                </a:lnTo>
                <a:lnTo>
                  <a:pt x="3749" y="3867"/>
                </a:lnTo>
                <a:lnTo>
                  <a:pt x="3748" y="3889"/>
                </a:lnTo>
                <a:lnTo>
                  <a:pt x="3745" y="3909"/>
                </a:lnTo>
                <a:lnTo>
                  <a:pt x="3742" y="3928"/>
                </a:lnTo>
                <a:lnTo>
                  <a:pt x="3737" y="3944"/>
                </a:lnTo>
                <a:lnTo>
                  <a:pt x="3731" y="3957"/>
                </a:lnTo>
                <a:lnTo>
                  <a:pt x="3728" y="3963"/>
                </a:lnTo>
                <a:lnTo>
                  <a:pt x="3724" y="3969"/>
                </a:lnTo>
                <a:lnTo>
                  <a:pt x="3724" y="3969"/>
                </a:lnTo>
                <a:lnTo>
                  <a:pt x="3715" y="3979"/>
                </a:lnTo>
                <a:lnTo>
                  <a:pt x="3705" y="3989"/>
                </a:lnTo>
                <a:lnTo>
                  <a:pt x="3691" y="3998"/>
                </a:lnTo>
                <a:lnTo>
                  <a:pt x="3683" y="4003"/>
                </a:lnTo>
                <a:lnTo>
                  <a:pt x="3673" y="4008"/>
                </a:lnTo>
                <a:lnTo>
                  <a:pt x="3663" y="4014"/>
                </a:lnTo>
                <a:lnTo>
                  <a:pt x="3650" y="4019"/>
                </a:lnTo>
                <a:lnTo>
                  <a:pt x="3621" y="4028"/>
                </a:lnTo>
                <a:lnTo>
                  <a:pt x="3582" y="4038"/>
                </a:lnTo>
                <a:lnTo>
                  <a:pt x="3535" y="4048"/>
                </a:lnTo>
                <a:lnTo>
                  <a:pt x="3560" y="4171"/>
                </a:lnTo>
                <a:lnTo>
                  <a:pt x="3560" y="4171"/>
                </a:lnTo>
                <a:lnTo>
                  <a:pt x="3579" y="4172"/>
                </a:lnTo>
                <a:lnTo>
                  <a:pt x="3597" y="4172"/>
                </a:lnTo>
                <a:lnTo>
                  <a:pt x="3615" y="4171"/>
                </a:lnTo>
                <a:lnTo>
                  <a:pt x="3631" y="4169"/>
                </a:lnTo>
                <a:lnTo>
                  <a:pt x="3646" y="4167"/>
                </a:lnTo>
                <a:lnTo>
                  <a:pt x="3662" y="4164"/>
                </a:lnTo>
                <a:lnTo>
                  <a:pt x="3688" y="4157"/>
                </a:lnTo>
                <a:lnTo>
                  <a:pt x="3711" y="4150"/>
                </a:lnTo>
                <a:lnTo>
                  <a:pt x="3728" y="4143"/>
                </a:lnTo>
                <a:lnTo>
                  <a:pt x="3742" y="4137"/>
                </a:lnTo>
                <a:lnTo>
                  <a:pt x="3742" y="4137"/>
                </a:lnTo>
                <a:lnTo>
                  <a:pt x="3736" y="4143"/>
                </a:lnTo>
                <a:lnTo>
                  <a:pt x="3730" y="4151"/>
                </a:lnTo>
                <a:lnTo>
                  <a:pt x="3722" y="4161"/>
                </a:lnTo>
                <a:lnTo>
                  <a:pt x="3722" y="4161"/>
                </a:lnTo>
                <a:lnTo>
                  <a:pt x="3711" y="4177"/>
                </a:lnTo>
                <a:lnTo>
                  <a:pt x="3700" y="4194"/>
                </a:lnTo>
                <a:lnTo>
                  <a:pt x="3692" y="4209"/>
                </a:lnTo>
                <a:lnTo>
                  <a:pt x="3685" y="4224"/>
                </a:lnTo>
                <a:lnTo>
                  <a:pt x="3680" y="4240"/>
                </a:lnTo>
                <a:lnTo>
                  <a:pt x="3675" y="4257"/>
                </a:lnTo>
                <a:lnTo>
                  <a:pt x="3672" y="4274"/>
                </a:lnTo>
                <a:lnTo>
                  <a:pt x="3669" y="4295"/>
                </a:lnTo>
                <a:lnTo>
                  <a:pt x="3799" y="4379"/>
                </a:lnTo>
                <a:lnTo>
                  <a:pt x="3799" y="4379"/>
                </a:lnTo>
                <a:lnTo>
                  <a:pt x="3812" y="4338"/>
                </a:lnTo>
                <a:lnTo>
                  <a:pt x="3826" y="4298"/>
                </a:lnTo>
                <a:lnTo>
                  <a:pt x="3841" y="4262"/>
                </a:lnTo>
                <a:lnTo>
                  <a:pt x="3855" y="4229"/>
                </a:lnTo>
                <a:lnTo>
                  <a:pt x="3870" y="4202"/>
                </a:lnTo>
                <a:lnTo>
                  <a:pt x="3877" y="4189"/>
                </a:lnTo>
                <a:lnTo>
                  <a:pt x="3885" y="4179"/>
                </a:lnTo>
                <a:lnTo>
                  <a:pt x="3892" y="4170"/>
                </a:lnTo>
                <a:lnTo>
                  <a:pt x="3899" y="4163"/>
                </a:lnTo>
                <a:lnTo>
                  <a:pt x="3906" y="4158"/>
                </a:lnTo>
                <a:lnTo>
                  <a:pt x="3913" y="4154"/>
                </a:lnTo>
                <a:lnTo>
                  <a:pt x="3913" y="4154"/>
                </a:lnTo>
                <a:lnTo>
                  <a:pt x="3919" y="4152"/>
                </a:lnTo>
                <a:lnTo>
                  <a:pt x="3926" y="4152"/>
                </a:lnTo>
                <a:lnTo>
                  <a:pt x="3935" y="4152"/>
                </a:lnTo>
                <a:lnTo>
                  <a:pt x="3944" y="4153"/>
                </a:lnTo>
                <a:lnTo>
                  <a:pt x="3954" y="4155"/>
                </a:lnTo>
                <a:lnTo>
                  <a:pt x="3965" y="4157"/>
                </a:lnTo>
                <a:lnTo>
                  <a:pt x="3990" y="4166"/>
                </a:lnTo>
                <a:lnTo>
                  <a:pt x="4017" y="4177"/>
                </a:lnTo>
                <a:lnTo>
                  <a:pt x="4047" y="4192"/>
                </a:lnTo>
                <a:lnTo>
                  <a:pt x="4078" y="4212"/>
                </a:lnTo>
                <a:lnTo>
                  <a:pt x="4110" y="4233"/>
                </a:lnTo>
                <a:lnTo>
                  <a:pt x="4127" y="4246"/>
                </a:lnTo>
                <a:lnTo>
                  <a:pt x="4143" y="4259"/>
                </a:lnTo>
                <a:lnTo>
                  <a:pt x="4160" y="4273"/>
                </a:lnTo>
                <a:lnTo>
                  <a:pt x="4176" y="4288"/>
                </a:lnTo>
                <a:lnTo>
                  <a:pt x="4192" y="4303"/>
                </a:lnTo>
                <a:lnTo>
                  <a:pt x="4208" y="4319"/>
                </a:lnTo>
                <a:lnTo>
                  <a:pt x="4224" y="4337"/>
                </a:lnTo>
                <a:lnTo>
                  <a:pt x="4239" y="4355"/>
                </a:lnTo>
                <a:lnTo>
                  <a:pt x="4254" y="4373"/>
                </a:lnTo>
                <a:lnTo>
                  <a:pt x="4268" y="4393"/>
                </a:lnTo>
                <a:lnTo>
                  <a:pt x="4282" y="4413"/>
                </a:lnTo>
                <a:lnTo>
                  <a:pt x="4296" y="4435"/>
                </a:lnTo>
                <a:lnTo>
                  <a:pt x="4308" y="4456"/>
                </a:lnTo>
                <a:lnTo>
                  <a:pt x="4320" y="4479"/>
                </a:lnTo>
                <a:lnTo>
                  <a:pt x="4331" y="4502"/>
                </a:lnTo>
                <a:lnTo>
                  <a:pt x="4342" y="4527"/>
                </a:lnTo>
                <a:lnTo>
                  <a:pt x="4342" y="4527"/>
                </a:lnTo>
                <a:lnTo>
                  <a:pt x="4347" y="4541"/>
                </a:lnTo>
                <a:lnTo>
                  <a:pt x="4352" y="4558"/>
                </a:lnTo>
                <a:lnTo>
                  <a:pt x="4356" y="4574"/>
                </a:lnTo>
                <a:lnTo>
                  <a:pt x="4360" y="4591"/>
                </a:lnTo>
                <a:lnTo>
                  <a:pt x="4363" y="4610"/>
                </a:lnTo>
                <a:lnTo>
                  <a:pt x="4366" y="4628"/>
                </a:lnTo>
                <a:lnTo>
                  <a:pt x="4370" y="4667"/>
                </a:lnTo>
                <a:lnTo>
                  <a:pt x="4372" y="4706"/>
                </a:lnTo>
                <a:lnTo>
                  <a:pt x="4371" y="4747"/>
                </a:lnTo>
                <a:lnTo>
                  <a:pt x="4370" y="4767"/>
                </a:lnTo>
                <a:lnTo>
                  <a:pt x="4369" y="4787"/>
                </a:lnTo>
                <a:lnTo>
                  <a:pt x="4366" y="4807"/>
                </a:lnTo>
                <a:lnTo>
                  <a:pt x="4363" y="4826"/>
                </a:lnTo>
                <a:lnTo>
                  <a:pt x="4360" y="4846"/>
                </a:lnTo>
                <a:lnTo>
                  <a:pt x="4356" y="4864"/>
                </a:lnTo>
                <a:lnTo>
                  <a:pt x="4351" y="4883"/>
                </a:lnTo>
                <a:lnTo>
                  <a:pt x="4345" y="4900"/>
                </a:lnTo>
                <a:lnTo>
                  <a:pt x="4339" y="4917"/>
                </a:lnTo>
                <a:lnTo>
                  <a:pt x="4332" y="4933"/>
                </a:lnTo>
                <a:lnTo>
                  <a:pt x="4324" y="4948"/>
                </a:lnTo>
                <a:lnTo>
                  <a:pt x="4316" y="4962"/>
                </a:lnTo>
                <a:lnTo>
                  <a:pt x="4307" y="4976"/>
                </a:lnTo>
                <a:lnTo>
                  <a:pt x="4298" y="4988"/>
                </a:lnTo>
                <a:lnTo>
                  <a:pt x="4287" y="4999"/>
                </a:lnTo>
                <a:lnTo>
                  <a:pt x="4276" y="5008"/>
                </a:lnTo>
                <a:lnTo>
                  <a:pt x="4264" y="5017"/>
                </a:lnTo>
                <a:lnTo>
                  <a:pt x="4252" y="5024"/>
                </a:lnTo>
                <a:lnTo>
                  <a:pt x="4238" y="5029"/>
                </a:lnTo>
                <a:lnTo>
                  <a:pt x="4224" y="5032"/>
                </a:lnTo>
                <a:lnTo>
                  <a:pt x="4224" y="5032"/>
                </a:lnTo>
                <a:lnTo>
                  <a:pt x="4216" y="5033"/>
                </a:lnTo>
                <a:lnTo>
                  <a:pt x="4208" y="5033"/>
                </a:lnTo>
                <a:lnTo>
                  <a:pt x="4198" y="5032"/>
                </a:lnTo>
                <a:lnTo>
                  <a:pt x="4188" y="5030"/>
                </a:lnTo>
                <a:lnTo>
                  <a:pt x="4168" y="5025"/>
                </a:lnTo>
                <a:lnTo>
                  <a:pt x="4145" y="5017"/>
                </a:lnTo>
                <a:lnTo>
                  <a:pt x="4123" y="5006"/>
                </a:lnTo>
                <a:lnTo>
                  <a:pt x="4099" y="4995"/>
                </a:lnTo>
                <a:lnTo>
                  <a:pt x="4051" y="4973"/>
                </a:lnTo>
                <a:lnTo>
                  <a:pt x="4028" y="4961"/>
                </a:lnTo>
                <a:lnTo>
                  <a:pt x="4005" y="4952"/>
                </a:lnTo>
                <a:lnTo>
                  <a:pt x="3984" y="4945"/>
                </a:lnTo>
                <a:lnTo>
                  <a:pt x="3964" y="4940"/>
                </a:lnTo>
                <a:lnTo>
                  <a:pt x="3955" y="4939"/>
                </a:lnTo>
                <a:lnTo>
                  <a:pt x="3947" y="4938"/>
                </a:lnTo>
                <a:lnTo>
                  <a:pt x="3939" y="4939"/>
                </a:lnTo>
                <a:lnTo>
                  <a:pt x="3932" y="4940"/>
                </a:lnTo>
                <a:lnTo>
                  <a:pt x="3924" y="4943"/>
                </a:lnTo>
                <a:lnTo>
                  <a:pt x="3919" y="4947"/>
                </a:lnTo>
                <a:lnTo>
                  <a:pt x="3914" y="4952"/>
                </a:lnTo>
                <a:lnTo>
                  <a:pt x="3909" y="4958"/>
                </a:lnTo>
                <a:lnTo>
                  <a:pt x="3909" y="4958"/>
                </a:lnTo>
                <a:lnTo>
                  <a:pt x="3905" y="4965"/>
                </a:lnTo>
                <a:lnTo>
                  <a:pt x="3900" y="4973"/>
                </a:lnTo>
                <a:lnTo>
                  <a:pt x="3893" y="4979"/>
                </a:lnTo>
                <a:lnTo>
                  <a:pt x="3886" y="4985"/>
                </a:lnTo>
                <a:lnTo>
                  <a:pt x="3869" y="4996"/>
                </a:lnTo>
                <a:lnTo>
                  <a:pt x="3851" y="5006"/>
                </a:lnTo>
                <a:lnTo>
                  <a:pt x="3810" y="5028"/>
                </a:lnTo>
                <a:lnTo>
                  <a:pt x="3789" y="5039"/>
                </a:lnTo>
                <a:lnTo>
                  <a:pt x="3770" y="5052"/>
                </a:lnTo>
                <a:lnTo>
                  <a:pt x="3761" y="5058"/>
                </a:lnTo>
                <a:lnTo>
                  <a:pt x="3752" y="5067"/>
                </a:lnTo>
                <a:lnTo>
                  <a:pt x="3743" y="5074"/>
                </a:lnTo>
                <a:lnTo>
                  <a:pt x="3735" y="5083"/>
                </a:lnTo>
                <a:lnTo>
                  <a:pt x="3728" y="5092"/>
                </a:lnTo>
                <a:lnTo>
                  <a:pt x="3722" y="5102"/>
                </a:lnTo>
                <a:lnTo>
                  <a:pt x="3717" y="5113"/>
                </a:lnTo>
                <a:lnTo>
                  <a:pt x="3713" y="5125"/>
                </a:lnTo>
                <a:lnTo>
                  <a:pt x="3710" y="5137"/>
                </a:lnTo>
                <a:lnTo>
                  <a:pt x="3708" y="5151"/>
                </a:lnTo>
                <a:lnTo>
                  <a:pt x="3707" y="5165"/>
                </a:lnTo>
                <a:lnTo>
                  <a:pt x="3707" y="5181"/>
                </a:lnTo>
                <a:lnTo>
                  <a:pt x="3709" y="5198"/>
                </a:lnTo>
                <a:lnTo>
                  <a:pt x="3713" y="5215"/>
                </a:lnTo>
                <a:lnTo>
                  <a:pt x="3718" y="5234"/>
                </a:lnTo>
                <a:lnTo>
                  <a:pt x="3724" y="5255"/>
                </a:lnTo>
                <a:lnTo>
                  <a:pt x="3724" y="5255"/>
                </a:lnTo>
                <a:lnTo>
                  <a:pt x="3741" y="5234"/>
                </a:lnTo>
                <a:lnTo>
                  <a:pt x="3759" y="5213"/>
                </a:lnTo>
                <a:lnTo>
                  <a:pt x="3776" y="5194"/>
                </a:lnTo>
                <a:lnTo>
                  <a:pt x="3794" y="5178"/>
                </a:lnTo>
                <a:lnTo>
                  <a:pt x="3802" y="5171"/>
                </a:lnTo>
                <a:lnTo>
                  <a:pt x="3811" y="5165"/>
                </a:lnTo>
                <a:lnTo>
                  <a:pt x="3819" y="5159"/>
                </a:lnTo>
                <a:lnTo>
                  <a:pt x="3827" y="5155"/>
                </a:lnTo>
                <a:lnTo>
                  <a:pt x="3835" y="5153"/>
                </a:lnTo>
                <a:lnTo>
                  <a:pt x="3843" y="5151"/>
                </a:lnTo>
                <a:lnTo>
                  <a:pt x="3850" y="5151"/>
                </a:lnTo>
                <a:lnTo>
                  <a:pt x="3857" y="5153"/>
                </a:lnTo>
                <a:lnTo>
                  <a:pt x="3857" y="5153"/>
                </a:lnTo>
                <a:lnTo>
                  <a:pt x="3861" y="5155"/>
                </a:lnTo>
                <a:lnTo>
                  <a:pt x="3864" y="5157"/>
                </a:lnTo>
                <a:lnTo>
                  <a:pt x="3870" y="5163"/>
                </a:lnTo>
                <a:lnTo>
                  <a:pt x="3875" y="5171"/>
                </a:lnTo>
                <a:lnTo>
                  <a:pt x="3879" y="5179"/>
                </a:lnTo>
                <a:lnTo>
                  <a:pt x="3888" y="5200"/>
                </a:lnTo>
                <a:lnTo>
                  <a:pt x="3894" y="5210"/>
                </a:lnTo>
                <a:lnTo>
                  <a:pt x="3901" y="5220"/>
                </a:lnTo>
                <a:lnTo>
                  <a:pt x="3901" y="5220"/>
                </a:lnTo>
                <a:lnTo>
                  <a:pt x="3904" y="5223"/>
                </a:lnTo>
                <a:lnTo>
                  <a:pt x="3908" y="5225"/>
                </a:lnTo>
                <a:lnTo>
                  <a:pt x="3913" y="5227"/>
                </a:lnTo>
                <a:lnTo>
                  <a:pt x="3919" y="5228"/>
                </a:lnTo>
                <a:lnTo>
                  <a:pt x="3934" y="5230"/>
                </a:lnTo>
                <a:lnTo>
                  <a:pt x="3950" y="5230"/>
                </a:lnTo>
                <a:lnTo>
                  <a:pt x="3968" y="5229"/>
                </a:lnTo>
                <a:lnTo>
                  <a:pt x="3989" y="5227"/>
                </a:lnTo>
                <a:lnTo>
                  <a:pt x="4032" y="5223"/>
                </a:lnTo>
                <a:lnTo>
                  <a:pt x="4074" y="5219"/>
                </a:lnTo>
                <a:lnTo>
                  <a:pt x="4093" y="5217"/>
                </a:lnTo>
                <a:lnTo>
                  <a:pt x="4110" y="5217"/>
                </a:lnTo>
                <a:lnTo>
                  <a:pt x="4126" y="5217"/>
                </a:lnTo>
                <a:lnTo>
                  <a:pt x="4137" y="5219"/>
                </a:lnTo>
                <a:lnTo>
                  <a:pt x="4142" y="5221"/>
                </a:lnTo>
                <a:lnTo>
                  <a:pt x="4146" y="5223"/>
                </a:lnTo>
                <a:lnTo>
                  <a:pt x="4148" y="5225"/>
                </a:lnTo>
                <a:lnTo>
                  <a:pt x="4150" y="5228"/>
                </a:lnTo>
                <a:lnTo>
                  <a:pt x="4150" y="5228"/>
                </a:lnTo>
                <a:lnTo>
                  <a:pt x="4151" y="5231"/>
                </a:lnTo>
                <a:lnTo>
                  <a:pt x="4150" y="5234"/>
                </a:lnTo>
                <a:lnTo>
                  <a:pt x="4149" y="5236"/>
                </a:lnTo>
                <a:lnTo>
                  <a:pt x="4148" y="5238"/>
                </a:lnTo>
                <a:lnTo>
                  <a:pt x="4143" y="5242"/>
                </a:lnTo>
                <a:lnTo>
                  <a:pt x="4136" y="5243"/>
                </a:lnTo>
                <a:lnTo>
                  <a:pt x="4118" y="5246"/>
                </a:lnTo>
                <a:lnTo>
                  <a:pt x="4100" y="5248"/>
                </a:lnTo>
                <a:lnTo>
                  <a:pt x="4100" y="5248"/>
                </a:lnTo>
                <a:lnTo>
                  <a:pt x="4021" y="5262"/>
                </a:lnTo>
                <a:lnTo>
                  <a:pt x="3981" y="5269"/>
                </a:lnTo>
                <a:lnTo>
                  <a:pt x="3943" y="5277"/>
                </a:lnTo>
                <a:lnTo>
                  <a:pt x="3925" y="5282"/>
                </a:lnTo>
                <a:lnTo>
                  <a:pt x="3909" y="5288"/>
                </a:lnTo>
                <a:lnTo>
                  <a:pt x="3894" y="5294"/>
                </a:lnTo>
                <a:lnTo>
                  <a:pt x="3881" y="5300"/>
                </a:lnTo>
                <a:lnTo>
                  <a:pt x="3869" y="5306"/>
                </a:lnTo>
                <a:lnTo>
                  <a:pt x="3860" y="5314"/>
                </a:lnTo>
                <a:lnTo>
                  <a:pt x="3853" y="5322"/>
                </a:lnTo>
                <a:lnTo>
                  <a:pt x="3850" y="5326"/>
                </a:lnTo>
                <a:lnTo>
                  <a:pt x="3848" y="5331"/>
                </a:lnTo>
                <a:lnTo>
                  <a:pt x="3848" y="5331"/>
                </a:lnTo>
                <a:lnTo>
                  <a:pt x="3846" y="5338"/>
                </a:lnTo>
                <a:lnTo>
                  <a:pt x="3846" y="5342"/>
                </a:lnTo>
                <a:lnTo>
                  <a:pt x="3847" y="5352"/>
                </a:lnTo>
                <a:lnTo>
                  <a:pt x="3847" y="5357"/>
                </a:lnTo>
                <a:lnTo>
                  <a:pt x="3846" y="5363"/>
                </a:lnTo>
                <a:lnTo>
                  <a:pt x="3845" y="5371"/>
                </a:lnTo>
                <a:lnTo>
                  <a:pt x="3842" y="5382"/>
                </a:lnTo>
                <a:lnTo>
                  <a:pt x="3842" y="5382"/>
                </a:lnTo>
                <a:lnTo>
                  <a:pt x="3837" y="5393"/>
                </a:lnTo>
                <a:lnTo>
                  <a:pt x="3831" y="5402"/>
                </a:lnTo>
                <a:lnTo>
                  <a:pt x="3823" y="5410"/>
                </a:lnTo>
                <a:lnTo>
                  <a:pt x="3815" y="5418"/>
                </a:lnTo>
                <a:lnTo>
                  <a:pt x="3796" y="5434"/>
                </a:lnTo>
                <a:lnTo>
                  <a:pt x="3786" y="5442"/>
                </a:lnTo>
                <a:lnTo>
                  <a:pt x="3776" y="5451"/>
                </a:lnTo>
                <a:lnTo>
                  <a:pt x="3767" y="5460"/>
                </a:lnTo>
                <a:lnTo>
                  <a:pt x="3758" y="5472"/>
                </a:lnTo>
                <a:lnTo>
                  <a:pt x="3750" y="5485"/>
                </a:lnTo>
                <a:lnTo>
                  <a:pt x="3742" y="5499"/>
                </a:lnTo>
                <a:lnTo>
                  <a:pt x="3736" y="5517"/>
                </a:lnTo>
                <a:lnTo>
                  <a:pt x="3732" y="5536"/>
                </a:lnTo>
                <a:lnTo>
                  <a:pt x="3730" y="5558"/>
                </a:lnTo>
                <a:lnTo>
                  <a:pt x="3730" y="5584"/>
                </a:lnTo>
                <a:lnTo>
                  <a:pt x="3730" y="5584"/>
                </a:lnTo>
                <a:lnTo>
                  <a:pt x="3732" y="5597"/>
                </a:lnTo>
                <a:lnTo>
                  <a:pt x="3735" y="5610"/>
                </a:lnTo>
                <a:lnTo>
                  <a:pt x="3739" y="5622"/>
                </a:lnTo>
                <a:lnTo>
                  <a:pt x="3744" y="5634"/>
                </a:lnTo>
                <a:lnTo>
                  <a:pt x="3751" y="5644"/>
                </a:lnTo>
                <a:lnTo>
                  <a:pt x="3757" y="5656"/>
                </a:lnTo>
                <a:lnTo>
                  <a:pt x="3763" y="5665"/>
                </a:lnTo>
                <a:lnTo>
                  <a:pt x="3770" y="5674"/>
                </a:lnTo>
                <a:lnTo>
                  <a:pt x="3784" y="5689"/>
                </a:lnTo>
                <a:lnTo>
                  <a:pt x="3797" y="5701"/>
                </a:lnTo>
                <a:lnTo>
                  <a:pt x="3807" y="5708"/>
                </a:lnTo>
                <a:lnTo>
                  <a:pt x="3810" y="5710"/>
                </a:lnTo>
                <a:lnTo>
                  <a:pt x="3813" y="5711"/>
                </a:lnTo>
                <a:lnTo>
                  <a:pt x="3813" y="5711"/>
                </a:lnTo>
                <a:lnTo>
                  <a:pt x="3814" y="5710"/>
                </a:lnTo>
                <a:lnTo>
                  <a:pt x="3815" y="5709"/>
                </a:lnTo>
                <a:lnTo>
                  <a:pt x="3816" y="5704"/>
                </a:lnTo>
                <a:lnTo>
                  <a:pt x="3818" y="5696"/>
                </a:lnTo>
                <a:lnTo>
                  <a:pt x="3818" y="5686"/>
                </a:lnTo>
                <a:lnTo>
                  <a:pt x="3820" y="5662"/>
                </a:lnTo>
                <a:lnTo>
                  <a:pt x="3823" y="5633"/>
                </a:lnTo>
                <a:lnTo>
                  <a:pt x="3825" y="5619"/>
                </a:lnTo>
                <a:lnTo>
                  <a:pt x="3828" y="5603"/>
                </a:lnTo>
                <a:lnTo>
                  <a:pt x="3831" y="5590"/>
                </a:lnTo>
                <a:lnTo>
                  <a:pt x="3836" y="5577"/>
                </a:lnTo>
                <a:lnTo>
                  <a:pt x="3843" y="5566"/>
                </a:lnTo>
                <a:lnTo>
                  <a:pt x="3847" y="5562"/>
                </a:lnTo>
                <a:lnTo>
                  <a:pt x="3851" y="5556"/>
                </a:lnTo>
                <a:lnTo>
                  <a:pt x="3855" y="5553"/>
                </a:lnTo>
                <a:lnTo>
                  <a:pt x="3860" y="5550"/>
                </a:lnTo>
                <a:lnTo>
                  <a:pt x="3865" y="5547"/>
                </a:lnTo>
                <a:lnTo>
                  <a:pt x="3871" y="5546"/>
                </a:lnTo>
                <a:lnTo>
                  <a:pt x="3871" y="5546"/>
                </a:lnTo>
                <a:lnTo>
                  <a:pt x="3877" y="5545"/>
                </a:lnTo>
                <a:lnTo>
                  <a:pt x="3882" y="5546"/>
                </a:lnTo>
                <a:lnTo>
                  <a:pt x="3888" y="5548"/>
                </a:lnTo>
                <a:lnTo>
                  <a:pt x="3892" y="5552"/>
                </a:lnTo>
                <a:lnTo>
                  <a:pt x="3902" y="5561"/>
                </a:lnTo>
                <a:lnTo>
                  <a:pt x="3911" y="5571"/>
                </a:lnTo>
                <a:lnTo>
                  <a:pt x="3921" y="5581"/>
                </a:lnTo>
                <a:lnTo>
                  <a:pt x="3926" y="5586"/>
                </a:lnTo>
                <a:lnTo>
                  <a:pt x="3933" y="5590"/>
                </a:lnTo>
                <a:lnTo>
                  <a:pt x="3940" y="5594"/>
                </a:lnTo>
                <a:lnTo>
                  <a:pt x="3946" y="5597"/>
                </a:lnTo>
                <a:lnTo>
                  <a:pt x="3954" y="5598"/>
                </a:lnTo>
                <a:lnTo>
                  <a:pt x="3962" y="5599"/>
                </a:lnTo>
                <a:lnTo>
                  <a:pt x="3962" y="5599"/>
                </a:lnTo>
                <a:lnTo>
                  <a:pt x="3970" y="5598"/>
                </a:lnTo>
                <a:lnTo>
                  <a:pt x="3979" y="5595"/>
                </a:lnTo>
                <a:lnTo>
                  <a:pt x="3987" y="5592"/>
                </a:lnTo>
                <a:lnTo>
                  <a:pt x="3996" y="5588"/>
                </a:lnTo>
                <a:lnTo>
                  <a:pt x="4005" y="5582"/>
                </a:lnTo>
                <a:lnTo>
                  <a:pt x="4014" y="5576"/>
                </a:lnTo>
                <a:lnTo>
                  <a:pt x="4035" y="5559"/>
                </a:lnTo>
                <a:lnTo>
                  <a:pt x="4055" y="5542"/>
                </a:lnTo>
                <a:lnTo>
                  <a:pt x="4077" y="5522"/>
                </a:lnTo>
                <a:lnTo>
                  <a:pt x="4122" y="5479"/>
                </a:lnTo>
                <a:lnTo>
                  <a:pt x="4144" y="5457"/>
                </a:lnTo>
                <a:lnTo>
                  <a:pt x="4166" y="5437"/>
                </a:lnTo>
                <a:lnTo>
                  <a:pt x="4187" y="5417"/>
                </a:lnTo>
                <a:lnTo>
                  <a:pt x="4208" y="5402"/>
                </a:lnTo>
                <a:lnTo>
                  <a:pt x="4227" y="5389"/>
                </a:lnTo>
                <a:lnTo>
                  <a:pt x="4236" y="5384"/>
                </a:lnTo>
                <a:lnTo>
                  <a:pt x="4245" y="5380"/>
                </a:lnTo>
                <a:lnTo>
                  <a:pt x="4254" y="5376"/>
                </a:lnTo>
                <a:lnTo>
                  <a:pt x="4262" y="5374"/>
                </a:lnTo>
                <a:lnTo>
                  <a:pt x="4270" y="5374"/>
                </a:lnTo>
                <a:lnTo>
                  <a:pt x="4277" y="5375"/>
                </a:lnTo>
                <a:lnTo>
                  <a:pt x="4277" y="5375"/>
                </a:lnTo>
                <a:lnTo>
                  <a:pt x="4278" y="5376"/>
                </a:lnTo>
                <a:lnTo>
                  <a:pt x="4279" y="5379"/>
                </a:lnTo>
                <a:lnTo>
                  <a:pt x="4278" y="5382"/>
                </a:lnTo>
                <a:lnTo>
                  <a:pt x="4277" y="5384"/>
                </a:lnTo>
                <a:lnTo>
                  <a:pt x="4272" y="5391"/>
                </a:lnTo>
                <a:lnTo>
                  <a:pt x="4264" y="5399"/>
                </a:lnTo>
                <a:lnTo>
                  <a:pt x="4241" y="5420"/>
                </a:lnTo>
                <a:lnTo>
                  <a:pt x="4212" y="5447"/>
                </a:lnTo>
                <a:lnTo>
                  <a:pt x="4181" y="5477"/>
                </a:lnTo>
                <a:lnTo>
                  <a:pt x="4167" y="5492"/>
                </a:lnTo>
                <a:lnTo>
                  <a:pt x="4152" y="5508"/>
                </a:lnTo>
                <a:lnTo>
                  <a:pt x="4140" y="5525"/>
                </a:lnTo>
                <a:lnTo>
                  <a:pt x="4129" y="5542"/>
                </a:lnTo>
                <a:lnTo>
                  <a:pt x="4121" y="5558"/>
                </a:lnTo>
                <a:lnTo>
                  <a:pt x="4118" y="5567"/>
                </a:lnTo>
                <a:lnTo>
                  <a:pt x="4116" y="5576"/>
                </a:lnTo>
                <a:lnTo>
                  <a:pt x="4116" y="5576"/>
                </a:lnTo>
                <a:lnTo>
                  <a:pt x="4114" y="5588"/>
                </a:lnTo>
                <a:lnTo>
                  <a:pt x="4114" y="5599"/>
                </a:lnTo>
                <a:lnTo>
                  <a:pt x="4115" y="5611"/>
                </a:lnTo>
                <a:lnTo>
                  <a:pt x="4119" y="5620"/>
                </a:lnTo>
                <a:lnTo>
                  <a:pt x="4123" y="5628"/>
                </a:lnTo>
                <a:lnTo>
                  <a:pt x="4129" y="5636"/>
                </a:lnTo>
                <a:lnTo>
                  <a:pt x="4135" y="5643"/>
                </a:lnTo>
                <a:lnTo>
                  <a:pt x="4142" y="5649"/>
                </a:lnTo>
                <a:lnTo>
                  <a:pt x="4157" y="5663"/>
                </a:lnTo>
                <a:lnTo>
                  <a:pt x="4163" y="5669"/>
                </a:lnTo>
                <a:lnTo>
                  <a:pt x="4169" y="5676"/>
                </a:lnTo>
                <a:lnTo>
                  <a:pt x="4175" y="5683"/>
                </a:lnTo>
                <a:lnTo>
                  <a:pt x="4179" y="5690"/>
                </a:lnTo>
                <a:lnTo>
                  <a:pt x="4182" y="5699"/>
                </a:lnTo>
                <a:lnTo>
                  <a:pt x="4183" y="5708"/>
                </a:lnTo>
                <a:lnTo>
                  <a:pt x="4183" y="5708"/>
                </a:lnTo>
                <a:lnTo>
                  <a:pt x="4184" y="5718"/>
                </a:lnTo>
                <a:lnTo>
                  <a:pt x="4186" y="5729"/>
                </a:lnTo>
                <a:lnTo>
                  <a:pt x="4189" y="5738"/>
                </a:lnTo>
                <a:lnTo>
                  <a:pt x="4193" y="5749"/>
                </a:lnTo>
                <a:lnTo>
                  <a:pt x="4198" y="5758"/>
                </a:lnTo>
                <a:lnTo>
                  <a:pt x="4205" y="5767"/>
                </a:lnTo>
                <a:lnTo>
                  <a:pt x="4212" y="5775"/>
                </a:lnTo>
                <a:lnTo>
                  <a:pt x="4220" y="5783"/>
                </a:lnTo>
                <a:lnTo>
                  <a:pt x="4228" y="5792"/>
                </a:lnTo>
                <a:lnTo>
                  <a:pt x="4237" y="5799"/>
                </a:lnTo>
                <a:lnTo>
                  <a:pt x="4257" y="5812"/>
                </a:lnTo>
                <a:lnTo>
                  <a:pt x="4278" y="5824"/>
                </a:lnTo>
                <a:lnTo>
                  <a:pt x="4300" y="5835"/>
                </a:lnTo>
                <a:lnTo>
                  <a:pt x="4322" y="5844"/>
                </a:lnTo>
                <a:lnTo>
                  <a:pt x="4344" y="5852"/>
                </a:lnTo>
                <a:lnTo>
                  <a:pt x="4364" y="5857"/>
                </a:lnTo>
                <a:lnTo>
                  <a:pt x="4382" y="5862"/>
                </a:lnTo>
                <a:lnTo>
                  <a:pt x="4399" y="5864"/>
                </a:lnTo>
                <a:lnTo>
                  <a:pt x="4412" y="5865"/>
                </a:lnTo>
                <a:lnTo>
                  <a:pt x="4421" y="5865"/>
                </a:lnTo>
                <a:lnTo>
                  <a:pt x="4424" y="5864"/>
                </a:lnTo>
                <a:lnTo>
                  <a:pt x="4426" y="5863"/>
                </a:lnTo>
                <a:lnTo>
                  <a:pt x="4426" y="5863"/>
                </a:lnTo>
                <a:lnTo>
                  <a:pt x="4427" y="5861"/>
                </a:lnTo>
                <a:lnTo>
                  <a:pt x="4427" y="5859"/>
                </a:lnTo>
                <a:lnTo>
                  <a:pt x="4425" y="5853"/>
                </a:lnTo>
                <a:lnTo>
                  <a:pt x="4420" y="5846"/>
                </a:lnTo>
                <a:lnTo>
                  <a:pt x="4412" y="5836"/>
                </a:lnTo>
                <a:lnTo>
                  <a:pt x="4393" y="5813"/>
                </a:lnTo>
                <a:lnTo>
                  <a:pt x="4369" y="5786"/>
                </a:lnTo>
                <a:lnTo>
                  <a:pt x="4358" y="5773"/>
                </a:lnTo>
                <a:lnTo>
                  <a:pt x="4348" y="5759"/>
                </a:lnTo>
                <a:lnTo>
                  <a:pt x="4339" y="5745"/>
                </a:lnTo>
                <a:lnTo>
                  <a:pt x="4330" y="5731"/>
                </a:lnTo>
                <a:lnTo>
                  <a:pt x="4325" y="5718"/>
                </a:lnTo>
                <a:lnTo>
                  <a:pt x="4324" y="5712"/>
                </a:lnTo>
                <a:lnTo>
                  <a:pt x="4323" y="5706"/>
                </a:lnTo>
                <a:lnTo>
                  <a:pt x="4323" y="5700"/>
                </a:lnTo>
                <a:lnTo>
                  <a:pt x="4324" y="5694"/>
                </a:lnTo>
                <a:lnTo>
                  <a:pt x="4326" y="5689"/>
                </a:lnTo>
                <a:lnTo>
                  <a:pt x="4329" y="5684"/>
                </a:lnTo>
                <a:lnTo>
                  <a:pt x="4329" y="5684"/>
                </a:lnTo>
                <a:lnTo>
                  <a:pt x="4333" y="5680"/>
                </a:lnTo>
                <a:lnTo>
                  <a:pt x="4337" y="5677"/>
                </a:lnTo>
                <a:lnTo>
                  <a:pt x="4343" y="5676"/>
                </a:lnTo>
                <a:lnTo>
                  <a:pt x="4347" y="5675"/>
                </a:lnTo>
                <a:lnTo>
                  <a:pt x="4352" y="5675"/>
                </a:lnTo>
                <a:lnTo>
                  <a:pt x="4358" y="5676"/>
                </a:lnTo>
                <a:lnTo>
                  <a:pt x="4370" y="5678"/>
                </a:lnTo>
                <a:lnTo>
                  <a:pt x="4384" y="5681"/>
                </a:lnTo>
                <a:lnTo>
                  <a:pt x="4392" y="5682"/>
                </a:lnTo>
                <a:lnTo>
                  <a:pt x="4399" y="5682"/>
                </a:lnTo>
                <a:lnTo>
                  <a:pt x="4408" y="5682"/>
                </a:lnTo>
                <a:lnTo>
                  <a:pt x="4416" y="5681"/>
                </a:lnTo>
                <a:lnTo>
                  <a:pt x="4425" y="5679"/>
                </a:lnTo>
                <a:lnTo>
                  <a:pt x="4436" y="5675"/>
                </a:lnTo>
                <a:lnTo>
                  <a:pt x="4436" y="5675"/>
                </a:lnTo>
                <a:lnTo>
                  <a:pt x="4437" y="5673"/>
                </a:lnTo>
                <a:lnTo>
                  <a:pt x="4438" y="5670"/>
                </a:lnTo>
                <a:lnTo>
                  <a:pt x="4438" y="5663"/>
                </a:lnTo>
                <a:lnTo>
                  <a:pt x="4436" y="5652"/>
                </a:lnTo>
                <a:lnTo>
                  <a:pt x="4434" y="5637"/>
                </a:lnTo>
                <a:lnTo>
                  <a:pt x="4431" y="5621"/>
                </a:lnTo>
                <a:lnTo>
                  <a:pt x="4428" y="5602"/>
                </a:lnTo>
                <a:lnTo>
                  <a:pt x="4426" y="5581"/>
                </a:lnTo>
                <a:lnTo>
                  <a:pt x="4426" y="5557"/>
                </a:lnTo>
                <a:lnTo>
                  <a:pt x="4428" y="5533"/>
                </a:lnTo>
                <a:lnTo>
                  <a:pt x="4431" y="5520"/>
                </a:lnTo>
                <a:lnTo>
                  <a:pt x="4434" y="5505"/>
                </a:lnTo>
                <a:lnTo>
                  <a:pt x="4437" y="5492"/>
                </a:lnTo>
                <a:lnTo>
                  <a:pt x="4441" y="5477"/>
                </a:lnTo>
                <a:lnTo>
                  <a:pt x="4446" y="5462"/>
                </a:lnTo>
                <a:lnTo>
                  <a:pt x="4453" y="5447"/>
                </a:lnTo>
                <a:lnTo>
                  <a:pt x="4460" y="5432"/>
                </a:lnTo>
                <a:lnTo>
                  <a:pt x="4469" y="5416"/>
                </a:lnTo>
                <a:lnTo>
                  <a:pt x="4479" y="5400"/>
                </a:lnTo>
                <a:lnTo>
                  <a:pt x="4490" y="5384"/>
                </a:lnTo>
                <a:lnTo>
                  <a:pt x="4503" y="5367"/>
                </a:lnTo>
                <a:lnTo>
                  <a:pt x="4516" y="5351"/>
                </a:lnTo>
                <a:lnTo>
                  <a:pt x="4533" y="5334"/>
                </a:lnTo>
                <a:lnTo>
                  <a:pt x="4550" y="5317"/>
                </a:lnTo>
                <a:lnTo>
                  <a:pt x="4550" y="5317"/>
                </a:lnTo>
                <a:lnTo>
                  <a:pt x="4557" y="5328"/>
                </a:lnTo>
                <a:lnTo>
                  <a:pt x="4566" y="5340"/>
                </a:lnTo>
                <a:lnTo>
                  <a:pt x="4578" y="5353"/>
                </a:lnTo>
                <a:lnTo>
                  <a:pt x="4586" y="5360"/>
                </a:lnTo>
                <a:lnTo>
                  <a:pt x="4594" y="5367"/>
                </a:lnTo>
                <a:lnTo>
                  <a:pt x="4603" y="5373"/>
                </a:lnTo>
                <a:lnTo>
                  <a:pt x="4614" y="5381"/>
                </a:lnTo>
                <a:lnTo>
                  <a:pt x="4624" y="5386"/>
                </a:lnTo>
                <a:lnTo>
                  <a:pt x="4636" y="5390"/>
                </a:lnTo>
                <a:lnTo>
                  <a:pt x="4648" y="5394"/>
                </a:lnTo>
                <a:lnTo>
                  <a:pt x="4662" y="5396"/>
                </a:lnTo>
                <a:lnTo>
                  <a:pt x="4662" y="5396"/>
                </a:lnTo>
                <a:lnTo>
                  <a:pt x="4668" y="5397"/>
                </a:lnTo>
                <a:lnTo>
                  <a:pt x="4673" y="5399"/>
                </a:lnTo>
                <a:lnTo>
                  <a:pt x="4677" y="5402"/>
                </a:lnTo>
                <a:lnTo>
                  <a:pt x="4681" y="5405"/>
                </a:lnTo>
                <a:lnTo>
                  <a:pt x="4685" y="5409"/>
                </a:lnTo>
                <a:lnTo>
                  <a:pt x="4688" y="5413"/>
                </a:lnTo>
                <a:lnTo>
                  <a:pt x="4692" y="5425"/>
                </a:lnTo>
                <a:lnTo>
                  <a:pt x="4696" y="5437"/>
                </a:lnTo>
                <a:lnTo>
                  <a:pt x="4698" y="5450"/>
                </a:lnTo>
                <a:lnTo>
                  <a:pt x="4698" y="5463"/>
                </a:lnTo>
                <a:lnTo>
                  <a:pt x="4698" y="5478"/>
                </a:lnTo>
                <a:lnTo>
                  <a:pt x="4696" y="5506"/>
                </a:lnTo>
                <a:lnTo>
                  <a:pt x="4694" y="5531"/>
                </a:lnTo>
                <a:lnTo>
                  <a:pt x="4692" y="5548"/>
                </a:lnTo>
                <a:lnTo>
                  <a:pt x="4692" y="5553"/>
                </a:lnTo>
                <a:lnTo>
                  <a:pt x="4693" y="5554"/>
                </a:lnTo>
                <a:lnTo>
                  <a:pt x="4694" y="5554"/>
                </a:lnTo>
                <a:lnTo>
                  <a:pt x="4694" y="5554"/>
                </a:lnTo>
                <a:lnTo>
                  <a:pt x="4697" y="5553"/>
                </a:lnTo>
                <a:lnTo>
                  <a:pt x="4702" y="5550"/>
                </a:lnTo>
                <a:lnTo>
                  <a:pt x="4708" y="5545"/>
                </a:lnTo>
                <a:lnTo>
                  <a:pt x="4714" y="5538"/>
                </a:lnTo>
                <a:lnTo>
                  <a:pt x="4721" y="5529"/>
                </a:lnTo>
                <a:lnTo>
                  <a:pt x="4729" y="5519"/>
                </a:lnTo>
                <a:lnTo>
                  <a:pt x="4736" y="5505"/>
                </a:lnTo>
                <a:lnTo>
                  <a:pt x="4743" y="5492"/>
                </a:lnTo>
                <a:lnTo>
                  <a:pt x="4751" y="5477"/>
                </a:lnTo>
                <a:lnTo>
                  <a:pt x="4758" y="5459"/>
                </a:lnTo>
                <a:lnTo>
                  <a:pt x="4763" y="5442"/>
                </a:lnTo>
                <a:lnTo>
                  <a:pt x="4768" y="5422"/>
                </a:lnTo>
                <a:lnTo>
                  <a:pt x="4771" y="5402"/>
                </a:lnTo>
                <a:lnTo>
                  <a:pt x="4773" y="5382"/>
                </a:lnTo>
                <a:lnTo>
                  <a:pt x="4772" y="5360"/>
                </a:lnTo>
                <a:lnTo>
                  <a:pt x="4770" y="5338"/>
                </a:lnTo>
                <a:lnTo>
                  <a:pt x="4770" y="5338"/>
                </a:lnTo>
                <a:lnTo>
                  <a:pt x="4778" y="5330"/>
                </a:lnTo>
                <a:lnTo>
                  <a:pt x="4798" y="5313"/>
                </a:lnTo>
                <a:lnTo>
                  <a:pt x="4809" y="5302"/>
                </a:lnTo>
                <a:lnTo>
                  <a:pt x="4819" y="5290"/>
                </a:lnTo>
                <a:lnTo>
                  <a:pt x="4827" y="5276"/>
                </a:lnTo>
                <a:lnTo>
                  <a:pt x="4830" y="5270"/>
                </a:lnTo>
                <a:lnTo>
                  <a:pt x="4832" y="5264"/>
                </a:lnTo>
                <a:lnTo>
                  <a:pt x="4832" y="5264"/>
                </a:lnTo>
                <a:lnTo>
                  <a:pt x="4834" y="5255"/>
                </a:lnTo>
                <a:lnTo>
                  <a:pt x="4835" y="5246"/>
                </a:lnTo>
                <a:lnTo>
                  <a:pt x="4836" y="5237"/>
                </a:lnTo>
                <a:lnTo>
                  <a:pt x="4835" y="5230"/>
                </a:lnTo>
                <a:lnTo>
                  <a:pt x="4834" y="5224"/>
                </a:lnTo>
                <a:lnTo>
                  <a:pt x="4832" y="5218"/>
                </a:lnTo>
                <a:lnTo>
                  <a:pt x="4830" y="5213"/>
                </a:lnTo>
                <a:lnTo>
                  <a:pt x="4827" y="5208"/>
                </a:lnTo>
                <a:lnTo>
                  <a:pt x="4819" y="5199"/>
                </a:lnTo>
                <a:lnTo>
                  <a:pt x="4810" y="5189"/>
                </a:lnTo>
                <a:lnTo>
                  <a:pt x="4800" y="5180"/>
                </a:lnTo>
                <a:lnTo>
                  <a:pt x="4789" y="5169"/>
                </a:lnTo>
                <a:lnTo>
                  <a:pt x="4778" y="5156"/>
                </a:lnTo>
                <a:lnTo>
                  <a:pt x="4772" y="5148"/>
                </a:lnTo>
                <a:lnTo>
                  <a:pt x="4767" y="5139"/>
                </a:lnTo>
                <a:lnTo>
                  <a:pt x="4762" y="5130"/>
                </a:lnTo>
                <a:lnTo>
                  <a:pt x="4757" y="5120"/>
                </a:lnTo>
                <a:lnTo>
                  <a:pt x="4753" y="5108"/>
                </a:lnTo>
                <a:lnTo>
                  <a:pt x="4749" y="5095"/>
                </a:lnTo>
                <a:lnTo>
                  <a:pt x="4744" y="5081"/>
                </a:lnTo>
                <a:lnTo>
                  <a:pt x="4741" y="5065"/>
                </a:lnTo>
                <a:lnTo>
                  <a:pt x="4738" y="5048"/>
                </a:lnTo>
                <a:lnTo>
                  <a:pt x="4736" y="5029"/>
                </a:lnTo>
                <a:lnTo>
                  <a:pt x="4735" y="5008"/>
                </a:lnTo>
                <a:lnTo>
                  <a:pt x="4734" y="4986"/>
                </a:lnTo>
                <a:lnTo>
                  <a:pt x="4734" y="4961"/>
                </a:lnTo>
                <a:lnTo>
                  <a:pt x="4735" y="4935"/>
                </a:lnTo>
                <a:lnTo>
                  <a:pt x="4735" y="4935"/>
                </a:lnTo>
                <a:lnTo>
                  <a:pt x="4735" y="4917"/>
                </a:lnTo>
                <a:lnTo>
                  <a:pt x="4734" y="4911"/>
                </a:lnTo>
                <a:lnTo>
                  <a:pt x="4733" y="4906"/>
                </a:lnTo>
                <a:lnTo>
                  <a:pt x="4731" y="4901"/>
                </a:lnTo>
                <a:lnTo>
                  <a:pt x="4729" y="4897"/>
                </a:lnTo>
                <a:lnTo>
                  <a:pt x="4727" y="4894"/>
                </a:lnTo>
                <a:lnTo>
                  <a:pt x="4724" y="4891"/>
                </a:lnTo>
                <a:lnTo>
                  <a:pt x="4716" y="4885"/>
                </a:lnTo>
                <a:lnTo>
                  <a:pt x="4706" y="4878"/>
                </a:lnTo>
                <a:lnTo>
                  <a:pt x="4693" y="4868"/>
                </a:lnTo>
                <a:lnTo>
                  <a:pt x="4679" y="4856"/>
                </a:lnTo>
                <a:lnTo>
                  <a:pt x="4679" y="4856"/>
                </a:lnTo>
                <a:lnTo>
                  <a:pt x="4671" y="4846"/>
                </a:lnTo>
                <a:lnTo>
                  <a:pt x="4664" y="4836"/>
                </a:lnTo>
                <a:lnTo>
                  <a:pt x="4659" y="4825"/>
                </a:lnTo>
                <a:lnTo>
                  <a:pt x="4655" y="4815"/>
                </a:lnTo>
                <a:lnTo>
                  <a:pt x="4654" y="4807"/>
                </a:lnTo>
                <a:lnTo>
                  <a:pt x="4654" y="4804"/>
                </a:lnTo>
                <a:lnTo>
                  <a:pt x="4654" y="4802"/>
                </a:lnTo>
                <a:lnTo>
                  <a:pt x="4657" y="4800"/>
                </a:lnTo>
                <a:lnTo>
                  <a:pt x="4659" y="4799"/>
                </a:lnTo>
                <a:lnTo>
                  <a:pt x="4661" y="4799"/>
                </a:lnTo>
                <a:lnTo>
                  <a:pt x="4665" y="4800"/>
                </a:lnTo>
                <a:lnTo>
                  <a:pt x="4665" y="4800"/>
                </a:lnTo>
                <a:lnTo>
                  <a:pt x="4679" y="4806"/>
                </a:lnTo>
                <a:lnTo>
                  <a:pt x="4693" y="4810"/>
                </a:lnTo>
                <a:lnTo>
                  <a:pt x="4708" y="4813"/>
                </a:lnTo>
                <a:lnTo>
                  <a:pt x="4723" y="4814"/>
                </a:lnTo>
                <a:lnTo>
                  <a:pt x="4737" y="4815"/>
                </a:lnTo>
                <a:lnTo>
                  <a:pt x="4752" y="4816"/>
                </a:lnTo>
                <a:lnTo>
                  <a:pt x="4765" y="4815"/>
                </a:lnTo>
                <a:lnTo>
                  <a:pt x="4778" y="4814"/>
                </a:lnTo>
                <a:lnTo>
                  <a:pt x="4802" y="4811"/>
                </a:lnTo>
                <a:lnTo>
                  <a:pt x="4819" y="4807"/>
                </a:lnTo>
                <a:lnTo>
                  <a:pt x="4835" y="4803"/>
                </a:lnTo>
                <a:lnTo>
                  <a:pt x="4835" y="4803"/>
                </a:lnTo>
                <a:lnTo>
                  <a:pt x="4844" y="4707"/>
                </a:lnTo>
                <a:lnTo>
                  <a:pt x="4849" y="4632"/>
                </a:lnTo>
                <a:lnTo>
                  <a:pt x="4851" y="4577"/>
                </a:lnTo>
                <a:lnTo>
                  <a:pt x="4851" y="4539"/>
                </a:lnTo>
                <a:lnTo>
                  <a:pt x="4849" y="4514"/>
                </a:lnTo>
                <a:lnTo>
                  <a:pt x="4847" y="4499"/>
                </a:lnTo>
                <a:lnTo>
                  <a:pt x="4845" y="4493"/>
                </a:lnTo>
                <a:lnTo>
                  <a:pt x="4844" y="4491"/>
                </a:lnTo>
                <a:lnTo>
                  <a:pt x="4844" y="4491"/>
                </a:lnTo>
                <a:lnTo>
                  <a:pt x="4825" y="4492"/>
                </a:lnTo>
                <a:lnTo>
                  <a:pt x="4808" y="4491"/>
                </a:lnTo>
                <a:lnTo>
                  <a:pt x="4791" y="4490"/>
                </a:lnTo>
                <a:lnTo>
                  <a:pt x="4776" y="4489"/>
                </a:lnTo>
                <a:lnTo>
                  <a:pt x="4763" y="4487"/>
                </a:lnTo>
                <a:lnTo>
                  <a:pt x="4750" y="4484"/>
                </a:lnTo>
                <a:lnTo>
                  <a:pt x="4737" y="4481"/>
                </a:lnTo>
                <a:lnTo>
                  <a:pt x="4726" y="4477"/>
                </a:lnTo>
                <a:lnTo>
                  <a:pt x="4716" y="4473"/>
                </a:lnTo>
                <a:lnTo>
                  <a:pt x="4707" y="4469"/>
                </a:lnTo>
                <a:lnTo>
                  <a:pt x="4698" y="4463"/>
                </a:lnTo>
                <a:lnTo>
                  <a:pt x="4690" y="4458"/>
                </a:lnTo>
                <a:lnTo>
                  <a:pt x="4683" y="4452"/>
                </a:lnTo>
                <a:lnTo>
                  <a:pt x="4676" y="4447"/>
                </a:lnTo>
                <a:lnTo>
                  <a:pt x="4665" y="4434"/>
                </a:lnTo>
                <a:lnTo>
                  <a:pt x="4665" y="4434"/>
                </a:lnTo>
                <a:lnTo>
                  <a:pt x="4677" y="4437"/>
                </a:lnTo>
                <a:lnTo>
                  <a:pt x="4690" y="4439"/>
                </a:lnTo>
                <a:lnTo>
                  <a:pt x="4717" y="4441"/>
                </a:lnTo>
                <a:lnTo>
                  <a:pt x="4742" y="4441"/>
                </a:lnTo>
                <a:lnTo>
                  <a:pt x="4768" y="4439"/>
                </a:lnTo>
                <a:lnTo>
                  <a:pt x="4790" y="4435"/>
                </a:lnTo>
                <a:lnTo>
                  <a:pt x="4812" y="4429"/>
                </a:lnTo>
                <a:lnTo>
                  <a:pt x="4821" y="4426"/>
                </a:lnTo>
                <a:lnTo>
                  <a:pt x="4829" y="4422"/>
                </a:lnTo>
                <a:lnTo>
                  <a:pt x="4838" y="4416"/>
                </a:lnTo>
                <a:lnTo>
                  <a:pt x="4844" y="4412"/>
                </a:lnTo>
                <a:lnTo>
                  <a:pt x="4844" y="4412"/>
                </a:lnTo>
                <a:lnTo>
                  <a:pt x="4843" y="4364"/>
                </a:lnTo>
                <a:lnTo>
                  <a:pt x="4841" y="4316"/>
                </a:lnTo>
                <a:lnTo>
                  <a:pt x="4838" y="4261"/>
                </a:lnTo>
                <a:lnTo>
                  <a:pt x="4833" y="4206"/>
                </a:lnTo>
                <a:lnTo>
                  <a:pt x="4831" y="4181"/>
                </a:lnTo>
                <a:lnTo>
                  <a:pt x="4828" y="4159"/>
                </a:lnTo>
                <a:lnTo>
                  <a:pt x="4825" y="4140"/>
                </a:lnTo>
                <a:lnTo>
                  <a:pt x="4822" y="4126"/>
                </a:lnTo>
                <a:lnTo>
                  <a:pt x="4820" y="4121"/>
                </a:lnTo>
                <a:lnTo>
                  <a:pt x="4818" y="4118"/>
                </a:lnTo>
                <a:lnTo>
                  <a:pt x="4816" y="4116"/>
                </a:lnTo>
                <a:lnTo>
                  <a:pt x="4814" y="4116"/>
                </a:lnTo>
                <a:lnTo>
                  <a:pt x="4814" y="4116"/>
                </a:lnTo>
                <a:lnTo>
                  <a:pt x="4786" y="4123"/>
                </a:lnTo>
                <a:lnTo>
                  <a:pt x="4760" y="4128"/>
                </a:lnTo>
                <a:lnTo>
                  <a:pt x="4746" y="4129"/>
                </a:lnTo>
                <a:lnTo>
                  <a:pt x="4734" y="4130"/>
                </a:lnTo>
                <a:lnTo>
                  <a:pt x="4722" y="4130"/>
                </a:lnTo>
                <a:lnTo>
                  <a:pt x="4711" y="4129"/>
                </a:lnTo>
                <a:lnTo>
                  <a:pt x="4698" y="4127"/>
                </a:lnTo>
                <a:lnTo>
                  <a:pt x="4687" y="4125"/>
                </a:lnTo>
                <a:lnTo>
                  <a:pt x="4675" y="4122"/>
                </a:lnTo>
                <a:lnTo>
                  <a:pt x="4664" y="4118"/>
                </a:lnTo>
                <a:lnTo>
                  <a:pt x="4652" y="4113"/>
                </a:lnTo>
                <a:lnTo>
                  <a:pt x="4640" y="4108"/>
                </a:lnTo>
                <a:lnTo>
                  <a:pt x="4629" y="4100"/>
                </a:lnTo>
                <a:lnTo>
                  <a:pt x="4618" y="4093"/>
                </a:lnTo>
                <a:lnTo>
                  <a:pt x="4618" y="4093"/>
                </a:lnTo>
                <a:lnTo>
                  <a:pt x="4613" y="4090"/>
                </a:lnTo>
                <a:lnTo>
                  <a:pt x="4608" y="4086"/>
                </a:lnTo>
                <a:lnTo>
                  <a:pt x="4602" y="4078"/>
                </a:lnTo>
                <a:lnTo>
                  <a:pt x="4597" y="4069"/>
                </a:lnTo>
                <a:lnTo>
                  <a:pt x="4594" y="4059"/>
                </a:lnTo>
                <a:lnTo>
                  <a:pt x="4592" y="4047"/>
                </a:lnTo>
                <a:lnTo>
                  <a:pt x="4591" y="4037"/>
                </a:lnTo>
                <a:lnTo>
                  <a:pt x="4590" y="4015"/>
                </a:lnTo>
                <a:lnTo>
                  <a:pt x="4589" y="3993"/>
                </a:lnTo>
                <a:lnTo>
                  <a:pt x="4587" y="3984"/>
                </a:lnTo>
                <a:lnTo>
                  <a:pt x="4585" y="3976"/>
                </a:lnTo>
                <a:lnTo>
                  <a:pt x="4581" y="3969"/>
                </a:lnTo>
                <a:lnTo>
                  <a:pt x="4575" y="3962"/>
                </a:lnTo>
                <a:lnTo>
                  <a:pt x="4571" y="3959"/>
                </a:lnTo>
                <a:lnTo>
                  <a:pt x="4567" y="3957"/>
                </a:lnTo>
                <a:lnTo>
                  <a:pt x="4561" y="3956"/>
                </a:lnTo>
                <a:lnTo>
                  <a:pt x="4556" y="3955"/>
                </a:lnTo>
                <a:lnTo>
                  <a:pt x="4556" y="3955"/>
                </a:lnTo>
                <a:lnTo>
                  <a:pt x="4534" y="3948"/>
                </a:lnTo>
                <a:lnTo>
                  <a:pt x="4511" y="3941"/>
                </a:lnTo>
                <a:lnTo>
                  <a:pt x="4489" y="3933"/>
                </a:lnTo>
                <a:lnTo>
                  <a:pt x="4468" y="3923"/>
                </a:lnTo>
                <a:lnTo>
                  <a:pt x="4448" y="3913"/>
                </a:lnTo>
                <a:lnTo>
                  <a:pt x="4428" y="3902"/>
                </a:lnTo>
                <a:lnTo>
                  <a:pt x="4410" y="3892"/>
                </a:lnTo>
                <a:lnTo>
                  <a:pt x="4394" y="3881"/>
                </a:lnTo>
                <a:lnTo>
                  <a:pt x="4377" y="3869"/>
                </a:lnTo>
                <a:lnTo>
                  <a:pt x="4363" y="3859"/>
                </a:lnTo>
                <a:lnTo>
                  <a:pt x="4337" y="3839"/>
                </a:lnTo>
                <a:lnTo>
                  <a:pt x="4318" y="3820"/>
                </a:lnTo>
                <a:lnTo>
                  <a:pt x="4306" y="3805"/>
                </a:lnTo>
                <a:lnTo>
                  <a:pt x="4306" y="3805"/>
                </a:lnTo>
                <a:lnTo>
                  <a:pt x="4297" y="3793"/>
                </a:lnTo>
                <a:lnTo>
                  <a:pt x="4288" y="3780"/>
                </a:lnTo>
                <a:lnTo>
                  <a:pt x="4282" y="3769"/>
                </a:lnTo>
                <a:lnTo>
                  <a:pt x="4277" y="3758"/>
                </a:lnTo>
                <a:lnTo>
                  <a:pt x="4273" y="3748"/>
                </a:lnTo>
                <a:lnTo>
                  <a:pt x="4270" y="3739"/>
                </a:lnTo>
                <a:lnTo>
                  <a:pt x="4266" y="3722"/>
                </a:lnTo>
                <a:lnTo>
                  <a:pt x="4265" y="3709"/>
                </a:lnTo>
                <a:lnTo>
                  <a:pt x="4265" y="3699"/>
                </a:lnTo>
                <a:lnTo>
                  <a:pt x="4266" y="3690"/>
                </a:lnTo>
                <a:lnTo>
                  <a:pt x="4266" y="3690"/>
                </a:lnTo>
                <a:lnTo>
                  <a:pt x="4284" y="3700"/>
                </a:lnTo>
                <a:lnTo>
                  <a:pt x="4302" y="3706"/>
                </a:lnTo>
                <a:lnTo>
                  <a:pt x="4321" y="3711"/>
                </a:lnTo>
                <a:lnTo>
                  <a:pt x="4340" y="3714"/>
                </a:lnTo>
                <a:lnTo>
                  <a:pt x="4358" y="3716"/>
                </a:lnTo>
                <a:lnTo>
                  <a:pt x="4377" y="3715"/>
                </a:lnTo>
                <a:lnTo>
                  <a:pt x="4396" y="3712"/>
                </a:lnTo>
                <a:lnTo>
                  <a:pt x="4414" y="3708"/>
                </a:lnTo>
                <a:lnTo>
                  <a:pt x="4434" y="3468"/>
                </a:lnTo>
                <a:lnTo>
                  <a:pt x="4434" y="3468"/>
                </a:lnTo>
                <a:lnTo>
                  <a:pt x="4425" y="3467"/>
                </a:lnTo>
                <a:lnTo>
                  <a:pt x="4405" y="3464"/>
                </a:lnTo>
                <a:lnTo>
                  <a:pt x="4392" y="3461"/>
                </a:lnTo>
                <a:lnTo>
                  <a:pt x="4377" y="3457"/>
                </a:lnTo>
                <a:lnTo>
                  <a:pt x="4362" y="3453"/>
                </a:lnTo>
                <a:lnTo>
                  <a:pt x="4348" y="3447"/>
                </a:lnTo>
                <a:lnTo>
                  <a:pt x="4348" y="3447"/>
                </a:lnTo>
                <a:lnTo>
                  <a:pt x="4339" y="3443"/>
                </a:lnTo>
                <a:lnTo>
                  <a:pt x="4331" y="3438"/>
                </a:lnTo>
                <a:lnTo>
                  <a:pt x="4323" y="3432"/>
                </a:lnTo>
                <a:lnTo>
                  <a:pt x="4316" y="3426"/>
                </a:lnTo>
                <a:lnTo>
                  <a:pt x="4302" y="3412"/>
                </a:lnTo>
                <a:lnTo>
                  <a:pt x="4289" y="3399"/>
                </a:lnTo>
                <a:lnTo>
                  <a:pt x="4280" y="3386"/>
                </a:lnTo>
                <a:lnTo>
                  <a:pt x="4273" y="3376"/>
                </a:lnTo>
                <a:lnTo>
                  <a:pt x="4267" y="3366"/>
                </a:lnTo>
                <a:lnTo>
                  <a:pt x="4267" y="3366"/>
                </a:lnTo>
                <a:lnTo>
                  <a:pt x="4274" y="3369"/>
                </a:lnTo>
                <a:lnTo>
                  <a:pt x="4293" y="3377"/>
                </a:lnTo>
                <a:lnTo>
                  <a:pt x="4321" y="3385"/>
                </a:lnTo>
                <a:lnTo>
                  <a:pt x="4339" y="3389"/>
                </a:lnTo>
                <a:lnTo>
                  <a:pt x="4356" y="3392"/>
                </a:lnTo>
                <a:lnTo>
                  <a:pt x="4356" y="3392"/>
                </a:lnTo>
                <a:lnTo>
                  <a:pt x="4375" y="3394"/>
                </a:lnTo>
                <a:lnTo>
                  <a:pt x="4392" y="3395"/>
                </a:lnTo>
                <a:lnTo>
                  <a:pt x="4407" y="3393"/>
                </a:lnTo>
                <a:lnTo>
                  <a:pt x="4419" y="3391"/>
                </a:lnTo>
                <a:lnTo>
                  <a:pt x="4430" y="3389"/>
                </a:lnTo>
                <a:lnTo>
                  <a:pt x="4438" y="3387"/>
                </a:lnTo>
                <a:lnTo>
                  <a:pt x="4444" y="3384"/>
                </a:lnTo>
                <a:lnTo>
                  <a:pt x="4477" y="3113"/>
                </a:lnTo>
                <a:lnTo>
                  <a:pt x="4477" y="3113"/>
                </a:lnTo>
                <a:lnTo>
                  <a:pt x="4451" y="3114"/>
                </a:lnTo>
                <a:lnTo>
                  <a:pt x="4427" y="3113"/>
                </a:lnTo>
                <a:lnTo>
                  <a:pt x="4408" y="3111"/>
                </a:lnTo>
                <a:lnTo>
                  <a:pt x="4392" y="3106"/>
                </a:lnTo>
                <a:lnTo>
                  <a:pt x="4377" y="3100"/>
                </a:lnTo>
                <a:lnTo>
                  <a:pt x="4365" y="3093"/>
                </a:lnTo>
                <a:lnTo>
                  <a:pt x="4356" y="3085"/>
                </a:lnTo>
                <a:lnTo>
                  <a:pt x="4348" y="3077"/>
                </a:lnTo>
                <a:lnTo>
                  <a:pt x="4343" y="3069"/>
                </a:lnTo>
                <a:lnTo>
                  <a:pt x="4337" y="3060"/>
                </a:lnTo>
                <a:lnTo>
                  <a:pt x="4335" y="3051"/>
                </a:lnTo>
                <a:lnTo>
                  <a:pt x="4333" y="3043"/>
                </a:lnTo>
                <a:lnTo>
                  <a:pt x="4332" y="3035"/>
                </a:lnTo>
                <a:lnTo>
                  <a:pt x="4331" y="3029"/>
                </a:lnTo>
                <a:lnTo>
                  <a:pt x="4332" y="3020"/>
                </a:lnTo>
                <a:lnTo>
                  <a:pt x="4332" y="3020"/>
                </a:lnTo>
                <a:lnTo>
                  <a:pt x="4357" y="3015"/>
                </a:lnTo>
                <a:lnTo>
                  <a:pt x="4381" y="3009"/>
                </a:lnTo>
                <a:lnTo>
                  <a:pt x="4405" y="3001"/>
                </a:lnTo>
                <a:lnTo>
                  <a:pt x="4428" y="2994"/>
                </a:lnTo>
                <a:lnTo>
                  <a:pt x="4451" y="2985"/>
                </a:lnTo>
                <a:lnTo>
                  <a:pt x="4473" y="2975"/>
                </a:lnTo>
                <a:lnTo>
                  <a:pt x="4495" y="2964"/>
                </a:lnTo>
                <a:lnTo>
                  <a:pt x="4515" y="2951"/>
                </a:lnTo>
                <a:lnTo>
                  <a:pt x="4536" y="2939"/>
                </a:lnTo>
                <a:lnTo>
                  <a:pt x="4555" y="2926"/>
                </a:lnTo>
                <a:lnTo>
                  <a:pt x="4574" y="2911"/>
                </a:lnTo>
                <a:lnTo>
                  <a:pt x="4592" y="2896"/>
                </a:lnTo>
                <a:lnTo>
                  <a:pt x="4609" y="2881"/>
                </a:lnTo>
                <a:lnTo>
                  <a:pt x="4627" y="2864"/>
                </a:lnTo>
                <a:lnTo>
                  <a:pt x="4642" y="2848"/>
                </a:lnTo>
                <a:lnTo>
                  <a:pt x="4659" y="2831"/>
                </a:lnTo>
                <a:lnTo>
                  <a:pt x="4673" y="2812"/>
                </a:lnTo>
                <a:lnTo>
                  <a:pt x="4688" y="2794"/>
                </a:lnTo>
                <a:lnTo>
                  <a:pt x="4702" y="2775"/>
                </a:lnTo>
                <a:lnTo>
                  <a:pt x="4715" y="2756"/>
                </a:lnTo>
                <a:lnTo>
                  <a:pt x="4727" y="2737"/>
                </a:lnTo>
                <a:lnTo>
                  <a:pt x="4738" y="2717"/>
                </a:lnTo>
                <a:lnTo>
                  <a:pt x="4750" y="2698"/>
                </a:lnTo>
                <a:lnTo>
                  <a:pt x="4760" y="2677"/>
                </a:lnTo>
                <a:lnTo>
                  <a:pt x="4770" y="2657"/>
                </a:lnTo>
                <a:lnTo>
                  <a:pt x="4779" y="2636"/>
                </a:lnTo>
                <a:lnTo>
                  <a:pt x="4787" y="2616"/>
                </a:lnTo>
                <a:lnTo>
                  <a:pt x="4796" y="2595"/>
                </a:lnTo>
                <a:lnTo>
                  <a:pt x="4803" y="2575"/>
                </a:lnTo>
                <a:lnTo>
                  <a:pt x="4809" y="2555"/>
                </a:lnTo>
                <a:lnTo>
                  <a:pt x="4815" y="2534"/>
                </a:lnTo>
                <a:lnTo>
                  <a:pt x="4820" y="2515"/>
                </a:lnTo>
                <a:lnTo>
                  <a:pt x="4820" y="2515"/>
                </a:lnTo>
                <a:lnTo>
                  <a:pt x="4831" y="2521"/>
                </a:lnTo>
                <a:lnTo>
                  <a:pt x="4847" y="2527"/>
                </a:lnTo>
                <a:lnTo>
                  <a:pt x="4864" y="2533"/>
                </a:lnTo>
                <a:lnTo>
                  <a:pt x="4882" y="2538"/>
                </a:lnTo>
                <a:lnTo>
                  <a:pt x="4903" y="2541"/>
                </a:lnTo>
                <a:lnTo>
                  <a:pt x="4913" y="2542"/>
                </a:lnTo>
                <a:lnTo>
                  <a:pt x="4923" y="2543"/>
                </a:lnTo>
                <a:lnTo>
                  <a:pt x="4935" y="2542"/>
                </a:lnTo>
                <a:lnTo>
                  <a:pt x="4945" y="2541"/>
                </a:lnTo>
                <a:lnTo>
                  <a:pt x="4955" y="2539"/>
                </a:lnTo>
                <a:lnTo>
                  <a:pt x="4965" y="2536"/>
                </a:lnTo>
                <a:lnTo>
                  <a:pt x="4965" y="2536"/>
                </a:lnTo>
                <a:lnTo>
                  <a:pt x="4967" y="2508"/>
                </a:lnTo>
                <a:lnTo>
                  <a:pt x="4970" y="2441"/>
                </a:lnTo>
                <a:lnTo>
                  <a:pt x="4972" y="2405"/>
                </a:lnTo>
                <a:lnTo>
                  <a:pt x="4973" y="2371"/>
                </a:lnTo>
                <a:lnTo>
                  <a:pt x="4972" y="2343"/>
                </a:lnTo>
                <a:lnTo>
                  <a:pt x="4972" y="2333"/>
                </a:lnTo>
                <a:lnTo>
                  <a:pt x="4970" y="2327"/>
                </a:lnTo>
                <a:lnTo>
                  <a:pt x="4970" y="2327"/>
                </a:lnTo>
                <a:lnTo>
                  <a:pt x="4955" y="2325"/>
                </a:lnTo>
                <a:lnTo>
                  <a:pt x="4938" y="2322"/>
                </a:lnTo>
                <a:lnTo>
                  <a:pt x="4919" y="2317"/>
                </a:lnTo>
                <a:lnTo>
                  <a:pt x="4911" y="2314"/>
                </a:lnTo>
                <a:lnTo>
                  <a:pt x="4902" y="2311"/>
                </a:lnTo>
                <a:lnTo>
                  <a:pt x="4893" y="2306"/>
                </a:lnTo>
                <a:lnTo>
                  <a:pt x="4885" y="2302"/>
                </a:lnTo>
                <a:lnTo>
                  <a:pt x="4876" y="2296"/>
                </a:lnTo>
                <a:lnTo>
                  <a:pt x="4868" y="2289"/>
                </a:lnTo>
                <a:lnTo>
                  <a:pt x="4861" y="2282"/>
                </a:lnTo>
                <a:lnTo>
                  <a:pt x="4854" y="2273"/>
                </a:lnTo>
                <a:lnTo>
                  <a:pt x="4848" y="2264"/>
                </a:lnTo>
                <a:lnTo>
                  <a:pt x="4842" y="225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86" name="Freeform 37"/>
          <p:cNvSpPr>
            <a:spLocks/>
          </p:cNvSpPr>
          <p:nvPr userDrawn="1"/>
        </p:nvSpPr>
        <p:spPr bwMode="auto">
          <a:xfrm>
            <a:off x="8332788" y="-385340"/>
            <a:ext cx="276225" cy="73025"/>
          </a:xfrm>
          <a:custGeom>
            <a:avLst/>
            <a:gdLst>
              <a:gd name="T0" fmla="*/ 0 w 349"/>
              <a:gd name="T1" fmla="*/ 34 h 91"/>
              <a:gd name="T2" fmla="*/ 0 w 349"/>
              <a:gd name="T3" fmla="*/ 34 h 91"/>
              <a:gd name="T4" fmla="*/ 20 w 349"/>
              <a:gd name="T5" fmla="*/ 49 h 91"/>
              <a:gd name="T6" fmla="*/ 38 w 349"/>
              <a:gd name="T7" fmla="*/ 60 h 91"/>
              <a:gd name="T8" fmla="*/ 38 w 349"/>
              <a:gd name="T9" fmla="*/ 60 h 91"/>
              <a:gd name="T10" fmla="*/ 69 w 349"/>
              <a:gd name="T11" fmla="*/ 71 h 91"/>
              <a:gd name="T12" fmla="*/ 89 w 349"/>
              <a:gd name="T13" fmla="*/ 78 h 91"/>
              <a:gd name="T14" fmla="*/ 111 w 349"/>
              <a:gd name="T15" fmla="*/ 84 h 91"/>
              <a:gd name="T16" fmla="*/ 137 w 349"/>
              <a:gd name="T17" fmla="*/ 87 h 91"/>
              <a:gd name="T18" fmla="*/ 164 w 349"/>
              <a:gd name="T19" fmla="*/ 91 h 91"/>
              <a:gd name="T20" fmla="*/ 194 w 349"/>
              <a:gd name="T21" fmla="*/ 91 h 91"/>
              <a:gd name="T22" fmla="*/ 226 w 349"/>
              <a:gd name="T23" fmla="*/ 89 h 91"/>
              <a:gd name="T24" fmla="*/ 226 w 349"/>
              <a:gd name="T25" fmla="*/ 89 h 91"/>
              <a:gd name="T26" fmla="*/ 256 w 349"/>
              <a:gd name="T27" fmla="*/ 86 h 91"/>
              <a:gd name="T28" fmla="*/ 279 w 349"/>
              <a:gd name="T29" fmla="*/ 80 h 91"/>
              <a:gd name="T30" fmla="*/ 301 w 349"/>
              <a:gd name="T31" fmla="*/ 75 h 91"/>
              <a:gd name="T32" fmla="*/ 318 w 349"/>
              <a:gd name="T33" fmla="*/ 69 h 91"/>
              <a:gd name="T34" fmla="*/ 342 w 349"/>
              <a:gd name="T35" fmla="*/ 56 h 91"/>
              <a:gd name="T36" fmla="*/ 349 w 349"/>
              <a:gd name="T37" fmla="*/ 53 h 91"/>
              <a:gd name="T38" fmla="*/ 349 w 349"/>
              <a:gd name="T39" fmla="*/ 53 h 91"/>
              <a:gd name="T40" fmla="*/ 338 w 349"/>
              <a:gd name="T41" fmla="*/ 49 h 91"/>
              <a:gd name="T42" fmla="*/ 329 w 349"/>
              <a:gd name="T43" fmla="*/ 44 h 91"/>
              <a:gd name="T44" fmla="*/ 314 w 349"/>
              <a:gd name="T45" fmla="*/ 31 h 91"/>
              <a:gd name="T46" fmla="*/ 314 w 349"/>
              <a:gd name="T47" fmla="*/ 31 h 91"/>
              <a:gd name="T48" fmla="*/ 312 w 349"/>
              <a:gd name="T49" fmla="*/ 38 h 91"/>
              <a:gd name="T50" fmla="*/ 312 w 349"/>
              <a:gd name="T51" fmla="*/ 38 h 91"/>
              <a:gd name="T52" fmla="*/ 311 w 349"/>
              <a:gd name="T53" fmla="*/ 51 h 91"/>
              <a:gd name="T54" fmla="*/ 311 w 349"/>
              <a:gd name="T55" fmla="*/ 51 h 91"/>
              <a:gd name="T56" fmla="*/ 303 w 349"/>
              <a:gd name="T57" fmla="*/ 49 h 91"/>
              <a:gd name="T58" fmla="*/ 303 w 349"/>
              <a:gd name="T59" fmla="*/ 49 h 91"/>
              <a:gd name="T60" fmla="*/ 298 w 349"/>
              <a:gd name="T61" fmla="*/ 45 h 91"/>
              <a:gd name="T62" fmla="*/ 292 w 349"/>
              <a:gd name="T63" fmla="*/ 40 h 91"/>
              <a:gd name="T64" fmla="*/ 289 w 349"/>
              <a:gd name="T65" fmla="*/ 33 h 91"/>
              <a:gd name="T66" fmla="*/ 287 w 349"/>
              <a:gd name="T67" fmla="*/ 23 h 91"/>
              <a:gd name="T68" fmla="*/ 287 w 349"/>
              <a:gd name="T69" fmla="*/ 23 h 91"/>
              <a:gd name="T70" fmla="*/ 287 w 349"/>
              <a:gd name="T71" fmla="*/ 22 h 91"/>
              <a:gd name="T72" fmla="*/ 287 w 349"/>
              <a:gd name="T73" fmla="*/ 22 h 91"/>
              <a:gd name="T74" fmla="*/ 272 w 349"/>
              <a:gd name="T75" fmla="*/ 27 h 91"/>
              <a:gd name="T76" fmla="*/ 252 w 349"/>
              <a:gd name="T77" fmla="*/ 33 h 91"/>
              <a:gd name="T78" fmla="*/ 228 w 349"/>
              <a:gd name="T79" fmla="*/ 38 h 91"/>
              <a:gd name="T80" fmla="*/ 205 w 349"/>
              <a:gd name="T81" fmla="*/ 40 h 91"/>
              <a:gd name="T82" fmla="*/ 205 w 349"/>
              <a:gd name="T83" fmla="*/ 40 h 91"/>
              <a:gd name="T84" fmla="*/ 161 w 349"/>
              <a:gd name="T85" fmla="*/ 38 h 91"/>
              <a:gd name="T86" fmla="*/ 139 w 349"/>
              <a:gd name="T87" fmla="*/ 36 h 91"/>
              <a:gd name="T88" fmla="*/ 117 w 349"/>
              <a:gd name="T89" fmla="*/ 33 h 91"/>
              <a:gd name="T90" fmla="*/ 95 w 349"/>
              <a:gd name="T91" fmla="*/ 29 h 91"/>
              <a:gd name="T92" fmla="*/ 73 w 349"/>
              <a:gd name="T93" fmla="*/ 22 h 91"/>
              <a:gd name="T94" fmla="*/ 51 w 349"/>
              <a:gd name="T95" fmla="*/ 14 h 91"/>
              <a:gd name="T96" fmla="*/ 31 w 349"/>
              <a:gd name="T97" fmla="*/ 7 h 91"/>
              <a:gd name="T98" fmla="*/ 31 w 349"/>
              <a:gd name="T99" fmla="*/ 7 h 91"/>
              <a:gd name="T100" fmla="*/ 15 w 349"/>
              <a:gd name="T101" fmla="*/ 0 h 91"/>
              <a:gd name="T102" fmla="*/ 15 w 349"/>
              <a:gd name="T103" fmla="*/ 0 h 91"/>
              <a:gd name="T104" fmla="*/ 15 w 349"/>
              <a:gd name="T105" fmla="*/ 1 h 91"/>
              <a:gd name="T106" fmla="*/ 15 w 349"/>
              <a:gd name="T107" fmla="*/ 5 h 91"/>
              <a:gd name="T108" fmla="*/ 18 w 349"/>
              <a:gd name="T109" fmla="*/ 14 h 91"/>
              <a:gd name="T110" fmla="*/ 25 w 349"/>
              <a:gd name="T111" fmla="*/ 25 h 91"/>
              <a:gd name="T112" fmla="*/ 25 w 349"/>
              <a:gd name="T113" fmla="*/ 25 h 91"/>
              <a:gd name="T114" fmla="*/ 16 w 349"/>
              <a:gd name="T115" fmla="*/ 23 h 91"/>
              <a:gd name="T116" fmla="*/ 7 w 349"/>
              <a:gd name="T117" fmla="*/ 27 h 91"/>
              <a:gd name="T118" fmla="*/ 7 w 349"/>
              <a:gd name="T119" fmla="*/ 27 h 91"/>
              <a:gd name="T120" fmla="*/ 2 w 349"/>
              <a:gd name="T121" fmla="*/ 31 h 91"/>
              <a:gd name="T122" fmla="*/ 0 w 349"/>
              <a:gd name="T123" fmla="*/ 3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9" h="91">
                <a:moveTo>
                  <a:pt x="0" y="34"/>
                </a:moveTo>
                <a:lnTo>
                  <a:pt x="0" y="34"/>
                </a:lnTo>
                <a:lnTo>
                  <a:pt x="20" y="49"/>
                </a:lnTo>
                <a:lnTo>
                  <a:pt x="38" y="60"/>
                </a:lnTo>
                <a:lnTo>
                  <a:pt x="38" y="60"/>
                </a:lnTo>
                <a:lnTo>
                  <a:pt x="69" y="71"/>
                </a:lnTo>
                <a:lnTo>
                  <a:pt x="89" y="78"/>
                </a:lnTo>
                <a:lnTo>
                  <a:pt x="111" y="84"/>
                </a:lnTo>
                <a:lnTo>
                  <a:pt x="137" y="87"/>
                </a:lnTo>
                <a:lnTo>
                  <a:pt x="164" y="91"/>
                </a:lnTo>
                <a:lnTo>
                  <a:pt x="194" y="91"/>
                </a:lnTo>
                <a:lnTo>
                  <a:pt x="226" y="89"/>
                </a:lnTo>
                <a:lnTo>
                  <a:pt x="226" y="89"/>
                </a:lnTo>
                <a:lnTo>
                  <a:pt x="256" y="86"/>
                </a:lnTo>
                <a:lnTo>
                  <a:pt x="279" y="80"/>
                </a:lnTo>
                <a:lnTo>
                  <a:pt x="301" y="75"/>
                </a:lnTo>
                <a:lnTo>
                  <a:pt x="318" y="69"/>
                </a:lnTo>
                <a:lnTo>
                  <a:pt x="342" y="56"/>
                </a:lnTo>
                <a:lnTo>
                  <a:pt x="349" y="53"/>
                </a:lnTo>
                <a:lnTo>
                  <a:pt x="349" y="53"/>
                </a:lnTo>
                <a:lnTo>
                  <a:pt x="338" y="49"/>
                </a:lnTo>
                <a:lnTo>
                  <a:pt x="329" y="44"/>
                </a:lnTo>
                <a:lnTo>
                  <a:pt x="314" y="31"/>
                </a:lnTo>
                <a:lnTo>
                  <a:pt x="314" y="31"/>
                </a:lnTo>
                <a:lnTo>
                  <a:pt x="312" y="38"/>
                </a:lnTo>
                <a:lnTo>
                  <a:pt x="312" y="38"/>
                </a:lnTo>
                <a:lnTo>
                  <a:pt x="311" y="51"/>
                </a:lnTo>
                <a:lnTo>
                  <a:pt x="311" y="51"/>
                </a:lnTo>
                <a:lnTo>
                  <a:pt x="303" y="49"/>
                </a:lnTo>
                <a:lnTo>
                  <a:pt x="303" y="49"/>
                </a:lnTo>
                <a:lnTo>
                  <a:pt x="298" y="45"/>
                </a:lnTo>
                <a:lnTo>
                  <a:pt x="292" y="40"/>
                </a:lnTo>
                <a:lnTo>
                  <a:pt x="289" y="33"/>
                </a:lnTo>
                <a:lnTo>
                  <a:pt x="287" y="23"/>
                </a:lnTo>
                <a:lnTo>
                  <a:pt x="287" y="23"/>
                </a:lnTo>
                <a:lnTo>
                  <a:pt x="287" y="22"/>
                </a:lnTo>
                <a:lnTo>
                  <a:pt x="287" y="22"/>
                </a:lnTo>
                <a:lnTo>
                  <a:pt x="272" y="27"/>
                </a:lnTo>
                <a:lnTo>
                  <a:pt x="252" y="33"/>
                </a:lnTo>
                <a:lnTo>
                  <a:pt x="228" y="38"/>
                </a:lnTo>
                <a:lnTo>
                  <a:pt x="205" y="40"/>
                </a:lnTo>
                <a:lnTo>
                  <a:pt x="205" y="40"/>
                </a:lnTo>
                <a:lnTo>
                  <a:pt x="161" y="38"/>
                </a:lnTo>
                <a:lnTo>
                  <a:pt x="139" y="36"/>
                </a:lnTo>
                <a:lnTo>
                  <a:pt x="117" y="33"/>
                </a:lnTo>
                <a:lnTo>
                  <a:pt x="95" y="29"/>
                </a:lnTo>
                <a:lnTo>
                  <a:pt x="73" y="22"/>
                </a:lnTo>
                <a:lnTo>
                  <a:pt x="51" y="14"/>
                </a:lnTo>
                <a:lnTo>
                  <a:pt x="31" y="7"/>
                </a:lnTo>
                <a:lnTo>
                  <a:pt x="31" y="7"/>
                </a:lnTo>
                <a:lnTo>
                  <a:pt x="15" y="0"/>
                </a:lnTo>
                <a:lnTo>
                  <a:pt x="15" y="0"/>
                </a:lnTo>
                <a:lnTo>
                  <a:pt x="15" y="1"/>
                </a:lnTo>
                <a:lnTo>
                  <a:pt x="15" y="5"/>
                </a:lnTo>
                <a:lnTo>
                  <a:pt x="18" y="14"/>
                </a:lnTo>
                <a:lnTo>
                  <a:pt x="25" y="25"/>
                </a:lnTo>
                <a:lnTo>
                  <a:pt x="25" y="25"/>
                </a:lnTo>
                <a:lnTo>
                  <a:pt x="16" y="23"/>
                </a:lnTo>
                <a:lnTo>
                  <a:pt x="7" y="27"/>
                </a:lnTo>
                <a:lnTo>
                  <a:pt x="7" y="27"/>
                </a:lnTo>
                <a:lnTo>
                  <a:pt x="2" y="31"/>
                </a:lnTo>
                <a:lnTo>
                  <a:pt x="0" y="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87" name="Freeform 38"/>
          <p:cNvSpPr>
            <a:spLocks/>
          </p:cNvSpPr>
          <p:nvPr userDrawn="1"/>
        </p:nvSpPr>
        <p:spPr bwMode="auto">
          <a:xfrm>
            <a:off x="8270875" y="-618703"/>
            <a:ext cx="282575" cy="201613"/>
          </a:xfrm>
          <a:custGeom>
            <a:avLst/>
            <a:gdLst>
              <a:gd name="T0" fmla="*/ 326 w 357"/>
              <a:gd name="T1" fmla="*/ 20 h 253"/>
              <a:gd name="T2" fmla="*/ 320 w 357"/>
              <a:gd name="T3" fmla="*/ 3 h 253"/>
              <a:gd name="T4" fmla="*/ 311 w 357"/>
              <a:gd name="T5" fmla="*/ 0 h 253"/>
              <a:gd name="T6" fmla="*/ 227 w 357"/>
              <a:gd name="T7" fmla="*/ 40 h 253"/>
              <a:gd name="T8" fmla="*/ 207 w 357"/>
              <a:gd name="T9" fmla="*/ 53 h 253"/>
              <a:gd name="T10" fmla="*/ 176 w 357"/>
              <a:gd name="T11" fmla="*/ 53 h 253"/>
              <a:gd name="T12" fmla="*/ 181 w 357"/>
              <a:gd name="T13" fmla="*/ 71 h 253"/>
              <a:gd name="T14" fmla="*/ 172 w 357"/>
              <a:gd name="T15" fmla="*/ 78 h 253"/>
              <a:gd name="T16" fmla="*/ 181 w 357"/>
              <a:gd name="T17" fmla="*/ 93 h 253"/>
              <a:gd name="T18" fmla="*/ 198 w 357"/>
              <a:gd name="T19" fmla="*/ 91 h 253"/>
              <a:gd name="T20" fmla="*/ 189 w 357"/>
              <a:gd name="T21" fmla="*/ 115 h 253"/>
              <a:gd name="T22" fmla="*/ 147 w 357"/>
              <a:gd name="T23" fmla="*/ 146 h 253"/>
              <a:gd name="T24" fmla="*/ 101 w 357"/>
              <a:gd name="T25" fmla="*/ 155 h 253"/>
              <a:gd name="T26" fmla="*/ 79 w 357"/>
              <a:gd name="T27" fmla="*/ 137 h 253"/>
              <a:gd name="T28" fmla="*/ 68 w 357"/>
              <a:gd name="T29" fmla="*/ 126 h 253"/>
              <a:gd name="T30" fmla="*/ 50 w 357"/>
              <a:gd name="T31" fmla="*/ 126 h 253"/>
              <a:gd name="T32" fmla="*/ 28 w 357"/>
              <a:gd name="T33" fmla="*/ 137 h 253"/>
              <a:gd name="T34" fmla="*/ 48 w 357"/>
              <a:gd name="T35" fmla="*/ 140 h 253"/>
              <a:gd name="T36" fmla="*/ 44 w 357"/>
              <a:gd name="T37" fmla="*/ 149 h 253"/>
              <a:gd name="T38" fmla="*/ 75 w 357"/>
              <a:gd name="T39" fmla="*/ 169 h 253"/>
              <a:gd name="T40" fmla="*/ 75 w 357"/>
              <a:gd name="T41" fmla="*/ 171 h 253"/>
              <a:gd name="T42" fmla="*/ 39 w 357"/>
              <a:gd name="T43" fmla="*/ 160 h 253"/>
              <a:gd name="T44" fmla="*/ 28 w 357"/>
              <a:gd name="T45" fmla="*/ 164 h 253"/>
              <a:gd name="T46" fmla="*/ 8 w 357"/>
              <a:gd name="T47" fmla="*/ 171 h 253"/>
              <a:gd name="T48" fmla="*/ 2 w 357"/>
              <a:gd name="T49" fmla="*/ 193 h 253"/>
              <a:gd name="T50" fmla="*/ 17 w 357"/>
              <a:gd name="T51" fmla="*/ 180 h 253"/>
              <a:gd name="T52" fmla="*/ 22 w 357"/>
              <a:gd name="T53" fmla="*/ 188 h 253"/>
              <a:gd name="T54" fmla="*/ 26 w 357"/>
              <a:gd name="T55" fmla="*/ 197 h 253"/>
              <a:gd name="T56" fmla="*/ 66 w 357"/>
              <a:gd name="T57" fmla="*/ 195 h 253"/>
              <a:gd name="T58" fmla="*/ 75 w 357"/>
              <a:gd name="T59" fmla="*/ 197 h 253"/>
              <a:gd name="T60" fmla="*/ 39 w 357"/>
              <a:gd name="T61" fmla="*/ 206 h 253"/>
              <a:gd name="T62" fmla="*/ 37 w 357"/>
              <a:gd name="T63" fmla="*/ 213 h 253"/>
              <a:gd name="T64" fmla="*/ 28 w 357"/>
              <a:gd name="T65" fmla="*/ 233 h 253"/>
              <a:gd name="T66" fmla="*/ 35 w 357"/>
              <a:gd name="T67" fmla="*/ 248 h 253"/>
              <a:gd name="T68" fmla="*/ 41 w 357"/>
              <a:gd name="T69" fmla="*/ 244 h 253"/>
              <a:gd name="T70" fmla="*/ 42 w 357"/>
              <a:gd name="T71" fmla="*/ 235 h 253"/>
              <a:gd name="T72" fmla="*/ 55 w 357"/>
              <a:gd name="T73" fmla="*/ 243 h 253"/>
              <a:gd name="T74" fmla="*/ 72 w 357"/>
              <a:gd name="T75" fmla="*/ 232 h 253"/>
              <a:gd name="T76" fmla="*/ 94 w 357"/>
              <a:gd name="T77" fmla="*/ 213 h 253"/>
              <a:gd name="T78" fmla="*/ 108 w 357"/>
              <a:gd name="T79" fmla="*/ 211 h 253"/>
              <a:gd name="T80" fmla="*/ 110 w 357"/>
              <a:gd name="T81" fmla="*/ 222 h 253"/>
              <a:gd name="T82" fmla="*/ 115 w 357"/>
              <a:gd name="T83" fmla="*/ 233 h 253"/>
              <a:gd name="T84" fmla="*/ 114 w 357"/>
              <a:gd name="T85" fmla="*/ 243 h 253"/>
              <a:gd name="T86" fmla="*/ 136 w 357"/>
              <a:gd name="T87" fmla="*/ 224 h 253"/>
              <a:gd name="T88" fmla="*/ 141 w 357"/>
              <a:gd name="T89" fmla="*/ 219 h 253"/>
              <a:gd name="T90" fmla="*/ 145 w 357"/>
              <a:gd name="T91" fmla="*/ 211 h 253"/>
              <a:gd name="T92" fmla="*/ 147 w 357"/>
              <a:gd name="T93" fmla="*/ 200 h 253"/>
              <a:gd name="T94" fmla="*/ 167 w 357"/>
              <a:gd name="T95" fmla="*/ 193 h 253"/>
              <a:gd name="T96" fmla="*/ 170 w 357"/>
              <a:gd name="T97" fmla="*/ 180 h 253"/>
              <a:gd name="T98" fmla="*/ 181 w 357"/>
              <a:gd name="T99" fmla="*/ 179 h 253"/>
              <a:gd name="T100" fmla="*/ 199 w 357"/>
              <a:gd name="T101" fmla="*/ 197 h 253"/>
              <a:gd name="T102" fmla="*/ 231 w 357"/>
              <a:gd name="T103" fmla="*/ 182 h 253"/>
              <a:gd name="T104" fmla="*/ 227 w 357"/>
              <a:gd name="T105" fmla="*/ 169 h 253"/>
              <a:gd name="T106" fmla="*/ 223 w 357"/>
              <a:gd name="T107" fmla="*/ 155 h 253"/>
              <a:gd name="T108" fmla="*/ 245 w 357"/>
              <a:gd name="T109" fmla="*/ 173 h 253"/>
              <a:gd name="T110" fmla="*/ 276 w 357"/>
              <a:gd name="T111" fmla="*/ 155 h 253"/>
              <a:gd name="T112" fmla="*/ 273 w 357"/>
              <a:gd name="T113" fmla="*/ 149 h 253"/>
              <a:gd name="T114" fmla="*/ 263 w 357"/>
              <a:gd name="T115" fmla="*/ 131 h 253"/>
              <a:gd name="T116" fmla="*/ 262 w 357"/>
              <a:gd name="T117" fmla="*/ 115 h 253"/>
              <a:gd name="T118" fmla="*/ 262 w 357"/>
              <a:gd name="T119" fmla="*/ 98 h 253"/>
              <a:gd name="T120" fmla="*/ 353 w 357"/>
              <a:gd name="T121" fmla="*/ 45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7" h="253">
                <a:moveTo>
                  <a:pt x="344" y="31"/>
                </a:moveTo>
                <a:lnTo>
                  <a:pt x="344" y="31"/>
                </a:lnTo>
                <a:lnTo>
                  <a:pt x="335" y="23"/>
                </a:lnTo>
                <a:lnTo>
                  <a:pt x="326" y="20"/>
                </a:lnTo>
                <a:lnTo>
                  <a:pt x="309" y="12"/>
                </a:lnTo>
                <a:lnTo>
                  <a:pt x="309" y="12"/>
                </a:lnTo>
                <a:lnTo>
                  <a:pt x="316" y="7"/>
                </a:lnTo>
                <a:lnTo>
                  <a:pt x="320" y="3"/>
                </a:lnTo>
                <a:lnTo>
                  <a:pt x="320" y="1"/>
                </a:lnTo>
                <a:lnTo>
                  <a:pt x="320" y="1"/>
                </a:lnTo>
                <a:lnTo>
                  <a:pt x="315" y="0"/>
                </a:lnTo>
                <a:lnTo>
                  <a:pt x="311" y="0"/>
                </a:lnTo>
                <a:lnTo>
                  <a:pt x="311" y="0"/>
                </a:lnTo>
                <a:lnTo>
                  <a:pt x="280" y="12"/>
                </a:lnTo>
                <a:lnTo>
                  <a:pt x="252" y="25"/>
                </a:lnTo>
                <a:lnTo>
                  <a:pt x="227" y="40"/>
                </a:lnTo>
                <a:lnTo>
                  <a:pt x="209" y="53"/>
                </a:lnTo>
                <a:lnTo>
                  <a:pt x="209" y="53"/>
                </a:lnTo>
                <a:lnTo>
                  <a:pt x="207" y="53"/>
                </a:lnTo>
                <a:lnTo>
                  <a:pt x="207" y="53"/>
                </a:lnTo>
                <a:lnTo>
                  <a:pt x="201" y="56"/>
                </a:lnTo>
                <a:lnTo>
                  <a:pt x="196" y="56"/>
                </a:lnTo>
                <a:lnTo>
                  <a:pt x="185" y="54"/>
                </a:lnTo>
                <a:lnTo>
                  <a:pt x="176" y="53"/>
                </a:lnTo>
                <a:lnTo>
                  <a:pt x="174" y="51"/>
                </a:lnTo>
                <a:lnTo>
                  <a:pt x="170" y="67"/>
                </a:lnTo>
                <a:lnTo>
                  <a:pt x="170" y="67"/>
                </a:lnTo>
                <a:lnTo>
                  <a:pt x="181" y="71"/>
                </a:lnTo>
                <a:lnTo>
                  <a:pt x="189" y="74"/>
                </a:lnTo>
                <a:lnTo>
                  <a:pt x="189" y="74"/>
                </a:lnTo>
                <a:lnTo>
                  <a:pt x="178" y="76"/>
                </a:lnTo>
                <a:lnTo>
                  <a:pt x="172" y="78"/>
                </a:lnTo>
                <a:lnTo>
                  <a:pt x="168" y="82"/>
                </a:lnTo>
                <a:lnTo>
                  <a:pt x="174" y="96"/>
                </a:lnTo>
                <a:lnTo>
                  <a:pt x="174" y="96"/>
                </a:lnTo>
                <a:lnTo>
                  <a:pt x="181" y="93"/>
                </a:lnTo>
                <a:lnTo>
                  <a:pt x="189" y="91"/>
                </a:lnTo>
                <a:lnTo>
                  <a:pt x="198" y="89"/>
                </a:lnTo>
                <a:lnTo>
                  <a:pt x="198" y="89"/>
                </a:lnTo>
                <a:lnTo>
                  <a:pt x="198" y="91"/>
                </a:lnTo>
                <a:lnTo>
                  <a:pt x="198" y="91"/>
                </a:lnTo>
                <a:lnTo>
                  <a:pt x="198" y="98"/>
                </a:lnTo>
                <a:lnTo>
                  <a:pt x="194" y="105"/>
                </a:lnTo>
                <a:lnTo>
                  <a:pt x="189" y="115"/>
                </a:lnTo>
                <a:lnTo>
                  <a:pt x="181" y="122"/>
                </a:lnTo>
                <a:lnTo>
                  <a:pt x="165" y="137"/>
                </a:lnTo>
                <a:lnTo>
                  <a:pt x="156" y="142"/>
                </a:lnTo>
                <a:lnTo>
                  <a:pt x="147" y="146"/>
                </a:lnTo>
                <a:lnTo>
                  <a:pt x="147" y="146"/>
                </a:lnTo>
                <a:lnTo>
                  <a:pt x="128" y="151"/>
                </a:lnTo>
                <a:lnTo>
                  <a:pt x="112" y="155"/>
                </a:lnTo>
                <a:lnTo>
                  <a:pt x="101" y="155"/>
                </a:lnTo>
                <a:lnTo>
                  <a:pt x="95" y="153"/>
                </a:lnTo>
                <a:lnTo>
                  <a:pt x="95" y="153"/>
                </a:lnTo>
                <a:lnTo>
                  <a:pt x="84" y="144"/>
                </a:lnTo>
                <a:lnTo>
                  <a:pt x="79" y="137"/>
                </a:lnTo>
                <a:lnTo>
                  <a:pt x="73" y="129"/>
                </a:lnTo>
                <a:lnTo>
                  <a:pt x="72" y="126"/>
                </a:lnTo>
                <a:lnTo>
                  <a:pt x="68" y="126"/>
                </a:lnTo>
                <a:lnTo>
                  <a:pt x="68" y="126"/>
                </a:lnTo>
                <a:lnTo>
                  <a:pt x="64" y="126"/>
                </a:lnTo>
                <a:lnTo>
                  <a:pt x="61" y="127"/>
                </a:lnTo>
                <a:lnTo>
                  <a:pt x="61" y="127"/>
                </a:lnTo>
                <a:lnTo>
                  <a:pt x="50" y="126"/>
                </a:lnTo>
                <a:lnTo>
                  <a:pt x="41" y="127"/>
                </a:lnTo>
                <a:lnTo>
                  <a:pt x="33" y="131"/>
                </a:lnTo>
                <a:lnTo>
                  <a:pt x="30" y="133"/>
                </a:lnTo>
                <a:lnTo>
                  <a:pt x="28" y="137"/>
                </a:lnTo>
                <a:lnTo>
                  <a:pt x="28" y="137"/>
                </a:lnTo>
                <a:lnTo>
                  <a:pt x="41" y="137"/>
                </a:lnTo>
                <a:lnTo>
                  <a:pt x="48" y="138"/>
                </a:lnTo>
                <a:lnTo>
                  <a:pt x="48" y="140"/>
                </a:lnTo>
                <a:lnTo>
                  <a:pt x="46" y="142"/>
                </a:lnTo>
                <a:lnTo>
                  <a:pt x="46" y="142"/>
                </a:lnTo>
                <a:lnTo>
                  <a:pt x="42" y="146"/>
                </a:lnTo>
                <a:lnTo>
                  <a:pt x="44" y="149"/>
                </a:lnTo>
                <a:lnTo>
                  <a:pt x="46" y="153"/>
                </a:lnTo>
                <a:lnTo>
                  <a:pt x="52" y="157"/>
                </a:lnTo>
                <a:lnTo>
                  <a:pt x="75" y="169"/>
                </a:lnTo>
                <a:lnTo>
                  <a:pt x="75" y="169"/>
                </a:lnTo>
                <a:lnTo>
                  <a:pt x="75" y="169"/>
                </a:lnTo>
                <a:lnTo>
                  <a:pt x="75" y="171"/>
                </a:lnTo>
                <a:lnTo>
                  <a:pt x="75" y="171"/>
                </a:lnTo>
                <a:lnTo>
                  <a:pt x="75" y="171"/>
                </a:lnTo>
                <a:lnTo>
                  <a:pt x="68" y="171"/>
                </a:lnTo>
                <a:lnTo>
                  <a:pt x="59" y="168"/>
                </a:lnTo>
                <a:lnTo>
                  <a:pt x="39" y="160"/>
                </a:lnTo>
                <a:lnTo>
                  <a:pt x="39" y="160"/>
                </a:lnTo>
                <a:lnTo>
                  <a:pt x="35" y="160"/>
                </a:lnTo>
                <a:lnTo>
                  <a:pt x="31" y="160"/>
                </a:lnTo>
                <a:lnTo>
                  <a:pt x="28" y="164"/>
                </a:lnTo>
                <a:lnTo>
                  <a:pt x="28" y="164"/>
                </a:lnTo>
                <a:lnTo>
                  <a:pt x="24" y="164"/>
                </a:lnTo>
                <a:lnTo>
                  <a:pt x="19" y="164"/>
                </a:lnTo>
                <a:lnTo>
                  <a:pt x="11" y="168"/>
                </a:lnTo>
                <a:lnTo>
                  <a:pt x="8" y="171"/>
                </a:lnTo>
                <a:lnTo>
                  <a:pt x="2" y="175"/>
                </a:lnTo>
                <a:lnTo>
                  <a:pt x="0" y="180"/>
                </a:lnTo>
                <a:lnTo>
                  <a:pt x="0" y="186"/>
                </a:lnTo>
                <a:lnTo>
                  <a:pt x="2" y="193"/>
                </a:lnTo>
                <a:lnTo>
                  <a:pt x="2" y="193"/>
                </a:lnTo>
                <a:lnTo>
                  <a:pt x="8" y="186"/>
                </a:lnTo>
                <a:lnTo>
                  <a:pt x="13" y="180"/>
                </a:lnTo>
                <a:lnTo>
                  <a:pt x="17" y="180"/>
                </a:lnTo>
                <a:lnTo>
                  <a:pt x="20" y="180"/>
                </a:lnTo>
                <a:lnTo>
                  <a:pt x="20" y="180"/>
                </a:lnTo>
                <a:lnTo>
                  <a:pt x="22" y="182"/>
                </a:lnTo>
                <a:lnTo>
                  <a:pt x="22" y="188"/>
                </a:lnTo>
                <a:lnTo>
                  <a:pt x="22" y="191"/>
                </a:lnTo>
                <a:lnTo>
                  <a:pt x="24" y="195"/>
                </a:lnTo>
                <a:lnTo>
                  <a:pt x="26" y="197"/>
                </a:lnTo>
                <a:lnTo>
                  <a:pt x="26" y="197"/>
                </a:lnTo>
                <a:lnTo>
                  <a:pt x="30" y="199"/>
                </a:lnTo>
                <a:lnTo>
                  <a:pt x="37" y="199"/>
                </a:lnTo>
                <a:lnTo>
                  <a:pt x="52" y="197"/>
                </a:lnTo>
                <a:lnTo>
                  <a:pt x="66" y="195"/>
                </a:lnTo>
                <a:lnTo>
                  <a:pt x="73" y="195"/>
                </a:lnTo>
                <a:lnTo>
                  <a:pt x="75" y="195"/>
                </a:lnTo>
                <a:lnTo>
                  <a:pt x="75" y="195"/>
                </a:lnTo>
                <a:lnTo>
                  <a:pt x="75" y="197"/>
                </a:lnTo>
                <a:lnTo>
                  <a:pt x="72" y="199"/>
                </a:lnTo>
                <a:lnTo>
                  <a:pt x="59" y="200"/>
                </a:lnTo>
                <a:lnTo>
                  <a:pt x="44" y="202"/>
                </a:lnTo>
                <a:lnTo>
                  <a:pt x="39" y="206"/>
                </a:lnTo>
                <a:lnTo>
                  <a:pt x="37" y="208"/>
                </a:lnTo>
                <a:lnTo>
                  <a:pt x="37" y="208"/>
                </a:lnTo>
                <a:lnTo>
                  <a:pt x="37" y="213"/>
                </a:lnTo>
                <a:lnTo>
                  <a:pt x="37" y="213"/>
                </a:lnTo>
                <a:lnTo>
                  <a:pt x="37" y="215"/>
                </a:lnTo>
                <a:lnTo>
                  <a:pt x="33" y="219"/>
                </a:lnTo>
                <a:lnTo>
                  <a:pt x="30" y="226"/>
                </a:lnTo>
                <a:lnTo>
                  <a:pt x="28" y="233"/>
                </a:lnTo>
                <a:lnTo>
                  <a:pt x="28" y="233"/>
                </a:lnTo>
                <a:lnTo>
                  <a:pt x="28" y="237"/>
                </a:lnTo>
                <a:lnTo>
                  <a:pt x="30" y="243"/>
                </a:lnTo>
                <a:lnTo>
                  <a:pt x="35" y="248"/>
                </a:lnTo>
                <a:lnTo>
                  <a:pt x="41" y="253"/>
                </a:lnTo>
                <a:lnTo>
                  <a:pt x="41" y="253"/>
                </a:lnTo>
                <a:lnTo>
                  <a:pt x="42" y="252"/>
                </a:lnTo>
                <a:lnTo>
                  <a:pt x="41" y="244"/>
                </a:lnTo>
                <a:lnTo>
                  <a:pt x="41" y="239"/>
                </a:lnTo>
                <a:lnTo>
                  <a:pt x="42" y="237"/>
                </a:lnTo>
                <a:lnTo>
                  <a:pt x="42" y="235"/>
                </a:lnTo>
                <a:lnTo>
                  <a:pt x="42" y="235"/>
                </a:lnTo>
                <a:lnTo>
                  <a:pt x="46" y="235"/>
                </a:lnTo>
                <a:lnTo>
                  <a:pt x="48" y="237"/>
                </a:lnTo>
                <a:lnTo>
                  <a:pt x="52" y="241"/>
                </a:lnTo>
                <a:lnTo>
                  <a:pt x="55" y="243"/>
                </a:lnTo>
                <a:lnTo>
                  <a:pt x="55" y="243"/>
                </a:lnTo>
                <a:lnTo>
                  <a:pt x="59" y="241"/>
                </a:lnTo>
                <a:lnTo>
                  <a:pt x="62" y="239"/>
                </a:lnTo>
                <a:lnTo>
                  <a:pt x="72" y="232"/>
                </a:lnTo>
                <a:lnTo>
                  <a:pt x="81" y="222"/>
                </a:lnTo>
                <a:lnTo>
                  <a:pt x="86" y="217"/>
                </a:lnTo>
                <a:lnTo>
                  <a:pt x="94" y="213"/>
                </a:lnTo>
                <a:lnTo>
                  <a:pt x="94" y="213"/>
                </a:lnTo>
                <a:lnTo>
                  <a:pt x="103" y="210"/>
                </a:lnTo>
                <a:lnTo>
                  <a:pt x="106" y="208"/>
                </a:lnTo>
                <a:lnTo>
                  <a:pt x="108" y="210"/>
                </a:lnTo>
                <a:lnTo>
                  <a:pt x="108" y="211"/>
                </a:lnTo>
                <a:lnTo>
                  <a:pt x="108" y="217"/>
                </a:lnTo>
                <a:lnTo>
                  <a:pt x="108" y="221"/>
                </a:lnTo>
                <a:lnTo>
                  <a:pt x="110" y="222"/>
                </a:lnTo>
                <a:lnTo>
                  <a:pt x="110" y="222"/>
                </a:lnTo>
                <a:lnTo>
                  <a:pt x="115" y="224"/>
                </a:lnTo>
                <a:lnTo>
                  <a:pt x="117" y="226"/>
                </a:lnTo>
                <a:lnTo>
                  <a:pt x="117" y="230"/>
                </a:lnTo>
                <a:lnTo>
                  <a:pt x="115" y="233"/>
                </a:lnTo>
                <a:lnTo>
                  <a:pt x="112" y="239"/>
                </a:lnTo>
                <a:lnTo>
                  <a:pt x="108" y="243"/>
                </a:lnTo>
                <a:lnTo>
                  <a:pt x="108" y="243"/>
                </a:lnTo>
                <a:lnTo>
                  <a:pt x="114" y="243"/>
                </a:lnTo>
                <a:lnTo>
                  <a:pt x="121" y="241"/>
                </a:lnTo>
                <a:lnTo>
                  <a:pt x="128" y="233"/>
                </a:lnTo>
                <a:lnTo>
                  <a:pt x="132" y="230"/>
                </a:lnTo>
                <a:lnTo>
                  <a:pt x="136" y="224"/>
                </a:lnTo>
                <a:lnTo>
                  <a:pt x="136" y="224"/>
                </a:lnTo>
                <a:lnTo>
                  <a:pt x="136" y="221"/>
                </a:lnTo>
                <a:lnTo>
                  <a:pt x="137" y="221"/>
                </a:lnTo>
                <a:lnTo>
                  <a:pt x="141" y="219"/>
                </a:lnTo>
                <a:lnTo>
                  <a:pt x="143" y="217"/>
                </a:lnTo>
                <a:lnTo>
                  <a:pt x="143" y="217"/>
                </a:lnTo>
                <a:lnTo>
                  <a:pt x="145" y="215"/>
                </a:lnTo>
                <a:lnTo>
                  <a:pt x="145" y="211"/>
                </a:lnTo>
                <a:lnTo>
                  <a:pt x="145" y="208"/>
                </a:lnTo>
                <a:lnTo>
                  <a:pt x="145" y="204"/>
                </a:lnTo>
                <a:lnTo>
                  <a:pt x="145" y="204"/>
                </a:lnTo>
                <a:lnTo>
                  <a:pt x="147" y="200"/>
                </a:lnTo>
                <a:lnTo>
                  <a:pt x="150" y="199"/>
                </a:lnTo>
                <a:lnTo>
                  <a:pt x="157" y="197"/>
                </a:lnTo>
                <a:lnTo>
                  <a:pt x="165" y="195"/>
                </a:lnTo>
                <a:lnTo>
                  <a:pt x="167" y="193"/>
                </a:lnTo>
                <a:lnTo>
                  <a:pt x="167" y="191"/>
                </a:lnTo>
                <a:lnTo>
                  <a:pt x="167" y="191"/>
                </a:lnTo>
                <a:lnTo>
                  <a:pt x="167" y="186"/>
                </a:lnTo>
                <a:lnTo>
                  <a:pt x="170" y="180"/>
                </a:lnTo>
                <a:lnTo>
                  <a:pt x="176" y="179"/>
                </a:lnTo>
                <a:lnTo>
                  <a:pt x="179" y="177"/>
                </a:lnTo>
                <a:lnTo>
                  <a:pt x="179" y="177"/>
                </a:lnTo>
                <a:lnTo>
                  <a:pt x="181" y="179"/>
                </a:lnTo>
                <a:lnTo>
                  <a:pt x="183" y="184"/>
                </a:lnTo>
                <a:lnTo>
                  <a:pt x="189" y="190"/>
                </a:lnTo>
                <a:lnTo>
                  <a:pt x="194" y="193"/>
                </a:lnTo>
                <a:lnTo>
                  <a:pt x="199" y="197"/>
                </a:lnTo>
                <a:lnTo>
                  <a:pt x="199" y="197"/>
                </a:lnTo>
                <a:lnTo>
                  <a:pt x="221" y="186"/>
                </a:lnTo>
                <a:lnTo>
                  <a:pt x="221" y="186"/>
                </a:lnTo>
                <a:lnTo>
                  <a:pt x="231" y="182"/>
                </a:lnTo>
                <a:lnTo>
                  <a:pt x="234" y="179"/>
                </a:lnTo>
                <a:lnTo>
                  <a:pt x="234" y="179"/>
                </a:lnTo>
                <a:lnTo>
                  <a:pt x="231" y="173"/>
                </a:lnTo>
                <a:lnTo>
                  <a:pt x="227" y="169"/>
                </a:lnTo>
                <a:lnTo>
                  <a:pt x="225" y="164"/>
                </a:lnTo>
                <a:lnTo>
                  <a:pt x="225" y="164"/>
                </a:lnTo>
                <a:lnTo>
                  <a:pt x="223" y="158"/>
                </a:lnTo>
                <a:lnTo>
                  <a:pt x="223" y="155"/>
                </a:lnTo>
                <a:lnTo>
                  <a:pt x="223" y="155"/>
                </a:lnTo>
                <a:lnTo>
                  <a:pt x="229" y="162"/>
                </a:lnTo>
                <a:lnTo>
                  <a:pt x="236" y="168"/>
                </a:lnTo>
                <a:lnTo>
                  <a:pt x="245" y="173"/>
                </a:lnTo>
                <a:lnTo>
                  <a:pt x="245" y="173"/>
                </a:lnTo>
                <a:lnTo>
                  <a:pt x="271" y="157"/>
                </a:lnTo>
                <a:lnTo>
                  <a:pt x="271" y="157"/>
                </a:lnTo>
                <a:lnTo>
                  <a:pt x="276" y="155"/>
                </a:lnTo>
                <a:lnTo>
                  <a:pt x="276" y="155"/>
                </a:lnTo>
                <a:lnTo>
                  <a:pt x="276" y="155"/>
                </a:lnTo>
                <a:lnTo>
                  <a:pt x="276" y="155"/>
                </a:lnTo>
                <a:lnTo>
                  <a:pt x="273" y="149"/>
                </a:lnTo>
                <a:lnTo>
                  <a:pt x="267" y="144"/>
                </a:lnTo>
                <a:lnTo>
                  <a:pt x="262" y="137"/>
                </a:lnTo>
                <a:lnTo>
                  <a:pt x="262" y="133"/>
                </a:lnTo>
                <a:lnTo>
                  <a:pt x="263" y="131"/>
                </a:lnTo>
                <a:lnTo>
                  <a:pt x="263" y="131"/>
                </a:lnTo>
                <a:lnTo>
                  <a:pt x="265" y="129"/>
                </a:lnTo>
                <a:lnTo>
                  <a:pt x="265" y="126"/>
                </a:lnTo>
                <a:lnTo>
                  <a:pt x="262" y="115"/>
                </a:lnTo>
                <a:lnTo>
                  <a:pt x="258" y="105"/>
                </a:lnTo>
                <a:lnTo>
                  <a:pt x="258" y="100"/>
                </a:lnTo>
                <a:lnTo>
                  <a:pt x="262" y="98"/>
                </a:lnTo>
                <a:lnTo>
                  <a:pt x="262" y="98"/>
                </a:lnTo>
                <a:lnTo>
                  <a:pt x="313" y="73"/>
                </a:lnTo>
                <a:lnTo>
                  <a:pt x="357" y="51"/>
                </a:lnTo>
                <a:lnTo>
                  <a:pt x="357" y="51"/>
                </a:lnTo>
                <a:lnTo>
                  <a:pt x="353" y="45"/>
                </a:lnTo>
                <a:lnTo>
                  <a:pt x="349" y="38"/>
                </a:lnTo>
                <a:lnTo>
                  <a:pt x="344" y="3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88" name="Freeform 39"/>
          <p:cNvSpPr>
            <a:spLocks/>
          </p:cNvSpPr>
          <p:nvPr userDrawn="1"/>
        </p:nvSpPr>
        <p:spPr bwMode="auto">
          <a:xfrm>
            <a:off x="8229600" y="-437728"/>
            <a:ext cx="120650" cy="115888"/>
          </a:xfrm>
          <a:custGeom>
            <a:avLst/>
            <a:gdLst>
              <a:gd name="T0" fmla="*/ 0 w 152"/>
              <a:gd name="T1" fmla="*/ 42 h 144"/>
              <a:gd name="T2" fmla="*/ 2 w 152"/>
              <a:gd name="T3" fmla="*/ 51 h 144"/>
              <a:gd name="T4" fmla="*/ 4 w 152"/>
              <a:gd name="T5" fmla="*/ 57 h 144"/>
              <a:gd name="T6" fmla="*/ 15 w 152"/>
              <a:gd name="T7" fmla="*/ 60 h 144"/>
              <a:gd name="T8" fmla="*/ 18 w 152"/>
              <a:gd name="T9" fmla="*/ 58 h 144"/>
              <a:gd name="T10" fmla="*/ 20 w 152"/>
              <a:gd name="T11" fmla="*/ 51 h 144"/>
              <a:gd name="T12" fmla="*/ 22 w 152"/>
              <a:gd name="T13" fmla="*/ 44 h 144"/>
              <a:gd name="T14" fmla="*/ 24 w 152"/>
              <a:gd name="T15" fmla="*/ 42 h 144"/>
              <a:gd name="T16" fmla="*/ 26 w 152"/>
              <a:gd name="T17" fmla="*/ 42 h 144"/>
              <a:gd name="T18" fmla="*/ 28 w 152"/>
              <a:gd name="T19" fmla="*/ 40 h 144"/>
              <a:gd name="T20" fmla="*/ 68 w 152"/>
              <a:gd name="T21" fmla="*/ 60 h 144"/>
              <a:gd name="T22" fmla="*/ 106 w 152"/>
              <a:gd name="T23" fmla="*/ 86 h 144"/>
              <a:gd name="T24" fmla="*/ 112 w 152"/>
              <a:gd name="T25" fmla="*/ 89 h 144"/>
              <a:gd name="T26" fmla="*/ 106 w 152"/>
              <a:gd name="T27" fmla="*/ 100 h 144"/>
              <a:gd name="T28" fmla="*/ 95 w 152"/>
              <a:gd name="T29" fmla="*/ 128 h 144"/>
              <a:gd name="T30" fmla="*/ 93 w 152"/>
              <a:gd name="T31" fmla="*/ 135 h 144"/>
              <a:gd name="T32" fmla="*/ 97 w 152"/>
              <a:gd name="T33" fmla="*/ 142 h 144"/>
              <a:gd name="T34" fmla="*/ 104 w 152"/>
              <a:gd name="T35" fmla="*/ 144 h 144"/>
              <a:gd name="T36" fmla="*/ 110 w 152"/>
              <a:gd name="T37" fmla="*/ 144 h 144"/>
              <a:gd name="T38" fmla="*/ 117 w 152"/>
              <a:gd name="T39" fmla="*/ 139 h 144"/>
              <a:gd name="T40" fmla="*/ 119 w 152"/>
              <a:gd name="T41" fmla="*/ 135 h 144"/>
              <a:gd name="T42" fmla="*/ 119 w 152"/>
              <a:gd name="T43" fmla="*/ 130 h 144"/>
              <a:gd name="T44" fmla="*/ 112 w 152"/>
              <a:gd name="T45" fmla="*/ 122 h 144"/>
              <a:gd name="T46" fmla="*/ 110 w 152"/>
              <a:gd name="T47" fmla="*/ 122 h 144"/>
              <a:gd name="T48" fmla="*/ 115 w 152"/>
              <a:gd name="T49" fmla="*/ 110 h 144"/>
              <a:gd name="T50" fmla="*/ 123 w 152"/>
              <a:gd name="T51" fmla="*/ 93 h 144"/>
              <a:gd name="T52" fmla="*/ 132 w 152"/>
              <a:gd name="T53" fmla="*/ 86 h 144"/>
              <a:gd name="T54" fmla="*/ 141 w 152"/>
              <a:gd name="T55" fmla="*/ 84 h 144"/>
              <a:gd name="T56" fmla="*/ 139 w 152"/>
              <a:gd name="T57" fmla="*/ 80 h 144"/>
              <a:gd name="T58" fmla="*/ 135 w 152"/>
              <a:gd name="T59" fmla="*/ 69 h 144"/>
              <a:gd name="T60" fmla="*/ 137 w 152"/>
              <a:gd name="T61" fmla="*/ 57 h 144"/>
              <a:gd name="T62" fmla="*/ 141 w 152"/>
              <a:gd name="T63" fmla="*/ 49 h 144"/>
              <a:gd name="T64" fmla="*/ 152 w 152"/>
              <a:gd name="T65" fmla="*/ 18 h 144"/>
              <a:gd name="T66" fmla="*/ 152 w 152"/>
              <a:gd name="T67" fmla="*/ 13 h 144"/>
              <a:gd name="T68" fmla="*/ 146 w 152"/>
              <a:gd name="T69" fmla="*/ 5 h 144"/>
              <a:gd name="T70" fmla="*/ 141 w 152"/>
              <a:gd name="T71" fmla="*/ 4 h 144"/>
              <a:gd name="T72" fmla="*/ 132 w 152"/>
              <a:gd name="T73" fmla="*/ 7 h 144"/>
              <a:gd name="T74" fmla="*/ 128 w 152"/>
              <a:gd name="T75" fmla="*/ 15 h 144"/>
              <a:gd name="T76" fmla="*/ 128 w 152"/>
              <a:gd name="T77" fmla="*/ 20 h 144"/>
              <a:gd name="T78" fmla="*/ 134 w 152"/>
              <a:gd name="T79" fmla="*/ 27 h 144"/>
              <a:gd name="T80" fmla="*/ 137 w 152"/>
              <a:gd name="T81" fmla="*/ 29 h 144"/>
              <a:gd name="T82" fmla="*/ 132 w 152"/>
              <a:gd name="T83" fmla="*/ 46 h 144"/>
              <a:gd name="T84" fmla="*/ 124 w 152"/>
              <a:gd name="T85" fmla="*/ 55 h 144"/>
              <a:gd name="T86" fmla="*/ 117 w 152"/>
              <a:gd name="T87" fmla="*/ 51 h 144"/>
              <a:gd name="T88" fmla="*/ 60 w 152"/>
              <a:gd name="T89" fmla="*/ 24 h 144"/>
              <a:gd name="T90" fmla="*/ 40 w 152"/>
              <a:gd name="T91" fmla="*/ 18 h 144"/>
              <a:gd name="T92" fmla="*/ 42 w 152"/>
              <a:gd name="T93" fmla="*/ 13 h 144"/>
              <a:gd name="T94" fmla="*/ 50 w 152"/>
              <a:gd name="T95" fmla="*/ 0 h 144"/>
              <a:gd name="T96" fmla="*/ 46 w 152"/>
              <a:gd name="T97" fmla="*/ 2 h 144"/>
              <a:gd name="T98" fmla="*/ 39 w 152"/>
              <a:gd name="T99" fmla="*/ 5 h 144"/>
              <a:gd name="T100" fmla="*/ 24 w 152"/>
              <a:gd name="T101" fmla="*/ 11 h 144"/>
              <a:gd name="T102" fmla="*/ 18 w 152"/>
              <a:gd name="T103" fmla="*/ 11 h 144"/>
              <a:gd name="T104" fmla="*/ 15 w 152"/>
              <a:gd name="T105" fmla="*/ 11 h 144"/>
              <a:gd name="T106" fmla="*/ 9 w 152"/>
              <a:gd name="T107" fmla="*/ 22 h 144"/>
              <a:gd name="T108" fmla="*/ 6 w 152"/>
              <a:gd name="T109" fmla="*/ 33 h 144"/>
              <a:gd name="T110" fmla="*/ 2 w 152"/>
              <a:gd name="T111" fmla="*/ 3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2" h="144">
                <a:moveTo>
                  <a:pt x="0" y="42"/>
                </a:moveTo>
                <a:lnTo>
                  <a:pt x="0" y="42"/>
                </a:lnTo>
                <a:lnTo>
                  <a:pt x="0" y="47"/>
                </a:lnTo>
                <a:lnTo>
                  <a:pt x="2" y="51"/>
                </a:lnTo>
                <a:lnTo>
                  <a:pt x="4" y="57"/>
                </a:lnTo>
                <a:lnTo>
                  <a:pt x="4" y="57"/>
                </a:lnTo>
                <a:lnTo>
                  <a:pt x="11" y="58"/>
                </a:lnTo>
                <a:lnTo>
                  <a:pt x="15" y="60"/>
                </a:lnTo>
                <a:lnTo>
                  <a:pt x="18" y="58"/>
                </a:lnTo>
                <a:lnTo>
                  <a:pt x="18" y="58"/>
                </a:lnTo>
                <a:lnTo>
                  <a:pt x="20" y="55"/>
                </a:lnTo>
                <a:lnTo>
                  <a:pt x="20" y="51"/>
                </a:lnTo>
                <a:lnTo>
                  <a:pt x="20" y="47"/>
                </a:lnTo>
                <a:lnTo>
                  <a:pt x="22" y="44"/>
                </a:lnTo>
                <a:lnTo>
                  <a:pt x="22" y="44"/>
                </a:lnTo>
                <a:lnTo>
                  <a:pt x="24" y="42"/>
                </a:lnTo>
                <a:lnTo>
                  <a:pt x="26" y="42"/>
                </a:lnTo>
                <a:lnTo>
                  <a:pt x="26" y="42"/>
                </a:lnTo>
                <a:lnTo>
                  <a:pt x="28" y="40"/>
                </a:lnTo>
                <a:lnTo>
                  <a:pt x="28" y="40"/>
                </a:lnTo>
                <a:lnTo>
                  <a:pt x="48" y="49"/>
                </a:lnTo>
                <a:lnTo>
                  <a:pt x="68" y="60"/>
                </a:lnTo>
                <a:lnTo>
                  <a:pt x="106" y="86"/>
                </a:lnTo>
                <a:lnTo>
                  <a:pt x="106" y="86"/>
                </a:lnTo>
                <a:lnTo>
                  <a:pt x="112" y="89"/>
                </a:lnTo>
                <a:lnTo>
                  <a:pt x="112" y="89"/>
                </a:lnTo>
                <a:lnTo>
                  <a:pt x="106" y="100"/>
                </a:lnTo>
                <a:lnTo>
                  <a:pt x="106" y="100"/>
                </a:lnTo>
                <a:lnTo>
                  <a:pt x="97" y="119"/>
                </a:lnTo>
                <a:lnTo>
                  <a:pt x="95" y="128"/>
                </a:lnTo>
                <a:lnTo>
                  <a:pt x="93" y="135"/>
                </a:lnTo>
                <a:lnTo>
                  <a:pt x="93" y="135"/>
                </a:lnTo>
                <a:lnTo>
                  <a:pt x="95" y="139"/>
                </a:lnTo>
                <a:lnTo>
                  <a:pt x="97" y="142"/>
                </a:lnTo>
                <a:lnTo>
                  <a:pt x="101" y="144"/>
                </a:lnTo>
                <a:lnTo>
                  <a:pt x="104" y="144"/>
                </a:lnTo>
                <a:lnTo>
                  <a:pt x="104" y="144"/>
                </a:lnTo>
                <a:lnTo>
                  <a:pt x="110" y="144"/>
                </a:lnTo>
                <a:lnTo>
                  <a:pt x="113" y="142"/>
                </a:lnTo>
                <a:lnTo>
                  <a:pt x="117" y="139"/>
                </a:lnTo>
                <a:lnTo>
                  <a:pt x="119" y="135"/>
                </a:lnTo>
                <a:lnTo>
                  <a:pt x="119" y="135"/>
                </a:lnTo>
                <a:lnTo>
                  <a:pt x="119" y="131"/>
                </a:lnTo>
                <a:lnTo>
                  <a:pt x="119" y="130"/>
                </a:lnTo>
                <a:lnTo>
                  <a:pt x="115" y="124"/>
                </a:lnTo>
                <a:lnTo>
                  <a:pt x="112" y="122"/>
                </a:lnTo>
                <a:lnTo>
                  <a:pt x="110" y="122"/>
                </a:lnTo>
                <a:lnTo>
                  <a:pt x="110" y="122"/>
                </a:lnTo>
                <a:lnTo>
                  <a:pt x="115" y="110"/>
                </a:lnTo>
                <a:lnTo>
                  <a:pt x="115" y="110"/>
                </a:lnTo>
                <a:lnTo>
                  <a:pt x="119" y="100"/>
                </a:lnTo>
                <a:lnTo>
                  <a:pt x="123" y="93"/>
                </a:lnTo>
                <a:lnTo>
                  <a:pt x="128" y="89"/>
                </a:lnTo>
                <a:lnTo>
                  <a:pt x="132" y="86"/>
                </a:lnTo>
                <a:lnTo>
                  <a:pt x="137" y="84"/>
                </a:lnTo>
                <a:lnTo>
                  <a:pt x="141" y="84"/>
                </a:lnTo>
                <a:lnTo>
                  <a:pt x="141" y="84"/>
                </a:lnTo>
                <a:lnTo>
                  <a:pt x="139" y="80"/>
                </a:lnTo>
                <a:lnTo>
                  <a:pt x="135" y="75"/>
                </a:lnTo>
                <a:lnTo>
                  <a:pt x="135" y="69"/>
                </a:lnTo>
                <a:lnTo>
                  <a:pt x="135" y="64"/>
                </a:lnTo>
                <a:lnTo>
                  <a:pt x="137" y="57"/>
                </a:lnTo>
                <a:lnTo>
                  <a:pt x="141" y="49"/>
                </a:lnTo>
                <a:lnTo>
                  <a:pt x="141" y="49"/>
                </a:lnTo>
                <a:lnTo>
                  <a:pt x="148" y="31"/>
                </a:lnTo>
                <a:lnTo>
                  <a:pt x="152" y="18"/>
                </a:lnTo>
                <a:lnTo>
                  <a:pt x="152" y="18"/>
                </a:lnTo>
                <a:lnTo>
                  <a:pt x="152" y="13"/>
                </a:lnTo>
                <a:lnTo>
                  <a:pt x="150" y="9"/>
                </a:lnTo>
                <a:lnTo>
                  <a:pt x="146" y="5"/>
                </a:lnTo>
                <a:lnTo>
                  <a:pt x="141" y="4"/>
                </a:lnTo>
                <a:lnTo>
                  <a:pt x="141" y="4"/>
                </a:lnTo>
                <a:lnTo>
                  <a:pt x="137" y="5"/>
                </a:lnTo>
                <a:lnTo>
                  <a:pt x="132" y="7"/>
                </a:lnTo>
                <a:lnTo>
                  <a:pt x="130" y="11"/>
                </a:lnTo>
                <a:lnTo>
                  <a:pt x="128" y="15"/>
                </a:lnTo>
                <a:lnTo>
                  <a:pt x="128" y="15"/>
                </a:lnTo>
                <a:lnTo>
                  <a:pt x="128" y="20"/>
                </a:lnTo>
                <a:lnTo>
                  <a:pt x="130" y="24"/>
                </a:lnTo>
                <a:lnTo>
                  <a:pt x="134" y="27"/>
                </a:lnTo>
                <a:lnTo>
                  <a:pt x="137" y="29"/>
                </a:lnTo>
                <a:lnTo>
                  <a:pt x="137" y="29"/>
                </a:lnTo>
                <a:lnTo>
                  <a:pt x="137" y="29"/>
                </a:lnTo>
                <a:lnTo>
                  <a:pt x="132" y="46"/>
                </a:lnTo>
                <a:lnTo>
                  <a:pt x="124" y="55"/>
                </a:lnTo>
                <a:lnTo>
                  <a:pt x="124" y="55"/>
                </a:lnTo>
                <a:lnTo>
                  <a:pt x="117" y="51"/>
                </a:lnTo>
                <a:lnTo>
                  <a:pt x="117" y="51"/>
                </a:lnTo>
                <a:lnTo>
                  <a:pt x="81" y="31"/>
                </a:lnTo>
                <a:lnTo>
                  <a:pt x="60" y="24"/>
                </a:lnTo>
                <a:lnTo>
                  <a:pt x="40" y="18"/>
                </a:lnTo>
                <a:lnTo>
                  <a:pt x="40" y="18"/>
                </a:lnTo>
                <a:lnTo>
                  <a:pt x="42" y="13"/>
                </a:lnTo>
                <a:lnTo>
                  <a:pt x="42" y="13"/>
                </a:lnTo>
                <a:lnTo>
                  <a:pt x="48" y="4"/>
                </a:lnTo>
                <a:lnTo>
                  <a:pt x="50" y="0"/>
                </a:lnTo>
                <a:lnTo>
                  <a:pt x="50" y="0"/>
                </a:lnTo>
                <a:lnTo>
                  <a:pt x="46" y="2"/>
                </a:lnTo>
                <a:lnTo>
                  <a:pt x="39" y="5"/>
                </a:lnTo>
                <a:lnTo>
                  <a:pt x="39" y="5"/>
                </a:lnTo>
                <a:lnTo>
                  <a:pt x="29" y="9"/>
                </a:lnTo>
                <a:lnTo>
                  <a:pt x="24" y="11"/>
                </a:lnTo>
                <a:lnTo>
                  <a:pt x="24" y="11"/>
                </a:lnTo>
                <a:lnTo>
                  <a:pt x="18" y="11"/>
                </a:lnTo>
                <a:lnTo>
                  <a:pt x="15" y="11"/>
                </a:lnTo>
                <a:lnTo>
                  <a:pt x="15" y="11"/>
                </a:lnTo>
                <a:lnTo>
                  <a:pt x="13" y="13"/>
                </a:lnTo>
                <a:lnTo>
                  <a:pt x="9" y="22"/>
                </a:lnTo>
                <a:lnTo>
                  <a:pt x="9" y="22"/>
                </a:lnTo>
                <a:lnTo>
                  <a:pt x="6" y="33"/>
                </a:lnTo>
                <a:lnTo>
                  <a:pt x="6" y="33"/>
                </a:lnTo>
                <a:lnTo>
                  <a:pt x="2" y="38"/>
                </a:lnTo>
                <a:lnTo>
                  <a:pt x="0" y="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89" name="Freeform 40"/>
          <p:cNvSpPr>
            <a:spLocks/>
          </p:cNvSpPr>
          <p:nvPr userDrawn="1"/>
        </p:nvSpPr>
        <p:spPr bwMode="auto">
          <a:xfrm>
            <a:off x="8226425" y="-921915"/>
            <a:ext cx="30163" cy="34925"/>
          </a:xfrm>
          <a:custGeom>
            <a:avLst/>
            <a:gdLst>
              <a:gd name="T0" fmla="*/ 12 w 36"/>
              <a:gd name="T1" fmla="*/ 44 h 44"/>
              <a:gd name="T2" fmla="*/ 12 w 36"/>
              <a:gd name="T3" fmla="*/ 44 h 44"/>
              <a:gd name="T4" fmla="*/ 27 w 36"/>
              <a:gd name="T5" fmla="*/ 42 h 44"/>
              <a:gd name="T6" fmla="*/ 36 w 36"/>
              <a:gd name="T7" fmla="*/ 40 h 44"/>
              <a:gd name="T8" fmla="*/ 36 w 36"/>
              <a:gd name="T9" fmla="*/ 3 h 44"/>
              <a:gd name="T10" fmla="*/ 36 w 36"/>
              <a:gd name="T11" fmla="*/ 3 h 44"/>
              <a:gd name="T12" fmla="*/ 16 w 36"/>
              <a:gd name="T13" fmla="*/ 0 h 44"/>
              <a:gd name="T14" fmla="*/ 16 w 36"/>
              <a:gd name="T15" fmla="*/ 0 h 44"/>
              <a:gd name="T16" fmla="*/ 11 w 36"/>
              <a:gd name="T17" fmla="*/ 0 h 44"/>
              <a:gd name="T18" fmla="*/ 7 w 36"/>
              <a:gd name="T19" fmla="*/ 2 h 44"/>
              <a:gd name="T20" fmla="*/ 3 w 36"/>
              <a:gd name="T21" fmla="*/ 3 h 44"/>
              <a:gd name="T22" fmla="*/ 1 w 36"/>
              <a:gd name="T23" fmla="*/ 7 h 44"/>
              <a:gd name="T24" fmla="*/ 0 w 36"/>
              <a:gd name="T25" fmla="*/ 13 h 44"/>
              <a:gd name="T26" fmla="*/ 0 w 36"/>
              <a:gd name="T27" fmla="*/ 16 h 44"/>
              <a:gd name="T28" fmla="*/ 0 w 36"/>
              <a:gd name="T29" fmla="*/ 27 h 44"/>
              <a:gd name="T30" fmla="*/ 0 w 36"/>
              <a:gd name="T31" fmla="*/ 27 h 44"/>
              <a:gd name="T32" fmla="*/ 1 w 36"/>
              <a:gd name="T33" fmla="*/ 34 h 44"/>
              <a:gd name="T34" fmla="*/ 5 w 36"/>
              <a:gd name="T35" fmla="*/ 40 h 44"/>
              <a:gd name="T36" fmla="*/ 9 w 36"/>
              <a:gd name="T37" fmla="*/ 42 h 44"/>
              <a:gd name="T38" fmla="*/ 12 w 36"/>
              <a:gd name="T3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 h="44">
                <a:moveTo>
                  <a:pt x="12" y="44"/>
                </a:moveTo>
                <a:lnTo>
                  <a:pt x="12" y="44"/>
                </a:lnTo>
                <a:lnTo>
                  <a:pt x="27" y="42"/>
                </a:lnTo>
                <a:lnTo>
                  <a:pt x="36" y="40"/>
                </a:lnTo>
                <a:lnTo>
                  <a:pt x="36" y="3"/>
                </a:lnTo>
                <a:lnTo>
                  <a:pt x="36" y="3"/>
                </a:lnTo>
                <a:lnTo>
                  <a:pt x="16" y="0"/>
                </a:lnTo>
                <a:lnTo>
                  <a:pt x="16" y="0"/>
                </a:lnTo>
                <a:lnTo>
                  <a:pt x="11" y="0"/>
                </a:lnTo>
                <a:lnTo>
                  <a:pt x="7" y="2"/>
                </a:lnTo>
                <a:lnTo>
                  <a:pt x="3" y="3"/>
                </a:lnTo>
                <a:lnTo>
                  <a:pt x="1" y="7"/>
                </a:lnTo>
                <a:lnTo>
                  <a:pt x="0" y="13"/>
                </a:lnTo>
                <a:lnTo>
                  <a:pt x="0" y="16"/>
                </a:lnTo>
                <a:lnTo>
                  <a:pt x="0" y="27"/>
                </a:lnTo>
                <a:lnTo>
                  <a:pt x="0" y="27"/>
                </a:lnTo>
                <a:lnTo>
                  <a:pt x="1" y="34"/>
                </a:lnTo>
                <a:lnTo>
                  <a:pt x="5" y="40"/>
                </a:lnTo>
                <a:lnTo>
                  <a:pt x="9" y="42"/>
                </a:lnTo>
                <a:lnTo>
                  <a:pt x="12" y="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0" name="Freeform 41"/>
          <p:cNvSpPr>
            <a:spLocks/>
          </p:cNvSpPr>
          <p:nvPr userDrawn="1"/>
        </p:nvSpPr>
        <p:spPr bwMode="auto">
          <a:xfrm>
            <a:off x="8262938" y="-928265"/>
            <a:ext cx="44450" cy="41275"/>
          </a:xfrm>
          <a:custGeom>
            <a:avLst/>
            <a:gdLst>
              <a:gd name="T0" fmla="*/ 55 w 55"/>
              <a:gd name="T1" fmla="*/ 38 h 53"/>
              <a:gd name="T2" fmla="*/ 55 w 55"/>
              <a:gd name="T3" fmla="*/ 27 h 53"/>
              <a:gd name="T4" fmla="*/ 55 w 55"/>
              <a:gd name="T5" fmla="*/ 7 h 53"/>
              <a:gd name="T6" fmla="*/ 55 w 55"/>
              <a:gd name="T7" fmla="*/ 1 h 53"/>
              <a:gd name="T8" fmla="*/ 53 w 55"/>
              <a:gd name="T9" fmla="*/ 0 h 53"/>
              <a:gd name="T10" fmla="*/ 46 w 55"/>
              <a:gd name="T11" fmla="*/ 0 h 53"/>
              <a:gd name="T12" fmla="*/ 40 w 55"/>
              <a:gd name="T13" fmla="*/ 0 h 53"/>
              <a:gd name="T14" fmla="*/ 29 w 55"/>
              <a:gd name="T15" fmla="*/ 0 h 53"/>
              <a:gd name="T16" fmla="*/ 28 w 55"/>
              <a:gd name="T17" fmla="*/ 7 h 53"/>
              <a:gd name="T18" fmla="*/ 26 w 55"/>
              <a:gd name="T19" fmla="*/ 0 h 53"/>
              <a:gd name="T20" fmla="*/ 17 w 55"/>
              <a:gd name="T21" fmla="*/ 0 h 53"/>
              <a:gd name="T22" fmla="*/ 11 w 55"/>
              <a:gd name="T23" fmla="*/ 0 h 53"/>
              <a:gd name="T24" fmla="*/ 4 w 55"/>
              <a:gd name="T25" fmla="*/ 0 h 53"/>
              <a:gd name="T26" fmla="*/ 2 w 55"/>
              <a:gd name="T27" fmla="*/ 1 h 53"/>
              <a:gd name="T28" fmla="*/ 0 w 55"/>
              <a:gd name="T29" fmla="*/ 7 h 53"/>
              <a:gd name="T30" fmla="*/ 0 w 55"/>
              <a:gd name="T31" fmla="*/ 27 h 53"/>
              <a:gd name="T32" fmla="*/ 0 w 55"/>
              <a:gd name="T33" fmla="*/ 49 h 53"/>
              <a:gd name="T34" fmla="*/ 6 w 55"/>
              <a:gd name="T35" fmla="*/ 49 h 53"/>
              <a:gd name="T36" fmla="*/ 9 w 55"/>
              <a:gd name="T37" fmla="*/ 47 h 53"/>
              <a:gd name="T38" fmla="*/ 13 w 55"/>
              <a:gd name="T39" fmla="*/ 40 h 53"/>
              <a:gd name="T40" fmla="*/ 13 w 55"/>
              <a:gd name="T41" fmla="*/ 53 h 53"/>
              <a:gd name="T42" fmla="*/ 17 w 55"/>
              <a:gd name="T43" fmla="*/ 53 h 53"/>
              <a:gd name="T44" fmla="*/ 24 w 55"/>
              <a:gd name="T45" fmla="*/ 49 h 53"/>
              <a:gd name="T46" fmla="*/ 26 w 55"/>
              <a:gd name="T47" fmla="*/ 43 h 53"/>
              <a:gd name="T48" fmla="*/ 28 w 55"/>
              <a:gd name="T49" fmla="*/ 40 h 53"/>
              <a:gd name="T50" fmla="*/ 28 w 55"/>
              <a:gd name="T51" fmla="*/ 53 h 53"/>
              <a:gd name="T52" fmla="*/ 39 w 55"/>
              <a:gd name="T53" fmla="*/ 49 h 53"/>
              <a:gd name="T54" fmla="*/ 42 w 55"/>
              <a:gd name="T55" fmla="*/ 43 h 53"/>
              <a:gd name="T56" fmla="*/ 42 w 55"/>
              <a:gd name="T57" fmla="*/ 40 h 53"/>
              <a:gd name="T58" fmla="*/ 42 w 55"/>
              <a:gd name="T59" fmla="*/ 49 h 53"/>
              <a:gd name="T60" fmla="*/ 46 w 55"/>
              <a:gd name="T61" fmla="*/ 47 h 53"/>
              <a:gd name="T62" fmla="*/ 51 w 55"/>
              <a:gd name="T63" fmla="*/ 45 h 53"/>
              <a:gd name="T64" fmla="*/ 55 w 55"/>
              <a:gd name="T65" fmla="*/ 38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5" h="53">
                <a:moveTo>
                  <a:pt x="55" y="38"/>
                </a:moveTo>
                <a:lnTo>
                  <a:pt x="55" y="38"/>
                </a:lnTo>
                <a:lnTo>
                  <a:pt x="55" y="27"/>
                </a:lnTo>
                <a:lnTo>
                  <a:pt x="55" y="27"/>
                </a:lnTo>
                <a:lnTo>
                  <a:pt x="55" y="7"/>
                </a:lnTo>
                <a:lnTo>
                  <a:pt x="55" y="7"/>
                </a:lnTo>
                <a:lnTo>
                  <a:pt x="55" y="3"/>
                </a:lnTo>
                <a:lnTo>
                  <a:pt x="55" y="1"/>
                </a:lnTo>
                <a:lnTo>
                  <a:pt x="53" y="0"/>
                </a:lnTo>
                <a:lnTo>
                  <a:pt x="53" y="0"/>
                </a:lnTo>
                <a:lnTo>
                  <a:pt x="46" y="0"/>
                </a:lnTo>
                <a:lnTo>
                  <a:pt x="46" y="0"/>
                </a:lnTo>
                <a:lnTo>
                  <a:pt x="42" y="7"/>
                </a:lnTo>
                <a:lnTo>
                  <a:pt x="40" y="0"/>
                </a:lnTo>
                <a:lnTo>
                  <a:pt x="40" y="0"/>
                </a:lnTo>
                <a:lnTo>
                  <a:pt x="29" y="0"/>
                </a:lnTo>
                <a:lnTo>
                  <a:pt x="29" y="0"/>
                </a:lnTo>
                <a:lnTo>
                  <a:pt x="28" y="7"/>
                </a:lnTo>
                <a:lnTo>
                  <a:pt x="26" y="0"/>
                </a:lnTo>
                <a:lnTo>
                  <a:pt x="26" y="0"/>
                </a:lnTo>
                <a:lnTo>
                  <a:pt x="17" y="0"/>
                </a:lnTo>
                <a:lnTo>
                  <a:pt x="17" y="0"/>
                </a:lnTo>
                <a:lnTo>
                  <a:pt x="13" y="7"/>
                </a:lnTo>
                <a:lnTo>
                  <a:pt x="11" y="0"/>
                </a:lnTo>
                <a:lnTo>
                  <a:pt x="11" y="0"/>
                </a:lnTo>
                <a:lnTo>
                  <a:pt x="4" y="0"/>
                </a:lnTo>
                <a:lnTo>
                  <a:pt x="4" y="0"/>
                </a:lnTo>
                <a:lnTo>
                  <a:pt x="2" y="1"/>
                </a:lnTo>
                <a:lnTo>
                  <a:pt x="0" y="3"/>
                </a:lnTo>
                <a:lnTo>
                  <a:pt x="0" y="7"/>
                </a:lnTo>
                <a:lnTo>
                  <a:pt x="0" y="7"/>
                </a:lnTo>
                <a:lnTo>
                  <a:pt x="0" y="27"/>
                </a:lnTo>
                <a:lnTo>
                  <a:pt x="0" y="27"/>
                </a:lnTo>
                <a:lnTo>
                  <a:pt x="0" y="49"/>
                </a:lnTo>
                <a:lnTo>
                  <a:pt x="0" y="49"/>
                </a:lnTo>
                <a:lnTo>
                  <a:pt x="6" y="49"/>
                </a:lnTo>
                <a:lnTo>
                  <a:pt x="9" y="47"/>
                </a:lnTo>
                <a:lnTo>
                  <a:pt x="9" y="47"/>
                </a:lnTo>
                <a:lnTo>
                  <a:pt x="11" y="42"/>
                </a:lnTo>
                <a:lnTo>
                  <a:pt x="13" y="40"/>
                </a:lnTo>
                <a:lnTo>
                  <a:pt x="13" y="40"/>
                </a:lnTo>
                <a:lnTo>
                  <a:pt x="13" y="53"/>
                </a:lnTo>
                <a:lnTo>
                  <a:pt x="13" y="53"/>
                </a:lnTo>
                <a:lnTo>
                  <a:pt x="17" y="53"/>
                </a:lnTo>
                <a:lnTo>
                  <a:pt x="20" y="51"/>
                </a:lnTo>
                <a:lnTo>
                  <a:pt x="24" y="49"/>
                </a:lnTo>
                <a:lnTo>
                  <a:pt x="24" y="49"/>
                </a:lnTo>
                <a:lnTo>
                  <a:pt x="26" y="43"/>
                </a:lnTo>
                <a:lnTo>
                  <a:pt x="28" y="40"/>
                </a:lnTo>
                <a:lnTo>
                  <a:pt x="28" y="40"/>
                </a:lnTo>
                <a:lnTo>
                  <a:pt x="28" y="53"/>
                </a:lnTo>
                <a:lnTo>
                  <a:pt x="28" y="53"/>
                </a:lnTo>
                <a:lnTo>
                  <a:pt x="33" y="51"/>
                </a:lnTo>
                <a:lnTo>
                  <a:pt x="39" y="49"/>
                </a:lnTo>
                <a:lnTo>
                  <a:pt x="39" y="49"/>
                </a:lnTo>
                <a:lnTo>
                  <a:pt x="42" y="43"/>
                </a:lnTo>
                <a:lnTo>
                  <a:pt x="42" y="40"/>
                </a:lnTo>
                <a:lnTo>
                  <a:pt x="42" y="40"/>
                </a:lnTo>
                <a:lnTo>
                  <a:pt x="42" y="49"/>
                </a:lnTo>
                <a:lnTo>
                  <a:pt x="42" y="49"/>
                </a:lnTo>
                <a:lnTo>
                  <a:pt x="46" y="47"/>
                </a:lnTo>
                <a:lnTo>
                  <a:pt x="46" y="47"/>
                </a:lnTo>
                <a:lnTo>
                  <a:pt x="51" y="45"/>
                </a:lnTo>
                <a:lnTo>
                  <a:pt x="51" y="45"/>
                </a:lnTo>
                <a:lnTo>
                  <a:pt x="53" y="43"/>
                </a:lnTo>
                <a:lnTo>
                  <a:pt x="55" y="3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1" name="Freeform 42"/>
          <p:cNvSpPr>
            <a:spLocks/>
          </p:cNvSpPr>
          <p:nvPr userDrawn="1"/>
        </p:nvSpPr>
        <p:spPr bwMode="auto">
          <a:xfrm>
            <a:off x="8269288" y="-926678"/>
            <a:ext cx="53975" cy="60325"/>
          </a:xfrm>
          <a:custGeom>
            <a:avLst/>
            <a:gdLst>
              <a:gd name="T0" fmla="*/ 67 w 67"/>
              <a:gd name="T1" fmla="*/ 57 h 77"/>
              <a:gd name="T2" fmla="*/ 67 w 67"/>
              <a:gd name="T3" fmla="*/ 44 h 77"/>
              <a:gd name="T4" fmla="*/ 67 w 67"/>
              <a:gd name="T5" fmla="*/ 44 h 77"/>
              <a:gd name="T6" fmla="*/ 65 w 67"/>
              <a:gd name="T7" fmla="*/ 42 h 77"/>
              <a:gd name="T8" fmla="*/ 63 w 67"/>
              <a:gd name="T9" fmla="*/ 37 h 77"/>
              <a:gd name="T10" fmla="*/ 63 w 67"/>
              <a:gd name="T11" fmla="*/ 30 h 77"/>
              <a:gd name="T12" fmla="*/ 63 w 67"/>
              <a:gd name="T13" fmla="*/ 30 h 77"/>
              <a:gd name="T14" fmla="*/ 63 w 67"/>
              <a:gd name="T15" fmla="*/ 26 h 77"/>
              <a:gd name="T16" fmla="*/ 65 w 67"/>
              <a:gd name="T17" fmla="*/ 21 h 77"/>
              <a:gd name="T18" fmla="*/ 67 w 67"/>
              <a:gd name="T19" fmla="*/ 17 h 77"/>
              <a:gd name="T20" fmla="*/ 67 w 67"/>
              <a:gd name="T21" fmla="*/ 6 h 77"/>
              <a:gd name="T22" fmla="*/ 67 w 67"/>
              <a:gd name="T23" fmla="*/ 6 h 77"/>
              <a:gd name="T24" fmla="*/ 63 w 67"/>
              <a:gd name="T25" fmla="*/ 2 h 77"/>
              <a:gd name="T26" fmla="*/ 60 w 67"/>
              <a:gd name="T27" fmla="*/ 0 h 77"/>
              <a:gd name="T28" fmla="*/ 56 w 67"/>
              <a:gd name="T29" fmla="*/ 0 h 77"/>
              <a:gd name="T30" fmla="*/ 56 w 67"/>
              <a:gd name="T31" fmla="*/ 41 h 77"/>
              <a:gd name="T32" fmla="*/ 56 w 67"/>
              <a:gd name="T33" fmla="*/ 41 h 77"/>
              <a:gd name="T34" fmla="*/ 54 w 67"/>
              <a:gd name="T35" fmla="*/ 46 h 77"/>
              <a:gd name="T36" fmla="*/ 51 w 67"/>
              <a:gd name="T37" fmla="*/ 52 h 77"/>
              <a:gd name="T38" fmla="*/ 45 w 67"/>
              <a:gd name="T39" fmla="*/ 55 h 77"/>
              <a:gd name="T40" fmla="*/ 38 w 67"/>
              <a:gd name="T41" fmla="*/ 57 h 77"/>
              <a:gd name="T42" fmla="*/ 38 w 67"/>
              <a:gd name="T43" fmla="*/ 57 h 77"/>
              <a:gd name="T44" fmla="*/ 23 w 67"/>
              <a:gd name="T45" fmla="*/ 59 h 77"/>
              <a:gd name="T46" fmla="*/ 10 w 67"/>
              <a:gd name="T47" fmla="*/ 61 h 77"/>
              <a:gd name="T48" fmla="*/ 0 w 67"/>
              <a:gd name="T49" fmla="*/ 61 h 77"/>
              <a:gd name="T50" fmla="*/ 0 w 67"/>
              <a:gd name="T51" fmla="*/ 61 h 77"/>
              <a:gd name="T52" fmla="*/ 1 w 67"/>
              <a:gd name="T53" fmla="*/ 70 h 77"/>
              <a:gd name="T54" fmla="*/ 1 w 67"/>
              <a:gd name="T55" fmla="*/ 70 h 77"/>
              <a:gd name="T56" fmla="*/ 5 w 67"/>
              <a:gd name="T57" fmla="*/ 75 h 77"/>
              <a:gd name="T58" fmla="*/ 7 w 67"/>
              <a:gd name="T59" fmla="*/ 77 h 77"/>
              <a:gd name="T60" fmla="*/ 54 w 67"/>
              <a:gd name="T61" fmla="*/ 77 h 77"/>
              <a:gd name="T62" fmla="*/ 67 w 67"/>
              <a:gd name="T63" fmla="*/ 5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7" h="77">
                <a:moveTo>
                  <a:pt x="67" y="57"/>
                </a:moveTo>
                <a:lnTo>
                  <a:pt x="67" y="44"/>
                </a:lnTo>
                <a:lnTo>
                  <a:pt x="67" y="44"/>
                </a:lnTo>
                <a:lnTo>
                  <a:pt x="65" y="42"/>
                </a:lnTo>
                <a:lnTo>
                  <a:pt x="63" y="37"/>
                </a:lnTo>
                <a:lnTo>
                  <a:pt x="63" y="30"/>
                </a:lnTo>
                <a:lnTo>
                  <a:pt x="63" y="30"/>
                </a:lnTo>
                <a:lnTo>
                  <a:pt x="63" y="26"/>
                </a:lnTo>
                <a:lnTo>
                  <a:pt x="65" y="21"/>
                </a:lnTo>
                <a:lnTo>
                  <a:pt x="67" y="17"/>
                </a:lnTo>
                <a:lnTo>
                  <a:pt x="67" y="6"/>
                </a:lnTo>
                <a:lnTo>
                  <a:pt x="67" y="6"/>
                </a:lnTo>
                <a:lnTo>
                  <a:pt x="63" y="2"/>
                </a:lnTo>
                <a:lnTo>
                  <a:pt x="60" y="0"/>
                </a:lnTo>
                <a:lnTo>
                  <a:pt x="56" y="0"/>
                </a:lnTo>
                <a:lnTo>
                  <a:pt x="56" y="41"/>
                </a:lnTo>
                <a:lnTo>
                  <a:pt x="56" y="41"/>
                </a:lnTo>
                <a:lnTo>
                  <a:pt x="54" y="46"/>
                </a:lnTo>
                <a:lnTo>
                  <a:pt x="51" y="52"/>
                </a:lnTo>
                <a:lnTo>
                  <a:pt x="45" y="55"/>
                </a:lnTo>
                <a:lnTo>
                  <a:pt x="38" y="57"/>
                </a:lnTo>
                <a:lnTo>
                  <a:pt x="38" y="57"/>
                </a:lnTo>
                <a:lnTo>
                  <a:pt x="23" y="59"/>
                </a:lnTo>
                <a:lnTo>
                  <a:pt x="10" y="61"/>
                </a:lnTo>
                <a:lnTo>
                  <a:pt x="0" y="61"/>
                </a:lnTo>
                <a:lnTo>
                  <a:pt x="0" y="61"/>
                </a:lnTo>
                <a:lnTo>
                  <a:pt x="1" y="70"/>
                </a:lnTo>
                <a:lnTo>
                  <a:pt x="1" y="70"/>
                </a:lnTo>
                <a:lnTo>
                  <a:pt x="5" y="75"/>
                </a:lnTo>
                <a:lnTo>
                  <a:pt x="7" y="77"/>
                </a:lnTo>
                <a:lnTo>
                  <a:pt x="54" y="77"/>
                </a:lnTo>
                <a:lnTo>
                  <a:pt x="67" y="5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2" name="Freeform 43"/>
          <p:cNvSpPr>
            <a:spLocks/>
          </p:cNvSpPr>
          <p:nvPr userDrawn="1"/>
        </p:nvSpPr>
        <p:spPr bwMode="auto">
          <a:xfrm>
            <a:off x="8272463" y="-858415"/>
            <a:ext cx="42863" cy="14288"/>
          </a:xfrm>
          <a:custGeom>
            <a:avLst/>
            <a:gdLst>
              <a:gd name="T0" fmla="*/ 4 w 55"/>
              <a:gd name="T1" fmla="*/ 19 h 19"/>
              <a:gd name="T2" fmla="*/ 51 w 55"/>
              <a:gd name="T3" fmla="*/ 19 h 19"/>
              <a:gd name="T4" fmla="*/ 51 w 55"/>
              <a:gd name="T5" fmla="*/ 19 h 19"/>
              <a:gd name="T6" fmla="*/ 55 w 55"/>
              <a:gd name="T7" fmla="*/ 9 h 19"/>
              <a:gd name="T8" fmla="*/ 53 w 55"/>
              <a:gd name="T9" fmla="*/ 0 h 19"/>
              <a:gd name="T10" fmla="*/ 4 w 55"/>
              <a:gd name="T11" fmla="*/ 0 h 19"/>
              <a:gd name="T12" fmla="*/ 0 w 55"/>
              <a:gd name="T13" fmla="*/ 9 h 19"/>
              <a:gd name="T14" fmla="*/ 4 w 55"/>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19">
                <a:moveTo>
                  <a:pt x="4" y="19"/>
                </a:moveTo>
                <a:lnTo>
                  <a:pt x="51" y="19"/>
                </a:lnTo>
                <a:lnTo>
                  <a:pt x="51" y="19"/>
                </a:lnTo>
                <a:lnTo>
                  <a:pt x="55" y="9"/>
                </a:lnTo>
                <a:lnTo>
                  <a:pt x="53" y="0"/>
                </a:lnTo>
                <a:lnTo>
                  <a:pt x="4" y="0"/>
                </a:lnTo>
                <a:lnTo>
                  <a:pt x="0" y="9"/>
                </a:lnTo>
                <a:lnTo>
                  <a:pt x="4" y="1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3" name="Freeform 44"/>
          <p:cNvSpPr>
            <a:spLocks/>
          </p:cNvSpPr>
          <p:nvPr userDrawn="1"/>
        </p:nvSpPr>
        <p:spPr bwMode="auto">
          <a:xfrm>
            <a:off x="8274050" y="-837778"/>
            <a:ext cx="44450" cy="50800"/>
          </a:xfrm>
          <a:custGeom>
            <a:avLst/>
            <a:gdLst>
              <a:gd name="T0" fmla="*/ 47 w 55"/>
              <a:gd name="T1" fmla="*/ 0 h 64"/>
              <a:gd name="T2" fmla="*/ 0 w 55"/>
              <a:gd name="T3" fmla="*/ 0 h 64"/>
              <a:gd name="T4" fmla="*/ 0 w 55"/>
              <a:gd name="T5" fmla="*/ 62 h 64"/>
              <a:gd name="T6" fmla="*/ 42 w 55"/>
              <a:gd name="T7" fmla="*/ 64 h 64"/>
              <a:gd name="T8" fmla="*/ 55 w 55"/>
              <a:gd name="T9" fmla="*/ 53 h 64"/>
              <a:gd name="T10" fmla="*/ 47 w 55"/>
              <a:gd name="T11" fmla="*/ 0 h 64"/>
            </a:gdLst>
            <a:ahLst/>
            <a:cxnLst>
              <a:cxn ang="0">
                <a:pos x="T0" y="T1"/>
              </a:cxn>
              <a:cxn ang="0">
                <a:pos x="T2" y="T3"/>
              </a:cxn>
              <a:cxn ang="0">
                <a:pos x="T4" y="T5"/>
              </a:cxn>
              <a:cxn ang="0">
                <a:pos x="T6" y="T7"/>
              </a:cxn>
              <a:cxn ang="0">
                <a:pos x="T8" y="T9"/>
              </a:cxn>
              <a:cxn ang="0">
                <a:pos x="T10" y="T11"/>
              </a:cxn>
            </a:cxnLst>
            <a:rect l="0" t="0" r="r" b="b"/>
            <a:pathLst>
              <a:path w="55" h="64">
                <a:moveTo>
                  <a:pt x="47" y="0"/>
                </a:moveTo>
                <a:lnTo>
                  <a:pt x="0" y="0"/>
                </a:lnTo>
                <a:lnTo>
                  <a:pt x="0" y="62"/>
                </a:lnTo>
                <a:lnTo>
                  <a:pt x="42" y="64"/>
                </a:lnTo>
                <a:lnTo>
                  <a:pt x="55" y="53"/>
                </a:lnTo>
                <a:lnTo>
                  <a:pt x="4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4" name="Freeform 45"/>
          <p:cNvSpPr>
            <a:spLocks/>
          </p:cNvSpPr>
          <p:nvPr userDrawn="1"/>
        </p:nvSpPr>
        <p:spPr bwMode="auto">
          <a:xfrm>
            <a:off x="8274050" y="-788565"/>
            <a:ext cx="57150" cy="50800"/>
          </a:xfrm>
          <a:custGeom>
            <a:avLst/>
            <a:gdLst>
              <a:gd name="T0" fmla="*/ 73 w 73"/>
              <a:gd name="T1" fmla="*/ 16 h 64"/>
              <a:gd name="T2" fmla="*/ 73 w 73"/>
              <a:gd name="T3" fmla="*/ 16 h 64"/>
              <a:gd name="T4" fmla="*/ 64 w 73"/>
              <a:gd name="T5" fmla="*/ 9 h 64"/>
              <a:gd name="T6" fmla="*/ 64 w 73"/>
              <a:gd name="T7" fmla="*/ 9 h 64"/>
              <a:gd name="T8" fmla="*/ 62 w 73"/>
              <a:gd name="T9" fmla="*/ 0 h 64"/>
              <a:gd name="T10" fmla="*/ 48 w 73"/>
              <a:gd name="T11" fmla="*/ 11 h 64"/>
              <a:gd name="T12" fmla="*/ 0 w 73"/>
              <a:gd name="T13" fmla="*/ 11 h 64"/>
              <a:gd name="T14" fmla="*/ 0 w 73"/>
              <a:gd name="T15" fmla="*/ 11 h 64"/>
              <a:gd name="T16" fmla="*/ 0 w 73"/>
              <a:gd name="T17" fmla="*/ 27 h 64"/>
              <a:gd name="T18" fmla="*/ 0 w 73"/>
              <a:gd name="T19" fmla="*/ 45 h 64"/>
              <a:gd name="T20" fmla="*/ 0 w 73"/>
              <a:gd name="T21" fmla="*/ 45 h 64"/>
              <a:gd name="T22" fmla="*/ 11 w 73"/>
              <a:gd name="T23" fmla="*/ 55 h 64"/>
              <a:gd name="T24" fmla="*/ 24 w 73"/>
              <a:gd name="T25" fmla="*/ 64 h 64"/>
              <a:gd name="T26" fmla="*/ 55 w 73"/>
              <a:gd name="T27" fmla="*/ 25 h 64"/>
              <a:gd name="T28" fmla="*/ 73 w 73"/>
              <a:gd name="T29"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64">
                <a:moveTo>
                  <a:pt x="73" y="16"/>
                </a:moveTo>
                <a:lnTo>
                  <a:pt x="73" y="16"/>
                </a:lnTo>
                <a:lnTo>
                  <a:pt x="64" y="9"/>
                </a:lnTo>
                <a:lnTo>
                  <a:pt x="64" y="9"/>
                </a:lnTo>
                <a:lnTo>
                  <a:pt x="62" y="0"/>
                </a:lnTo>
                <a:lnTo>
                  <a:pt x="48" y="11"/>
                </a:lnTo>
                <a:lnTo>
                  <a:pt x="0" y="11"/>
                </a:lnTo>
                <a:lnTo>
                  <a:pt x="0" y="11"/>
                </a:lnTo>
                <a:lnTo>
                  <a:pt x="0" y="27"/>
                </a:lnTo>
                <a:lnTo>
                  <a:pt x="0" y="45"/>
                </a:lnTo>
                <a:lnTo>
                  <a:pt x="0" y="45"/>
                </a:lnTo>
                <a:lnTo>
                  <a:pt x="11" y="55"/>
                </a:lnTo>
                <a:lnTo>
                  <a:pt x="24" y="64"/>
                </a:lnTo>
                <a:lnTo>
                  <a:pt x="55" y="25"/>
                </a:lnTo>
                <a:lnTo>
                  <a:pt x="73"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5" name="Freeform 46"/>
          <p:cNvSpPr>
            <a:spLocks/>
          </p:cNvSpPr>
          <p:nvPr userDrawn="1"/>
        </p:nvSpPr>
        <p:spPr bwMode="auto">
          <a:xfrm>
            <a:off x="8301038" y="-769515"/>
            <a:ext cx="85725" cy="50800"/>
          </a:xfrm>
          <a:custGeom>
            <a:avLst/>
            <a:gdLst>
              <a:gd name="T0" fmla="*/ 27 w 108"/>
              <a:gd name="T1" fmla="*/ 7 h 63"/>
              <a:gd name="T2" fmla="*/ 0 w 108"/>
              <a:gd name="T3" fmla="*/ 43 h 63"/>
              <a:gd name="T4" fmla="*/ 45 w 108"/>
              <a:gd name="T5" fmla="*/ 63 h 63"/>
              <a:gd name="T6" fmla="*/ 45 w 108"/>
              <a:gd name="T7" fmla="*/ 63 h 63"/>
              <a:gd name="T8" fmla="*/ 65 w 108"/>
              <a:gd name="T9" fmla="*/ 51 h 63"/>
              <a:gd name="T10" fmla="*/ 86 w 108"/>
              <a:gd name="T11" fmla="*/ 38 h 63"/>
              <a:gd name="T12" fmla="*/ 108 w 108"/>
              <a:gd name="T13" fmla="*/ 23 h 63"/>
              <a:gd name="T14" fmla="*/ 44 w 108"/>
              <a:gd name="T15" fmla="*/ 0 h 63"/>
              <a:gd name="T16" fmla="*/ 27 w 108"/>
              <a:gd name="T17" fmla="*/ 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63">
                <a:moveTo>
                  <a:pt x="27" y="7"/>
                </a:moveTo>
                <a:lnTo>
                  <a:pt x="0" y="43"/>
                </a:lnTo>
                <a:lnTo>
                  <a:pt x="45" y="63"/>
                </a:lnTo>
                <a:lnTo>
                  <a:pt x="45" y="63"/>
                </a:lnTo>
                <a:lnTo>
                  <a:pt x="65" y="51"/>
                </a:lnTo>
                <a:lnTo>
                  <a:pt x="86" y="38"/>
                </a:lnTo>
                <a:lnTo>
                  <a:pt x="108" y="23"/>
                </a:lnTo>
                <a:lnTo>
                  <a:pt x="44" y="0"/>
                </a:lnTo>
                <a:lnTo>
                  <a:pt x="2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6" name="Freeform 47"/>
          <p:cNvSpPr>
            <a:spLocks/>
          </p:cNvSpPr>
          <p:nvPr userDrawn="1"/>
        </p:nvSpPr>
        <p:spPr bwMode="auto">
          <a:xfrm>
            <a:off x="8324850" y="-952078"/>
            <a:ext cx="22225" cy="93663"/>
          </a:xfrm>
          <a:custGeom>
            <a:avLst/>
            <a:gdLst>
              <a:gd name="T0" fmla="*/ 22 w 27"/>
              <a:gd name="T1" fmla="*/ 50 h 117"/>
              <a:gd name="T2" fmla="*/ 22 w 27"/>
              <a:gd name="T3" fmla="*/ 50 h 117"/>
              <a:gd name="T4" fmla="*/ 22 w 27"/>
              <a:gd name="T5" fmla="*/ 11 h 117"/>
              <a:gd name="T6" fmla="*/ 22 w 27"/>
              <a:gd name="T7" fmla="*/ 11 h 117"/>
              <a:gd name="T8" fmla="*/ 24 w 27"/>
              <a:gd name="T9" fmla="*/ 8 h 117"/>
              <a:gd name="T10" fmla="*/ 24 w 27"/>
              <a:gd name="T11" fmla="*/ 8 h 117"/>
              <a:gd name="T12" fmla="*/ 24 w 27"/>
              <a:gd name="T13" fmla="*/ 4 h 117"/>
              <a:gd name="T14" fmla="*/ 24 w 27"/>
              <a:gd name="T15" fmla="*/ 0 h 117"/>
              <a:gd name="T16" fmla="*/ 2 w 27"/>
              <a:gd name="T17" fmla="*/ 0 h 117"/>
              <a:gd name="T18" fmla="*/ 2 w 27"/>
              <a:gd name="T19" fmla="*/ 0 h 117"/>
              <a:gd name="T20" fmla="*/ 2 w 27"/>
              <a:gd name="T21" fmla="*/ 6 h 117"/>
              <a:gd name="T22" fmla="*/ 2 w 27"/>
              <a:gd name="T23" fmla="*/ 6 h 117"/>
              <a:gd name="T24" fmla="*/ 2 w 27"/>
              <a:gd name="T25" fmla="*/ 9 h 117"/>
              <a:gd name="T26" fmla="*/ 3 w 27"/>
              <a:gd name="T27" fmla="*/ 11 h 117"/>
              <a:gd name="T28" fmla="*/ 3 w 27"/>
              <a:gd name="T29" fmla="*/ 50 h 117"/>
              <a:gd name="T30" fmla="*/ 3 w 27"/>
              <a:gd name="T31" fmla="*/ 50 h 117"/>
              <a:gd name="T32" fmla="*/ 2 w 27"/>
              <a:gd name="T33" fmla="*/ 52 h 117"/>
              <a:gd name="T34" fmla="*/ 0 w 27"/>
              <a:gd name="T35" fmla="*/ 61 h 117"/>
              <a:gd name="T36" fmla="*/ 0 w 27"/>
              <a:gd name="T37" fmla="*/ 61 h 117"/>
              <a:gd name="T38" fmla="*/ 0 w 27"/>
              <a:gd name="T39" fmla="*/ 66 h 117"/>
              <a:gd name="T40" fmla="*/ 2 w 27"/>
              <a:gd name="T41" fmla="*/ 72 h 117"/>
              <a:gd name="T42" fmla="*/ 5 w 27"/>
              <a:gd name="T43" fmla="*/ 75 h 117"/>
              <a:gd name="T44" fmla="*/ 3 w 27"/>
              <a:gd name="T45" fmla="*/ 106 h 117"/>
              <a:gd name="T46" fmla="*/ 3 w 27"/>
              <a:gd name="T47" fmla="*/ 106 h 117"/>
              <a:gd name="T48" fmla="*/ 3 w 27"/>
              <a:gd name="T49" fmla="*/ 108 h 117"/>
              <a:gd name="T50" fmla="*/ 2 w 27"/>
              <a:gd name="T51" fmla="*/ 112 h 117"/>
              <a:gd name="T52" fmla="*/ 2 w 27"/>
              <a:gd name="T53" fmla="*/ 112 h 117"/>
              <a:gd name="T54" fmla="*/ 2 w 27"/>
              <a:gd name="T55" fmla="*/ 117 h 117"/>
              <a:gd name="T56" fmla="*/ 24 w 27"/>
              <a:gd name="T57" fmla="*/ 117 h 117"/>
              <a:gd name="T58" fmla="*/ 24 w 27"/>
              <a:gd name="T59" fmla="*/ 117 h 117"/>
              <a:gd name="T60" fmla="*/ 24 w 27"/>
              <a:gd name="T61" fmla="*/ 110 h 117"/>
              <a:gd name="T62" fmla="*/ 24 w 27"/>
              <a:gd name="T63" fmla="*/ 110 h 117"/>
              <a:gd name="T64" fmla="*/ 22 w 27"/>
              <a:gd name="T65" fmla="*/ 106 h 117"/>
              <a:gd name="T66" fmla="*/ 22 w 27"/>
              <a:gd name="T67" fmla="*/ 75 h 117"/>
              <a:gd name="T68" fmla="*/ 22 w 27"/>
              <a:gd name="T69" fmla="*/ 75 h 117"/>
              <a:gd name="T70" fmla="*/ 25 w 27"/>
              <a:gd name="T71" fmla="*/ 70 h 117"/>
              <a:gd name="T72" fmla="*/ 25 w 27"/>
              <a:gd name="T73" fmla="*/ 66 h 117"/>
              <a:gd name="T74" fmla="*/ 27 w 27"/>
              <a:gd name="T75" fmla="*/ 62 h 117"/>
              <a:gd name="T76" fmla="*/ 27 w 27"/>
              <a:gd name="T77" fmla="*/ 62 h 117"/>
              <a:gd name="T78" fmla="*/ 24 w 27"/>
              <a:gd name="T79" fmla="*/ 53 h 117"/>
              <a:gd name="T80" fmla="*/ 22 w 27"/>
              <a:gd name="T81" fmla="*/ 5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7" h="117">
                <a:moveTo>
                  <a:pt x="22" y="50"/>
                </a:moveTo>
                <a:lnTo>
                  <a:pt x="22" y="50"/>
                </a:lnTo>
                <a:lnTo>
                  <a:pt x="22" y="11"/>
                </a:lnTo>
                <a:lnTo>
                  <a:pt x="22" y="11"/>
                </a:lnTo>
                <a:lnTo>
                  <a:pt x="24" y="8"/>
                </a:lnTo>
                <a:lnTo>
                  <a:pt x="24" y="8"/>
                </a:lnTo>
                <a:lnTo>
                  <a:pt x="24" y="4"/>
                </a:lnTo>
                <a:lnTo>
                  <a:pt x="24" y="0"/>
                </a:lnTo>
                <a:lnTo>
                  <a:pt x="2" y="0"/>
                </a:lnTo>
                <a:lnTo>
                  <a:pt x="2" y="0"/>
                </a:lnTo>
                <a:lnTo>
                  <a:pt x="2" y="6"/>
                </a:lnTo>
                <a:lnTo>
                  <a:pt x="2" y="6"/>
                </a:lnTo>
                <a:lnTo>
                  <a:pt x="2" y="9"/>
                </a:lnTo>
                <a:lnTo>
                  <a:pt x="3" y="11"/>
                </a:lnTo>
                <a:lnTo>
                  <a:pt x="3" y="50"/>
                </a:lnTo>
                <a:lnTo>
                  <a:pt x="3" y="50"/>
                </a:lnTo>
                <a:lnTo>
                  <a:pt x="2" y="52"/>
                </a:lnTo>
                <a:lnTo>
                  <a:pt x="0" y="61"/>
                </a:lnTo>
                <a:lnTo>
                  <a:pt x="0" y="61"/>
                </a:lnTo>
                <a:lnTo>
                  <a:pt x="0" y="66"/>
                </a:lnTo>
                <a:lnTo>
                  <a:pt x="2" y="72"/>
                </a:lnTo>
                <a:lnTo>
                  <a:pt x="5" y="75"/>
                </a:lnTo>
                <a:lnTo>
                  <a:pt x="3" y="106"/>
                </a:lnTo>
                <a:lnTo>
                  <a:pt x="3" y="106"/>
                </a:lnTo>
                <a:lnTo>
                  <a:pt x="3" y="108"/>
                </a:lnTo>
                <a:lnTo>
                  <a:pt x="2" y="112"/>
                </a:lnTo>
                <a:lnTo>
                  <a:pt x="2" y="112"/>
                </a:lnTo>
                <a:lnTo>
                  <a:pt x="2" y="117"/>
                </a:lnTo>
                <a:lnTo>
                  <a:pt x="24" y="117"/>
                </a:lnTo>
                <a:lnTo>
                  <a:pt x="24" y="117"/>
                </a:lnTo>
                <a:lnTo>
                  <a:pt x="24" y="110"/>
                </a:lnTo>
                <a:lnTo>
                  <a:pt x="24" y="110"/>
                </a:lnTo>
                <a:lnTo>
                  <a:pt x="22" y="106"/>
                </a:lnTo>
                <a:lnTo>
                  <a:pt x="22" y="75"/>
                </a:lnTo>
                <a:lnTo>
                  <a:pt x="22" y="75"/>
                </a:lnTo>
                <a:lnTo>
                  <a:pt x="25" y="70"/>
                </a:lnTo>
                <a:lnTo>
                  <a:pt x="25" y="66"/>
                </a:lnTo>
                <a:lnTo>
                  <a:pt x="27" y="62"/>
                </a:lnTo>
                <a:lnTo>
                  <a:pt x="27" y="62"/>
                </a:lnTo>
                <a:lnTo>
                  <a:pt x="24" y="53"/>
                </a:lnTo>
                <a:lnTo>
                  <a:pt x="22" y="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7" name="Freeform 48"/>
          <p:cNvSpPr>
            <a:spLocks/>
          </p:cNvSpPr>
          <p:nvPr userDrawn="1"/>
        </p:nvSpPr>
        <p:spPr bwMode="auto">
          <a:xfrm>
            <a:off x="8347075" y="-923503"/>
            <a:ext cx="60325" cy="42863"/>
          </a:xfrm>
          <a:custGeom>
            <a:avLst/>
            <a:gdLst>
              <a:gd name="T0" fmla="*/ 42 w 77"/>
              <a:gd name="T1" fmla="*/ 46 h 55"/>
              <a:gd name="T2" fmla="*/ 77 w 77"/>
              <a:gd name="T3" fmla="*/ 9 h 55"/>
              <a:gd name="T4" fmla="*/ 77 w 77"/>
              <a:gd name="T5" fmla="*/ 9 h 55"/>
              <a:gd name="T6" fmla="*/ 26 w 77"/>
              <a:gd name="T7" fmla="*/ 9 h 55"/>
              <a:gd name="T8" fmla="*/ 26 w 77"/>
              <a:gd name="T9" fmla="*/ 9 h 55"/>
              <a:gd name="T10" fmla="*/ 20 w 77"/>
              <a:gd name="T11" fmla="*/ 7 h 55"/>
              <a:gd name="T12" fmla="*/ 15 w 77"/>
              <a:gd name="T13" fmla="*/ 4 h 55"/>
              <a:gd name="T14" fmla="*/ 7 w 77"/>
              <a:gd name="T15" fmla="*/ 0 h 55"/>
              <a:gd name="T16" fmla="*/ 6 w 77"/>
              <a:gd name="T17" fmla="*/ 0 h 55"/>
              <a:gd name="T18" fmla="*/ 6 w 77"/>
              <a:gd name="T19" fmla="*/ 0 h 55"/>
              <a:gd name="T20" fmla="*/ 0 w 77"/>
              <a:gd name="T21" fmla="*/ 11 h 55"/>
              <a:gd name="T22" fmla="*/ 0 w 77"/>
              <a:gd name="T23" fmla="*/ 11 h 55"/>
              <a:gd name="T24" fmla="*/ 4 w 77"/>
              <a:gd name="T25" fmla="*/ 17 h 55"/>
              <a:gd name="T26" fmla="*/ 6 w 77"/>
              <a:gd name="T27" fmla="*/ 20 h 55"/>
              <a:gd name="T28" fmla="*/ 7 w 77"/>
              <a:gd name="T29" fmla="*/ 27 h 55"/>
              <a:gd name="T30" fmla="*/ 7 w 77"/>
              <a:gd name="T31" fmla="*/ 27 h 55"/>
              <a:gd name="T32" fmla="*/ 7 w 77"/>
              <a:gd name="T33" fmla="*/ 33 h 55"/>
              <a:gd name="T34" fmla="*/ 4 w 77"/>
              <a:gd name="T35" fmla="*/ 38 h 55"/>
              <a:gd name="T36" fmla="*/ 0 w 77"/>
              <a:gd name="T37" fmla="*/ 42 h 55"/>
              <a:gd name="T38" fmla="*/ 0 w 77"/>
              <a:gd name="T39" fmla="*/ 42 h 55"/>
              <a:gd name="T40" fmla="*/ 7 w 77"/>
              <a:gd name="T41" fmla="*/ 55 h 55"/>
              <a:gd name="T42" fmla="*/ 7 w 77"/>
              <a:gd name="T43" fmla="*/ 55 h 55"/>
              <a:gd name="T44" fmla="*/ 13 w 77"/>
              <a:gd name="T45" fmla="*/ 51 h 55"/>
              <a:gd name="T46" fmla="*/ 28 w 77"/>
              <a:gd name="T47" fmla="*/ 46 h 55"/>
              <a:gd name="T48" fmla="*/ 28 w 77"/>
              <a:gd name="T49" fmla="*/ 46 h 55"/>
              <a:gd name="T50" fmla="*/ 42 w 77"/>
              <a:gd name="T51" fmla="*/ 4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7" h="55">
                <a:moveTo>
                  <a:pt x="42" y="46"/>
                </a:moveTo>
                <a:lnTo>
                  <a:pt x="77" y="9"/>
                </a:lnTo>
                <a:lnTo>
                  <a:pt x="77" y="9"/>
                </a:lnTo>
                <a:lnTo>
                  <a:pt x="26" y="9"/>
                </a:lnTo>
                <a:lnTo>
                  <a:pt x="26" y="9"/>
                </a:lnTo>
                <a:lnTo>
                  <a:pt x="20" y="7"/>
                </a:lnTo>
                <a:lnTo>
                  <a:pt x="15" y="4"/>
                </a:lnTo>
                <a:lnTo>
                  <a:pt x="7" y="0"/>
                </a:lnTo>
                <a:lnTo>
                  <a:pt x="6" y="0"/>
                </a:lnTo>
                <a:lnTo>
                  <a:pt x="6" y="0"/>
                </a:lnTo>
                <a:lnTo>
                  <a:pt x="0" y="11"/>
                </a:lnTo>
                <a:lnTo>
                  <a:pt x="0" y="11"/>
                </a:lnTo>
                <a:lnTo>
                  <a:pt x="4" y="17"/>
                </a:lnTo>
                <a:lnTo>
                  <a:pt x="6" y="20"/>
                </a:lnTo>
                <a:lnTo>
                  <a:pt x="7" y="27"/>
                </a:lnTo>
                <a:lnTo>
                  <a:pt x="7" y="27"/>
                </a:lnTo>
                <a:lnTo>
                  <a:pt x="7" y="33"/>
                </a:lnTo>
                <a:lnTo>
                  <a:pt x="4" y="38"/>
                </a:lnTo>
                <a:lnTo>
                  <a:pt x="0" y="42"/>
                </a:lnTo>
                <a:lnTo>
                  <a:pt x="0" y="42"/>
                </a:lnTo>
                <a:lnTo>
                  <a:pt x="7" y="55"/>
                </a:lnTo>
                <a:lnTo>
                  <a:pt x="7" y="55"/>
                </a:lnTo>
                <a:lnTo>
                  <a:pt x="13" y="51"/>
                </a:lnTo>
                <a:lnTo>
                  <a:pt x="28" y="46"/>
                </a:lnTo>
                <a:lnTo>
                  <a:pt x="28" y="46"/>
                </a:lnTo>
                <a:lnTo>
                  <a:pt x="42" y="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8" name="Freeform 49"/>
          <p:cNvSpPr>
            <a:spLocks/>
          </p:cNvSpPr>
          <p:nvPr userDrawn="1"/>
        </p:nvSpPr>
        <p:spPr bwMode="auto">
          <a:xfrm>
            <a:off x="8423275" y="-982240"/>
            <a:ext cx="119063" cy="93663"/>
          </a:xfrm>
          <a:custGeom>
            <a:avLst/>
            <a:gdLst>
              <a:gd name="T0" fmla="*/ 152 w 152"/>
              <a:gd name="T1" fmla="*/ 60 h 119"/>
              <a:gd name="T2" fmla="*/ 148 w 152"/>
              <a:gd name="T3" fmla="*/ 58 h 119"/>
              <a:gd name="T4" fmla="*/ 139 w 152"/>
              <a:gd name="T5" fmla="*/ 62 h 119"/>
              <a:gd name="T6" fmla="*/ 135 w 152"/>
              <a:gd name="T7" fmla="*/ 64 h 119"/>
              <a:gd name="T8" fmla="*/ 134 w 152"/>
              <a:gd name="T9" fmla="*/ 75 h 119"/>
              <a:gd name="T10" fmla="*/ 130 w 152"/>
              <a:gd name="T11" fmla="*/ 71 h 119"/>
              <a:gd name="T12" fmla="*/ 121 w 152"/>
              <a:gd name="T13" fmla="*/ 69 h 119"/>
              <a:gd name="T14" fmla="*/ 113 w 152"/>
              <a:gd name="T15" fmla="*/ 71 h 119"/>
              <a:gd name="T16" fmla="*/ 117 w 152"/>
              <a:gd name="T17" fmla="*/ 80 h 119"/>
              <a:gd name="T18" fmla="*/ 113 w 152"/>
              <a:gd name="T19" fmla="*/ 90 h 119"/>
              <a:gd name="T20" fmla="*/ 110 w 152"/>
              <a:gd name="T21" fmla="*/ 90 h 119"/>
              <a:gd name="T22" fmla="*/ 103 w 152"/>
              <a:gd name="T23" fmla="*/ 84 h 119"/>
              <a:gd name="T24" fmla="*/ 103 w 152"/>
              <a:gd name="T25" fmla="*/ 79 h 119"/>
              <a:gd name="T26" fmla="*/ 93 w 152"/>
              <a:gd name="T27" fmla="*/ 82 h 119"/>
              <a:gd name="T28" fmla="*/ 88 w 152"/>
              <a:gd name="T29" fmla="*/ 79 h 119"/>
              <a:gd name="T30" fmla="*/ 90 w 152"/>
              <a:gd name="T31" fmla="*/ 69 h 119"/>
              <a:gd name="T32" fmla="*/ 104 w 152"/>
              <a:gd name="T33" fmla="*/ 66 h 119"/>
              <a:gd name="T34" fmla="*/ 103 w 152"/>
              <a:gd name="T35" fmla="*/ 60 h 119"/>
              <a:gd name="T36" fmla="*/ 97 w 152"/>
              <a:gd name="T37" fmla="*/ 53 h 119"/>
              <a:gd name="T38" fmla="*/ 92 w 152"/>
              <a:gd name="T39" fmla="*/ 51 h 119"/>
              <a:gd name="T40" fmla="*/ 82 w 152"/>
              <a:gd name="T41" fmla="*/ 53 h 119"/>
              <a:gd name="T42" fmla="*/ 86 w 152"/>
              <a:gd name="T43" fmla="*/ 51 h 119"/>
              <a:gd name="T44" fmla="*/ 90 w 152"/>
              <a:gd name="T45" fmla="*/ 44 h 119"/>
              <a:gd name="T46" fmla="*/ 90 w 152"/>
              <a:gd name="T47" fmla="*/ 35 h 119"/>
              <a:gd name="T48" fmla="*/ 84 w 152"/>
              <a:gd name="T49" fmla="*/ 26 h 119"/>
              <a:gd name="T50" fmla="*/ 84 w 152"/>
              <a:gd name="T51" fmla="*/ 26 h 119"/>
              <a:gd name="T52" fmla="*/ 79 w 152"/>
              <a:gd name="T53" fmla="*/ 27 h 119"/>
              <a:gd name="T54" fmla="*/ 68 w 152"/>
              <a:gd name="T55" fmla="*/ 33 h 119"/>
              <a:gd name="T56" fmla="*/ 66 w 152"/>
              <a:gd name="T57" fmla="*/ 38 h 119"/>
              <a:gd name="T58" fmla="*/ 66 w 152"/>
              <a:gd name="T59" fmla="*/ 46 h 119"/>
              <a:gd name="T60" fmla="*/ 62 w 152"/>
              <a:gd name="T61" fmla="*/ 40 h 119"/>
              <a:gd name="T62" fmla="*/ 55 w 152"/>
              <a:gd name="T63" fmla="*/ 35 h 119"/>
              <a:gd name="T64" fmla="*/ 50 w 152"/>
              <a:gd name="T65" fmla="*/ 35 h 119"/>
              <a:gd name="T66" fmla="*/ 42 w 152"/>
              <a:gd name="T67" fmla="*/ 38 h 119"/>
              <a:gd name="T68" fmla="*/ 48 w 152"/>
              <a:gd name="T69" fmla="*/ 46 h 119"/>
              <a:gd name="T70" fmla="*/ 48 w 152"/>
              <a:gd name="T71" fmla="*/ 57 h 119"/>
              <a:gd name="T72" fmla="*/ 42 w 152"/>
              <a:gd name="T73" fmla="*/ 58 h 119"/>
              <a:gd name="T74" fmla="*/ 35 w 152"/>
              <a:gd name="T75" fmla="*/ 53 h 119"/>
              <a:gd name="T76" fmla="*/ 33 w 152"/>
              <a:gd name="T77" fmla="*/ 47 h 119"/>
              <a:gd name="T78" fmla="*/ 26 w 152"/>
              <a:gd name="T79" fmla="*/ 53 h 119"/>
              <a:gd name="T80" fmla="*/ 20 w 152"/>
              <a:gd name="T81" fmla="*/ 51 h 119"/>
              <a:gd name="T82" fmla="*/ 17 w 152"/>
              <a:gd name="T83" fmla="*/ 42 h 119"/>
              <a:gd name="T84" fmla="*/ 31 w 152"/>
              <a:gd name="T85" fmla="*/ 35 h 119"/>
              <a:gd name="T86" fmla="*/ 29 w 152"/>
              <a:gd name="T87" fmla="*/ 33 h 119"/>
              <a:gd name="T88" fmla="*/ 22 w 152"/>
              <a:gd name="T89" fmla="*/ 24 h 119"/>
              <a:gd name="T90" fmla="*/ 15 w 152"/>
              <a:gd name="T91" fmla="*/ 24 h 119"/>
              <a:gd name="T92" fmla="*/ 18 w 152"/>
              <a:gd name="T93" fmla="*/ 18 h 119"/>
              <a:gd name="T94" fmla="*/ 20 w 152"/>
              <a:gd name="T95" fmla="*/ 9 h 119"/>
              <a:gd name="T96" fmla="*/ 18 w 152"/>
              <a:gd name="T97" fmla="*/ 5 h 119"/>
              <a:gd name="T98" fmla="*/ 13 w 152"/>
              <a:gd name="T99" fmla="*/ 0 h 119"/>
              <a:gd name="T100" fmla="*/ 35 w 152"/>
              <a:gd name="T101" fmla="*/ 88 h 119"/>
              <a:gd name="T102" fmla="*/ 46 w 152"/>
              <a:gd name="T103" fmla="*/ 82 h 119"/>
              <a:gd name="T104" fmla="*/ 51 w 152"/>
              <a:gd name="T105" fmla="*/ 79 h 119"/>
              <a:gd name="T106" fmla="*/ 66 w 152"/>
              <a:gd name="T107" fmla="*/ 80 h 119"/>
              <a:gd name="T108" fmla="*/ 71 w 152"/>
              <a:gd name="T109" fmla="*/ 82 h 119"/>
              <a:gd name="T110" fmla="*/ 82 w 152"/>
              <a:gd name="T111" fmla="*/ 90 h 119"/>
              <a:gd name="T112" fmla="*/ 84 w 152"/>
              <a:gd name="T113" fmla="*/ 99 h 119"/>
              <a:gd name="T114" fmla="*/ 84 w 152"/>
              <a:gd name="T115" fmla="*/ 104 h 119"/>
              <a:gd name="T116" fmla="*/ 106 w 152"/>
              <a:gd name="T117"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2" h="119">
                <a:moveTo>
                  <a:pt x="106" y="119"/>
                </a:moveTo>
                <a:lnTo>
                  <a:pt x="152" y="60"/>
                </a:lnTo>
                <a:lnTo>
                  <a:pt x="152" y="60"/>
                </a:lnTo>
                <a:lnTo>
                  <a:pt x="148" y="58"/>
                </a:lnTo>
                <a:lnTo>
                  <a:pt x="145" y="60"/>
                </a:lnTo>
                <a:lnTo>
                  <a:pt x="139" y="62"/>
                </a:lnTo>
                <a:lnTo>
                  <a:pt x="139" y="62"/>
                </a:lnTo>
                <a:lnTo>
                  <a:pt x="135" y="64"/>
                </a:lnTo>
                <a:lnTo>
                  <a:pt x="134" y="69"/>
                </a:lnTo>
                <a:lnTo>
                  <a:pt x="134" y="75"/>
                </a:lnTo>
                <a:lnTo>
                  <a:pt x="134" y="75"/>
                </a:lnTo>
                <a:lnTo>
                  <a:pt x="130" y="71"/>
                </a:lnTo>
                <a:lnTo>
                  <a:pt x="128" y="69"/>
                </a:lnTo>
                <a:lnTo>
                  <a:pt x="121" y="69"/>
                </a:lnTo>
                <a:lnTo>
                  <a:pt x="115" y="69"/>
                </a:lnTo>
                <a:lnTo>
                  <a:pt x="113" y="71"/>
                </a:lnTo>
                <a:lnTo>
                  <a:pt x="113" y="71"/>
                </a:lnTo>
                <a:lnTo>
                  <a:pt x="117" y="80"/>
                </a:lnTo>
                <a:lnTo>
                  <a:pt x="117" y="86"/>
                </a:lnTo>
                <a:lnTo>
                  <a:pt x="113" y="90"/>
                </a:lnTo>
                <a:lnTo>
                  <a:pt x="110" y="90"/>
                </a:lnTo>
                <a:lnTo>
                  <a:pt x="110" y="90"/>
                </a:lnTo>
                <a:lnTo>
                  <a:pt x="104" y="88"/>
                </a:lnTo>
                <a:lnTo>
                  <a:pt x="103" y="84"/>
                </a:lnTo>
                <a:lnTo>
                  <a:pt x="103" y="79"/>
                </a:lnTo>
                <a:lnTo>
                  <a:pt x="103" y="79"/>
                </a:lnTo>
                <a:lnTo>
                  <a:pt x="97" y="82"/>
                </a:lnTo>
                <a:lnTo>
                  <a:pt x="93" y="82"/>
                </a:lnTo>
                <a:lnTo>
                  <a:pt x="88" y="79"/>
                </a:lnTo>
                <a:lnTo>
                  <a:pt x="88" y="79"/>
                </a:lnTo>
                <a:lnTo>
                  <a:pt x="86" y="75"/>
                </a:lnTo>
                <a:lnTo>
                  <a:pt x="90" y="69"/>
                </a:lnTo>
                <a:lnTo>
                  <a:pt x="95" y="68"/>
                </a:lnTo>
                <a:lnTo>
                  <a:pt x="104" y="66"/>
                </a:lnTo>
                <a:lnTo>
                  <a:pt x="104" y="66"/>
                </a:lnTo>
                <a:lnTo>
                  <a:pt x="103" y="60"/>
                </a:lnTo>
                <a:lnTo>
                  <a:pt x="101" y="57"/>
                </a:lnTo>
                <a:lnTo>
                  <a:pt x="97" y="53"/>
                </a:lnTo>
                <a:lnTo>
                  <a:pt x="97" y="53"/>
                </a:lnTo>
                <a:lnTo>
                  <a:pt x="92" y="51"/>
                </a:lnTo>
                <a:lnTo>
                  <a:pt x="88" y="51"/>
                </a:lnTo>
                <a:lnTo>
                  <a:pt x="82" y="53"/>
                </a:lnTo>
                <a:lnTo>
                  <a:pt x="82" y="53"/>
                </a:lnTo>
                <a:lnTo>
                  <a:pt x="86" y="51"/>
                </a:lnTo>
                <a:lnTo>
                  <a:pt x="88" y="47"/>
                </a:lnTo>
                <a:lnTo>
                  <a:pt x="90" y="44"/>
                </a:lnTo>
                <a:lnTo>
                  <a:pt x="90" y="44"/>
                </a:lnTo>
                <a:lnTo>
                  <a:pt x="90" y="35"/>
                </a:lnTo>
                <a:lnTo>
                  <a:pt x="88" y="31"/>
                </a:lnTo>
                <a:lnTo>
                  <a:pt x="84" y="26"/>
                </a:lnTo>
                <a:lnTo>
                  <a:pt x="84" y="26"/>
                </a:lnTo>
                <a:lnTo>
                  <a:pt x="84" y="26"/>
                </a:lnTo>
                <a:lnTo>
                  <a:pt x="84" y="26"/>
                </a:lnTo>
                <a:lnTo>
                  <a:pt x="79" y="27"/>
                </a:lnTo>
                <a:lnTo>
                  <a:pt x="73" y="29"/>
                </a:lnTo>
                <a:lnTo>
                  <a:pt x="68" y="33"/>
                </a:lnTo>
                <a:lnTo>
                  <a:pt x="68" y="33"/>
                </a:lnTo>
                <a:lnTo>
                  <a:pt x="66" y="38"/>
                </a:lnTo>
                <a:lnTo>
                  <a:pt x="66" y="42"/>
                </a:lnTo>
                <a:lnTo>
                  <a:pt x="66" y="46"/>
                </a:lnTo>
                <a:lnTo>
                  <a:pt x="66" y="46"/>
                </a:lnTo>
                <a:lnTo>
                  <a:pt x="62" y="40"/>
                </a:lnTo>
                <a:lnTo>
                  <a:pt x="60" y="37"/>
                </a:lnTo>
                <a:lnTo>
                  <a:pt x="55" y="35"/>
                </a:lnTo>
                <a:lnTo>
                  <a:pt x="55" y="35"/>
                </a:lnTo>
                <a:lnTo>
                  <a:pt x="50" y="35"/>
                </a:lnTo>
                <a:lnTo>
                  <a:pt x="46" y="37"/>
                </a:lnTo>
                <a:lnTo>
                  <a:pt x="42" y="38"/>
                </a:lnTo>
                <a:lnTo>
                  <a:pt x="42" y="38"/>
                </a:lnTo>
                <a:lnTo>
                  <a:pt x="48" y="46"/>
                </a:lnTo>
                <a:lnTo>
                  <a:pt x="48" y="53"/>
                </a:lnTo>
                <a:lnTo>
                  <a:pt x="48" y="57"/>
                </a:lnTo>
                <a:lnTo>
                  <a:pt x="42" y="58"/>
                </a:lnTo>
                <a:lnTo>
                  <a:pt x="42" y="58"/>
                </a:lnTo>
                <a:lnTo>
                  <a:pt x="37" y="57"/>
                </a:lnTo>
                <a:lnTo>
                  <a:pt x="35" y="53"/>
                </a:lnTo>
                <a:lnTo>
                  <a:pt x="33" y="47"/>
                </a:lnTo>
                <a:lnTo>
                  <a:pt x="33" y="47"/>
                </a:lnTo>
                <a:lnTo>
                  <a:pt x="29" y="51"/>
                </a:lnTo>
                <a:lnTo>
                  <a:pt x="26" y="53"/>
                </a:lnTo>
                <a:lnTo>
                  <a:pt x="20" y="51"/>
                </a:lnTo>
                <a:lnTo>
                  <a:pt x="20" y="51"/>
                </a:lnTo>
                <a:lnTo>
                  <a:pt x="17" y="47"/>
                </a:lnTo>
                <a:lnTo>
                  <a:pt x="17" y="42"/>
                </a:lnTo>
                <a:lnTo>
                  <a:pt x="22" y="38"/>
                </a:lnTo>
                <a:lnTo>
                  <a:pt x="31" y="35"/>
                </a:lnTo>
                <a:lnTo>
                  <a:pt x="31" y="35"/>
                </a:lnTo>
                <a:lnTo>
                  <a:pt x="29" y="33"/>
                </a:lnTo>
                <a:lnTo>
                  <a:pt x="28" y="27"/>
                </a:lnTo>
                <a:lnTo>
                  <a:pt x="22" y="24"/>
                </a:lnTo>
                <a:lnTo>
                  <a:pt x="18" y="22"/>
                </a:lnTo>
                <a:lnTo>
                  <a:pt x="15" y="24"/>
                </a:lnTo>
                <a:lnTo>
                  <a:pt x="15" y="24"/>
                </a:lnTo>
                <a:lnTo>
                  <a:pt x="18" y="18"/>
                </a:lnTo>
                <a:lnTo>
                  <a:pt x="20" y="15"/>
                </a:lnTo>
                <a:lnTo>
                  <a:pt x="20" y="9"/>
                </a:lnTo>
                <a:lnTo>
                  <a:pt x="20" y="9"/>
                </a:lnTo>
                <a:lnTo>
                  <a:pt x="18" y="5"/>
                </a:lnTo>
                <a:lnTo>
                  <a:pt x="17" y="2"/>
                </a:lnTo>
                <a:lnTo>
                  <a:pt x="13" y="0"/>
                </a:lnTo>
                <a:lnTo>
                  <a:pt x="0" y="73"/>
                </a:lnTo>
                <a:lnTo>
                  <a:pt x="35" y="88"/>
                </a:lnTo>
                <a:lnTo>
                  <a:pt x="35" y="88"/>
                </a:lnTo>
                <a:lnTo>
                  <a:pt x="46" y="82"/>
                </a:lnTo>
                <a:lnTo>
                  <a:pt x="46" y="82"/>
                </a:lnTo>
                <a:lnTo>
                  <a:pt x="51" y="79"/>
                </a:lnTo>
                <a:lnTo>
                  <a:pt x="59" y="79"/>
                </a:lnTo>
                <a:lnTo>
                  <a:pt x="66" y="80"/>
                </a:lnTo>
                <a:lnTo>
                  <a:pt x="71" y="82"/>
                </a:lnTo>
                <a:lnTo>
                  <a:pt x="71" y="82"/>
                </a:lnTo>
                <a:lnTo>
                  <a:pt x="79" y="86"/>
                </a:lnTo>
                <a:lnTo>
                  <a:pt x="82" y="90"/>
                </a:lnTo>
                <a:lnTo>
                  <a:pt x="84" y="95"/>
                </a:lnTo>
                <a:lnTo>
                  <a:pt x="84" y="99"/>
                </a:lnTo>
                <a:lnTo>
                  <a:pt x="84" y="99"/>
                </a:lnTo>
                <a:lnTo>
                  <a:pt x="84" y="104"/>
                </a:lnTo>
                <a:lnTo>
                  <a:pt x="81" y="110"/>
                </a:lnTo>
                <a:lnTo>
                  <a:pt x="106" y="11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9" name="Freeform 50"/>
          <p:cNvSpPr>
            <a:spLocks/>
          </p:cNvSpPr>
          <p:nvPr userDrawn="1"/>
        </p:nvSpPr>
        <p:spPr bwMode="auto">
          <a:xfrm>
            <a:off x="8520113" y="-917153"/>
            <a:ext cx="142875" cy="25400"/>
          </a:xfrm>
          <a:custGeom>
            <a:avLst/>
            <a:gdLst>
              <a:gd name="T0" fmla="*/ 151 w 180"/>
              <a:gd name="T1" fmla="*/ 28 h 31"/>
              <a:gd name="T2" fmla="*/ 180 w 180"/>
              <a:gd name="T3" fmla="*/ 15 h 31"/>
              <a:gd name="T4" fmla="*/ 151 w 180"/>
              <a:gd name="T5" fmla="*/ 2 h 31"/>
              <a:gd name="T6" fmla="*/ 151 w 180"/>
              <a:gd name="T7" fmla="*/ 2 h 31"/>
              <a:gd name="T8" fmla="*/ 102 w 180"/>
              <a:gd name="T9" fmla="*/ 2 h 31"/>
              <a:gd name="T10" fmla="*/ 23 w 180"/>
              <a:gd name="T11" fmla="*/ 0 h 31"/>
              <a:gd name="T12" fmla="*/ 0 w 180"/>
              <a:gd name="T13" fmla="*/ 31 h 31"/>
              <a:gd name="T14" fmla="*/ 0 w 180"/>
              <a:gd name="T15" fmla="*/ 31 h 31"/>
              <a:gd name="T16" fmla="*/ 151 w 180"/>
              <a:gd name="T17"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31">
                <a:moveTo>
                  <a:pt x="151" y="28"/>
                </a:moveTo>
                <a:lnTo>
                  <a:pt x="180" y="15"/>
                </a:lnTo>
                <a:lnTo>
                  <a:pt x="151" y="2"/>
                </a:lnTo>
                <a:lnTo>
                  <a:pt x="151" y="2"/>
                </a:lnTo>
                <a:lnTo>
                  <a:pt x="102" y="2"/>
                </a:lnTo>
                <a:lnTo>
                  <a:pt x="23" y="0"/>
                </a:lnTo>
                <a:lnTo>
                  <a:pt x="0" y="31"/>
                </a:lnTo>
                <a:lnTo>
                  <a:pt x="0" y="31"/>
                </a:lnTo>
                <a:lnTo>
                  <a:pt x="151"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00" name="Freeform 51"/>
          <p:cNvSpPr>
            <a:spLocks/>
          </p:cNvSpPr>
          <p:nvPr userDrawn="1"/>
        </p:nvSpPr>
        <p:spPr bwMode="auto">
          <a:xfrm>
            <a:off x="8566150" y="-855240"/>
            <a:ext cx="85725" cy="84138"/>
          </a:xfrm>
          <a:custGeom>
            <a:avLst/>
            <a:gdLst>
              <a:gd name="T0" fmla="*/ 55 w 108"/>
              <a:gd name="T1" fmla="*/ 106 h 106"/>
              <a:gd name="T2" fmla="*/ 55 w 108"/>
              <a:gd name="T3" fmla="*/ 106 h 106"/>
              <a:gd name="T4" fmla="*/ 38 w 108"/>
              <a:gd name="T5" fmla="*/ 97 h 106"/>
              <a:gd name="T6" fmla="*/ 26 w 108"/>
              <a:gd name="T7" fmla="*/ 89 h 106"/>
              <a:gd name="T8" fmla="*/ 13 w 108"/>
              <a:gd name="T9" fmla="*/ 80 h 106"/>
              <a:gd name="T10" fmla="*/ 4 w 108"/>
              <a:gd name="T11" fmla="*/ 69 h 106"/>
              <a:gd name="T12" fmla="*/ 4 w 108"/>
              <a:gd name="T13" fmla="*/ 69 h 106"/>
              <a:gd name="T14" fmla="*/ 0 w 108"/>
              <a:gd name="T15" fmla="*/ 62 h 106"/>
              <a:gd name="T16" fmla="*/ 0 w 108"/>
              <a:gd name="T17" fmla="*/ 53 h 106"/>
              <a:gd name="T18" fmla="*/ 0 w 108"/>
              <a:gd name="T19" fmla="*/ 45 h 106"/>
              <a:gd name="T20" fmla="*/ 0 w 108"/>
              <a:gd name="T21" fmla="*/ 36 h 106"/>
              <a:gd name="T22" fmla="*/ 4 w 108"/>
              <a:gd name="T23" fmla="*/ 27 h 106"/>
              <a:gd name="T24" fmla="*/ 7 w 108"/>
              <a:gd name="T25" fmla="*/ 20 h 106"/>
              <a:gd name="T26" fmla="*/ 15 w 108"/>
              <a:gd name="T27" fmla="*/ 13 h 106"/>
              <a:gd name="T28" fmla="*/ 22 w 108"/>
              <a:gd name="T29" fmla="*/ 7 h 106"/>
              <a:gd name="T30" fmla="*/ 22 w 108"/>
              <a:gd name="T31" fmla="*/ 7 h 106"/>
              <a:gd name="T32" fmla="*/ 26 w 108"/>
              <a:gd name="T33" fmla="*/ 11 h 106"/>
              <a:gd name="T34" fmla="*/ 27 w 108"/>
              <a:gd name="T35" fmla="*/ 14 h 106"/>
              <a:gd name="T36" fmla="*/ 27 w 108"/>
              <a:gd name="T37" fmla="*/ 18 h 106"/>
              <a:gd name="T38" fmla="*/ 27 w 108"/>
              <a:gd name="T39" fmla="*/ 18 h 106"/>
              <a:gd name="T40" fmla="*/ 51 w 108"/>
              <a:gd name="T41" fmla="*/ 16 h 106"/>
              <a:gd name="T42" fmla="*/ 51 w 108"/>
              <a:gd name="T43" fmla="*/ 16 h 106"/>
              <a:gd name="T44" fmla="*/ 51 w 108"/>
              <a:gd name="T45" fmla="*/ 9 h 106"/>
              <a:gd name="T46" fmla="*/ 51 w 108"/>
              <a:gd name="T47" fmla="*/ 3 h 106"/>
              <a:gd name="T48" fmla="*/ 49 w 108"/>
              <a:gd name="T49" fmla="*/ 0 h 106"/>
              <a:gd name="T50" fmla="*/ 49 w 108"/>
              <a:gd name="T51" fmla="*/ 0 h 106"/>
              <a:gd name="T52" fmla="*/ 57 w 108"/>
              <a:gd name="T53" fmla="*/ 5 h 106"/>
              <a:gd name="T54" fmla="*/ 59 w 108"/>
              <a:gd name="T55" fmla="*/ 11 h 106"/>
              <a:gd name="T56" fmla="*/ 60 w 108"/>
              <a:gd name="T57" fmla="*/ 16 h 106"/>
              <a:gd name="T58" fmla="*/ 60 w 108"/>
              <a:gd name="T59" fmla="*/ 16 h 106"/>
              <a:gd name="T60" fmla="*/ 82 w 108"/>
              <a:gd name="T61" fmla="*/ 18 h 106"/>
              <a:gd name="T62" fmla="*/ 82 w 108"/>
              <a:gd name="T63" fmla="*/ 18 h 106"/>
              <a:gd name="T64" fmla="*/ 82 w 108"/>
              <a:gd name="T65" fmla="*/ 11 h 106"/>
              <a:gd name="T66" fmla="*/ 79 w 108"/>
              <a:gd name="T67" fmla="*/ 3 h 106"/>
              <a:gd name="T68" fmla="*/ 79 w 108"/>
              <a:gd name="T69" fmla="*/ 3 h 106"/>
              <a:gd name="T70" fmla="*/ 86 w 108"/>
              <a:gd name="T71" fmla="*/ 9 h 106"/>
              <a:gd name="T72" fmla="*/ 93 w 108"/>
              <a:gd name="T73" fmla="*/ 13 h 106"/>
              <a:gd name="T74" fmla="*/ 99 w 108"/>
              <a:gd name="T75" fmla="*/ 20 h 106"/>
              <a:gd name="T76" fmla="*/ 102 w 108"/>
              <a:gd name="T77" fmla="*/ 25 h 106"/>
              <a:gd name="T78" fmla="*/ 106 w 108"/>
              <a:gd name="T79" fmla="*/ 38 h 106"/>
              <a:gd name="T80" fmla="*/ 108 w 108"/>
              <a:gd name="T81" fmla="*/ 49 h 106"/>
              <a:gd name="T82" fmla="*/ 108 w 108"/>
              <a:gd name="T83" fmla="*/ 49 h 106"/>
              <a:gd name="T84" fmla="*/ 106 w 108"/>
              <a:gd name="T85" fmla="*/ 62 h 106"/>
              <a:gd name="T86" fmla="*/ 102 w 108"/>
              <a:gd name="T87" fmla="*/ 73 h 106"/>
              <a:gd name="T88" fmla="*/ 95 w 108"/>
              <a:gd name="T89" fmla="*/ 82 h 106"/>
              <a:gd name="T90" fmla="*/ 86 w 108"/>
              <a:gd name="T91" fmla="*/ 89 h 106"/>
              <a:gd name="T92" fmla="*/ 86 w 108"/>
              <a:gd name="T93" fmla="*/ 89 h 106"/>
              <a:gd name="T94" fmla="*/ 69 w 108"/>
              <a:gd name="T95" fmla="*/ 98 h 106"/>
              <a:gd name="T96" fmla="*/ 55 w 108"/>
              <a:gd name="T97"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 h="106">
                <a:moveTo>
                  <a:pt x="55" y="106"/>
                </a:moveTo>
                <a:lnTo>
                  <a:pt x="55" y="106"/>
                </a:lnTo>
                <a:lnTo>
                  <a:pt x="38" y="97"/>
                </a:lnTo>
                <a:lnTo>
                  <a:pt x="26" y="89"/>
                </a:lnTo>
                <a:lnTo>
                  <a:pt x="13" y="80"/>
                </a:lnTo>
                <a:lnTo>
                  <a:pt x="4" y="69"/>
                </a:lnTo>
                <a:lnTo>
                  <a:pt x="4" y="69"/>
                </a:lnTo>
                <a:lnTo>
                  <a:pt x="0" y="62"/>
                </a:lnTo>
                <a:lnTo>
                  <a:pt x="0" y="53"/>
                </a:lnTo>
                <a:lnTo>
                  <a:pt x="0" y="45"/>
                </a:lnTo>
                <a:lnTo>
                  <a:pt x="0" y="36"/>
                </a:lnTo>
                <a:lnTo>
                  <a:pt x="4" y="27"/>
                </a:lnTo>
                <a:lnTo>
                  <a:pt x="7" y="20"/>
                </a:lnTo>
                <a:lnTo>
                  <a:pt x="15" y="13"/>
                </a:lnTo>
                <a:lnTo>
                  <a:pt x="22" y="7"/>
                </a:lnTo>
                <a:lnTo>
                  <a:pt x="22" y="7"/>
                </a:lnTo>
                <a:lnTo>
                  <a:pt x="26" y="11"/>
                </a:lnTo>
                <a:lnTo>
                  <a:pt x="27" y="14"/>
                </a:lnTo>
                <a:lnTo>
                  <a:pt x="27" y="18"/>
                </a:lnTo>
                <a:lnTo>
                  <a:pt x="27" y="18"/>
                </a:lnTo>
                <a:lnTo>
                  <a:pt x="51" y="16"/>
                </a:lnTo>
                <a:lnTo>
                  <a:pt x="51" y="16"/>
                </a:lnTo>
                <a:lnTo>
                  <a:pt x="51" y="9"/>
                </a:lnTo>
                <a:lnTo>
                  <a:pt x="51" y="3"/>
                </a:lnTo>
                <a:lnTo>
                  <a:pt x="49" y="0"/>
                </a:lnTo>
                <a:lnTo>
                  <a:pt x="49" y="0"/>
                </a:lnTo>
                <a:lnTo>
                  <a:pt x="57" y="5"/>
                </a:lnTo>
                <a:lnTo>
                  <a:pt x="59" y="11"/>
                </a:lnTo>
                <a:lnTo>
                  <a:pt x="60" y="16"/>
                </a:lnTo>
                <a:lnTo>
                  <a:pt x="60" y="16"/>
                </a:lnTo>
                <a:lnTo>
                  <a:pt x="82" y="18"/>
                </a:lnTo>
                <a:lnTo>
                  <a:pt x="82" y="18"/>
                </a:lnTo>
                <a:lnTo>
                  <a:pt x="82" y="11"/>
                </a:lnTo>
                <a:lnTo>
                  <a:pt x="79" y="3"/>
                </a:lnTo>
                <a:lnTo>
                  <a:pt x="79" y="3"/>
                </a:lnTo>
                <a:lnTo>
                  <a:pt x="86" y="9"/>
                </a:lnTo>
                <a:lnTo>
                  <a:pt x="93" y="13"/>
                </a:lnTo>
                <a:lnTo>
                  <a:pt x="99" y="20"/>
                </a:lnTo>
                <a:lnTo>
                  <a:pt x="102" y="25"/>
                </a:lnTo>
                <a:lnTo>
                  <a:pt x="106" y="38"/>
                </a:lnTo>
                <a:lnTo>
                  <a:pt x="108" y="49"/>
                </a:lnTo>
                <a:lnTo>
                  <a:pt x="108" y="49"/>
                </a:lnTo>
                <a:lnTo>
                  <a:pt x="106" y="62"/>
                </a:lnTo>
                <a:lnTo>
                  <a:pt x="102" y="73"/>
                </a:lnTo>
                <a:lnTo>
                  <a:pt x="95" y="82"/>
                </a:lnTo>
                <a:lnTo>
                  <a:pt x="86" y="89"/>
                </a:lnTo>
                <a:lnTo>
                  <a:pt x="86" y="89"/>
                </a:lnTo>
                <a:lnTo>
                  <a:pt x="69" y="98"/>
                </a:lnTo>
                <a:lnTo>
                  <a:pt x="55" y="1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01" name="Freeform 52"/>
          <p:cNvSpPr>
            <a:spLocks/>
          </p:cNvSpPr>
          <p:nvPr userDrawn="1"/>
        </p:nvSpPr>
        <p:spPr bwMode="auto">
          <a:xfrm>
            <a:off x="8589963" y="-648865"/>
            <a:ext cx="1588" cy="1588"/>
          </a:xfrm>
          <a:custGeom>
            <a:avLst/>
            <a:gdLst>
              <a:gd name="T0" fmla="*/ 4 w 4"/>
              <a:gd name="T1" fmla="*/ 2 h 2"/>
              <a:gd name="T2" fmla="*/ 4 w 4"/>
              <a:gd name="T3" fmla="*/ 2 h 2"/>
              <a:gd name="T4" fmla="*/ 2 w 4"/>
              <a:gd name="T5" fmla="*/ 0 h 2"/>
              <a:gd name="T6" fmla="*/ 2 w 4"/>
              <a:gd name="T7" fmla="*/ 0 h 2"/>
              <a:gd name="T8" fmla="*/ 0 w 4"/>
              <a:gd name="T9" fmla="*/ 0 h 2"/>
              <a:gd name="T10" fmla="*/ 0 w 4"/>
              <a:gd name="T11" fmla="*/ 0 h 2"/>
              <a:gd name="T12" fmla="*/ 4 w 4"/>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2"/>
                </a:moveTo>
                <a:lnTo>
                  <a:pt x="4" y="2"/>
                </a:lnTo>
                <a:lnTo>
                  <a:pt x="2" y="0"/>
                </a:lnTo>
                <a:lnTo>
                  <a:pt x="2" y="0"/>
                </a:lnTo>
                <a:lnTo>
                  <a:pt x="0" y="0"/>
                </a:lnTo>
                <a:lnTo>
                  <a:pt x="0" y="0"/>
                </a:lnTo>
                <a:lnTo>
                  <a:pt x="4"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02" name="Freeform 53"/>
          <p:cNvSpPr>
            <a:spLocks/>
          </p:cNvSpPr>
          <p:nvPr userDrawn="1"/>
        </p:nvSpPr>
        <p:spPr bwMode="auto">
          <a:xfrm>
            <a:off x="8405813" y="-885403"/>
            <a:ext cx="15875" cy="9525"/>
          </a:xfrm>
          <a:custGeom>
            <a:avLst/>
            <a:gdLst>
              <a:gd name="T0" fmla="*/ 20 w 20"/>
              <a:gd name="T1" fmla="*/ 10 h 11"/>
              <a:gd name="T2" fmla="*/ 20 w 20"/>
              <a:gd name="T3" fmla="*/ 10 h 11"/>
              <a:gd name="T4" fmla="*/ 19 w 20"/>
              <a:gd name="T5" fmla="*/ 10 h 11"/>
              <a:gd name="T6" fmla="*/ 11 w 20"/>
              <a:gd name="T7" fmla="*/ 11 h 11"/>
              <a:gd name="T8" fmla="*/ 2 w 20"/>
              <a:gd name="T9" fmla="*/ 11 h 11"/>
              <a:gd name="T10" fmla="*/ 2 w 20"/>
              <a:gd name="T11" fmla="*/ 11 h 11"/>
              <a:gd name="T12" fmla="*/ 0 w 20"/>
              <a:gd name="T13" fmla="*/ 8 h 11"/>
              <a:gd name="T14" fmla="*/ 0 w 20"/>
              <a:gd name="T15" fmla="*/ 0 h 11"/>
              <a:gd name="T16" fmla="*/ 0 w 20"/>
              <a:gd name="T17" fmla="*/ 0 h 11"/>
              <a:gd name="T18" fmla="*/ 4 w 20"/>
              <a:gd name="T19" fmla="*/ 0 h 11"/>
              <a:gd name="T20" fmla="*/ 11 w 20"/>
              <a:gd name="T21" fmla="*/ 2 h 11"/>
              <a:gd name="T22" fmla="*/ 17 w 20"/>
              <a:gd name="T23" fmla="*/ 4 h 11"/>
              <a:gd name="T24" fmla="*/ 20 w 20"/>
              <a:gd name="T25"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1">
                <a:moveTo>
                  <a:pt x="20" y="10"/>
                </a:moveTo>
                <a:lnTo>
                  <a:pt x="20" y="10"/>
                </a:lnTo>
                <a:lnTo>
                  <a:pt x="19" y="10"/>
                </a:lnTo>
                <a:lnTo>
                  <a:pt x="11" y="11"/>
                </a:lnTo>
                <a:lnTo>
                  <a:pt x="2" y="11"/>
                </a:lnTo>
                <a:lnTo>
                  <a:pt x="2" y="11"/>
                </a:lnTo>
                <a:lnTo>
                  <a:pt x="0" y="8"/>
                </a:lnTo>
                <a:lnTo>
                  <a:pt x="0" y="0"/>
                </a:lnTo>
                <a:lnTo>
                  <a:pt x="0" y="0"/>
                </a:lnTo>
                <a:lnTo>
                  <a:pt x="4" y="0"/>
                </a:lnTo>
                <a:lnTo>
                  <a:pt x="11" y="2"/>
                </a:lnTo>
                <a:lnTo>
                  <a:pt x="17" y="4"/>
                </a:lnTo>
                <a:lnTo>
                  <a:pt x="20"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03" name="Freeform 54"/>
          <p:cNvSpPr>
            <a:spLocks/>
          </p:cNvSpPr>
          <p:nvPr userDrawn="1"/>
        </p:nvSpPr>
        <p:spPr bwMode="auto">
          <a:xfrm>
            <a:off x="8197850" y="-917153"/>
            <a:ext cx="492125" cy="579438"/>
          </a:xfrm>
          <a:custGeom>
            <a:avLst/>
            <a:gdLst>
              <a:gd name="T0" fmla="*/ 592 w 619"/>
              <a:gd name="T1" fmla="*/ 245 h 729"/>
              <a:gd name="T2" fmla="*/ 588 w 619"/>
              <a:gd name="T3" fmla="*/ 150 h 729"/>
              <a:gd name="T4" fmla="*/ 513 w 619"/>
              <a:gd name="T5" fmla="*/ 57 h 729"/>
              <a:gd name="T6" fmla="*/ 446 w 619"/>
              <a:gd name="T7" fmla="*/ 150 h 729"/>
              <a:gd name="T8" fmla="*/ 460 w 619"/>
              <a:gd name="T9" fmla="*/ 243 h 729"/>
              <a:gd name="T10" fmla="*/ 490 w 619"/>
              <a:gd name="T11" fmla="*/ 256 h 729"/>
              <a:gd name="T12" fmla="*/ 506 w 619"/>
              <a:gd name="T13" fmla="*/ 240 h 729"/>
              <a:gd name="T14" fmla="*/ 568 w 619"/>
              <a:gd name="T15" fmla="*/ 250 h 729"/>
              <a:gd name="T16" fmla="*/ 533 w 619"/>
              <a:gd name="T17" fmla="*/ 345 h 729"/>
              <a:gd name="T18" fmla="*/ 429 w 619"/>
              <a:gd name="T19" fmla="*/ 291 h 729"/>
              <a:gd name="T20" fmla="*/ 417 w 619"/>
              <a:gd name="T21" fmla="*/ 198 h 729"/>
              <a:gd name="T22" fmla="*/ 418 w 619"/>
              <a:gd name="T23" fmla="*/ 183 h 729"/>
              <a:gd name="T24" fmla="*/ 375 w 619"/>
              <a:gd name="T25" fmla="*/ 121 h 729"/>
              <a:gd name="T26" fmla="*/ 424 w 619"/>
              <a:gd name="T27" fmla="*/ 77 h 729"/>
              <a:gd name="T28" fmla="*/ 353 w 619"/>
              <a:gd name="T29" fmla="*/ 28 h 729"/>
              <a:gd name="T30" fmla="*/ 247 w 619"/>
              <a:gd name="T31" fmla="*/ 33 h 729"/>
              <a:gd name="T32" fmla="*/ 225 w 619"/>
              <a:gd name="T33" fmla="*/ 73 h 729"/>
              <a:gd name="T34" fmla="*/ 243 w 619"/>
              <a:gd name="T35" fmla="*/ 104 h 729"/>
              <a:gd name="T36" fmla="*/ 292 w 619"/>
              <a:gd name="T37" fmla="*/ 88 h 729"/>
              <a:gd name="T38" fmla="*/ 219 w 619"/>
              <a:gd name="T39" fmla="*/ 115 h 729"/>
              <a:gd name="T40" fmla="*/ 190 w 619"/>
              <a:gd name="T41" fmla="*/ 110 h 729"/>
              <a:gd name="T42" fmla="*/ 258 w 619"/>
              <a:gd name="T43" fmla="*/ 112 h 729"/>
              <a:gd name="T44" fmla="*/ 261 w 619"/>
              <a:gd name="T45" fmla="*/ 128 h 729"/>
              <a:gd name="T46" fmla="*/ 238 w 619"/>
              <a:gd name="T47" fmla="*/ 152 h 729"/>
              <a:gd name="T48" fmla="*/ 259 w 619"/>
              <a:gd name="T49" fmla="*/ 192 h 729"/>
              <a:gd name="T50" fmla="*/ 133 w 619"/>
              <a:gd name="T51" fmla="*/ 276 h 729"/>
              <a:gd name="T52" fmla="*/ 53 w 619"/>
              <a:gd name="T53" fmla="*/ 252 h 729"/>
              <a:gd name="T54" fmla="*/ 42 w 619"/>
              <a:gd name="T55" fmla="*/ 267 h 729"/>
              <a:gd name="T56" fmla="*/ 51 w 619"/>
              <a:gd name="T57" fmla="*/ 287 h 729"/>
              <a:gd name="T58" fmla="*/ 2 w 619"/>
              <a:gd name="T59" fmla="*/ 305 h 729"/>
              <a:gd name="T60" fmla="*/ 58 w 619"/>
              <a:gd name="T61" fmla="*/ 313 h 729"/>
              <a:gd name="T62" fmla="*/ 37 w 619"/>
              <a:gd name="T63" fmla="*/ 331 h 729"/>
              <a:gd name="T64" fmla="*/ 53 w 619"/>
              <a:gd name="T65" fmla="*/ 345 h 729"/>
              <a:gd name="T66" fmla="*/ 104 w 619"/>
              <a:gd name="T67" fmla="*/ 345 h 729"/>
              <a:gd name="T68" fmla="*/ 117 w 619"/>
              <a:gd name="T69" fmla="*/ 347 h 729"/>
              <a:gd name="T70" fmla="*/ 163 w 619"/>
              <a:gd name="T71" fmla="*/ 309 h 729"/>
              <a:gd name="T72" fmla="*/ 214 w 619"/>
              <a:gd name="T73" fmla="*/ 300 h 729"/>
              <a:gd name="T74" fmla="*/ 283 w 619"/>
              <a:gd name="T75" fmla="*/ 325 h 729"/>
              <a:gd name="T76" fmla="*/ 417 w 619"/>
              <a:gd name="T77" fmla="*/ 386 h 729"/>
              <a:gd name="T78" fmla="*/ 466 w 619"/>
              <a:gd name="T79" fmla="*/ 492 h 729"/>
              <a:gd name="T80" fmla="*/ 464 w 619"/>
              <a:gd name="T81" fmla="*/ 517 h 729"/>
              <a:gd name="T82" fmla="*/ 512 w 619"/>
              <a:gd name="T83" fmla="*/ 526 h 729"/>
              <a:gd name="T84" fmla="*/ 526 w 619"/>
              <a:gd name="T85" fmla="*/ 627 h 729"/>
              <a:gd name="T86" fmla="*/ 462 w 619"/>
              <a:gd name="T87" fmla="*/ 638 h 729"/>
              <a:gd name="T88" fmla="*/ 491 w 619"/>
              <a:gd name="T89" fmla="*/ 651 h 729"/>
              <a:gd name="T90" fmla="*/ 479 w 619"/>
              <a:gd name="T91" fmla="*/ 663 h 729"/>
              <a:gd name="T92" fmla="*/ 475 w 619"/>
              <a:gd name="T93" fmla="*/ 711 h 729"/>
              <a:gd name="T94" fmla="*/ 502 w 619"/>
              <a:gd name="T95" fmla="*/ 693 h 729"/>
              <a:gd name="T96" fmla="*/ 513 w 619"/>
              <a:gd name="T97" fmla="*/ 700 h 729"/>
              <a:gd name="T98" fmla="*/ 544 w 619"/>
              <a:gd name="T99" fmla="*/ 720 h 729"/>
              <a:gd name="T100" fmla="*/ 554 w 619"/>
              <a:gd name="T101" fmla="*/ 678 h 729"/>
              <a:gd name="T102" fmla="*/ 586 w 619"/>
              <a:gd name="T103" fmla="*/ 689 h 729"/>
              <a:gd name="T104" fmla="*/ 590 w 619"/>
              <a:gd name="T105" fmla="*/ 625 h 729"/>
              <a:gd name="T106" fmla="*/ 603 w 619"/>
              <a:gd name="T107" fmla="*/ 598 h 729"/>
              <a:gd name="T108" fmla="*/ 599 w 619"/>
              <a:gd name="T109" fmla="*/ 552 h 729"/>
              <a:gd name="T110" fmla="*/ 574 w 619"/>
              <a:gd name="T111" fmla="*/ 508 h 729"/>
              <a:gd name="T112" fmla="*/ 532 w 619"/>
              <a:gd name="T113" fmla="*/ 462 h 729"/>
              <a:gd name="T114" fmla="*/ 532 w 619"/>
              <a:gd name="T115" fmla="*/ 419 h 729"/>
              <a:gd name="T116" fmla="*/ 539 w 619"/>
              <a:gd name="T117" fmla="*/ 377 h 729"/>
              <a:gd name="T118" fmla="*/ 618 w 619"/>
              <a:gd name="T119" fmla="*/ 316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9" h="729">
                <a:moveTo>
                  <a:pt x="603" y="280"/>
                </a:moveTo>
                <a:lnTo>
                  <a:pt x="603" y="280"/>
                </a:lnTo>
                <a:lnTo>
                  <a:pt x="612" y="282"/>
                </a:lnTo>
                <a:lnTo>
                  <a:pt x="619" y="280"/>
                </a:lnTo>
                <a:lnTo>
                  <a:pt x="619" y="280"/>
                </a:lnTo>
                <a:lnTo>
                  <a:pt x="618" y="269"/>
                </a:lnTo>
                <a:lnTo>
                  <a:pt x="616" y="252"/>
                </a:lnTo>
                <a:lnTo>
                  <a:pt x="616" y="252"/>
                </a:lnTo>
                <a:lnTo>
                  <a:pt x="610" y="252"/>
                </a:lnTo>
                <a:lnTo>
                  <a:pt x="605" y="252"/>
                </a:lnTo>
                <a:lnTo>
                  <a:pt x="599" y="250"/>
                </a:lnTo>
                <a:lnTo>
                  <a:pt x="592" y="245"/>
                </a:lnTo>
                <a:lnTo>
                  <a:pt x="592" y="245"/>
                </a:lnTo>
                <a:lnTo>
                  <a:pt x="588" y="238"/>
                </a:lnTo>
                <a:lnTo>
                  <a:pt x="588" y="238"/>
                </a:lnTo>
                <a:lnTo>
                  <a:pt x="577" y="223"/>
                </a:lnTo>
                <a:lnTo>
                  <a:pt x="565" y="212"/>
                </a:lnTo>
                <a:lnTo>
                  <a:pt x="552" y="203"/>
                </a:lnTo>
                <a:lnTo>
                  <a:pt x="541" y="196"/>
                </a:lnTo>
                <a:lnTo>
                  <a:pt x="541" y="196"/>
                </a:lnTo>
                <a:lnTo>
                  <a:pt x="559" y="185"/>
                </a:lnTo>
                <a:lnTo>
                  <a:pt x="572" y="174"/>
                </a:lnTo>
                <a:lnTo>
                  <a:pt x="581" y="165"/>
                </a:lnTo>
                <a:lnTo>
                  <a:pt x="585" y="157"/>
                </a:lnTo>
                <a:lnTo>
                  <a:pt x="585" y="157"/>
                </a:lnTo>
                <a:lnTo>
                  <a:pt x="588" y="150"/>
                </a:lnTo>
                <a:lnTo>
                  <a:pt x="592" y="139"/>
                </a:lnTo>
                <a:lnTo>
                  <a:pt x="592" y="128"/>
                </a:lnTo>
                <a:lnTo>
                  <a:pt x="592" y="115"/>
                </a:lnTo>
                <a:lnTo>
                  <a:pt x="588" y="103"/>
                </a:lnTo>
                <a:lnTo>
                  <a:pt x="583" y="90"/>
                </a:lnTo>
                <a:lnTo>
                  <a:pt x="574" y="79"/>
                </a:lnTo>
                <a:lnTo>
                  <a:pt x="566" y="73"/>
                </a:lnTo>
                <a:lnTo>
                  <a:pt x="559" y="68"/>
                </a:lnTo>
                <a:lnTo>
                  <a:pt x="559" y="68"/>
                </a:lnTo>
                <a:lnTo>
                  <a:pt x="548" y="62"/>
                </a:lnTo>
                <a:lnTo>
                  <a:pt x="535" y="59"/>
                </a:lnTo>
                <a:lnTo>
                  <a:pt x="524" y="57"/>
                </a:lnTo>
                <a:lnTo>
                  <a:pt x="513" y="57"/>
                </a:lnTo>
                <a:lnTo>
                  <a:pt x="495" y="60"/>
                </a:lnTo>
                <a:lnTo>
                  <a:pt x="481" y="64"/>
                </a:lnTo>
                <a:lnTo>
                  <a:pt x="481" y="64"/>
                </a:lnTo>
                <a:lnTo>
                  <a:pt x="471" y="70"/>
                </a:lnTo>
                <a:lnTo>
                  <a:pt x="462" y="77"/>
                </a:lnTo>
                <a:lnTo>
                  <a:pt x="455" y="84"/>
                </a:lnTo>
                <a:lnTo>
                  <a:pt x="449" y="93"/>
                </a:lnTo>
                <a:lnTo>
                  <a:pt x="446" y="104"/>
                </a:lnTo>
                <a:lnTo>
                  <a:pt x="442" y="115"/>
                </a:lnTo>
                <a:lnTo>
                  <a:pt x="442" y="126"/>
                </a:lnTo>
                <a:lnTo>
                  <a:pt x="442" y="141"/>
                </a:lnTo>
                <a:lnTo>
                  <a:pt x="442" y="141"/>
                </a:lnTo>
                <a:lnTo>
                  <a:pt x="446" y="150"/>
                </a:lnTo>
                <a:lnTo>
                  <a:pt x="449" y="159"/>
                </a:lnTo>
                <a:lnTo>
                  <a:pt x="455" y="168"/>
                </a:lnTo>
                <a:lnTo>
                  <a:pt x="460" y="174"/>
                </a:lnTo>
                <a:lnTo>
                  <a:pt x="477" y="185"/>
                </a:lnTo>
                <a:lnTo>
                  <a:pt x="495" y="196"/>
                </a:lnTo>
                <a:lnTo>
                  <a:pt x="495" y="196"/>
                </a:lnTo>
                <a:lnTo>
                  <a:pt x="481" y="203"/>
                </a:lnTo>
                <a:lnTo>
                  <a:pt x="470" y="214"/>
                </a:lnTo>
                <a:lnTo>
                  <a:pt x="466" y="219"/>
                </a:lnTo>
                <a:lnTo>
                  <a:pt x="464" y="227"/>
                </a:lnTo>
                <a:lnTo>
                  <a:pt x="462" y="234"/>
                </a:lnTo>
                <a:lnTo>
                  <a:pt x="460" y="243"/>
                </a:lnTo>
                <a:lnTo>
                  <a:pt x="460" y="243"/>
                </a:lnTo>
                <a:lnTo>
                  <a:pt x="462" y="254"/>
                </a:lnTo>
                <a:lnTo>
                  <a:pt x="466" y="267"/>
                </a:lnTo>
                <a:lnTo>
                  <a:pt x="468" y="282"/>
                </a:lnTo>
                <a:lnTo>
                  <a:pt x="468" y="291"/>
                </a:lnTo>
                <a:lnTo>
                  <a:pt x="466" y="300"/>
                </a:lnTo>
                <a:lnTo>
                  <a:pt x="466" y="300"/>
                </a:lnTo>
                <a:lnTo>
                  <a:pt x="468" y="300"/>
                </a:lnTo>
                <a:lnTo>
                  <a:pt x="475" y="298"/>
                </a:lnTo>
                <a:lnTo>
                  <a:pt x="484" y="291"/>
                </a:lnTo>
                <a:lnTo>
                  <a:pt x="484" y="291"/>
                </a:lnTo>
                <a:lnTo>
                  <a:pt x="488" y="280"/>
                </a:lnTo>
                <a:lnTo>
                  <a:pt x="490" y="269"/>
                </a:lnTo>
                <a:lnTo>
                  <a:pt x="490" y="256"/>
                </a:lnTo>
                <a:lnTo>
                  <a:pt x="490" y="256"/>
                </a:lnTo>
                <a:lnTo>
                  <a:pt x="493" y="261"/>
                </a:lnTo>
                <a:lnTo>
                  <a:pt x="495" y="271"/>
                </a:lnTo>
                <a:lnTo>
                  <a:pt x="495" y="278"/>
                </a:lnTo>
                <a:lnTo>
                  <a:pt x="493" y="285"/>
                </a:lnTo>
                <a:lnTo>
                  <a:pt x="493" y="285"/>
                </a:lnTo>
                <a:lnTo>
                  <a:pt x="501" y="282"/>
                </a:lnTo>
                <a:lnTo>
                  <a:pt x="504" y="278"/>
                </a:lnTo>
                <a:lnTo>
                  <a:pt x="508" y="274"/>
                </a:lnTo>
                <a:lnTo>
                  <a:pt x="508" y="274"/>
                </a:lnTo>
                <a:lnTo>
                  <a:pt x="510" y="261"/>
                </a:lnTo>
                <a:lnTo>
                  <a:pt x="510" y="249"/>
                </a:lnTo>
                <a:lnTo>
                  <a:pt x="506" y="240"/>
                </a:lnTo>
                <a:lnTo>
                  <a:pt x="504" y="232"/>
                </a:lnTo>
                <a:lnTo>
                  <a:pt x="504" y="232"/>
                </a:lnTo>
                <a:lnTo>
                  <a:pt x="502" y="225"/>
                </a:lnTo>
                <a:lnTo>
                  <a:pt x="504" y="218"/>
                </a:lnTo>
                <a:lnTo>
                  <a:pt x="510" y="210"/>
                </a:lnTo>
                <a:lnTo>
                  <a:pt x="515" y="207"/>
                </a:lnTo>
                <a:lnTo>
                  <a:pt x="515" y="207"/>
                </a:lnTo>
                <a:lnTo>
                  <a:pt x="533" y="216"/>
                </a:lnTo>
                <a:lnTo>
                  <a:pt x="533" y="216"/>
                </a:lnTo>
                <a:lnTo>
                  <a:pt x="541" y="221"/>
                </a:lnTo>
                <a:lnTo>
                  <a:pt x="552" y="230"/>
                </a:lnTo>
                <a:lnTo>
                  <a:pt x="563" y="243"/>
                </a:lnTo>
                <a:lnTo>
                  <a:pt x="568" y="250"/>
                </a:lnTo>
                <a:lnTo>
                  <a:pt x="572" y="260"/>
                </a:lnTo>
                <a:lnTo>
                  <a:pt x="572" y="260"/>
                </a:lnTo>
                <a:lnTo>
                  <a:pt x="577" y="271"/>
                </a:lnTo>
                <a:lnTo>
                  <a:pt x="579" y="282"/>
                </a:lnTo>
                <a:lnTo>
                  <a:pt x="579" y="291"/>
                </a:lnTo>
                <a:lnTo>
                  <a:pt x="579" y="300"/>
                </a:lnTo>
                <a:lnTo>
                  <a:pt x="576" y="313"/>
                </a:lnTo>
                <a:lnTo>
                  <a:pt x="572" y="320"/>
                </a:lnTo>
                <a:lnTo>
                  <a:pt x="572" y="320"/>
                </a:lnTo>
                <a:lnTo>
                  <a:pt x="565" y="329"/>
                </a:lnTo>
                <a:lnTo>
                  <a:pt x="557" y="338"/>
                </a:lnTo>
                <a:lnTo>
                  <a:pt x="546" y="344"/>
                </a:lnTo>
                <a:lnTo>
                  <a:pt x="533" y="345"/>
                </a:lnTo>
                <a:lnTo>
                  <a:pt x="533" y="345"/>
                </a:lnTo>
                <a:lnTo>
                  <a:pt x="532" y="345"/>
                </a:lnTo>
                <a:lnTo>
                  <a:pt x="532" y="345"/>
                </a:lnTo>
                <a:lnTo>
                  <a:pt x="517" y="345"/>
                </a:lnTo>
                <a:lnTo>
                  <a:pt x="517" y="345"/>
                </a:lnTo>
                <a:lnTo>
                  <a:pt x="504" y="342"/>
                </a:lnTo>
                <a:lnTo>
                  <a:pt x="504" y="342"/>
                </a:lnTo>
                <a:lnTo>
                  <a:pt x="493" y="338"/>
                </a:lnTo>
                <a:lnTo>
                  <a:pt x="493" y="338"/>
                </a:lnTo>
                <a:lnTo>
                  <a:pt x="482" y="333"/>
                </a:lnTo>
                <a:lnTo>
                  <a:pt x="466" y="322"/>
                </a:lnTo>
                <a:lnTo>
                  <a:pt x="448" y="309"/>
                </a:lnTo>
                <a:lnTo>
                  <a:pt x="429" y="291"/>
                </a:lnTo>
                <a:lnTo>
                  <a:pt x="429" y="291"/>
                </a:lnTo>
                <a:lnTo>
                  <a:pt x="406" y="261"/>
                </a:lnTo>
                <a:lnTo>
                  <a:pt x="389" y="241"/>
                </a:lnTo>
                <a:lnTo>
                  <a:pt x="389" y="241"/>
                </a:lnTo>
                <a:lnTo>
                  <a:pt x="398" y="245"/>
                </a:lnTo>
                <a:lnTo>
                  <a:pt x="406" y="245"/>
                </a:lnTo>
                <a:lnTo>
                  <a:pt x="415" y="245"/>
                </a:lnTo>
                <a:lnTo>
                  <a:pt x="415" y="245"/>
                </a:lnTo>
                <a:lnTo>
                  <a:pt x="417" y="229"/>
                </a:lnTo>
                <a:lnTo>
                  <a:pt x="417" y="212"/>
                </a:lnTo>
                <a:lnTo>
                  <a:pt x="417" y="212"/>
                </a:lnTo>
                <a:lnTo>
                  <a:pt x="417" y="198"/>
                </a:lnTo>
                <a:lnTo>
                  <a:pt x="417" y="198"/>
                </a:lnTo>
                <a:lnTo>
                  <a:pt x="411" y="198"/>
                </a:lnTo>
                <a:lnTo>
                  <a:pt x="398" y="194"/>
                </a:lnTo>
                <a:lnTo>
                  <a:pt x="393" y="192"/>
                </a:lnTo>
                <a:lnTo>
                  <a:pt x="386" y="188"/>
                </a:lnTo>
                <a:lnTo>
                  <a:pt x="380" y="185"/>
                </a:lnTo>
                <a:lnTo>
                  <a:pt x="376" y="179"/>
                </a:lnTo>
                <a:lnTo>
                  <a:pt x="376" y="179"/>
                </a:lnTo>
                <a:lnTo>
                  <a:pt x="382" y="181"/>
                </a:lnTo>
                <a:lnTo>
                  <a:pt x="387" y="183"/>
                </a:lnTo>
                <a:lnTo>
                  <a:pt x="395" y="185"/>
                </a:lnTo>
                <a:lnTo>
                  <a:pt x="395" y="185"/>
                </a:lnTo>
                <a:lnTo>
                  <a:pt x="411" y="183"/>
                </a:lnTo>
                <a:lnTo>
                  <a:pt x="418" y="183"/>
                </a:lnTo>
                <a:lnTo>
                  <a:pt x="418" y="183"/>
                </a:lnTo>
                <a:lnTo>
                  <a:pt x="420" y="166"/>
                </a:lnTo>
                <a:lnTo>
                  <a:pt x="420" y="152"/>
                </a:lnTo>
                <a:lnTo>
                  <a:pt x="420" y="152"/>
                </a:lnTo>
                <a:lnTo>
                  <a:pt x="420" y="137"/>
                </a:lnTo>
                <a:lnTo>
                  <a:pt x="420" y="137"/>
                </a:lnTo>
                <a:lnTo>
                  <a:pt x="409" y="137"/>
                </a:lnTo>
                <a:lnTo>
                  <a:pt x="396" y="135"/>
                </a:lnTo>
                <a:lnTo>
                  <a:pt x="396" y="135"/>
                </a:lnTo>
                <a:lnTo>
                  <a:pt x="384" y="130"/>
                </a:lnTo>
                <a:lnTo>
                  <a:pt x="378" y="126"/>
                </a:lnTo>
                <a:lnTo>
                  <a:pt x="375" y="121"/>
                </a:lnTo>
                <a:lnTo>
                  <a:pt x="375" y="121"/>
                </a:lnTo>
                <a:lnTo>
                  <a:pt x="380" y="123"/>
                </a:lnTo>
                <a:lnTo>
                  <a:pt x="395" y="126"/>
                </a:lnTo>
                <a:lnTo>
                  <a:pt x="395" y="126"/>
                </a:lnTo>
                <a:lnTo>
                  <a:pt x="404" y="126"/>
                </a:lnTo>
                <a:lnTo>
                  <a:pt x="413" y="124"/>
                </a:lnTo>
                <a:lnTo>
                  <a:pt x="420" y="124"/>
                </a:lnTo>
                <a:lnTo>
                  <a:pt x="422" y="123"/>
                </a:lnTo>
                <a:lnTo>
                  <a:pt x="422" y="123"/>
                </a:lnTo>
                <a:lnTo>
                  <a:pt x="422" y="93"/>
                </a:lnTo>
                <a:lnTo>
                  <a:pt x="422" y="93"/>
                </a:lnTo>
                <a:lnTo>
                  <a:pt x="424" y="86"/>
                </a:lnTo>
                <a:lnTo>
                  <a:pt x="424" y="77"/>
                </a:lnTo>
                <a:lnTo>
                  <a:pt x="424" y="77"/>
                </a:lnTo>
                <a:lnTo>
                  <a:pt x="418" y="77"/>
                </a:lnTo>
                <a:lnTo>
                  <a:pt x="407" y="75"/>
                </a:lnTo>
                <a:lnTo>
                  <a:pt x="395" y="70"/>
                </a:lnTo>
                <a:lnTo>
                  <a:pt x="389" y="66"/>
                </a:lnTo>
                <a:lnTo>
                  <a:pt x="382" y="60"/>
                </a:lnTo>
                <a:lnTo>
                  <a:pt x="382" y="60"/>
                </a:lnTo>
                <a:lnTo>
                  <a:pt x="380" y="57"/>
                </a:lnTo>
                <a:lnTo>
                  <a:pt x="380" y="53"/>
                </a:lnTo>
                <a:lnTo>
                  <a:pt x="382" y="46"/>
                </a:lnTo>
                <a:lnTo>
                  <a:pt x="382" y="46"/>
                </a:lnTo>
                <a:lnTo>
                  <a:pt x="349" y="31"/>
                </a:lnTo>
                <a:lnTo>
                  <a:pt x="349" y="31"/>
                </a:lnTo>
                <a:lnTo>
                  <a:pt x="353" y="28"/>
                </a:lnTo>
                <a:lnTo>
                  <a:pt x="356" y="22"/>
                </a:lnTo>
                <a:lnTo>
                  <a:pt x="356" y="18"/>
                </a:lnTo>
                <a:lnTo>
                  <a:pt x="356" y="18"/>
                </a:lnTo>
                <a:lnTo>
                  <a:pt x="354" y="13"/>
                </a:lnTo>
                <a:lnTo>
                  <a:pt x="349" y="9"/>
                </a:lnTo>
                <a:lnTo>
                  <a:pt x="343" y="8"/>
                </a:lnTo>
                <a:lnTo>
                  <a:pt x="336" y="8"/>
                </a:lnTo>
                <a:lnTo>
                  <a:pt x="336" y="8"/>
                </a:lnTo>
                <a:lnTo>
                  <a:pt x="329" y="9"/>
                </a:lnTo>
                <a:lnTo>
                  <a:pt x="325" y="13"/>
                </a:lnTo>
                <a:lnTo>
                  <a:pt x="320" y="18"/>
                </a:lnTo>
                <a:lnTo>
                  <a:pt x="280" y="0"/>
                </a:lnTo>
                <a:lnTo>
                  <a:pt x="247" y="33"/>
                </a:lnTo>
                <a:lnTo>
                  <a:pt x="247" y="33"/>
                </a:lnTo>
                <a:lnTo>
                  <a:pt x="245" y="35"/>
                </a:lnTo>
                <a:lnTo>
                  <a:pt x="245" y="39"/>
                </a:lnTo>
                <a:lnTo>
                  <a:pt x="245" y="42"/>
                </a:lnTo>
                <a:lnTo>
                  <a:pt x="245" y="42"/>
                </a:lnTo>
                <a:lnTo>
                  <a:pt x="245" y="44"/>
                </a:lnTo>
                <a:lnTo>
                  <a:pt x="243" y="46"/>
                </a:lnTo>
                <a:lnTo>
                  <a:pt x="243" y="46"/>
                </a:lnTo>
                <a:lnTo>
                  <a:pt x="234" y="57"/>
                </a:lnTo>
                <a:lnTo>
                  <a:pt x="234" y="57"/>
                </a:lnTo>
                <a:lnTo>
                  <a:pt x="228" y="66"/>
                </a:lnTo>
                <a:lnTo>
                  <a:pt x="228" y="66"/>
                </a:lnTo>
                <a:lnTo>
                  <a:pt x="225" y="73"/>
                </a:lnTo>
                <a:lnTo>
                  <a:pt x="223" y="79"/>
                </a:lnTo>
                <a:lnTo>
                  <a:pt x="223" y="79"/>
                </a:lnTo>
                <a:lnTo>
                  <a:pt x="221" y="81"/>
                </a:lnTo>
                <a:lnTo>
                  <a:pt x="221" y="84"/>
                </a:lnTo>
                <a:lnTo>
                  <a:pt x="225" y="92"/>
                </a:lnTo>
                <a:lnTo>
                  <a:pt x="234" y="99"/>
                </a:lnTo>
                <a:lnTo>
                  <a:pt x="234" y="101"/>
                </a:lnTo>
                <a:lnTo>
                  <a:pt x="234" y="101"/>
                </a:lnTo>
                <a:lnTo>
                  <a:pt x="236" y="99"/>
                </a:lnTo>
                <a:lnTo>
                  <a:pt x="238" y="99"/>
                </a:lnTo>
                <a:lnTo>
                  <a:pt x="238" y="99"/>
                </a:lnTo>
                <a:lnTo>
                  <a:pt x="243" y="104"/>
                </a:lnTo>
                <a:lnTo>
                  <a:pt x="243" y="104"/>
                </a:lnTo>
                <a:lnTo>
                  <a:pt x="245" y="101"/>
                </a:lnTo>
                <a:lnTo>
                  <a:pt x="248" y="95"/>
                </a:lnTo>
                <a:lnTo>
                  <a:pt x="248" y="95"/>
                </a:lnTo>
                <a:lnTo>
                  <a:pt x="254" y="88"/>
                </a:lnTo>
                <a:lnTo>
                  <a:pt x="261" y="82"/>
                </a:lnTo>
                <a:lnTo>
                  <a:pt x="261" y="82"/>
                </a:lnTo>
                <a:lnTo>
                  <a:pt x="269" y="79"/>
                </a:lnTo>
                <a:lnTo>
                  <a:pt x="276" y="79"/>
                </a:lnTo>
                <a:lnTo>
                  <a:pt x="276" y="79"/>
                </a:lnTo>
                <a:lnTo>
                  <a:pt x="283" y="79"/>
                </a:lnTo>
                <a:lnTo>
                  <a:pt x="289" y="82"/>
                </a:lnTo>
                <a:lnTo>
                  <a:pt x="289" y="82"/>
                </a:lnTo>
                <a:lnTo>
                  <a:pt x="292" y="88"/>
                </a:lnTo>
                <a:lnTo>
                  <a:pt x="294" y="95"/>
                </a:lnTo>
                <a:lnTo>
                  <a:pt x="294" y="103"/>
                </a:lnTo>
                <a:lnTo>
                  <a:pt x="294" y="108"/>
                </a:lnTo>
                <a:lnTo>
                  <a:pt x="294" y="108"/>
                </a:lnTo>
                <a:lnTo>
                  <a:pt x="290" y="104"/>
                </a:lnTo>
                <a:lnTo>
                  <a:pt x="290" y="104"/>
                </a:lnTo>
                <a:lnTo>
                  <a:pt x="285" y="103"/>
                </a:lnTo>
                <a:lnTo>
                  <a:pt x="276" y="101"/>
                </a:lnTo>
                <a:lnTo>
                  <a:pt x="265" y="101"/>
                </a:lnTo>
                <a:lnTo>
                  <a:pt x="254" y="103"/>
                </a:lnTo>
                <a:lnTo>
                  <a:pt x="254" y="103"/>
                </a:lnTo>
                <a:lnTo>
                  <a:pt x="241" y="108"/>
                </a:lnTo>
                <a:lnTo>
                  <a:pt x="219" y="115"/>
                </a:lnTo>
                <a:lnTo>
                  <a:pt x="219" y="115"/>
                </a:lnTo>
                <a:lnTo>
                  <a:pt x="214" y="117"/>
                </a:lnTo>
                <a:lnTo>
                  <a:pt x="208" y="117"/>
                </a:lnTo>
                <a:lnTo>
                  <a:pt x="205" y="113"/>
                </a:lnTo>
                <a:lnTo>
                  <a:pt x="203" y="110"/>
                </a:lnTo>
                <a:lnTo>
                  <a:pt x="203" y="110"/>
                </a:lnTo>
                <a:lnTo>
                  <a:pt x="203" y="104"/>
                </a:lnTo>
                <a:lnTo>
                  <a:pt x="203" y="101"/>
                </a:lnTo>
                <a:lnTo>
                  <a:pt x="205" y="97"/>
                </a:lnTo>
                <a:lnTo>
                  <a:pt x="205" y="97"/>
                </a:lnTo>
                <a:lnTo>
                  <a:pt x="199" y="101"/>
                </a:lnTo>
                <a:lnTo>
                  <a:pt x="194" y="104"/>
                </a:lnTo>
                <a:lnTo>
                  <a:pt x="190" y="110"/>
                </a:lnTo>
                <a:lnTo>
                  <a:pt x="190" y="110"/>
                </a:lnTo>
                <a:lnTo>
                  <a:pt x="190" y="117"/>
                </a:lnTo>
                <a:lnTo>
                  <a:pt x="192" y="124"/>
                </a:lnTo>
                <a:lnTo>
                  <a:pt x="195" y="128"/>
                </a:lnTo>
                <a:lnTo>
                  <a:pt x="201" y="132"/>
                </a:lnTo>
                <a:lnTo>
                  <a:pt x="201" y="132"/>
                </a:lnTo>
                <a:lnTo>
                  <a:pt x="208" y="132"/>
                </a:lnTo>
                <a:lnTo>
                  <a:pt x="217" y="130"/>
                </a:lnTo>
                <a:lnTo>
                  <a:pt x="234" y="123"/>
                </a:lnTo>
                <a:lnTo>
                  <a:pt x="234" y="123"/>
                </a:lnTo>
                <a:lnTo>
                  <a:pt x="250" y="113"/>
                </a:lnTo>
                <a:lnTo>
                  <a:pt x="250" y="113"/>
                </a:lnTo>
                <a:lnTo>
                  <a:pt x="258" y="112"/>
                </a:lnTo>
                <a:lnTo>
                  <a:pt x="263" y="110"/>
                </a:lnTo>
                <a:lnTo>
                  <a:pt x="270" y="112"/>
                </a:lnTo>
                <a:lnTo>
                  <a:pt x="278" y="113"/>
                </a:lnTo>
                <a:lnTo>
                  <a:pt x="278" y="113"/>
                </a:lnTo>
                <a:lnTo>
                  <a:pt x="285" y="119"/>
                </a:lnTo>
                <a:lnTo>
                  <a:pt x="289" y="121"/>
                </a:lnTo>
                <a:lnTo>
                  <a:pt x="289" y="121"/>
                </a:lnTo>
                <a:lnTo>
                  <a:pt x="285" y="126"/>
                </a:lnTo>
                <a:lnTo>
                  <a:pt x="281" y="130"/>
                </a:lnTo>
                <a:lnTo>
                  <a:pt x="274" y="130"/>
                </a:lnTo>
                <a:lnTo>
                  <a:pt x="274" y="130"/>
                </a:lnTo>
                <a:lnTo>
                  <a:pt x="267" y="130"/>
                </a:lnTo>
                <a:lnTo>
                  <a:pt x="261" y="128"/>
                </a:lnTo>
                <a:lnTo>
                  <a:pt x="256" y="124"/>
                </a:lnTo>
                <a:lnTo>
                  <a:pt x="254" y="121"/>
                </a:lnTo>
                <a:lnTo>
                  <a:pt x="254" y="121"/>
                </a:lnTo>
                <a:lnTo>
                  <a:pt x="250" y="128"/>
                </a:lnTo>
                <a:lnTo>
                  <a:pt x="250" y="128"/>
                </a:lnTo>
                <a:lnTo>
                  <a:pt x="248" y="132"/>
                </a:lnTo>
                <a:lnTo>
                  <a:pt x="248" y="135"/>
                </a:lnTo>
                <a:lnTo>
                  <a:pt x="250" y="137"/>
                </a:lnTo>
                <a:lnTo>
                  <a:pt x="248" y="141"/>
                </a:lnTo>
                <a:lnTo>
                  <a:pt x="248" y="141"/>
                </a:lnTo>
                <a:lnTo>
                  <a:pt x="247" y="143"/>
                </a:lnTo>
                <a:lnTo>
                  <a:pt x="245" y="146"/>
                </a:lnTo>
                <a:lnTo>
                  <a:pt x="238" y="152"/>
                </a:lnTo>
                <a:lnTo>
                  <a:pt x="238" y="152"/>
                </a:lnTo>
                <a:lnTo>
                  <a:pt x="227" y="157"/>
                </a:lnTo>
                <a:lnTo>
                  <a:pt x="219" y="159"/>
                </a:lnTo>
                <a:lnTo>
                  <a:pt x="219" y="159"/>
                </a:lnTo>
                <a:lnTo>
                  <a:pt x="227" y="176"/>
                </a:lnTo>
                <a:lnTo>
                  <a:pt x="227" y="176"/>
                </a:lnTo>
                <a:lnTo>
                  <a:pt x="232" y="187"/>
                </a:lnTo>
                <a:lnTo>
                  <a:pt x="236" y="194"/>
                </a:lnTo>
                <a:lnTo>
                  <a:pt x="239" y="199"/>
                </a:lnTo>
                <a:lnTo>
                  <a:pt x="239" y="199"/>
                </a:lnTo>
                <a:lnTo>
                  <a:pt x="247" y="198"/>
                </a:lnTo>
                <a:lnTo>
                  <a:pt x="259" y="192"/>
                </a:lnTo>
                <a:lnTo>
                  <a:pt x="259" y="192"/>
                </a:lnTo>
                <a:lnTo>
                  <a:pt x="269" y="185"/>
                </a:lnTo>
                <a:lnTo>
                  <a:pt x="274" y="177"/>
                </a:lnTo>
                <a:lnTo>
                  <a:pt x="274" y="177"/>
                </a:lnTo>
                <a:lnTo>
                  <a:pt x="267" y="194"/>
                </a:lnTo>
                <a:lnTo>
                  <a:pt x="261" y="203"/>
                </a:lnTo>
                <a:lnTo>
                  <a:pt x="254" y="210"/>
                </a:lnTo>
                <a:lnTo>
                  <a:pt x="248" y="216"/>
                </a:lnTo>
                <a:lnTo>
                  <a:pt x="248" y="216"/>
                </a:lnTo>
                <a:lnTo>
                  <a:pt x="225" y="232"/>
                </a:lnTo>
                <a:lnTo>
                  <a:pt x="192" y="250"/>
                </a:lnTo>
                <a:lnTo>
                  <a:pt x="172" y="261"/>
                </a:lnTo>
                <a:lnTo>
                  <a:pt x="153" y="269"/>
                </a:lnTo>
                <a:lnTo>
                  <a:pt x="133" y="276"/>
                </a:lnTo>
                <a:lnTo>
                  <a:pt x="113" y="280"/>
                </a:lnTo>
                <a:lnTo>
                  <a:pt x="113" y="280"/>
                </a:lnTo>
                <a:lnTo>
                  <a:pt x="108" y="278"/>
                </a:lnTo>
                <a:lnTo>
                  <a:pt x="100" y="276"/>
                </a:lnTo>
                <a:lnTo>
                  <a:pt x="88" y="267"/>
                </a:lnTo>
                <a:lnTo>
                  <a:pt x="75" y="258"/>
                </a:lnTo>
                <a:lnTo>
                  <a:pt x="68" y="249"/>
                </a:lnTo>
                <a:lnTo>
                  <a:pt x="68" y="249"/>
                </a:lnTo>
                <a:lnTo>
                  <a:pt x="66" y="249"/>
                </a:lnTo>
                <a:lnTo>
                  <a:pt x="62" y="247"/>
                </a:lnTo>
                <a:lnTo>
                  <a:pt x="58" y="249"/>
                </a:lnTo>
                <a:lnTo>
                  <a:pt x="53" y="252"/>
                </a:lnTo>
                <a:lnTo>
                  <a:pt x="53" y="252"/>
                </a:lnTo>
                <a:lnTo>
                  <a:pt x="49" y="252"/>
                </a:lnTo>
                <a:lnTo>
                  <a:pt x="42" y="252"/>
                </a:lnTo>
                <a:lnTo>
                  <a:pt x="31" y="254"/>
                </a:lnTo>
                <a:lnTo>
                  <a:pt x="27" y="258"/>
                </a:lnTo>
                <a:lnTo>
                  <a:pt x="24" y="261"/>
                </a:lnTo>
                <a:lnTo>
                  <a:pt x="24" y="261"/>
                </a:lnTo>
                <a:lnTo>
                  <a:pt x="24" y="263"/>
                </a:lnTo>
                <a:lnTo>
                  <a:pt x="29" y="263"/>
                </a:lnTo>
                <a:lnTo>
                  <a:pt x="35" y="261"/>
                </a:lnTo>
                <a:lnTo>
                  <a:pt x="42" y="263"/>
                </a:lnTo>
                <a:lnTo>
                  <a:pt x="42" y="263"/>
                </a:lnTo>
                <a:lnTo>
                  <a:pt x="44" y="265"/>
                </a:lnTo>
                <a:lnTo>
                  <a:pt x="42" y="267"/>
                </a:lnTo>
                <a:lnTo>
                  <a:pt x="40" y="269"/>
                </a:lnTo>
                <a:lnTo>
                  <a:pt x="40" y="272"/>
                </a:lnTo>
                <a:lnTo>
                  <a:pt x="40" y="272"/>
                </a:lnTo>
                <a:lnTo>
                  <a:pt x="40" y="274"/>
                </a:lnTo>
                <a:lnTo>
                  <a:pt x="44" y="278"/>
                </a:lnTo>
                <a:lnTo>
                  <a:pt x="53" y="282"/>
                </a:lnTo>
                <a:lnTo>
                  <a:pt x="71" y="289"/>
                </a:lnTo>
                <a:lnTo>
                  <a:pt x="71" y="289"/>
                </a:lnTo>
                <a:lnTo>
                  <a:pt x="73" y="291"/>
                </a:lnTo>
                <a:lnTo>
                  <a:pt x="73" y="293"/>
                </a:lnTo>
                <a:lnTo>
                  <a:pt x="73" y="293"/>
                </a:lnTo>
                <a:lnTo>
                  <a:pt x="60" y="291"/>
                </a:lnTo>
                <a:lnTo>
                  <a:pt x="51" y="287"/>
                </a:lnTo>
                <a:lnTo>
                  <a:pt x="38" y="282"/>
                </a:lnTo>
                <a:lnTo>
                  <a:pt x="38" y="282"/>
                </a:lnTo>
                <a:lnTo>
                  <a:pt x="29" y="280"/>
                </a:lnTo>
                <a:lnTo>
                  <a:pt x="24" y="280"/>
                </a:lnTo>
                <a:lnTo>
                  <a:pt x="22" y="283"/>
                </a:lnTo>
                <a:lnTo>
                  <a:pt x="20" y="287"/>
                </a:lnTo>
                <a:lnTo>
                  <a:pt x="20" y="287"/>
                </a:lnTo>
                <a:lnTo>
                  <a:pt x="18" y="289"/>
                </a:lnTo>
                <a:lnTo>
                  <a:pt x="16" y="289"/>
                </a:lnTo>
                <a:lnTo>
                  <a:pt x="11" y="293"/>
                </a:lnTo>
                <a:lnTo>
                  <a:pt x="7" y="294"/>
                </a:lnTo>
                <a:lnTo>
                  <a:pt x="4" y="300"/>
                </a:lnTo>
                <a:lnTo>
                  <a:pt x="2" y="305"/>
                </a:lnTo>
                <a:lnTo>
                  <a:pt x="0" y="314"/>
                </a:lnTo>
                <a:lnTo>
                  <a:pt x="0" y="314"/>
                </a:lnTo>
                <a:lnTo>
                  <a:pt x="4" y="313"/>
                </a:lnTo>
                <a:lnTo>
                  <a:pt x="9" y="307"/>
                </a:lnTo>
                <a:lnTo>
                  <a:pt x="15" y="303"/>
                </a:lnTo>
                <a:lnTo>
                  <a:pt x="18" y="302"/>
                </a:lnTo>
                <a:lnTo>
                  <a:pt x="18" y="303"/>
                </a:lnTo>
                <a:lnTo>
                  <a:pt x="18" y="303"/>
                </a:lnTo>
                <a:lnTo>
                  <a:pt x="22" y="311"/>
                </a:lnTo>
                <a:lnTo>
                  <a:pt x="27" y="314"/>
                </a:lnTo>
                <a:lnTo>
                  <a:pt x="35" y="314"/>
                </a:lnTo>
                <a:lnTo>
                  <a:pt x="42" y="314"/>
                </a:lnTo>
                <a:lnTo>
                  <a:pt x="58" y="313"/>
                </a:lnTo>
                <a:lnTo>
                  <a:pt x="66" y="313"/>
                </a:lnTo>
                <a:lnTo>
                  <a:pt x="69" y="313"/>
                </a:lnTo>
                <a:lnTo>
                  <a:pt x="69" y="313"/>
                </a:lnTo>
                <a:lnTo>
                  <a:pt x="69" y="314"/>
                </a:lnTo>
                <a:lnTo>
                  <a:pt x="69" y="314"/>
                </a:lnTo>
                <a:lnTo>
                  <a:pt x="66" y="316"/>
                </a:lnTo>
                <a:lnTo>
                  <a:pt x="53" y="318"/>
                </a:lnTo>
                <a:lnTo>
                  <a:pt x="46" y="320"/>
                </a:lnTo>
                <a:lnTo>
                  <a:pt x="38" y="324"/>
                </a:lnTo>
                <a:lnTo>
                  <a:pt x="37" y="325"/>
                </a:lnTo>
                <a:lnTo>
                  <a:pt x="35" y="329"/>
                </a:lnTo>
                <a:lnTo>
                  <a:pt x="37" y="331"/>
                </a:lnTo>
                <a:lnTo>
                  <a:pt x="37" y="331"/>
                </a:lnTo>
                <a:lnTo>
                  <a:pt x="33" y="335"/>
                </a:lnTo>
                <a:lnTo>
                  <a:pt x="29" y="342"/>
                </a:lnTo>
                <a:lnTo>
                  <a:pt x="27" y="345"/>
                </a:lnTo>
                <a:lnTo>
                  <a:pt x="27" y="351"/>
                </a:lnTo>
                <a:lnTo>
                  <a:pt x="29" y="356"/>
                </a:lnTo>
                <a:lnTo>
                  <a:pt x="35" y="364"/>
                </a:lnTo>
                <a:lnTo>
                  <a:pt x="35" y="364"/>
                </a:lnTo>
                <a:lnTo>
                  <a:pt x="37" y="353"/>
                </a:lnTo>
                <a:lnTo>
                  <a:pt x="40" y="347"/>
                </a:lnTo>
                <a:lnTo>
                  <a:pt x="42" y="345"/>
                </a:lnTo>
                <a:lnTo>
                  <a:pt x="46" y="345"/>
                </a:lnTo>
                <a:lnTo>
                  <a:pt x="46" y="345"/>
                </a:lnTo>
                <a:lnTo>
                  <a:pt x="53" y="345"/>
                </a:lnTo>
                <a:lnTo>
                  <a:pt x="58" y="349"/>
                </a:lnTo>
                <a:lnTo>
                  <a:pt x="64" y="349"/>
                </a:lnTo>
                <a:lnTo>
                  <a:pt x="71" y="345"/>
                </a:lnTo>
                <a:lnTo>
                  <a:pt x="71" y="345"/>
                </a:lnTo>
                <a:lnTo>
                  <a:pt x="79" y="340"/>
                </a:lnTo>
                <a:lnTo>
                  <a:pt x="84" y="336"/>
                </a:lnTo>
                <a:lnTo>
                  <a:pt x="95" y="333"/>
                </a:lnTo>
                <a:lnTo>
                  <a:pt x="95" y="333"/>
                </a:lnTo>
                <a:lnTo>
                  <a:pt x="95" y="336"/>
                </a:lnTo>
                <a:lnTo>
                  <a:pt x="99" y="342"/>
                </a:lnTo>
                <a:lnTo>
                  <a:pt x="99" y="342"/>
                </a:lnTo>
                <a:lnTo>
                  <a:pt x="102" y="344"/>
                </a:lnTo>
                <a:lnTo>
                  <a:pt x="104" y="345"/>
                </a:lnTo>
                <a:lnTo>
                  <a:pt x="104" y="345"/>
                </a:lnTo>
                <a:lnTo>
                  <a:pt x="104" y="345"/>
                </a:lnTo>
                <a:lnTo>
                  <a:pt x="102" y="351"/>
                </a:lnTo>
                <a:lnTo>
                  <a:pt x="99" y="356"/>
                </a:lnTo>
                <a:lnTo>
                  <a:pt x="95" y="360"/>
                </a:lnTo>
                <a:lnTo>
                  <a:pt x="95" y="360"/>
                </a:lnTo>
                <a:lnTo>
                  <a:pt x="97" y="360"/>
                </a:lnTo>
                <a:lnTo>
                  <a:pt x="102" y="360"/>
                </a:lnTo>
                <a:lnTo>
                  <a:pt x="108" y="358"/>
                </a:lnTo>
                <a:lnTo>
                  <a:pt x="111" y="355"/>
                </a:lnTo>
                <a:lnTo>
                  <a:pt x="115" y="349"/>
                </a:lnTo>
                <a:lnTo>
                  <a:pt x="115" y="349"/>
                </a:lnTo>
                <a:lnTo>
                  <a:pt x="117" y="347"/>
                </a:lnTo>
                <a:lnTo>
                  <a:pt x="119" y="347"/>
                </a:lnTo>
                <a:lnTo>
                  <a:pt x="124" y="347"/>
                </a:lnTo>
                <a:lnTo>
                  <a:pt x="124" y="347"/>
                </a:lnTo>
                <a:lnTo>
                  <a:pt x="128" y="345"/>
                </a:lnTo>
                <a:lnTo>
                  <a:pt x="130" y="344"/>
                </a:lnTo>
                <a:lnTo>
                  <a:pt x="130" y="338"/>
                </a:lnTo>
                <a:lnTo>
                  <a:pt x="130" y="333"/>
                </a:lnTo>
                <a:lnTo>
                  <a:pt x="130" y="329"/>
                </a:lnTo>
                <a:lnTo>
                  <a:pt x="132" y="327"/>
                </a:lnTo>
                <a:lnTo>
                  <a:pt x="132" y="327"/>
                </a:lnTo>
                <a:lnTo>
                  <a:pt x="139" y="322"/>
                </a:lnTo>
                <a:lnTo>
                  <a:pt x="146" y="316"/>
                </a:lnTo>
                <a:lnTo>
                  <a:pt x="163" y="309"/>
                </a:lnTo>
                <a:lnTo>
                  <a:pt x="163" y="309"/>
                </a:lnTo>
                <a:lnTo>
                  <a:pt x="161" y="316"/>
                </a:lnTo>
                <a:lnTo>
                  <a:pt x="161" y="324"/>
                </a:lnTo>
                <a:lnTo>
                  <a:pt x="164" y="333"/>
                </a:lnTo>
                <a:lnTo>
                  <a:pt x="205" y="322"/>
                </a:lnTo>
                <a:lnTo>
                  <a:pt x="205" y="322"/>
                </a:lnTo>
                <a:lnTo>
                  <a:pt x="203" y="313"/>
                </a:lnTo>
                <a:lnTo>
                  <a:pt x="205" y="305"/>
                </a:lnTo>
                <a:lnTo>
                  <a:pt x="210" y="296"/>
                </a:lnTo>
                <a:lnTo>
                  <a:pt x="216" y="287"/>
                </a:lnTo>
                <a:lnTo>
                  <a:pt x="216" y="287"/>
                </a:lnTo>
                <a:lnTo>
                  <a:pt x="216" y="291"/>
                </a:lnTo>
                <a:lnTo>
                  <a:pt x="214" y="300"/>
                </a:lnTo>
                <a:lnTo>
                  <a:pt x="214" y="311"/>
                </a:lnTo>
                <a:lnTo>
                  <a:pt x="214" y="316"/>
                </a:lnTo>
                <a:lnTo>
                  <a:pt x="216" y="318"/>
                </a:lnTo>
                <a:lnTo>
                  <a:pt x="256" y="309"/>
                </a:lnTo>
                <a:lnTo>
                  <a:pt x="256" y="309"/>
                </a:lnTo>
                <a:lnTo>
                  <a:pt x="254" y="303"/>
                </a:lnTo>
                <a:lnTo>
                  <a:pt x="254" y="296"/>
                </a:lnTo>
                <a:lnTo>
                  <a:pt x="258" y="283"/>
                </a:lnTo>
                <a:lnTo>
                  <a:pt x="258" y="283"/>
                </a:lnTo>
                <a:lnTo>
                  <a:pt x="261" y="298"/>
                </a:lnTo>
                <a:lnTo>
                  <a:pt x="269" y="311"/>
                </a:lnTo>
                <a:lnTo>
                  <a:pt x="278" y="322"/>
                </a:lnTo>
                <a:lnTo>
                  <a:pt x="283" y="325"/>
                </a:lnTo>
                <a:lnTo>
                  <a:pt x="289" y="329"/>
                </a:lnTo>
                <a:lnTo>
                  <a:pt x="289" y="329"/>
                </a:lnTo>
                <a:lnTo>
                  <a:pt x="311" y="338"/>
                </a:lnTo>
                <a:lnTo>
                  <a:pt x="334" y="345"/>
                </a:lnTo>
                <a:lnTo>
                  <a:pt x="391" y="362"/>
                </a:lnTo>
                <a:lnTo>
                  <a:pt x="391" y="362"/>
                </a:lnTo>
                <a:lnTo>
                  <a:pt x="407" y="367"/>
                </a:lnTo>
                <a:lnTo>
                  <a:pt x="420" y="373"/>
                </a:lnTo>
                <a:lnTo>
                  <a:pt x="420" y="373"/>
                </a:lnTo>
                <a:lnTo>
                  <a:pt x="424" y="375"/>
                </a:lnTo>
                <a:lnTo>
                  <a:pt x="424" y="377"/>
                </a:lnTo>
                <a:lnTo>
                  <a:pt x="422" y="382"/>
                </a:lnTo>
                <a:lnTo>
                  <a:pt x="417" y="386"/>
                </a:lnTo>
                <a:lnTo>
                  <a:pt x="417" y="386"/>
                </a:lnTo>
                <a:lnTo>
                  <a:pt x="424" y="391"/>
                </a:lnTo>
                <a:lnTo>
                  <a:pt x="438" y="400"/>
                </a:lnTo>
                <a:lnTo>
                  <a:pt x="438" y="400"/>
                </a:lnTo>
                <a:lnTo>
                  <a:pt x="448" y="409"/>
                </a:lnTo>
                <a:lnTo>
                  <a:pt x="453" y="420"/>
                </a:lnTo>
                <a:lnTo>
                  <a:pt x="459" y="435"/>
                </a:lnTo>
                <a:lnTo>
                  <a:pt x="462" y="450"/>
                </a:lnTo>
                <a:lnTo>
                  <a:pt x="462" y="450"/>
                </a:lnTo>
                <a:lnTo>
                  <a:pt x="466" y="462"/>
                </a:lnTo>
                <a:lnTo>
                  <a:pt x="466" y="475"/>
                </a:lnTo>
                <a:lnTo>
                  <a:pt x="466" y="486"/>
                </a:lnTo>
                <a:lnTo>
                  <a:pt x="466" y="492"/>
                </a:lnTo>
                <a:lnTo>
                  <a:pt x="464" y="493"/>
                </a:lnTo>
                <a:lnTo>
                  <a:pt x="464" y="493"/>
                </a:lnTo>
                <a:lnTo>
                  <a:pt x="460" y="497"/>
                </a:lnTo>
                <a:lnTo>
                  <a:pt x="457" y="499"/>
                </a:lnTo>
                <a:lnTo>
                  <a:pt x="451" y="501"/>
                </a:lnTo>
                <a:lnTo>
                  <a:pt x="440" y="504"/>
                </a:lnTo>
                <a:lnTo>
                  <a:pt x="444" y="519"/>
                </a:lnTo>
                <a:lnTo>
                  <a:pt x="444" y="519"/>
                </a:lnTo>
                <a:lnTo>
                  <a:pt x="451" y="519"/>
                </a:lnTo>
                <a:lnTo>
                  <a:pt x="459" y="517"/>
                </a:lnTo>
                <a:lnTo>
                  <a:pt x="466" y="515"/>
                </a:lnTo>
                <a:lnTo>
                  <a:pt x="466" y="515"/>
                </a:lnTo>
                <a:lnTo>
                  <a:pt x="464" y="517"/>
                </a:lnTo>
                <a:lnTo>
                  <a:pt x="464" y="517"/>
                </a:lnTo>
                <a:lnTo>
                  <a:pt x="459" y="526"/>
                </a:lnTo>
                <a:lnTo>
                  <a:pt x="457" y="534"/>
                </a:lnTo>
                <a:lnTo>
                  <a:pt x="473" y="545"/>
                </a:lnTo>
                <a:lnTo>
                  <a:pt x="473" y="545"/>
                </a:lnTo>
                <a:lnTo>
                  <a:pt x="481" y="526"/>
                </a:lnTo>
                <a:lnTo>
                  <a:pt x="484" y="521"/>
                </a:lnTo>
                <a:lnTo>
                  <a:pt x="488" y="517"/>
                </a:lnTo>
                <a:lnTo>
                  <a:pt x="488" y="517"/>
                </a:lnTo>
                <a:lnTo>
                  <a:pt x="491" y="517"/>
                </a:lnTo>
                <a:lnTo>
                  <a:pt x="497" y="519"/>
                </a:lnTo>
                <a:lnTo>
                  <a:pt x="504" y="523"/>
                </a:lnTo>
                <a:lnTo>
                  <a:pt x="512" y="526"/>
                </a:lnTo>
                <a:lnTo>
                  <a:pt x="521" y="534"/>
                </a:lnTo>
                <a:lnTo>
                  <a:pt x="528" y="543"/>
                </a:lnTo>
                <a:lnTo>
                  <a:pt x="535" y="552"/>
                </a:lnTo>
                <a:lnTo>
                  <a:pt x="541" y="563"/>
                </a:lnTo>
                <a:lnTo>
                  <a:pt x="541" y="563"/>
                </a:lnTo>
                <a:lnTo>
                  <a:pt x="543" y="572"/>
                </a:lnTo>
                <a:lnTo>
                  <a:pt x="544" y="581"/>
                </a:lnTo>
                <a:lnTo>
                  <a:pt x="544" y="590"/>
                </a:lnTo>
                <a:lnTo>
                  <a:pt x="543" y="601"/>
                </a:lnTo>
                <a:lnTo>
                  <a:pt x="541" y="610"/>
                </a:lnTo>
                <a:lnTo>
                  <a:pt x="537" y="618"/>
                </a:lnTo>
                <a:lnTo>
                  <a:pt x="532" y="623"/>
                </a:lnTo>
                <a:lnTo>
                  <a:pt x="526" y="627"/>
                </a:lnTo>
                <a:lnTo>
                  <a:pt x="526" y="627"/>
                </a:lnTo>
                <a:lnTo>
                  <a:pt x="521" y="627"/>
                </a:lnTo>
                <a:lnTo>
                  <a:pt x="517" y="625"/>
                </a:lnTo>
                <a:lnTo>
                  <a:pt x="504" y="620"/>
                </a:lnTo>
                <a:lnTo>
                  <a:pt x="493" y="614"/>
                </a:lnTo>
                <a:lnTo>
                  <a:pt x="490" y="614"/>
                </a:lnTo>
                <a:lnTo>
                  <a:pt x="486" y="618"/>
                </a:lnTo>
                <a:lnTo>
                  <a:pt x="486" y="618"/>
                </a:lnTo>
                <a:lnTo>
                  <a:pt x="484" y="620"/>
                </a:lnTo>
                <a:lnTo>
                  <a:pt x="479" y="623"/>
                </a:lnTo>
                <a:lnTo>
                  <a:pt x="470" y="629"/>
                </a:lnTo>
                <a:lnTo>
                  <a:pt x="466" y="632"/>
                </a:lnTo>
                <a:lnTo>
                  <a:pt x="462" y="638"/>
                </a:lnTo>
                <a:lnTo>
                  <a:pt x="462" y="645"/>
                </a:lnTo>
                <a:lnTo>
                  <a:pt x="464" y="654"/>
                </a:lnTo>
                <a:lnTo>
                  <a:pt x="464" y="654"/>
                </a:lnTo>
                <a:lnTo>
                  <a:pt x="473" y="645"/>
                </a:lnTo>
                <a:lnTo>
                  <a:pt x="477" y="641"/>
                </a:lnTo>
                <a:lnTo>
                  <a:pt x="481" y="641"/>
                </a:lnTo>
                <a:lnTo>
                  <a:pt x="481" y="641"/>
                </a:lnTo>
                <a:lnTo>
                  <a:pt x="482" y="643"/>
                </a:lnTo>
                <a:lnTo>
                  <a:pt x="482" y="645"/>
                </a:lnTo>
                <a:lnTo>
                  <a:pt x="486" y="649"/>
                </a:lnTo>
                <a:lnTo>
                  <a:pt x="486" y="649"/>
                </a:lnTo>
                <a:lnTo>
                  <a:pt x="488" y="651"/>
                </a:lnTo>
                <a:lnTo>
                  <a:pt x="491" y="651"/>
                </a:lnTo>
                <a:lnTo>
                  <a:pt x="502" y="651"/>
                </a:lnTo>
                <a:lnTo>
                  <a:pt x="512" y="649"/>
                </a:lnTo>
                <a:lnTo>
                  <a:pt x="515" y="649"/>
                </a:lnTo>
                <a:lnTo>
                  <a:pt x="517" y="651"/>
                </a:lnTo>
                <a:lnTo>
                  <a:pt x="517" y="651"/>
                </a:lnTo>
                <a:lnTo>
                  <a:pt x="517" y="652"/>
                </a:lnTo>
                <a:lnTo>
                  <a:pt x="515" y="652"/>
                </a:lnTo>
                <a:lnTo>
                  <a:pt x="510" y="652"/>
                </a:lnTo>
                <a:lnTo>
                  <a:pt x="510" y="652"/>
                </a:lnTo>
                <a:lnTo>
                  <a:pt x="491" y="656"/>
                </a:lnTo>
                <a:lnTo>
                  <a:pt x="484" y="660"/>
                </a:lnTo>
                <a:lnTo>
                  <a:pt x="479" y="663"/>
                </a:lnTo>
                <a:lnTo>
                  <a:pt x="479" y="663"/>
                </a:lnTo>
                <a:lnTo>
                  <a:pt x="479" y="665"/>
                </a:lnTo>
                <a:lnTo>
                  <a:pt x="479" y="669"/>
                </a:lnTo>
                <a:lnTo>
                  <a:pt x="479" y="669"/>
                </a:lnTo>
                <a:lnTo>
                  <a:pt x="475" y="674"/>
                </a:lnTo>
                <a:lnTo>
                  <a:pt x="470" y="678"/>
                </a:lnTo>
                <a:lnTo>
                  <a:pt x="466" y="683"/>
                </a:lnTo>
                <a:lnTo>
                  <a:pt x="464" y="689"/>
                </a:lnTo>
                <a:lnTo>
                  <a:pt x="464" y="694"/>
                </a:lnTo>
                <a:lnTo>
                  <a:pt x="464" y="694"/>
                </a:lnTo>
                <a:lnTo>
                  <a:pt x="466" y="702"/>
                </a:lnTo>
                <a:lnTo>
                  <a:pt x="470" y="705"/>
                </a:lnTo>
                <a:lnTo>
                  <a:pt x="475" y="711"/>
                </a:lnTo>
                <a:lnTo>
                  <a:pt x="475" y="711"/>
                </a:lnTo>
                <a:lnTo>
                  <a:pt x="475" y="707"/>
                </a:lnTo>
                <a:lnTo>
                  <a:pt x="477" y="702"/>
                </a:lnTo>
                <a:lnTo>
                  <a:pt x="479" y="694"/>
                </a:lnTo>
                <a:lnTo>
                  <a:pt x="479" y="691"/>
                </a:lnTo>
                <a:lnTo>
                  <a:pt x="482" y="691"/>
                </a:lnTo>
                <a:lnTo>
                  <a:pt x="482" y="691"/>
                </a:lnTo>
                <a:lnTo>
                  <a:pt x="484" y="691"/>
                </a:lnTo>
                <a:lnTo>
                  <a:pt x="488" y="693"/>
                </a:lnTo>
                <a:lnTo>
                  <a:pt x="490" y="696"/>
                </a:lnTo>
                <a:lnTo>
                  <a:pt x="493" y="696"/>
                </a:lnTo>
                <a:lnTo>
                  <a:pt x="493" y="696"/>
                </a:lnTo>
                <a:lnTo>
                  <a:pt x="497" y="696"/>
                </a:lnTo>
                <a:lnTo>
                  <a:pt x="502" y="693"/>
                </a:lnTo>
                <a:lnTo>
                  <a:pt x="513" y="682"/>
                </a:lnTo>
                <a:lnTo>
                  <a:pt x="524" y="672"/>
                </a:lnTo>
                <a:lnTo>
                  <a:pt x="528" y="669"/>
                </a:lnTo>
                <a:lnTo>
                  <a:pt x="532" y="669"/>
                </a:lnTo>
                <a:lnTo>
                  <a:pt x="532" y="669"/>
                </a:lnTo>
                <a:lnTo>
                  <a:pt x="533" y="671"/>
                </a:lnTo>
                <a:lnTo>
                  <a:pt x="532" y="672"/>
                </a:lnTo>
                <a:lnTo>
                  <a:pt x="524" y="678"/>
                </a:lnTo>
                <a:lnTo>
                  <a:pt x="517" y="685"/>
                </a:lnTo>
                <a:lnTo>
                  <a:pt x="513" y="689"/>
                </a:lnTo>
                <a:lnTo>
                  <a:pt x="512" y="694"/>
                </a:lnTo>
                <a:lnTo>
                  <a:pt x="512" y="694"/>
                </a:lnTo>
                <a:lnTo>
                  <a:pt x="513" y="700"/>
                </a:lnTo>
                <a:lnTo>
                  <a:pt x="515" y="704"/>
                </a:lnTo>
                <a:lnTo>
                  <a:pt x="519" y="707"/>
                </a:lnTo>
                <a:lnTo>
                  <a:pt x="521" y="711"/>
                </a:lnTo>
                <a:lnTo>
                  <a:pt x="521" y="711"/>
                </a:lnTo>
                <a:lnTo>
                  <a:pt x="523" y="715"/>
                </a:lnTo>
                <a:lnTo>
                  <a:pt x="526" y="720"/>
                </a:lnTo>
                <a:lnTo>
                  <a:pt x="530" y="724"/>
                </a:lnTo>
                <a:lnTo>
                  <a:pt x="535" y="725"/>
                </a:lnTo>
                <a:lnTo>
                  <a:pt x="546" y="729"/>
                </a:lnTo>
                <a:lnTo>
                  <a:pt x="552" y="729"/>
                </a:lnTo>
                <a:lnTo>
                  <a:pt x="552" y="729"/>
                </a:lnTo>
                <a:lnTo>
                  <a:pt x="550" y="725"/>
                </a:lnTo>
                <a:lnTo>
                  <a:pt x="544" y="720"/>
                </a:lnTo>
                <a:lnTo>
                  <a:pt x="539" y="713"/>
                </a:lnTo>
                <a:lnTo>
                  <a:pt x="539" y="711"/>
                </a:lnTo>
                <a:lnTo>
                  <a:pt x="539" y="707"/>
                </a:lnTo>
                <a:lnTo>
                  <a:pt x="539" y="707"/>
                </a:lnTo>
                <a:lnTo>
                  <a:pt x="541" y="705"/>
                </a:lnTo>
                <a:lnTo>
                  <a:pt x="544" y="707"/>
                </a:lnTo>
                <a:lnTo>
                  <a:pt x="548" y="707"/>
                </a:lnTo>
                <a:lnTo>
                  <a:pt x="552" y="705"/>
                </a:lnTo>
                <a:lnTo>
                  <a:pt x="552" y="705"/>
                </a:lnTo>
                <a:lnTo>
                  <a:pt x="552" y="702"/>
                </a:lnTo>
                <a:lnTo>
                  <a:pt x="552" y="691"/>
                </a:lnTo>
                <a:lnTo>
                  <a:pt x="552" y="685"/>
                </a:lnTo>
                <a:lnTo>
                  <a:pt x="554" y="678"/>
                </a:lnTo>
                <a:lnTo>
                  <a:pt x="559" y="671"/>
                </a:lnTo>
                <a:lnTo>
                  <a:pt x="566" y="662"/>
                </a:lnTo>
                <a:lnTo>
                  <a:pt x="566" y="662"/>
                </a:lnTo>
                <a:lnTo>
                  <a:pt x="570" y="667"/>
                </a:lnTo>
                <a:lnTo>
                  <a:pt x="574" y="669"/>
                </a:lnTo>
                <a:lnTo>
                  <a:pt x="581" y="671"/>
                </a:lnTo>
                <a:lnTo>
                  <a:pt x="581" y="671"/>
                </a:lnTo>
                <a:lnTo>
                  <a:pt x="583" y="672"/>
                </a:lnTo>
                <a:lnTo>
                  <a:pt x="585" y="674"/>
                </a:lnTo>
                <a:lnTo>
                  <a:pt x="585" y="682"/>
                </a:lnTo>
                <a:lnTo>
                  <a:pt x="585" y="691"/>
                </a:lnTo>
                <a:lnTo>
                  <a:pt x="585" y="691"/>
                </a:lnTo>
                <a:lnTo>
                  <a:pt x="586" y="689"/>
                </a:lnTo>
                <a:lnTo>
                  <a:pt x="590" y="683"/>
                </a:lnTo>
                <a:lnTo>
                  <a:pt x="594" y="674"/>
                </a:lnTo>
                <a:lnTo>
                  <a:pt x="594" y="663"/>
                </a:lnTo>
                <a:lnTo>
                  <a:pt x="594" y="663"/>
                </a:lnTo>
                <a:lnTo>
                  <a:pt x="597" y="662"/>
                </a:lnTo>
                <a:lnTo>
                  <a:pt x="601" y="654"/>
                </a:lnTo>
                <a:lnTo>
                  <a:pt x="601" y="654"/>
                </a:lnTo>
                <a:lnTo>
                  <a:pt x="603" y="651"/>
                </a:lnTo>
                <a:lnTo>
                  <a:pt x="601" y="649"/>
                </a:lnTo>
                <a:lnTo>
                  <a:pt x="596" y="643"/>
                </a:lnTo>
                <a:lnTo>
                  <a:pt x="594" y="640"/>
                </a:lnTo>
                <a:lnTo>
                  <a:pt x="592" y="634"/>
                </a:lnTo>
                <a:lnTo>
                  <a:pt x="590" y="625"/>
                </a:lnTo>
                <a:lnTo>
                  <a:pt x="590" y="614"/>
                </a:lnTo>
                <a:lnTo>
                  <a:pt x="590" y="614"/>
                </a:lnTo>
                <a:lnTo>
                  <a:pt x="590" y="610"/>
                </a:lnTo>
                <a:lnTo>
                  <a:pt x="588" y="609"/>
                </a:lnTo>
                <a:lnTo>
                  <a:pt x="583" y="605"/>
                </a:lnTo>
                <a:lnTo>
                  <a:pt x="583" y="605"/>
                </a:lnTo>
                <a:lnTo>
                  <a:pt x="579" y="599"/>
                </a:lnTo>
                <a:lnTo>
                  <a:pt x="579" y="598"/>
                </a:lnTo>
                <a:lnTo>
                  <a:pt x="581" y="598"/>
                </a:lnTo>
                <a:lnTo>
                  <a:pt x="581" y="598"/>
                </a:lnTo>
                <a:lnTo>
                  <a:pt x="588" y="599"/>
                </a:lnTo>
                <a:lnTo>
                  <a:pt x="596" y="599"/>
                </a:lnTo>
                <a:lnTo>
                  <a:pt x="603" y="598"/>
                </a:lnTo>
                <a:lnTo>
                  <a:pt x="603" y="598"/>
                </a:lnTo>
                <a:lnTo>
                  <a:pt x="603" y="576"/>
                </a:lnTo>
                <a:lnTo>
                  <a:pt x="605" y="565"/>
                </a:lnTo>
                <a:lnTo>
                  <a:pt x="603" y="559"/>
                </a:lnTo>
                <a:lnTo>
                  <a:pt x="603" y="559"/>
                </a:lnTo>
                <a:lnTo>
                  <a:pt x="596" y="559"/>
                </a:lnTo>
                <a:lnTo>
                  <a:pt x="588" y="557"/>
                </a:lnTo>
                <a:lnTo>
                  <a:pt x="585" y="556"/>
                </a:lnTo>
                <a:lnTo>
                  <a:pt x="581" y="552"/>
                </a:lnTo>
                <a:lnTo>
                  <a:pt x="581" y="552"/>
                </a:lnTo>
                <a:lnTo>
                  <a:pt x="586" y="552"/>
                </a:lnTo>
                <a:lnTo>
                  <a:pt x="594" y="552"/>
                </a:lnTo>
                <a:lnTo>
                  <a:pt x="599" y="552"/>
                </a:lnTo>
                <a:lnTo>
                  <a:pt x="603" y="548"/>
                </a:lnTo>
                <a:lnTo>
                  <a:pt x="603" y="548"/>
                </a:lnTo>
                <a:lnTo>
                  <a:pt x="603" y="530"/>
                </a:lnTo>
                <a:lnTo>
                  <a:pt x="601" y="517"/>
                </a:lnTo>
                <a:lnTo>
                  <a:pt x="601" y="514"/>
                </a:lnTo>
                <a:lnTo>
                  <a:pt x="599" y="512"/>
                </a:lnTo>
                <a:lnTo>
                  <a:pt x="599" y="512"/>
                </a:lnTo>
                <a:lnTo>
                  <a:pt x="592" y="514"/>
                </a:lnTo>
                <a:lnTo>
                  <a:pt x="586" y="514"/>
                </a:lnTo>
                <a:lnTo>
                  <a:pt x="581" y="512"/>
                </a:lnTo>
                <a:lnTo>
                  <a:pt x="576" y="510"/>
                </a:lnTo>
                <a:lnTo>
                  <a:pt x="576" y="510"/>
                </a:lnTo>
                <a:lnTo>
                  <a:pt x="574" y="508"/>
                </a:lnTo>
                <a:lnTo>
                  <a:pt x="572" y="504"/>
                </a:lnTo>
                <a:lnTo>
                  <a:pt x="572" y="499"/>
                </a:lnTo>
                <a:lnTo>
                  <a:pt x="570" y="495"/>
                </a:lnTo>
                <a:lnTo>
                  <a:pt x="570" y="493"/>
                </a:lnTo>
                <a:lnTo>
                  <a:pt x="568" y="492"/>
                </a:lnTo>
                <a:lnTo>
                  <a:pt x="568" y="492"/>
                </a:lnTo>
                <a:lnTo>
                  <a:pt x="557" y="488"/>
                </a:lnTo>
                <a:lnTo>
                  <a:pt x="546" y="482"/>
                </a:lnTo>
                <a:lnTo>
                  <a:pt x="541" y="477"/>
                </a:lnTo>
                <a:lnTo>
                  <a:pt x="535" y="473"/>
                </a:lnTo>
                <a:lnTo>
                  <a:pt x="535" y="473"/>
                </a:lnTo>
                <a:lnTo>
                  <a:pt x="532" y="468"/>
                </a:lnTo>
                <a:lnTo>
                  <a:pt x="532" y="462"/>
                </a:lnTo>
                <a:lnTo>
                  <a:pt x="532" y="459"/>
                </a:lnTo>
                <a:lnTo>
                  <a:pt x="532" y="459"/>
                </a:lnTo>
                <a:lnTo>
                  <a:pt x="541" y="462"/>
                </a:lnTo>
                <a:lnTo>
                  <a:pt x="544" y="462"/>
                </a:lnTo>
                <a:lnTo>
                  <a:pt x="550" y="461"/>
                </a:lnTo>
                <a:lnTo>
                  <a:pt x="552" y="431"/>
                </a:lnTo>
                <a:lnTo>
                  <a:pt x="552" y="431"/>
                </a:lnTo>
                <a:lnTo>
                  <a:pt x="548" y="431"/>
                </a:lnTo>
                <a:lnTo>
                  <a:pt x="541" y="430"/>
                </a:lnTo>
                <a:lnTo>
                  <a:pt x="541" y="430"/>
                </a:lnTo>
                <a:lnTo>
                  <a:pt x="537" y="426"/>
                </a:lnTo>
                <a:lnTo>
                  <a:pt x="533" y="422"/>
                </a:lnTo>
                <a:lnTo>
                  <a:pt x="532" y="419"/>
                </a:lnTo>
                <a:lnTo>
                  <a:pt x="532" y="419"/>
                </a:lnTo>
                <a:lnTo>
                  <a:pt x="535" y="420"/>
                </a:lnTo>
                <a:lnTo>
                  <a:pt x="543" y="422"/>
                </a:lnTo>
                <a:lnTo>
                  <a:pt x="543" y="422"/>
                </a:lnTo>
                <a:lnTo>
                  <a:pt x="550" y="422"/>
                </a:lnTo>
                <a:lnTo>
                  <a:pt x="554" y="420"/>
                </a:lnTo>
                <a:lnTo>
                  <a:pt x="557" y="387"/>
                </a:lnTo>
                <a:lnTo>
                  <a:pt x="557" y="387"/>
                </a:lnTo>
                <a:lnTo>
                  <a:pt x="552" y="387"/>
                </a:lnTo>
                <a:lnTo>
                  <a:pt x="546" y="386"/>
                </a:lnTo>
                <a:lnTo>
                  <a:pt x="541" y="384"/>
                </a:lnTo>
                <a:lnTo>
                  <a:pt x="539" y="378"/>
                </a:lnTo>
                <a:lnTo>
                  <a:pt x="539" y="377"/>
                </a:lnTo>
                <a:lnTo>
                  <a:pt x="539" y="377"/>
                </a:lnTo>
                <a:lnTo>
                  <a:pt x="552" y="373"/>
                </a:lnTo>
                <a:lnTo>
                  <a:pt x="563" y="367"/>
                </a:lnTo>
                <a:lnTo>
                  <a:pt x="572" y="360"/>
                </a:lnTo>
                <a:lnTo>
                  <a:pt x="579" y="353"/>
                </a:lnTo>
                <a:lnTo>
                  <a:pt x="586" y="344"/>
                </a:lnTo>
                <a:lnTo>
                  <a:pt x="592" y="333"/>
                </a:lnTo>
                <a:lnTo>
                  <a:pt x="597" y="324"/>
                </a:lnTo>
                <a:lnTo>
                  <a:pt x="599" y="313"/>
                </a:lnTo>
                <a:lnTo>
                  <a:pt x="599" y="313"/>
                </a:lnTo>
                <a:lnTo>
                  <a:pt x="608" y="316"/>
                </a:lnTo>
                <a:lnTo>
                  <a:pt x="614" y="316"/>
                </a:lnTo>
                <a:lnTo>
                  <a:pt x="618" y="316"/>
                </a:lnTo>
                <a:lnTo>
                  <a:pt x="618" y="316"/>
                </a:lnTo>
                <a:lnTo>
                  <a:pt x="619" y="303"/>
                </a:lnTo>
                <a:lnTo>
                  <a:pt x="619" y="289"/>
                </a:lnTo>
                <a:lnTo>
                  <a:pt x="619" y="289"/>
                </a:lnTo>
                <a:lnTo>
                  <a:pt x="610" y="287"/>
                </a:lnTo>
                <a:lnTo>
                  <a:pt x="607" y="285"/>
                </a:lnTo>
                <a:lnTo>
                  <a:pt x="603" y="28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pic>
        <p:nvPicPr>
          <p:cNvPr id="53" name="Picture 3">
            <a:extLst>
              <a:ext uri="{FF2B5EF4-FFF2-40B4-BE49-F238E27FC236}">
                <a16:creationId xmlns:a16="http://schemas.microsoft.com/office/drawing/2014/main" id="{F1689B57-8BAA-BF42-B648-10782572357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804248" y="4443958"/>
            <a:ext cx="2088034" cy="397877"/>
          </a:xfrm>
          <a:prstGeom prst="rect">
            <a:avLst/>
          </a:prstGeom>
        </p:spPr>
      </p:pic>
      <p:pic>
        <p:nvPicPr>
          <p:cNvPr id="55" name="Picture 5">
            <a:extLst>
              <a:ext uri="{FF2B5EF4-FFF2-40B4-BE49-F238E27FC236}">
                <a16:creationId xmlns:a16="http://schemas.microsoft.com/office/drawing/2014/main" id="{4F591584-9FCE-5A4F-A985-77C337C3AB8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04448" y="235340"/>
            <a:ext cx="305495" cy="419486"/>
          </a:xfrm>
          <a:prstGeom prst="rect">
            <a:avLst/>
          </a:prstGeom>
        </p:spPr>
      </p:pic>
    </p:spTree>
    <p:extLst>
      <p:ext uri="{BB962C8B-B14F-4D97-AF65-F5344CB8AC3E}">
        <p14:creationId xmlns:p14="http://schemas.microsoft.com/office/powerpoint/2010/main" val="251575206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9_Väliotsikko">
    <p:spTree>
      <p:nvGrpSpPr>
        <p:cNvPr id="1" name=""/>
        <p:cNvGrpSpPr/>
        <p:nvPr/>
      </p:nvGrpSpPr>
      <p:grpSpPr>
        <a:xfrm>
          <a:off x="0" y="0"/>
          <a:ext cx="0" cy="0"/>
          <a:chOff x="0" y="0"/>
          <a:chExt cx="0" cy="0"/>
        </a:xfrm>
      </p:grpSpPr>
      <p:pic>
        <p:nvPicPr>
          <p:cNvPr id="3" name="Kuva 2"/>
          <p:cNvPicPr>
            <a:picLocks noChangeAspect="1"/>
          </p:cNvPicPr>
          <p:nvPr userDrawn="1"/>
        </p:nvPicPr>
        <p:blipFill rotWithShape="1">
          <a:blip r:embed="rId2" cstate="print">
            <a:extLst>
              <a:ext uri="{28A0092B-C50C-407E-A947-70E740481C1C}">
                <a14:useLocalDpi xmlns:a14="http://schemas.microsoft.com/office/drawing/2010/main" val="0"/>
              </a:ext>
            </a:extLst>
          </a:blip>
          <a:srcRect t="1946" r="8036" b="581"/>
          <a:stretch/>
        </p:blipFill>
        <p:spPr>
          <a:xfrm>
            <a:off x="1691680" y="-20538"/>
            <a:ext cx="7416824" cy="5184576"/>
          </a:xfrm>
          <a:prstGeom prst="rect">
            <a:avLst/>
          </a:prstGeom>
        </p:spPr>
      </p:pic>
      <p:sp>
        <p:nvSpPr>
          <p:cNvPr id="51" name="Rectangle 50"/>
          <p:cNvSpPr/>
          <p:nvPr userDrawn="1"/>
        </p:nvSpPr>
        <p:spPr>
          <a:xfrm rot="10800000" flipV="1">
            <a:off x="-10667" y="-21804"/>
            <a:ext cx="4582667" cy="5165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58" name="Rectangle 57"/>
          <p:cNvSpPr/>
          <p:nvPr userDrawn="1"/>
        </p:nvSpPr>
        <p:spPr>
          <a:xfrm rot="10800000" flipV="1">
            <a:off x="4427983" y="-21804"/>
            <a:ext cx="4714430" cy="5165302"/>
          </a:xfrm>
          <a:prstGeom prst="rect">
            <a:avLst/>
          </a:pr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54" name="Freeform 7"/>
          <p:cNvSpPr>
            <a:spLocks/>
          </p:cNvSpPr>
          <p:nvPr userDrawn="1"/>
        </p:nvSpPr>
        <p:spPr bwMode="auto">
          <a:xfrm rot="10800000" flipV="1">
            <a:off x="3392894" y="-21803"/>
            <a:ext cx="4279900" cy="5165302"/>
          </a:xfrm>
          <a:custGeom>
            <a:avLst/>
            <a:gdLst>
              <a:gd name="T0" fmla="*/ 2425 w 2696"/>
              <a:gd name="T1" fmla="*/ 3240 h 3240"/>
              <a:gd name="T2" fmla="*/ 2398 w 2696"/>
              <a:gd name="T3" fmla="*/ 3171 h 3240"/>
              <a:gd name="T4" fmla="*/ 2372 w 2696"/>
              <a:gd name="T5" fmla="*/ 3103 h 3240"/>
              <a:gd name="T6" fmla="*/ 2325 w 2696"/>
              <a:gd name="T7" fmla="*/ 2966 h 3240"/>
              <a:gd name="T8" fmla="*/ 2283 w 2696"/>
              <a:gd name="T9" fmla="*/ 2828 h 3240"/>
              <a:gd name="T10" fmla="*/ 2248 w 2696"/>
              <a:gd name="T11" fmla="*/ 2689 h 3240"/>
              <a:gd name="T12" fmla="*/ 2219 w 2696"/>
              <a:gd name="T13" fmla="*/ 2550 h 3240"/>
              <a:gd name="T14" fmla="*/ 2196 w 2696"/>
              <a:gd name="T15" fmla="*/ 2411 h 3240"/>
              <a:gd name="T16" fmla="*/ 2178 w 2696"/>
              <a:gd name="T17" fmla="*/ 2273 h 3240"/>
              <a:gd name="T18" fmla="*/ 2164 w 2696"/>
              <a:gd name="T19" fmla="*/ 2133 h 3240"/>
              <a:gd name="T20" fmla="*/ 2157 w 2696"/>
              <a:gd name="T21" fmla="*/ 1995 h 3240"/>
              <a:gd name="T22" fmla="*/ 2156 w 2696"/>
              <a:gd name="T23" fmla="*/ 1856 h 3240"/>
              <a:gd name="T24" fmla="*/ 2160 w 2696"/>
              <a:gd name="T25" fmla="*/ 1718 h 3240"/>
              <a:gd name="T26" fmla="*/ 2170 w 2696"/>
              <a:gd name="T27" fmla="*/ 1581 h 3240"/>
              <a:gd name="T28" fmla="*/ 2183 w 2696"/>
              <a:gd name="T29" fmla="*/ 1445 h 3240"/>
              <a:gd name="T30" fmla="*/ 2203 w 2696"/>
              <a:gd name="T31" fmla="*/ 1310 h 3240"/>
              <a:gd name="T32" fmla="*/ 2228 w 2696"/>
              <a:gd name="T33" fmla="*/ 1175 h 3240"/>
              <a:gd name="T34" fmla="*/ 2259 w 2696"/>
              <a:gd name="T35" fmla="*/ 1042 h 3240"/>
              <a:gd name="T36" fmla="*/ 2274 w 2696"/>
              <a:gd name="T37" fmla="*/ 977 h 3240"/>
              <a:gd name="T38" fmla="*/ 2313 w 2696"/>
              <a:gd name="T39" fmla="*/ 845 h 3240"/>
              <a:gd name="T40" fmla="*/ 2354 w 2696"/>
              <a:gd name="T41" fmla="*/ 716 h 3240"/>
              <a:gd name="T42" fmla="*/ 2400 w 2696"/>
              <a:gd name="T43" fmla="*/ 590 h 3240"/>
              <a:gd name="T44" fmla="*/ 2452 w 2696"/>
              <a:gd name="T45" fmla="*/ 466 h 3240"/>
              <a:gd name="T46" fmla="*/ 2507 w 2696"/>
              <a:gd name="T47" fmla="*/ 345 h 3240"/>
              <a:gd name="T48" fmla="*/ 2566 w 2696"/>
              <a:gd name="T49" fmla="*/ 227 h 3240"/>
              <a:gd name="T50" fmla="*/ 2630 w 2696"/>
              <a:gd name="T51" fmla="*/ 113 h 3240"/>
              <a:gd name="T52" fmla="*/ 2696 w 2696"/>
              <a:gd name="T53" fmla="*/ 0 h 3240"/>
              <a:gd name="T54" fmla="*/ 0 w 2696"/>
              <a:gd name="T55" fmla="*/ 0 h 3240"/>
              <a:gd name="T56" fmla="*/ 72 w 2696"/>
              <a:gd name="T57" fmla="*/ 207 h 3240"/>
              <a:gd name="T58" fmla="*/ 150 w 2696"/>
              <a:gd name="T59" fmla="*/ 414 h 3240"/>
              <a:gd name="T60" fmla="*/ 187 w 2696"/>
              <a:gd name="T61" fmla="*/ 510 h 3240"/>
              <a:gd name="T62" fmla="*/ 266 w 2696"/>
              <a:gd name="T63" fmla="*/ 701 h 3240"/>
              <a:gd name="T64" fmla="*/ 349 w 2696"/>
              <a:gd name="T65" fmla="*/ 890 h 3240"/>
              <a:gd name="T66" fmla="*/ 436 w 2696"/>
              <a:gd name="T67" fmla="*/ 1077 h 3240"/>
              <a:gd name="T68" fmla="*/ 527 w 2696"/>
              <a:gd name="T69" fmla="*/ 1262 h 3240"/>
              <a:gd name="T70" fmla="*/ 622 w 2696"/>
              <a:gd name="T71" fmla="*/ 1446 h 3240"/>
              <a:gd name="T72" fmla="*/ 722 w 2696"/>
              <a:gd name="T73" fmla="*/ 1627 h 3240"/>
              <a:gd name="T74" fmla="*/ 826 w 2696"/>
              <a:gd name="T75" fmla="*/ 1807 h 3240"/>
              <a:gd name="T76" fmla="*/ 934 w 2696"/>
              <a:gd name="T77" fmla="*/ 1983 h 3240"/>
              <a:gd name="T78" fmla="*/ 1046 w 2696"/>
              <a:gd name="T79" fmla="*/ 2159 h 3240"/>
              <a:gd name="T80" fmla="*/ 1162 w 2696"/>
              <a:gd name="T81" fmla="*/ 2332 h 3240"/>
              <a:gd name="T82" fmla="*/ 1282 w 2696"/>
              <a:gd name="T83" fmla="*/ 2503 h 3240"/>
              <a:gd name="T84" fmla="*/ 1406 w 2696"/>
              <a:gd name="T85" fmla="*/ 2671 h 3240"/>
              <a:gd name="T86" fmla="*/ 1535 w 2696"/>
              <a:gd name="T87" fmla="*/ 2837 h 3240"/>
              <a:gd name="T88" fmla="*/ 1667 w 2696"/>
              <a:gd name="T89" fmla="*/ 3000 h 3240"/>
              <a:gd name="T90" fmla="*/ 1804 w 2696"/>
              <a:gd name="T91" fmla="*/ 3160 h 3240"/>
              <a:gd name="T92" fmla="*/ 1874 w 2696"/>
              <a:gd name="T93" fmla="*/ 3240 h 3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96" h="3240">
                <a:moveTo>
                  <a:pt x="1874" y="3240"/>
                </a:moveTo>
                <a:lnTo>
                  <a:pt x="2425" y="3240"/>
                </a:lnTo>
                <a:lnTo>
                  <a:pt x="2425" y="3240"/>
                </a:lnTo>
                <a:lnTo>
                  <a:pt x="2398" y="3171"/>
                </a:lnTo>
                <a:lnTo>
                  <a:pt x="2398" y="3171"/>
                </a:lnTo>
                <a:lnTo>
                  <a:pt x="2372" y="3103"/>
                </a:lnTo>
                <a:lnTo>
                  <a:pt x="2347" y="3034"/>
                </a:lnTo>
                <a:lnTo>
                  <a:pt x="2325" y="2966"/>
                </a:lnTo>
                <a:lnTo>
                  <a:pt x="2304" y="2897"/>
                </a:lnTo>
                <a:lnTo>
                  <a:pt x="2283" y="2828"/>
                </a:lnTo>
                <a:lnTo>
                  <a:pt x="2265" y="2759"/>
                </a:lnTo>
                <a:lnTo>
                  <a:pt x="2248" y="2689"/>
                </a:lnTo>
                <a:lnTo>
                  <a:pt x="2233" y="2620"/>
                </a:lnTo>
                <a:lnTo>
                  <a:pt x="2219" y="2550"/>
                </a:lnTo>
                <a:lnTo>
                  <a:pt x="2207" y="2481"/>
                </a:lnTo>
                <a:lnTo>
                  <a:pt x="2196" y="2411"/>
                </a:lnTo>
                <a:lnTo>
                  <a:pt x="2185" y="2342"/>
                </a:lnTo>
                <a:lnTo>
                  <a:pt x="2178" y="2273"/>
                </a:lnTo>
                <a:lnTo>
                  <a:pt x="2170" y="2203"/>
                </a:lnTo>
                <a:lnTo>
                  <a:pt x="2164" y="2133"/>
                </a:lnTo>
                <a:lnTo>
                  <a:pt x="2161" y="2063"/>
                </a:lnTo>
                <a:lnTo>
                  <a:pt x="2157" y="1995"/>
                </a:lnTo>
                <a:lnTo>
                  <a:pt x="2156" y="1925"/>
                </a:lnTo>
                <a:lnTo>
                  <a:pt x="2156" y="1856"/>
                </a:lnTo>
                <a:lnTo>
                  <a:pt x="2157" y="1787"/>
                </a:lnTo>
                <a:lnTo>
                  <a:pt x="2160" y="1718"/>
                </a:lnTo>
                <a:lnTo>
                  <a:pt x="2164" y="1649"/>
                </a:lnTo>
                <a:lnTo>
                  <a:pt x="2170" y="1581"/>
                </a:lnTo>
                <a:lnTo>
                  <a:pt x="2175" y="1513"/>
                </a:lnTo>
                <a:lnTo>
                  <a:pt x="2183" y="1445"/>
                </a:lnTo>
                <a:lnTo>
                  <a:pt x="2193" y="1377"/>
                </a:lnTo>
                <a:lnTo>
                  <a:pt x="2203" y="1310"/>
                </a:lnTo>
                <a:lnTo>
                  <a:pt x="2215" y="1242"/>
                </a:lnTo>
                <a:lnTo>
                  <a:pt x="2228" y="1175"/>
                </a:lnTo>
                <a:lnTo>
                  <a:pt x="2243" y="1108"/>
                </a:lnTo>
                <a:lnTo>
                  <a:pt x="2259" y="1042"/>
                </a:lnTo>
                <a:lnTo>
                  <a:pt x="2274" y="977"/>
                </a:lnTo>
                <a:lnTo>
                  <a:pt x="2274" y="977"/>
                </a:lnTo>
                <a:lnTo>
                  <a:pt x="2293" y="910"/>
                </a:lnTo>
                <a:lnTo>
                  <a:pt x="2313" y="845"/>
                </a:lnTo>
                <a:lnTo>
                  <a:pt x="2333" y="780"/>
                </a:lnTo>
                <a:lnTo>
                  <a:pt x="2354" y="716"/>
                </a:lnTo>
                <a:lnTo>
                  <a:pt x="2377" y="653"/>
                </a:lnTo>
                <a:lnTo>
                  <a:pt x="2400" y="590"/>
                </a:lnTo>
                <a:lnTo>
                  <a:pt x="2426" y="528"/>
                </a:lnTo>
                <a:lnTo>
                  <a:pt x="2452" y="466"/>
                </a:lnTo>
                <a:lnTo>
                  <a:pt x="2479" y="405"/>
                </a:lnTo>
                <a:lnTo>
                  <a:pt x="2507" y="345"/>
                </a:lnTo>
                <a:lnTo>
                  <a:pt x="2536" y="286"/>
                </a:lnTo>
                <a:lnTo>
                  <a:pt x="2566" y="227"/>
                </a:lnTo>
                <a:lnTo>
                  <a:pt x="2597" y="169"/>
                </a:lnTo>
                <a:lnTo>
                  <a:pt x="2630" y="113"/>
                </a:lnTo>
                <a:lnTo>
                  <a:pt x="2662" y="55"/>
                </a:lnTo>
                <a:lnTo>
                  <a:pt x="2696" y="0"/>
                </a:lnTo>
                <a:lnTo>
                  <a:pt x="0" y="0"/>
                </a:lnTo>
                <a:lnTo>
                  <a:pt x="0" y="0"/>
                </a:lnTo>
                <a:lnTo>
                  <a:pt x="35" y="104"/>
                </a:lnTo>
                <a:lnTo>
                  <a:pt x="72" y="207"/>
                </a:lnTo>
                <a:lnTo>
                  <a:pt x="111" y="311"/>
                </a:lnTo>
                <a:lnTo>
                  <a:pt x="150" y="414"/>
                </a:lnTo>
                <a:lnTo>
                  <a:pt x="150" y="414"/>
                </a:lnTo>
                <a:lnTo>
                  <a:pt x="187" y="510"/>
                </a:lnTo>
                <a:lnTo>
                  <a:pt x="226" y="605"/>
                </a:lnTo>
                <a:lnTo>
                  <a:pt x="266" y="701"/>
                </a:lnTo>
                <a:lnTo>
                  <a:pt x="306" y="795"/>
                </a:lnTo>
                <a:lnTo>
                  <a:pt x="349" y="890"/>
                </a:lnTo>
                <a:lnTo>
                  <a:pt x="392" y="983"/>
                </a:lnTo>
                <a:lnTo>
                  <a:pt x="436" y="1077"/>
                </a:lnTo>
                <a:lnTo>
                  <a:pt x="481" y="1169"/>
                </a:lnTo>
                <a:lnTo>
                  <a:pt x="527" y="1262"/>
                </a:lnTo>
                <a:lnTo>
                  <a:pt x="574" y="1353"/>
                </a:lnTo>
                <a:lnTo>
                  <a:pt x="622" y="1446"/>
                </a:lnTo>
                <a:lnTo>
                  <a:pt x="672" y="1537"/>
                </a:lnTo>
                <a:lnTo>
                  <a:pt x="722" y="1627"/>
                </a:lnTo>
                <a:lnTo>
                  <a:pt x="773" y="1717"/>
                </a:lnTo>
                <a:lnTo>
                  <a:pt x="826" y="1807"/>
                </a:lnTo>
                <a:lnTo>
                  <a:pt x="879" y="1896"/>
                </a:lnTo>
                <a:lnTo>
                  <a:pt x="934" y="1983"/>
                </a:lnTo>
                <a:lnTo>
                  <a:pt x="989" y="2072"/>
                </a:lnTo>
                <a:lnTo>
                  <a:pt x="1046" y="2159"/>
                </a:lnTo>
                <a:lnTo>
                  <a:pt x="1104" y="2246"/>
                </a:lnTo>
                <a:lnTo>
                  <a:pt x="1162" y="2332"/>
                </a:lnTo>
                <a:lnTo>
                  <a:pt x="1222" y="2418"/>
                </a:lnTo>
                <a:lnTo>
                  <a:pt x="1282" y="2503"/>
                </a:lnTo>
                <a:lnTo>
                  <a:pt x="1344" y="2588"/>
                </a:lnTo>
                <a:lnTo>
                  <a:pt x="1406" y="2671"/>
                </a:lnTo>
                <a:lnTo>
                  <a:pt x="1470" y="2754"/>
                </a:lnTo>
                <a:lnTo>
                  <a:pt x="1535" y="2837"/>
                </a:lnTo>
                <a:lnTo>
                  <a:pt x="1601" y="2918"/>
                </a:lnTo>
                <a:lnTo>
                  <a:pt x="1667" y="3000"/>
                </a:lnTo>
                <a:lnTo>
                  <a:pt x="1736" y="3080"/>
                </a:lnTo>
                <a:lnTo>
                  <a:pt x="1804" y="3160"/>
                </a:lnTo>
                <a:lnTo>
                  <a:pt x="1874" y="3240"/>
                </a:lnTo>
                <a:lnTo>
                  <a:pt x="1874" y="3240"/>
                </a:lnTo>
                <a:close/>
              </a:path>
            </a:pathLst>
          </a:custGeom>
          <a:solidFill>
            <a:srgbClr val="EA006F"/>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10" name="Otsikko 1"/>
          <p:cNvSpPr>
            <a:spLocks noGrp="1"/>
          </p:cNvSpPr>
          <p:nvPr userDrawn="1">
            <p:ph type="ctrTitle"/>
          </p:nvPr>
        </p:nvSpPr>
        <p:spPr>
          <a:xfrm>
            <a:off x="366651" y="411510"/>
            <a:ext cx="3485269" cy="2967062"/>
          </a:xfrm>
        </p:spPr>
        <p:txBody>
          <a:bodyPr anchor="b" anchorCtr="0">
            <a:noAutofit/>
          </a:bodyPr>
          <a:lstStyle>
            <a:lvl1pPr algn="l">
              <a:defRPr sz="4000">
                <a:solidFill>
                  <a:schemeClr val="accent4"/>
                </a:solidFill>
              </a:defRPr>
            </a:lvl1pPr>
          </a:lstStyle>
          <a:p>
            <a:r>
              <a:rPr lang="en-US" dirty="0"/>
              <a:t>Click to edit Master title style</a:t>
            </a:r>
            <a:endParaRPr lang="fi-FI" dirty="0"/>
          </a:p>
        </p:txBody>
      </p:sp>
      <p:sp>
        <p:nvSpPr>
          <p:cNvPr id="11" name="Alaotsikko 2"/>
          <p:cNvSpPr>
            <a:spLocks noGrp="1"/>
          </p:cNvSpPr>
          <p:nvPr userDrawn="1">
            <p:ph type="subTitle" idx="1"/>
          </p:nvPr>
        </p:nvSpPr>
        <p:spPr>
          <a:xfrm>
            <a:off x="366651" y="3507854"/>
            <a:ext cx="3485270" cy="1512168"/>
          </a:xfrm>
        </p:spPr>
        <p:txBody>
          <a:bodyPr>
            <a:normAutofit/>
          </a:bodyPr>
          <a:lstStyle>
            <a:lvl1pPr marL="0" indent="0" algn="l">
              <a:spcBef>
                <a:spcPts val="0"/>
              </a:spcBef>
              <a:buNone/>
              <a:defRPr sz="1800">
                <a:solidFill>
                  <a:srgbClr val="59596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fi-FI" dirty="0"/>
          </a:p>
        </p:txBody>
      </p:sp>
      <p:sp>
        <p:nvSpPr>
          <p:cNvPr id="32" name="Freeform 30"/>
          <p:cNvSpPr>
            <a:spLocks/>
          </p:cNvSpPr>
          <p:nvPr userDrawn="1"/>
        </p:nvSpPr>
        <p:spPr bwMode="auto">
          <a:xfrm>
            <a:off x="7331075" y="1931690"/>
            <a:ext cx="371475" cy="98425"/>
          </a:xfrm>
          <a:custGeom>
            <a:avLst/>
            <a:gdLst>
              <a:gd name="T0" fmla="*/ 87 w 2807"/>
              <a:gd name="T1" fmla="*/ 343 h 743"/>
              <a:gd name="T2" fmla="*/ 203 w 2807"/>
              <a:gd name="T3" fmla="*/ 417 h 743"/>
              <a:gd name="T4" fmla="*/ 319 w 2807"/>
              <a:gd name="T5" fmla="*/ 479 h 743"/>
              <a:gd name="T6" fmla="*/ 430 w 2807"/>
              <a:gd name="T7" fmla="*/ 529 h 743"/>
              <a:gd name="T8" fmla="*/ 603 w 2807"/>
              <a:gd name="T9" fmla="*/ 595 h 743"/>
              <a:gd name="T10" fmla="*/ 724 w 2807"/>
              <a:gd name="T11" fmla="*/ 633 h 743"/>
              <a:gd name="T12" fmla="*/ 857 w 2807"/>
              <a:gd name="T13" fmla="*/ 666 h 743"/>
              <a:gd name="T14" fmla="*/ 1001 w 2807"/>
              <a:gd name="T15" fmla="*/ 696 h 743"/>
              <a:gd name="T16" fmla="*/ 1157 w 2807"/>
              <a:gd name="T17" fmla="*/ 719 h 743"/>
              <a:gd name="T18" fmla="*/ 1324 w 2807"/>
              <a:gd name="T19" fmla="*/ 736 h 743"/>
              <a:gd name="T20" fmla="*/ 1502 w 2807"/>
              <a:gd name="T21" fmla="*/ 743 h 743"/>
              <a:gd name="T22" fmla="*/ 1689 w 2807"/>
              <a:gd name="T23" fmla="*/ 738 h 743"/>
              <a:gd name="T24" fmla="*/ 1819 w 2807"/>
              <a:gd name="T25" fmla="*/ 729 h 743"/>
              <a:gd name="T26" fmla="*/ 1999 w 2807"/>
              <a:gd name="T27" fmla="*/ 706 h 743"/>
              <a:gd name="T28" fmla="*/ 2159 w 2807"/>
              <a:gd name="T29" fmla="*/ 678 h 743"/>
              <a:gd name="T30" fmla="*/ 2302 w 2807"/>
              <a:gd name="T31" fmla="*/ 643 h 743"/>
              <a:gd name="T32" fmla="*/ 2426 w 2807"/>
              <a:gd name="T33" fmla="*/ 605 h 743"/>
              <a:gd name="T34" fmla="*/ 2533 w 2807"/>
              <a:gd name="T35" fmla="*/ 566 h 743"/>
              <a:gd name="T36" fmla="*/ 2672 w 2807"/>
              <a:gd name="T37" fmla="*/ 505 h 743"/>
              <a:gd name="T38" fmla="*/ 2773 w 2807"/>
              <a:gd name="T39" fmla="*/ 449 h 743"/>
              <a:gd name="T40" fmla="*/ 2807 w 2807"/>
              <a:gd name="T41" fmla="*/ 426 h 743"/>
              <a:gd name="T42" fmla="*/ 2745 w 2807"/>
              <a:gd name="T43" fmla="*/ 402 h 743"/>
              <a:gd name="T44" fmla="*/ 2688 w 2807"/>
              <a:gd name="T45" fmla="*/ 372 h 743"/>
              <a:gd name="T46" fmla="*/ 2586 w 2807"/>
              <a:gd name="T47" fmla="*/ 303 h 743"/>
              <a:gd name="T48" fmla="*/ 2529 w 2807"/>
              <a:gd name="T49" fmla="*/ 256 h 743"/>
              <a:gd name="T50" fmla="*/ 2518 w 2807"/>
              <a:gd name="T51" fmla="*/ 294 h 743"/>
              <a:gd name="T52" fmla="*/ 2507 w 2807"/>
              <a:gd name="T53" fmla="*/ 381 h 743"/>
              <a:gd name="T54" fmla="*/ 2499 w 2807"/>
              <a:gd name="T55" fmla="*/ 413 h 743"/>
              <a:gd name="T56" fmla="*/ 2443 w 2807"/>
              <a:gd name="T57" fmla="*/ 391 h 743"/>
              <a:gd name="T58" fmla="*/ 2423 w 2807"/>
              <a:gd name="T59" fmla="*/ 381 h 743"/>
              <a:gd name="T60" fmla="*/ 2392 w 2807"/>
              <a:gd name="T61" fmla="*/ 357 h 743"/>
              <a:gd name="T62" fmla="*/ 2361 w 2807"/>
              <a:gd name="T63" fmla="*/ 324 h 743"/>
              <a:gd name="T64" fmla="*/ 2334 w 2807"/>
              <a:gd name="T65" fmla="*/ 283 h 743"/>
              <a:gd name="T66" fmla="*/ 2316 w 2807"/>
              <a:gd name="T67" fmla="*/ 235 h 743"/>
              <a:gd name="T68" fmla="*/ 2310 w 2807"/>
              <a:gd name="T69" fmla="*/ 199 h 743"/>
              <a:gd name="T70" fmla="*/ 2252 w 2807"/>
              <a:gd name="T71" fmla="*/ 195 h 743"/>
              <a:gd name="T72" fmla="*/ 2110 w 2807"/>
              <a:gd name="T73" fmla="*/ 243 h 743"/>
              <a:gd name="T74" fmla="*/ 1984 w 2807"/>
              <a:gd name="T75" fmla="*/ 277 h 743"/>
              <a:gd name="T76" fmla="*/ 1843 w 2807"/>
              <a:gd name="T77" fmla="*/ 303 h 743"/>
              <a:gd name="T78" fmla="*/ 1697 w 2807"/>
              <a:gd name="T79" fmla="*/ 319 h 743"/>
              <a:gd name="T80" fmla="*/ 1558 w 2807"/>
              <a:gd name="T81" fmla="*/ 322 h 743"/>
              <a:gd name="T82" fmla="*/ 1293 w 2807"/>
              <a:gd name="T83" fmla="*/ 312 h 743"/>
              <a:gd name="T84" fmla="*/ 1030 w 2807"/>
              <a:gd name="T85" fmla="*/ 282 h 743"/>
              <a:gd name="T86" fmla="*/ 855 w 2807"/>
              <a:gd name="T87" fmla="*/ 251 h 743"/>
              <a:gd name="T88" fmla="*/ 725 w 2807"/>
              <a:gd name="T89" fmla="*/ 221 h 743"/>
              <a:gd name="T90" fmla="*/ 594 w 2807"/>
              <a:gd name="T91" fmla="*/ 185 h 743"/>
              <a:gd name="T92" fmla="*/ 465 w 2807"/>
              <a:gd name="T93" fmla="*/ 143 h 743"/>
              <a:gd name="T94" fmla="*/ 336 w 2807"/>
              <a:gd name="T95" fmla="*/ 94 h 743"/>
              <a:gd name="T96" fmla="*/ 251 w 2807"/>
              <a:gd name="T97" fmla="*/ 58 h 743"/>
              <a:gd name="T98" fmla="*/ 122 w 2807"/>
              <a:gd name="T99" fmla="*/ 0 h 743"/>
              <a:gd name="T100" fmla="*/ 119 w 2807"/>
              <a:gd name="T101" fmla="*/ 19 h 743"/>
              <a:gd name="T102" fmla="*/ 121 w 2807"/>
              <a:gd name="T103" fmla="*/ 51 h 743"/>
              <a:gd name="T104" fmla="*/ 136 w 2807"/>
              <a:gd name="T105" fmla="*/ 96 h 743"/>
              <a:gd name="T106" fmla="*/ 171 w 2807"/>
              <a:gd name="T107" fmla="*/ 156 h 743"/>
              <a:gd name="T108" fmla="*/ 207 w 2807"/>
              <a:gd name="T109" fmla="*/ 204 h 743"/>
              <a:gd name="T110" fmla="*/ 151 w 2807"/>
              <a:gd name="T111" fmla="*/ 199 h 743"/>
              <a:gd name="T112" fmla="*/ 98 w 2807"/>
              <a:gd name="T113" fmla="*/ 204 h 743"/>
              <a:gd name="T114" fmla="*/ 69 w 2807"/>
              <a:gd name="T115" fmla="*/ 215 h 743"/>
              <a:gd name="T116" fmla="*/ 32 w 2807"/>
              <a:gd name="T117" fmla="*/ 244 h 743"/>
              <a:gd name="T118" fmla="*/ 7 w 2807"/>
              <a:gd name="T119" fmla="*/ 272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07" h="743">
                <a:moveTo>
                  <a:pt x="0" y="284"/>
                </a:moveTo>
                <a:lnTo>
                  <a:pt x="0" y="284"/>
                </a:lnTo>
                <a:lnTo>
                  <a:pt x="87" y="343"/>
                </a:lnTo>
                <a:lnTo>
                  <a:pt x="127" y="369"/>
                </a:lnTo>
                <a:lnTo>
                  <a:pt x="166" y="394"/>
                </a:lnTo>
                <a:lnTo>
                  <a:pt x="203" y="417"/>
                </a:lnTo>
                <a:lnTo>
                  <a:pt x="241" y="438"/>
                </a:lnTo>
                <a:lnTo>
                  <a:pt x="280" y="460"/>
                </a:lnTo>
                <a:lnTo>
                  <a:pt x="319" y="479"/>
                </a:lnTo>
                <a:lnTo>
                  <a:pt x="319" y="479"/>
                </a:lnTo>
                <a:lnTo>
                  <a:pt x="372" y="504"/>
                </a:lnTo>
                <a:lnTo>
                  <a:pt x="430" y="529"/>
                </a:lnTo>
                <a:lnTo>
                  <a:pt x="495" y="556"/>
                </a:lnTo>
                <a:lnTo>
                  <a:pt x="565" y="581"/>
                </a:lnTo>
                <a:lnTo>
                  <a:pt x="603" y="595"/>
                </a:lnTo>
                <a:lnTo>
                  <a:pt x="642" y="607"/>
                </a:lnTo>
                <a:lnTo>
                  <a:pt x="682" y="620"/>
                </a:lnTo>
                <a:lnTo>
                  <a:pt x="724" y="633"/>
                </a:lnTo>
                <a:lnTo>
                  <a:pt x="767" y="644"/>
                </a:lnTo>
                <a:lnTo>
                  <a:pt x="811" y="655"/>
                </a:lnTo>
                <a:lnTo>
                  <a:pt x="857" y="666"/>
                </a:lnTo>
                <a:lnTo>
                  <a:pt x="903" y="677"/>
                </a:lnTo>
                <a:lnTo>
                  <a:pt x="952" y="687"/>
                </a:lnTo>
                <a:lnTo>
                  <a:pt x="1001" y="696"/>
                </a:lnTo>
                <a:lnTo>
                  <a:pt x="1052" y="705"/>
                </a:lnTo>
                <a:lnTo>
                  <a:pt x="1104" y="713"/>
                </a:lnTo>
                <a:lnTo>
                  <a:pt x="1157" y="719"/>
                </a:lnTo>
                <a:lnTo>
                  <a:pt x="1212" y="727"/>
                </a:lnTo>
                <a:lnTo>
                  <a:pt x="1267" y="732"/>
                </a:lnTo>
                <a:lnTo>
                  <a:pt x="1324" y="736"/>
                </a:lnTo>
                <a:lnTo>
                  <a:pt x="1382" y="739"/>
                </a:lnTo>
                <a:lnTo>
                  <a:pt x="1442" y="741"/>
                </a:lnTo>
                <a:lnTo>
                  <a:pt x="1502" y="743"/>
                </a:lnTo>
                <a:lnTo>
                  <a:pt x="1563" y="742"/>
                </a:lnTo>
                <a:lnTo>
                  <a:pt x="1626" y="741"/>
                </a:lnTo>
                <a:lnTo>
                  <a:pt x="1689" y="738"/>
                </a:lnTo>
                <a:lnTo>
                  <a:pt x="1754" y="734"/>
                </a:lnTo>
                <a:lnTo>
                  <a:pt x="1819" y="729"/>
                </a:lnTo>
                <a:lnTo>
                  <a:pt x="1819" y="729"/>
                </a:lnTo>
                <a:lnTo>
                  <a:pt x="1881" y="723"/>
                </a:lnTo>
                <a:lnTo>
                  <a:pt x="1941" y="714"/>
                </a:lnTo>
                <a:lnTo>
                  <a:pt x="1999" y="706"/>
                </a:lnTo>
                <a:lnTo>
                  <a:pt x="2054" y="697"/>
                </a:lnTo>
                <a:lnTo>
                  <a:pt x="2108" y="688"/>
                </a:lnTo>
                <a:lnTo>
                  <a:pt x="2159" y="678"/>
                </a:lnTo>
                <a:lnTo>
                  <a:pt x="2209" y="666"/>
                </a:lnTo>
                <a:lnTo>
                  <a:pt x="2257" y="655"/>
                </a:lnTo>
                <a:lnTo>
                  <a:pt x="2302" y="643"/>
                </a:lnTo>
                <a:lnTo>
                  <a:pt x="2346" y="631"/>
                </a:lnTo>
                <a:lnTo>
                  <a:pt x="2387" y="618"/>
                </a:lnTo>
                <a:lnTo>
                  <a:pt x="2426" y="605"/>
                </a:lnTo>
                <a:lnTo>
                  <a:pt x="2464" y="593"/>
                </a:lnTo>
                <a:lnTo>
                  <a:pt x="2500" y="579"/>
                </a:lnTo>
                <a:lnTo>
                  <a:pt x="2533" y="566"/>
                </a:lnTo>
                <a:lnTo>
                  <a:pt x="2564" y="554"/>
                </a:lnTo>
                <a:lnTo>
                  <a:pt x="2622" y="528"/>
                </a:lnTo>
                <a:lnTo>
                  <a:pt x="2672" y="505"/>
                </a:lnTo>
                <a:lnTo>
                  <a:pt x="2713" y="483"/>
                </a:lnTo>
                <a:lnTo>
                  <a:pt x="2747" y="465"/>
                </a:lnTo>
                <a:lnTo>
                  <a:pt x="2773" y="449"/>
                </a:lnTo>
                <a:lnTo>
                  <a:pt x="2792" y="436"/>
                </a:lnTo>
                <a:lnTo>
                  <a:pt x="2807" y="426"/>
                </a:lnTo>
                <a:lnTo>
                  <a:pt x="2807" y="426"/>
                </a:lnTo>
                <a:lnTo>
                  <a:pt x="2786" y="419"/>
                </a:lnTo>
                <a:lnTo>
                  <a:pt x="2766" y="410"/>
                </a:lnTo>
                <a:lnTo>
                  <a:pt x="2745" y="402"/>
                </a:lnTo>
                <a:lnTo>
                  <a:pt x="2726" y="391"/>
                </a:lnTo>
                <a:lnTo>
                  <a:pt x="2706" y="382"/>
                </a:lnTo>
                <a:lnTo>
                  <a:pt x="2688" y="372"/>
                </a:lnTo>
                <a:lnTo>
                  <a:pt x="2651" y="349"/>
                </a:lnTo>
                <a:lnTo>
                  <a:pt x="2618" y="327"/>
                </a:lnTo>
                <a:lnTo>
                  <a:pt x="2586" y="303"/>
                </a:lnTo>
                <a:lnTo>
                  <a:pt x="2556" y="280"/>
                </a:lnTo>
                <a:lnTo>
                  <a:pt x="2529" y="256"/>
                </a:lnTo>
                <a:lnTo>
                  <a:pt x="2529" y="256"/>
                </a:lnTo>
                <a:lnTo>
                  <a:pt x="2524" y="266"/>
                </a:lnTo>
                <a:lnTo>
                  <a:pt x="2521" y="279"/>
                </a:lnTo>
                <a:lnTo>
                  <a:pt x="2518" y="294"/>
                </a:lnTo>
                <a:lnTo>
                  <a:pt x="2515" y="312"/>
                </a:lnTo>
                <a:lnTo>
                  <a:pt x="2515" y="312"/>
                </a:lnTo>
                <a:lnTo>
                  <a:pt x="2507" y="381"/>
                </a:lnTo>
                <a:lnTo>
                  <a:pt x="2503" y="414"/>
                </a:lnTo>
                <a:lnTo>
                  <a:pt x="2503" y="414"/>
                </a:lnTo>
                <a:lnTo>
                  <a:pt x="2499" y="413"/>
                </a:lnTo>
                <a:lnTo>
                  <a:pt x="2489" y="410"/>
                </a:lnTo>
                <a:lnTo>
                  <a:pt x="2470" y="403"/>
                </a:lnTo>
                <a:lnTo>
                  <a:pt x="2443" y="391"/>
                </a:lnTo>
                <a:lnTo>
                  <a:pt x="2443" y="391"/>
                </a:lnTo>
                <a:lnTo>
                  <a:pt x="2433" y="387"/>
                </a:lnTo>
                <a:lnTo>
                  <a:pt x="2423" y="381"/>
                </a:lnTo>
                <a:lnTo>
                  <a:pt x="2413" y="374"/>
                </a:lnTo>
                <a:lnTo>
                  <a:pt x="2403" y="366"/>
                </a:lnTo>
                <a:lnTo>
                  <a:pt x="2392" y="357"/>
                </a:lnTo>
                <a:lnTo>
                  <a:pt x="2381" y="347"/>
                </a:lnTo>
                <a:lnTo>
                  <a:pt x="2371" y="336"/>
                </a:lnTo>
                <a:lnTo>
                  <a:pt x="2361" y="324"/>
                </a:lnTo>
                <a:lnTo>
                  <a:pt x="2351" y="312"/>
                </a:lnTo>
                <a:lnTo>
                  <a:pt x="2342" y="297"/>
                </a:lnTo>
                <a:lnTo>
                  <a:pt x="2334" y="283"/>
                </a:lnTo>
                <a:lnTo>
                  <a:pt x="2326" y="268"/>
                </a:lnTo>
                <a:lnTo>
                  <a:pt x="2320" y="251"/>
                </a:lnTo>
                <a:lnTo>
                  <a:pt x="2316" y="235"/>
                </a:lnTo>
                <a:lnTo>
                  <a:pt x="2312" y="216"/>
                </a:lnTo>
                <a:lnTo>
                  <a:pt x="2310" y="199"/>
                </a:lnTo>
                <a:lnTo>
                  <a:pt x="2310" y="199"/>
                </a:lnTo>
                <a:lnTo>
                  <a:pt x="2309" y="174"/>
                </a:lnTo>
                <a:lnTo>
                  <a:pt x="2309" y="174"/>
                </a:lnTo>
                <a:lnTo>
                  <a:pt x="2252" y="195"/>
                </a:lnTo>
                <a:lnTo>
                  <a:pt x="2186" y="218"/>
                </a:lnTo>
                <a:lnTo>
                  <a:pt x="2149" y="231"/>
                </a:lnTo>
                <a:lnTo>
                  <a:pt x="2110" y="243"/>
                </a:lnTo>
                <a:lnTo>
                  <a:pt x="2069" y="254"/>
                </a:lnTo>
                <a:lnTo>
                  <a:pt x="2028" y="266"/>
                </a:lnTo>
                <a:lnTo>
                  <a:pt x="1984" y="277"/>
                </a:lnTo>
                <a:lnTo>
                  <a:pt x="1938" y="286"/>
                </a:lnTo>
                <a:lnTo>
                  <a:pt x="1892" y="295"/>
                </a:lnTo>
                <a:lnTo>
                  <a:pt x="1843" y="303"/>
                </a:lnTo>
                <a:lnTo>
                  <a:pt x="1795" y="311"/>
                </a:lnTo>
                <a:lnTo>
                  <a:pt x="1746" y="316"/>
                </a:lnTo>
                <a:lnTo>
                  <a:pt x="1697" y="319"/>
                </a:lnTo>
                <a:lnTo>
                  <a:pt x="1647" y="321"/>
                </a:lnTo>
                <a:lnTo>
                  <a:pt x="1647" y="321"/>
                </a:lnTo>
                <a:lnTo>
                  <a:pt x="1558" y="322"/>
                </a:lnTo>
                <a:lnTo>
                  <a:pt x="1470" y="321"/>
                </a:lnTo>
                <a:lnTo>
                  <a:pt x="1382" y="317"/>
                </a:lnTo>
                <a:lnTo>
                  <a:pt x="1293" y="312"/>
                </a:lnTo>
                <a:lnTo>
                  <a:pt x="1205" y="304"/>
                </a:lnTo>
                <a:lnTo>
                  <a:pt x="1118" y="294"/>
                </a:lnTo>
                <a:lnTo>
                  <a:pt x="1030" y="282"/>
                </a:lnTo>
                <a:lnTo>
                  <a:pt x="943" y="268"/>
                </a:lnTo>
                <a:lnTo>
                  <a:pt x="899" y="259"/>
                </a:lnTo>
                <a:lnTo>
                  <a:pt x="855" y="251"/>
                </a:lnTo>
                <a:lnTo>
                  <a:pt x="812" y="241"/>
                </a:lnTo>
                <a:lnTo>
                  <a:pt x="768" y="231"/>
                </a:lnTo>
                <a:lnTo>
                  <a:pt x="725" y="221"/>
                </a:lnTo>
                <a:lnTo>
                  <a:pt x="681" y="209"/>
                </a:lnTo>
                <a:lnTo>
                  <a:pt x="638" y="197"/>
                </a:lnTo>
                <a:lnTo>
                  <a:pt x="594" y="185"/>
                </a:lnTo>
                <a:lnTo>
                  <a:pt x="551" y="171"/>
                </a:lnTo>
                <a:lnTo>
                  <a:pt x="508" y="157"/>
                </a:lnTo>
                <a:lnTo>
                  <a:pt x="465" y="143"/>
                </a:lnTo>
                <a:lnTo>
                  <a:pt x="422" y="127"/>
                </a:lnTo>
                <a:lnTo>
                  <a:pt x="379" y="111"/>
                </a:lnTo>
                <a:lnTo>
                  <a:pt x="336" y="94"/>
                </a:lnTo>
                <a:lnTo>
                  <a:pt x="294" y="76"/>
                </a:lnTo>
                <a:lnTo>
                  <a:pt x="251" y="58"/>
                </a:lnTo>
                <a:lnTo>
                  <a:pt x="251" y="58"/>
                </a:lnTo>
                <a:lnTo>
                  <a:pt x="165" y="19"/>
                </a:lnTo>
                <a:lnTo>
                  <a:pt x="122" y="0"/>
                </a:lnTo>
                <a:lnTo>
                  <a:pt x="122" y="0"/>
                </a:lnTo>
                <a:lnTo>
                  <a:pt x="121" y="3"/>
                </a:lnTo>
                <a:lnTo>
                  <a:pt x="119" y="12"/>
                </a:lnTo>
                <a:lnTo>
                  <a:pt x="119" y="19"/>
                </a:lnTo>
                <a:lnTo>
                  <a:pt x="119" y="28"/>
                </a:lnTo>
                <a:lnTo>
                  <a:pt x="119" y="39"/>
                </a:lnTo>
                <a:lnTo>
                  <a:pt x="121" y="51"/>
                </a:lnTo>
                <a:lnTo>
                  <a:pt x="125" y="64"/>
                </a:lnTo>
                <a:lnTo>
                  <a:pt x="129" y="79"/>
                </a:lnTo>
                <a:lnTo>
                  <a:pt x="136" y="96"/>
                </a:lnTo>
                <a:lnTo>
                  <a:pt x="145" y="114"/>
                </a:lnTo>
                <a:lnTo>
                  <a:pt x="156" y="135"/>
                </a:lnTo>
                <a:lnTo>
                  <a:pt x="171" y="156"/>
                </a:lnTo>
                <a:lnTo>
                  <a:pt x="187" y="180"/>
                </a:lnTo>
                <a:lnTo>
                  <a:pt x="207" y="204"/>
                </a:lnTo>
                <a:lnTo>
                  <a:pt x="207" y="204"/>
                </a:lnTo>
                <a:lnTo>
                  <a:pt x="189" y="201"/>
                </a:lnTo>
                <a:lnTo>
                  <a:pt x="170" y="199"/>
                </a:lnTo>
                <a:lnTo>
                  <a:pt x="151" y="199"/>
                </a:lnTo>
                <a:lnTo>
                  <a:pt x="132" y="199"/>
                </a:lnTo>
                <a:lnTo>
                  <a:pt x="114" y="201"/>
                </a:lnTo>
                <a:lnTo>
                  <a:pt x="98" y="204"/>
                </a:lnTo>
                <a:lnTo>
                  <a:pt x="83" y="209"/>
                </a:lnTo>
                <a:lnTo>
                  <a:pt x="69" y="215"/>
                </a:lnTo>
                <a:lnTo>
                  <a:pt x="69" y="215"/>
                </a:lnTo>
                <a:lnTo>
                  <a:pt x="55" y="224"/>
                </a:lnTo>
                <a:lnTo>
                  <a:pt x="42" y="234"/>
                </a:lnTo>
                <a:lnTo>
                  <a:pt x="32" y="244"/>
                </a:lnTo>
                <a:lnTo>
                  <a:pt x="21" y="253"/>
                </a:lnTo>
                <a:lnTo>
                  <a:pt x="13" y="262"/>
                </a:lnTo>
                <a:lnTo>
                  <a:pt x="7" y="272"/>
                </a:lnTo>
                <a:lnTo>
                  <a:pt x="0" y="28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3" name="Freeform 31"/>
          <p:cNvSpPr>
            <a:spLocks/>
          </p:cNvSpPr>
          <p:nvPr userDrawn="1"/>
        </p:nvSpPr>
        <p:spPr bwMode="auto">
          <a:xfrm>
            <a:off x="7248525" y="1618953"/>
            <a:ext cx="377825" cy="271463"/>
          </a:xfrm>
          <a:custGeom>
            <a:avLst/>
            <a:gdLst>
              <a:gd name="T0" fmla="*/ 2491 w 2863"/>
              <a:gd name="T1" fmla="*/ 103 h 2054"/>
              <a:gd name="T2" fmla="*/ 2575 w 2863"/>
              <a:gd name="T3" fmla="*/ 23 h 2054"/>
              <a:gd name="T4" fmla="*/ 2196 w 2863"/>
              <a:gd name="T5" fmla="*/ 132 h 2054"/>
              <a:gd name="T6" fmla="*/ 1671 w 2863"/>
              <a:gd name="T7" fmla="*/ 429 h 2054"/>
              <a:gd name="T8" fmla="*/ 1528 w 2863"/>
              <a:gd name="T9" fmla="*/ 462 h 2054"/>
              <a:gd name="T10" fmla="*/ 1416 w 2863"/>
              <a:gd name="T11" fmla="*/ 568 h 2054"/>
              <a:gd name="T12" fmla="*/ 1409 w 2863"/>
              <a:gd name="T13" fmla="*/ 634 h 2054"/>
              <a:gd name="T14" fmla="*/ 1479 w 2863"/>
              <a:gd name="T15" fmla="*/ 748 h 2054"/>
              <a:gd name="T16" fmla="*/ 1586 w 2863"/>
              <a:gd name="T17" fmla="*/ 787 h 2054"/>
              <a:gd name="T18" fmla="*/ 1476 w 2863"/>
              <a:gd name="T19" fmla="*/ 974 h 2054"/>
              <a:gd name="T20" fmla="*/ 1133 w 2863"/>
              <a:gd name="T21" fmla="*/ 1199 h 2054"/>
              <a:gd name="T22" fmla="*/ 799 w 2863"/>
              <a:gd name="T23" fmla="*/ 1254 h 2054"/>
              <a:gd name="T24" fmla="*/ 634 w 2863"/>
              <a:gd name="T25" fmla="*/ 1102 h 2054"/>
              <a:gd name="T26" fmla="*/ 539 w 2863"/>
              <a:gd name="T27" fmla="*/ 1015 h 2054"/>
              <a:gd name="T28" fmla="*/ 406 w 2863"/>
              <a:gd name="T29" fmla="*/ 1023 h 2054"/>
              <a:gd name="T30" fmla="*/ 231 w 2863"/>
              <a:gd name="T31" fmla="*/ 1090 h 2054"/>
              <a:gd name="T32" fmla="*/ 382 w 2863"/>
              <a:gd name="T33" fmla="*/ 1121 h 2054"/>
              <a:gd name="T34" fmla="*/ 351 w 2863"/>
              <a:gd name="T35" fmla="*/ 1168 h 2054"/>
              <a:gd name="T36" fmla="*/ 418 w 2863"/>
              <a:gd name="T37" fmla="*/ 1270 h 2054"/>
              <a:gd name="T38" fmla="*/ 608 w 2863"/>
              <a:gd name="T39" fmla="*/ 1387 h 2054"/>
              <a:gd name="T40" fmla="*/ 314 w 2863"/>
              <a:gd name="T41" fmla="*/ 1296 h 2054"/>
              <a:gd name="T42" fmla="*/ 234 w 2863"/>
              <a:gd name="T43" fmla="*/ 1324 h 2054"/>
              <a:gd name="T44" fmla="*/ 77 w 2863"/>
              <a:gd name="T45" fmla="*/ 1367 h 2054"/>
              <a:gd name="T46" fmla="*/ 0 w 2863"/>
              <a:gd name="T47" fmla="*/ 1480 h 2054"/>
              <a:gd name="T48" fmla="*/ 63 w 2863"/>
              <a:gd name="T49" fmla="*/ 1501 h 2054"/>
              <a:gd name="T50" fmla="*/ 166 w 2863"/>
              <a:gd name="T51" fmla="*/ 1461 h 2054"/>
              <a:gd name="T52" fmla="*/ 187 w 2863"/>
              <a:gd name="T53" fmla="*/ 1573 h 2054"/>
              <a:gd name="T54" fmla="*/ 354 w 2863"/>
              <a:gd name="T55" fmla="*/ 1597 h 2054"/>
              <a:gd name="T56" fmla="*/ 616 w 2863"/>
              <a:gd name="T57" fmla="*/ 1588 h 2054"/>
              <a:gd name="T58" fmla="*/ 382 w 2863"/>
              <a:gd name="T59" fmla="*/ 1636 h 2054"/>
              <a:gd name="T60" fmla="*/ 295 w 2863"/>
              <a:gd name="T61" fmla="*/ 1696 h 2054"/>
              <a:gd name="T62" fmla="*/ 254 w 2863"/>
              <a:gd name="T63" fmla="*/ 1795 h 2054"/>
              <a:gd name="T64" fmla="*/ 239 w 2863"/>
              <a:gd name="T65" fmla="*/ 1953 h 2054"/>
              <a:gd name="T66" fmla="*/ 335 w 2863"/>
              <a:gd name="T67" fmla="*/ 2045 h 2054"/>
              <a:gd name="T68" fmla="*/ 341 w 2863"/>
              <a:gd name="T69" fmla="*/ 1906 h 2054"/>
              <a:gd name="T70" fmla="*/ 417 w 2863"/>
              <a:gd name="T71" fmla="*/ 1946 h 2054"/>
              <a:gd name="T72" fmla="*/ 509 w 2863"/>
              <a:gd name="T73" fmla="*/ 1935 h 2054"/>
              <a:gd name="T74" fmla="*/ 732 w 2863"/>
              <a:gd name="T75" fmla="*/ 1733 h 2054"/>
              <a:gd name="T76" fmla="*/ 874 w 2863"/>
              <a:gd name="T77" fmla="*/ 1691 h 2054"/>
              <a:gd name="T78" fmla="*/ 870 w 2863"/>
              <a:gd name="T79" fmla="*/ 1786 h 2054"/>
              <a:gd name="T80" fmla="*/ 945 w 2863"/>
              <a:gd name="T81" fmla="*/ 1834 h 2054"/>
              <a:gd name="T82" fmla="*/ 875 w 2863"/>
              <a:gd name="T83" fmla="*/ 1948 h 2054"/>
              <a:gd name="T84" fmla="*/ 1004 w 2863"/>
              <a:gd name="T85" fmla="*/ 1919 h 2054"/>
              <a:gd name="T86" fmla="*/ 1100 w 2863"/>
              <a:gd name="T87" fmla="*/ 1787 h 2054"/>
              <a:gd name="T88" fmla="*/ 1159 w 2863"/>
              <a:gd name="T89" fmla="*/ 1734 h 2054"/>
              <a:gd name="T90" fmla="*/ 1183 w 2863"/>
              <a:gd name="T91" fmla="*/ 1628 h 2054"/>
              <a:gd name="T92" fmla="*/ 1338 w 2863"/>
              <a:gd name="T93" fmla="*/ 1564 h 2054"/>
              <a:gd name="T94" fmla="*/ 1370 w 2863"/>
              <a:gd name="T95" fmla="*/ 1465 h 2054"/>
              <a:gd name="T96" fmla="*/ 1461 w 2863"/>
              <a:gd name="T97" fmla="*/ 1462 h 2054"/>
              <a:gd name="T98" fmla="*/ 1684 w 2863"/>
              <a:gd name="T99" fmla="*/ 1556 h 2054"/>
              <a:gd name="T100" fmla="*/ 1888 w 2863"/>
              <a:gd name="T101" fmla="*/ 1440 h 2054"/>
              <a:gd name="T102" fmla="*/ 1799 w 2863"/>
              <a:gd name="T103" fmla="*/ 1308 h 2054"/>
              <a:gd name="T104" fmla="*/ 1857 w 2863"/>
              <a:gd name="T105" fmla="*/ 1327 h 2054"/>
              <a:gd name="T106" fmla="*/ 2183 w 2863"/>
              <a:gd name="T107" fmla="*/ 1273 h 2054"/>
              <a:gd name="T108" fmla="*/ 2142 w 2863"/>
              <a:gd name="T109" fmla="*/ 1164 h 2054"/>
              <a:gd name="T110" fmla="*/ 2112 w 2863"/>
              <a:gd name="T111" fmla="*/ 1069 h 2054"/>
              <a:gd name="T112" fmla="*/ 2121 w 2863"/>
              <a:gd name="T113" fmla="*/ 977 h 2054"/>
              <a:gd name="T114" fmla="*/ 2085 w 2863"/>
              <a:gd name="T115" fmla="*/ 807 h 2054"/>
              <a:gd name="T116" fmla="*/ 2859 w 2863"/>
              <a:gd name="T117" fmla="*/ 408 h 2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63" h="2054">
                <a:moveTo>
                  <a:pt x="2759" y="252"/>
                </a:moveTo>
                <a:lnTo>
                  <a:pt x="2759" y="252"/>
                </a:lnTo>
                <a:lnTo>
                  <a:pt x="2742" y="239"/>
                </a:lnTo>
                <a:lnTo>
                  <a:pt x="2725" y="227"/>
                </a:lnTo>
                <a:lnTo>
                  <a:pt x="2708" y="214"/>
                </a:lnTo>
                <a:lnTo>
                  <a:pt x="2690" y="203"/>
                </a:lnTo>
                <a:lnTo>
                  <a:pt x="2655" y="184"/>
                </a:lnTo>
                <a:lnTo>
                  <a:pt x="2621" y="165"/>
                </a:lnTo>
                <a:lnTo>
                  <a:pt x="2586" y="148"/>
                </a:lnTo>
                <a:lnTo>
                  <a:pt x="2553" y="133"/>
                </a:lnTo>
                <a:lnTo>
                  <a:pt x="2522" y="118"/>
                </a:lnTo>
                <a:lnTo>
                  <a:pt x="2491" y="103"/>
                </a:lnTo>
                <a:lnTo>
                  <a:pt x="2491" y="103"/>
                </a:lnTo>
                <a:lnTo>
                  <a:pt x="2507" y="93"/>
                </a:lnTo>
                <a:lnTo>
                  <a:pt x="2523" y="82"/>
                </a:lnTo>
                <a:lnTo>
                  <a:pt x="2540" y="68"/>
                </a:lnTo>
                <a:lnTo>
                  <a:pt x="2556" y="54"/>
                </a:lnTo>
                <a:lnTo>
                  <a:pt x="2570" y="41"/>
                </a:lnTo>
                <a:lnTo>
                  <a:pt x="2574" y="35"/>
                </a:lnTo>
                <a:lnTo>
                  <a:pt x="2577" y="30"/>
                </a:lnTo>
                <a:lnTo>
                  <a:pt x="2577" y="26"/>
                </a:lnTo>
                <a:lnTo>
                  <a:pt x="2577" y="24"/>
                </a:lnTo>
                <a:lnTo>
                  <a:pt x="2575" y="23"/>
                </a:lnTo>
                <a:lnTo>
                  <a:pt x="2575" y="23"/>
                </a:lnTo>
                <a:lnTo>
                  <a:pt x="2562" y="16"/>
                </a:lnTo>
                <a:lnTo>
                  <a:pt x="2550" y="10"/>
                </a:lnTo>
                <a:lnTo>
                  <a:pt x="2538" y="6"/>
                </a:lnTo>
                <a:lnTo>
                  <a:pt x="2527" y="4"/>
                </a:lnTo>
                <a:lnTo>
                  <a:pt x="2508" y="1"/>
                </a:lnTo>
                <a:lnTo>
                  <a:pt x="2501" y="0"/>
                </a:lnTo>
                <a:lnTo>
                  <a:pt x="2501" y="0"/>
                </a:lnTo>
                <a:lnTo>
                  <a:pt x="2440" y="24"/>
                </a:lnTo>
                <a:lnTo>
                  <a:pt x="2377" y="50"/>
                </a:lnTo>
                <a:lnTo>
                  <a:pt x="2317" y="76"/>
                </a:lnTo>
                <a:lnTo>
                  <a:pt x="2256" y="103"/>
                </a:lnTo>
                <a:lnTo>
                  <a:pt x="2196" y="132"/>
                </a:lnTo>
                <a:lnTo>
                  <a:pt x="2138" y="160"/>
                </a:lnTo>
                <a:lnTo>
                  <a:pt x="2081" y="189"/>
                </a:lnTo>
                <a:lnTo>
                  <a:pt x="2026" y="219"/>
                </a:lnTo>
                <a:lnTo>
                  <a:pt x="1972" y="247"/>
                </a:lnTo>
                <a:lnTo>
                  <a:pt x="1921" y="276"/>
                </a:lnTo>
                <a:lnTo>
                  <a:pt x="1872" y="303"/>
                </a:lnTo>
                <a:lnTo>
                  <a:pt x="1825" y="331"/>
                </a:lnTo>
                <a:lnTo>
                  <a:pt x="1782" y="358"/>
                </a:lnTo>
                <a:lnTo>
                  <a:pt x="1741" y="383"/>
                </a:lnTo>
                <a:lnTo>
                  <a:pt x="1705" y="407"/>
                </a:lnTo>
                <a:lnTo>
                  <a:pt x="1671" y="429"/>
                </a:lnTo>
                <a:lnTo>
                  <a:pt x="1671" y="429"/>
                </a:lnTo>
                <a:lnTo>
                  <a:pt x="1666" y="432"/>
                </a:lnTo>
                <a:lnTo>
                  <a:pt x="1666" y="432"/>
                </a:lnTo>
                <a:lnTo>
                  <a:pt x="1654" y="439"/>
                </a:lnTo>
                <a:lnTo>
                  <a:pt x="1643" y="446"/>
                </a:lnTo>
                <a:lnTo>
                  <a:pt x="1632" y="451"/>
                </a:lnTo>
                <a:lnTo>
                  <a:pt x="1620" y="455"/>
                </a:lnTo>
                <a:lnTo>
                  <a:pt x="1608" y="458"/>
                </a:lnTo>
                <a:lnTo>
                  <a:pt x="1597" y="461"/>
                </a:lnTo>
                <a:lnTo>
                  <a:pt x="1585" y="462"/>
                </a:lnTo>
                <a:lnTo>
                  <a:pt x="1574" y="463"/>
                </a:lnTo>
                <a:lnTo>
                  <a:pt x="1550" y="464"/>
                </a:lnTo>
                <a:lnTo>
                  <a:pt x="1528" y="462"/>
                </a:lnTo>
                <a:lnTo>
                  <a:pt x="1505" y="459"/>
                </a:lnTo>
                <a:lnTo>
                  <a:pt x="1485" y="454"/>
                </a:lnTo>
                <a:lnTo>
                  <a:pt x="1465" y="449"/>
                </a:lnTo>
                <a:lnTo>
                  <a:pt x="1448" y="442"/>
                </a:lnTo>
                <a:lnTo>
                  <a:pt x="1433" y="436"/>
                </a:lnTo>
                <a:lnTo>
                  <a:pt x="1418" y="430"/>
                </a:lnTo>
                <a:lnTo>
                  <a:pt x="1399" y="420"/>
                </a:lnTo>
                <a:lnTo>
                  <a:pt x="1393" y="416"/>
                </a:lnTo>
                <a:lnTo>
                  <a:pt x="1372" y="544"/>
                </a:lnTo>
                <a:lnTo>
                  <a:pt x="1372" y="544"/>
                </a:lnTo>
                <a:lnTo>
                  <a:pt x="1395" y="557"/>
                </a:lnTo>
                <a:lnTo>
                  <a:pt x="1416" y="568"/>
                </a:lnTo>
                <a:lnTo>
                  <a:pt x="1437" y="577"/>
                </a:lnTo>
                <a:lnTo>
                  <a:pt x="1454" y="586"/>
                </a:lnTo>
                <a:lnTo>
                  <a:pt x="1470" y="592"/>
                </a:lnTo>
                <a:lnTo>
                  <a:pt x="1486" y="596"/>
                </a:lnTo>
                <a:lnTo>
                  <a:pt x="1499" y="600"/>
                </a:lnTo>
                <a:lnTo>
                  <a:pt x="1510" y="602"/>
                </a:lnTo>
                <a:lnTo>
                  <a:pt x="1510" y="602"/>
                </a:lnTo>
                <a:lnTo>
                  <a:pt x="1491" y="606"/>
                </a:lnTo>
                <a:lnTo>
                  <a:pt x="1470" y="611"/>
                </a:lnTo>
                <a:lnTo>
                  <a:pt x="1450" y="617"/>
                </a:lnTo>
                <a:lnTo>
                  <a:pt x="1428" y="625"/>
                </a:lnTo>
                <a:lnTo>
                  <a:pt x="1409" y="634"/>
                </a:lnTo>
                <a:lnTo>
                  <a:pt x="1391" y="645"/>
                </a:lnTo>
                <a:lnTo>
                  <a:pt x="1381" y="650"/>
                </a:lnTo>
                <a:lnTo>
                  <a:pt x="1373" y="656"/>
                </a:lnTo>
                <a:lnTo>
                  <a:pt x="1366" y="663"/>
                </a:lnTo>
                <a:lnTo>
                  <a:pt x="1360" y="670"/>
                </a:lnTo>
                <a:lnTo>
                  <a:pt x="1404" y="788"/>
                </a:lnTo>
                <a:lnTo>
                  <a:pt x="1404" y="788"/>
                </a:lnTo>
                <a:lnTo>
                  <a:pt x="1416" y="779"/>
                </a:lnTo>
                <a:lnTo>
                  <a:pt x="1432" y="770"/>
                </a:lnTo>
                <a:lnTo>
                  <a:pt x="1453" y="758"/>
                </a:lnTo>
                <a:lnTo>
                  <a:pt x="1465" y="753"/>
                </a:lnTo>
                <a:lnTo>
                  <a:pt x="1479" y="748"/>
                </a:lnTo>
                <a:lnTo>
                  <a:pt x="1494" y="743"/>
                </a:lnTo>
                <a:lnTo>
                  <a:pt x="1509" y="738"/>
                </a:lnTo>
                <a:lnTo>
                  <a:pt x="1527" y="734"/>
                </a:lnTo>
                <a:lnTo>
                  <a:pt x="1545" y="731"/>
                </a:lnTo>
                <a:lnTo>
                  <a:pt x="1564" y="729"/>
                </a:lnTo>
                <a:lnTo>
                  <a:pt x="1585" y="728"/>
                </a:lnTo>
                <a:lnTo>
                  <a:pt x="1585" y="728"/>
                </a:lnTo>
                <a:lnTo>
                  <a:pt x="1588" y="744"/>
                </a:lnTo>
                <a:lnTo>
                  <a:pt x="1588" y="744"/>
                </a:lnTo>
                <a:lnTo>
                  <a:pt x="1588" y="758"/>
                </a:lnTo>
                <a:lnTo>
                  <a:pt x="1588" y="773"/>
                </a:lnTo>
                <a:lnTo>
                  <a:pt x="1586" y="787"/>
                </a:lnTo>
                <a:lnTo>
                  <a:pt x="1583" y="802"/>
                </a:lnTo>
                <a:lnTo>
                  <a:pt x="1578" y="818"/>
                </a:lnTo>
                <a:lnTo>
                  <a:pt x="1573" y="833"/>
                </a:lnTo>
                <a:lnTo>
                  <a:pt x="1565" y="848"/>
                </a:lnTo>
                <a:lnTo>
                  <a:pt x="1557" y="864"/>
                </a:lnTo>
                <a:lnTo>
                  <a:pt x="1549" y="880"/>
                </a:lnTo>
                <a:lnTo>
                  <a:pt x="1539" y="895"/>
                </a:lnTo>
                <a:lnTo>
                  <a:pt x="1528" y="912"/>
                </a:lnTo>
                <a:lnTo>
                  <a:pt x="1516" y="927"/>
                </a:lnTo>
                <a:lnTo>
                  <a:pt x="1503" y="943"/>
                </a:lnTo>
                <a:lnTo>
                  <a:pt x="1490" y="959"/>
                </a:lnTo>
                <a:lnTo>
                  <a:pt x="1476" y="974"/>
                </a:lnTo>
                <a:lnTo>
                  <a:pt x="1461" y="989"/>
                </a:lnTo>
                <a:lnTo>
                  <a:pt x="1429" y="1020"/>
                </a:lnTo>
                <a:lnTo>
                  <a:pt x="1396" y="1049"/>
                </a:lnTo>
                <a:lnTo>
                  <a:pt x="1360" y="1076"/>
                </a:lnTo>
                <a:lnTo>
                  <a:pt x="1323" y="1102"/>
                </a:lnTo>
                <a:lnTo>
                  <a:pt x="1285" y="1126"/>
                </a:lnTo>
                <a:lnTo>
                  <a:pt x="1247" y="1148"/>
                </a:lnTo>
                <a:lnTo>
                  <a:pt x="1209" y="1167"/>
                </a:lnTo>
                <a:lnTo>
                  <a:pt x="1189" y="1177"/>
                </a:lnTo>
                <a:lnTo>
                  <a:pt x="1171" y="1185"/>
                </a:lnTo>
                <a:lnTo>
                  <a:pt x="1171" y="1185"/>
                </a:lnTo>
                <a:lnTo>
                  <a:pt x="1133" y="1199"/>
                </a:lnTo>
                <a:lnTo>
                  <a:pt x="1095" y="1211"/>
                </a:lnTo>
                <a:lnTo>
                  <a:pt x="1060" y="1223"/>
                </a:lnTo>
                <a:lnTo>
                  <a:pt x="1026" y="1232"/>
                </a:lnTo>
                <a:lnTo>
                  <a:pt x="993" y="1240"/>
                </a:lnTo>
                <a:lnTo>
                  <a:pt x="962" y="1246"/>
                </a:lnTo>
                <a:lnTo>
                  <a:pt x="933" y="1250"/>
                </a:lnTo>
                <a:lnTo>
                  <a:pt x="905" y="1254"/>
                </a:lnTo>
                <a:lnTo>
                  <a:pt x="879" y="1256"/>
                </a:lnTo>
                <a:lnTo>
                  <a:pt x="856" y="1257"/>
                </a:lnTo>
                <a:lnTo>
                  <a:pt x="834" y="1257"/>
                </a:lnTo>
                <a:lnTo>
                  <a:pt x="815" y="1256"/>
                </a:lnTo>
                <a:lnTo>
                  <a:pt x="799" y="1254"/>
                </a:lnTo>
                <a:lnTo>
                  <a:pt x="785" y="1251"/>
                </a:lnTo>
                <a:lnTo>
                  <a:pt x="774" y="1247"/>
                </a:lnTo>
                <a:lnTo>
                  <a:pt x="765" y="1243"/>
                </a:lnTo>
                <a:lnTo>
                  <a:pt x="765" y="1243"/>
                </a:lnTo>
                <a:lnTo>
                  <a:pt x="741" y="1227"/>
                </a:lnTo>
                <a:lnTo>
                  <a:pt x="720" y="1209"/>
                </a:lnTo>
                <a:lnTo>
                  <a:pt x="701" y="1191"/>
                </a:lnTo>
                <a:lnTo>
                  <a:pt x="685" y="1172"/>
                </a:lnTo>
                <a:lnTo>
                  <a:pt x="670" y="1155"/>
                </a:lnTo>
                <a:lnTo>
                  <a:pt x="656" y="1137"/>
                </a:lnTo>
                <a:lnTo>
                  <a:pt x="645" y="1119"/>
                </a:lnTo>
                <a:lnTo>
                  <a:pt x="634" y="1102"/>
                </a:lnTo>
                <a:lnTo>
                  <a:pt x="615" y="1071"/>
                </a:lnTo>
                <a:lnTo>
                  <a:pt x="605" y="1057"/>
                </a:lnTo>
                <a:lnTo>
                  <a:pt x="596" y="1045"/>
                </a:lnTo>
                <a:lnTo>
                  <a:pt x="587" y="1033"/>
                </a:lnTo>
                <a:lnTo>
                  <a:pt x="577" y="1025"/>
                </a:lnTo>
                <a:lnTo>
                  <a:pt x="565" y="1018"/>
                </a:lnTo>
                <a:lnTo>
                  <a:pt x="559" y="1015"/>
                </a:lnTo>
                <a:lnTo>
                  <a:pt x="553" y="1013"/>
                </a:lnTo>
                <a:lnTo>
                  <a:pt x="553" y="1013"/>
                </a:lnTo>
                <a:lnTo>
                  <a:pt x="549" y="1013"/>
                </a:lnTo>
                <a:lnTo>
                  <a:pt x="546" y="1013"/>
                </a:lnTo>
                <a:lnTo>
                  <a:pt x="539" y="1015"/>
                </a:lnTo>
                <a:lnTo>
                  <a:pt x="532" y="1018"/>
                </a:lnTo>
                <a:lnTo>
                  <a:pt x="524" y="1022"/>
                </a:lnTo>
                <a:lnTo>
                  <a:pt x="516" y="1026"/>
                </a:lnTo>
                <a:lnTo>
                  <a:pt x="507" y="1029"/>
                </a:lnTo>
                <a:lnTo>
                  <a:pt x="499" y="1031"/>
                </a:lnTo>
                <a:lnTo>
                  <a:pt x="494" y="1031"/>
                </a:lnTo>
                <a:lnTo>
                  <a:pt x="489" y="1031"/>
                </a:lnTo>
                <a:lnTo>
                  <a:pt x="489" y="1031"/>
                </a:lnTo>
                <a:lnTo>
                  <a:pt x="468" y="1028"/>
                </a:lnTo>
                <a:lnTo>
                  <a:pt x="448" y="1025"/>
                </a:lnTo>
                <a:lnTo>
                  <a:pt x="427" y="1024"/>
                </a:lnTo>
                <a:lnTo>
                  <a:pt x="406" y="1023"/>
                </a:lnTo>
                <a:lnTo>
                  <a:pt x="386" y="1023"/>
                </a:lnTo>
                <a:lnTo>
                  <a:pt x="366" y="1025"/>
                </a:lnTo>
                <a:lnTo>
                  <a:pt x="347" y="1027"/>
                </a:lnTo>
                <a:lnTo>
                  <a:pt x="327" y="1031"/>
                </a:lnTo>
                <a:lnTo>
                  <a:pt x="309" y="1035"/>
                </a:lnTo>
                <a:lnTo>
                  <a:pt x="292" y="1043"/>
                </a:lnTo>
                <a:lnTo>
                  <a:pt x="276" y="1050"/>
                </a:lnTo>
                <a:lnTo>
                  <a:pt x="262" y="1059"/>
                </a:lnTo>
                <a:lnTo>
                  <a:pt x="248" y="1070"/>
                </a:lnTo>
                <a:lnTo>
                  <a:pt x="242" y="1076"/>
                </a:lnTo>
                <a:lnTo>
                  <a:pt x="236" y="1082"/>
                </a:lnTo>
                <a:lnTo>
                  <a:pt x="231" y="1090"/>
                </a:lnTo>
                <a:lnTo>
                  <a:pt x="227" y="1098"/>
                </a:lnTo>
                <a:lnTo>
                  <a:pt x="223" y="1105"/>
                </a:lnTo>
                <a:lnTo>
                  <a:pt x="219" y="1114"/>
                </a:lnTo>
                <a:lnTo>
                  <a:pt x="219" y="1114"/>
                </a:lnTo>
                <a:lnTo>
                  <a:pt x="257" y="1112"/>
                </a:lnTo>
                <a:lnTo>
                  <a:pt x="292" y="1111"/>
                </a:lnTo>
                <a:lnTo>
                  <a:pt x="312" y="1111"/>
                </a:lnTo>
                <a:lnTo>
                  <a:pt x="331" y="1112"/>
                </a:lnTo>
                <a:lnTo>
                  <a:pt x="349" y="1113"/>
                </a:lnTo>
                <a:lnTo>
                  <a:pt x="364" y="1116"/>
                </a:lnTo>
                <a:lnTo>
                  <a:pt x="377" y="1119"/>
                </a:lnTo>
                <a:lnTo>
                  <a:pt x="382" y="1121"/>
                </a:lnTo>
                <a:lnTo>
                  <a:pt x="387" y="1123"/>
                </a:lnTo>
                <a:lnTo>
                  <a:pt x="389" y="1126"/>
                </a:lnTo>
                <a:lnTo>
                  <a:pt x="391" y="1130"/>
                </a:lnTo>
                <a:lnTo>
                  <a:pt x="391" y="1133"/>
                </a:lnTo>
                <a:lnTo>
                  <a:pt x="389" y="1137"/>
                </a:lnTo>
                <a:lnTo>
                  <a:pt x="386" y="1141"/>
                </a:lnTo>
                <a:lnTo>
                  <a:pt x="381" y="1146"/>
                </a:lnTo>
                <a:lnTo>
                  <a:pt x="374" y="1151"/>
                </a:lnTo>
                <a:lnTo>
                  <a:pt x="366" y="1156"/>
                </a:lnTo>
                <a:lnTo>
                  <a:pt x="366" y="1156"/>
                </a:lnTo>
                <a:lnTo>
                  <a:pt x="357" y="1162"/>
                </a:lnTo>
                <a:lnTo>
                  <a:pt x="351" y="1168"/>
                </a:lnTo>
                <a:lnTo>
                  <a:pt x="346" y="1175"/>
                </a:lnTo>
                <a:lnTo>
                  <a:pt x="344" y="1182"/>
                </a:lnTo>
                <a:lnTo>
                  <a:pt x="343" y="1189"/>
                </a:lnTo>
                <a:lnTo>
                  <a:pt x="344" y="1195"/>
                </a:lnTo>
                <a:lnTo>
                  <a:pt x="346" y="1202"/>
                </a:lnTo>
                <a:lnTo>
                  <a:pt x="349" y="1209"/>
                </a:lnTo>
                <a:lnTo>
                  <a:pt x="354" y="1217"/>
                </a:lnTo>
                <a:lnTo>
                  <a:pt x="360" y="1225"/>
                </a:lnTo>
                <a:lnTo>
                  <a:pt x="368" y="1232"/>
                </a:lnTo>
                <a:lnTo>
                  <a:pt x="376" y="1239"/>
                </a:lnTo>
                <a:lnTo>
                  <a:pt x="396" y="1254"/>
                </a:lnTo>
                <a:lnTo>
                  <a:pt x="418" y="1270"/>
                </a:lnTo>
                <a:lnTo>
                  <a:pt x="442" y="1285"/>
                </a:lnTo>
                <a:lnTo>
                  <a:pt x="467" y="1299"/>
                </a:lnTo>
                <a:lnTo>
                  <a:pt x="519" y="1327"/>
                </a:lnTo>
                <a:lnTo>
                  <a:pt x="565" y="1350"/>
                </a:lnTo>
                <a:lnTo>
                  <a:pt x="585" y="1361"/>
                </a:lnTo>
                <a:lnTo>
                  <a:pt x="601" y="1370"/>
                </a:lnTo>
                <a:lnTo>
                  <a:pt x="601" y="1370"/>
                </a:lnTo>
                <a:lnTo>
                  <a:pt x="608" y="1375"/>
                </a:lnTo>
                <a:lnTo>
                  <a:pt x="611" y="1379"/>
                </a:lnTo>
                <a:lnTo>
                  <a:pt x="613" y="1382"/>
                </a:lnTo>
                <a:lnTo>
                  <a:pt x="611" y="1385"/>
                </a:lnTo>
                <a:lnTo>
                  <a:pt x="608" y="1387"/>
                </a:lnTo>
                <a:lnTo>
                  <a:pt x="604" y="1389"/>
                </a:lnTo>
                <a:lnTo>
                  <a:pt x="598" y="1390"/>
                </a:lnTo>
                <a:lnTo>
                  <a:pt x="598" y="1390"/>
                </a:lnTo>
                <a:lnTo>
                  <a:pt x="588" y="1390"/>
                </a:lnTo>
                <a:lnTo>
                  <a:pt x="576" y="1388"/>
                </a:lnTo>
                <a:lnTo>
                  <a:pt x="561" y="1385"/>
                </a:lnTo>
                <a:lnTo>
                  <a:pt x="545" y="1380"/>
                </a:lnTo>
                <a:lnTo>
                  <a:pt x="509" y="1369"/>
                </a:lnTo>
                <a:lnTo>
                  <a:pt x="469" y="1354"/>
                </a:lnTo>
                <a:lnTo>
                  <a:pt x="387" y="1323"/>
                </a:lnTo>
                <a:lnTo>
                  <a:pt x="349" y="1307"/>
                </a:lnTo>
                <a:lnTo>
                  <a:pt x="314" y="1296"/>
                </a:lnTo>
                <a:lnTo>
                  <a:pt x="314" y="1296"/>
                </a:lnTo>
                <a:lnTo>
                  <a:pt x="303" y="1293"/>
                </a:lnTo>
                <a:lnTo>
                  <a:pt x="292" y="1291"/>
                </a:lnTo>
                <a:lnTo>
                  <a:pt x="283" y="1291"/>
                </a:lnTo>
                <a:lnTo>
                  <a:pt x="275" y="1292"/>
                </a:lnTo>
                <a:lnTo>
                  <a:pt x="268" y="1294"/>
                </a:lnTo>
                <a:lnTo>
                  <a:pt x="262" y="1297"/>
                </a:lnTo>
                <a:lnTo>
                  <a:pt x="257" y="1300"/>
                </a:lnTo>
                <a:lnTo>
                  <a:pt x="253" y="1303"/>
                </a:lnTo>
                <a:lnTo>
                  <a:pt x="244" y="1312"/>
                </a:lnTo>
                <a:lnTo>
                  <a:pt x="238" y="1319"/>
                </a:lnTo>
                <a:lnTo>
                  <a:pt x="234" y="1324"/>
                </a:lnTo>
                <a:lnTo>
                  <a:pt x="231" y="1325"/>
                </a:lnTo>
                <a:lnTo>
                  <a:pt x="229" y="1326"/>
                </a:lnTo>
                <a:lnTo>
                  <a:pt x="229" y="1326"/>
                </a:lnTo>
                <a:lnTo>
                  <a:pt x="220" y="1325"/>
                </a:lnTo>
                <a:lnTo>
                  <a:pt x="210" y="1324"/>
                </a:lnTo>
                <a:lnTo>
                  <a:pt x="198" y="1325"/>
                </a:lnTo>
                <a:lnTo>
                  <a:pt x="188" y="1325"/>
                </a:lnTo>
                <a:lnTo>
                  <a:pt x="166" y="1329"/>
                </a:lnTo>
                <a:lnTo>
                  <a:pt x="143" y="1335"/>
                </a:lnTo>
                <a:lnTo>
                  <a:pt x="121" y="1343"/>
                </a:lnTo>
                <a:lnTo>
                  <a:pt x="98" y="1353"/>
                </a:lnTo>
                <a:lnTo>
                  <a:pt x="77" y="1367"/>
                </a:lnTo>
                <a:lnTo>
                  <a:pt x="66" y="1374"/>
                </a:lnTo>
                <a:lnTo>
                  <a:pt x="57" y="1381"/>
                </a:lnTo>
                <a:lnTo>
                  <a:pt x="48" y="1389"/>
                </a:lnTo>
                <a:lnTo>
                  <a:pt x="40" y="1397"/>
                </a:lnTo>
                <a:lnTo>
                  <a:pt x="32" y="1407"/>
                </a:lnTo>
                <a:lnTo>
                  <a:pt x="25" y="1416"/>
                </a:lnTo>
                <a:lnTo>
                  <a:pt x="18" y="1426"/>
                </a:lnTo>
                <a:lnTo>
                  <a:pt x="12" y="1435"/>
                </a:lnTo>
                <a:lnTo>
                  <a:pt x="8" y="1446"/>
                </a:lnTo>
                <a:lnTo>
                  <a:pt x="4" y="1458"/>
                </a:lnTo>
                <a:lnTo>
                  <a:pt x="2" y="1469"/>
                </a:lnTo>
                <a:lnTo>
                  <a:pt x="0" y="1480"/>
                </a:lnTo>
                <a:lnTo>
                  <a:pt x="0" y="1492"/>
                </a:lnTo>
                <a:lnTo>
                  <a:pt x="0" y="1505"/>
                </a:lnTo>
                <a:lnTo>
                  <a:pt x="3" y="1518"/>
                </a:lnTo>
                <a:lnTo>
                  <a:pt x="6" y="1530"/>
                </a:lnTo>
                <a:lnTo>
                  <a:pt x="11" y="1544"/>
                </a:lnTo>
                <a:lnTo>
                  <a:pt x="17" y="1558"/>
                </a:lnTo>
                <a:lnTo>
                  <a:pt x="17" y="1558"/>
                </a:lnTo>
                <a:lnTo>
                  <a:pt x="20" y="1553"/>
                </a:lnTo>
                <a:lnTo>
                  <a:pt x="30" y="1540"/>
                </a:lnTo>
                <a:lnTo>
                  <a:pt x="45" y="1521"/>
                </a:lnTo>
                <a:lnTo>
                  <a:pt x="53" y="1511"/>
                </a:lnTo>
                <a:lnTo>
                  <a:pt x="63" y="1501"/>
                </a:lnTo>
                <a:lnTo>
                  <a:pt x="75" y="1490"/>
                </a:lnTo>
                <a:lnTo>
                  <a:pt x="86" y="1481"/>
                </a:lnTo>
                <a:lnTo>
                  <a:pt x="98" y="1473"/>
                </a:lnTo>
                <a:lnTo>
                  <a:pt x="111" y="1466"/>
                </a:lnTo>
                <a:lnTo>
                  <a:pt x="125" y="1461"/>
                </a:lnTo>
                <a:lnTo>
                  <a:pt x="131" y="1459"/>
                </a:lnTo>
                <a:lnTo>
                  <a:pt x="138" y="1458"/>
                </a:lnTo>
                <a:lnTo>
                  <a:pt x="145" y="1458"/>
                </a:lnTo>
                <a:lnTo>
                  <a:pt x="151" y="1458"/>
                </a:lnTo>
                <a:lnTo>
                  <a:pt x="159" y="1459"/>
                </a:lnTo>
                <a:lnTo>
                  <a:pt x="166" y="1461"/>
                </a:lnTo>
                <a:lnTo>
                  <a:pt x="166" y="1461"/>
                </a:lnTo>
                <a:lnTo>
                  <a:pt x="171" y="1463"/>
                </a:lnTo>
                <a:lnTo>
                  <a:pt x="174" y="1467"/>
                </a:lnTo>
                <a:lnTo>
                  <a:pt x="175" y="1473"/>
                </a:lnTo>
                <a:lnTo>
                  <a:pt x="176" y="1479"/>
                </a:lnTo>
                <a:lnTo>
                  <a:pt x="176" y="1496"/>
                </a:lnTo>
                <a:lnTo>
                  <a:pt x="174" y="1514"/>
                </a:lnTo>
                <a:lnTo>
                  <a:pt x="174" y="1524"/>
                </a:lnTo>
                <a:lnTo>
                  <a:pt x="174" y="1534"/>
                </a:lnTo>
                <a:lnTo>
                  <a:pt x="176" y="1545"/>
                </a:lnTo>
                <a:lnTo>
                  <a:pt x="178" y="1554"/>
                </a:lnTo>
                <a:lnTo>
                  <a:pt x="182" y="1564"/>
                </a:lnTo>
                <a:lnTo>
                  <a:pt x="187" y="1573"/>
                </a:lnTo>
                <a:lnTo>
                  <a:pt x="195" y="1581"/>
                </a:lnTo>
                <a:lnTo>
                  <a:pt x="205" y="1589"/>
                </a:lnTo>
                <a:lnTo>
                  <a:pt x="205" y="1589"/>
                </a:lnTo>
                <a:lnTo>
                  <a:pt x="213" y="1593"/>
                </a:lnTo>
                <a:lnTo>
                  <a:pt x="221" y="1596"/>
                </a:lnTo>
                <a:lnTo>
                  <a:pt x="231" y="1599"/>
                </a:lnTo>
                <a:lnTo>
                  <a:pt x="242" y="1600"/>
                </a:lnTo>
                <a:lnTo>
                  <a:pt x="254" y="1602"/>
                </a:lnTo>
                <a:lnTo>
                  <a:pt x="267" y="1602"/>
                </a:lnTo>
                <a:lnTo>
                  <a:pt x="293" y="1602"/>
                </a:lnTo>
                <a:lnTo>
                  <a:pt x="323" y="1600"/>
                </a:lnTo>
                <a:lnTo>
                  <a:pt x="354" y="1597"/>
                </a:lnTo>
                <a:lnTo>
                  <a:pt x="418" y="1589"/>
                </a:lnTo>
                <a:lnTo>
                  <a:pt x="481" y="1580"/>
                </a:lnTo>
                <a:lnTo>
                  <a:pt x="510" y="1576"/>
                </a:lnTo>
                <a:lnTo>
                  <a:pt x="538" y="1574"/>
                </a:lnTo>
                <a:lnTo>
                  <a:pt x="562" y="1573"/>
                </a:lnTo>
                <a:lnTo>
                  <a:pt x="583" y="1574"/>
                </a:lnTo>
                <a:lnTo>
                  <a:pt x="592" y="1575"/>
                </a:lnTo>
                <a:lnTo>
                  <a:pt x="600" y="1577"/>
                </a:lnTo>
                <a:lnTo>
                  <a:pt x="607" y="1580"/>
                </a:lnTo>
                <a:lnTo>
                  <a:pt x="613" y="1585"/>
                </a:lnTo>
                <a:lnTo>
                  <a:pt x="613" y="1585"/>
                </a:lnTo>
                <a:lnTo>
                  <a:pt x="616" y="1588"/>
                </a:lnTo>
                <a:lnTo>
                  <a:pt x="617" y="1591"/>
                </a:lnTo>
                <a:lnTo>
                  <a:pt x="616" y="1593"/>
                </a:lnTo>
                <a:lnTo>
                  <a:pt x="611" y="1596"/>
                </a:lnTo>
                <a:lnTo>
                  <a:pt x="607" y="1598"/>
                </a:lnTo>
                <a:lnTo>
                  <a:pt x="600" y="1601"/>
                </a:lnTo>
                <a:lnTo>
                  <a:pt x="583" y="1605"/>
                </a:lnTo>
                <a:lnTo>
                  <a:pt x="560" y="1609"/>
                </a:lnTo>
                <a:lnTo>
                  <a:pt x="535" y="1612"/>
                </a:lnTo>
                <a:lnTo>
                  <a:pt x="474" y="1620"/>
                </a:lnTo>
                <a:lnTo>
                  <a:pt x="443" y="1624"/>
                </a:lnTo>
                <a:lnTo>
                  <a:pt x="412" y="1629"/>
                </a:lnTo>
                <a:lnTo>
                  <a:pt x="382" y="1636"/>
                </a:lnTo>
                <a:lnTo>
                  <a:pt x="356" y="1642"/>
                </a:lnTo>
                <a:lnTo>
                  <a:pt x="344" y="1646"/>
                </a:lnTo>
                <a:lnTo>
                  <a:pt x="332" y="1650"/>
                </a:lnTo>
                <a:lnTo>
                  <a:pt x="322" y="1654"/>
                </a:lnTo>
                <a:lnTo>
                  <a:pt x="314" y="1659"/>
                </a:lnTo>
                <a:lnTo>
                  <a:pt x="307" y="1664"/>
                </a:lnTo>
                <a:lnTo>
                  <a:pt x="302" y="1669"/>
                </a:lnTo>
                <a:lnTo>
                  <a:pt x="298" y="1676"/>
                </a:lnTo>
                <a:lnTo>
                  <a:pt x="296" y="1682"/>
                </a:lnTo>
                <a:lnTo>
                  <a:pt x="296" y="1682"/>
                </a:lnTo>
                <a:lnTo>
                  <a:pt x="295" y="1687"/>
                </a:lnTo>
                <a:lnTo>
                  <a:pt x="295" y="1696"/>
                </a:lnTo>
                <a:lnTo>
                  <a:pt x="296" y="1707"/>
                </a:lnTo>
                <a:lnTo>
                  <a:pt x="298" y="1713"/>
                </a:lnTo>
                <a:lnTo>
                  <a:pt x="300" y="1718"/>
                </a:lnTo>
                <a:lnTo>
                  <a:pt x="300" y="1718"/>
                </a:lnTo>
                <a:lnTo>
                  <a:pt x="301" y="1725"/>
                </a:lnTo>
                <a:lnTo>
                  <a:pt x="301" y="1731"/>
                </a:lnTo>
                <a:lnTo>
                  <a:pt x="298" y="1737"/>
                </a:lnTo>
                <a:lnTo>
                  <a:pt x="293" y="1743"/>
                </a:lnTo>
                <a:lnTo>
                  <a:pt x="283" y="1757"/>
                </a:lnTo>
                <a:lnTo>
                  <a:pt x="269" y="1775"/>
                </a:lnTo>
                <a:lnTo>
                  <a:pt x="261" y="1785"/>
                </a:lnTo>
                <a:lnTo>
                  <a:pt x="254" y="1795"/>
                </a:lnTo>
                <a:lnTo>
                  <a:pt x="246" y="1807"/>
                </a:lnTo>
                <a:lnTo>
                  <a:pt x="240" y="1820"/>
                </a:lnTo>
                <a:lnTo>
                  <a:pt x="234" y="1834"/>
                </a:lnTo>
                <a:lnTo>
                  <a:pt x="230" y="1849"/>
                </a:lnTo>
                <a:lnTo>
                  <a:pt x="226" y="1866"/>
                </a:lnTo>
                <a:lnTo>
                  <a:pt x="225" y="1884"/>
                </a:lnTo>
                <a:lnTo>
                  <a:pt x="225" y="1884"/>
                </a:lnTo>
                <a:lnTo>
                  <a:pt x="225" y="1893"/>
                </a:lnTo>
                <a:lnTo>
                  <a:pt x="225" y="1902"/>
                </a:lnTo>
                <a:lnTo>
                  <a:pt x="228" y="1920"/>
                </a:lnTo>
                <a:lnTo>
                  <a:pt x="233" y="1937"/>
                </a:lnTo>
                <a:lnTo>
                  <a:pt x="239" y="1953"/>
                </a:lnTo>
                <a:lnTo>
                  <a:pt x="247" y="1968"/>
                </a:lnTo>
                <a:lnTo>
                  <a:pt x="257" y="1982"/>
                </a:lnTo>
                <a:lnTo>
                  <a:pt x="267" y="1995"/>
                </a:lnTo>
                <a:lnTo>
                  <a:pt x="277" y="2007"/>
                </a:lnTo>
                <a:lnTo>
                  <a:pt x="287" y="2017"/>
                </a:lnTo>
                <a:lnTo>
                  <a:pt x="298" y="2026"/>
                </a:lnTo>
                <a:lnTo>
                  <a:pt x="315" y="2042"/>
                </a:lnTo>
                <a:lnTo>
                  <a:pt x="327" y="2050"/>
                </a:lnTo>
                <a:lnTo>
                  <a:pt x="332" y="2054"/>
                </a:lnTo>
                <a:lnTo>
                  <a:pt x="332" y="2054"/>
                </a:lnTo>
                <a:lnTo>
                  <a:pt x="334" y="2050"/>
                </a:lnTo>
                <a:lnTo>
                  <a:pt x="335" y="2045"/>
                </a:lnTo>
                <a:lnTo>
                  <a:pt x="335" y="2036"/>
                </a:lnTo>
                <a:lnTo>
                  <a:pt x="334" y="2027"/>
                </a:lnTo>
                <a:lnTo>
                  <a:pt x="331" y="2006"/>
                </a:lnTo>
                <a:lnTo>
                  <a:pt x="328" y="1980"/>
                </a:lnTo>
                <a:lnTo>
                  <a:pt x="327" y="1968"/>
                </a:lnTo>
                <a:lnTo>
                  <a:pt x="326" y="1955"/>
                </a:lnTo>
                <a:lnTo>
                  <a:pt x="326" y="1943"/>
                </a:lnTo>
                <a:lnTo>
                  <a:pt x="328" y="1932"/>
                </a:lnTo>
                <a:lnTo>
                  <a:pt x="330" y="1922"/>
                </a:lnTo>
                <a:lnTo>
                  <a:pt x="334" y="1913"/>
                </a:lnTo>
                <a:lnTo>
                  <a:pt x="337" y="1910"/>
                </a:lnTo>
                <a:lnTo>
                  <a:pt x="341" y="1906"/>
                </a:lnTo>
                <a:lnTo>
                  <a:pt x="344" y="1904"/>
                </a:lnTo>
                <a:lnTo>
                  <a:pt x="348" y="1901"/>
                </a:lnTo>
                <a:lnTo>
                  <a:pt x="348" y="1901"/>
                </a:lnTo>
                <a:lnTo>
                  <a:pt x="353" y="1900"/>
                </a:lnTo>
                <a:lnTo>
                  <a:pt x="357" y="1900"/>
                </a:lnTo>
                <a:lnTo>
                  <a:pt x="362" y="1901"/>
                </a:lnTo>
                <a:lnTo>
                  <a:pt x="366" y="1905"/>
                </a:lnTo>
                <a:lnTo>
                  <a:pt x="375" y="1912"/>
                </a:lnTo>
                <a:lnTo>
                  <a:pt x="386" y="1921"/>
                </a:lnTo>
                <a:lnTo>
                  <a:pt x="397" y="1932"/>
                </a:lnTo>
                <a:lnTo>
                  <a:pt x="410" y="1941"/>
                </a:lnTo>
                <a:lnTo>
                  <a:pt x="417" y="1946"/>
                </a:lnTo>
                <a:lnTo>
                  <a:pt x="424" y="1950"/>
                </a:lnTo>
                <a:lnTo>
                  <a:pt x="434" y="1953"/>
                </a:lnTo>
                <a:lnTo>
                  <a:pt x="442" y="1955"/>
                </a:lnTo>
                <a:lnTo>
                  <a:pt x="442" y="1955"/>
                </a:lnTo>
                <a:lnTo>
                  <a:pt x="451" y="1955"/>
                </a:lnTo>
                <a:lnTo>
                  <a:pt x="460" y="1955"/>
                </a:lnTo>
                <a:lnTo>
                  <a:pt x="468" y="1954"/>
                </a:lnTo>
                <a:lnTo>
                  <a:pt x="478" y="1952"/>
                </a:lnTo>
                <a:lnTo>
                  <a:pt x="486" y="1948"/>
                </a:lnTo>
                <a:lnTo>
                  <a:pt x="494" y="1944"/>
                </a:lnTo>
                <a:lnTo>
                  <a:pt x="501" y="1940"/>
                </a:lnTo>
                <a:lnTo>
                  <a:pt x="509" y="1935"/>
                </a:lnTo>
                <a:lnTo>
                  <a:pt x="525" y="1923"/>
                </a:lnTo>
                <a:lnTo>
                  <a:pt x="539" y="1909"/>
                </a:lnTo>
                <a:lnTo>
                  <a:pt x="554" y="1892"/>
                </a:lnTo>
                <a:lnTo>
                  <a:pt x="571" y="1875"/>
                </a:lnTo>
                <a:lnTo>
                  <a:pt x="604" y="1836"/>
                </a:lnTo>
                <a:lnTo>
                  <a:pt x="624" y="1817"/>
                </a:lnTo>
                <a:lnTo>
                  <a:pt x="644" y="1797"/>
                </a:lnTo>
                <a:lnTo>
                  <a:pt x="667" y="1777"/>
                </a:lnTo>
                <a:lnTo>
                  <a:pt x="691" y="1758"/>
                </a:lnTo>
                <a:lnTo>
                  <a:pt x="705" y="1749"/>
                </a:lnTo>
                <a:lnTo>
                  <a:pt x="718" y="1741"/>
                </a:lnTo>
                <a:lnTo>
                  <a:pt x="732" y="1733"/>
                </a:lnTo>
                <a:lnTo>
                  <a:pt x="747" y="1725"/>
                </a:lnTo>
                <a:lnTo>
                  <a:pt x="747" y="1725"/>
                </a:lnTo>
                <a:lnTo>
                  <a:pt x="787" y="1706"/>
                </a:lnTo>
                <a:lnTo>
                  <a:pt x="819" y="1694"/>
                </a:lnTo>
                <a:lnTo>
                  <a:pt x="831" y="1689"/>
                </a:lnTo>
                <a:lnTo>
                  <a:pt x="843" y="1686"/>
                </a:lnTo>
                <a:lnTo>
                  <a:pt x="852" y="1685"/>
                </a:lnTo>
                <a:lnTo>
                  <a:pt x="859" y="1684"/>
                </a:lnTo>
                <a:lnTo>
                  <a:pt x="865" y="1684"/>
                </a:lnTo>
                <a:lnTo>
                  <a:pt x="869" y="1686"/>
                </a:lnTo>
                <a:lnTo>
                  <a:pt x="872" y="1688"/>
                </a:lnTo>
                <a:lnTo>
                  <a:pt x="874" y="1691"/>
                </a:lnTo>
                <a:lnTo>
                  <a:pt x="876" y="1694"/>
                </a:lnTo>
                <a:lnTo>
                  <a:pt x="876" y="1698"/>
                </a:lnTo>
                <a:lnTo>
                  <a:pt x="875" y="1708"/>
                </a:lnTo>
                <a:lnTo>
                  <a:pt x="872" y="1720"/>
                </a:lnTo>
                <a:lnTo>
                  <a:pt x="868" y="1734"/>
                </a:lnTo>
                <a:lnTo>
                  <a:pt x="865" y="1747"/>
                </a:lnTo>
                <a:lnTo>
                  <a:pt x="863" y="1759"/>
                </a:lnTo>
                <a:lnTo>
                  <a:pt x="863" y="1765"/>
                </a:lnTo>
                <a:lnTo>
                  <a:pt x="863" y="1772"/>
                </a:lnTo>
                <a:lnTo>
                  <a:pt x="865" y="1777"/>
                </a:lnTo>
                <a:lnTo>
                  <a:pt x="867" y="1782"/>
                </a:lnTo>
                <a:lnTo>
                  <a:pt x="870" y="1786"/>
                </a:lnTo>
                <a:lnTo>
                  <a:pt x="875" y="1790"/>
                </a:lnTo>
                <a:lnTo>
                  <a:pt x="881" y="1793"/>
                </a:lnTo>
                <a:lnTo>
                  <a:pt x="889" y="1795"/>
                </a:lnTo>
                <a:lnTo>
                  <a:pt x="889" y="1795"/>
                </a:lnTo>
                <a:lnTo>
                  <a:pt x="901" y="1799"/>
                </a:lnTo>
                <a:lnTo>
                  <a:pt x="912" y="1802"/>
                </a:lnTo>
                <a:lnTo>
                  <a:pt x="921" y="1807"/>
                </a:lnTo>
                <a:lnTo>
                  <a:pt x="928" y="1811"/>
                </a:lnTo>
                <a:lnTo>
                  <a:pt x="935" y="1817"/>
                </a:lnTo>
                <a:lnTo>
                  <a:pt x="940" y="1822"/>
                </a:lnTo>
                <a:lnTo>
                  <a:pt x="943" y="1828"/>
                </a:lnTo>
                <a:lnTo>
                  <a:pt x="945" y="1834"/>
                </a:lnTo>
                <a:lnTo>
                  <a:pt x="947" y="1840"/>
                </a:lnTo>
                <a:lnTo>
                  <a:pt x="947" y="1846"/>
                </a:lnTo>
                <a:lnTo>
                  <a:pt x="946" y="1853"/>
                </a:lnTo>
                <a:lnTo>
                  <a:pt x="945" y="1860"/>
                </a:lnTo>
                <a:lnTo>
                  <a:pt x="943" y="1867"/>
                </a:lnTo>
                <a:lnTo>
                  <a:pt x="940" y="1874"/>
                </a:lnTo>
                <a:lnTo>
                  <a:pt x="932" y="1887"/>
                </a:lnTo>
                <a:lnTo>
                  <a:pt x="922" y="1900"/>
                </a:lnTo>
                <a:lnTo>
                  <a:pt x="912" y="1913"/>
                </a:lnTo>
                <a:lnTo>
                  <a:pt x="902" y="1924"/>
                </a:lnTo>
                <a:lnTo>
                  <a:pt x="892" y="1934"/>
                </a:lnTo>
                <a:lnTo>
                  <a:pt x="875" y="1948"/>
                </a:lnTo>
                <a:lnTo>
                  <a:pt x="869" y="1955"/>
                </a:lnTo>
                <a:lnTo>
                  <a:pt x="869" y="1955"/>
                </a:lnTo>
                <a:lnTo>
                  <a:pt x="877" y="1959"/>
                </a:lnTo>
                <a:lnTo>
                  <a:pt x="888" y="1961"/>
                </a:lnTo>
                <a:lnTo>
                  <a:pt x="899" y="1962"/>
                </a:lnTo>
                <a:lnTo>
                  <a:pt x="912" y="1961"/>
                </a:lnTo>
                <a:lnTo>
                  <a:pt x="926" y="1958"/>
                </a:lnTo>
                <a:lnTo>
                  <a:pt x="941" y="1954"/>
                </a:lnTo>
                <a:lnTo>
                  <a:pt x="957" y="1947"/>
                </a:lnTo>
                <a:lnTo>
                  <a:pt x="972" y="1939"/>
                </a:lnTo>
                <a:lnTo>
                  <a:pt x="989" y="1930"/>
                </a:lnTo>
                <a:lnTo>
                  <a:pt x="1004" y="1919"/>
                </a:lnTo>
                <a:lnTo>
                  <a:pt x="1019" y="1906"/>
                </a:lnTo>
                <a:lnTo>
                  <a:pt x="1035" y="1891"/>
                </a:lnTo>
                <a:lnTo>
                  <a:pt x="1048" y="1874"/>
                </a:lnTo>
                <a:lnTo>
                  <a:pt x="1061" y="1855"/>
                </a:lnTo>
                <a:lnTo>
                  <a:pt x="1073" y="1835"/>
                </a:lnTo>
                <a:lnTo>
                  <a:pt x="1083" y="1814"/>
                </a:lnTo>
                <a:lnTo>
                  <a:pt x="1083" y="1814"/>
                </a:lnTo>
                <a:lnTo>
                  <a:pt x="1086" y="1805"/>
                </a:lnTo>
                <a:lnTo>
                  <a:pt x="1089" y="1799"/>
                </a:lnTo>
                <a:lnTo>
                  <a:pt x="1092" y="1794"/>
                </a:lnTo>
                <a:lnTo>
                  <a:pt x="1096" y="1790"/>
                </a:lnTo>
                <a:lnTo>
                  <a:pt x="1100" y="1787"/>
                </a:lnTo>
                <a:lnTo>
                  <a:pt x="1103" y="1784"/>
                </a:lnTo>
                <a:lnTo>
                  <a:pt x="1111" y="1781"/>
                </a:lnTo>
                <a:lnTo>
                  <a:pt x="1120" y="1778"/>
                </a:lnTo>
                <a:lnTo>
                  <a:pt x="1129" y="1774"/>
                </a:lnTo>
                <a:lnTo>
                  <a:pt x="1138" y="1768"/>
                </a:lnTo>
                <a:lnTo>
                  <a:pt x="1143" y="1763"/>
                </a:lnTo>
                <a:lnTo>
                  <a:pt x="1148" y="1758"/>
                </a:lnTo>
                <a:lnTo>
                  <a:pt x="1148" y="1758"/>
                </a:lnTo>
                <a:lnTo>
                  <a:pt x="1151" y="1752"/>
                </a:lnTo>
                <a:lnTo>
                  <a:pt x="1154" y="1746"/>
                </a:lnTo>
                <a:lnTo>
                  <a:pt x="1158" y="1740"/>
                </a:lnTo>
                <a:lnTo>
                  <a:pt x="1159" y="1734"/>
                </a:lnTo>
                <a:lnTo>
                  <a:pt x="1160" y="1719"/>
                </a:lnTo>
                <a:lnTo>
                  <a:pt x="1160" y="1705"/>
                </a:lnTo>
                <a:lnTo>
                  <a:pt x="1160" y="1690"/>
                </a:lnTo>
                <a:lnTo>
                  <a:pt x="1160" y="1676"/>
                </a:lnTo>
                <a:lnTo>
                  <a:pt x="1162" y="1661"/>
                </a:lnTo>
                <a:lnTo>
                  <a:pt x="1164" y="1655"/>
                </a:lnTo>
                <a:lnTo>
                  <a:pt x="1166" y="1649"/>
                </a:lnTo>
                <a:lnTo>
                  <a:pt x="1166" y="1649"/>
                </a:lnTo>
                <a:lnTo>
                  <a:pt x="1170" y="1643"/>
                </a:lnTo>
                <a:lnTo>
                  <a:pt x="1174" y="1638"/>
                </a:lnTo>
                <a:lnTo>
                  <a:pt x="1178" y="1633"/>
                </a:lnTo>
                <a:lnTo>
                  <a:pt x="1183" y="1628"/>
                </a:lnTo>
                <a:lnTo>
                  <a:pt x="1195" y="1620"/>
                </a:lnTo>
                <a:lnTo>
                  <a:pt x="1209" y="1614"/>
                </a:lnTo>
                <a:lnTo>
                  <a:pt x="1223" y="1609"/>
                </a:lnTo>
                <a:lnTo>
                  <a:pt x="1237" y="1605"/>
                </a:lnTo>
                <a:lnTo>
                  <a:pt x="1268" y="1597"/>
                </a:lnTo>
                <a:lnTo>
                  <a:pt x="1298" y="1591"/>
                </a:lnTo>
                <a:lnTo>
                  <a:pt x="1310" y="1587"/>
                </a:lnTo>
                <a:lnTo>
                  <a:pt x="1321" y="1581"/>
                </a:lnTo>
                <a:lnTo>
                  <a:pt x="1329" y="1575"/>
                </a:lnTo>
                <a:lnTo>
                  <a:pt x="1333" y="1572"/>
                </a:lnTo>
                <a:lnTo>
                  <a:pt x="1335" y="1568"/>
                </a:lnTo>
                <a:lnTo>
                  <a:pt x="1338" y="1564"/>
                </a:lnTo>
                <a:lnTo>
                  <a:pt x="1340" y="1559"/>
                </a:lnTo>
                <a:lnTo>
                  <a:pt x="1340" y="1554"/>
                </a:lnTo>
                <a:lnTo>
                  <a:pt x="1340" y="1549"/>
                </a:lnTo>
                <a:lnTo>
                  <a:pt x="1340" y="1549"/>
                </a:lnTo>
                <a:lnTo>
                  <a:pt x="1338" y="1534"/>
                </a:lnTo>
                <a:lnTo>
                  <a:pt x="1338" y="1521"/>
                </a:lnTo>
                <a:lnTo>
                  <a:pt x="1341" y="1509"/>
                </a:lnTo>
                <a:lnTo>
                  <a:pt x="1345" y="1499"/>
                </a:lnTo>
                <a:lnTo>
                  <a:pt x="1350" y="1488"/>
                </a:lnTo>
                <a:lnTo>
                  <a:pt x="1355" y="1480"/>
                </a:lnTo>
                <a:lnTo>
                  <a:pt x="1362" y="1472"/>
                </a:lnTo>
                <a:lnTo>
                  <a:pt x="1370" y="1465"/>
                </a:lnTo>
                <a:lnTo>
                  <a:pt x="1378" y="1459"/>
                </a:lnTo>
                <a:lnTo>
                  <a:pt x="1388" y="1453"/>
                </a:lnTo>
                <a:lnTo>
                  <a:pt x="1406" y="1443"/>
                </a:lnTo>
                <a:lnTo>
                  <a:pt x="1424" y="1435"/>
                </a:lnTo>
                <a:lnTo>
                  <a:pt x="1441" y="1428"/>
                </a:lnTo>
                <a:lnTo>
                  <a:pt x="1441" y="1428"/>
                </a:lnTo>
                <a:lnTo>
                  <a:pt x="1443" y="1428"/>
                </a:lnTo>
                <a:lnTo>
                  <a:pt x="1444" y="1429"/>
                </a:lnTo>
                <a:lnTo>
                  <a:pt x="1447" y="1431"/>
                </a:lnTo>
                <a:lnTo>
                  <a:pt x="1449" y="1436"/>
                </a:lnTo>
                <a:lnTo>
                  <a:pt x="1453" y="1443"/>
                </a:lnTo>
                <a:lnTo>
                  <a:pt x="1461" y="1462"/>
                </a:lnTo>
                <a:lnTo>
                  <a:pt x="1467" y="1473"/>
                </a:lnTo>
                <a:lnTo>
                  <a:pt x="1474" y="1485"/>
                </a:lnTo>
                <a:lnTo>
                  <a:pt x="1484" y="1498"/>
                </a:lnTo>
                <a:lnTo>
                  <a:pt x="1494" y="1511"/>
                </a:lnTo>
                <a:lnTo>
                  <a:pt x="1506" y="1525"/>
                </a:lnTo>
                <a:lnTo>
                  <a:pt x="1522" y="1539"/>
                </a:lnTo>
                <a:lnTo>
                  <a:pt x="1539" y="1552"/>
                </a:lnTo>
                <a:lnTo>
                  <a:pt x="1559" y="1564"/>
                </a:lnTo>
                <a:lnTo>
                  <a:pt x="1583" y="1576"/>
                </a:lnTo>
                <a:lnTo>
                  <a:pt x="1609" y="1587"/>
                </a:lnTo>
                <a:lnTo>
                  <a:pt x="1609" y="1587"/>
                </a:lnTo>
                <a:lnTo>
                  <a:pt x="1684" y="1556"/>
                </a:lnTo>
                <a:lnTo>
                  <a:pt x="1730" y="1534"/>
                </a:lnTo>
                <a:lnTo>
                  <a:pt x="1757" y="1521"/>
                </a:lnTo>
                <a:lnTo>
                  <a:pt x="1786" y="1506"/>
                </a:lnTo>
                <a:lnTo>
                  <a:pt x="1786" y="1506"/>
                </a:lnTo>
                <a:lnTo>
                  <a:pt x="1818" y="1489"/>
                </a:lnTo>
                <a:lnTo>
                  <a:pt x="1848" y="1472"/>
                </a:lnTo>
                <a:lnTo>
                  <a:pt x="1860" y="1464"/>
                </a:lnTo>
                <a:lnTo>
                  <a:pt x="1871" y="1457"/>
                </a:lnTo>
                <a:lnTo>
                  <a:pt x="1881" y="1449"/>
                </a:lnTo>
                <a:lnTo>
                  <a:pt x="1889" y="1442"/>
                </a:lnTo>
                <a:lnTo>
                  <a:pt x="1889" y="1442"/>
                </a:lnTo>
                <a:lnTo>
                  <a:pt x="1888" y="1440"/>
                </a:lnTo>
                <a:lnTo>
                  <a:pt x="1887" y="1438"/>
                </a:lnTo>
                <a:lnTo>
                  <a:pt x="1879" y="1431"/>
                </a:lnTo>
                <a:lnTo>
                  <a:pt x="1868" y="1420"/>
                </a:lnTo>
                <a:lnTo>
                  <a:pt x="1855" y="1406"/>
                </a:lnTo>
                <a:lnTo>
                  <a:pt x="1840" y="1388"/>
                </a:lnTo>
                <a:lnTo>
                  <a:pt x="1825" y="1369"/>
                </a:lnTo>
                <a:lnTo>
                  <a:pt x="1818" y="1358"/>
                </a:lnTo>
                <a:lnTo>
                  <a:pt x="1812" y="1345"/>
                </a:lnTo>
                <a:lnTo>
                  <a:pt x="1807" y="1334"/>
                </a:lnTo>
                <a:lnTo>
                  <a:pt x="1802" y="1321"/>
                </a:lnTo>
                <a:lnTo>
                  <a:pt x="1802" y="1321"/>
                </a:lnTo>
                <a:lnTo>
                  <a:pt x="1799" y="1308"/>
                </a:lnTo>
                <a:lnTo>
                  <a:pt x="1796" y="1297"/>
                </a:lnTo>
                <a:lnTo>
                  <a:pt x="1794" y="1288"/>
                </a:lnTo>
                <a:lnTo>
                  <a:pt x="1794" y="1279"/>
                </a:lnTo>
                <a:lnTo>
                  <a:pt x="1794" y="1272"/>
                </a:lnTo>
                <a:lnTo>
                  <a:pt x="1794" y="1267"/>
                </a:lnTo>
                <a:lnTo>
                  <a:pt x="1795" y="1263"/>
                </a:lnTo>
                <a:lnTo>
                  <a:pt x="1796" y="1261"/>
                </a:lnTo>
                <a:lnTo>
                  <a:pt x="1796" y="1261"/>
                </a:lnTo>
                <a:lnTo>
                  <a:pt x="1809" y="1278"/>
                </a:lnTo>
                <a:lnTo>
                  <a:pt x="1824" y="1295"/>
                </a:lnTo>
                <a:lnTo>
                  <a:pt x="1845" y="1316"/>
                </a:lnTo>
                <a:lnTo>
                  <a:pt x="1857" y="1327"/>
                </a:lnTo>
                <a:lnTo>
                  <a:pt x="1869" y="1338"/>
                </a:lnTo>
                <a:lnTo>
                  <a:pt x="1883" y="1349"/>
                </a:lnTo>
                <a:lnTo>
                  <a:pt x="1899" y="1361"/>
                </a:lnTo>
                <a:lnTo>
                  <a:pt x="1915" y="1372"/>
                </a:lnTo>
                <a:lnTo>
                  <a:pt x="1932" y="1381"/>
                </a:lnTo>
                <a:lnTo>
                  <a:pt x="1949" y="1390"/>
                </a:lnTo>
                <a:lnTo>
                  <a:pt x="1967" y="1398"/>
                </a:lnTo>
                <a:lnTo>
                  <a:pt x="1967" y="1398"/>
                </a:lnTo>
                <a:lnTo>
                  <a:pt x="2021" y="1370"/>
                </a:lnTo>
                <a:lnTo>
                  <a:pt x="2075" y="1340"/>
                </a:lnTo>
                <a:lnTo>
                  <a:pt x="2129" y="1307"/>
                </a:lnTo>
                <a:lnTo>
                  <a:pt x="2183" y="1273"/>
                </a:lnTo>
                <a:lnTo>
                  <a:pt x="2183" y="1273"/>
                </a:lnTo>
                <a:lnTo>
                  <a:pt x="2218" y="1249"/>
                </a:lnTo>
                <a:lnTo>
                  <a:pt x="2218" y="1249"/>
                </a:lnTo>
                <a:lnTo>
                  <a:pt x="2219" y="1248"/>
                </a:lnTo>
                <a:lnTo>
                  <a:pt x="2219" y="1248"/>
                </a:lnTo>
                <a:lnTo>
                  <a:pt x="2220" y="1246"/>
                </a:lnTo>
                <a:lnTo>
                  <a:pt x="2219" y="1244"/>
                </a:lnTo>
                <a:lnTo>
                  <a:pt x="2215" y="1237"/>
                </a:lnTo>
                <a:lnTo>
                  <a:pt x="2207" y="1228"/>
                </a:lnTo>
                <a:lnTo>
                  <a:pt x="2196" y="1217"/>
                </a:lnTo>
                <a:lnTo>
                  <a:pt x="2171" y="1193"/>
                </a:lnTo>
                <a:lnTo>
                  <a:pt x="2142" y="1164"/>
                </a:lnTo>
                <a:lnTo>
                  <a:pt x="2129" y="1150"/>
                </a:lnTo>
                <a:lnTo>
                  <a:pt x="2118" y="1136"/>
                </a:lnTo>
                <a:lnTo>
                  <a:pt x="2108" y="1121"/>
                </a:lnTo>
                <a:lnTo>
                  <a:pt x="2104" y="1114"/>
                </a:lnTo>
                <a:lnTo>
                  <a:pt x="2101" y="1108"/>
                </a:lnTo>
                <a:lnTo>
                  <a:pt x="2100" y="1101"/>
                </a:lnTo>
                <a:lnTo>
                  <a:pt x="2099" y="1095"/>
                </a:lnTo>
                <a:lnTo>
                  <a:pt x="2099" y="1089"/>
                </a:lnTo>
                <a:lnTo>
                  <a:pt x="2100" y="1084"/>
                </a:lnTo>
                <a:lnTo>
                  <a:pt x="2102" y="1078"/>
                </a:lnTo>
                <a:lnTo>
                  <a:pt x="2106" y="1073"/>
                </a:lnTo>
                <a:lnTo>
                  <a:pt x="2112" y="1069"/>
                </a:lnTo>
                <a:lnTo>
                  <a:pt x="2119" y="1065"/>
                </a:lnTo>
                <a:lnTo>
                  <a:pt x="2119" y="1065"/>
                </a:lnTo>
                <a:lnTo>
                  <a:pt x="2125" y="1061"/>
                </a:lnTo>
                <a:lnTo>
                  <a:pt x="2130" y="1056"/>
                </a:lnTo>
                <a:lnTo>
                  <a:pt x="2133" y="1051"/>
                </a:lnTo>
                <a:lnTo>
                  <a:pt x="2135" y="1045"/>
                </a:lnTo>
                <a:lnTo>
                  <a:pt x="2136" y="1039"/>
                </a:lnTo>
                <a:lnTo>
                  <a:pt x="2136" y="1030"/>
                </a:lnTo>
                <a:lnTo>
                  <a:pt x="2136" y="1023"/>
                </a:lnTo>
                <a:lnTo>
                  <a:pt x="2134" y="1014"/>
                </a:lnTo>
                <a:lnTo>
                  <a:pt x="2129" y="997"/>
                </a:lnTo>
                <a:lnTo>
                  <a:pt x="2121" y="977"/>
                </a:lnTo>
                <a:lnTo>
                  <a:pt x="2102" y="935"/>
                </a:lnTo>
                <a:lnTo>
                  <a:pt x="2093" y="914"/>
                </a:lnTo>
                <a:lnTo>
                  <a:pt x="2085" y="893"/>
                </a:lnTo>
                <a:lnTo>
                  <a:pt x="2078" y="873"/>
                </a:lnTo>
                <a:lnTo>
                  <a:pt x="2076" y="863"/>
                </a:lnTo>
                <a:lnTo>
                  <a:pt x="2074" y="853"/>
                </a:lnTo>
                <a:lnTo>
                  <a:pt x="2074" y="844"/>
                </a:lnTo>
                <a:lnTo>
                  <a:pt x="2074" y="836"/>
                </a:lnTo>
                <a:lnTo>
                  <a:pt x="2075" y="828"/>
                </a:lnTo>
                <a:lnTo>
                  <a:pt x="2077" y="821"/>
                </a:lnTo>
                <a:lnTo>
                  <a:pt x="2080" y="814"/>
                </a:lnTo>
                <a:lnTo>
                  <a:pt x="2085" y="807"/>
                </a:lnTo>
                <a:lnTo>
                  <a:pt x="2091" y="801"/>
                </a:lnTo>
                <a:lnTo>
                  <a:pt x="2099" y="797"/>
                </a:lnTo>
                <a:lnTo>
                  <a:pt x="2099" y="797"/>
                </a:lnTo>
                <a:lnTo>
                  <a:pt x="2200" y="744"/>
                </a:lnTo>
                <a:lnTo>
                  <a:pt x="2306" y="693"/>
                </a:lnTo>
                <a:lnTo>
                  <a:pt x="2410" y="642"/>
                </a:lnTo>
                <a:lnTo>
                  <a:pt x="2513" y="592"/>
                </a:lnTo>
                <a:lnTo>
                  <a:pt x="2705" y="501"/>
                </a:lnTo>
                <a:lnTo>
                  <a:pt x="2788" y="461"/>
                </a:lnTo>
                <a:lnTo>
                  <a:pt x="2863" y="424"/>
                </a:lnTo>
                <a:lnTo>
                  <a:pt x="2863" y="424"/>
                </a:lnTo>
                <a:lnTo>
                  <a:pt x="2859" y="408"/>
                </a:lnTo>
                <a:lnTo>
                  <a:pt x="2853" y="389"/>
                </a:lnTo>
                <a:lnTo>
                  <a:pt x="2843" y="366"/>
                </a:lnTo>
                <a:lnTo>
                  <a:pt x="2836" y="354"/>
                </a:lnTo>
                <a:lnTo>
                  <a:pt x="2829" y="339"/>
                </a:lnTo>
                <a:lnTo>
                  <a:pt x="2821" y="325"/>
                </a:lnTo>
                <a:lnTo>
                  <a:pt x="2812" y="311"/>
                </a:lnTo>
                <a:lnTo>
                  <a:pt x="2801" y="296"/>
                </a:lnTo>
                <a:lnTo>
                  <a:pt x="2788" y="281"/>
                </a:lnTo>
                <a:lnTo>
                  <a:pt x="2774" y="267"/>
                </a:lnTo>
                <a:lnTo>
                  <a:pt x="2759" y="25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5" name="Freeform 32"/>
          <p:cNvSpPr>
            <a:spLocks/>
          </p:cNvSpPr>
          <p:nvPr userDrawn="1"/>
        </p:nvSpPr>
        <p:spPr bwMode="auto">
          <a:xfrm>
            <a:off x="7194550" y="1861840"/>
            <a:ext cx="161925" cy="153988"/>
          </a:xfrm>
          <a:custGeom>
            <a:avLst/>
            <a:gdLst>
              <a:gd name="T0" fmla="*/ 2 w 1226"/>
              <a:gd name="T1" fmla="*/ 386 h 1168"/>
              <a:gd name="T2" fmla="*/ 22 w 1226"/>
              <a:gd name="T3" fmla="*/ 434 h 1168"/>
              <a:gd name="T4" fmla="*/ 61 w 1226"/>
              <a:gd name="T5" fmla="*/ 466 h 1168"/>
              <a:gd name="T6" fmla="*/ 120 w 1226"/>
              <a:gd name="T7" fmla="*/ 479 h 1168"/>
              <a:gd name="T8" fmla="*/ 142 w 1226"/>
              <a:gd name="T9" fmla="*/ 469 h 1168"/>
              <a:gd name="T10" fmla="*/ 160 w 1226"/>
              <a:gd name="T11" fmla="*/ 436 h 1168"/>
              <a:gd name="T12" fmla="*/ 164 w 1226"/>
              <a:gd name="T13" fmla="*/ 370 h 1168"/>
              <a:gd name="T14" fmla="*/ 174 w 1226"/>
              <a:gd name="T15" fmla="*/ 344 h 1168"/>
              <a:gd name="T16" fmla="*/ 198 w 1226"/>
              <a:gd name="T17" fmla="*/ 331 h 1168"/>
              <a:gd name="T18" fmla="*/ 223 w 1226"/>
              <a:gd name="T19" fmla="*/ 318 h 1168"/>
              <a:gd name="T20" fmla="*/ 427 w 1226"/>
              <a:gd name="T21" fmla="*/ 416 h 1168"/>
              <a:gd name="T22" fmla="*/ 628 w 1226"/>
              <a:gd name="T23" fmla="*/ 534 h 1168"/>
              <a:gd name="T24" fmla="*/ 876 w 1226"/>
              <a:gd name="T25" fmla="*/ 703 h 1168"/>
              <a:gd name="T26" fmla="*/ 868 w 1226"/>
              <a:gd name="T27" fmla="*/ 783 h 1168"/>
              <a:gd name="T28" fmla="*/ 779 w 1226"/>
              <a:gd name="T29" fmla="*/ 957 h 1168"/>
              <a:gd name="T30" fmla="*/ 753 w 1226"/>
              <a:gd name="T31" fmla="*/ 1040 h 1168"/>
              <a:gd name="T32" fmla="*/ 754 w 1226"/>
              <a:gd name="T33" fmla="*/ 1090 h 1168"/>
              <a:gd name="T34" fmla="*/ 771 w 1226"/>
              <a:gd name="T35" fmla="*/ 1130 h 1168"/>
              <a:gd name="T36" fmla="*/ 801 w 1226"/>
              <a:gd name="T37" fmla="*/ 1157 h 1168"/>
              <a:gd name="T38" fmla="*/ 842 w 1226"/>
              <a:gd name="T39" fmla="*/ 1168 h 1168"/>
              <a:gd name="T40" fmla="*/ 880 w 1226"/>
              <a:gd name="T41" fmla="*/ 1163 h 1168"/>
              <a:gd name="T42" fmla="*/ 919 w 1226"/>
              <a:gd name="T43" fmla="*/ 1140 h 1168"/>
              <a:gd name="T44" fmla="*/ 944 w 1226"/>
              <a:gd name="T45" fmla="*/ 1107 h 1168"/>
              <a:gd name="T46" fmla="*/ 952 w 1226"/>
              <a:gd name="T47" fmla="*/ 1060 h 1168"/>
              <a:gd name="T48" fmla="*/ 930 w 1226"/>
              <a:gd name="T49" fmla="*/ 1010 h 1168"/>
              <a:gd name="T50" fmla="*/ 885 w 1226"/>
              <a:gd name="T51" fmla="*/ 989 h 1168"/>
              <a:gd name="T52" fmla="*/ 919 w 1226"/>
              <a:gd name="T53" fmla="*/ 879 h 1168"/>
              <a:gd name="T54" fmla="*/ 954 w 1226"/>
              <a:gd name="T55" fmla="*/ 807 h 1168"/>
              <a:gd name="T56" fmla="*/ 1024 w 1226"/>
              <a:gd name="T57" fmla="*/ 715 h 1168"/>
              <a:gd name="T58" fmla="*/ 1095 w 1226"/>
              <a:gd name="T59" fmla="*/ 673 h 1168"/>
              <a:gd name="T60" fmla="*/ 1125 w 1226"/>
              <a:gd name="T61" fmla="*/ 670 h 1168"/>
              <a:gd name="T62" fmla="*/ 1099 w 1226"/>
              <a:gd name="T63" fmla="*/ 633 h 1168"/>
              <a:gd name="T64" fmla="*/ 1083 w 1226"/>
              <a:gd name="T65" fmla="*/ 543 h 1168"/>
              <a:gd name="T66" fmla="*/ 1096 w 1226"/>
              <a:gd name="T67" fmla="*/ 477 h 1168"/>
              <a:gd name="T68" fmla="*/ 1132 w 1226"/>
              <a:gd name="T69" fmla="*/ 395 h 1168"/>
              <a:gd name="T70" fmla="*/ 1195 w 1226"/>
              <a:gd name="T71" fmla="*/ 258 h 1168"/>
              <a:gd name="T72" fmla="*/ 1225 w 1226"/>
              <a:gd name="T73" fmla="*/ 141 h 1168"/>
              <a:gd name="T74" fmla="*/ 1217 w 1226"/>
              <a:gd name="T75" fmla="*/ 95 h 1168"/>
              <a:gd name="T76" fmla="*/ 1187 w 1226"/>
              <a:gd name="T77" fmla="*/ 55 h 1168"/>
              <a:gd name="T78" fmla="*/ 1144 w 1226"/>
              <a:gd name="T79" fmla="*/ 34 h 1168"/>
              <a:gd name="T80" fmla="*/ 1104 w 1226"/>
              <a:gd name="T81" fmla="*/ 35 h 1168"/>
              <a:gd name="T82" fmla="*/ 1061 w 1226"/>
              <a:gd name="T83" fmla="*/ 57 h 1168"/>
              <a:gd name="T84" fmla="*/ 1033 w 1226"/>
              <a:gd name="T85" fmla="*/ 94 h 1168"/>
              <a:gd name="T86" fmla="*/ 1025 w 1226"/>
              <a:gd name="T87" fmla="*/ 139 h 1168"/>
              <a:gd name="T88" fmla="*/ 1048 w 1226"/>
              <a:gd name="T89" fmla="*/ 205 h 1168"/>
              <a:gd name="T90" fmla="*/ 1095 w 1226"/>
              <a:gd name="T91" fmla="*/ 230 h 1168"/>
              <a:gd name="T92" fmla="*/ 1107 w 1226"/>
              <a:gd name="T93" fmla="*/ 240 h 1168"/>
              <a:gd name="T94" fmla="*/ 1044 w 1226"/>
              <a:gd name="T95" fmla="*/ 390 h 1168"/>
              <a:gd name="T96" fmla="*/ 975 w 1226"/>
              <a:gd name="T97" fmla="*/ 431 h 1168"/>
              <a:gd name="T98" fmla="*/ 717 w 1226"/>
              <a:gd name="T99" fmla="*/ 289 h 1168"/>
              <a:gd name="T100" fmla="*/ 529 w 1226"/>
              <a:gd name="T101" fmla="*/ 205 h 1168"/>
              <a:gd name="T102" fmla="*/ 317 w 1226"/>
              <a:gd name="T103" fmla="*/ 140 h 1168"/>
              <a:gd name="T104" fmla="*/ 378 w 1226"/>
              <a:gd name="T105" fmla="*/ 31 h 1168"/>
              <a:gd name="T106" fmla="*/ 389 w 1226"/>
              <a:gd name="T107" fmla="*/ 0 h 1168"/>
              <a:gd name="T108" fmla="*/ 367 w 1226"/>
              <a:gd name="T109" fmla="*/ 10 h 1168"/>
              <a:gd name="T110" fmla="*/ 285 w 1226"/>
              <a:gd name="T111" fmla="*/ 57 h 1168"/>
              <a:gd name="T112" fmla="*/ 211 w 1226"/>
              <a:gd name="T113" fmla="*/ 85 h 1168"/>
              <a:gd name="T114" fmla="*/ 147 w 1226"/>
              <a:gd name="T115" fmla="*/ 85 h 1168"/>
              <a:gd name="T116" fmla="*/ 114 w 1226"/>
              <a:gd name="T117" fmla="*/ 85 h 1168"/>
              <a:gd name="T118" fmla="*/ 87 w 1226"/>
              <a:gd name="T119" fmla="*/ 134 h 1168"/>
              <a:gd name="T120" fmla="*/ 42 w 1226"/>
              <a:gd name="T121" fmla="*/ 261 h 1168"/>
              <a:gd name="T122" fmla="*/ 6 w 1226"/>
              <a:gd name="T123" fmla="*/ 327 h 1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6" h="1168">
                <a:moveTo>
                  <a:pt x="1" y="345"/>
                </a:moveTo>
                <a:lnTo>
                  <a:pt x="1" y="345"/>
                </a:lnTo>
                <a:lnTo>
                  <a:pt x="0" y="359"/>
                </a:lnTo>
                <a:lnTo>
                  <a:pt x="0" y="370"/>
                </a:lnTo>
                <a:lnTo>
                  <a:pt x="2" y="386"/>
                </a:lnTo>
                <a:lnTo>
                  <a:pt x="5" y="401"/>
                </a:lnTo>
                <a:lnTo>
                  <a:pt x="8" y="409"/>
                </a:lnTo>
                <a:lnTo>
                  <a:pt x="11" y="417"/>
                </a:lnTo>
                <a:lnTo>
                  <a:pt x="16" y="425"/>
                </a:lnTo>
                <a:lnTo>
                  <a:pt x="22" y="434"/>
                </a:lnTo>
                <a:lnTo>
                  <a:pt x="28" y="442"/>
                </a:lnTo>
                <a:lnTo>
                  <a:pt x="36" y="449"/>
                </a:lnTo>
                <a:lnTo>
                  <a:pt x="36" y="449"/>
                </a:lnTo>
                <a:lnTo>
                  <a:pt x="48" y="458"/>
                </a:lnTo>
                <a:lnTo>
                  <a:pt x="61" y="466"/>
                </a:lnTo>
                <a:lnTo>
                  <a:pt x="76" y="473"/>
                </a:lnTo>
                <a:lnTo>
                  <a:pt x="91" y="478"/>
                </a:lnTo>
                <a:lnTo>
                  <a:pt x="105" y="480"/>
                </a:lnTo>
                <a:lnTo>
                  <a:pt x="113" y="480"/>
                </a:lnTo>
                <a:lnTo>
                  <a:pt x="120" y="479"/>
                </a:lnTo>
                <a:lnTo>
                  <a:pt x="126" y="478"/>
                </a:lnTo>
                <a:lnTo>
                  <a:pt x="132" y="476"/>
                </a:lnTo>
                <a:lnTo>
                  <a:pt x="137" y="473"/>
                </a:lnTo>
                <a:lnTo>
                  <a:pt x="142" y="469"/>
                </a:lnTo>
                <a:lnTo>
                  <a:pt x="142" y="469"/>
                </a:lnTo>
                <a:lnTo>
                  <a:pt x="147" y="464"/>
                </a:lnTo>
                <a:lnTo>
                  <a:pt x="152" y="457"/>
                </a:lnTo>
                <a:lnTo>
                  <a:pt x="155" y="451"/>
                </a:lnTo>
                <a:lnTo>
                  <a:pt x="158" y="444"/>
                </a:lnTo>
                <a:lnTo>
                  <a:pt x="160" y="436"/>
                </a:lnTo>
                <a:lnTo>
                  <a:pt x="161" y="428"/>
                </a:lnTo>
                <a:lnTo>
                  <a:pt x="162" y="411"/>
                </a:lnTo>
                <a:lnTo>
                  <a:pt x="162" y="395"/>
                </a:lnTo>
                <a:lnTo>
                  <a:pt x="163" y="378"/>
                </a:lnTo>
                <a:lnTo>
                  <a:pt x="164" y="370"/>
                </a:lnTo>
                <a:lnTo>
                  <a:pt x="166" y="362"/>
                </a:lnTo>
                <a:lnTo>
                  <a:pt x="168" y="355"/>
                </a:lnTo>
                <a:lnTo>
                  <a:pt x="172" y="347"/>
                </a:lnTo>
                <a:lnTo>
                  <a:pt x="172" y="347"/>
                </a:lnTo>
                <a:lnTo>
                  <a:pt x="174" y="344"/>
                </a:lnTo>
                <a:lnTo>
                  <a:pt x="178" y="341"/>
                </a:lnTo>
                <a:lnTo>
                  <a:pt x="187" y="335"/>
                </a:lnTo>
                <a:lnTo>
                  <a:pt x="195" y="332"/>
                </a:lnTo>
                <a:lnTo>
                  <a:pt x="198" y="331"/>
                </a:lnTo>
                <a:lnTo>
                  <a:pt x="198" y="331"/>
                </a:lnTo>
                <a:lnTo>
                  <a:pt x="205" y="329"/>
                </a:lnTo>
                <a:lnTo>
                  <a:pt x="211" y="326"/>
                </a:lnTo>
                <a:lnTo>
                  <a:pt x="217" y="323"/>
                </a:lnTo>
                <a:lnTo>
                  <a:pt x="223" y="318"/>
                </a:lnTo>
                <a:lnTo>
                  <a:pt x="223" y="318"/>
                </a:lnTo>
                <a:lnTo>
                  <a:pt x="264" y="337"/>
                </a:lnTo>
                <a:lnTo>
                  <a:pt x="305" y="355"/>
                </a:lnTo>
                <a:lnTo>
                  <a:pt x="347" y="374"/>
                </a:lnTo>
                <a:lnTo>
                  <a:pt x="388" y="395"/>
                </a:lnTo>
                <a:lnTo>
                  <a:pt x="427" y="416"/>
                </a:lnTo>
                <a:lnTo>
                  <a:pt x="468" y="439"/>
                </a:lnTo>
                <a:lnTo>
                  <a:pt x="509" y="461"/>
                </a:lnTo>
                <a:lnTo>
                  <a:pt x="549" y="485"/>
                </a:lnTo>
                <a:lnTo>
                  <a:pt x="589" y="509"/>
                </a:lnTo>
                <a:lnTo>
                  <a:pt x="628" y="534"/>
                </a:lnTo>
                <a:lnTo>
                  <a:pt x="706" y="584"/>
                </a:lnTo>
                <a:lnTo>
                  <a:pt x="782" y="636"/>
                </a:lnTo>
                <a:lnTo>
                  <a:pt x="857" y="689"/>
                </a:lnTo>
                <a:lnTo>
                  <a:pt x="857" y="689"/>
                </a:lnTo>
                <a:lnTo>
                  <a:pt x="876" y="703"/>
                </a:lnTo>
                <a:lnTo>
                  <a:pt x="894" y="714"/>
                </a:lnTo>
                <a:lnTo>
                  <a:pt x="894" y="714"/>
                </a:lnTo>
                <a:lnTo>
                  <a:pt x="887" y="736"/>
                </a:lnTo>
                <a:lnTo>
                  <a:pt x="878" y="759"/>
                </a:lnTo>
                <a:lnTo>
                  <a:pt x="868" y="783"/>
                </a:lnTo>
                <a:lnTo>
                  <a:pt x="856" y="809"/>
                </a:lnTo>
                <a:lnTo>
                  <a:pt x="856" y="809"/>
                </a:lnTo>
                <a:lnTo>
                  <a:pt x="816" y="885"/>
                </a:lnTo>
                <a:lnTo>
                  <a:pt x="797" y="921"/>
                </a:lnTo>
                <a:lnTo>
                  <a:pt x="779" y="957"/>
                </a:lnTo>
                <a:lnTo>
                  <a:pt x="772" y="975"/>
                </a:lnTo>
                <a:lnTo>
                  <a:pt x="766" y="992"/>
                </a:lnTo>
                <a:lnTo>
                  <a:pt x="760" y="1008"/>
                </a:lnTo>
                <a:lnTo>
                  <a:pt x="756" y="1025"/>
                </a:lnTo>
                <a:lnTo>
                  <a:pt x="753" y="1040"/>
                </a:lnTo>
                <a:lnTo>
                  <a:pt x="751" y="1054"/>
                </a:lnTo>
                <a:lnTo>
                  <a:pt x="751" y="1069"/>
                </a:lnTo>
                <a:lnTo>
                  <a:pt x="752" y="1081"/>
                </a:lnTo>
                <a:lnTo>
                  <a:pt x="752" y="1081"/>
                </a:lnTo>
                <a:lnTo>
                  <a:pt x="754" y="1090"/>
                </a:lnTo>
                <a:lnTo>
                  <a:pt x="756" y="1099"/>
                </a:lnTo>
                <a:lnTo>
                  <a:pt x="759" y="1107"/>
                </a:lnTo>
                <a:lnTo>
                  <a:pt x="762" y="1116"/>
                </a:lnTo>
                <a:lnTo>
                  <a:pt x="766" y="1123"/>
                </a:lnTo>
                <a:lnTo>
                  <a:pt x="771" y="1130"/>
                </a:lnTo>
                <a:lnTo>
                  <a:pt x="776" y="1136"/>
                </a:lnTo>
                <a:lnTo>
                  <a:pt x="781" y="1142"/>
                </a:lnTo>
                <a:lnTo>
                  <a:pt x="787" y="1147"/>
                </a:lnTo>
                <a:lnTo>
                  <a:pt x="794" y="1152"/>
                </a:lnTo>
                <a:lnTo>
                  <a:pt x="801" y="1157"/>
                </a:lnTo>
                <a:lnTo>
                  <a:pt x="808" y="1160"/>
                </a:lnTo>
                <a:lnTo>
                  <a:pt x="816" y="1163"/>
                </a:lnTo>
                <a:lnTo>
                  <a:pt x="824" y="1165"/>
                </a:lnTo>
                <a:lnTo>
                  <a:pt x="833" y="1167"/>
                </a:lnTo>
                <a:lnTo>
                  <a:pt x="842" y="1168"/>
                </a:lnTo>
                <a:lnTo>
                  <a:pt x="842" y="1168"/>
                </a:lnTo>
                <a:lnTo>
                  <a:pt x="852" y="1168"/>
                </a:lnTo>
                <a:lnTo>
                  <a:pt x="862" y="1167"/>
                </a:lnTo>
                <a:lnTo>
                  <a:pt x="871" y="1165"/>
                </a:lnTo>
                <a:lnTo>
                  <a:pt x="880" y="1163"/>
                </a:lnTo>
                <a:lnTo>
                  <a:pt x="889" y="1160"/>
                </a:lnTo>
                <a:lnTo>
                  <a:pt x="897" y="1155"/>
                </a:lnTo>
                <a:lnTo>
                  <a:pt x="905" y="1151"/>
                </a:lnTo>
                <a:lnTo>
                  <a:pt x="912" y="1146"/>
                </a:lnTo>
                <a:lnTo>
                  <a:pt x="919" y="1140"/>
                </a:lnTo>
                <a:lnTo>
                  <a:pt x="925" y="1135"/>
                </a:lnTo>
                <a:lnTo>
                  <a:pt x="931" y="1129"/>
                </a:lnTo>
                <a:lnTo>
                  <a:pt x="936" y="1122"/>
                </a:lnTo>
                <a:lnTo>
                  <a:pt x="940" y="1115"/>
                </a:lnTo>
                <a:lnTo>
                  <a:pt x="944" y="1107"/>
                </a:lnTo>
                <a:lnTo>
                  <a:pt x="947" y="1100"/>
                </a:lnTo>
                <a:lnTo>
                  <a:pt x="949" y="1092"/>
                </a:lnTo>
                <a:lnTo>
                  <a:pt x="949" y="1092"/>
                </a:lnTo>
                <a:lnTo>
                  <a:pt x="951" y="1076"/>
                </a:lnTo>
                <a:lnTo>
                  <a:pt x="952" y="1060"/>
                </a:lnTo>
                <a:lnTo>
                  <a:pt x="950" y="1048"/>
                </a:lnTo>
                <a:lnTo>
                  <a:pt x="947" y="1036"/>
                </a:lnTo>
                <a:lnTo>
                  <a:pt x="942" y="1027"/>
                </a:lnTo>
                <a:lnTo>
                  <a:pt x="937" y="1017"/>
                </a:lnTo>
                <a:lnTo>
                  <a:pt x="930" y="1010"/>
                </a:lnTo>
                <a:lnTo>
                  <a:pt x="922" y="1005"/>
                </a:lnTo>
                <a:lnTo>
                  <a:pt x="915" y="1000"/>
                </a:lnTo>
                <a:lnTo>
                  <a:pt x="908" y="996"/>
                </a:lnTo>
                <a:lnTo>
                  <a:pt x="894" y="991"/>
                </a:lnTo>
                <a:lnTo>
                  <a:pt x="885" y="989"/>
                </a:lnTo>
                <a:lnTo>
                  <a:pt x="880" y="989"/>
                </a:lnTo>
                <a:lnTo>
                  <a:pt x="880" y="989"/>
                </a:lnTo>
                <a:lnTo>
                  <a:pt x="896" y="944"/>
                </a:lnTo>
                <a:lnTo>
                  <a:pt x="908" y="908"/>
                </a:lnTo>
                <a:lnTo>
                  <a:pt x="919" y="879"/>
                </a:lnTo>
                <a:lnTo>
                  <a:pt x="919" y="879"/>
                </a:lnTo>
                <a:lnTo>
                  <a:pt x="927" y="859"/>
                </a:lnTo>
                <a:lnTo>
                  <a:pt x="937" y="841"/>
                </a:lnTo>
                <a:lnTo>
                  <a:pt x="945" y="823"/>
                </a:lnTo>
                <a:lnTo>
                  <a:pt x="954" y="807"/>
                </a:lnTo>
                <a:lnTo>
                  <a:pt x="962" y="792"/>
                </a:lnTo>
                <a:lnTo>
                  <a:pt x="971" y="777"/>
                </a:lnTo>
                <a:lnTo>
                  <a:pt x="989" y="753"/>
                </a:lnTo>
                <a:lnTo>
                  <a:pt x="1006" y="732"/>
                </a:lnTo>
                <a:lnTo>
                  <a:pt x="1024" y="715"/>
                </a:lnTo>
                <a:lnTo>
                  <a:pt x="1040" y="702"/>
                </a:lnTo>
                <a:lnTo>
                  <a:pt x="1055" y="690"/>
                </a:lnTo>
                <a:lnTo>
                  <a:pt x="1070" y="683"/>
                </a:lnTo>
                <a:lnTo>
                  <a:pt x="1083" y="677"/>
                </a:lnTo>
                <a:lnTo>
                  <a:pt x="1095" y="673"/>
                </a:lnTo>
                <a:lnTo>
                  <a:pt x="1105" y="671"/>
                </a:lnTo>
                <a:lnTo>
                  <a:pt x="1114" y="670"/>
                </a:lnTo>
                <a:lnTo>
                  <a:pt x="1120" y="670"/>
                </a:lnTo>
                <a:lnTo>
                  <a:pt x="1125" y="670"/>
                </a:lnTo>
                <a:lnTo>
                  <a:pt x="1125" y="670"/>
                </a:lnTo>
                <a:lnTo>
                  <a:pt x="1121" y="666"/>
                </a:lnTo>
                <a:lnTo>
                  <a:pt x="1116" y="661"/>
                </a:lnTo>
                <a:lnTo>
                  <a:pt x="1111" y="653"/>
                </a:lnTo>
                <a:lnTo>
                  <a:pt x="1104" y="644"/>
                </a:lnTo>
                <a:lnTo>
                  <a:pt x="1099" y="633"/>
                </a:lnTo>
                <a:lnTo>
                  <a:pt x="1093" y="620"/>
                </a:lnTo>
                <a:lnTo>
                  <a:pt x="1088" y="603"/>
                </a:lnTo>
                <a:lnTo>
                  <a:pt x="1085" y="586"/>
                </a:lnTo>
                <a:lnTo>
                  <a:pt x="1083" y="566"/>
                </a:lnTo>
                <a:lnTo>
                  <a:pt x="1083" y="543"/>
                </a:lnTo>
                <a:lnTo>
                  <a:pt x="1084" y="531"/>
                </a:lnTo>
                <a:lnTo>
                  <a:pt x="1086" y="519"/>
                </a:lnTo>
                <a:lnTo>
                  <a:pt x="1088" y="505"/>
                </a:lnTo>
                <a:lnTo>
                  <a:pt x="1092" y="491"/>
                </a:lnTo>
                <a:lnTo>
                  <a:pt x="1096" y="477"/>
                </a:lnTo>
                <a:lnTo>
                  <a:pt x="1101" y="461"/>
                </a:lnTo>
                <a:lnTo>
                  <a:pt x="1107" y="446"/>
                </a:lnTo>
                <a:lnTo>
                  <a:pt x="1115" y="430"/>
                </a:lnTo>
                <a:lnTo>
                  <a:pt x="1123" y="412"/>
                </a:lnTo>
                <a:lnTo>
                  <a:pt x="1132" y="395"/>
                </a:lnTo>
                <a:lnTo>
                  <a:pt x="1132" y="395"/>
                </a:lnTo>
                <a:lnTo>
                  <a:pt x="1152" y="358"/>
                </a:lnTo>
                <a:lnTo>
                  <a:pt x="1169" y="322"/>
                </a:lnTo>
                <a:lnTo>
                  <a:pt x="1184" y="289"/>
                </a:lnTo>
                <a:lnTo>
                  <a:pt x="1195" y="258"/>
                </a:lnTo>
                <a:lnTo>
                  <a:pt x="1206" y="227"/>
                </a:lnTo>
                <a:lnTo>
                  <a:pt x="1214" y="197"/>
                </a:lnTo>
                <a:lnTo>
                  <a:pt x="1220" y="169"/>
                </a:lnTo>
                <a:lnTo>
                  <a:pt x="1225" y="141"/>
                </a:lnTo>
                <a:lnTo>
                  <a:pt x="1225" y="141"/>
                </a:lnTo>
                <a:lnTo>
                  <a:pt x="1226" y="132"/>
                </a:lnTo>
                <a:lnTo>
                  <a:pt x="1225" y="123"/>
                </a:lnTo>
                <a:lnTo>
                  <a:pt x="1224" y="114"/>
                </a:lnTo>
                <a:lnTo>
                  <a:pt x="1221" y="104"/>
                </a:lnTo>
                <a:lnTo>
                  <a:pt x="1217" y="95"/>
                </a:lnTo>
                <a:lnTo>
                  <a:pt x="1213" y="87"/>
                </a:lnTo>
                <a:lnTo>
                  <a:pt x="1208" y="78"/>
                </a:lnTo>
                <a:lnTo>
                  <a:pt x="1202" y="70"/>
                </a:lnTo>
                <a:lnTo>
                  <a:pt x="1194" y="63"/>
                </a:lnTo>
                <a:lnTo>
                  <a:pt x="1187" y="55"/>
                </a:lnTo>
                <a:lnTo>
                  <a:pt x="1179" y="49"/>
                </a:lnTo>
                <a:lnTo>
                  <a:pt x="1171" y="44"/>
                </a:lnTo>
                <a:lnTo>
                  <a:pt x="1163" y="39"/>
                </a:lnTo>
                <a:lnTo>
                  <a:pt x="1153" y="36"/>
                </a:lnTo>
                <a:lnTo>
                  <a:pt x="1144" y="34"/>
                </a:lnTo>
                <a:lnTo>
                  <a:pt x="1134" y="32"/>
                </a:lnTo>
                <a:lnTo>
                  <a:pt x="1134" y="32"/>
                </a:lnTo>
                <a:lnTo>
                  <a:pt x="1124" y="32"/>
                </a:lnTo>
                <a:lnTo>
                  <a:pt x="1115" y="33"/>
                </a:lnTo>
                <a:lnTo>
                  <a:pt x="1104" y="35"/>
                </a:lnTo>
                <a:lnTo>
                  <a:pt x="1095" y="38"/>
                </a:lnTo>
                <a:lnTo>
                  <a:pt x="1086" y="42"/>
                </a:lnTo>
                <a:lnTo>
                  <a:pt x="1078" y="46"/>
                </a:lnTo>
                <a:lnTo>
                  <a:pt x="1070" y="52"/>
                </a:lnTo>
                <a:lnTo>
                  <a:pt x="1061" y="57"/>
                </a:lnTo>
                <a:lnTo>
                  <a:pt x="1054" y="65"/>
                </a:lnTo>
                <a:lnTo>
                  <a:pt x="1048" y="71"/>
                </a:lnTo>
                <a:lnTo>
                  <a:pt x="1042" y="78"/>
                </a:lnTo>
                <a:lnTo>
                  <a:pt x="1037" y="86"/>
                </a:lnTo>
                <a:lnTo>
                  <a:pt x="1033" y="94"/>
                </a:lnTo>
                <a:lnTo>
                  <a:pt x="1029" y="102"/>
                </a:lnTo>
                <a:lnTo>
                  <a:pt x="1027" y="111"/>
                </a:lnTo>
                <a:lnTo>
                  <a:pt x="1026" y="119"/>
                </a:lnTo>
                <a:lnTo>
                  <a:pt x="1026" y="119"/>
                </a:lnTo>
                <a:lnTo>
                  <a:pt x="1025" y="139"/>
                </a:lnTo>
                <a:lnTo>
                  <a:pt x="1026" y="158"/>
                </a:lnTo>
                <a:lnTo>
                  <a:pt x="1030" y="173"/>
                </a:lnTo>
                <a:lnTo>
                  <a:pt x="1035" y="185"/>
                </a:lnTo>
                <a:lnTo>
                  <a:pt x="1041" y="195"/>
                </a:lnTo>
                <a:lnTo>
                  <a:pt x="1048" y="205"/>
                </a:lnTo>
                <a:lnTo>
                  <a:pt x="1056" y="212"/>
                </a:lnTo>
                <a:lnTo>
                  <a:pt x="1065" y="217"/>
                </a:lnTo>
                <a:lnTo>
                  <a:pt x="1073" y="221"/>
                </a:lnTo>
                <a:lnTo>
                  <a:pt x="1081" y="225"/>
                </a:lnTo>
                <a:lnTo>
                  <a:pt x="1095" y="230"/>
                </a:lnTo>
                <a:lnTo>
                  <a:pt x="1101" y="232"/>
                </a:lnTo>
                <a:lnTo>
                  <a:pt x="1104" y="234"/>
                </a:lnTo>
                <a:lnTo>
                  <a:pt x="1107" y="237"/>
                </a:lnTo>
                <a:lnTo>
                  <a:pt x="1107" y="240"/>
                </a:lnTo>
                <a:lnTo>
                  <a:pt x="1107" y="240"/>
                </a:lnTo>
                <a:lnTo>
                  <a:pt x="1096" y="276"/>
                </a:lnTo>
                <a:lnTo>
                  <a:pt x="1084" y="309"/>
                </a:lnTo>
                <a:lnTo>
                  <a:pt x="1071" y="339"/>
                </a:lnTo>
                <a:lnTo>
                  <a:pt x="1057" y="365"/>
                </a:lnTo>
                <a:lnTo>
                  <a:pt x="1044" y="390"/>
                </a:lnTo>
                <a:lnTo>
                  <a:pt x="1031" y="411"/>
                </a:lnTo>
                <a:lnTo>
                  <a:pt x="1016" y="431"/>
                </a:lnTo>
                <a:lnTo>
                  <a:pt x="1002" y="447"/>
                </a:lnTo>
                <a:lnTo>
                  <a:pt x="1002" y="447"/>
                </a:lnTo>
                <a:lnTo>
                  <a:pt x="975" y="431"/>
                </a:lnTo>
                <a:lnTo>
                  <a:pt x="942" y="411"/>
                </a:lnTo>
                <a:lnTo>
                  <a:pt x="942" y="411"/>
                </a:lnTo>
                <a:lnTo>
                  <a:pt x="865" y="369"/>
                </a:lnTo>
                <a:lnTo>
                  <a:pt x="790" y="328"/>
                </a:lnTo>
                <a:lnTo>
                  <a:pt x="717" y="289"/>
                </a:lnTo>
                <a:lnTo>
                  <a:pt x="680" y="271"/>
                </a:lnTo>
                <a:lnTo>
                  <a:pt x="643" y="254"/>
                </a:lnTo>
                <a:lnTo>
                  <a:pt x="606" y="236"/>
                </a:lnTo>
                <a:lnTo>
                  <a:pt x="568" y="221"/>
                </a:lnTo>
                <a:lnTo>
                  <a:pt x="529" y="205"/>
                </a:lnTo>
                <a:lnTo>
                  <a:pt x="489" y="190"/>
                </a:lnTo>
                <a:lnTo>
                  <a:pt x="448" y="176"/>
                </a:lnTo>
                <a:lnTo>
                  <a:pt x="406" y="164"/>
                </a:lnTo>
                <a:lnTo>
                  <a:pt x="362" y="151"/>
                </a:lnTo>
                <a:lnTo>
                  <a:pt x="317" y="140"/>
                </a:lnTo>
                <a:lnTo>
                  <a:pt x="317" y="140"/>
                </a:lnTo>
                <a:lnTo>
                  <a:pt x="334" y="107"/>
                </a:lnTo>
                <a:lnTo>
                  <a:pt x="334" y="107"/>
                </a:lnTo>
                <a:lnTo>
                  <a:pt x="360" y="63"/>
                </a:lnTo>
                <a:lnTo>
                  <a:pt x="378" y="31"/>
                </a:lnTo>
                <a:lnTo>
                  <a:pt x="385" y="20"/>
                </a:lnTo>
                <a:lnTo>
                  <a:pt x="389" y="10"/>
                </a:lnTo>
                <a:lnTo>
                  <a:pt x="391" y="4"/>
                </a:lnTo>
                <a:lnTo>
                  <a:pt x="390" y="2"/>
                </a:lnTo>
                <a:lnTo>
                  <a:pt x="389" y="0"/>
                </a:lnTo>
                <a:lnTo>
                  <a:pt x="389" y="0"/>
                </a:lnTo>
                <a:lnTo>
                  <a:pt x="388" y="0"/>
                </a:lnTo>
                <a:lnTo>
                  <a:pt x="387" y="0"/>
                </a:lnTo>
                <a:lnTo>
                  <a:pt x="381" y="1"/>
                </a:lnTo>
                <a:lnTo>
                  <a:pt x="367" y="10"/>
                </a:lnTo>
                <a:lnTo>
                  <a:pt x="343" y="26"/>
                </a:lnTo>
                <a:lnTo>
                  <a:pt x="326" y="35"/>
                </a:lnTo>
                <a:lnTo>
                  <a:pt x="307" y="46"/>
                </a:lnTo>
                <a:lnTo>
                  <a:pt x="307" y="46"/>
                </a:lnTo>
                <a:lnTo>
                  <a:pt x="285" y="57"/>
                </a:lnTo>
                <a:lnTo>
                  <a:pt x="267" y="67"/>
                </a:lnTo>
                <a:lnTo>
                  <a:pt x="252" y="73"/>
                </a:lnTo>
                <a:lnTo>
                  <a:pt x="237" y="78"/>
                </a:lnTo>
                <a:lnTo>
                  <a:pt x="224" y="82"/>
                </a:lnTo>
                <a:lnTo>
                  <a:pt x="211" y="85"/>
                </a:lnTo>
                <a:lnTo>
                  <a:pt x="183" y="89"/>
                </a:lnTo>
                <a:lnTo>
                  <a:pt x="183" y="89"/>
                </a:lnTo>
                <a:lnTo>
                  <a:pt x="174" y="89"/>
                </a:lnTo>
                <a:lnTo>
                  <a:pt x="165" y="88"/>
                </a:lnTo>
                <a:lnTo>
                  <a:pt x="147" y="85"/>
                </a:lnTo>
                <a:lnTo>
                  <a:pt x="132" y="81"/>
                </a:lnTo>
                <a:lnTo>
                  <a:pt x="125" y="81"/>
                </a:lnTo>
                <a:lnTo>
                  <a:pt x="120" y="82"/>
                </a:lnTo>
                <a:lnTo>
                  <a:pt x="120" y="82"/>
                </a:lnTo>
                <a:lnTo>
                  <a:pt x="114" y="85"/>
                </a:lnTo>
                <a:lnTo>
                  <a:pt x="107" y="91"/>
                </a:lnTo>
                <a:lnTo>
                  <a:pt x="102" y="98"/>
                </a:lnTo>
                <a:lnTo>
                  <a:pt x="97" y="107"/>
                </a:lnTo>
                <a:lnTo>
                  <a:pt x="92" y="120"/>
                </a:lnTo>
                <a:lnTo>
                  <a:pt x="87" y="134"/>
                </a:lnTo>
                <a:lnTo>
                  <a:pt x="74" y="171"/>
                </a:lnTo>
                <a:lnTo>
                  <a:pt x="74" y="171"/>
                </a:lnTo>
                <a:lnTo>
                  <a:pt x="49" y="242"/>
                </a:lnTo>
                <a:lnTo>
                  <a:pt x="42" y="261"/>
                </a:lnTo>
                <a:lnTo>
                  <a:pt x="42" y="261"/>
                </a:lnTo>
                <a:lnTo>
                  <a:pt x="34" y="279"/>
                </a:lnTo>
                <a:lnTo>
                  <a:pt x="27" y="293"/>
                </a:lnTo>
                <a:lnTo>
                  <a:pt x="14" y="312"/>
                </a:lnTo>
                <a:lnTo>
                  <a:pt x="10" y="320"/>
                </a:lnTo>
                <a:lnTo>
                  <a:pt x="6" y="327"/>
                </a:lnTo>
                <a:lnTo>
                  <a:pt x="3" y="335"/>
                </a:lnTo>
                <a:lnTo>
                  <a:pt x="1" y="34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6" name="Freeform 33"/>
          <p:cNvSpPr>
            <a:spLocks/>
          </p:cNvSpPr>
          <p:nvPr userDrawn="1"/>
        </p:nvSpPr>
        <p:spPr bwMode="auto">
          <a:xfrm>
            <a:off x="7189787" y="1214140"/>
            <a:ext cx="39688" cy="46038"/>
          </a:xfrm>
          <a:custGeom>
            <a:avLst/>
            <a:gdLst>
              <a:gd name="T0" fmla="*/ 103 w 296"/>
              <a:gd name="T1" fmla="*/ 350 h 350"/>
              <a:gd name="T2" fmla="*/ 103 w 296"/>
              <a:gd name="T3" fmla="*/ 350 h 350"/>
              <a:gd name="T4" fmla="*/ 132 w 296"/>
              <a:gd name="T5" fmla="*/ 349 h 350"/>
              <a:gd name="T6" fmla="*/ 164 w 296"/>
              <a:gd name="T7" fmla="*/ 346 h 350"/>
              <a:gd name="T8" fmla="*/ 196 w 296"/>
              <a:gd name="T9" fmla="*/ 343 h 350"/>
              <a:gd name="T10" fmla="*/ 226 w 296"/>
              <a:gd name="T11" fmla="*/ 339 h 350"/>
              <a:gd name="T12" fmla="*/ 276 w 296"/>
              <a:gd name="T13" fmla="*/ 333 h 350"/>
              <a:gd name="T14" fmla="*/ 296 w 296"/>
              <a:gd name="T15" fmla="*/ 329 h 350"/>
              <a:gd name="T16" fmla="*/ 293 w 296"/>
              <a:gd name="T17" fmla="*/ 25 h 350"/>
              <a:gd name="T18" fmla="*/ 293 w 296"/>
              <a:gd name="T19" fmla="*/ 25 h 350"/>
              <a:gd name="T20" fmla="*/ 244 w 296"/>
              <a:gd name="T21" fmla="*/ 18 h 350"/>
              <a:gd name="T22" fmla="*/ 142 w 296"/>
              <a:gd name="T23" fmla="*/ 2 h 350"/>
              <a:gd name="T24" fmla="*/ 142 w 296"/>
              <a:gd name="T25" fmla="*/ 2 h 350"/>
              <a:gd name="T26" fmla="*/ 129 w 296"/>
              <a:gd name="T27" fmla="*/ 1 h 350"/>
              <a:gd name="T28" fmla="*/ 117 w 296"/>
              <a:gd name="T29" fmla="*/ 0 h 350"/>
              <a:gd name="T30" fmla="*/ 105 w 296"/>
              <a:gd name="T31" fmla="*/ 0 h 350"/>
              <a:gd name="T32" fmla="*/ 94 w 296"/>
              <a:gd name="T33" fmla="*/ 1 h 350"/>
              <a:gd name="T34" fmla="*/ 84 w 296"/>
              <a:gd name="T35" fmla="*/ 3 h 350"/>
              <a:gd name="T36" fmla="*/ 75 w 296"/>
              <a:gd name="T37" fmla="*/ 6 h 350"/>
              <a:gd name="T38" fmla="*/ 66 w 296"/>
              <a:gd name="T39" fmla="*/ 9 h 350"/>
              <a:gd name="T40" fmla="*/ 59 w 296"/>
              <a:gd name="T41" fmla="*/ 13 h 350"/>
              <a:gd name="T42" fmla="*/ 51 w 296"/>
              <a:gd name="T43" fmla="*/ 17 h 350"/>
              <a:gd name="T44" fmla="*/ 44 w 296"/>
              <a:gd name="T45" fmla="*/ 22 h 350"/>
              <a:gd name="T46" fmla="*/ 38 w 296"/>
              <a:gd name="T47" fmla="*/ 27 h 350"/>
              <a:gd name="T48" fmla="*/ 33 w 296"/>
              <a:gd name="T49" fmla="*/ 32 h 350"/>
              <a:gd name="T50" fmla="*/ 24 w 296"/>
              <a:gd name="T51" fmla="*/ 45 h 350"/>
              <a:gd name="T52" fmla="*/ 17 w 296"/>
              <a:gd name="T53" fmla="*/ 57 h 350"/>
              <a:gd name="T54" fmla="*/ 11 w 296"/>
              <a:gd name="T55" fmla="*/ 70 h 350"/>
              <a:gd name="T56" fmla="*/ 6 w 296"/>
              <a:gd name="T57" fmla="*/ 83 h 350"/>
              <a:gd name="T58" fmla="*/ 3 w 296"/>
              <a:gd name="T59" fmla="*/ 96 h 350"/>
              <a:gd name="T60" fmla="*/ 1 w 296"/>
              <a:gd name="T61" fmla="*/ 106 h 350"/>
              <a:gd name="T62" fmla="*/ 0 w 296"/>
              <a:gd name="T63" fmla="*/ 123 h 350"/>
              <a:gd name="T64" fmla="*/ 0 w 296"/>
              <a:gd name="T65" fmla="*/ 129 h 350"/>
              <a:gd name="T66" fmla="*/ 4 w 296"/>
              <a:gd name="T67" fmla="*/ 213 h 350"/>
              <a:gd name="T68" fmla="*/ 4 w 296"/>
              <a:gd name="T69" fmla="*/ 213 h 350"/>
              <a:gd name="T70" fmla="*/ 4 w 296"/>
              <a:gd name="T71" fmla="*/ 219 h 350"/>
              <a:gd name="T72" fmla="*/ 6 w 296"/>
              <a:gd name="T73" fmla="*/ 235 h 350"/>
              <a:gd name="T74" fmla="*/ 11 w 296"/>
              <a:gd name="T75" fmla="*/ 256 h 350"/>
              <a:gd name="T76" fmla="*/ 15 w 296"/>
              <a:gd name="T77" fmla="*/ 268 h 350"/>
              <a:gd name="T78" fmla="*/ 19 w 296"/>
              <a:gd name="T79" fmla="*/ 282 h 350"/>
              <a:gd name="T80" fmla="*/ 24 w 296"/>
              <a:gd name="T81" fmla="*/ 294 h 350"/>
              <a:gd name="T82" fmla="*/ 31 w 296"/>
              <a:gd name="T83" fmla="*/ 306 h 350"/>
              <a:gd name="T84" fmla="*/ 39 w 296"/>
              <a:gd name="T85" fmla="*/ 319 h 350"/>
              <a:gd name="T86" fmla="*/ 48 w 296"/>
              <a:gd name="T87" fmla="*/ 329 h 350"/>
              <a:gd name="T88" fmla="*/ 53 w 296"/>
              <a:gd name="T89" fmla="*/ 333 h 350"/>
              <a:gd name="T90" fmla="*/ 60 w 296"/>
              <a:gd name="T91" fmla="*/ 337 h 350"/>
              <a:gd name="T92" fmla="*/ 66 w 296"/>
              <a:gd name="T93" fmla="*/ 341 h 350"/>
              <a:gd name="T94" fmla="*/ 72 w 296"/>
              <a:gd name="T95" fmla="*/ 344 h 350"/>
              <a:gd name="T96" fmla="*/ 79 w 296"/>
              <a:gd name="T97" fmla="*/ 346 h 350"/>
              <a:gd name="T98" fmla="*/ 86 w 296"/>
              <a:gd name="T99" fmla="*/ 348 h 350"/>
              <a:gd name="T100" fmla="*/ 94 w 296"/>
              <a:gd name="T101" fmla="*/ 349 h 350"/>
              <a:gd name="T102" fmla="*/ 103 w 296"/>
              <a:gd name="T103" fmla="*/ 35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6" h="350">
                <a:moveTo>
                  <a:pt x="103" y="350"/>
                </a:moveTo>
                <a:lnTo>
                  <a:pt x="103" y="350"/>
                </a:lnTo>
                <a:lnTo>
                  <a:pt x="132" y="349"/>
                </a:lnTo>
                <a:lnTo>
                  <a:pt x="164" y="346"/>
                </a:lnTo>
                <a:lnTo>
                  <a:pt x="196" y="343"/>
                </a:lnTo>
                <a:lnTo>
                  <a:pt x="226" y="339"/>
                </a:lnTo>
                <a:lnTo>
                  <a:pt x="276" y="333"/>
                </a:lnTo>
                <a:lnTo>
                  <a:pt x="296" y="329"/>
                </a:lnTo>
                <a:lnTo>
                  <a:pt x="293" y="25"/>
                </a:lnTo>
                <a:lnTo>
                  <a:pt x="293" y="25"/>
                </a:lnTo>
                <a:lnTo>
                  <a:pt x="244" y="18"/>
                </a:lnTo>
                <a:lnTo>
                  <a:pt x="142" y="2"/>
                </a:lnTo>
                <a:lnTo>
                  <a:pt x="142" y="2"/>
                </a:lnTo>
                <a:lnTo>
                  <a:pt x="129" y="1"/>
                </a:lnTo>
                <a:lnTo>
                  <a:pt x="117" y="0"/>
                </a:lnTo>
                <a:lnTo>
                  <a:pt x="105" y="0"/>
                </a:lnTo>
                <a:lnTo>
                  <a:pt x="94" y="1"/>
                </a:lnTo>
                <a:lnTo>
                  <a:pt x="84" y="3"/>
                </a:lnTo>
                <a:lnTo>
                  <a:pt x="75" y="6"/>
                </a:lnTo>
                <a:lnTo>
                  <a:pt x="66" y="9"/>
                </a:lnTo>
                <a:lnTo>
                  <a:pt x="59" y="13"/>
                </a:lnTo>
                <a:lnTo>
                  <a:pt x="51" y="17"/>
                </a:lnTo>
                <a:lnTo>
                  <a:pt x="44" y="22"/>
                </a:lnTo>
                <a:lnTo>
                  <a:pt x="38" y="27"/>
                </a:lnTo>
                <a:lnTo>
                  <a:pt x="33" y="32"/>
                </a:lnTo>
                <a:lnTo>
                  <a:pt x="24" y="45"/>
                </a:lnTo>
                <a:lnTo>
                  <a:pt x="17" y="57"/>
                </a:lnTo>
                <a:lnTo>
                  <a:pt x="11" y="70"/>
                </a:lnTo>
                <a:lnTo>
                  <a:pt x="6" y="83"/>
                </a:lnTo>
                <a:lnTo>
                  <a:pt x="3" y="96"/>
                </a:lnTo>
                <a:lnTo>
                  <a:pt x="1" y="106"/>
                </a:lnTo>
                <a:lnTo>
                  <a:pt x="0" y="123"/>
                </a:lnTo>
                <a:lnTo>
                  <a:pt x="0" y="129"/>
                </a:lnTo>
                <a:lnTo>
                  <a:pt x="4" y="213"/>
                </a:lnTo>
                <a:lnTo>
                  <a:pt x="4" y="213"/>
                </a:lnTo>
                <a:lnTo>
                  <a:pt x="4" y="219"/>
                </a:lnTo>
                <a:lnTo>
                  <a:pt x="6" y="235"/>
                </a:lnTo>
                <a:lnTo>
                  <a:pt x="11" y="256"/>
                </a:lnTo>
                <a:lnTo>
                  <a:pt x="15" y="268"/>
                </a:lnTo>
                <a:lnTo>
                  <a:pt x="19" y="282"/>
                </a:lnTo>
                <a:lnTo>
                  <a:pt x="24" y="294"/>
                </a:lnTo>
                <a:lnTo>
                  <a:pt x="31" y="306"/>
                </a:lnTo>
                <a:lnTo>
                  <a:pt x="39" y="319"/>
                </a:lnTo>
                <a:lnTo>
                  <a:pt x="48" y="329"/>
                </a:lnTo>
                <a:lnTo>
                  <a:pt x="53" y="333"/>
                </a:lnTo>
                <a:lnTo>
                  <a:pt x="60" y="337"/>
                </a:lnTo>
                <a:lnTo>
                  <a:pt x="66" y="341"/>
                </a:lnTo>
                <a:lnTo>
                  <a:pt x="72" y="344"/>
                </a:lnTo>
                <a:lnTo>
                  <a:pt x="79" y="346"/>
                </a:lnTo>
                <a:lnTo>
                  <a:pt x="86" y="348"/>
                </a:lnTo>
                <a:lnTo>
                  <a:pt x="94" y="349"/>
                </a:lnTo>
                <a:lnTo>
                  <a:pt x="103" y="3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7" name="Freeform 34"/>
          <p:cNvSpPr>
            <a:spLocks/>
          </p:cNvSpPr>
          <p:nvPr userDrawn="1"/>
        </p:nvSpPr>
        <p:spPr bwMode="auto">
          <a:xfrm>
            <a:off x="7237412" y="1203028"/>
            <a:ext cx="60325" cy="57150"/>
          </a:xfrm>
          <a:custGeom>
            <a:avLst/>
            <a:gdLst>
              <a:gd name="T0" fmla="*/ 450 w 450"/>
              <a:gd name="T1" fmla="*/ 290 h 425"/>
              <a:gd name="T2" fmla="*/ 450 w 450"/>
              <a:gd name="T3" fmla="*/ 225 h 425"/>
              <a:gd name="T4" fmla="*/ 449 w 450"/>
              <a:gd name="T5" fmla="*/ 54 h 425"/>
              <a:gd name="T6" fmla="*/ 444 w 450"/>
              <a:gd name="T7" fmla="*/ 20 h 425"/>
              <a:gd name="T8" fmla="*/ 436 w 450"/>
              <a:gd name="T9" fmla="*/ 3 h 425"/>
              <a:gd name="T10" fmla="*/ 429 w 450"/>
              <a:gd name="T11" fmla="*/ 0 h 425"/>
              <a:gd name="T12" fmla="*/ 367 w 450"/>
              <a:gd name="T13" fmla="*/ 2 h 425"/>
              <a:gd name="T14" fmla="*/ 362 w 450"/>
              <a:gd name="T15" fmla="*/ 14 h 425"/>
              <a:gd name="T16" fmla="*/ 347 w 450"/>
              <a:gd name="T17" fmla="*/ 59 h 425"/>
              <a:gd name="T18" fmla="*/ 325 w 450"/>
              <a:gd name="T19" fmla="*/ 2 h 425"/>
              <a:gd name="T20" fmla="*/ 261 w 450"/>
              <a:gd name="T21" fmla="*/ 2 h 425"/>
              <a:gd name="T22" fmla="*/ 242 w 450"/>
              <a:gd name="T23" fmla="*/ 16 h 425"/>
              <a:gd name="T24" fmla="*/ 224 w 450"/>
              <a:gd name="T25" fmla="*/ 64 h 425"/>
              <a:gd name="T26" fmla="*/ 192 w 450"/>
              <a:gd name="T27" fmla="*/ 4 h 425"/>
              <a:gd name="T28" fmla="*/ 135 w 450"/>
              <a:gd name="T29" fmla="*/ 6 h 425"/>
              <a:gd name="T30" fmla="*/ 127 w 450"/>
              <a:gd name="T31" fmla="*/ 11 h 425"/>
              <a:gd name="T32" fmla="*/ 110 w 450"/>
              <a:gd name="T33" fmla="*/ 53 h 425"/>
              <a:gd name="T34" fmla="*/ 86 w 450"/>
              <a:gd name="T35" fmla="*/ 6 h 425"/>
              <a:gd name="T36" fmla="*/ 38 w 450"/>
              <a:gd name="T37" fmla="*/ 6 h 425"/>
              <a:gd name="T38" fmla="*/ 25 w 450"/>
              <a:gd name="T39" fmla="*/ 10 h 425"/>
              <a:gd name="T40" fmla="*/ 10 w 450"/>
              <a:gd name="T41" fmla="*/ 28 h 425"/>
              <a:gd name="T42" fmla="*/ 1 w 450"/>
              <a:gd name="T43" fmla="*/ 55 h 425"/>
              <a:gd name="T44" fmla="*/ 1 w 450"/>
              <a:gd name="T45" fmla="*/ 141 h 425"/>
              <a:gd name="T46" fmla="*/ 5 w 450"/>
              <a:gd name="T47" fmla="*/ 324 h 425"/>
              <a:gd name="T48" fmla="*/ 27 w 450"/>
              <a:gd name="T49" fmla="*/ 401 h 425"/>
              <a:gd name="T50" fmla="*/ 54 w 450"/>
              <a:gd name="T51" fmla="*/ 396 h 425"/>
              <a:gd name="T52" fmla="*/ 74 w 450"/>
              <a:gd name="T53" fmla="*/ 384 h 425"/>
              <a:gd name="T54" fmla="*/ 83 w 450"/>
              <a:gd name="T55" fmla="*/ 374 h 425"/>
              <a:gd name="T56" fmla="*/ 100 w 450"/>
              <a:gd name="T57" fmla="*/ 341 h 425"/>
              <a:gd name="T58" fmla="*/ 105 w 450"/>
              <a:gd name="T59" fmla="*/ 317 h 425"/>
              <a:gd name="T60" fmla="*/ 105 w 450"/>
              <a:gd name="T61" fmla="*/ 367 h 425"/>
              <a:gd name="T62" fmla="*/ 108 w 450"/>
              <a:gd name="T63" fmla="*/ 420 h 425"/>
              <a:gd name="T64" fmla="*/ 116 w 450"/>
              <a:gd name="T65" fmla="*/ 424 h 425"/>
              <a:gd name="T66" fmla="*/ 150 w 450"/>
              <a:gd name="T67" fmla="*/ 423 h 425"/>
              <a:gd name="T68" fmla="*/ 176 w 450"/>
              <a:gd name="T69" fmla="*/ 412 h 425"/>
              <a:gd name="T70" fmla="*/ 189 w 450"/>
              <a:gd name="T71" fmla="*/ 402 h 425"/>
              <a:gd name="T72" fmla="*/ 209 w 450"/>
              <a:gd name="T73" fmla="*/ 368 h 425"/>
              <a:gd name="T74" fmla="*/ 224 w 450"/>
              <a:gd name="T75" fmla="*/ 317 h 425"/>
              <a:gd name="T76" fmla="*/ 225 w 450"/>
              <a:gd name="T77" fmla="*/ 381 h 425"/>
              <a:gd name="T78" fmla="*/ 229 w 450"/>
              <a:gd name="T79" fmla="*/ 419 h 425"/>
              <a:gd name="T80" fmla="*/ 237 w 450"/>
              <a:gd name="T81" fmla="*/ 421 h 425"/>
              <a:gd name="T82" fmla="*/ 266 w 450"/>
              <a:gd name="T83" fmla="*/ 418 h 425"/>
              <a:gd name="T84" fmla="*/ 300 w 450"/>
              <a:gd name="T85" fmla="*/ 405 h 425"/>
              <a:gd name="T86" fmla="*/ 309 w 450"/>
              <a:gd name="T87" fmla="*/ 397 h 425"/>
              <a:gd name="T88" fmla="*/ 331 w 450"/>
              <a:gd name="T89" fmla="*/ 367 h 425"/>
              <a:gd name="T90" fmla="*/ 342 w 450"/>
              <a:gd name="T91" fmla="*/ 334 h 425"/>
              <a:gd name="T92" fmla="*/ 345 w 450"/>
              <a:gd name="T93" fmla="*/ 346 h 425"/>
              <a:gd name="T94" fmla="*/ 348 w 450"/>
              <a:gd name="T95" fmla="*/ 391 h 425"/>
              <a:gd name="T96" fmla="*/ 379 w 450"/>
              <a:gd name="T97" fmla="*/ 386 h 425"/>
              <a:gd name="T98" fmla="*/ 404 w 450"/>
              <a:gd name="T99" fmla="*/ 375 h 425"/>
              <a:gd name="T100" fmla="*/ 425 w 450"/>
              <a:gd name="T101" fmla="*/ 360 h 425"/>
              <a:gd name="T102" fmla="*/ 439 w 450"/>
              <a:gd name="T103" fmla="*/ 342 h 425"/>
              <a:gd name="T104" fmla="*/ 448 w 450"/>
              <a:gd name="T105" fmla="*/ 311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0" h="425">
                <a:moveTo>
                  <a:pt x="448" y="311"/>
                </a:moveTo>
                <a:lnTo>
                  <a:pt x="448" y="311"/>
                </a:lnTo>
                <a:lnTo>
                  <a:pt x="450" y="290"/>
                </a:lnTo>
                <a:lnTo>
                  <a:pt x="450" y="268"/>
                </a:lnTo>
                <a:lnTo>
                  <a:pt x="450" y="225"/>
                </a:lnTo>
                <a:lnTo>
                  <a:pt x="450" y="225"/>
                </a:lnTo>
                <a:lnTo>
                  <a:pt x="449" y="64"/>
                </a:lnTo>
                <a:lnTo>
                  <a:pt x="449" y="64"/>
                </a:lnTo>
                <a:lnTo>
                  <a:pt x="449" y="54"/>
                </a:lnTo>
                <a:lnTo>
                  <a:pt x="448" y="44"/>
                </a:lnTo>
                <a:lnTo>
                  <a:pt x="447" y="33"/>
                </a:lnTo>
                <a:lnTo>
                  <a:pt x="444" y="20"/>
                </a:lnTo>
                <a:lnTo>
                  <a:pt x="441" y="10"/>
                </a:lnTo>
                <a:lnTo>
                  <a:pt x="439" y="6"/>
                </a:lnTo>
                <a:lnTo>
                  <a:pt x="436" y="3"/>
                </a:lnTo>
                <a:lnTo>
                  <a:pt x="433" y="1"/>
                </a:lnTo>
                <a:lnTo>
                  <a:pt x="429" y="0"/>
                </a:lnTo>
                <a:lnTo>
                  <a:pt x="429" y="0"/>
                </a:lnTo>
                <a:lnTo>
                  <a:pt x="396" y="0"/>
                </a:lnTo>
                <a:lnTo>
                  <a:pt x="378" y="1"/>
                </a:lnTo>
                <a:lnTo>
                  <a:pt x="367" y="2"/>
                </a:lnTo>
                <a:lnTo>
                  <a:pt x="367" y="2"/>
                </a:lnTo>
                <a:lnTo>
                  <a:pt x="364" y="7"/>
                </a:lnTo>
                <a:lnTo>
                  <a:pt x="362" y="14"/>
                </a:lnTo>
                <a:lnTo>
                  <a:pt x="356" y="33"/>
                </a:lnTo>
                <a:lnTo>
                  <a:pt x="350" y="52"/>
                </a:lnTo>
                <a:lnTo>
                  <a:pt x="347" y="59"/>
                </a:lnTo>
                <a:lnTo>
                  <a:pt x="345" y="64"/>
                </a:lnTo>
                <a:lnTo>
                  <a:pt x="325" y="2"/>
                </a:lnTo>
                <a:lnTo>
                  <a:pt x="325" y="2"/>
                </a:lnTo>
                <a:lnTo>
                  <a:pt x="309" y="1"/>
                </a:lnTo>
                <a:lnTo>
                  <a:pt x="286" y="1"/>
                </a:lnTo>
                <a:lnTo>
                  <a:pt x="261" y="2"/>
                </a:lnTo>
                <a:lnTo>
                  <a:pt x="247" y="4"/>
                </a:lnTo>
                <a:lnTo>
                  <a:pt x="247" y="4"/>
                </a:lnTo>
                <a:lnTo>
                  <a:pt x="242" y="16"/>
                </a:lnTo>
                <a:lnTo>
                  <a:pt x="236" y="34"/>
                </a:lnTo>
                <a:lnTo>
                  <a:pt x="229" y="52"/>
                </a:lnTo>
                <a:lnTo>
                  <a:pt x="224" y="64"/>
                </a:lnTo>
                <a:lnTo>
                  <a:pt x="205" y="5"/>
                </a:lnTo>
                <a:lnTo>
                  <a:pt x="205" y="5"/>
                </a:lnTo>
                <a:lnTo>
                  <a:pt x="192" y="4"/>
                </a:lnTo>
                <a:lnTo>
                  <a:pt x="168" y="4"/>
                </a:lnTo>
                <a:lnTo>
                  <a:pt x="144" y="5"/>
                </a:lnTo>
                <a:lnTo>
                  <a:pt x="135" y="6"/>
                </a:lnTo>
                <a:lnTo>
                  <a:pt x="131" y="6"/>
                </a:lnTo>
                <a:lnTo>
                  <a:pt x="131" y="6"/>
                </a:lnTo>
                <a:lnTo>
                  <a:pt x="127" y="11"/>
                </a:lnTo>
                <a:lnTo>
                  <a:pt x="124" y="18"/>
                </a:lnTo>
                <a:lnTo>
                  <a:pt x="117" y="36"/>
                </a:lnTo>
                <a:lnTo>
                  <a:pt x="110" y="53"/>
                </a:lnTo>
                <a:lnTo>
                  <a:pt x="105" y="64"/>
                </a:lnTo>
                <a:lnTo>
                  <a:pt x="86" y="6"/>
                </a:lnTo>
                <a:lnTo>
                  <a:pt x="86" y="6"/>
                </a:lnTo>
                <a:lnTo>
                  <a:pt x="69" y="6"/>
                </a:lnTo>
                <a:lnTo>
                  <a:pt x="38" y="6"/>
                </a:lnTo>
                <a:lnTo>
                  <a:pt x="38" y="6"/>
                </a:lnTo>
                <a:lnTo>
                  <a:pt x="33" y="7"/>
                </a:lnTo>
                <a:lnTo>
                  <a:pt x="29" y="8"/>
                </a:lnTo>
                <a:lnTo>
                  <a:pt x="25" y="10"/>
                </a:lnTo>
                <a:lnTo>
                  <a:pt x="21" y="12"/>
                </a:lnTo>
                <a:lnTo>
                  <a:pt x="15" y="19"/>
                </a:lnTo>
                <a:lnTo>
                  <a:pt x="10" y="28"/>
                </a:lnTo>
                <a:lnTo>
                  <a:pt x="5" y="36"/>
                </a:lnTo>
                <a:lnTo>
                  <a:pt x="2" y="46"/>
                </a:lnTo>
                <a:lnTo>
                  <a:pt x="1" y="55"/>
                </a:lnTo>
                <a:lnTo>
                  <a:pt x="0" y="63"/>
                </a:lnTo>
                <a:lnTo>
                  <a:pt x="0" y="63"/>
                </a:lnTo>
                <a:lnTo>
                  <a:pt x="1" y="141"/>
                </a:lnTo>
                <a:lnTo>
                  <a:pt x="2" y="220"/>
                </a:lnTo>
                <a:lnTo>
                  <a:pt x="2" y="220"/>
                </a:lnTo>
                <a:lnTo>
                  <a:pt x="5" y="324"/>
                </a:lnTo>
                <a:lnTo>
                  <a:pt x="8" y="402"/>
                </a:lnTo>
                <a:lnTo>
                  <a:pt x="8" y="402"/>
                </a:lnTo>
                <a:lnTo>
                  <a:pt x="27" y="401"/>
                </a:lnTo>
                <a:lnTo>
                  <a:pt x="37" y="399"/>
                </a:lnTo>
                <a:lnTo>
                  <a:pt x="45" y="398"/>
                </a:lnTo>
                <a:lnTo>
                  <a:pt x="54" y="396"/>
                </a:lnTo>
                <a:lnTo>
                  <a:pt x="62" y="393"/>
                </a:lnTo>
                <a:lnTo>
                  <a:pt x="68" y="388"/>
                </a:lnTo>
                <a:lnTo>
                  <a:pt x="74" y="384"/>
                </a:lnTo>
                <a:lnTo>
                  <a:pt x="74" y="384"/>
                </a:lnTo>
                <a:lnTo>
                  <a:pt x="79" y="379"/>
                </a:lnTo>
                <a:lnTo>
                  <a:pt x="83" y="374"/>
                </a:lnTo>
                <a:lnTo>
                  <a:pt x="90" y="363"/>
                </a:lnTo>
                <a:lnTo>
                  <a:pt x="95" y="352"/>
                </a:lnTo>
                <a:lnTo>
                  <a:pt x="100" y="341"/>
                </a:lnTo>
                <a:lnTo>
                  <a:pt x="103" y="331"/>
                </a:lnTo>
                <a:lnTo>
                  <a:pt x="104" y="324"/>
                </a:lnTo>
                <a:lnTo>
                  <a:pt x="105" y="317"/>
                </a:lnTo>
                <a:lnTo>
                  <a:pt x="105" y="317"/>
                </a:lnTo>
                <a:lnTo>
                  <a:pt x="105" y="337"/>
                </a:lnTo>
                <a:lnTo>
                  <a:pt x="105" y="367"/>
                </a:lnTo>
                <a:lnTo>
                  <a:pt x="106" y="397"/>
                </a:lnTo>
                <a:lnTo>
                  <a:pt x="108" y="420"/>
                </a:lnTo>
                <a:lnTo>
                  <a:pt x="108" y="420"/>
                </a:lnTo>
                <a:lnTo>
                  <a:pt x="108" y="421"/>
                </a:lnTo>
                <a:lnTo>
                  <a:pt x="110" y="422"/>
                </a:lnTo>
                <a:lnTo>
                  <a:pt x="116" y="424"/>
                </a:lnTo>
                <a:lnTo>
                  <a:pt x="125" y="425"/>
                </a:lnTo>
                <a:lnTo>
                  <a:pt x="136" y="425"/>
                </a:lnTo>
                <a:lnTo>
                  <a:pt x="150" y="423"/>
                </a:lnTo>
                <a:lnTo>
                  <a:pt x="163" y="418"/>
                </a:lnTo>
                <a:lnTo>
                  <a:pt x="169" y="415"/>
                </a:lnTo>
                <a:lnTo>
                  <a:pt x="176" y="412"/>
                </a:lnTo>
                <a:lnTo>
                  <a:pt x="182" y="407"/>
                </a:lnTo>
                <a:lnTo>
                  <a:pt x="189" y="402"/>
                </a:lnTo>
                <a:lnTo>
                  <a:pt x="189" y="402"/>
                </a:lnTo>
                <a:lnTo>
                  <a:pt x="197" y="392"/>
                </a:lnTo>
                <a:lnTo>
                  <a:pt x="204" y="380"/>
                </a:lnTo>
                <a:lnTo>
                  <a:pt x="209" y="368"/>
                </a:lnTo>
                <a:lnTo>
                  <a:pt x="213" y="356"/>
                </a:lnTo>
                <a:lnTo>
                  <a:pt x="220" y="333"/>
                </a:lnTo>
                <a:lnTo>
                  <a:pt x="224" y="317"/>
                </a:lnTo>
                <a:lnTo>
                  <a:pt x="224" y="317"/>
                </a:lnTo>
                <a:lnTo>
                  <a:pt x="224" y="348"/>
                </a:lnTo>
                <a:lnTo>
                  <a:pt x="225" y="381"/>
                </a:lnTo>
                <a:lnTo>
                  <a:pt x="227" y="408"/>
                </a:lnTo>
                <a:lnTo>
                  <a:pt x="228" y="417"/>
                </a:lnTo>
                <a:lnTo>
                  <a:pt x="229" y="419"/>
                </a:lnTo>
                <a:lnTo>
                  <a:pt x="230" y="420"/>
                </a:lnTo>
                <a:lnTo>
                  <a:pt x="230" y="420"/>
                </a:lnTo>
                <a:lnTo>
                  <a:pt x="237" y="421"/>
                </a:lnTo>
                <a:lnTo>
                  <a:pt x="245" y="421"/>
                </a:lnTo>
                <a:lnTo>
                  <a:pt x="255" y="420"/>
                </a:lnTo>
                <a:lnTo>
                  <a:pt x="266" y="418"/>
                </a:lnTo>
                <a:lnTo>
                  <a:pt x="277" y="415"/>
                </a:lnTo>
                <a:lnTo>
                  <a:pt x="289" y="411"/>
                </a:lnTo>
                <a:lnTo>
                  <a:pt x="300" y="405"/>
                </a:lnTo>
                <a:lnTo>
                  <a:pt x="305" y="401"/>
                </a:lnTo>
                <a:lnTo>
                  <a:pt x="309" y="397"/>
                </a:lnTo>
                <a:lnTo>
                  <a:pt x="309" y="397"/>
                </a:lnTo>
                <a:lnTo>
                  <a:pt x="317" y="387"/>
                </a:lnTo>
                <a:lnTo>
                  <a:pt x="325" y="377"/>
                </a:lnTo>
                <a:lnTo>
                  <a:pt x="331" y="367"/>
                </a:lnTo>
                <a:lnTo>
                  <a:pt x="336" y="356"/>
                </a:lnTo>
                <a:lnTo>
                  <a:pt x="339" y="345"/>
                </a:lnTo>
                <a:lnTo>
                  <a:pt x="342" y="334"/>
                </a:lnTo>
                <a:lnTo>
                  <a:pt x="345" y="317"/>
                </a:lnTo>
                <a:lnTo>
                  <a:pt x="345" y="317"/>
                </a:lnTo>
                <a:lnTo>
                  <a:pt x="345" y="346"/>
                </a:lnTo>
                <a:lnTo>
                  <a:pt x="346" y="370"/>
                </a:lnTo>
                <a:lnTo>
                  <a:pt x="348" y="391"/>
                </a:lnTo>
                <a:lnTo>
                  <a:pt x="348" y="391"/>
                </a:lnTo>
                <a:lnTo>
                  <a:pt x="362" y="390"/>
                </a:lnTo>
                <a:lnTo>
                  <a:pt x="371" y="388"/>
                </a:lnTo>
                <a:lnTo>
                  <a:pt x="379" y="386"/>
                </a:lnTo>
                <a:lnTo>
                  <a:pt x="379" y="386"/>
                </a:lnTo>
                <a:lnTo>
                  <a:pt x="393" y="380"/>
                </a:lnTo>
                <a:lnTo>
                  <a:pt x="404" y="375"/>
                </a:lnTo>
                <a:lnTo>
                  <a:pt x="415" y="368"/>
                </a:lnTo>
                <a:lnTo>
                  <a:pt x="415" y="368"/>
                </a:lnTo>
                <a:lnTo>
                  <a:pt x="425" y="360"/>
                </a:lnTo>
                <a:lnTo>
                  <a:pt x="430" y="355"/>
                </a:lnTo>
                <a:lnTo>
                  <a:pt x="435" y="349"/>
                </a:lnTo>
                <a:lnTo>
                  <a:pt x="439" y="342"/>
                </a:lnTo>
                <a:lnTo>
                  <a:pt x="443" y="333"/>
                </a:lnTo>
                <a:lnTo>
                  <a:pt x="446" y="323"/>
                </a:lnTo>
                <a:lnTo>
                  <a:pt x="448" y="3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8" name="Freeform 35"/>
          <p:cNvSpPr>
            <a:spLocks/>
          </p:cNvSpPr>
          <p:nvPr userDrawn="1"/>
        </p:nvSpPr>
        <p:spPr bwMode="auto">
          <a:xfrm>
            <a:off x="7245350" y="1206203"/>
            <a:ext cx="73025" cy="80963"/>
          </a:xfrm>
          <a:custGeom>
            <a:avLst/>
            <a:gdLst>
              <a:gd name="T0" fmla="*/ 554 w 554"/>
              <a:gd name="T1" fmla="*/ 356 h 620"/>
              <a:gd name="T2" fmla="*/ 549 w 554"/>
              <a:gd name="T3" fmla="*/ 350 h 620"/>
              <a:gd name="T4" fmla="*/ 535 w 554"/>
              <a:gd name="T5" fmla="*/ 331 h 620"/>
              <a:gd name="T6" fmla="*/ 525 w 554"/>
              <a:gd name="T7" fmla="*/ 306 h 620"/>
              <a:gd name="T8" fmla="*/ 520 w 554"/>
              <a:gd name="T9" fmla="*/ 285 h 620"/>
              <a:gd name="T10" fmla="*/ 516 w 554"/>
              <a:gd name="T11" fmla="*/ 258 h 620"/>
              <a:gd name="T12" fmla="*/ 515 w 554"/>
              <a:gd name="T13" fmla="*/ 243 h 620"/>
              <a:gd name="T14" fmla="*/ 516 w 554"/>
              <a:gd name="T15" fmla="*/ 222 h 620"/>
              <a:gd name="T16" fmla="*/ 520 w 554"/>
              <a:gd name="T17" fmla="*/ 202 h 620"/>
              <a:gd name="T18" fmla="*/ 532 w 554"/>
              <a:gd name="T19" fmla="*/ 167 h 620"/>
              <a:gd name="T20" fmla="*/ 546 w 554"/>
              <a:gd name="T21" fmla="*/ 142 h 620"/>
              <a:gd name="T22" fmla="*/ 551 w 554"/>
              <a:gd name="T23" fmla="*/ 43 h 620"/>
              <a:gd name="T24" fmla="*/ 542 w 554"/>
              <a:gd name="T25" fmla="*/ 36 h 620"/>
              <a:gd name="T26" fmla="*/ 504 w 554"/>
              <a:gd name="T27" fmla="*/ 13 h 620"/>
              <a:gd name="T28" fmla="*/ 482 w 554"/>
              <a:gd name="T29" fmla="*/ 2 h 620"/>
              <a:gd name="T30" fmla="*/ 470 w 554"/>
              <a:gd name="T31" fmla="*/ 0 h 620"/>
              <a:gd name="T32" fmla="*/ 465 w 554"/>
              <a:gd name="T33" fmla="*/ 327 h 620"/>
              <a:gd name="T34" fmla="*/ 465 w 554"/>
              <a:gd name="T35" fmla="*/ 339 h 620"/>
              <a:gd name="T36" fmla="*/ 458 w 554"/>
              <a:gd name="T37" fmla="*/ 360 h 620"/>
              <a:gd name="T38" fmla="*/ 444 w 554"/>
              <a:gd name="T39" fmla="*/ 382 h 620"/>
              <a:gd name="T40" fmla="*/ 426 w 554"/>
              <a:gd name="T41" fmla="*/ 402 h 620"/>
              <a:gd name="T42" fmla="*/ 405 w 554"/>
              <a:gd name="T43" fmla="*/ 421 h 620"/>
              <a:gd name="T44" fmla="*/ 380 w 554"/>
              <a:gd name="T45" fmla="*/ 437 h 620"/>
              <a:gd name="T46" fmla="*/ 353 w 554"/>
              <a:gd name="T47" fmla="*/ 449 h 620"/>
              <a:gd name="T48" fmla="*/ 327 w 554"/>
              <a:gd name="T49" fmla="*/ 458 h 620"/>
              <a:gd name="T50" fmla="*/ 314 w 554"/>
              <a:gd name="T51" fmla="*/ 461 h 620"/>
              <a:gd name="T52" fmla="*/ 255 w 554"/>
              <a:gd name="T53" fmla="*/ 471 h 620"/>
              <a:gd name="T54" fmla="*/ 199 w 554"/>
              <a:gd name="T55" fmla="*/ 477 h 620"/>
              <a:gd name="T56" fmla="*/ 98 w 554"/>
              <a:gd name="T57" fmla="*/ 482 h 620"/>
              <a:gd name="T58" fmla="*/ 27 w 554"/>
              <a:gd name="T59" fmla="*/ 482 h 620"/>
              <a:gd name="T60" fmla="*/ 0 w 554"/>
              <a:gd name="T61" fmla="*/ 481 h 620"/>
              <a:gd name="T62" fmla="*/ 4 w 554"/>
              <a:gd name="T63" fmla="*/ 508 h 620"/>
              <a:gd name="T64" fmla="*/ 13 w 554"/>
              <a:gd name="T65" fmla="*/ 550 h 620"/>
              <a:gd name="T66" fmla="*/ 18 w 554"/>
              <a:gd name="T67" fmla="*/ 566 h 620"/>
              <a:gd name="T68" fmla="*/ 29 w 554"/>
              <a:gd name="T69" fmla="*/ 586 h 620"/>
              <a:gd name="T70" fmla="*/ 44 w 554"/>
              <a:gd name="T71" fmla="*/ 604 h 620"/>
              <a:gd name="T72" fmla="*/ 62 w 554"/>
              <a:gd name="T73" fmla="*/ 620 h 620"/>
              <a:gd name="T74" fmla="*/ 554 w 554"/>
              <a:gd name="T75" fmla="*/ 450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4" h="620">
                <a:moveTo>
                  <a:pt x="554" y="450"/>
                </a:moveTo>
                <a:lnTo>
                  <a:pt x="554" y="356"/>
                </a:lnTo>
                <a:lnTo>
                  <a:pt x="554" y="356"/>
                </a:lnTo>
                <a:lnTo>
                  <a:pt x="549" y="350"/>
                </a:lnTo>
                <a:lnTo>
                  <a:pt x="543" y="342"/>
                </a:lnTo>
                <a:lnTo>
                  <a:pt x="535" y="331"/>
                </a:lnTo>
                <a:lnTo>
                  <a:pt x="528" y="315"/>
                </a:lnTo>
                <a:lnTo>
                  <a:pt x="525" y="306"/>
                </a:lnTo>
                <a:lnTo>
                  <a:pt x="522" y="296"/>
                </a:lnTo>
                <a:lnTo>
                  <a:pt x="520" y="285"/>
                </a:lnTo>
                <a:lnTo>
                  <a:pt x="517" y="271"/>
                </a:lnTo>
                <a:lnTo>
                  <a:pt x="516" y="258"/>
                </a:lnTo>
                <a:lnTo>
                  <a:pt x="515" y="243"/>
                </a:lnTo>
                <a:lnTo>
                  <a:pt x="515" y="243"/>
                </a:lnTo>
                <a:lnTo>
                  <a:pt x="515" y="232"/>
                </a:lnTo>
                <a:lnTo>
                  <a:pt x="516" y="222"/>
                </a:lnTo>
                <a:lnTo>
                  <a:pt x="517" y="212"/>
                </a:lnTo>
                <a:lnTo>
                  <a:pt x="520" y="202"/>
                </a:lnTo>
                <a:lnTo>
                  <a:pt x="526" y="183"/>
                </a:lnTo>
                <a:lnTo>
                  <a:pt x="532" y="167"/>
                </a:lnTo>
                <a:lnTo>
                  <a:pt x="540" y="154"/>
                </a:lnTo>
                <a:lnTo>
                  <a:pt x="546" y="142"/>
                </a:lnTo>
                <a:lnTo>
                  <a:pt x="552" y="133"/>
                </a:lnTo>
                <a:lnTo>
                  <a:pt x="551" y="43"/>
                </a:lnTo>
                <a:lnTo>
                  <a:pt x="551" y="43"/>
                </a:lnTo>
                <a:lnTo>
                  <a:pt x="542" y="36"/>
                </a:lnTo>
                <a:lnTo>
                  <a:pt x="518" y="21"/>
                </a:lnTo>
                <a:lnTo>
                  <a:pt x="504" y="13"/>
                </a:lnTo>
                <a:lnTo>
                  <a:pt x="489" y="5"/>
                </a:lnTo>
                <a:lnTo>
                  <a:pt x="482" y="2"/>
                </a:lnTo>
                <a:lnTo>
                  <a:pt x="476" y="1"/>
                </a:lnTo>
                <a:lnTo>
                  <a:pt x="470" y="0"/>
                </a:lnTo>
                <a:lnTo>
                  <a:pt x="464" y="0"/>
                </a:lnTo>
                <a:lnTo>
                  <a:pt x="465" y="327"/>
                </a:lnTo>
                <a:lnTo>
                  <a:pt x="465" y="327"/>
                </a:lnTo>
                <a:lnTo>
                  <a:pt x="465" y="339"/>
                </a:lnTo>
                <a:lnTo>
                  <a:pt x="462" y="349"/>
                </a:lnTo>
                <a:lnTo>
                  <a:pt x="458" y="360"/>
                </a:lnTo>
                <a:lnTo>
                  <a:pt x="452" y="370"/>
                </a:lnTo>
                <a:lnTo>
                  <a:pt x="444" y="382"/>
                </a:lnTo>
                <a:lnTo>
                  <a:pt x="436" y="392"/>
                </a:lnTo>
                <a:lnTo>
                  <a:pt x="426" y="402"/>
                </a:lnTo>
                <a:lnTo>
                  <a:pt x="416" y="411"/>
                </a:lnTo>
                <a:lnTo>
                  <a:pt x="405" y="421"/>
                </a:lnTo>
                <a:lnTo>
                  <a:pt x="392" y="429"/>
                </a:lnTo>
                <a:lnTo>
                  <a:pt x="380" y="437"/>
                </a:lnTo>
                <a:lnTo>
                  <a:pt x="367" y="443"/>
                </a:lnTo>
                <a:lnTo>
                  <a:pt x="353" y="449"/>
                </a:lnTo>
                <a:lnTo>
                  <a:pt x="340" y="454"/>
                </a:lnTo>
                <a:lnTo>
                  <a:pt x="327" y="458"/>
                </a:lnTo>
                <a:lnTo>
                  <a:pt x="314" y="461"/>
                </a:lnTo>
                <a:lnTo>
                  <a:pt x="314" y="461"/>
                </a:lnTo>
                <a:lnTo>
                  <a:pt x="284" y="467"/>
                </a:lnTo>
                <a:lnTo>
                  <a:pt x="255" y="471"/>
                </a:lnTo>
                <a:lnTo>
                  <a:pt x="227" y="474"/>
                </a:lnTo>
                <a:lnTo>
                  <a:pt x="199" y="477"/>
                </a:lnTo>
                <a:lnTo>
                  <a:pt x="146" y="480"/>
                </a:lnTo>
                <a:lnTo>
                  <a:pt x="98" y="482"/>
                </a:lnTo>
                <a:lnTo>
                  <a:pt x="58" y="482"/>
                </a:lnTo>
                <a:lnTo>
                  <a:pt x="27" y="482"/>
                </a:lnTo>
                <a:lnTo>
                  <a:pt x="0" y="481"/>
                </a:lnTo>
                <a:lnTo>
                  <a:pt x="0" y="481"/>
                </a:lnTo>
                <a:lnTo>
                  <a:pt x="1" y="488"/>
                </a:lnTo>
                <a:lnTo>
                  <a:pt x="4" y="508"/>
                </a:lnTo>
                <a:lnTo>
                  <a:pt x="10" y="535"/>
                </a:lnTo>
                <a:lnTo>
                  <a:pt x="13" y="550"/>
                </a:lnTo>
                <a:lnTo>
                  <a:pt x="18" y="566"/>
                </a:lnTo>
                <a:lnTo>
                  <a:pt x="18" y="566"/>
                </a:lnTo>
                <a:lnTo>
                  <a:pt x="23" y="576"/>
                </a:lnTo>
                <a:lnTo>
                  <a:pt x="29" y="586"/>
                </a:lnTo>
                <a:lnTo>
                  <a:pt x="36" y="595"/>
                </a:lnTo>
                <a:lnTo>
                  <a:pt x="44" y="604"/>
                </a:lnTo>
                <a:lnTo>
                  <a:pt x="57" y="616"/>
                </a:lnTo>
                <a:lnTo>
                  <a:pt x="62" y="620"/>
                </a:lnTo>
                <a:lnTo>
                  <a:pt x="451" y="620"/>
                </a:lnTo>
                <a:lnTo>
                  <a:pt x="554" y="4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9" name="Freeform 36"/>
          <p:cNvSpPr>
            <a:spLocks/>
          </p:cNvSpPr>
          <p:nvPr userDrawn="1"/>
        </p:nvSpPr>
        <p:spPr bwMode="auto">
          <a:xfrm>
            <a:off x="7251700" y="1298278"/>
            <a:ext cx="57150" cy="17463"/>
          </a:xfrm>
          <a:custGeom>
            <a:avLst/>
            <a:gdLst>
              <a:gd name="T0" fmla="*/ 20 w 435"/>
              <a:gd name="T1" fmla="*/ 142 h 142"/>
              <a:gd name="T2" fmla="*/ 411 w 435"/>
              <a:gd name="T3" fmla="*/ 142 h 142"/>
              <a:gd name="T4" fmla="*/ 411 w 435"/>
              <a:gd name="T5" fmla="*/ 142 h 142"/>
              <a:gd name="T6" fmla="*/ 422 w 435"/>
              <a:gd name="T7" fmla="*/ 109 h 142"/>
              <a:gd name="T8" fmla="*/ 430 w 435"/>
              <a:gd name="T9" fmla="*/ 83 h 142"/>
              <a:gd name="T10" fmla="*/ 433 w 435"/>
              <a:gd name="T11" fmla="*/ 72 h 142"/>
              <a:gd name="T12" fmla="*/ 435 w 435"/>
              <a:gd name="T13" fmla="*/ 63 h 142"/>
              <a:gd name="T14" fmla="*/ 417 w 435"/>
              <a:gd name="T15" fmla="*/ 0 h 142"/>
              <a:gd name="T16" fmla="*/ 22 w 435"/>
              <a:gd name="T17" fmla="*/ 0 h 142"/>
              <a:gd name="T18" fmla="*/ 0 w 435"/>
              <a:gd name="T19" fmla="*/ 65 h 142"/>
              <a:gd name="T20" fmla="*/ 20 w 435"/>
              <a:gd name="T2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5" h="142">
                <a:moveTo>
                  <a:pt x="20" y="142"/>
                </a:moveTo>
                <a:lnTo>
                  <a:pt x="411" y="142"/>
                </a:lnTo>
                <a:lnTo>
                  <a:pt x="411" y="142"/>
                </a:lnTo>
                <a:lnTo>
                  <a:pt x="422" y="109"/>
                </a:lnTo>
                <a:lnTo>
                  <a:pt x="430" y="83"/>
                </a:lnTo>
                <a:lnTo>
                  <a:pt x="433" y="72"/>
                </a:lnTo>
                <a:lnTo>
                  <a:pt x="435" y="63"/>
                </a:lnTo>
                <a:lnTo>
                  <a:pt x="417" y="0"/>
                </a:lnTo>
                <a:lnTo>
                  <a:pt x="22" y="0"/>
                </a:lnTo>
                <a:lnTo>
                  <a:pt x="0" y="65"/>
                </a:lnTo>
                <a:lnTo>
                  <a:pt x="20" y="1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0" name="Freeform 37"/>
          <p:cNvSpPr>
            <a:spLocks/>
          </p:cNvSpPr>
          <p:nvPr userDrawn="1"/>
        </p:nvSpPr>
        <p:spPr bwMode="auto">
          <a:xfrm>
            <a:off x="7254875" y="1326853"/>
            <a:ext cx="57150" cy="66675"/>
          </a:xfrm>
          <a:custGeom>
            <a:avLst/>
            <a:gdLst>
              <a:gd name="T0" fmla="*/ 384 w 436"/>
              <a:gd name="T1" fmla="*/ 0 h 514"/>
              <a:gd name="T2" fmla="*/ 2 w 436"/>
              <a:gd name="T3" fmla="*/ 0 h 514"/>
              <a:gd name="T4" fmla="*/ 0 w 436"/>
              <a:gd name="T5" fmla="*/ 505 h 514"/>
              <a:gd name="T6" fmla="*/ 331 w 436"/>
              <a:gd name="T7" fmla="*/ 514 h 514"/>
              <a:gd name="T8" fmla="*/ 436 w 436"/>
              <a:gd name="T9" fmla="*/ 431 h 514"/>
              <a:gd name="T10" fmla="*/ 384 w 436"/>
              <a:gd name="T11" fmla="*/ 0 h 514"/>
            </a:gdLst>
            <a:ahLst/>
            <a:cxnLst>
              <a:cxn ang="0">
                <a:pos x="T0" y="T1"/>
              </a:cxn>
              <a:cxn ang="0">
                <a:pos x="T2" y="T3"/>
              </a:cxn>
              <a:cxn ang="0">
                <a:pos x="T4" y="T5"/>
              </a:cxn>
              <a:cxn ang="0">
                <a:pos x="T6" y="T7"/>
              </a:cxn>
              <a:cxn ang="0">
                <a:pos x="T8" y="T9"/>
              </a:cxn>
              <a:cxn ang="0">
                <a:pos x="T10" y="T11"/>
              </a:cxn>
            </a:cxnLst>
            <a:rect l="0" t="0" r="r" b="b"/>
            <a:pathLst>
              <a:path w="436" h="514">
                <a:moveTo>
                  <a:pt x="384" y="0"/>
                </a:moveTo>
                <a:lnTo>
                  <a:pt x="2" y="0"/>
                </a:lnTo>
                <a:lnTo>
                  <a:pt x="0" y="505"/>
                </a:lnTo>
                <a:lnTo>
                  <a:pt x="331" y="514"/>
                </a:lnTo>
                <a:lnTo>
                  <a:pt x="436" y="431"/>
                </a:lnTo>
                <a:lnTo>
                  <a:pt x="3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1" name="Freeform 38"/>
          <p:cNvSpPr>
            <a:spLocks/>
          </p:cNvSpPr>
          <p:nvPr userDrawn="1"/>
        </p:nvSpPr>
        <p:spPr bwMode="auto">
          <a:xfrm>
            <a:off x="7251700" y="1391940"/>
            <a:ext cx="77788" cy="68263"/>
          </a:xfrm>
          <a:custGeom>
            <a:avLst/>
            <a:gdLst>
              <a:gd name="T0" fmla="*/ 586 w 586"/>
              <a:gd name="T1" fmla="*/ 139 h 523"/>
              <a:gd name="T2" fmla="*/ 586 w 586"/>
              <a:gd name="T3" fmla="*/ 139 h 523"/>
              <a:gd name="T4" fmla="*/ 552 w 586"/>
              <a:gd name="T5" fmla="*/ 115 h 523"/>
              <a:gd name="T6" fmla="*/ 527 w 586"/>
              <a:gd name="T7" fmla="*/ 97 h 523"/>
              <a:gd name="T8" fmla="*/ 519 w 586"/>
              <a:gd name="T9" fmla="*/ 90 h 523"/>
              <a:gd name="T10" fmla="*/ 514 w 586"/>
              <a:gd name="T11" fmla="*/ 85 h 523"/>
              <a:gd name="T12" fmla="*/ 514 w 586"/>
              <a:gd name="T13" fmla="*/ 85 h 523"/>
              <a:gd name="T14" fmla="*/ 512 w 586"/>
              <a:gd name="T15" fmla="*/ 79 h 523"/>
              <a:gd name="T16" fmla="*/ 510 w 586"/>
              <a:gd name="T17" fmla="*/ 69 h 523"/>
              <a:gd name="T18" fmla="*/ 506 w 586"/>
              <a:gd name="T19" fmla="*/ 40 h 523"/>
              <a:gd name="T20" fmla="*/ 503 w 586"/>
              <a:gd name="T21" fmla="*/ 0 h 523"/>
              <a:gd name="T22" fmla="*/ 381 w 586"/>
              <a:gd name="T23" fmla="*/ 98 h 523"/>
              <a:gd name="T24" fmla="*/ 8 w 586"/>
              <a:gd name="T25" fmla="*/ 97 h 523"/>
              <a:gd name="T26" fmla="*/ 8 w 586"/>
              <a:gd name="T27" fmla="*/ 97 h 523"/>
              <a:gd name="T28" fmla="*/ 8 w 586"/>
              <a:gd name="T29" fmla="*/ 98 h 523"/>
              <a:gd name="T30" fmla="*/ 7 w 586"/>
              <a:gd name="T31" fmla="*/ 100 h 523"/>
              <a:gd name="T32" fmla="*/ 5 w 586"/>
              <a:gd name="T33" fmla="*/ 108 h 523"/>
              <a:gd name="T34" fmla="*/ 3 w 586"/>
              <a:gd name="T35" fmla="*/ 139 h 523"/>
              <a:gd name="T36" fmla="*/ 2 w 586"/>
              <a:gd name="T37" fmla="*/ 183 h 523"/>
              <a:gd name="T38" fmla="*/ 1 w 586"/>
              <a:gd name="T39" fmla="*/ 233 h 523"/>
              <a:gd name="T40" fmla="*/ 0 w 586"/>
              <a:gd name="T41" fmla="*/ 327 h 523"/>
              <a:gd name="T42" fmla="*/ 0 w 586"/>
              <a:gd name="T43" fmla="*/ 369 h 523"/>
              <a:gd name="T44" fmla="*/ 0 w 586"/>
              <a:gd name="T45" fmla="*/ 369 h 523"/>
              <a:gd name="T46" fmla="*/ 29 w 586"/>
              <a:gd name="T47" fmla="*/ 395 h 523"/>
              <a:gd name="T48" fmla="*/ 95 w 586"/>
              <a:gd name="T49" fmla="*/ 448 h 523"/>
              <a:gd name="T50" fmla="*/ 131 w 586"/>
              <a:gd name="T51" fmla="*/ 477 h 523"/>
              <a:gd name="T52" fmla="*/ 162 w 586"/>
              <a:gd name="T53" fmla="*/ 501 h 523"/>
              <a:gd name="T54" fmla="*/ 186 w 586"/>
              <a:gd name="T55" fmla="*/ 517 h 523"/>
              <a:gd name="T56" fmla="*/ 193 w 586"/>
              <a:gd name="T57" fmla="*/ 522 h 523"/>
              <a:gd name="T58" fmla="*/ 195 w 586"/>
              <a:gd name="T59" fmla="*/ 523 h 523"/>
              <a:gd name="T60" fmla="*/ 197 w 586"/>
              <a:gd name="T61" fmla="*/ 523 h 523"/>
              <a:gd name="T62" fmla="*/ 448 w 586"/>
              <a:gd name="T63" fmla="*/ 206 h 523"/>
              <a:gd name="T64" fmla="*/ 586 w 586"/>
              <a:gd name="T65" fmla="*/ 139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86" h="523">
                <a:moveTo>
                  <a:pt x="586" y="139"/>
                </a:moveTo>
                <a:lnTo>
                  <a:pt x="586" y="139"/>
                </a:lnTo>
                <a:lnTo>
                  <a:pt x="552" y="115"/>
                </a:lnTo>
                <a:lnTo>
                  <a:pt x="527" y="97"/>
                </a:lnTo>
                <a:lnTo>
                  <a:pt x="519" y="90"/>
                </a:lnTo>
                <a:lnTo>
                  <a:pt x="514" y="85"/>
                </a:lnTo>
                <a:lnTo>
                  <a:pt x="514" y="85"/>
                </a:lnTo>
                <a:lnTo>
                  <a:pt x="512" y="79"/>
                </a:lnTo>
                <a:lnTo>
                  <a:pt x="510" y="69"/>
                </a:lnTo>
                <a:lnTo>
                  <a:pt x="506" y="40"/>
                </a:lnTo>
                <a:lnTo>
                  <a:pt x="503" y="0"/>
                </a:lnTo>
                <a:lnTo>
                  <a:pt x="381" y="98"/>
                </a:lnTo>
                <a:lnTo>
                  <a:pt x="8" y="97"/>
                </a:lnTo>
                <a:lnTo>
                  <a:pt x="8" y="97"/>
                </a:lnTo>
                <a:lnTo>
                  <a:pt x="8" y="98"/>
                </a:lnTo>
                <a:lnTo>
                  <a:pt x="7" y="100"/>
                </a:lnTo>
                <a:lnTo>
                  <a:pt x="5" y="108"/>
                </a:lnTo>
                <a:lnTo>
                  <a:pt x="3" y="139"/>
                </a:lnTo>
                <a:lnTo>
                  <a:pt x="2" y="183"/>
                </a:lnTo>
                <a:lnTo>
                  <a:pt x="1" y="233"/>
                </a:lnTo>
                <a:lnTo>
                  <a:pt x="0" y="327"/>
                </a:lnTo>
                <a:lnTo>
                  <a:pt x="0" y="369"/>
                </a:lnTo>
                <a:lnTo>
                  <a:pt x="0" y="369"/>
                </a:lnTo>
                <a:lnTo>
                  <a:pt x="29" y="395"/>
                </a:lnTo>
                <a:lnTo>
                  <a:pt x="95" y="448"/>
                </a:lnTo>
                <a:lnTo>
                  <a:pt x="131" y="477"/>
                </a:lnTo>
                <a:lnTo>
                  <a:pt x="162" y="501"/>
                </a:lnTo>
                <a:lnTo>
                  <a:pt x="186" y="517"/>
                </a:lnTo>
                <a:lnTo>
                  <a:pt x="193" y="522"/>
                </a:lnTo>
                <a:lnTo>
                  <a:pt x="195" y="523"/>
                </a:lnTo>
                <a:lnTo>
                  <a:pt x="197" y="523"/>
                </a:lnTo>
                <a:lnTo>
                  <a:pt x="448" y="206"/>
                </a:lnTo>
                <a:lnTo>
                  <a:pt x="586" y="13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2" name="Freeform 39"/>
          <p:cNvSpPr>
            <a:spLocks/>
          </p:cNvSpPr>
          <p:nvPr userDrawn="1"/>
        </p:nvSpPr>
        <p:spPr bwMode="auto">
          <a:xfrm>
            <a:off x="7288212" y="1417340"/>
            <a:ext cx="115888" cy="66675"/>
          </a:xfrm>
          <a:custGeom>
            <a:avLst/>
            <a:gdLst>
              <a:gd name="T0" fmla="*/ 226 w 879"/>
              <a:gd name="T1" fmla="*/ 65 h 509"/>
              <a:gd name="T2" fmla="*/ 0 w 879"/>
              <a:gd name="T3" fmla="*/ 355 h 509"/>
              <a:gd name="T4" fmla="*/ 369 w 879"/>
              <a:gd name="T5" fmla="*/ 509 h 509"/>
              <a:gd name="T6" fmla="*/ 369 w 879"/>
              <a:gd name="T7" fmla="*/ 509 h 509"/>
              <a:gd name="T8" fmla="*/ 409 w 879"/>
              <a:gd name="T9" fmla="*/ 487 h 509"/>
              <a:gd name="T10" fmla="*/ 452 w 879"/>
              <a:gd name="T11" fmla="*/ 464 h 509"/>
              <a:gd name="T12" fmla="*/ 495 w 879"/>
              <a:gd name="T13" fmla="*/ 439 h 509"/>
              <a:gd name="T14" fmla="*/ 538 w 879"/>
              <a:gd name="T15" fmla="*/ 413 h 509"/>
              <a:gd name="T16" fmla="*/ 623 w 879"/>
              <a:gd name="T17" fmla="*/ 361 h 509"/>
              <a:gd name="T18" fmla="*/ 703 w 879"/>
              <a:gd name="T19" fmla="*/ 311 h 509"/>
              <a:gd name="T20" fmla="*/ 773 w 879"/>
              <a:gd name="T21" fmla="*/ 266 h 509"/>
              <a:gd name="T22" fmla="*/ 829 w 879"/>
              <a:gd name="T23" fmla="*/ 229 h 509"/>
              <a:gd name="T24" fmla="*/ 879 w 879"/>
              <a:gd name="T25" fmla="*/ 196 h 509"/>
              <a:gd name="T26" fmla="*/ 359 w 879"/>
              <a:gd name="T27" fmla="*/ 0 h 509"/>
              <a:gd name="T28" fmla="*/ 226 w 879"/>
              <a:gd name="T29" fmla="*/ 65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9" h="509">
                <a:moveTo>
                  <a:pt x="226" y="65"/>
                </a:moveTo>
                <a:lnTo>
                  <a:pt x="0" y="355"/>
                </a:lnTo>
                <a:lnTo>
                  <a:pt x="369" y="509"/>
                </a:lnTo>
                <a:lnTo>
                  <a:pt x="369" y="509"/>
                </a:lnTo>
                <a:lnTo>
                  <a:pt x="409" y="487"/>
                </a:lnTo>
                <a:lnTo>
                  <a:pt x="452" y="464"/>
                </a:lnTo>
                <a:lnTo>
                  <a:pt x="495" y="439"/>
                </a:lnTo>
                <a:lnTo>
                  <a:pt x="538" y="413"/>
                </a:lnTo>
                <a:lnTo>
                  <a:pt x="623" y="361"/>
                </a:lnTo>
                <a:lnTo>
                  <a:pt x="703" y="311"/>
                </a:lnTo>
                <a:lnTo>
                  <a:pt x="773" y="266"/>
                </a:lnTo>
                <a:lnTo>
                  <a:pt x="829" y="229"/>
                </a:lnTo>
                <a:lnTo>
                  <a:pt x="879" y="196"/>
                </a:lnTo>
                <a:lnTo>
                  <a:pt x="359" y="0"/>
                </a:lnTo>
                <a:lnTo>
                  <a:pt x="226" y="6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3" name="Freeform 40"/>
          <p:cNvSpPr>
            <a:spLocks/>
          </p:cNvSpPr>
          <p:nvPr userDrawn="1"/>
        </p:nvSpPr>
        <p:spPr bwMode="auto">
          <a:xfrm>
            <a:off x="7323137" y="1172865"/>
            <a:ext cx="26988" cy="123825"/>
          </a:xfrm>
          <a:custGeom>
            <a:avLst/>
            <a:gdLst>
              <a:gd name="T0" fmla="*/ 170 w 211"/>
              <a:gd name="T1" fmla="*/ 388 h 928"/>
              <a:gd name="T2" fmla="*/ 169 w 211"/>
              <a:gd name="T3" fmla="*/ 133 h 928"/>
              <a:gd name="T4" fmla="*/ 171 w 211"/>
              <a:gd name="T5" fmla="*/ 84 h 928"/>
              <a:gd name="T6" fmla="*/ 172 w 211"/>
              <a:gd name="T7" fmla="*/ 79 h 928"/>
              <a:gd name="T8" fmla="*/ 182 w 211"/>
              <a:gd name="T9" fmla="*/ 64 h 928"/>
              <a:gd name="T10" fmla="*/ 188 w 211"/>
              <a:gd name="T11" fmla="*/ 53 h 928"/>
              <a:gd name="T12" fmla="*/ 192 w 211"/>
              <a:gd name="T13" fmla="*/ 36 h 928"/>
              <a:gd name="T14" fmla="*/ 191 w 211"/>
              <a:gd name="T15" fmla="*/ 18 h 928"/>
              <a:gd name="T16" fmla="*/ 188 w 211"/>
              <a:gd name="T17" fmla="*/ 0 h 928"/>
              <a:gd name="T18" fmla="*/ 6 w 211"/>
              <a:gd name="T19" fmla="*/ 0 h 928"/>
              <a:gd name="T20" fmla="*/ 4 w 211"/>
              <a:gd name="T21" fmla="*/ 8 h 928"/>
              <a:gd name="T22" fmla="*/ 5 w 211"/>
              <a:gd name="T23" fmla="*/ 33 h 928"/>
              <a:gd name="T24" fmla="*/ 7 w 211"/>
              <a:gd name="T25" fmla="*/ 43 h 928"/>
              <a:gd name="T26" fmla="*/ 17 w 211"/>
              <a:gd name="T27" fmla="*/ 65 h 928"/>
              <a:gd name="T28" fmla="*/ 28 w 211"/>
              <a:gd name="T29" fmla="*/ 80 h 928"/>
              <a:gd name="T30" fmla="*/ 33 w 211"/>
              <a:gd name="T31" fmla="*/ 388 h 928"/>
              <a:gd name="T32" fmla="*/ 29 w 211"/>
              <a:gd name="T33" fmla="*/ 395 h 928"/>
              <a:gd name="T34" fmla="*/ 19 w 211"/>
              <a:gd name="T35" fmla="*/ 412 h 928"/>
              <a:gd name="T36" fmla="*/ 9 w 211"/>
              <a:gd name="T37" fmla="*/ 443 h 928"/>
              <a:gd name="T38" fmla="*/ 0 w 211"/>
              <a:gd name="T39" fmla="*/ 487 h 928"/>
              <a:gd name="T40" fmla="*/ 0 w 211"/>
              <a:gd name="T41" fmla="*/ 498 h 928"/>
              <a:gd name="T42" fmla="*/ 1 w 211"/>
              <a:gd name="T43" fmla="*/ 518 h 928"/>
              <a:gd name="T44" fmla="*/ 10 w 211"/>
              <a:gd name="T45" fmla="*/ 546 h 928"/>
              <a:gd name="T46" fmla="*/ 23 w 211"/>
              <a:gd name="T47" fmla="*/ 576 h 928"/>
              <a:gd name="T48" fmla="*/ 35 w 211"/>
              <a:gd name="T49" fmla="*/ 594 h 928"/>
              <a:gd name="T50" fmla="*/ 31 w 211"/>
              <a:gd name="T51" fmla="*/ 850 h 928"/>
              <a:gd name="T52" fmla="*/ 23 w 211"/>
              <a:gd name="T53" fmla="*/ 859 h 928"/>
              <a:gd name="T54" fmla="*/ 18 w 211"/>
              <a:gd name="T55" fmla="*/ 871 h 928"/>
              <a:gd name="T56" fmla="*/ 14 w 211"/>
              <a:gd name="T57" fmla="*/ 888 h 928"/>
              <a:gd name="T58" fmla="*/ 14 w 211"/>
              <a:gd name="T59" fmla="*/ 898 h 928"/>
              <a:gd name="T60" fmla="*/ 15 w 211"/>
              <a:gd name="T61" fmla="*/ 919 h 928"/>
              <a:gd name="T62" fmla="*/ 18 w 211"/>
              <a:gd name="T63" fmla="*/ 928 h 928"/>
              <a:gd name="T64" fmla="*/ 188 w 211"/>
              <a:gd name="T65" fmla="*/ 928 h 928"/>
              <a:gd name="T66" fmla="*/ 191 w 211"/>
              <a:gd name="T67" fmla="*/ 906 h 928"/>
              <a:gd name="T68" fmla="*/ 190 w 211"/>
              <a:gd name="T69" fmla="*/ 881 h 928"/>
              <a:gd name="T70" fmla="*/ 188 w 211"/>
              <a:gd name="T71" fmla="*/ 873 h 928"/>
              <a:gd name="T72" fmla="*/ 179 w 211"/>
              <a:gd name="T73" fmla="*/ 857 h 928"/>
              <a:gd name="T74" fmla="*/ 169 w 211"/>
              <a:gd name="T75" fmla="*/ 846 h 928"/>
              <a:gd name="T76" fmla="*/ 168 w 211"/>
              <a:gd name="T77" fmla="*/ 594 h 928"/>
              <a:gd name="T78" fmla="*/ 190 w 211"/>
              <a:gd name="T79" fmla="*/ 561 h 928"/>
              <a:gd name="T80" fmla="*/ 202 w 211"/>
              <a:gd name="T81" fmla="*/ 537 h 928"/>
              <a:gd name="T82" fmla="*/ 210 w 211"/>
              <a:gd name="T83" fmla="*/ 507 h 928"/>
              <a:gd name="T84" fmla="*/ 211 w 211"/>
              <a:gd name="T85" fmla="*/ 491 h 928"/>
              <a:gd name="T86" fmla="*/ 211 w 211"/>
              <a:gd name="T87" fmla="*/ 482 h 928"/>
              <a:gd name="T88" fmla="*/ 206 w 211"/>
              <a:gd name="T89" fmla="*/ 458 h 928"/>
              <a:gd name="T90" fmla="*/ 195 w 211"/>
              <a:gd name="T91" fmla="*/ 428 h 928"/>
              <a:gd name="T92" fmla="*/ 181 w 211"/>
              <a:gd name="T93" fmla="*/ 405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1" h="928">
                <a:moveTo>
                  <a:pt x="170" y="388"/>
                </a:moveTo>
                <a:lnTo>
                  <a:pt x="170" y="388"/>
                </a:lnTo>
                <a:lnTo>
                  <a:pt x="169" y="238"/>
                </a:lnTo>
                <a:lnTo>
                  <a:pt x="169" y="133"/>
                </a:lnTo>
                <a:lnTo>
                  <a:pt x="170" y="96"/>
                </a:lnTo>
                <a:lnTo>
                  <a:pt x="171" y="84"/>
                </a:lnTo>
                <a:lnTo>
                  <a:pt x="172" y="79"/>
                </a:lnTo>
                <a:lnTo>
                  <a:pt x="172" y="79"/>
                </a:lnTo>
                <a:lnTo>
                  <a:pt x="177" y="71"/>
                </a:lnTo>
                <a:lnTo>
                  <a:pt x="182" y="64"/>
                </a:lnTo>
                <a:lnTo>
                  <a:pt x="188" y="53"/>
                </a:lnTo>
                <a:lnTo>
                  <a:pt x="188" y="53"/>
                </a:lnTo>
                <a:lnTo>
                  <a:pt x="191" y="45"/>
                </a:lnTo>
                <a:lnTo>
                  <a:pt x="192" y="36"/>
                </a:lnTo>
                <a:lnTo>
                  <a:pt x="192" y="28"/>
                </a:lnTo>
                <a:lnTo>
                  <a:pt x="191" y="18"/>
                </a:lnTo>
                <a:lnTo>
                  <a:pt x="189" y="5"/>
                </a:lnTo>
                <a:lnTo>
                  <a:pt x="188" y="0"/>
                </a:lnTo>
                <a:lnTo>
                  <a:pt x="6" y="0"/>
                </a:lnTo>
                <a:lnTo>
                  <a:pt x="6" y="0"/>
                </a:lnTo>
                <a:lnTo>
                  <a:pt x="5" y="4"/>
                </a:lnTo>
                <a:lnTo>
                  <a:pt x="4" y="8"/>
                </a:lnTo>
                <a:lnTo>
                  <a:pt x="4" y="20"/>
                </a:lnTo>
                <a:lnTo>
                  <a:pt x="5" y="33"/>
                </a:lnTo>
                <a:lnTo>
                  <a:pt x="7" y="43"/>
                </a:lnTo>
                <a:lnTo>
                  <a:pt x="7" y="43"/>
                </a:lnTo>
                <a:lnTo>
                  <a:pt x="11" y="54"/>
                </a:lnTo>
                <a:lnTo>
                  <a:pt x="17" y="65"/>
                </a:lnTo>
                <a:lnTo>
                  <a:pt x="24" y="76"/>
                </a:lnTo>
                <a:lnTo>
                  <a:pt x="28" y="80"/>
                </a:lnTo>
                <a:lnTo>
                  <a:pt x="33" y="83"/>
                </a:lnTo>
                <a:lnTo>
                  <a:pt x="33" y="388"/>
                </a:lnTo>
                <a:lnTo>
                  <a:pt x="33" y="388"/>
                </a:lnTo>
                <a:lnTo>
                  <a:pt x="29" y="395"/>
                </a:lnTo>
                <a:lnTo>
                  <a:pt x="24" y="402"/>
                </a:lnTo>
                <a:lnTo>
                  <a:pt x="19" y="412"/>
                </a:lnTo>
                <a:lnTo>
                  <a:pt x="14" y="426"/>
                </a:lnTo>
                <a:lnTo>
                  <a:pt x="9" y="443"/>
                </a:lnTo>
                <a:lnTo>
                  <a:pt x="4" y="463"/>
                </a:lnTo>
                <a:lnTo>
                  <a:pt x="0" y="487"/>
                </a:lnTo>
                <a:lnTo>
                  <a:pt x="0" y="487"/>
                </a:lnTo>
                <a:lnTo>
                  <a:pt x="0" y="498"/>
                </a:lnTo>
                <a:lnTo>
                  <a:pt x="0" y="508"/>
                </a:lnTo>
                <a:lnTo>
                  <a:pt x="1" y="518"/>
                </a:lnTo>
                <a:lnTo>
                  <a:pt x="4" y="529"/>
                </a:lnTo>
                <a:lnTo>
                  <a:pt x="10" y="546"/>
                </a:lnTo>
                <a:lnTo>
                  <a:pt x="16" y="562"/>
                </a:lnTo>
                <a:lnTo>
                  <a:pt x="23" y="576"/>
                </a:lnTo>
                <a:lnTo>
                  <a:pt x="29" y="585"/>
                </a:lnTo>
                <a:lnTo>
                  <a:pt x="35" y="594"/>
                </a:lnTo>
                <a:lnTo>
                  <a:pt x="31" y="850"/>
                </a:lnTo>
                <a:lnTo>
                  <a:pt x="31" y="850"/>
                </a:lnTo>
                <a:lnTo>
                  <a:pt x="29" y="852"/>
                </a:lnTo>
                <a:lnTo>
                  <a:pt x="23" y="859"/>
                </a:lnTo>
                <a:lnTo>
                  <a:pt x="20" y="864"/>
                </a:lnTo>
                <a:lnTo>
                  <a:pt x="18" y="871"/>
                </a:lnTo>
                <a:lnTo>
                  <a:pt x="15" y="879"/>
                </a:lnTo>
                <a:lnTo>
                  <a:pt x="14" y="888"/>
                </a:lnTo>
                <a:lnTo>
                  <a:pt x="14" y="888"/>
                </a:lnTo>
                <a:lnTo>
                  <a:pt x="14" y="898"/>
                </a:lnTo>
                <a:lnTo>
                  <a:pt x="14" y="906"/>
                </a:lnTo>
                <a:lnTo>
                  <a:pt x="15" y="919"/>
                </a:lnTo>
                <a:lnTo>
                  <a:pt x="17" y="926"/>
                </a:lnTo>
                <a:lnTo>
                  <a:pt x="18" y="928"/>
                </a:lnTo>
                <a:lnTo>
                  <a:pt x="188" y="928"/>
                </a:lnTo>
                <a:lnTo>
                  <a:pt x="188" y="928"/>
                </a:lnTo>
                <a:lnTo>
                  <a:pt x="190" y="920"/>
                </a:lnTo>
                <a:lnTo>
                  <a:pt x="191" y="906"/>
                </a:lnTo>
                <a:lnTo>
                  <a:pt x="190" y="889"/>
                </a:lnTo>
                <a:lnTo>
                  <a:pt x="190" y="881"/>
                </a:lnTo>
                <a:lnTo>
                  <a:pt x="188" y="873"/>
                </a:lnTo>
                <a:lnTo>
                  <a:pt x="188" y="873"/>
                </a:lnTo>
                <a:lnTo>
                  <a:pt x="185" y="864"/>
                </a:lnTo>
                <a:lnTo>
                  <a:pt x="179" y="857"/>
                </a:lnTo>
                <a:lnTo>
                  <a:pt x="174" y="851"/>
                </a:lnTo>
                <a:lnTo>
                  <a:pt x="169" y="846"/>
                </a:lnTo>
                <a:lnTo>
                  <a:pt x="168" y="594"/>
                </a:lnTo>
                <a:lnTo>
                  <a:pt x="168" y="594"/>
                </a:lnTo>
                <a:lnTo>
                  <a:pt x="181" y="573"/>
                </a:lnTo>
                <a:lnTo>
                  <a:pt x="190" y="561"/>
                </a:lnTo>
                <a:lnTo>
                  <a:pt x="196" y="550"/>
                </a:lnTo>
                <a:lnTo>
                  <a:pt x="202" y="537"/>
                </a:lnTo>
                <a:lnTo>
                  <a:pt x="207" y="522"/>
                </a:lnTo>
                <a:lnTo>
                  <a:pt x="210" y="507"/>
                </a:lnTo>
                <a:lnTo>
                  <a:pt x="211" y="499"/>
                </a:lnTo>
                <a:lnTo>
                  <a:pt x="211" y="491"/>
                </a:lnTo>
                <a:lnTo>
                  <a:pt x="211" y="491"/>
                </a:lnTo>
                <a:lnTo>
                  <a:pt x="211" y="482"/>
                </a:lnTo>
                <a:lnTo>
                  <a:pt x="210" y="473"/>
                </a:lnTo>
                <a:lnTo>
                  <a:pt x="206" y="458"/>
                </a:lnTo>
                <a:lnTo>
                  <a:pt x="201" y="443"/>
                </a:lnTo>
                <a:lnTo>
                  <a:pt x="195" y="428"/>
                </a:lnTo>
                <a:lnTo>
                  <a:pt x="189" y="416"/>
                </a:lnTo>
                <a:lnTo>
                  <a:pt x="181" y="405"/>
                </a:lnTo>
                <a:lnTo>
                  <a:pt x="170" y="3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4" name="Freeform 41"/>
          <p:cNvSpPr>
            <a:spLocks/>
          </p:cNvSpPr>
          <p:nvPr userDrawn="1"/>
        </p:nvSpPr>
        <p:spPr bwMode="auto">
          <a:xfrm>
            <a:off x="7351712" y="1209378"/>
            <a:ext cx="80963" cy="58738"/>
          </a:xfrm>
          <a:custGeom>
            <a:avLst/>
            <a:gdLst>
              <a:gd name="T0" fmla="*/ 617 w 617"/>
              <a:gd name="T1" fmla="*/ 73 h 442"/>
              <a:gd name="T2" fmla="*/ 433 w 617"/>
              <a:gd name="T3" fmla="*/ 70 h 442"/>
              <a:gd name="T4" fmla="*/ 202 w 617"/>
              <a:gd name="T5" fmla="*/ 68 h 442"/>
              <a:gd name="T6" fmla="*/ 195 w 617"/>
              <a:gd name="T7" fmla="*/ 67 h 442"/>
              <a:gd name="T8" fmla="*/ 174 w 617"/>
              <a:gd name="T9" fmla="*/ 61 h 442"/>
              <a:gd name="T10" fmla="*/ 137 w 617"/>
              <a:gd name="T11" fmla="*/ 44 h 442"/>
              <a:gd name="T12" fmla="*/ 84 w 617"/>
              <a:gd name="T13" fmla="*/ 16 h 442"/>
              <a:gd name="T14" fmla="*/ 53 w 617"/>
              <a:gd name="T15" fmla="*/ 2 h 442"/>
              <a:gd name="T16" fmla="*/ 40 w 617"/>
              <a:gd name="T17" fmla="*/ 0 h 442"/>
              <a:gd name="T18" fmla="*/ 37 w 617"/>
              <a:gd name="T19" fmla="*/ 2 h 442"/>
              <a:gd name="T20" fmla="*/ 22 w 617"/>
              <a:gd name="T21" fmla="*/ 38 h 442"/>
              <a:gd name="T22" fmla="*/ 1 w 617"/>
              <a:gd name="T23" fmla="*/ 91 h 442"/>
              <a:gd name="T24" fmla="*/ 19 w 617"/>
              <a:gd name="T25" fmla="*/ 113 h 442"/>
              <a:gd name="T26" fmla="*/ 38 w 617"/>
              <a:gd name="T27" fmla="*/ 147 h 442"/>
              <a:gd name="T28" fmla="*/ 47 w 617"/>
              <a:gd name="T29" fmla="*/ 169 h 442"/>
              <a:gd name="T30" fmla="*/ 52 w 617"/>
              <a:gd name="T31" fmla="*/ 191 h 442"/>
              <a:gd name="T32" fmla="*/ 55 w 617"/>
              <a:gd name="T33" fmla="*/ 216 h 442"/>
              <a:gd name="T34" fmla="*/ 53 w 617"/>
              <a:gd name="T35" fmla="*/ 235 h 442"/>
              <a:gd name="T36" fmla="*/ 48 w 617"/>
              <a:gd name="T37" fmla="*/ 265 h 442"/>
              <a:gd name="T38" fmla="*/ 42 w 617"/>
              <a:gd name="T39" fmla="*/ 283 h 442"/>
              <a:gd name="T40" fmla="*/ 32 w 617"/>
              <a:gd name="T41" fmla="*/ 304 h 442"/>
              <a:gd name="T42" fmla="*/ 19 w 617"/>
              <a:gd name="T43" fmla="*/ 324 h 442"/>
              <a:gd name="T44" fmla="*/ 0 w 617"/>
              <a:gd name="T45" fmla="*/ 345 h 442"/>
              <a:gd name="T46" fmla="*/ 23 w 617"/>
              <a:gd name="T47" fmla="*/ 391 h 442"/>
              <a:gd name="T48" fmla="*/ 47 w 617"/>
              <a:gd name="T49" fmla="*/ 435 h 442"/>
              <a:gd name="T50" fmla="*/ 52 w 617"/>
              <a:gd name="T51" fmla="*/ 442 h 442"/>
              <a:gd name="T52" fmla="*/ 84 w 617"/>
              <a:gd name="T53" fmla="*/ 423 h 442"/>
              <a:gd name="T54" fmla="*/ 129 w 617"/>
              <a:gd name="T55" fmla="*/ 400 h 442"/>
              <a:gd name="T56" fmla="*/ 183 w 617"/>
              <a:gd name="T57" fmla="*/ 378 h 442"/>
              <a:gd name="T58" fmla="*/ 211 w 617"/>
              <a:gd name="T59" fmla="*/ 371 h 442"/>
              <a:gd name="T60" fmla="*/ 224 w 617"/>
              <a:gd name="T61" fmla="*/ 369 h 442"/>
              <a:gd name="T62" fmla="*/ 330 w 617"/>
              <a:gd name="T63" fmla="*/ 363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17" h="442">
                <a:moveTo>
                  <a:pt x="330" y="363"/>
                </a:moveTo>
                <a:lnTo>
                  <a:pt x="617" y="73"/>
                </a:lnTo>
                <a:lnTo>
                  <a:pt x="617" y="73"/>
                </a:lnTo>
                <a:lnTo>
                  <a:pt x="433" y="70"/>
                </a:lnTo>
                <a:lnTo>
                  <a:pt x="324" y="69"/>
                </a:lnTo>
                <a:lnTo>
                  <a:pt x="202" y="68"/>
                </a:lnTo>
                <a:lnTo>
                  <a:pt x="202" y="68"/>
                </a:lnTo>
                <a:lnTo>
                  <a:pt x="195" y="67"/>
                </a:lnTo>
                <a:lnTo>
                  <a:pt x="185" y="65"/>
                </a:lnTo>
                <a:lnTo>
                  <a:pt x="174" y="61"/>
                </a:lnTo>
                <a:lnTo>
                  <a:pt x="163" y="56"/>
                </a:lnTo>
                <a:lnTo>
                  <a:pt x="137" y="44"/>
                </a:lnTo>
                <a:lnTo>
                  <a:pt x="110" y="30"/>
                </a:lnTo>
                <a:lnTo>
                  <a:pt x="84" y="16"/>
                </a:lnTo>
                <a:lnTo>
                  <a:pt x="63" y="6"/>
                </a:lnTo>
                <a:lnTo>
                  <a:pt x="53" y="2"/>
                </a:lnTo>
                <a:lnTo>
                  <a:pt x="45" y="1"/>
                </a:lnTo>
                <a:lnTo>
                  <a:pt x="40" y="0"/>
                </a:lnTo>
                <a:lnTo>
                  <a:pt x="38" y="1"/>
                </a:lnTo>
                <a:lnTo>
                  <a:pt x="37" y="2"/>
                </a:lnTo>
                <a:lnTo>
                  <a:pt x="37" y="2"/>
                </a:lnTo>
                <a:lnTo>
                  <a:pt x="22" y="38"/>
                </a:lnTo>
                <a:lnTo>
                  <a:pt x="1" y="91"/>
                </a:lnTo>
                <a:lnTo>
                  <a:pt x="1" y="91"/>
                </a:lnTo>
                <a:lnTo>
                  <a:pt x="10" y="101"/>
                </a:lnTo>
                <a:lnTo>
                  <a:pt x="19" y="113"/>
                </a:lnTo>
                <a:lnTo>
                  <a:pt x="29" y="129"/>
                </a:lnTo>
                <a:lnTo>
                  <a:pt x="38" y="147"/>
                </a:lnTo>
                <a:lnTo>
                  <a:pt x="43" y="157"/>
                </a:lnTo>
                <a:lnTo>
                  <a:pt x="47" y="169"/>
                </a:lnTo>
                <a:lnTo>
                  <a:pt x="50" y="180"/>
                </a:lnTo>
                <a:lnTo>
                  <a:pt x="52" y="191"/>
                </a:lnTo>
                <a:lnTo>
                  <a:pt x="55" y="203"/>
                </a:lnTo>
                <a:lnTo>
                  <a:pt x="55" y="216"/>
                </a:lnTo>
                <a:lnTo>
                  <a:pt x="55" y="216"/>
                </a:lnTo>
                <a:lnTo>
                  <a:pt x="53" y="235"/>
                </a:lnTo>
                <a:lnTo>
                  <a:pt x="51" y="248"/>
                </a:lnTo>
                <a:lnTo>
                  <a:pt x="48" y="265"/>
                </a:lnTo>
                <a:lnTo>
                  <a:pt x="45" y="274"/>
                </a:lnTo>
                <a:lnTo>
                  <a:pt x="42" y="283"/>
                </a:lnTo>
                <a:lnTo>
                  <a:pt x="38" y="293"/>
                </a:lnTo>
                <a:lnTo>
                  <a:pt x="32" y="304"/>
                </a:lnTo>
                <a:lnTo>
                  <a:pt x="26" y="313"/>
                </a:lnTo>
                <a:lnTo>
                  <a:pt x="19" y="324"/>
                </a:lnTo>
                <a:lnTo>
                  <a:pt x="11" y="334"/>
                </a:lnTo>
                <a:lnTo>
                  <a:pt x="0" y="345"/>
                </a:lnTo>
                <a:lnTo>
                  <a:pt x="0" y="345"/>
                </a:lnTo>
                <a:lnTo>
                  <a:pt x="23" y="391"/>
                </a:lnTo>
                <a:lnTo>
                  <a:pt x="40" y="423"/>
                </a:lnTo>
                <a:lnTo>
                  <a:pt x="47" y="435"/>
                </a:lnTo>
                <a:lnTo>
                  <a:pt x="52" y="442"/>
                </a:lnTo>
                <a:lnTo>
                  <a:pt x="52" y="442"/>
                </a:lnTo>
                <a:lnTo>
                  <a:pt x="67" y="433"/>
                </a:lnTo>
                <a:lnTo>
                  <a:pt x="84" y="423"/>
                </a:lnTo>
                <a:lnTo>
                  <a:pt x="105" y="412"/>
                </a:lnTo>
                <a:lnTo>
                  <a:pt x="129" y="400"/>
                </a:lnTo>
                <a:lnTo>
                  <a:pt x="156" y="388"/>
                </a:lnTo>
                <a:lnTo>
                  <a:pt x="183" y="378"/>
                </a:lnTo>
                <a:lnTo>
                  <a:pt x="198" y="374"/>
                </a:lnTo>
                <a:lnTo>
                  <a:pt x="211" y="371"/>
                </a:lnTo>
                <a:lnTo>
                  <a:pt x="211" y="371"/>
                </a:lnTo>
                <a:lnTo>
                  <a:pt x="224" y="369"/>
                </a:lnTo>
                <a:lnTo>
                  <a:pt x="248" y="367"/>
                </a:lnTo>
                <a:lnTo>
                  <a:pt x="330" y="36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5" name="Freeform 42"/>
          <p:cNvSpPr>
            <a:spLocks/>
          </p:cNvSpPr>
          <p:nvPr userDrawn="1"/>
        </p:nvSpPr>
        <p:spPr bwMode="auto">
          <a:xfrm>
            <a:off x="7453312" y="1131590"/>
            <a:ext cx="158750" cy="127000"/>
          </a:xfrm>
          <a:custGeom>
            <a:avLst/>
            <a:gdLst>
              <a:gd name="T0" fmla="*/ 1179 w 1207"/>
              <a:gd name="T1" fmla="*/ 480 h 962"/>
              <a:gd name="T2" fmla="*/ 1115 w 1207"/>
              <a:gd name="T3" fmla="*/ 496 h 962"/>
              <a:gd name="T4" fmla="*/ 1079 w 1207"/>
              <a:gd name="T5" fmla="*/ 532 h 962"/>
              <a:gd name="T6" fmla="*/ 1057 w 1207"/>
              <a:gd name="T7" fmla="*/ 600 h 962"/>
              <a:gd name="T8" fmla="*/ 1046 w 1207"/>
              <a:gd name="T9" fmla="*/ 585 h 962"/>
              <a:gd name="T10" fmla="*/ 1007 w 1207"/>
              <a:gd name="T11" fmla="*/ 556 h 962"/>
              <a:gd name="T12" fmla="*/ 935 w 1207"/>
              <a:gd name="T13" fmla="*/ 562 h 962"/>
              <a:gd name="T14" fmla="*/ 930 w 1207"/>
              <a:gd name="T15" fmla="*/ 613 h 962"/>
              <a:gd name="T16" fmla="*/ 935 w 1207"/>
              <a:gd name="T17" fmla="*/ 696 h 962"/>
              <a:gd name="T18" fmla="*/ 890 w 1207"/>
              <a:gd name="T19" fmla="*/ 725 h 962"/>
              <a:gd name="T20" fmla="*/ 842 w 1207"/>
              <a:gd name="T21" fmla="*/ 709 h 962"/>
              <a:gd name="T22" fmla="*/ 816 w 1207"/>
              <a:gd name="T23" fmla="*/ 658 h 962"/>
              <a:gd name="T24" fmla="*/ 805 w 1207"/>
              <a:gd name="T25" fmla="*/ 643 h 962"/>
              <a:gd name="T26" fmla="*/ 749 w 1207"/>
              <a:gd name="T27" fmla="*/ 659 h 962"/>
              <a:gd name="T28" fmla="*/ 701 w 1207"/>
              <a:gd name="T29" fmla="*/ 634 h 962"/>
              <a:gd name="T30" fmla="*/ 694 w 1207"/>
              <a:gd name="T31" fmla="*/ 581 h 962"/>
              <a:gd name="T32" fmla="*/ 754 w 1207"/>
              <a:gd name="T33" fmla="*/ 540 h 962"/>
              <a:gd name="T34" fmla="*/ 824 w 1207"/>
              <a:gd name="T35" fmla="*/ 520 h 962"/>
              <a:gd name="T36" fmla="*/ 805 w 1207"/>
              <a:gd name="T37" fmla="*/ 460 h 962"/>
              <a:gd name="T38" fmla="*/ 764 w 1207"/>
              <a:gd name="T39" fmla="*/ 421 h 962"/>
              <a:gd name="T40" fmla="*/ 698 w 1207"/>
              <a:gd name="T41" fmla="*/ 414 h 962"/>
              <a:gd name="T42" fmla="*/ 672 w 1207"/>
              <a:gd name="T43" fmla="*/ 415 h 962"/>
              <a:gd name="T44" fmla="*/ 712 w 1207"/>
              <a:gd name="T45" fmla="*/ 360 h 962"/>
              <a:gd name="T46" fmla="*/ 709 w 1207"/>
              <a:gd name="T47" fmla="*/ 285 h 962"/>
              <a:gd name="T48" fmla="*/ 668 w 1207"/>
              <a:gd name="T49" fmla="*/ 214 h 962"/>
              <a:gd name="T50" fmla="*/ 606 w 1207"/>
              <a:gd name="T51" fmla="*/ 224 h 962"/>
              <a:gd name="T52" fmla="*/ 535 w 1207"/>
              <a:gd name="T53" fmla="*/ 272 h 962"/>
              <a:gd name="T54" fmla="*/ 516 w 1207"/>
              <a:gd name="T55" fmla="*/ 334 h 962"/>
              <a:gd name="T56" fmla="*/ 508 w 1207"/>
              <a:gd name="T57" fmla="*/ 341 h 962"/>
              <a:gd name="T58" fmla="*/ 458 w 1207"/>
              <a:gd name="T59" fmla="*/ 287 h 962"/>
              <a:gd name="T60" fmla="*/ 404 w 1207"/>
              <a:gd name="T61" fmla="*/ 278 h 962"/>
              <a:gd name="T62" fmla="*/ 345 w 1207"/>
              <a:gd name="T63" fmla="*/ 300 h 962"/>
              <a:gd name="T64" fmla="*/ 362 w 1207"/>
              <a:gd name="T65" fmla="*/ 357 h 962"/>
              <a:gd name="T66" fmla="*/ 382 w 1207"/>
              <a:gd name="T67" fmla="*/ 432 h 962"/>
              <a:gd name="T68" fmla="*/ 347 w 1207"/>
              <a:gd name="T69" fmla="*/ 472 h 962"/>
              <a:gd name="T70" fmla="*/ 292 w 1207"/>
              <a:gd name="T71" fmla="*/ 462 h 962"/>
              <a:gd name="T72" fmla="*/ 262 w 1207"/>
              <a:gd name="T73" fmla="*/ 417 h 962"/>
              <a:gd name="T74" fmla="*/ 249 w 1207"/>
              <a:gd name="T75" fmla="*/ 398 h 962"/>
              <a:gd name="T76" fmla="*/ 194 w 1207"/>
              <a:gd name="T77" fmla="*/ 421 h 962"/>
              <a:gd name="T78" fmla="*/ 147 w 1207"/>
              <a:gd name="T79" fmla="*/ 404 h 962"/>
              <a:gd name="T80" fmla="*/ 128 w 1207"/>
              <a:gd name="T81" fmla="*/ 354 h 962"/>
              <a:gd name="T82" fmla="*/ 178 w 1207"/>
              <a:gd name="T83" fmla="*/ 300 h 962"/>
              <a:gd name="T84" fmla="*/ 233 w 1207"/>
              <a:gd name="T85" fmla="*/ 262 h 962"/>
              <a:gd name="T86" fmla="*/ 195 w 1207"/>
              <a:gd name="T87" fmla="*/ 203 h 962"/>
              <a:gd name="T88" fmla="*/ 145 w 1207"/>
              <a:gd name="T89" fmla="*/ 185 h 962"/>
              <a:gd name="T90" fmla="*/ 115 w 1207"/>
              <a:gd name="T91" fmla="*/ 191 h 962"/>
              <a:gd name="T92" fmla="*/ 153 w 1207"/>
              <a:gd name="T93" fmla="*/ 136 h 962"/>
              <a:gd name="T94" fmla="*/ 157 w 1207"/>
              <a:gd name="T95" fmla="*/ 76 h 962"/>
              <a:gd name="T96" fmla="*/ 134 w 1207"/>
              <a:gd name="T97" fmla="*/ 28 h 962"/>
              <a:gd name="T98" fmla="*/ 269 w 1207"/>
              <a:gd name="T99" fmla="*/ 712 h 962"/>
              <a:gd name="T100" fmla="*/ 354 w 1207"/>
              <a:gd name="T101" fmla="*/ 656 h 962"/>
              <a:gd name="T102" fmla="*/ 437 w 1207"/>
              <a:gd name="T103" fmla="*/ 636 h 962"/>
              <a:gd name="T104" fmla="*/ 517 w 1207"/>
              <a:gd name="T105" fmla="*/ 643 h 962"/>
              <a:gd name="T106" fmla="*/ 610 w 1207"/>
              <a:gd name="T107" fmla="*/ 683 h 962"/>
              <a:gd name="T108" fmla="*/ 658 w 1207"/>
              <a:gd name="T109" fmla="*/ 735 h 962"/>
              <a:gd name="T110" fmla="*/ 673 w 1207"/>
              <a:gd name="T111" fmla="*/ 793 h 962"/>
              <a:gd name="T112" fmla="*/ 646 w 1207"/>
              <a:gd name="T113" fmla="*/ 877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07" h="962">
                <a:moveTo>
                  <a:pt x="841" y="962"/>
                </a:moveTo>
                <a:lnTo>
                  <a:pt x="1207" y="484"/>
                </a:lnTo>
                <a:lnTo>
                  <a:pt x="1207" y="484"/>
                </a:lnTo>
                <a:lnTo>
                  <a:pt x="1200" y="482"/>
                </a:lnTo>
                <a:lnTo>
                  <a:pt x="1190" y="481"/>
                </a:lnTo>
                <a:lnTo>
                  <a:pt x="1179" y="480"/>
                </a:lnTo>
                <a:lnTo>
                  <a:pt x="1166" y="480"/>
                </a:lnTo>
                <a:lnTo>
                  <a:pt x="1149" y="483"/>
                </a:lnTo>
                <a:lnTo>
                  <a:pt x="1141" y="485"/>
                </a:lnTo>
                <a:lnTo>
                  <a:pt x="1133" y="488"/>
                </a:lnTo>
                <a:lnTo>
                  <a:pt x="1124" y="492"/>
                </a:lnTo>
                <a:lnTo>
                  <a:pt x="1115" y="496"/>
                </a:lnTo>
                <a:lnTo>
                  <a:pt x="1115" y="496"/>
                </a:lnTo>
                <a:lnTo>
                  <a:pt x="1106" y="502"/>
                </a:lnTo>
                <a:lnTo>
                  <a:pt x="1097" y="508"/>
                </a:lnTo>
                <a:lnTo>
                  <a:pt x="1090" y="515"/>
                </a:lnTo>
                <a:lnTo>
                  <a:pt x="1084" y="523"/>
                </a:lnTo>
                <a:lnTo>
                  <a:pt x="1079" y="532"/>
                </a:lnTo>
                <a:lnTo>
                  <a:pt x="1074" y="540"/>
                </a:lnTo>
                <a:lnTo>
                  <a:pt x="1070" y="548"/>
                </a:lnTo>
                <a:lnTo>
                  <a:pt x="1067" y="557"/>
                </a:lnTo>
                <a:lnTo>
                  <a:pt x="1062" y="574"/>
                </a:lnTo>
                <a:lnTo>
                  <a:pt x="1058" y="589"/>
                </a:lnTo>
                <a:lnTo>
                  <a:pt x="1057" y="600"/>
                </a:lnTo>
                <a:lnTo>
                  <a:pt x="1058" y="605"/>
                </a:lnTo>
                <a:lnTo>
                  <a:pt x="1059" y="608"/>
                </a:lnTo>
                <a:lnTo>
                  <a:pt x="1059" y="608"/>
                </a:lnTo>
                <a:lnTo>
                  <a:pt x="1055" y="599"/>
                </a:lnTo>
                <a:lnTo>
                  <a:pt x="1051" y="592"/>
                </a:lnTo>
                <a:lnTo>
                  <a:pt x="1046" y="585"/>
                </a:lnTo>
                <a:lnTo>
                  <a:pt x="1041" y="579"/>
                </a:lnTo>
                <a:lnTo>
                  <a:pt x="1036" y="574"/>
                </a:lnTo>
                <a:lnTo>
                  <a:pt x="1031" y="568"/>
                </a:lnTo>
                <a:lnTo>
                  <a:pt x="1025" y="564"/>
                </a:lnTo>
                <a:lnTo>
                  <a:pt x="1020" y="561"/>
                </a:lnTo>
                <a:lnTo>
                  <a:pt x="1007" y="556"/>
                </a:lnTo>
                <a:lnTo>
                  <a:pt x="994" y="554"/>
                </a:lnTo>
                <a:lnTo>
                  <a:pt x="982" y="553"/>
                </a:lnTo>
                <a:lnTo>
                  <a:pt x="970" y="554"/>
                </a:lnTo>
                <a:lnTo>
                  <a:pt x="957" y="556"/>
                </a:lnTo>
                <a:lnTo>
                  <a:pt x="946" y="558"/>
                </a:lnTo>
                <a:lnTo>
                  <a:pt x="935" y="562"/>
                </a:lnTo>
                <a:lnTo>
                  <a:pt x="927" y="565"/>
                </a:lnTo>
                <a:lnTo>
                  <a:pt x="913" y="572"/>
                </a:lnTo>
                <a:lnTo>
                  <a:pt x="908" y="574"/>
                </a:lnTo>
                <a:lnTo>
                  <a:pt x="908" y="574"/>
                </a:lnTo>
                <a:lnTo>
                  <a:pt x="920" y="594"/>
                </a:lnTo>
                <a:lnTo>
                  <a:pt x="930" y="613"/>
                </a:lnTo>
                <a:lnTo>
                  <a:pt x="936" y="632"/>
                </a:lnTo>
                <a:lnTo>
                  <a:pt x="940" y="647"/>
                </a:lnTo>
                <a:lnTo>
                  <a:pt x="941" y="663"/>
                </a:lnTo>
                <a:lnTo>
                  <a:pt x="941" y="675"/>
                </a:lnTo>
                <a:lnTo>
                  <a:pt x="939" y="687"/>
                </a:lnTo>
                <a:lnTo>
                  <a:pt x="935" y="696"/>
                </a:lnTo>
                <a:lnTo>
                  <a:pt x="930" y="705"/>
                </a:lnTo>
                <a:lnTo>
                  <a:pt x="924" y="712"/>
                </a:lnTo>
                <a:lnTo>
                  <a:pt x="915" y="718"/>
                </a:lnTo>
                <a:lnTo>
                  <a:pt x="907" y="722"/>
                </a:lnTo>
                <a:lnTo>
                  <a:pt x="899" y="724"/>
                </a:lnTo>
                <a:lnTo>
                  <a:pt x="890" y="725"/>
                </a:lnTo>
                <a:lnTo>
                  <a:pt x="881" y="725"/>
                </a:lnTo>
                <a:lnTo>
                  <a:pt x="871" y="724"/>
                </a:lnTo>
                <a:lnTo>
                  <a:pt x="871" y="724"/>
                </a:lnTo>
                <a:lnTo>
                  <a:pt x="859" y="720"/>
                </a:lnTo>
                <a:lnTo>
                  <a:pt x="850" y="715"/>
                </a:lnTo>
                <a:lnTo>
                  <a:pt x="842" y="709"/>
                </a:lnTo>
                <a:lnTo>
                  <a:pt x="835" y="702"/>
                </a:lnTo>
                <a:lnTo>
                  <a:pt x="829" y="695"/>
                </a:lnTo>
                <a:lnTo>
                  <a:pt x="825" y="688"/>
                </a:lnTo>
                <a:lnTo>
                  <a:pt x="821" y="680"/>
                </a:lnTo>
                <a:lnTo>
                  <a:pt x="819" y="673"/>
                </a:lnTo>
                <a:lnTo>
                  <a:pt x="816" y="658"/>
                </a:lnTo>
                <a:lnTo>
                  <a:pt x="816" y="646"/>
                </a:lnTo>
                <a:lnTo>
                  <a:pt x="816" y="638"/>
                </a:lnTo>
                <a:lnTo>
                  <a:pt x="816" y="635"/>
                </a:lnTo>
                <a:lnTo>
                  <a:pt x="816" y="635"/>
                </a:lnTo>
                <a:lnTo>
                  <a:pt x="813" y="637"/>
                </a:lnTo>
                <a:lnTo>
                  <a:pt x="805" y="643"/>
                </a:lnTo>
                <a:lnTo>
                  <a:pt x="793" y="650"/>
                </a:lnTo>
                <a:lnTo>
                  <a:pt x="785" y="653"/>
                </a:lnTo>
                <a:lnTo>
                  <a:pt x="777" y="656"/>
                </a:lnTo>
                <a:lnTo>
                  <a:pt x="768" y="658"/>
                </a:lnTo>
                <a:lnTo>
                  <a:pt x="759" y="659"/>
                </a:lnTo>
                <a:lnTo>
                  <a:pt x="749" y="659"/>
                </a:lnTo>
                <a:lnTo>
                  <a:pt x="739" y="658"/>
                </a:lnTo>
                <a:lnTo>
                  <a:pt x="729" y="655"/>
                </a:lnTo>
                <a:lnTo>
                  <a:pt x="720" y="650"/>
                </a:lnTo>
                <a:lnTo>
                  <a:pt x="710" y="643"/>
                </a:lnTo>
                <a:lnTo>
                  <a:pt x="701" y="634"/>
                </a:lnTo>
                <a:lnTo>
                  <a:pt x="701" y="634"/>
                </a:lnTo>
                <a:lnTo>
                  <a:pt x="694" y="625"/>
                </a:lnTo>
                <a:lnTo>
                  <a:pt x="690" y="616"/>
                </a:lnTo>
                <a:lnTo>
                  <a:pt x="688" y="607"/>
                </a:lnTo>
                <a:lnTo>
                  <a:pt x="689" y="598"/>
                </a:lnTo>
                <a:lnTo>
                  <a:pt x="690" y="589"/>
                </a:lnTo>
                <a:lnTo>
                  <a:pt x="694" y="581"/>
                </a:lnTo>
                <a:lnTo>
                  <a:pt x="701" y="572"/>
                </a:lnTo>
                <a:lnTo>
                  <a:pt x="708" y="564"/>
                </a:lnTo>
                <a:lnTo>
                  <a:pt x="717" y="557"/>
                </a:lnTo>
                <a:lnTo>
                  <a:pt x="727" y="550"/>
                </a:lnTo>
                <a:lnTo>
                  <a:pt x="740" y="544"/>
                </a:lnTo>
                <a:lnTo>
                  <a:pt x="754" y="540"/>
                </a:lnTo>
                <a:lnTo>
                  <a:pt x="769" y="536"/>
                </a:lnTo>
                <a:lnTo>
                  <a:pt x="786" y="533"/>
                </a:lnTo>
                <a:lnTo>
                  <a:pt x="804" y="532"/>
                </a:lnTo>
                <a:lnTo>
                  <a:pt x="823" y="531"/>
                </a:lnTo>
                <a:lnTo>
                  <a:pt x="823" y="531"/>
                </a:lnTo>
                <a:lnTo>
                  <a:pt x="824" y="520"/>
                </a:lnTo>
                <a:lnTo>
                  <a:pt x="823" y="509"/>
                </a:lnTo>
                <a:lnTo>
                  <a:pt x="820" y="494"/>
                </a:lnTo>
                <a:lnTo>
                  <a:pt x="817" y="486"/>
                </a:lnTo>
                <a:lnTo>
                  <a:pt x="814" y="477"/>
                </a:lnTo>
                <a:lnTo>
                  <a:pt x="810" y="469"/>
                </a:lnTo>
                <a:lnTo>
                  <a:pt x="805" y="460"/>
                </a:lnTo>
                <a:lnTo>
                  <a:pt x="799" y="451"/>
                </a:lnTo>
                <a:lnTo>
                  <a:pt x="792" y="443"/>
                </a:lnTo>
                <a:lnTo>
                  <a:pt x="782" y="435"/>
                </a:lnTo>
                <a:lnTo>
                  <a:pt x="772" y="426"/>
                </a:lnTo>
                <a:lnTo>
                  <a:pt x="772" y="426"/>
                </a:lnTo>
                <a:lnTo>
                  <a:pt x="764" y="421"/>
                </a:lnTo>
                <a:lnTo>
                  <a:pt x="755" y="417"/>
                </a:lnTo>
                <a:lnTo>
                  <a:pt x="745" y="415"/>
                </a:lnTo>
                <a:lnTo>
                  <a:pt x="735" y="413"/>
                </a:lnTo>
                <a:lnTo>
                  <a:pt x="725" y="412"/>
                </a:lnTo>
                <a:lnTo>
                  <a:pt x="716" y="412"/>
                </a:lnTo>
                <a:lnTo>
                  <a:pt x="698" y="414"/>
                </a:lnTo>
                <a:lnTo>
                  <a:pt x="681" y="418"/>
                </a:lnTo>
                <a:lnTo>
                  <a:pt x="668" y="421"/>
                </a:lnTo>
                <a:lnTo>
                  <a:pt x="657" y="425"/>
                </a:lnTo>
                <a:lnTo>
                  <a:pt x="657" y="425"/>
                </a:lnTo>
                <a:lnTo>
                  <a:pt x="664" y="421"/>
                </a:lnTo>
                <a:lnTo>
                  <a:pt x="672" y="415"/>
                </a:lnTo>
                <a:lnTo>
                  <a:pt x="681" y="408"/>
                </a:lnTo>
                <a:lnTo>
                  <a:pt x="691" y="397"/>
                </a:lnTo>
                <a:lnTo>
                  <a:pt x="701" y="384"/>
                </a:lnTo>
                <a:lnTo>
                  <a:pt x="705" y="376"/>
                </a:lnTo>
                <a:lnTo>
                  <a:pt x="709" y="369"/>
                </a:lnTo>
                <a:lnTo>
                  <a:pt x="712" y="360"/>
                </a:lnTo>
                <a:lnTo>
                  <a:pt x="714" y="351"/>
                </a:lnTo>
                <a:lnTo>
                  <a:pt x="714" y="351"/>
                </a:lnTo>
                <a:lnTo>
                  <a:pt x="716" y="336"/>
                </a:lnTo>
                <a:lnTo>
                  <a:pt x="715" y="320"/>
                </a:lnTo>
                <a:lnTo>
                  <a:pt x="713" y="303"/>
                </a:lnTo>
                <a:lnTo>
                  <a:pt x="709" y="285"/>
                </a:lnTo>
                <a:lnTo>
                  <a:pt x="702" y="267"/>
                </a:lnTo>
                <a:lnTo>
                  <a:pt x="693" y="249"/>
                </a:lnTo>
                <a:lnTo>
                  <a:pt x="682" y="232"/>
                </a:lnTo>
                <a:lnTo>
                  <a:pt x="676" y="223"/>
                </a:lnTo>
                <a:lnTo>
                  <a:pt x="669" y="216"/>
                </a:lnTo>
                <a:lnTo>
                  <a:pt x="668" y="214"/>
                </a:lnTo>
                <a:lnTo>
                  <a:pt x="665" y="214"/>
                </a:lnTo>
                <a:lnTo>
                  <a:pt x="665" y="214"/>
                </a:lnTo>
                <a:lnTo>
                  <a:pt x="655" y="214"/>
                </a:lnTo>
                <a:lnTo>
                  <a:pt x="644" y="215"/>
                </a:lnTo>
                <a:lnTo>
                  <a:pt x="624" y="219"/>
                </a:lnTo>
                <a:lnTo>
                  <a:pt x="606" y="224"/>
                </a:lnTo>
                <a:lnTo>
                  <a:pt x="587" y="232"/>
                </a:lnTo>
                <a:lnTo>
                  <a:pt x="572" y="240"/>
                </a:lnTo>
                <a:lnTo>
                  <a:pt x="557" y="250"/>
                </a:lnTo>
                <a:lnTo>
                  <a:pt x="545" y="261"/>
                </a:lnTo>
                <a:lnTo>
                  <a:pt x="535" y="272"/>
                </a:lnTo>
                <a:lnTo>
                  <a:pt x="535" y="272"/>
                </a:lnTo>
                <a:lnTo>
                  <a:pt x="530" y="280"/>
                </a:lnTo>
                <a:lnTo>
                  <a:pt x="526" y="288"/>
                </a:lnTo>
                <a:lnTo>
                  <a:pt x="523" y="297"/>
                </a:lnTo>
                <a:lnTo>
                  <a:pt x="520" y="305"/>
                </a:lnTo>
                <a:lnTo>
                  <a:pt x="517" y="320"/>
                </a:lnTo>
                <a:lnTo>
                  <a:pt x="516" y="334"/>
                </a:lnTo>
                <a:lnTo>
                  <a:pt x="516" y="347"/>
                </a:lnTo>
                <a:lnTo>
                  <a:pt x="517" y="357"/>
                </a:lnTo>
                <a:lnTo>
                  <a:pt x="519" y="365"/>
                </a:lnTo>
                <a:lnTo>
                  <a:pt x="519" y="365"/>
                </a:lnTo>
                <a:lnTo>
                  <a:pt x="513" y="354"/>
                </a:lnTo>
                <a:lnTo>
                  <a:pt x="508" y="341"/>
                </a:lnTo>
                <a:lnTo>
                  <a:pt x="499" y="327"/>
                </a:lnTo>
                <a:lnTo>
                  <a:pt x="488" y="313"/>
                </a:lnTo>
                <a:lnTo>
                  <a:pt x="482" y="306"/>
                </a:lnTo>
                <a:lnTo>
                  <a:pt x="475" y="299"/>
                </a:lnTo>
                <a:lnTo>
                  <a:pt x="467" y="292"/>
                </a:lnTo>
                <a:lnTo>
                  <a:pt x="458" y="287"/>
                </a:lnTo>
                <a:lnTo>
                  <a:pt x="450" y="283"/>
                </a:lnTo>
                <a:lnTo>
                  <a:pt x="440" y="281"/>
                </a:lnTo>
                <a:lnTo>
                  <a:pt x="440" y="281"/>
                </a:lnTo>
                <a:lnTo>
                  <a:pt x="428" y="278"/>
                </a:lnTo>
                <a:lnTo>
                  <a:pt x="415" y="278"/>
                </a:lnTo>
                <a:lnTo>
                  <a:pt x="404" y="278"/>
                </a:lnTo>
                <a:lnTo>
                  <a:pt x="393" y="279"/>
                </a:lnTo>
                <a:lnTo>
                  <a:pt x="384" y="281"/>
                </a:lnTo>
                <a:lnTo>
                  <a:pt x="374" y="284"/>
                </a:lnTo>
                <a:lnTo>
                  <a:pt x="365" y="287"/>
                </a:lnTo>
                <a:lnTo>
                  <a:pt x="358" y="291"/>
                </a:lnTo>
                <a:lnTo>
                  <a:pt x="345" y="300"/>
                </a:lnTo>
                <a:lnTo>
                  <a:pt x="336" y="307"/>
                </a:lnTo>
                <a:lnTo>
                  <a:pt x="328" y="314"/>
                </a:lnTo>
                <a:lnTo>
                  <a:pt x="328" y="314"/>
                </a:lnTo>
                <a:lnTo>
                  <a:pt x="342" y="328"/>
                </a:lnTo>
                <a:lnTo>
                  <a:pt x="353" y="343"/>
                </a:lnTo>
                <a:lnTo>
                  <a:pt x="362" y="357"/>
                </a:lnTo>
                <a:lnTo>
                  <a:pt x="369" y="371"/>
                </a:lnTo>
                <a:lnTo>
                  <a:pt x="375" y="384"/>
                </a:lnTo>
                <a:lnTo>
                  <a:pt x="380" y="398"/>
                </a:lnTo>
                <a:lnTo>
                  <a:pt x="382" y="410"/>
                </a:lnTo>
                <a:lnTo>
                  <a:pt x="383" y="421"/>
                </a:lnTo>
                <a:lnTo>
                  <a:pt x="382" y="432"/>
                </a:lnTo>
                <a:lnTo>
                  <a:pt x="380" y="442"/>
                </a:lnTo>
                <a:lnTo>
                  <a:pt x="375" y="451"/>
                </a:lnTo>
                <a:lnTo>
                  <a:pt x="370" y="458"/>
                </a:lnTo>
                <a:lnTo>
                  <a:pt x="363" y="464"/>
                </a:lnTo>
                <a:lnTo>
                  <a:pt x="356" y="469"/>
                </a:lnTo>
                <a:lnTo>
                  <a:pt x="347" y="472"/>
                </a:lnTo>
                <a:lnTo>
                  <a:pt x="337" y="473"/>
                </a:lnTo>
                <a:lnTo>
                  <a:pt x="337" y="473"/>
                </a:lnTo>
                <a:lnTo>
                  <a:pt x="322" y="473"/>
                </a:lnTo>
                <a:lnTo>
                  <a:pt x="311" y="471"/>
                </a:lnTo>
                <a:lnTo>
                  <a:pt x="301" y="467"/>
                </a:lnTo>
                <a:lnTo>
                  <a:pt x="292" y="462"/>
                </a:lnTo>
                <a:lnTo>
                  <a:pt x="283" y="456"/>
                </a:lnTo>
                <a:lnTo>
                  <a:pt x="277" y="449"/>
                </a:lnTo>
                <a:lnTo>
                  <a:pt x="272" y="441"/>
                </a:lnTo>
                <a:lnTo>
                  <a:pt x="268" y="432"/>
                </a:lnTo>
                <a:lnTo>
                  <a:pt x="264" y="424"/>
                </a:lnTo>
                <a:lnTo>
                  <a:pt x="262" y="417"/>
                </a:lnTo>
                <a:lnTo>
                  <a:pt x="259" y="403"/>
                </a:lnTo>
                <a:lnTo>
                  <a:pt x="257" y="393"/>
                </a:lnTo>
                <a:lnTo>
                  <a:pt x="257" y="390"/>
                </a:lnTo>
                <a:lnTo>
                  <a:pt x="257" y="390"/>
                </a:lnTo>
                <a:lnTo>
                  <a:pt x="255" y="392"/>
                </a:lnTo>
                <a:lnTo>
                  <a:pt x="249" y="398"/>
                </a:lnTo>
                <a:lnTo>
                  <a:pt x="239" y="405"/>
                </a:lnTo>
                <a:lnTo>
                  <a:pt x="227" y="413"/>
                </a:lnTo>
                <a:lnTo>
                  <a:pt x="220" y="416"/>
                </a:lnTo>
                <a:lnTo>
                  <a:pt x="212" y="419"/>
                </a:lnTo>
                <a:lnTo>
                  <a:pt x="204" y="420"/>
                </a:lnTo>
                <a:lnTo>
                  <a:pt x="194" y="421"/>
                </a:lnTo>
                <a:lnTo>
                  <a:pt x="185" y="421"/>
                </a:lnTo>
                <a:lnTo>
                  <a:pt x="175" y="419"/>
                </a:lnTo>
                <a:lnTo>
                  <a:pt x="165" y="415"/>
                </a:lnTo>
                <a:lnTo>
                  <a:pt x="155" y="409"/>
                </a:lnTo>
                <a:lnTo>
                  <a:pt x="155" y="409"/>
                </a:lnTo>
                <a:lnTo>
                  <a:pt x="147" y="404"/>
                </a:lnTo>
                <a:lnTo>
                  <a:pt x="140" y="397"/>
                </a:lnTo>
                <a:lnTo>
                  <a:pt x="135" y="390"/>
                </a:lnTo>
                <a:lnTo>
                  <a:pt x="131" y="381"/>
                </a:lnTo>
                <a:lnTo>
                  <a:pt x="129" y="372"/>
                </a:lnTo>
                <a:lnTo>
                  <a:pt x="128" y="363"/>
                </a:lnTo>
                <a:lnTo>
                  <a:pt x="128" y="354"/>
                </a:lnTo>
                <a:lnTo>
                  <a:pt x="131" y="345"/>
                </a:lnTo>
                <a:lnTo>
                  <a:pt x="136" y="334"/>
                </a:lnTo>
                <a:lnTo>
                  <a:pt x="142" y="325"/>
                </a:lnTo>
                <a:lnTo>
                  <a:pt x="153" y="316"/>
                </a:lnTo>
                <a:lnTo>
                  <a:pt x="164" y="308"/>
                </a:lnTo>
                <a:lnTo>
                  <a:pt x="178" y="300"/>
                </a:lnTo>
                <a:lnTo>
                  <a:pt x="195" y="292"/>
                </a:lnTo>
                <a:lnTo>
                  <a:pt x="216" y="286"/>
                </a:lnTo>
                <a:lnTo>
                  <a:pt x="239" y="280"/>
                </a:lnTo>
                <a:lnTo>
                  <a:pt x="239" y="280"/>
                </a:lnTo>
                <a:lnTo>
                  <a:pt x="238" y="275"/>
                </a:lnTo>
                <a:lnTo>
                  <a:pt x="233" y="262"/>
                </a:lnTo>
                <a:lnTo>
                  <a:pt x="230" y="253"/>
                </a:lnTo>
                <a:lnTo>
                  <a:pt x="225" y="242"/>
                </a:lnTo>
                <a:lnTo>
                  <a:pt x="220" y="232"/>
                </a:lnTo>
                <a:lnTo>
                  <a:pt x="213" y="222"/>
                </a:lnTo>
                <a:lnTo>
                  <a:pt x="205" y="213"/>
                </a:lnTo>
                <a:lnTo>
                  <a:pt x="195" y="203"/>
                </a:lnTo>
                <a:lnTo>
                  <a:pt x="185" y="196"/>
                </a:lnTo>
                <a:lnTo>
                  <a:pt x="173" y="190"/>
                </a:lnTo>
                <a:lnTo>
                  <a:pt x="167" y="188"/>
                </a:lnTo>
                <a:lnTo>
                  <a:pt x="161" y="187"/>
                </a:lnTo>
                <a:lnTo>
                  <a:pt x="154" y="186"/>
                </a:lnTo>
                <a:lnTo>
                  <a:pt x="145" y="185"/>
                </a:lnTo>
                <a:lnTo>
                  <a:pt x="138" y="186"/>
                </a:lnTo>
                <a:lnTo>
                  <a:pt x="129" y="187"/>
                </a:lnTo>
                <a:lnTo>
                  <a:pt x="121" y="190"/>
                </a:lnTo>
                <a:lnTo>
                  <a:pt x="112" y="193"/>
                </a:lnTo>
                <a:lnTo>
                  <a:pt x="112" y="193"/>
                </a:lnTo>
                <a:lnTo>
                  <a:pt x="115" y="191"/>
                </a:lnTo>
                <a:lnTo>
                  <a:pt x="119" y="188"/>
                </a:lnTo>
                <a:lnTo>
                  <a:pt x="127" y="180"/>
                </a:lnTo>
                <a:lnTo>
                  <a:pt x="136" y="168"/>
                </a:lnTo>
                <a:lnTo>
                  <a:pt x="144" y="153"/>
                </a:lnTo>
                <a:lnTo>
                  <a:pt x="148" y="144"/>
                </a:lnTo>
                <a:lnTo>
                  <a:pt x="153" y="136"/>
                </a:lnTo>
                <a:lnTo>
                  <a:pt x="156" y="127"/>
                </a:lnTo>
                <a:lnTo>
                  <a:pt x="158" y="117"/>
                </a:lnTo>
                <a:lnTo>
                  <a:pt x="159" y="106"/>
                </a:lnTo>
                <a:lnTo>
                  <a:pt x="160" y="97"/>
                </a:lnTo>
                <a:lnTo>
                  <a:pt x="159" y="86"/>
                </a:lnTo>
                <a:lnTo>
                  <a:pt x="157" y="76"/>
                </a:lnTo>
                <a:lnTo>
                  <a:pt x="157" y="76"/>
                </a:lnTo>
                <a:lnTo>
                  <a:pt x="155" y="66"/>
                </a:lnTo>
                <a:lnTo>
                  <a:pt x="150" y="57"/>
                </a:lnTo>
                <a:lnTo>
                  <a:pt x="147" y="49"/>
                </a:lnTo>
                <a:lnTo>
                  <a:pt x="143" y="41"/>
                </a:lnTo>
                <a:lnTo>
                  <a:pt x="134" y="28"/>
                </a:lnTo>
                <a:lnTo>
                  <a:pt x="125" y="17"/>
                </a:lnTo>
                <a:lnTo>
                  <a:pt x="117" y="9"/>
                </a:lnTo>
                <a:lnTo>
                  <a:pt x="110" y="4"/>
                </a:lnTo>
                <a:lnTo>
                  <a:pt x="103" y="0"/>
                </a:lnTo>
                <a:lnTo>
                  <a:pt x="0" y="593"/>
                </a:lnTo>
                <a:lnTo>
                  <a:pt x="269" y="712"/>
                </a:lnTo>
                <a:lnTo>
                  <a:pt x="269" y="712"/>
                </a:lnTo>
                <a:lnTo>
                  <a:pt x="293" y="693"/>
                </a:lnTo>
                <a:lnTo>
                  <a:pt x="315" y="677"/>
                </a:lnTo>
                <a:lnTo>
                  <a:pt x="336" y="665"/>
                </a:lnTo>
                <a:lnTo>
                  <a:pt x="354" y="656"/>
                </a:lnTo>
                <a:lnTo>
                  <a:pt x="354" y="656"/>
                </a:lnTo>
                <a:lnTo>
                  <a:pt x="367" y="650"/>
                </a:lnTo>
                <a:lnTo>
                  <a:pt x="382" y="646"/>
                </a:lnTo>
                <a:lnTo>
                  <a:pt x="396" y="642"/>
                </a:lnTo>
                <a:lnTo>
                  <a:pt x="409" y="639"/>
                </a:lnTo>
                <a:lnTo>
                  <a:pt x="423" y="637"/>
                </a:lnTo>
                <a:lnTo>
                  <a:pt x="437" y="636"/>
                </a:lnTo>
                <a:lnTo>
                  <a:pt x="450" y="635"/>
                </a:lnTo>
                <a:lnTo>
                  <a:pt x="464" y="635"/>
                </a:lnTo>
                <a:lnTo>
                  <a:pt x="478" y="636"/>
                </a:lnTo>
                <a:lnTo>
                  <a:pt x="491" y="638"/>
                </a:lnTo>
                <a:lnTo>
                  <a:pt x="504" y="640"/>
                </a:lnTo>
                <a:lnTo>
                  <a:pt x="517" y="643"/>
                </a:lnTo>
                <a:lnTo>
                  <a:pt x="542" y="650"/>
                </a:lnTo>
                <a:lnTo>
                  <a:pt x="566" y="658"/>
                </a:lnTo>
                <a:lnTo>
                  <a:pt x="566" y="658"/>
                </a:lnTo>
                <a:lnTo>
                  <a:pt x="582" y="667"/>
                </a:lnTo>
                <a:lnTo>
                  <a:pt x="596" y="675"/>
                </a:lnTo>
                <a:lnTo>
                  <a:pt x="610" y="683"/>
                </a:lnTo>
                <a:lnTo>
                  <a:pt x="621" y="691"/>
                </a:lnTo>
                <a:lnTo>
                  <a:pt x="631" y="699"/>
                </a:lnTo>
                <a:lnTo>
                  <a:pt x="639" y="709"/>
                </a:lnTo>
                <a:lnTo>
                  <a:pt x="646" y="717"/>
                </a:lnTo>
                <a:lnTo>
                  <a:pt x="653" y="726"/>
                </a:lnTo>
                <a:lnTo>
                  <a:pt x="658" y="735"/>
                </a:lnTo>
                <a:lnTo>
                  <a:pt x="662" y="743"/>
                </a:lnTo>
                <a:lnTo>
                  <a:pt x="665" y="753"/>
                </a:lnTo>
                <a:lnTo>
                  <a:pt x="668" y="761"/>
                </a:lnTo>
                <a:lnTo>
                  <a:pt x="671" y="778"/>
                </a:lnTo>
                <a:lnTo>
                  <a:pt x="673" y="793"/>
                </a:lnTo>
                <a:lnTo>
                  <a:pt x="673" y="793"/>
                </a:lnTo>
                <a:lnTo>
                  <a:pt x="672" y="804"/>
                </a:lnTo>
                <a:lnTo>
                  <a:pt x="670" y="815"/>
                </a:lnTo>
                <a:lnTo>
                  <a:pt x="667" y="827"/>
                </a:lnTo>
                <a:lnTo>
                  <a:pt x="663" y="839"/>
                </a:lnTo>
                <a:lnTo>
                  <a:pt x="654" y="863"/>
                </a:lnTo>
                <a:lnTo>
                  <a:pt x="646" y="877"/>
                </a:lnTo>
                <a:lnTo>
                  <a:pt x="841" y="96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6" name="Freeform 43"/>
          <p:cNvSpPr>
            <a:spLocks/>
          </p:cNvSpPr>
          <p:nvPr userDrawn="1"/>
        </p:nvSpPr>
        <p:spPr bwMode="auto">
          <a:xfrm>
            <a:off x="7581900" y="1218903"/>
            <a:ext cx="193675" cy="33338"/>
          </a:xfrm>
          <a:custGeom>
            <a:avLst/>
            <a:gdLst>
              <a:gd name="T0" fmla="*/ 1228 w 1463"/>
              <a:gd name="T1" fmla="*/ 227 h 256"/>
              <a:gd name="T2" fmla="*/ 1463 w 1463"/>
              <a:gd name="T3" fmla="*/ 113 h 256"/>
              <a:gd name="T4" fmla="*/ 1225 w 1463"/>
              <a:gd name="T5" fmla="*/ 14 h 256"/>
              <a:gd name="T6" fmla="*/ 1225 w 1463"/>
              <a:gd name="T7" fmla="*/ 14 h 256"/>
              <a:gd name="T8" fmla="*/ 1152 w 1463"/>
              <a:gd name="T9" fmla="*/ 15 h 256"/>
              <a:gd name="T10" fmla="*/ 1060 w 1463"/>
              <a:gd name="T11" fmla="*/ 16 h 256"/>
              <a:gd name="T12" fmla="*/ 949 w 1463"/>
              <a:gd name="T13" fmla="*/ 15 h 256"/>
              <a:gd name="T14" fmla="*/ 824 w 1463"/>
              <a:gd name="T15" fmla="*/ 13 h 256"/>
              <a:gd name="T16" fmla="*/ 531 w 1463"/>
              <a:gd name="T17" fmla="*/ 7 h 256"/>
              <a:gd name="T18" fmla="*/ 197 w 1463"/>
              <a:gd name="T19" fmla="*/ 0 h 256"/>
              <a:gd name="T20" fmla="*/ 0 w 1463"/>
              <a:gd name="T21" fmla="*/ 256 h 256"/>
              <a:gd name="T22" fmla="*/ 0 w 1463"/>
              <a:gd name="T23" fmla="*/ 256 h 256"/>
              <a:gd name="T24" fmla="*/ 734 w 1463"/>
              <a:gd name="T25" fmla="*/ 240 h 256"/>
              <a:gd name="T26" fmla="*/ 1024 w 1463"/>
              <a:gd name="T27" fmla="*/ 234 h 256"/>
              <a:gd name="T28" fmla="*/ 1228 w 1463"/>
              <a:gd name="T29" fmla="*/ 22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3" h="256">
                <a:moveTo>
                  <a:pt x="1228" y="227"/>
                </a:moveTo>
                <a:lnTo>
                  <a:pt x="1463" y="113"/>
                </a:lnTo>
                <a:lnTo>
                  <a:pt x="1225" y="14"/>
                </a:lnTo>
                <a:lnTo>
                  <a:pt x="1225" y="14"/>
                </a:lnTo>
                <a:lnTo>
                  <a:pt x="1152" y="15"/>
                </a:lnTo>
                <a:lnTo>
                  <a:pt x="1060" y="16"/>
                </a:lnTo>
                <a:lnTo>
                  <a:pt x="949" y="15"/>
                </a:lnTo>
                <a:lnTo>
                  <a:pt x="824" y="13"/>
                </a:lnTo>
                <a:lnTo>
                  <a:pt x="531" y="7"/>
                </a:lnTo>
                <a:lnTo>
                  <a:pt x="197" y="0"/>
                </a:lnTo>
                <a:lnTo>
                  <a:pt x="0" y="256"/>
                </a:lnTo>
                <a:lnTo>
                  <a:pt x="0" y="256"/>
                </a:lnTo>
                <a:lnTo>
                  <a:pt x="734" y="240"/>
                </a:lnTo>
                <a:lnTo>
                  <a:pt x="1024" y="234"/>
                </a:lnTo>
                <a:lnTo>
                  <a:pt x="1228" y="22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7" name="Freeform 44"/>
          <p:cNvSpPr>
            <a:spLocks/>
          </p:cNvSpPr>
          <p:nvPr userDrawn="1"/>
        </p:nvSpPr>
        <p:spPr bwMode="auto">
          <a:xfrm>
            <a:off x="7643812" y="1301453"/>
            <a:ext cx="114300" cy="112713"/>
          </a:xfrm>
          <a:custGeom>
            <a:avLst/>
            <a:gdLst>
              <a:gd name="T0" fmla="*/ 386 w 869"/>
              <a:gd name="T1" fmla="*/ 818 h 851"/>
              <a:gd name="T2" fmla="*/ 235 w 869"/>
              <a:gd name="T3" fmla="*/ 737 h 851"/>
              <a:gd name="T4" fmla="*/ 156 w 869"/>
              <a:gd name="T5" fmla="*/ 685 h 851"/>
              <a:gd name="T6" fmla="*/ 90 w 869"/>
              <a:gd name="T7" fmla="*/ 626 h 851"/>
              <a:gd name="T8" fmla="*/ 37 w 869"/>
              <a:gd name="T9" fmla="*/ 557 h 851"/>
              <a:gd name="T10" fmla="*/ 24 w 869"/>
              <a:gd name="T11" fmla="*/ 531 h 851"/>
              <a:gd name="T12" fmla="*/ 10 w 869"/>
              <a:gd name="T13" fmla="*/ 487 h 851"/>
              <a:gd name="T14" fmla="*/ 2 w 869"/>
              <a:gd name="T15" fmla="*/ 439 h 851"/>
              <a:gd name="T16" fmla="*/ 0 w 869"/>
              <a:gd name="T17" fmla="*/ 389 h 851"/>
              <a:gd name="T18" fmla="*/ 5 w 869"/>
              <a:gd name="T19" fmla="*/ 336 h 851"/>
              <a:gd name="T20" fmla="*/ 15 w 869"/>
              <a:gd name="T21" fmla="*/ 283 h 851"/>
              <a:gd name="T22" fmla="*/ 34 w 869"/>
              <a:gd name="T23" fmla="*/ 231 h 851"/>
              <a:gd name="T24" fmla="*/ 59 w 869"/>
              <a:gd name="T25" fmla="*/ 182 h 851"/>
              <a:gd name="T26" fmla="*/ 93 w 869"/>
              <a:gd name="T27" fmla="*/ 136 h 851"/>
              <a:gd name="T28" fmla="*/ 134 w 869"/>
              <a:gd name="T29" fmla="*/ 94 h 851"/>
              <a:gd name="T30" fmla="*/ 183 w 869"/>
              <a:gd name="T31" fmla="*/ 59 h 851"/>
              <a:gd name="T32" fmla="*/ 198 w 869"/>
              <a:gd name="T33" fmla="*/ 75 h 851"/>
              <a:gd name="T34" fmla="*/ 217 w 869"/>
              <a:gd name="T35" fmla="*/ 106 h 851"/>
              <a:gd name="T36" fmla="*/ 227 w 869"/>
              <a:gd name="T37" fmla="*/ 141 h 851"/>
              <a:gd name="T38" fmla="*/ 247 w 869"/>
              <a:gd name="T39" fmla="*/ 150 h 851"/>
              <a:gd name="T40" fmla="*/ 379 w 869"/>
              <a:gd name="T41" fmla="*/ 144 h 851"/>
              <a:gd name="T42" fmla="*/ 424 w 869"/>
              <a:gd name="T43" fmla="*/ 143 h 851"/>
              <a:gd name="T44" fmla="*/ 424 w 869"/>
              <a:gd name="T45" fmla="*/ 94 h 851"/>
              <a:gd name="T46" fmla="*/ 414 w 869"/>
              <a:gd name="T47" fmla="*/ 37 h 851"/>
              <a:gd name="T48" fmla="*/ 397 w 869"/>
              <a:gd name="T49" fmla="*/ 0 h 851"/>
              <a:gd name="T50" fmla="*/ 431 w 869"/>
              <a:gd name="T51" fmla="*/ 27 h 851"/>
              <a:gd name="T52" fmla="*/ 459 w 869"/>
              <a:gd name="T53" fmla="*/ 55 h 851"/>
              <a:gd name="T54" fmla="*/ 475 w 869"/>
              <a:gd name="T55" fmla="*/ 82 h 851"/>
              <a:gd name="T56" fmla="*/ 487 w 869"/>
              <a:gd name="T57" fmla="*/ 116 h 851"/>
              <a:gd name="T58" fmla="*/ 493 w 869"/>
              <a:gd name="T59" fmla="*/ 143 h 851"/>
              <a:gd name="T60" fmla="*/ 671 w 869"/>
              <a:gd name="T61" fmla="*/ 133 h 851"/>
              <a:gd name="T62" fmla="*/ 662 w 869"/>
              <a:gd name="T63" fmla="*/ 88 h 851"/>
              <a:gd name="T64" fmla="*/ 643 w 869"/>
              <a:gd name="T65" fmla="*/ 50 h 851"/>
              <a:gd name="T66" fmla="*/ 651 w 869"/>
              <a:gd name="T67" fmla="*/ 46 h 851"/>
              <a:gd name="T68" fmla="*/ 699 w 869"/>
              <a:gd name="T69" fmla="*/ 73 h 851"/>
              <a:gd name="T70" fmla="*/ 740 w 869"/>
              <a:gd name="T71" fmla="*/ 104 h 851"/>
              <a:gd name="T72" fmla="*/ 775 w 869"/>
              <a:gd name="T73" fmla="*/ 138 h 851"/>
              <a:gd name="T74" fmla="*/ 803 w 869"/>
              <a:gd name="T75" fmla="*/ 175 h 851"/>
              <a:gd name="T76" fmla="*/ 837 w 869"/>
              <a:gd name="T77" fmla="*/ 238 h 851"/>
              <a:gd name="T78" fmla="*/ 861 w 869"/>
              <a:gd name="T79" fmla="*/ 312 h 851"/>
              <a:gd name="T80" fmla="*/ 869 w 869"/>
              <a:gd name="T81" fmla="*/ 379 h 851"/>
              <a:gd name="T82" fmla="*/ 869 w 869"/>
              <a:gd name="T83" fmla="*/ 423 h 851"/>
              <a:gd name="T84" fmla="*/ 859 w 869"/>
              <a:gd name="T85" fmla="*/ 499 h 851"/>
              <a:gd name="T86" fmla="*/ 834 w 869"/>
              <a:gd name="T87" fmla="*/ 569 h 851"/>
              <a:gd name="T88" fmla="*/ 796 w 869"/>
              <a:gd name="T89" fmla="*/ 631 h 851"/>
              <a:gd name="T90" fmla="*/ 749 w 869"/>
              <a:gd name="T91" fmla="*/ 684 h 851"/>
              <a:gd name="T92" fmla="*/ 693 w 869"/>
              <a:gd name="T93" fmla="*/ 727 h 851"/>
              <a:gd name="T94" fmla="*/ 626 w 869"/>
              <a:gd name="T95" fmla="*/ 766 h 851"/>
              <a:gd name="T96" fmla="*/ 506 w 869"/>
              <a:gd name="T97" fmla="*/ 826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9" h="851">
                <a:moveTo>
                  <a:pt x="452" y="851"/>
                </a:moveTo>
                <a:lnTo>
                  <a:pt x="452" y="851"/>
                </a:lnTo>
                <a:lnTo>
                  <a:pt x="386" y="818"/>
                </a:lnTo>
                <a:lnTo>
                  <a:pt x="323" y="785"/>
                </a:lnTo>
                <a:lnTo>
                  <a:pt x="264" y="754"/>
                </a:lnTo>
                <a:lnTo>
                  <a:pt x="235" y="737"/>
                </a:lnTo>
                <a:lnTo>
                  <a:pt x="207" y="720"/>
                </a:lnTo>
                <a:lnTo>
                  <a:pt x="181" y="703"/>
                </a:lnTo>
                <a:lnTo>
                  <a:pt x="156" y="685"/>
                </a:lnTo>
                <a:lnTo>
                  <a:pt x="133" y="666"/>
                </a:lnTo>
                <a:lnTo>
                  <a:pt x="110" y="646"/>
                </a:lnTo>
                <a:lnTo>
                  <a:pt x="90" y="626"/>
                </a:lnTo>
                <a:lnTo>
                  <a:pt x="70" y="605"/>
                </a:lnTo>
                <a:lnTo>
                  <a:pt x="53" y="581"/>
                </a:lnTo>
                <a:lnTo>
                  <a:pt x="37" y="557"/>
                </a:lnTo>
                <a:lnTo>
                  <a:pt x="37" y="557"/>
                </a:lnTo>
                <a:lnTo>
                  <a:pt x="31" y="544"/>
                </a:lnTo>
                <a:lnTo>
                  <a:pt x="24" y="531"/>
                </a:lnTo>
                <a:lnTo>
                  <a:pt x="19" y="517"/>
                </a:lnTo>
                <a:lnTo>
                  <a:pt x="14" y="502"/>
                </a:lnTo>
                <a:lnTo>
                  <a:pt x="10" y="487"/>
                </a:lnTo>
                <a:lnTo>
                  <a:pt x="7" y="472"/>
                </a:lnTo>
                <a:lnTo>
                  <a:pt x="4" y="455"/>
                </a:lnTo>
                <a:lnTo>
                  <a:pt x="2" y="439"/>
                </a:lnTo>
                <a:lnTo>
                  <a:pt x="1" y="423"/>
                </a:lnTo>
                <a:lnTo>
                  <a:pt x="0" y="405"/>
                </a:lnTo>
                <a:lnTo>
                  <a:pt x="0" y="389"/>
                </a:lnTo>
                <a:lnTo>
                  <a:pt x="1" y="371"/>
                </a:lnTo>
                <a:lnTo>
                  <a:pt x="2" y="353"/>
                </a:lnTo>
                <a:lnTo>
                  <a:pt x="5" y="336"/>
                </a:lnTo>
                <a:lnTo>
                  <a:pt x="7" y="318"/>
                </a:lnTo>
                <a:lnTo>
                  <a:pt x="11" y="301"/>
                </a:lnTo>
                <a:lnTo>
                  <a:pt x="15" y="283"/>
                </a:lnTo>
                <a:lnTo>
                  <a:pt x="21" y="266"/>
                </a:lnTo>
                <a:lnTo>
                  <a:pt x="26" y="249"/>
                </a:lnTo>
                <a:lnTo>
                  <a:pt x="34" y="231"/>
                </a:lnTo>
                <a:lnTo>
                  <a:pt x="42" y="215"/>
                </a:lnTo>
                <a:lnTo>
                  <a:pt x="50" y="199"/>
                </a:lnTo>
                <a:lnTo>
                  <a:pt x="59" y="182"/>
                </a:lnTo>
                <a:lnTo>
                  <a:pt x="69" y="166"/>
                </a:lnTo>
                <a:lnTo>
                  <a:pt x="81" y="151"/>
                </a:lnTo>
                <a:lnTo>
                  <a:pt x="93" y="136"/>
                </a:lnTo>
                <a:lnTo>
                  <a:pt x="105" y="122"/>
                </a:lnTo>
                <a:lnTo>
                  <a:pt x="120" y="108"/>
                </a:lnTo>
                <a:lnTo>
                  <a:pt x="134" y="94"/>
                </a:lnTo>
                <a:lnTo>
                  <a:pt x="149" y="82"/>
                </a:lnTo>
                <a:lnTo>
                  <a:pt x="166" y="70"/>
                </a:lnTo>
                <a:lnTo>
                  <a:pt x="183" y="59"/>
                </a:lnTo>
                <a:lnTo>
                  <a:pt x="183" y="59"/>
                </a:lnTo>
                <a:lnTo>
                  <a:pt x="191" y="67"/>
                </a:lnTo>
                <a:lnTo>
                  <a:pt x="198" y="75"/>
                </a:lnTo>
                <a:lnTo>
                  <a:pt x="203" y="82"/>
                </a:lnTo>
                <a:lnTo>
                  <a:pt x="208" y="90"/>
                </a:lnTo>
                <a:lnTo>
                  <a:pt x="217" y="106"/>
                </a:lnTo>
                <a:lnTo>
                  <a:pt x="222" y="120"/>
                </a:lnTo>
                <a:lnTo>
                  <a:pt x="225" y="132"/>
                </a:lnTo>
                <a:lnTo>
                  <a:pt x="227" y="141"/>
                </a:lnTo>
                <a:lnTo>
                  <a:pt x="227" y="150"/>
                </a:lnTo>
                <a:lnTo>
                  <a:pt x="227" y="150"/>
                </a:lnTo>
                <a:lnTo>
                  <a:pt x="247" y="150"/>
                </a:lnTo>
                <a:lnTo>
                  <a:pt x="272" y="150"/>
                </a:lnTo>
                <a:lnTo>
                  <a:pt x="325" y="146"/>
                </a:lnTo>
                <a:lnTo>
                  <a:pt x="379" y="144"/>
                </a:lnTo>
                <a:lnTo>
                  <a:pt x="404" y="143"/>
                </a:lnTo>
                <a:lnTo>
                  <a:pt x="424" y="143"/>
                </a:lnTo>
                <a:lnTo>
                  <a:pt x="424" y="143"/>
                </a:lnTo>
                <a:lnTo>
                  <a:pt x="425" y="129"/>
                </a:lnTo>
                <a:lnTo>
                  <a:pt x="425" y="112"/>
                </a:lnTo>
                <a:lnTo>
                  <a:pt x="424" y="94"/>
                </a:lnTo>
                <a:lnTo>
                  <a:pt x="422" y="76"/>
                </a:lnTo>
                <a:lnTo>
                  <a:pt x="419" y="56"/>
                </a:lnTo>
                <a:lnTo>
                  <a:pt x="414" y="37"/>
                </a:lnTo>
                <a:lnTo>
                  <a:pt x="407" y="19"/>
                </a:lnTo>
                <a:lnTo>
                  <a:pt x="402" y="9"/>
                </a:lnTo>
                <a:lnTo>
                  <a:pt x="397" y="0"/>
                </a:lnTo>
                <a:lnTo>
                  <a:pt x="397" y="0"/>
                </a:lnTo>
                <a:lnTo>
                  <a:pt x="415" y="14"/>
                </a:lnTo>
                <a:lnTo>
                  <a:pt x="431" y="27"/>
                </a:lnTo>
                <a:lnTo>
                  <a:pt x="446" y="40"/>
                </a:lnTo>
                <a:lnTo>
                  <a:pt x="453" y="47"/>
                </a:lnTo>
                <a:lnTo>
                  <a:pt x="459" y="55"/>
                </a:lnTo>
                <a:lnTo>
                  <a:pt x="465" y="64"/>
                </a:lnTo>
                <a:lnTo>
                  <a:pt x="470" y="73"/>
                </a:lnTo>
                <a:lnTo>
                  <a:pt x="475" y="82"/>
                </a:lnTo>
                <a:lnTo>
                  <a:pt x="479" y="92"/>
                </a:lnTo>
                <a:lnTo>
                  <a:pt x="484" y="104"/>
                </a:lnTo>
                <a:lnTo>
                  <a:pt x="487" y="116"/>
                </a:lnTo>
                <a:lnTo>
                  <a:pt x="490" y="129"/>
                </a:lnTo>
                <a:lnTo>
                  <a:pt x="493" y="143"/>
                </a:lnTo>
                <a:lnTo>
                  <a:pt x="493" y="143"/>
                </a:lnTo>
                <a:lnTo>
                  <a:pt x="671" y="150"/>
                </a:lnTo>
                <a:lnTo>
                  <a:pt x="671" y="150"/>
                </a:lnTo>
                <a:lnTo>
                  <a:pt x="671" y="133"/>
                </a:lnTo>
                <a:lnTo>
                  <a:pt x="670" y="118"/>
                </a:lnTo>
                <a:lnTo>
                  <a:pt x="667" y="103"/>
                </a:lnTo>
                <a:lnTo>
                  <a:pt x="662" y="88"/>
                </a:lnTo>
                <a:lnTo>
                  <a:pt x="657" y="75"/>
                </a:lnTo>
                <a:lnTo>
                  <a:pt x="651" y="62"/>
                </a:lnTo>
                <a:lnTo>
                  <a:pt x="643" y="50"/>
                </a:lnTo>
                <a:lnTo>
                  <a:pt x="634" y="38"/>
                </a:lnTo>
                <a:lnTo>
                  <a:pt x="634" y="38"/>
                </a:lnTo>
                <a:lnTo>
                  <a:pt x="651" y="46"/>
                </a:lnTo>
                <a:lnTo>
                  <a:pt x="669" y="54"/>
                </a:lnTo>
                <a:lnTo>
                  <a:pt x="684" y="64"/>
                </a:lnTo>
                <a:lnTo>
                  <a:pt x="699" y="73"/>
                </a:lnTo>
                <a:lnTo>
                  <a:pt x="714" y="83"/>
                </a:lnTo>
                <a:lnTo>
                  <a:pt x="728" y="93"/>
                </a:lnTo>
                <a:lnTo>
                  <a:pt x="740" y="104"/>
                </a:lnTo>
                <a:lnTo>
                  <a:pt x="752" y="115"/>
                </a:lnTo>
                <a:lnTo>
                  <a:pt x="764" y="126"/>
                </a:lnTo>
                <a:lnTo>
                  <a:pt x="775" y="138"/>
                </a:lnTo>
                <a:lnTo>
                  <a:pt x="785" y="151"/>
                </a:lnTo>
                <a:lnTo>
                  <a:pt x="794" y="163"/>
                </a:lnTo>
                <a:lnTo>
                  <a:pt x="803" y="175"/>
                </a:lnTo>
                <a:lnTo>
                  <a:pt x="811" y="187"/>
                </a:lnTo>
                <a:lnTo>
                  <a:pt x="825" y="213"/>
                </a:lnTo>
                <a:lnTo>
                  <a:pt x="837" y="238"/>
                </a:lnTo>
                <a:lnTo>
                  <a:pt x="848" y="263"/>
                </a:lnTo>
                <a:lnTo>
                  <a:pt x="855" y="289"/>
                </a:lnTo>
                <a:lnTo>
                  <a:pt x="861" y="312"/>
                </a:lnTo>
                <a:lnTo>
                  <a:pt x="865" y="336"/>
                </a:lnTo>
                <a:lnTo>
                  <a:pt x="868" y="358"/>
                </a:lnTo>
                <a:lnTo>
                  <a:pt x="869" y="379"/>
                </a:lnTo>
                <a:lnTo>
                  <a:pt x="869" y="397"/>
                </a:lnTo>
                <a:lnTo>
                  <a:pt x="869" y="397"/>
                </a:lnTo>
                <a:lnTo>
                  <a:pt x="869" y="423"/>
                </a:lnTo>
                <a:lnTo>
                  <a:pt x="868" y="449"/>
                </a:lnTo>
                <a:lnTo>
                  <a:pt x="864" y="474"/>
                </a:lnTo>
                <a:lnTo>
                  <a:pt x="859" y="499"/>
                </a:lnTo>
                <a:lnTo>
                  <a:pt x="852" y="523"/>
                </a:lnTo>
                <a:lnTo>
                  <a:pt x="843" y="546"/>
                </a:lnTo>
                <a:lnTo>
                  <a:pt x="834" y="569"/>
                </a:lnTo>
                <a:lnTo>
                  <a:pt x="823" y="590"/>
                </a:lnTo>
                <a:lnTo>
                  <a:pt x="811" y="612"/>
                </a:lnTo>
                <a:lnTo>
                  <a:pt x="796" y="631"/>
                </a:lnTo>
                <a:lnTo>
                  <a:pt x="782" y="651"/>
                </a:lnTo>
                <a:lnTo>
                  <a:pt x="766" y="668"/>
                </a:lnTo>
                <a:lnTo>
                  <a:pt x="749" y="684"/>
                </a:lnTo>
                <a:lnTo>
                  <a:pt x="731" y="700"/>
                </a:lnTo>
                <a:lnTo>
                  <a:pt x="713" y="714"/>
                </a:lnTo>
                <a:lnTo>
                  <a:pt x="693" y="727"/>
                </a:lnTo>
                <a:lnTo>
                  <a:pt x="693" y="727"/>
                </a:lnTo>
                <a:lnTo>
                  <a:pt x="658" y="748"/>
                </a:lnTo>
                <a:lnTo>
                  <a:pt x="626" y="766"/>
                </a:lnTo>
                <a:lnTo>
                  <a:pt x="594" y="783"/>
                </a:lnTo>
                <a:lnTo>
                  <a:pt x="563" y="799"/>
                </a:lnTo>
                <a:lnTo>
                  <a:pt x="506" y="826"/>
                </a:lnTo>
                <a:lnTo>
                  <a:pt x="452" y="85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8" name="Freeform 45"/>
          <p:cNvSpPr>
            <a:spLocks/>
          </p:cNvSpPr>
          <p:nvPr userDrawn="1"/>
        </p:nvSpPr>
        <p:spPr bwMode="auto">
          <a:xfrm>
            <a:off x="7677150" y="1579265"/>
            <a:ext cx="1588" cy="0"/>
          </a:xfrm>
          <a:custGeom>
            <a:avLst/>
            <a:gdLst>
              <a:gd name="T0" fmla="*/ 22 w 22"/>
              <a:gd name="T1" fmla="*/ 9 h 9"/>
              <a:gd name="T2" fmla="*/ 22 w 22"/>
              <a:gd name="T3" fmla="*/ 9 h 9"/>
              <a:gd name="T4" fmla="*/ 3 w 22"/>
              <a:gd name="T5" fmla="*/ 2 h 9"/>
              <a:gd name="T6" fmla="*/ 3 w 22"/>
              <a:gd name="T7" fmla="*/ 2 h 9"/>
              <a:gd name="T8" fmla="*/ 0 w 22"/>
              <a:gd name="T9" fmla="*/ 0 h 9"/>
              <a:gd name="T10" fmla="*/ 0 w 22"/>
              <a:gd name="T11" fmla="*/ 0 h 9"/>
              <a:gd name="T12" fmla="*/ 22 w 22"/>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22" h="9">
                <a:moveTo>
                  <a:pt x="22" y="9"/>
                </a:moveTo>
                <a:lnTo>
                  <a:pt x="22" y="9"/>
                </a:lnTo>
                <a:lnTo>
                  <a:pt x="3" y="2"/>
                </a:lnTo>
                <a:lnTo>
                  <a:pt x="3" y="2"/>
                </a:lnTo>
                <a:lnTo>
                  <a:pt x="0" y="0"/>
                </a:lnTo>
                <a:lnTo>
                  <a:pt x="0" y="0"/>
                </a:lnTo>
                <a:lnTo>
                  <a:pt x="22"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9" name="Freeform 46"/>
          <p:cNvSpPr>
            <a:spLocks/>
          </p:cNvSpPr>
          <p:nvPr userDrawn="1"/>
        </p:nvSpPr>
        <p:spPr bwMode="auto">
          <a:xfrm>
            <a:off x="7429500" y="1261765"/>
            <a:ext cx="20638" cy="12700"/>
          </a:xfrm>
          <a:custGeom>
            <a:avLst/>
            <a:gdLst>
              <a:gd name="T0" fmla="*/ 166 w 166"/>
              <a:gd name="T1" fmla="*/ 69 h 96"/>
              <a:gd name="T2" fmla="*/ 166 w 166"/>
              <a:gd name="T3" fmla="*/ 69 h 96"/>
              <a:gd name="T4" fmla="*/ 166 w 166"/>
              <a:gd name="T5" fmla="*/ 70 h 96"/>
              <a:gd name="T6" fmla="*/ 165 w 166"/>
              <a:gd name="T7" fmla="*/ 72 h 96"/>
              <a:gd name="T8" fmla="*/ 161 w 166"/>
              <a:gd name="T9" fmla="*/ 74 h 96"/>
              <a:gd name="T10" fmla="*/ 155 w 166"/>
              <a:gd name="T11" fmla="*/ 77 h 96"/>
              <a:gd name="T12" fmla="*/ 145 w 166"/>
              <a:gd name="T13" fmla="*/ 79 h 96"/>
              <a:gd name="T14" fmla="*/ 123 w 166"/>
              <a:gd name="T15" fmla="*/ 85 h 96"/>
              <a:gd name="T16" fmla="*/ 95 w 166"/>
              <a:gd name="T17" fmla="*/ 90 h 96"/>
              <a:gd name="T18" fmla="*/ 68 w 166"/>
              <a:gd name="T19" fmla="*/ 94 h 96"/>
              <a:gd name="T20" fmla="*/ 42 w 166"/>
              <a:gd name="T21" fmla="*/ 96 h 96"/>
              <a:gd name="T22" fmla="*/ 24 w 166"/>
              <a:gd name="T23" fmla="*/ 96 h 96"/>
              <a:gd name="T24" fmla="*/ 17 w 166"/>
              <a:gd name="T25" fmla="*/ 95 h 96"/>
              <a:gd name="T26" fmla="*/ 13 w 166"/>
              <a:gd name="T27" fmla="*/ 94 h 96"/>
              <a:gd name="T28" fmla="*/ 13 w 166"/>
              <a:gd name="T29" fmla="*/ 94 h 96"/>
              <a:gd name="T30" fmla="*/ 10 w 166"/>
              <a:gd name="T31" fmla="*/ 92 h 96"/>
              <a:gd name="T32" fmla="*/ 8 w 166"/>
              <a:gd name="T33" fmla="*/ 88 h 96"/>
              <a:gd name="T34" fmla="*/ 5 w 166"/>
              <a:gd name="T35" fmla="*/ 77 h 96"/>
              <a:gd name="T36" fmla="*/ 2 w 166"/>
              <a:gd name="T37" fmla="*/ 65 h 96"/>
              <a:gd name="T38" fmla="*/ 0 w 166"/>
              <a:gd name="T39" fmla="*/ 51 h 96"/>
              <a:gd name="T40" fmla="*/ 0 w 166"/>
              <a:gd name="T41" fmla="*/ 36 h 96"/>
              <a:gd name="T42" fmla="*/ 0 w 166"/>
              <a:gd name="T43" fmla="*/ 23 h 96"/>
              <a:gd name="T44" fmla="*/ 1 w 166"/>
              <a:gd name="T45" fmla="*/ 13 h 96"/>
              <a:gd name="T46" fmla="*/ 2 w 166"/>
              <a:gd name="T47" fmla="*/ 8 h 96"/>
              <a:gd name="T48" fmla="*/ 4 w 166"/>
              <a:gd name="T49" fmla="*/ 5 h 96"/>
              <a:gd name="T50" fmla="*/ 4 w 166"/>
              <a:gd name="T51" fmla="*/ 5 h 96"/>
              <a:gd name="T52" fmla="*/ 5 w 166"/>
              <a:gd name="T53" fmla="*/ 4 h 96"/>
              <a:gd name="T54" fmla="*/ 7 w 166"/>
              <a:gd name="T55" fmla="*/ 2 h 96"/>
              <a:gd name="T56" fmla="*/ 13 w 166"/>
              <a:gd name="T57" fmla="*/ 1 h 96"/>
              <a:gd name="T58" fmla="*/ 22 w 166"/>
              <a:gd name="T59" fmla="*/ 0 h 96"/>
              <a:gd name="T60" fmla="*/ 32 w 166"/>
              <a:gd name="T61" fmla="*/ 0 h 96"/>
              <a:gd name="T62" fmla="*/ 43 w 166"/>
              <a:gd name="T63" fmla="*/ 1 h 96"/>
              <a:gd name="T64" fmla="*/ 55 w 166"/>
              <a:gd name="T65" fmla="*/ 3 h 96"/>
              <a:gd name="T66" fmla="*/ 69 w 166"/>
              <a:gd name="T67" fmla="*/ 6 h 96"/>
              <a:gd name="T68" fmla="*/ 83 w 166"/>
              <a:gd name="T69" fmla="*/ 10 h 96"/>
              <a:gd name="T70" fmla="*/ 96 w 166"/>
              <a:gd name="T71" fmla="*/ 15 h 96"/>
              <a:gd name="T72" fmla="*/ 110 w 166"/>
              <a:gd name="T73" fmla="*/ 20 h 96"/>
              <a:gd name="T74" fmla="*/ 123 w 166"/>
              <a:gd name="T75" fmla="*/ 27 h 96"/>
              <a:gd name="T76" fmla="*/ 135 w 166"/>
              <a:gd name="T77" fmla="*/ 34 h 96"/>
              <a:gd name="T78" fmla="*/ 145 w 166"/>
              <a:gd name="T79" fmla="*/ 42 h 96"/>
              <a:gd name="T80" fmla="*/ 155 w 166"/>
              <a:gd name="T81" fmla="*/ 51 h 96"/>
              <a:gd name="T82" fmla="*/ 162 w 166"/>
              <a:gd name="T83" fmla="*/ 60 h 96"/>
              <a:gd name="T84" fmla="*/ 164 w 166"/>
              <a:gd name="T85" fmla="*/ 64 h 96"/>
              <a:gd name="T86" fmla="*/ 166 w 166"/>
              <a:gd name="T87" fmla="*/ 6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6" h="96">
                <a:moveTo>
                  <a:pt x="166" y="69"/>
                </a:moveTo>
                <a:lnTo>
                  <a:pt x="166" y="69"/>
                </a:lnTo>
                <a:lnTo>
                  <a:pt x="166" y="70"/>
                </a:lnTo>
                <a:lnTo>
                  <a:pt x="165" y="72"/>
                </a:lnTo>
                <a:lnTo>
                  <a:pt x="161" y="74"/>
                </a:lnTo>
                <a:lnTo>
                  <a:pt x="155" y="77"/>
                </a:lnTo>
                <a:lnTo>
                  <a:pt x="145" y="79"/>
                </a:lnTo>
                <a:lnTo>
                  <a:pt x="123" y="85"/>
                </a:lnTo>
                <a:lnTo>
                  <a:pt x="95" y="90"/>
                </a:lnTo>
                <a:lnTo>
                  <a:pt x="68" y="94"/>
                </a:lnTo>
                <a:lnTo>
                  <a:pt x="42" y="96"/>
                </a:lnTo>
                <a:lnTo>
                  <a:pt x="24" y="96"/>
                </a:lnTo>
                <a:lnTo>
                  <a:pt x="17" y="95"/>
                </a:lnTo>
                <a:lnTo>
                  <a:pt x="13" y="94"/>
                </a:lnTo>
                <a:lnTo>
                  <a:pt x="13" y="94"/>
                </a:lnTo>
                <a:lnTo>
                  <a:pt x="10" y="92"/>
                </a:lnTo>
                <a:lnTo>
                  <a:pt x="8" y="88"/>
                </a:lnTo>
                <a:lnTo>
                  <a:pt x="5" y="77"/>
                </a:lnTo>
                <a:lnTo>
                  <a:pt x="2" y="65"/>
                </a:lnTo>
                <a:lnTo>
                  <a:pt x="0" y="51"/>
                </a:lnTo>
                <a:lnTo>
                  <a:pt x="0" y="36"/>
                </a:lnTo>
                <a:lnTo>
                  <a:pt x="0" y="23"/>
                </a:lnTo>
                <a:lnTo>
                  <a:pt x="1" y="13"/>
                </a:lnTo>
                <a:lnTo>
                  <a:pt x="2" y="8"/>
                </a:lnTo>
                <a:lnTo>
                  <a:pt x="4" y="5"/>
                </a:lnTo>
                <a:lnTo>
                  <a:pt x="4" y="5"/>
                </a:lnTo>
                <a:lnTo>
                  <a:pt x="5" y="4"/>
                </a:lnTo>
                <a:lnTo>
                  <a:pt x="7" y="2"/>
                </a:lnTo>
                <a:lnTo>
                  <a:pt x="13" y="1"/>
                </a:lnTo>
                <a:lnTo>
                  <a:pt x="22" y="0"/>
                </a:lnTo>
                <a:lnTo>
                  <a:pt x="32" y="0"/>
                </a:lnTo>
                <a:lnTo>
                  <a:pt x="43" y="1"/>
                </a:lnTo>
                <a:lnTo>
                  <a:pt x="55" y="3"/>
                </a:lnTo>
                <a:lnTo>
                  <a:pt x="69" y="6"/>
                </a:lnTo>
                <a:lnTo>
                  <a:pt x="83" y="10"/>
                </a:lnTo>
                <a:lnTo>
                  <a:pt x="96" y="15"/>
                </a:lnTo>
                <a:lnTo>
                  <a:pt x="110" y="20"/>
                </a:lnTo>
                <a:lnTo>
                  <a:pt x="123" y="27"/>
                </a:lnTo>
                <a:lnTo>
                  <a:pt x="135" y="34"/>
                </a:lnTo>
                <a:lnTo>
                  <a:pt x="145" y="42"/>
                </a:lnTo>
                <a:lnTo>
                  <a:pt x="155" y="51"/>
                </a:lnTo>
                <a:lnTo>
                  <a:pt x="162" y="60"/>
                </a:lnTo>
                <a:lnTo>
                  <a:pt x="164" y="64"/>
                </a:lnTo>
                <a:lnTo>
                  <a:pt x="166" y="6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50" name="Freeform 47"/>
          <p:cNvSpPr>
            <a:spLocks/>
          </p:cNvSpPr>
          <p:nvPr userDrawn="1"/>
        </p:nvSpPr>
        <p:spPr bwMode="auto">
          <a:xfrm>
            <a:off x="7151687" y="1218903"/>
            <a:ext cx="657225" cy="776288"/>
          </a:xfrm>
          <a:custGeom>
            <a:avLst/>
            <a:gdLst>
              <a:gd name="T0" fmla="*/ 4703 w 4973"/>
              <a:gd name="T1" fmla="*/ 1877 h 5865"/>
              <a:gd name="T2" fmla="*/ 4733 w 4973"/>
              <a:gd name="T3" fmla="*/ 1183 h 5865"/>
              <a:gd name="T4" fmla="*/ 4302 w 4973"/>
              <a:gd name="T5" fmla="*/ 476 h 5865"/>
              <a:gd name="T6" fmla="*/ 3581 w 4973"/>
              <a:gd name="T7" fmla="*/ 813 h 5865"/>
              <a:gd name="T8" fmla="*/ 3899 w 4973"/>
              <a:gd name="T9" fmla="*/ 1529 h 5865"/>
              <a:gd name="T10" fmla="*/ 3757 w 4973"/>
              <a:gd name="T11" fmla="*/ 2227 h 5865"/>
              <a:gd name="T12" fmla="*/ 3939 w 4973"/>
              <a:gd name="T13" fmla="*/ 2068 h 5865"/>
              <a:gd name="T14" fmla="*/ 4069 w 4973"/>
              <a:gd name="T15" fmla="*/ 1928 h 5865"/>
              <a:gd name="T16" fmla="*/ 4545 w 4973"/>
              <a:gd name="T17" fmla="*/ 1985 h 5865"/>
              <a:gd name="T18" fmla="*/ 4487 w 4973"/>
              <a:gd name="T19" fmla="*/ 2697 h 5865"/>
              <a:gd name="T20" fmla="*/ 3601 w 4973"/>
              <a:gd name="T21" fmla="*/ 2477 h 5865"/>
              <a:gd name="T22" fmla="*/ 3285 w 4973"/>
              <a:gd name="T23" fmla="*/ 1581 h 5865"/>
              <a:gd name="T24" fmla="*/ 3364 w 4973"/>
              <a:gd name="T25" fmla="*/ 1421 h 5865"/>
              <a:gd name="T26" fmla="*/ 3101 w 4973"/>
              <a:gd name="T27" fmla="*/ 996 h 5865"/>
              <a:gd name="T28" fmla="*/ 3251 w 4973"/>
              <a:gd name="T29" fmla="*/ 599 h 5865"/>
              <a:gd name="T30" fmla="*/ 2863 w 4973"/>
              <a:gd name="T31" fmla="*/ 144 h 5865"/>
              <a:gd name="T32" fmla="*/ 1960 w 4973"/>
              <a:gd name="T33" fmla="*/ 304 h 5865"/>
              <a:gd name="T34" fmla="*/ 1819 w 4973"/>
              <a:gd name="T35" fmla="*/ 748 h 5865"/>
              <a:gd name="T36" fmla="*/ 2202 w 4973"/>
              <a:gd name="T37" fmla="*/ 626 h 5865"/>
              <a:gd name="T38" fmla="*/ 2215 w 4973"/>
              <a:gd name="T39" fmla="*/ 803 h 5865"/>
              <a:gd name="T40" fmla="*/ 1623 w 4973"/>
              <a:gd name="T41" fmla="*/ 851 h 5865"/>
              <a:gd name="T42" fmla="*/ 1602 w 4973"/>
              <a:gd name="T43" fmla="*/ 1055 h 5865"/>
              <a:gd name="T44" fmla="*/ 2246 w 4973"/>
              <a:gd name="T45" fmla="*/ 924 h 5865"/>
              <a:gd name="T46" fmla="*/ 2036 w 4973"/>
              <a:gd name="T47" fmla="*/ 981 h 5865"/>
              <a:gd name="T48" fmla="*/ 1754 w 4973"/>
              <a:gd name="T49" fmla="*/ 1278 h 5865"/>
              <a:gd name="T50" fmla="*/ 2105 w 4973"/>
              <a:gd name="T51" fmla="*/ 1619 h 5865"/>
              <a:gd name="T52" fmla="*/ 863 w 4973"/>
              <a:gd name="T53" fmla="*/ 2239 h 5865"/>
              <a:gd name="T54" fmla="*/ 310 w 4973"/>
              <a:gd name="T55" fmla="*/ 2027 h 5865"/>
              <a:gd name="T56" fmla="*/ 319 w 4973"/>
              <a:gd name="T57" fmla="*/ 2172 h 5865"/>
              <a:gd name="T58" fmla="*/ 380 w 4973"/>
              <a:gd name="T59" fmla="*/ 2295 h 5865"/>
              <a:gd name="T60" fmla="*/ 39 w 4973"/>
              <a:gd name="T61" fmla="*/ 2396 h 5865"/>
              <a:gd name="T62" fmla="*/ 189 w 4973"/>
              <a:gd name="T63" fmla="*/ 2511 h 5865"/>
              <a:gd name="T64" fmla="*/ 322 w 4973"/>
              <a:gd name="T65" fmla="*/ 2588 h 5865"/>
              <a:gd name="T66" fmla="*/ 272 w 4973"/>
              <a:gd name="T67" fmla="*/ 2893 h 5865"/>
              <a:gd name="T68" fmla="*/ 630 w 4973"/>
              <a:gd name="T69" fmla="*/ 2730 h 5865"/>
              <a:gd name="T70" fmla="*/ 811 w 4973"/>
              <a:gd name="T71" fmla="*/ 2843 h 5865"/>
              <a:gd name="T72" fmla="*/ 1024 w 4973"/>
              <a:gd name="T73" fmla="*/ 2773 h 5865"/>
              <a:gd name="T74" fmla="*/ 1290 w 4973"/>
              <a:gd name="T75" fmla="*/ 2556 h 5865"/>
              <a:gd name="T76" fmla="*/ 1713 w 4973"/>
              <a:gd name="T77" fmla="*/ 2519 h 5865"/>
              <a:gd name="T78" fmla="*/ 2306 w 4973"/>
              <a:gd name="T79" fmla="*/ 2641 h 5865"/>
              <a:gd name="T80" fmla="*/ 3357 w 4973"/>
              <a:gd name="T81" fmla="*/ 3092 h 5865"/>
              <a:gd name="T82" fmla="*/ 3742 w 4973"/>
              <a:gd name="T83" fmla="*/ 3928 h 5865"/>
              <a:gd name="T84" fmla="*/ 3685 w 4973"/>
              <a:gd name="T85" fmla="*/ 4224 h 5865"/>
              <a:gd name="T86" fmla="*/ 4224 w 4973"/>
              <a:gd name="T87" fmla="*/ 4337 h 5865"/>
              <a:gd name="T88" fmla="*/ 4264 w 4973"/>
              <a:gd name="T89" fmla="*/ 5017 h 5865"/>
              <a:gd name="T90" fmla="*/ 3761 w 4973"/>
              <a:gd name="T91" fmla="*/ 5058 h 5865"/>
              <a:gd name="T92" fmla="*/ 3894 w 4973"/>
              <a:gd name="T93" fmla="*/ 5210 h 5865"/>
              <a:gd name="T94" fmla="*/ 3894 w 4973"/>
              <a:gd name="T95" fmla="*/ 5294 h 5865"/>
              <a:gd name="T96" fmla="*/ 3751 w 4973"/>
              <a:gd name="T97" fmla="*/ 5644 h 5865"/>
              <a:gd name="T98" fmla="*/ 3926 w 4973"/>
              <a:gd name="T99" fmla="*/ 5586 h 5865"/>
              <a:gd name="T100" fmla="*/ 4212 w 4973"/>
              <a:gd name="T101" fmla="*/ 5447 h 5865"/>
              <a:gd name="T102" fmla="*/ 4257 w 4973"/>
              <a:gd name="T103" fmla="*/ 5812 h 5865"/>
              <a:gd name="T104" fmla="*/ 4352 w 4973"/>
              <a:gd name="T105" fmla="*/ 5675 h 5865"/>
              <a:gd name="T106" fmla="*/ 4557 w 4973"/>
              <a:gd name="T107" fmla="*/ 5328 h 5865"/>
              <a:gd name="T108" fmla="*/ 4736 w 4973"/>
              <a:gd name="T109" fmla="*/ 5505 h 5865"/>
              <a:gd name="T110" fmla="*/ 4753 w 4973"/>
              <a:gd name="T111" fmla="*/ 5108 h 5865"/>
              <a:gd name="T112" fmla="*/ 4693 w 4973"/>
              <a:gd name="T113" fmla="*/ 4810 h 5865"/>
              <a:gd name="T114" fmla="*/ 4677 w 4973"/>
              <a:gd name="T115" fmla="*/ 4437 h 5865"/>
              <a:gd name="T116" fmla="*/ 4640 w 4973"/>
              <a:gd name="T117" fmla="*/ 4108 h 5865"/>
              <a:gd name="T118" fmla="*/ 4297 w 4973"/>
              <a:gd name="T119" fmla="*/ 3793 h 5865"/>
              <a:gd name="T120" fmla="*/ 4267 w 4973"/>
              <a:gd name="T121" fmla="*/ 3366 h 5865"/>
              <a:gd name="T122" fmla="*/ 4428 w 4973"/>
              <a:gd name="T123" fmla="*/ 2994 h 5865"/>
              <a:gd name="T124" fmla="*/ 4923 w 4973"/>
              <a:gd name="T125" fmla="*/ 2543 h 5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973" h="5865">
                <a:moveTo>
                  <a:pt x="4842" y="2253"/>
                </a:moveTo>
                <a:lnTo>
                  <a:pt x="4842" y="2253"/>
                </a:lnTo>
                <a:lnTo>
                  <a:pt x="4862" y="2257"/>
                </a:lnTo>
                <a:lnTo>
                  <a:pt x="4881" y="2259"/>
                </a:lnTo>
                <a:lnTo>
                  <a:pt x="4900" y="2260"/>
                </a:lnTo>
                <a:lnTo>
                  <a:pt x="4916" y="2259"/>
                </a:lnTo>
                <a:lnTo>
                  <a:pt x="4932" y="2257"/>
                </a:lnTo>
                <a:lnTo>
                  <a:pt x="4946" y="2254"/>
                </a:lnTo>
                <a:lnTo>
                  <a:pt x="4958" y="2249"/>
                </a:lnTo>
                <a:lnTo>
                  <a:pt x="4969" y="2243"/>
                </a:lnTo>
                <a:lnTo>
                  <a:pt x="4969" y="2243"/>
                </a:lnTo>
                <a:lnTo>
                  <a:pt x="4967" y="2217"/>
                </a:lnTo>
                <a:lnTo>
                  <a:pt x="4960" y="2157"/>
                </a:lnTo>
                <a:lnTo>
                  <a:pt x="4951" y="2084"/>
                </a:lnTo>
                <a:lnTo>
                  <a:pt x="4946" y="2052"/>
                </a:lnTo>
                <a:lnTo>
                  <a:pt x="4940" y="2024"/>
                </a:lnTo>
                <a:lnTo>
                  <a:pt x="4940" y="2024"/>
                </a:lnTo>
                <a:lnTo>
                  <a:pt x="4922" y="2027"/>
                </a:lnTo>
                <a:lnTo>
                  <a:pt x="4902" y="2030"/>
                </a:lnTo>
                <a:lnTo>
                  <a:pt x="4891" y="2030"/>
                </a:lnTo>
                <a:lnTo>
                  <a:pt x="4879" y="2030"/>
                </a:lnTo>
                <a:lnTo>
                  <a:pt x="4867" y="2029"/>
                </a:lnTo>
                <a:lnTo>
                  <a:pt x="4855" y="2027"/>
                </a:lnTo>
                <a:lnTo>
                  <a:pt x="4843" y="2024"/>
                </a:lnTo>
                <a:lnTo>
                  <a:pt x="4830" y="2020"/>
                </a:lnTo>
                <a:lnTo>
                  <a:pt x="4818" y="2015"/>
                </a:lnTo>
                <a:lnTo>
                  <a:pt x="4806" y="2008"/>
                </a:lnTo>
                <a:lnTo>
                  <a:pt x="4794" y="1998"/>
                </a:lnTo>
                <a:lnTo>
                  <a:pt x="4782" y="1988"/>
                </a:lnTo>
                <a:lnTo>
                  <a:pt x="4771" y="1976"/>
                </a:lnTo>
                <a:lnTo>
                  <a:pt x="4761" y="1962"/>
                </a:lnTo>
                <a:lnTo>
                  <a:pt x="4761" y="1962"/>
                </a:lnTo>
                <a:lnTo>
                  <a:pt x="4743" y="1933"/>
                </a:lnTo>
                <a:lnTo>
                  <a:pt x="4724" y="1905"/>
                </a:lnTo>
                <a:lnTo>
                  <a:pt x="4724" y="1905"/>
                </a:lnTo>
                <a:lnTo>
                  <a:pt x="4703" y="1877"/>
                </a:lnTo>
                <a:lnTo>
                  <a:pt x="4680" y="1849"/>
                </a:lnTo>
                <a:lnTo>
                  <a:pt x="4658" y="1823"/>
                </a:lnTo>
                <a:lnTo>
                  <a:pt x="4634" y="1797"/>
                </a:lnTo>
                <a:lnTo>
                  <a:pt x="4611" y="1773"/>
                </a:lnTo>
                <a:lnTo>
                  <a:pt x="4586" y="1750"/>
                </a:lnTo>
                <a:lnTo>
                  <a:pt x="4562" y="1727"/>
                </a:lnTo>
                <a:lnTo>
                  <a:pt x="4538" y="1707"/>
                </a:lnTo>
                <a:lnTo>
                  <a:pt x="4513" y="1687"/>
                </a:lnTo>
                <a:lnTo>
                  <a:pt x="4489" y="1667"/>
                </a:lnTo>
                <a:lnTo>
                  <a:pt x="4463" y="1649"/>
                </a:lnTo>
                <a:lnTo>
                  <a:pt x="4439" y="1630"/>
                </a:lnTo>
                <a:lnTo>
                  <a:pt x="4413" y="1614"/>
                </a:lnTo>
                <a:lnTo>
                  <a:pt x="4389" y="1598"/>
                </a:lnTo>
                <a:lnTo>
                  <a:pt x="4337" y="1566"/>
                </a:lnTo>
                <a:lnTo>
                  <a:pt x="4337" y="1566"/>
                </a:lnTo>
                <a:lnTo>
                  <a:pt x="4381" y="1543"/>
                </a:lnTo>
                <a:lnTo>
                  <a:pt x="4422" y="1521"/>
                </a:lnTo>
                <a:lnTo>
                  <a:pt x="4459" y="1498"/>
                </a:lnTo>
                <a:lnTo>
                  <a:pt x="4492" y="1477"/>
                </a:lnTo>
                <a:lnTo>
                  <a:pt x="4523" y="1455"/>
                </a:lnTo>
                <a:lnTo>
                  <a:pt x="4549" y="1434"/>
                </a:lnTo>
                <a:lnTo>
                  <a:pt x="4574" y="1414"/>
                </a:lnTo>
                <a:lnTo>
                  <a:pt x="4595" y="1393"/>
                </a:lnTo>
                <a:lnTo>
                  <a:pt x="4615" y="1374"/>
                </a:lnTo>
                <a:lnTo>
                  <a:pt x="4632" y="1355"/>
                </a:lnTo>
                <a:lnTo>
                  <a:pt x="4647" y="1337"/>
                </a:lnTo>
                <a:lnTo>
                  <a:pt x="4661" y="1319"/>
                </a:lnTo>
                <a:lnTo>
                  <a:pt x="4673" y="1303"/>
                </a:lnTo>
                <a:lnTo>
                  <a:pt x="4683" y="1288"/>
                </a:lnTo>
                <a:lnTo>
                  <a:pt x="4700" y="1260"/>
                </a:lnTo>
                <a:lnTo>
                  <a:pt x="4700" y="1260"/>
                </a:lnTo>
                <a:lnTo>
                  <a:pt x="4708" y="1248"/>
                </a:lnTo>
                <a:lnTo>
                  <a:pt x="4714" y="1234"/>
                </a:lnTo>
                <a:lnTo>
                  <a:pt x="4721" y="1218"/>
                </a:lnTo>
                <a:lnTo>
                  <a:pt x="4727" y="1202"/>
                </a:lnTo>
                <a:lnTo>
                  <a:pt x="4733" y="1183"/>
                </a:lnTo>
                <a:lnTo>
                  <a:pt x="4739" y="1164"/>
                </a:lnTo>
                <a:lnTo>
                  <a:pt x="4743" y="1144"/>
                </a:lnTo>
                <a:lnTo>
                  <a:pt x="4749" y="1123"/>
                </a:lnTo>
                <a:lnTo>
                  <a:pt x="4753" y="1101"/>
                </a:lnTo>
                <a:lnTo>
                  <a:pt x="4756" y="1078"/>
                </a:lnTo>
                <a:lnTo>
                  <a:pt x="4758" y="1054"/>
                </a:lnTo>
                <a:lnTo>
                  <a:pt x="4759" y="1030"/>
                </a:lnTo>
                <a:lnTo>
                  <a:pt x="4760" y="1005"/>
                </a:lnTo>
                <a:lnTo>
                  <a:pt x="4759" y="980"/>
                </a:lnTo>
                <a:lnTo>
                  <a:pt x="4758" y="954"/>
                </a:lnTo>
                <a:lnTo>
                  <a:pt x="4755" y="928"/>
                </a:lnTo>
                <a:lnTo>
                  <a:pt x="4751" y="902"/>
                </a:lnTo>
                <a:lnTo>
                  <a:pt x="4745" y="876"/>
                </a:lnTo>
                <a:lnTo>
                  <a:pt x="4738" y="849"/>
                </a:lnTo>
                <a:lnTo>
                  <a:pt x="4730" y="824"/>
                </a:lnTo>
                <a:lnTo>
                  <a:pt x="4720" y="797"/>
                </a:lnTo>
                <a:lnTo>
                  <a:pt x="4709" y="771"/>
                </a:lnTo>
                <a:lnTo>
                  <a:pt x="4695" y="746"/>
                </a:lnTo>
                <a:lnTo>
                  <a:pt x="4681" y="721"/>
                </a:lnTo>
                <a:lnTo>
                  <a:pt x="4665" y="697"/>
                </a:lnTo>
                <a:lnTo>
                  <a:pt x="4646" y="672"/>
                </a:lnTo>
                <a:lnTo>
                  <a:pt x="4625" y="649"/>
                </a:lnTo>
                <a:lnTo>
                  <a:pt x="4602" y="626"/>
                </a:lnTo>
                <a:lnTo>
                  <a:pt x="4578" y="605"/>
                </a:lnTo>
                <a:lnTo>
                  <a:pt x="4551" y="584"/>
                </a:lnTo>
                <a:lnTo>
                  <a:pt x="4522" y="565"/>
                </a:lnTo>
                <a:lnTo>
                  <a:pt x="4490" y="545"/>
                </a:lnTo>
                <a:lnTo>
                  <a:pt x="4490" y="545"/>
                </a:lnTo>
                <a:lnTo>
                  <a:pt x="4466" y="533"/>
                </a:lnTo>
                <a:lnTo>
                  <a:pt x="4443" y="522"/>
                </a:lnTo>
                <a:lnTo>
                  <a:pt x="4419" y="512"/>
                </a:lnTo>
                <a:lnTo>
                  <a:pt x="4396" y="503"/>
                </a:lnTo>
                <a:lnTo>
                  <a:pt x="4372" y="494"/>
                </a:lnTo>
                <a:lnTo>
                  <a:pt x="4348" y="487"/>
                </a:lnTo>
                <a:lnTo>
                  <a:pt x="4325" y="481"/>
                </a:lnTo>
                <a:lnTo>
                  <a:pt x="4302" y="476"/>
                </a:lnTo>
                <a:lnTo>
                  <a:pt x="4278" y="471"/>
                </a:lnTo>
                <a:lnTo>
                  <a:pt x="4256" y="468"/>
                </a:lnTo>
                <a:lnTo>
                  <a:pt x="4233" y="465"/>
                </a:lnTo>
                <a:lnTo>
                  <a:pt x="4211" y="463"/>
                </a:lnTo>
                <a:lnTo>
                  <a:pt x="4188" y="461"/>
                </a:lnTo>
                <a:lnTo>
                  <a:pt x="4167" y="461"/>
                </a:lnTo>
                <a:lnTo>
                  <a:pt x="4145" y="461"/>
                </a:lnTo>
                <a:lnTo>
                  <a:pt x="4124" y="461"/>
                </a:lnTo>
                <a:lnTo>
                  <a:pt x="4083" y="464"/>
                </a:lnTo>
                <a:lnTo>
                  <a:pt x="4044" y="468"/>
                </a:lnTo>
                <a:lnTo>
                  <a:pt x="4007" y="474"/>
                </a:lnTo>
                <a:lnTo>
                  <a:pt x="3973" y="482"/>
                </a:lnTo>
                <a:lnTo>
                  <a:pt x="3941" y="490"/>
                </a:lnTo>
                <a:lnTo>
                  <a:pt x="3912" y="499"/>
                </a:lnTo>
                <a:lnTo>
                  <a:pt x="3887" y="510"/>
                </a:lnTo>
                <a:lnTo>
                  <a:pt x="3864" y="519"/>
                </a:lnTo>
                <a:lnTo>
                  <a:pt x="3864" y="519"/>
                </a:lnTo>
                <a:lnTo>
                  <a:pt x="3844" y="529"/>
                </a:lnTo>
                <a:lnTo>
                  <a:pt x="3824" y="539"/>
                </a:lnTo>
                <a:lnTo>
                  <a:pt x="3806" y="551"/>
                </a:lnTo>
                <a:lnTo>
                  <a:pt x="3787" y="562"/>
                </a:lnTo>
                <a:lnTo>
                  <a:pt x="3769" y="575"/>
                </a:lnTo>
                <a:lnTo>
                  <a:pt x="3752" y="587"/>
                </a:lnTo>
                <a:lnTo>
                  <a:pt x="3735" y="602"/>
                </a:lnTo>
                <a:lnTo>
                  <a:pt x="3719" y="616"/>
                </a:lnTo>
                <a:lnTo>
                  <a:pt x="3703" y="631"/>
                </a:lnTo>
                <a:lnTo>
                  <a:pt x="3687" y="647"/>
                </a:lnTo>
                <a:lnTo>
                  <a:pt x="3673" y="663"/>
                </a:lnTo>
                <a:lnTo>
                  <a:pt x="3659" y="679"/>
                </a:lnTo>
                <a:lnTo>
                  <a:pt x="3645" y="697"/>
                </a:lnTo>
                <a:lnTo>
                  <a:pt x="3633" y="715"/>
                </a:lnTo>
                <a:lnTo>
                  <a:pt x="3621" y="734"/>
                </a:lnTo>
                <a:lnTo>
                  <a:pt x="3609" y="753"/>
                </a:lnTo>
                <a:lnTo>
                  <a:pt x="3599" y="772"/>
                </a:lnTo>
                <a:lnTo>
                  <a:pt x="3589" y="793"/>
                </a:lnTo>
                <a:lnTo>
                  <a:pt x="3581" y="813"/>
                </a:lnTo>
                <a:lnTo>
                  <a:pt x="3573" y="835"/>
                </a:lnTo>
                <a:lnTo>
                  <a:pt x="3565" y="856"/>
                </a:lnTo>
                <a:lnTo>
                  <a:pt x="3559" y="879"/>
                </a:lnTo>
                <a:lnTo>
                  <a:pt x="3554" y="901"/>
                </a:lnTo>
                <a:lnTo>
                  <a:pt x="3550" y="924"/>
                </a:lnTo>
                <a:lnTo>
                  <a:pt x="3547" y="947"/>
                </a:lnTo>
                <a:lnTo>
                  <a:pt x="3545" y="972"/>
                </a:lnTo>
                <a:lnTo>
                  <a:pt x="3544" y="996"/>
                </a:lnTo>
                <a:lnTo>
                  <a:pt x="3543" y="1021"/>
                </a:lnTo>
                <a:lnTo>
                  <a:pt x="3544" y="1046"/>
                </a:lnTo>
                <a:lnTo>
                  <a:pt x="3546" y="1072"/>
                </a:lnTo>
                <a:lnTo>
                  <a:pt x="3550" y="1098"/>
                </a:lnTo>
                <a:lnTo>
                  <a:pt x="3554" y="1124"/>
                </a:lnTo>
                <a:lnTo>
                  <a:pt x="3554" y="1124"/>
                </a:lnTo>
                <a:lnTo>
                  <a:pt x="3559" y="1148"/>
                </a:lnTo>
                <a:lnTo>
                  <a:pt x="3564" y="1169"/>
                </a:lnTo>
                <a:lnTo>
                  <a:pt x="3571" y="1191"/>
                </a:lnTo>
                <a:lnTo>
                  <a:pt x="3577" y="1211"/>
                </a:lnTo>
                <a:lnTo>
                  <a:pt x="3585" y="1231"/>
                </a:lnTo>
                <a:lnTo>
                  <a:pt x="3592" y="1249"/>
                </a:lnTo>
                <a:lnTo>
                  <a:pt x="3601" y="1267"/>
                </a:lnTo>
                <a:lnTo>
                  <a:pt x="3610" y="1285"/>
                </a:lnTo>
                <a:lnTo>
                  <a:pt x="3620" y="1301"/>
                </a:lnTo>
                <a:lnTo>
                  <a:pt x="3631" y="1316"/>
                </a:lnTo>
                <a:lnTo>
                  <a:pt x="3641" y="1332"/>
                </a:lnTo>
                <a:lnTo>
                  <a:pt x="3652" y="1347"/>
                </a:lnTo>
                <a:lnTo>
                  <a:pt x="3665" y="1361"/>
                </a:lnTo>
                <a:lnTo>
                  <a:pt x="3677" y="1375"/>
                </a:lnTo>
                <a:lnTo>
                  <a:pt x="3690" y="1388"/>
                </a:lnTo>
                <a:lnTo>
                  <a:pt x="3704" y="1400"/>
                </a:lnTo>
                <a:lnTo>
                  <a:pt x="3732" y="1425"/>
                </a:lnTo>
                <a:lnTo>
                  <a:pt x="3763" y="1447"/>
                </a:lnTo>
                <a:lnTo>
                  <a:pt x="3795" y="1469"/>
                </a:lnTo>
                <a:lnTo>
                  <a:pt x="3828" y="1489"/>
                </a:lnTo>
                <a:lnTo>
                  <a:pt x="3863" y="1510"/>
                </a:lnTo>
                <a:lnTo>
                  <a:pt x="3899" y="1529"/>
                </a:lnTo>
                <a:lnTo>
                  <a:pt x="3976" y="1567"/>
                </a:lnTo>
                <a:lnTo>
                  <a:pt x="3976" y="1567"/>
                </a:lnTo>
                <a:lnTo>
                  <a:pt x="3945" y="1584"/>
                </a:lnTo>
                <a:lnTo>
                  <a:pt x="3916" y="1601"/>
                </a:lnTo>
                <a:lnTo>
                  <a:pt x="3890" y="1618"/>
                </a:lnTo>
                <a:lnTo>
                  <a:pt x="3864" y="1636"/>
                </a:lnTo>
                <a:lnTo>
                  <a:pt x="3840" y="1656"/>
                </a:lnTo>
                <a:lnTo>
                  <a:pt x="3817" y="1675"/>
                </a:lnTo>
                <a:lnTo>
                  <a:pt x="3797" y="1696"/>
                </a:lnTo>
                <a:lnTo>
                  <a:pt x="3778" y="1717"/>
                </a:lnTo>
                <a:lnTo>
                  <a:pt x="3761" y="1741"/>
                </a:lnTo>
                <a:lnTo>
                  <a:pt x="3754" y="1753"/>
                </a:lnTo>
                <a:lnTo>
                  <a:pt x="3746" y="1765"/>
                </a:lnTo>
                <a:lnTo>
                  <a:pt x="3739" y="1778"/>
                </a:lnTo>
                <a:lnTo>
                  <a:pt x="3733" y="1791"/>
                </a:lnTo>
                <a:lnTo>
                  <a:pt x="3728" y="1804"/>
                </a:lnTo>
                <a:lnTo>
                  <a:pt x="3723" y="1818"/>
                </a:lnTo>
                <a:lnTo>
                  <a:pt x="3718" y="1833"/>
                </a:lnTo>
                <a:lnTo>
                  <a:pt x="3714" y="1848"/>
                </a:lnTo>
                <a:lnTo>
                  <a:pt x="3711" y="1863"/>
                </a:lnTo>
                <a:lnTo>
                  <a:pt x="3708" y="1879"/>
                </a:lnTo>
                <a:lnTo>
                  <a:pt x="3706" y="1895"/>
                </a:lnTo>
                <a:lnTo>
                  <a:pt x="3705" y="1912"/>
                </a:lnTo>
                <a:lnTo>
                  <a:pt x="3704" y="1930"/>
                </a:lnTo>
                <a:lnTo>
                  <a:pt x="3703" y="1947"/>
                </a:lnTo>
                <a:lnTo>
                  <a:pt x="3703" y="1947"/>
                </a:lnTo>
                <a:lnTo>
                  <a:pt x="3704" y="1970"/>
                </a:lnTo>
                <a:lnTo>
                  <a:pt x="3707" y="1993"/>
                </a:lnTo>
                <a:lnTo>
                  <a:pt x="3711" y="2016"/>
                </a:lnTo>
                <a:lnTo>
                  <a:pt x="3716" y="2039"/>
                </a:lnTo>
                <a:lnTo>
                  <a:pt x="3729" y="2087"/>
                </a:lnTo>
                <a:lnTo>
                  <a:pt x="3736" y="2113"/>
                </a:lnTo>
                <a:lnTo>
                  <a:pt x="3742" y="2139"/>
                </a:lnTo>
                <a:lnTo>
                  <a:pt x="3749" y="2168"/>
                </a:lnTo>
                <a:lnTo>
                  <a:pt x="3753" y="2197"/>
                </a:lnTo>
                <a:lnTo>
                  <a:pt x="3757" y="2227"/>
                </a:lnTo>
                <a:lnTo>
                  <a:pt x="3758" y="2260"/>
                </a:lnTo>
                <a:lnTo>
                  <a:pt x="3758" y="2295"/>
                </a:lnTo>
                <a:lnTo>
                  <a:pt x="3757" y="2313"/>
                </a:lnTo>
                <a:lnTo>
                  <a:pt x="3755" y="2332"/>
                </a:lnTo>
                <a:lnTo>
                  <a:pt x="3753" y="2350"/>
                </a:lnTo>
                <a:lnTo>
                  <a:pt x="3750" y="2371"/>
                </a:lnTo>
                <a:lnTo>
                  <a:pt x="3745" y="2391"/>
                </a:lnTo>
                <a:lnTo>
                  <a:pt x="3741" y="2411"/>
                </a:lnTo>
                <a:lnTo>
                  <a:pt x="3741" y="2411"/>
                </a:lnTo>
                <a:lnTo>
                  <a:pt x="3741" y="2413"/>
                </a:lnTo>
                <a:lnTo>
                  <a:pt x="3741" y="2414"/>
                </a:lnTo>
                <a:lnTo>
                  <a:pt x="3743" y="2414"/>
                </a:lnTo>
                <a:lnTo>
                  <a:pt x="3745" y="2416"/>
                </a:lnTo>
                <a:lnTo>
                  <a:pt x="3753" y="2413"/>
                </a:lnTo>
                <a:lnTo>
                  <a:pt x="3762" y="2411"/>
                </a:lnTo>
                <a:lnTo>
                  <a:pt x="3785" y="2401"/>
                </a:lnTo>
                <a:lnTo>
                  <a:pt x="3814" y="2389"/>
                </a:lnTo>
                <a:lnTo>
                  <a:pt x="3842" y="2374"/>
                </a:lnTo>
                <a:lnTo>
                  <a:pt x="3867" y="2360"/>
                </a:lnTo>
                <a:lnTo>
                  <a:pt x="3886" y="2349"/>
                </a:lnTo>
                <a:lnTo>
                  <a:pt x="3891" y="2345"/>
                </a:lnTo>
                <a:lnTo>
                  <a:pt x="3894" y="2343"/>
                </a:lnTo>
                <a:lnTo>
                  <a:pt x="3894" y="2343"/>
                </a:lnTo>
                <a:lnTo>
                  <a:pt x="3903" y="2319"/>
                </a:lnTo>
                <a:lnTo>
                  <a:pt x="3910" y="2296"/>
                </a:lnTo>
                <a:lnTo>
                  <a:pt x="3916" y="2272"/>
                </a:lnTo>
                <a:lnTo>
                  <a:pt x="3921" y="2248"/>
                </a:lnTo>
                <a:lnTo>
                  <a:pt x="3925" y="2224"/>
                </a:lnTo>
                <a:lnTo>
                  <a:pt x="3928" y="2201"/>
                </a:lnTo>
                <a:lnTo>
                  <a:pt x="3930" y="2178"/>
                </a:lnTo>
                <a:lnTo>
                  <a:pt x="3932" y="2156"/>
                </a:lnTo>
                <a:lnTo>
                  <a:pt x="3932" y="2117"/>
                </a:lnTo>
                <a:lnTo>
                  <a:pt x="3931" y="2086"/>
                </a:lnTo>
                <a:lnTo>
                  <a:pt x="3928" y="2059"/>
                </a:lnTo>
                <a:lnTo>
                  <a:pt x="3928" y="2059"/>
                </a:lnTo>
                <a:lnTo>
                  <a:pt x="3939" y="2068"/>
                </a:lnTo>
                <a:lnTo>
                  <a:pt x="3947" y="2079"/>
                </a:lnTo>
                <a:lnTo>
                  <a:pt x="3954" y="2091"/>
                </a:lnTo>
                <a:lnTo>
                  <a:pt x="3960" y="2105"/>
                </a:lnTo>
                <a:lnTo>
                  <a:pt x="3964" y="2120"/>
                </a:lnTo>
                <a:lnTo>
                  <a:pt x="3968" y="2135"/>
                </a:lnTo>
                <a:lnTo>
                  <a:pt x="3971" y="2152"/>
                </a:lnTo>
                <a:lnTo>
                  <a:pt x="3973" y="2168"/>
                </a:lnTo>
                <a:lnTo>
                  <a:pt x="3975" y="2185"/>
                </a:lnTo>
                <a:lnTo>
                  <a:pt x="3976" y="2203"/>
                </a:lnTo>
                <a:lnTo>
                  <a:pt x="3976" y="2219"/>
                </a:lnTo>
                <a:lnTo>
                  <a:pt x="3975" y="2237"/>
                </a:lnTo>
                <a:lnTo>
                  <a:pt x="3971" y="2268"/>
                </a:lnTo>
                <a:lnTo>
                  <a:pt x="3965" y="2297"/>
                </a:lnTo>
                <a:lnTo>
                  <a:pt x="3965" y="2297"/>
                </a:lnTo>
                <a:lnTo>
                  <a:pt x="3982" y="2288"/>
                </a:lnTo>
                <a:lnTo>
                  <a:pt x="3998" y="2276"/>
                </a:lnTo>
                <a:lnTo>
                  <a:pt x="4016" y="2263"/>
                </a:lnTo>
                <a:lnTo>
                  <a:pt x="4036" y="2249"/>
                </a:lnTo>
                <a:lnTo>
                  <a:pt x="4053" y="2234"/>
                </a:lnTo>
                <a:lnTo>
                  <a:pt x="4061" y="2226"/>
                </a:lnTo>
                <a:lnTo>
                  <a:pt x="4068" y="2219"/>
                </a:lnTo>
                <a:lnTo>
                  <a:pt x="4072" y="2212"/>
                </a:lnTo>
                <a:lnTo>
                  <a:pt x="4075" y="2206"/>
                </a:lnTo>
                <a:lnTo>
                  <a:pt x="4075" y="2206"/>
                </a:lnTo>
                <a:lnTo>
                  <a:pt x="4083" y="2176"/>
                </a:lnTo>
                <a:lnTo>
                  <a:pt x="4090" y="2148"/>
                </a:lnTo>
                <a:lnTo>
                  <a:pt x="4094" y="2121"/>
                </a:lnTo>
                <a:lnTo>
                  <a:pt x="4096" y="2095"/>
                </a:lnTo>
                <a:lnTo>
                  <a:pt x="4096" y="2071"/>
                </a:lnTo>
                <a:lnTo>
                  <a:pt x="4095" y="2047"/>
                </a:lnTo>
                <a:lnTo>
                  <a:pt x="4093" y="2025"/>
                </a:lnTo>
                <a:lnTo>
                  <a:pt x="4090" y="2003"/>
                </a:lnTo>
                <a:lnTo>
                  <a:pt x="4085" y="1983"/>
                </a:lnTo>
                <a:lnTo>
                  <a:pt x="4080" y="1964"/>
                </a:lnTo>
                <a:lnTo>
                  <a:pt x="4075" y="1945"/>
                </a:lnTo>
                <a:lnTo>
                  <a:pt x="4069" y="1928"/>
                </a:lnTo>
                <a:lnTo>
                  <a:pt x="4055" y="1894"/>
                </a:lnTo>
                <a:lnTo>
                  <a:pt x="4043" y="1862"/>
                </a:lnTo>
                <a:lnTo>
                  <a:pt x="4043" y="1862"/>
                </a:lnTo>
                <a:lnTo>
                  <a:pt x="4038" y="1847"/>
                </a:lnTo>
                <a:lnTo>
                  <a:pt x="4035" y="1832"/>
                </a:lnTo>
                <a:lnTo>
                  <a:pt x="4034" y="1817"/>
                </a:lnTo>
                <a:lnTo>
                  <a:pt x="4035" y="1802"/>
                </a:lnTo>
                <a:lnTo>
                  <a:pt x="4037" y="1788"/>
                </a:lnTo>
                <a:lnTo>
                  <a:pt x="4041" y="1773"/>
                </a:lnTo>
                <a:lnTo>
                  <a:pt x="4046" y="1759"/>
                </a:lnTo>
                <a:lnTo>
                  <a:pt x="4053" y="1746"/>
                </a:lnTo>
                <a:lnTo>
                  <a:pt x="4061" y="1733"/>
                </a:lnTo>
                <a:lnTo>
                  <a:pt x="4071" y="1719"/>
                </a:lnTo>
                <a:lnTo>
                  <a:pt x="4081" y="1707"/>
                </a:lnTo>
                <a:lnTo>
                  <a:pt x="4092" y="1696"/>
                </a:lnTo>
                <a:lnTo>
                  <a:pt x="4103" y="1684"/>
                </a:lnTo>
                <a:lnTo>
                  <a:pt x="4117" y="1673"/>
                </a:lnTo>
                <a:lnTo>
                  <a:pt x="4130" y="1664"/>
                </a:lnTo>
                <a:lnTo>
                  <a:pt x="4145" y="1655"/>
                </a:lnTo>
                <a:lnTo>
                  <a:pt x="4145" y="1655"/>
                </a:lnTo>
                <a:lnTo>
                  <a:pt x="4180" y="1674"/>
                </a:lnTo>
                <a:lnTo>
                  <a:pt x="4215" y="1695"/>
                </a:lnTo>
                <a:lnTo>
                  <a:pt x="4251" y="1716"/>
                </a:lnTo>
                <a:lnTo>
                  <a:pt x="4286" y="1740"/>
                </a:lnTo>
                <a:lnTo>
                  <a:pt x="4286" y="1740"/>
                </a:lnTo>
                <a:lnTo>
                  <a:pt x="4307" y="1754"/>
                </a:lnTo>
                <a:lnTo>
                  <a:pt x="4341" y="1779"/>
                </a:lnTo>
                <a:lnTo>
                  <a:pt x="4361" y="1794"/>
                </a:lnTo>
                <a:lnTo>
                  <a:pt x="4382" y="1812"/>
                </a:lnTo>
                <a:lnTo>
                  <a:pt x="4405" y="1832"/>
                </a:lnTo>
                <a:lnTo>
                  <a:pt x="4430" y="1853"/>
                </a:lnTo>
                <a:lnTo>
                  <a:pt x="4453" y="1877"/>
                </a:lnTo>
                <a:lnTo>
                  <a:pt x="4478" y="1901"/>
                </a:lnTo>
                <a:lnTo>
                  <a:pt x="4501" y="1928"/>
                </a:lnTo>
                <a:lnTo>
                  <a:pt x="4524" y="1956"/>
                </a:lnTo>
                <a:lnTo>
                  <a:pt x="4545" y="1985"/>
                </a:lnTo>
                <a:lnTo>
                  <a:pt x="4564" y="2016"/>
                </a:lnTo>
                <a:lnTo>
                  <a:pt x="4574" y="2031"/>
                </a:lnTo>
                <a:lnTo>
                  <a:pt x="4582" y="2047"/>
                </a:lnTo>
                <a:lnTo>
                  <a:pt x="4590" y="2064"/>
                </a:lnTo>
                <a:lnTo>
                  <a:pt x="4596" y="2080"/>
                </a:lnTo>
                <a:lnTo>
                  <a:pt x="4596" y="2080"/>
                </a:lnTo>
                <a:lnTo>
                  <a:pt x="4606" y="2106"/>
                </a:lnTo>
                <a:lnTo>
                  <a:pt x="4616" y="2130"/>
                </a:lnTo>
                <a:lnTo>
                  <a:pt x="4624" y="2155"/>
                </a:lnTo>
                <a:lnTo>
                  <a:pt x="4630" y="2178"/>
                </a:lnTo>
                <a:lnTo>
                  <a:pt x="4636" y="2202"/>
                </a:lnTo>
                <a:lnTo>
                  <a:pt x="4641" y="2224"/>
                </a:lnTo>
                <a:lnTo>
                  <a:pt x="4645" y="2246"/>
                </a:lnTo>
                <a:lnTo>
                  <a:pt x="4649" y="2266"/>
                </a:lnTo>
                <a:lnTo>
                  <a:pt x="4651" y="2287"/>
                </a:lnTo>
                <a:lnTo>
                  <a:pt x="4653" y="2306"/>
                </a:lnTo>
                <a:lnTo>
                  <a:pt x="4654" y="2325"/>
                </a:lnTo>
                <a:lnTo>
                  <a:pt x="4655" y="2343"/>
                </a:lnTo>
                <a:lnTo>
                  <a:pt x="4654" y="2377"/>
                </a:lnTo>
                <a:lnTo>
                  <a:pt x="4652" y="2408"/>
                </a:lnTo>
                <a:lnTo>
                  <a:pt x="4648" y="2437"/>
                </a:lnTo>
                <a:lnTo>
                  <a:pt x="4642" y="2464"/>
                </a:lnTo>
                <a:lnTo>
                  <a:pt x="4635" y="2487"/>
                </a:lnTo>
                <a:lnTo>
                  <a:pt x="4628" y="2509"/>
                </a:lnTo>
                <a:lnTo>
                  <a:pt x="4620" y="2527"/>
                </a:lnTo>
                <a:lnTo>
                  <a:pt x="4612" y="2544"/>
                </a:lnTo>
                <a:lnTo>
                  <a:pt x="4603" y="2559"/>
                </a:lnTo>
                <a:lnTo>
                  <a:pt x="4596" y="2570"/>
                </a:lnTo>
                <a:lnTo>
                  <a:pt x="4596" y="2570"/>
                </a:lnTo>
                <a:lnTo>
                  <a:pt x="4582" y="2590"/>
                </a:lnTo>
                <a:lnTo>
                  <a:pt x="4568" y="2611"/>
                </a:lnTo>
                <a:lnTo>
                  <a:pt x="4553" y="2629"/>
                </a:lnTo>
                <a:lnTo>
                  <a:pt x="4538" y="2648"/>
                </a:lnTo>
                <a:lnTo>
                  <a:pt x="4522" y="2665"/>
                </a:lnTo>
                <a:lnTo>
                  <a:pt x="4505" y="2681"/>
                </a:lnTo>
                <a:lnTo>
                  <a:pt x="4487" y="2697"/>
                </a:lnTo>
                <a:lnTo>
                  <a:pt x="4469" y="2711"/>
                </a:lnTo>
                <a:lnTo>
                  <a:pt x="4450" y="2724"/>
                </a:lnTo>
                <a:lnTo>
                  <a:pt x="4430" y="2736"/>
                </a:lnTo>
                <a:lnTo>
                  <a:pt x="4409" y="2747"/>
                </a:lnTo>
                <a:lnTo>
                  <a:pt x="4388" y="2756"/>
                </a:lnTo>
                <a:lnTo>
                  <a:pt x="4364" y="2764"/>
                </a:lnTo>
                <a:lnTo>
                  <a:pt x="4341" y="2771"/>
                </a:lnTo>
                <a:lnTo>
                  <a:pt x="4316" y="2776"/>
                </a:lnTo>
                <a:lnTo>
                  <a:pt x="4290" y="2779"/>
                </a:lnTo>
                <a:lnTo>
                  <a:pt x="4290" y="2779"/>
                </a:lnTo>
                <a:lnTo>
                  <a:pt x="4283" y="2778"/>
                </a:lnTo>
                <a:lnTo>
                  <a:pt x="4275" y="2778"/>
                </a:lnTo>
                <a:lnTo>
                  <a:pt x="4275" y="2778"/>
                </a:lnTo>
                <a:lnTo>
                  <a:pt x="4242" y="2779"/>
                </a:lnTo>
                <a:lnTo>
                  <a:pt x="4213" y="2779"/>
                </a:lnTo>
                <a:lnTo>
                  <a:pt x="4185" y="2778"/>
                </a:lnTo>
                <a:lnTo>
                  <a:pt x="4159" y="2775"/>
                </a:lnTo>
                <a:lnTo>
                  <a:pt x="4159" y="2775"/>
                </a:lnTo>
                <a:lnTo>
                  <a:pt x="4131" y="2770"/>
                </a:lnTo>
                <a:lnTo>
                  <a:pt x="4103" y="2765"/>
                </a:lnTo>
                <a:lnTo>
                  <a:pt x="4077" y="2758"/>
                </a:lnTo>
                <a:lnTo>
                  <a:pt x="4052" y="2751"/>
                </a:lnTo>
                <a:lnTo>
                  <a:pt x="4052" y="2751"/>
                </a:lnTo>
                <a:lnTo>
                  <a:pt x="4009" y="2736"/>
                </a:lnTo>
                <a:lnTo>
                  <a:pt x="3965" y="2717"/>
                </a:lnTo>
                <a:lnTo>
                  <a:pt x="3965" y="2717"/>
                </a:lnTo>
                <a:lnTo>
                  <a:pt x="3925" y="2697"/>
                </a:lnTo>
                <a:lnTo>
                  <a:pt x="3874" y="2669"/>
                </a:lnTo>
                <a:lnTo>
                  <a:pt x="3846" y="2652"/>
                </a:lnTo>
                <a:lnTo>
                  <a:pt x="3815" y="2632"/>
                </a:lnTo>
                <a:lnTo>
                  <a:pt x="3782" y="2612"/>
                </a:lnTo>
                <a:lnTo>
                  <a:pt x="3748" y="2588"/>
                </a:lnTo>
                <a:lnTo>
                  <a:pt x="3712" y="2564"/>
                </a:lnTo>
                <a:lnTo>
                  <a:pt x="3676" y="2536"/>
                </a:lnTo>
                <a:lnTo>
                  <a:pt x="3638" y="2508"/>
                </a:lnTo>
                <a:lnTo>
                  <a:pt x="3601" y="2477"/>
                </a:lnTo>
                <a:lnTo>
                  <a:pt x="3563" y="2444"/>
                </a:lnTo>
                <a:lnTo>
                  <a:pt x="3526" y="2409"/>
                </a:lnTo>
                <a:lnTo>
                  <a:pt x="3488" y="2373"/>
                </a:lnTo>
                <a:lnTo>
                  <a:pt x="3451" y="2335"/>
                </a:lnTo>
                <a:lnTo>
                  <a:pt x="3451" y="2335"/>
                </a:lnTo>
                <a:lnTo>
                  <a:pt x="3394" y="2271"/>
                </a:lnTo>
                <a:lnTo>
                  <a:pt x="3342" y="2212"/>
                </a:lnTo>
                <a:lnTo>
                  <a:pt x="3295" y="2157"/>
                </a:lnTo>
                <a:lnTo>
                  <a:pt x="3253" y="2107"/>
                </a:lnTo>
                <a:lnTo>
                  <a:pt x="3215" y="2060"/>
                </a:lnTo>
                <a:lnTo>
                  <a:pt x="3180" y="2017"/>
                </a:lnTo>
                <a:lnTo>
                  <a:pt x="3120" y="1940"/>
                </a:lnTo>
                <a:lnTo>
                  <a:pt x="3120" y="1940"/>
                </a:lnTo>
                <a:lnTo>
                  <a:pt x="3138" y="1947"/>
                </a:lnTo>
                <a:lnTo>
                  <a:pt x="3156" y="1953"/>
                </a:lnTo>
                <a:lnTo>
                  <a:pt x="3175" y="1958"/>
                </a:lnTo>
                <a:lnTo>
                  <a:pt x="3193" y="1963"/>
                </a:lnTo>
                <a:lnTo>
                  <a:pt x="3211" y="1966"/>
                </a:lnTo>
                <a:lnTo>
                  <a:pt x="3229" y="1968"/>
                </a:lnTo>
                <a:lnTo>
                  <a:pt x="3262" y="1971"/>
                </a:lnTo>
                <a:lnTo>
                  <a:pt x="3289" y="1971"/>
                </a:lnTo>
                <a:lnTo>
                  <a:pt x="3312" y="1970"/>
                </a:lnTo>
                <a:lnTo>
                  <a:pt x="3332" y="1968"/>
                </a:lnTo>
                <a:lnTo>
                  <a:pt x="3332" y="1968"/>
                </a:lnTo>
                <a:lnTo>
                  <a:pt x="3336" y="1918"/>
                </a:lnTo>
                <a:lnTo>
                  <a:pt x="3338" y="1873"/>
                </a:lnTo>
                <a:lnTo>
                  <a:pt x="3340" y="1833"/>
                </a:lnTo>
                <a:lnTo>
                  <a:pt x="3346" y="1698"/>
                </a:lnTo>
                <a:lnTo>
                  <a:pt x="3346" y="1698"/>
                </a:lnTo>
                <a:lnTo>
                  <a:pt x="3349" y="1661"/>
                </a:lnTo>
                <a:lnTo>
                  <a:pt x="3351" y="1626"/>
                </a:lnTo>
                <a:lnTo>
                  <a:pt x="3352" y="1589"/>
                </a:lnTo>
                <a:lnTo>
                  <a:pt x="3352" y="1589"/>
                </a:lnTo>
                <a:lnTo>
                  <a:pt x="3340" y="1588"/>
                </a:lnTo>
                <a:lnTo>
                  <a:pt x="3307" y="1584"/>
                </a:lnTo>
                <a:lnTo>
                  <a:pt x="3285" y="1581"/>
                </a:lnTo>
                <a:lnTo>
                  <a:pt x="3260" y="1576"/>
                </a:lnTo>
                <a:lnTo>
                  <a:pt x="3233" y="1571"/>
                </a:lnTo>
                <a:lnTo>
                  <a:pt x="3206" y="1564"/>
                </a:lnTo>
                <a:lnTo>
                  <a:pt x="3176" y="1555"/>
                </a:lnTo>
                <a:lnTo>
                  <a:pt x="3147" y="1544"/>
                </a:lnTo>
                <a:lnTo>
                  <a:pt x="3120" y="1532"/>
                </a:lnTo>
                <a:lnTo>
                  <a:pt x="3106" y="1526"/>
                </a:lnTo>
                <a:lnTo>
                  <a:pt x="3093" y="1519"/>
                </a:lnTo>
                <a:lnTo>
                  <a:pt x="3081" y="1511"/>
                </a:lnTo>
                <a:lnTo>
                  <a:pt x="3070" y="1502"/>
                </a:lnTo>
                <a:lnTo>
                  <a:pt x="3058" y="1493"/>
                </a:lnTo>
                <a:lnTo>
                  <a:pt x="3049" y="1484"/>
                </a:lnTo>
                <a:lnTo>
                  <a:pt x="3040" y="1474"/>
                </a:lnTo>
                <a:lnTo>
                  <a:pt x="3032" y="1463"/>
                </a:lnTo>
                <a:lnTo>
                  <a:pt x="3025" y="1451"/>
                </a:lnTo>
                <a:lnTo>
                  <a:pt x="3019" y="1439"/>
                </a:lnTo>
                <a:lnTo>
                  <a:pt x="3019" y="1439"/>
                </a:lnTo>
                <a:lnTo>
                  <a:pt x="3030" y="1445"/>
                </a:lnTo>
                <a:lnTo>
                  <a:pt x="3042" y="1450"/>
                </a:lnTo>
                <a:lnTo>
                  <a:pt x="3059" y="1457"/>
                </a:lnTo>
                <a:lnTo>
                  <a:pt x="3081" y="1465"/>
                </a:lnTo>
                <a:lnTo>
                  <a:pt x="3106" y="1472"/>
                </a:lnTo>
                <a:lnTo>
                  <a:pt x="3136" y="1477"/>
                </a:lnTo>
                <a:lnTo>
                  <a:pt x="3152" y="1479"/>
                </a:lnTo>
                <a:lnTo>
                  <a:pt x="3169" y="1480"/>
                </a:lnTo>
                <a:lnTo>
                  <a:pt x="3169" y="1480"/>
                </a:lnTo>
                <a:lnTo>
                  <a:pt x="3201" y="1481"/>
                </a:lnTo>
                <a:lnTo>
                  <a:pt x="3234" y="1481"/>
                </a:lnTo>
                <a:lnTo>
                  <a:pt x="3266" y="1479"/>
                </a:lnTo>
                <a:lnTo>
                  <a:pt x="3295" y="1477"/>
                </a:lnTo>
                <a:lnTo>
                  <a:pt x="3340" y="1471"/>
                </a:lnTo>
                <a:lnTo>
                  <a:pt x="3357" y="1469"/>
                </a:lnTo>
                <a:lnTo>
                  <a:pt x="3357" y="1469"/>
                </a:lnTo>
                <a:lnTo>
                  <a:pt x="3359" y="1463"/>
                </a:lnTo>
                <a:lnTo>
                  <a:pt x="3361" y="1451"/>
                </a:lnTo>
                <a:lnTo>
                  <a:pt x="3364" y="1421"/>
                </a:lnTo>
                <a:lnTo>
                  <a:pt x="3367" y="1381"/>
                </a:lnTo>
                <a:lnTo>
                  <a:pt x="3369" y="1337"/>
                </a:lnTo>
                <a:lnTo>
                  <a:pt x="3373" y="1257"/>
                </a:lnTo>
                <a:lnTo>
                  <a:pt x="3375" y="1222"/>
                </a:lnTo>
                <a:lnTo>
                  <a:pt x="3375" y="1222"/>
                </a:lnTo>
                <a:lnTo>
                  <a:pt x="3376" y="1194"/>
                </a:lnTo>
                <a:lnTo>
                  <a:pt x="3377" y="1154"/>
                </a:lnTo>
                <a:lnTo>
                  <a:pt x="3377" y="1105"/>
                </a:lnTo>
                <a:lnTo>
                  <a:pt x="3377" y="1105"/>
                </a:lnTo>
                <a:lnTo>
                  <a:pt x="3369" y="1107"/>
                </a:lnTo>
                <a:lnTo>
                  <a:pt x="3359" y="1108"/>
                </a:lnTo>
                <a:lnTo>
                  <a:pt x="3338" y="1110"/>
                </a:lnTo>
                <a:lnTo>
                  <a:pt x="3315" y="1109"/>
                </a:lnTo>
                <a:lnTo>
                  <a:pt x="3290" y="1107"/>
                </a:lnTo>
                <a:lnTo>
                  <a:pt x="3264" y="1104"/>
                </a:lnTo>
                <a:lnTo>
                  <a:pt x="3236" y="1100"/>
                </a:lnTo>
                <a:lnTo>
                  <a:pt x="3208" y="1094"/>
                </a:lnTo>
                <a:lnTo>
                  <a:pt x="3178" y="1086"/>
                </a:lnTo>
                <a:lnTo>
                  <a:pt x="3178" y="1086"/>
                </a:lnTo>
                <a:lnTo>
                  <a:pt x="3158" y="1080"/>
                </a:lnTo>
                <a:lnTo>
                  <a:pt x="3135" y="1071"/>
                </a:lnTo>
                <a:lnTo>
                  <a:pt x="3112" y="1059"/>
                </a:lnTo>
                <a:lnTo>
                  <a:pt x="3088" y="1044"/>
                </a:lnTo>
                <a:lnTo>
                  <a:pt x="3064" y="1028"/>
                </a:lnTo>
                <a:lnTo>
                  <a:pt x="3053" y="1019"/>
                </a:lnTo>
                <a:lnTo>
                  <a:pt x="3043" y="1010"/>
                </a:lnTo>
                <a:lnTo>
                  <a:pt x="3034" y="999"/>
                </a:lnTo>
                <a:lnTo>
                  <a:pt x="3025" y="990"/>
                </a:lnTo>
                <a:lnTo>
                  <a:pt x="3017" y="980"/>
                </a:lnTo>
                <a:lnTo>
                  <a:pt x="3010" y="969"/>
                </a:lnTo>
                <a:lnTo>
                  <a:pt x="3010" y="969"/>
                </a:lnTo>
                <a:lnTo>
                  <a:pt x="3022" y="974"/>
                </a:lnTo>
                <a:lnTo>
                  <a:pt x="3035" y="978"/>
                </a:lnTo>
                <a:lnTo>
                  <a:pt x="3052" y="984"/>
                </a:lnTo>
                <a:lnTo>
                  <a:pt x="3075" y="990"/>
                </a:lnTo>
                <a:lnTo>
                  <a:pt x="3101" y="996"/>
                </a:lnTo>
                <a:lnTo>
                  <a:pt x="3132" y="1003"/>
                </a:lnTo>
                <a:lnTo>
                  <a:pt x="3167" y="1008"/>
                </a:lnTo>
                <a:lnTo>
                  <a:pt x="3167" y="1008"/>
                </a:lnTo>
                <a:lnTo>
                  <a:pt x="3187" y="1010"/>
                </a:lnTo>
                <a:lnTo>
                  <a:pt x="3207" y="1011"/>
                </a:lnTo>
                <a:lnTo>
                  <a:pt x="3226" y="1012"/>
                </a:lnTo>
                <a:lnTo>
                  <a:pt x="3245" y="1012"/>
                </a:lnTo>
                <a:lnTo>
                  <a:pt x="3283" y="1010"/>
                </a:lnTo>
                <a:lnTo>
                  <a:pt x="3317" y="1007"/>
                </a:lnTo>
                <a:lnTo>
                  <a:pt x="3346" y="1001"/>
                </a:lnTo>
                <a:lnTo>
                  <a:pt x="3369" y="996"/>
                </a:lnTo>
                <a:lnTo>
                  <a:pt x="3377" y="993"/>
                </a:lnTo>
                <a:lnTo>
                  <a:pt x="3383" y="991"/>
                </a:lnTo>
                <a:lnTo>
                  <a:pt x="3388" y="988"/>
                </a:lnTo>
                <a:lnTo>
                  <a:pt x="3390" y="985"/>
                </a:lnTo>
                <a:lnTo>
                  <a:pt x="3390" y="985"/>
                </a:lnTo>
                <a:lnTo>
                  <a:pt x="3392" y="959"/>
                </a:lnTo>
                <a:lnTo>
                  <a:pt x="3393" y="925"/>
                </a:lnTo>
                <a:lnTo>
                  <a:pt x="3394" y="848"/>
                </a:lnTo>
                <a:lnTo>
                  <a:pt x="3394" y="750"/>
                </a:lnTo>
                <a:lnTo>
                  <a:pt x="3394" y="750"/>
                </a:lnTo>
                <a:lnTo>
                  <a:pt x="3399" y="686"/>
                </a:lnTo>
                <a:lnTo>
                  <a:pt x="3400" y="642"/>
                </a:lnTo>
                <a:lnTo>
                  <a:pt x="3400" y="627"/>
                </a:lnTo>
                <a:lnTo>
                  <a:pt x="3399" y="623"/>
                </a:lnTo>
                <a:lnTo>
                  <a:pt x="3398" y="622"/>
                </a:lnTo>
                <a:lnTo>
                  <a:pt x="3398" y="622"/>
                </a:lnTo>
                <a:lnTo>
                  <a:pt x="3392" y="622"/>
                </a:lnTo>
                <a:lnTo>
                  <a:pt x="3381" y="623"/>
                </a:lnTo>
                <a:lnTo>
                  <a:pt x="3368" y="623"/>
                </a:lnTo>
                <a:lnTo>
                  <a:pt x="3354" y="622"/>
                </a:lnTo>
                <a:lnTo>
                  <a:pt x="3336" y="620"/>
                </a:lnTo>
                <a:lnTo>
                  <a:pt x="3317" y="617"/>
                </a:lnTo>
                <a:lnTo>
                  <a:pt x="3297" y="612"/>
                </a:lnTo>
                <a:lnTo>
                  <a:pt x="3274" y="607"/>
                </a:lnTo>
                <a:lnTo>
                  <a:pt x="3251" y="599"/>
                </a:lnTo>
                <a:lnTo>
                  <a:pt x="3226" y="589"/>
                </a:lnTo>
                <a:lnTo>
                  <a:pt x="3200" y="578"/>
                </a:lnTo>
                <a:lnTo>
                  <a:pt x="3175" y="564"/>
                </a:lnTo>
                <a:lnTo>
                  <a:pt x="3149" y="548"/>
                </a:lnTo>
                <a:lnTo>
                  <a:pt x="3123" y="529"/>
                </a:lnTo>
                <a:lnTo>
                  <a:pt x="3110" y="519"/>
                </a:lnTo>
                <a:lnTo>
                  <a:pt x="3097" y="508"/>
                </a:lnTo>
                <a:lnTo>
                  <a:pt x="3085" y="495"/>
                </a:lnTo>
                <a:lnTo>
                  <a:pt x="3073" y="483"/>
                </a:lnTo>
                <a:lnTo>
                  <a:pt x="3073" y="483"/>
                </a:lnTo>
                <a:lnTo>
                  <a:pt x="3071" y="481"/>
                </a:lnTo>
                <a:lnTo>
                  <a:pt x="3065" y="476"/>
                </a:lnTo>
                <a:lnTo>
                  <a:pt x="3059" y="467"/>
                </a:lnTo>
                <a:lnTo>
                  <a:pt x="3056" y="461"/>
                </a:lnTo>
                <a:lnTo>
                  <a:pt x="3053" y="454"/>
                </a:lnTo>
                <a:lnTo>
                  <a:pt x="3051" y="447"/>
                </a:lnTo>
                <a:lnTo>
                  <a:pt x="3050" y="439"/>
                </a:lnTo>
                <a:lnTo>
                  <a:pt x="3049" y="430"/>
                </a:lnTo>
                <a:lnTo>
                  <a:pt x="3050" y="420"/>
                </a:lnTo>
                <a:lnTo>
                  <a:pt x="3053" y="410"/>
                </a:lnTo>
                <a:lnTo>
                  <a:pt x="3056" y="398"/>
                </a:lnTo>
                <a:lnTo>
                  <a:pt x="3062" y="386"/>
                </a:lnTo>
                <a:lnTo>
                  <a:pt x="3071" y="373"/>
                </a:lnTo>
                <a:lnTo>
                  <a:pt x="3071" y="373"/>
                </a:lnTo>
                <a:lnTo>
                  <a:pt x="2806" y="254"/>
                </a:lnTo>
                <a:lnTo>
                  <a:pt x="2806" y="254"/>
                </a:lnTo>
                <a:lnTo>
                  <a:pt x="2815" y="245"/>
                </a:lnTo>
                <a:lnTo>
                  <a:pt x="2824" y="234"/>
                </a:lnTo>
                <a:lnTo>
                  <a:pt x="2834" y="219"/>
                </a:lnTo>
                <a:lnTo>
                  <a:pt x="2845" y="203"/>
                </a:lnTo>
                <a:lnTo>
                  <a:pt x="2850" y="194"/>
                </a:lnTo>
                <a:lnTo>
                  <a:pt x="2854" y="185"/>
                </a:lnTo>
                <a:lnTo>
                  <a:pt x="2858" y="174"/>
                </a:lnTo>
                <a:lnTo>
                  <a:pt x="2861" y="164"/>
                </a:lnTo>
                <a:lnTo>
                  <a:pt x="2863" y="154"/>
                </a:lnTo>
                <a:lnTo>
                  <a:pt x="2863" y="144"/>
                </a:lnTo>
                <a:lnTo>
                  <a:pt x="2863" y="144"/>
                </a:lnTo>
                <a:lnTo>
                  <a:pt x="2863" y="132"/>
                </a:lnTo>
                <a:lnTo>
                  <a:pt x="2860" y="122"/>
                </a:lnTo>
                <a:lnTo>
                  <a:pt x="2855" y="112"/>
                </a:lnTo>
                <a:lnTo>
                  <a:pt x="2849" y="103"/>
                </a:lnTo>
                <a:lnTo>
                  <a:pt x="2841" y="94"/>
                </a:lnTo>
                <a:lnTo>
                  <a:pt x="2830" y="86"/>
                </a:lnTo>
                <a:lnTo>
                  <a:pt x="2820" y="79"/>
                </a:lnTo>
                <a:lnTo>
                  <a:pt x="2808" y="73"/>
                </a:lnTo>
                <a:lnTo>
                  <a:pt x="2795" y="68"/>
                </a:lnTo>
                <a:lnTo>
                  <a:pt x="2781" y="64"/>
                </a:lnTo>
                <a:lnTo>
                  <a:pt x="2767" y="60"/>
                </a:lnTo>
                <a:lnTo>
                  <a:pt x="2753" y="58"/>
                </a:lnTo>
                <a:lnTo>
                  <a:pt x="2738" y="56"/>
                </a:lnTo>
                <a:lnTo>
                  <a:pt x="2723" y="56"/>
                </a:lnTo>
                <a:lnTo>
                  <a:pt x="2709" y="57"/>
                </a:lnTo>
                <a:lnTo>
                  <a:pt x="2694" y="59"/>
                </a:lnTo>
                <a:lnTo>
                  <a:pt x="2694" y="59"/>
                </a:lnTo>
                <a:lnTo>
                  <a:pt x="2681" y="62"/>
                </a:lnTo>
                <a:lnTo>
                  <a:pt x="2669" y="66"/>
                </a:lnTo>
                <a:lnTo>
                  <a:pt x="2656" y="71"/>
                </a:lnTo>
                <a:lnTo>
                  <a:pt x="2644" y="77"/>
                </a:lnTo>
                <a:lnTo>
                  <a:pt x="2634" y="84"/>
                </a:lnTo>
                <a:lnTo>
                  <a:pt x="2623" y="92"/>
                </a:lnTo>
                <a:lnTo>
                  <a:pt x="2604" y="107"/>
                </a:lnTo>
                <a:lnTo>
                  <a:pt x="2589" y="122"/>
                </a:lnTo>
                <a:lnTo>
                  <a:pt x="2578" y="134"/>
                </a:lnTo>
                <a:lnTo>
                  <a:pt x="2569" y="147"/>
                </a:lnTo>
                <a:lnTo>
                  <a:pt x="2238" y="0"/>
                </a:lnTo>
                <a:lnTo>
                  <a:pt x="1977" y="263"/>
                </a:lnTo>
                <a:lnTo>
                  <a:pt x="1977" y="263"/>
                </a:lnTo>
                <a:lnTo>
                  <a:pt x="1972" y="268"/>
                </a:lnTo>
                <a:lnTo>
                  <a:pt x="1966" y="280"/>
                </a:lnTo>
                <a:lnTo>
                  <a:pt x="1963" y="287"/>
                </a:lnTo>
                <a:lnTo>
                  <a:pt x="1961" y="295"/>
                </a:lnTo>
                <a:lnTo>
                  <a:pt x="1960" y="304"/>
                </a:lnTo>
                <a:lnTo>
                  <a:pt x="1960" y="313"/>
                </a:lnTo>
                <a:lnTo>
                  <a:pt x="1964" y="337"/>
                </a:lnTo>
                <a:lnTo>
                  <a:pt x="1964" y="337"/>
                </a:lnTo>
                <a:lnTo>
                  <a:pt x="1964" y="343"/>
                </a:lnTo>
                <a:lnTo>
                  <a:pt x="1963" y="349"/>
                </a:lnTo>
                <a:lnTo>
                  <a:pt x="1962" y="354"/>
                </a:lnTo>
                <a:lnTo>
                  <a:pt x="1961" y="358"/>
                </a:lnTo>
                <a:lnTo>
                  <a:pt x="1957" y="366"/>
                </a:lnTo>
                <a:lnTo>
                  <a:pt x="1955" y="370"/>
                </a:lnTo>
                <a:lnTo>
                  <a:pt x="1955" y="370"/>
                </a:lnTo>
                <a:lnTo>
                  <a:pt x="1936" y="392"/>
                </a:lnTo>
                <a:lnTo>
                  <a:pt x="1916" y="416"/>
                </a:lnTo>
                <a:lnTo>
                  <a:pt x="1896" y="438"/>
                </a:lnTo>
                <a:lnTo>
                  <a:pt x="1876" y="461"/>
                </a:lnTo>
                <a:lnTo>
                  <a:pt x="1876" y="461"/>
                </a:lnTo>
                <a:lnTo>
                  <a:pt x="1847" y="499"/>
                </a:lnTo>
                <a:lnTo>
                  <a:pt x="1836" y="515"/>
                </a:lnTo>
                <a:lnTo>
                  <a:pt x="1828" y="527"/>
                </a:lnTo>
                <a:lnTo>
                  <a:pt x="1828" y="527"/>
                </a:lnTo>
                <a:lnTo>
                  <a:pt x="1819" y="542"/>
                </a:lnTo>
                <a:lnTo>
                  <a:pt x="1811" y="558"/>
                </a:lnTo>
                <a:lnTo>
                  <a:pt x="1799" y="583"/>
                </a:lnTo>
                <a:lnTo>
                  <a:pt x="1789" y="607"/>
                </a:lnTo>
                <a:lnTo>
                  <a:pt x="1781" y="628"/>
                </a:lnTo>
                <a:lnTo>
                  <a:pt x="1781" y="628"/>
                </a:lnTo>
                <a:lnTo>
                  <a:pt x="1780" y="631"/>
                </a:lnTo>
                <a:lnTo>
                  <a:pt x="1778" y="642"/>
                </a:lnTo>
                <a:lnTo>
                  <a:pt x="1778" y="649"/>
                </a:lnTo>
                <a:lnTo>
                  <a:pt x="1777" y="657"/>
                </a:lnTo>
                <a:lnTo>
                  <a:pt x="1778" y="666"/>
                </a:lnTo>
                <a:lnTo>
                  <a:pt x="1780" y="677"/>
                </a:lnTo>
                <a:lnTo>
                  <a:pt x="1784" y="690"/>
                </a:lnTo>
                <a:lnTo>
                  <a:pt x="1789" y="703"/>
                </a:lnTo>
                <a:lnTo>
                  <a:pt x="1797" y="716"/>
                </a:lnTo>
                <a:lnTo>
                  <a:pt x="1807" y="732"/>
                </a:lnTo>
                <a:lnTo>
                  <a:pt x="1819" y="748"/>
                </a:lnTo>
                <a:lnTo>
                  <a:pt x="1833" y="764"/>
                </a:lnTo>
                <a:lnTo>
                  <a:pt x="1852" y="782"/>
                </a:lnTo>
                <a:lnTo>
                  <a:pt x="1874" y="800"/>
                </a:lnTo>
                <a:lnTo>
                  <a:pt x="1881" y="806"/>
                </a:lnTo>
                <a:lnTo>
                  <a:pt x="1881" y="806"/>
                </a:lnTo>
                <a:lnTo>
                  <a:pt x="1894" y="789"/>
                </a:lnTo>
                <a:lnTo>
                  <a:pt x="1905" y="800"/>
                </a:lnTo>
                <a:lnTo>
                  <a:pt x="1905" y="800"/>
                </a:lnTo>
                <a:lnTo>
                  <a:pt x="1914" y="809"/>
                </a:lnTo>
                <a:lnTo>
                  <a:pt x="1926" y="820"/>
                </a:lnTo>
                <a:lnTo>
                  <a:pt x="1941" y="832"/>
                </a:lnTo>
                <a:lnTo>
                  <a:pt x="1957" y="842"/>
                </a:lnTo>
                <a:lnTo>
                  <a:pt x="1957" y="842"/>
                </a:lnTo>
                <a:lnTo>
                  <a:pt x="1959" y="835"/>
                </a:lnTo>
                <a:lnTo>
                  <a:pt x="1964" y="815"/>
                </a:lnTo>
                <a:lnTo>
                  <a:pt x="1969" y="802"/>
                </a:lnTo>
                <a:lnTo>
                  <a:pt x="1975" y="789"/>
                </a:lnTo>
                <a:lnTo>
                  <a:pt x="1983" y="775"/>
                </a:lnTo>
                <a:lnTo>
                  <a:pt x="1991" y="760"/>
                </a:lnTo>
                <a:lnTo>
                  <a:pt x="1991" y="760"/>
                </a:lnTo>
                <a:lnTo>
                  <a:pt x="2000" y="748"/>
                </a:lnTo>
                <a:lnTo>
                  <a:pt x="2011" y="736"/>
                </a:lnTo>
                <a:lnTo>
                  <a:pt x="2025" y="722"/>
                </a:lnTo>
                <a:lnTo>
                  <a:pt x="2038" y="709"/>
                </a:lnTo>
                <a:lnTo>
                  <a:pt x="2052" y="697"/>
                </a:lnTo>
                <a:lnTo>
                  <a:pt x="2065" y="686"/>
                </a:lnTo>
                <a:lnTo>
                  <a:pt x="2080" y="675"/>
                </a:lnTo>
                <a:lnTo>
                  <a:pt x="2092" y="667"/>
                </a:lnTo>
                <a:lnTo>
                  <a:pt x="2092" y="667"/>
                </a:lnTo>
                <a:lnTo>
                  <a:pt x="2107" y="658"/>
                </a:lnTo>
                <a:lnTo>
                  <a:pt x="2123" y="650"/>
                </a:lnTo>
                <a:lnTo>
                  <a:pt x="2138" y="643"/>
                </a:lnTo>
                <a:lnTo>
                  <a:pt x="2154" y="636"/>
                </a:lnTo>
                <a:lnTo>
                  <a:pt x="2170" y="632"/>
                </a:lnTo>
                <a:lnTo>
                  <a:pt x="2186" y="629"/>
                </a:lnTo>
                <a:lnTo>
                  <a:pt x="2202" y="626"/>
                </a:lnTo>
                <a:lnTo>
                  <a:pt x="2220" y="625"/>
                </a:lnTo>
                <a:lnTo>
                  <a:pt x="2220" y="625"/>
                </a:lnTo>
                <a:lnTo>
                  <a:pt x="2234" y="626"/>
                </a:lnTo>
                <a:lnTo>
                  <a:pt x="2247" y="627"/>
                </a:lnTo>
                <a:lnTo>
                  <a:pt x="2261" y="630"/>
                </a:lnTo>
                <a:lnTo>
                  <a:pt x="2272" y="635"/>
                </a:lnTo>
                <a:lnTo>
                  <a:pt x="2283" y="642"/>
                </a:lnTo>
                <a:lnTo>
                  <a:pt x="2295" y="649"/>
                </a:lnTo>
                <a:lnTo>
                  <a:pt x="2305" y="658"/>
                </a:lnTo>
                <a:lnTo>
                  <a:pt x="2316" y="668"/>
                </a:lnTo>
                <a:lnTo>
                  <a:pt x="2316" y="668"/>
                </a:lnTo>
                <a:lnTo>
                  <a:pt x="2323" y="676"/>
                </a:lnTo>
                <a:lnTo>
                  <a:pt x="2330" y="687"/>
                </a:lnTo>
                <a:lnTo>
                  <a:pt x="2336" y="698"/>
                </a:lnTo>
                <a:lnTo>
                  <a:pt x="2342" y="710"/>
                </a:lnTo>
                <a:lnTo>
                  <a:pt x="2347" y="722"/>
                </a:lnTo>
                <a:lnTo>
                  <a:pt x="2351" y="736"/>
                </a:lnTo>
                <a:lnTo>
                  <a:pt x="2355" y="750"/>
                </a:lnTo>
                <a:lnTo>
                  <a:pt x="2358" y="764"/>
                </a:lnTo>
                <a:lnTo>
                  <a:pt x="2360" y="778"/>
                </a:lnTo>
                <a:lnTo>
                  <a:pt x="2362" y="792"/>
                </a:lnTo>
                <a:lnTo>
                  <a:pt x="2363" y="805"/>
                </a:lnTo>
                <a:lnTo>
                  <a:pt x="2364" y="818"/>
                </a:lnTo>
                <a:lnTo>
                  <a:pt x="2364" y="831"/>
                </a:lnTo>
                <a:lnTo>
                  <a:pt x="2363" y="842"/>
                </a:lnTo>
                <a:lnTo>
                  <a:pt x="2361" y="852"/>
                </a:lnTo>
                <a:lnTo>
                  <a:pt x="2359" y="861"/>
                </a:lnTo>
                <a:lnTo>
                  <a:pt x="2359" y="861"/>
                </a:lnTo>
                <a:lnTo>
                  <a:pt x="2330" y="843"/>
                </a:lnTo>
                <a:lnTo>
                  <a:pt x="2330" y="843"/>
                </a:lnTo>
                <a:lnTo>
                  <a:pt x="2309" y="832"/>
                </a:lnTo>
                <a:lnTo>
                  <a:pt x="2281" y="822"/>
                </a:lnTo>
                <a:lnTo>
                  <a:pt x="2266" y="815"/>
                </a:lnTo>
                <a:lnTo>
                  <a:pt x="2251" y="811"/>
                </a:lnTo>
                <a:lnTo>
                  <a:pt x="2233" y="807"/>
                </a:lnTo>
                <a:lnTo>
                  <a:pt x="2215" y="803"/>
                </a:lnTo>
                <a:lnTo>
                  <a:pt x="2195" y="801"/>
                </a:lnTo>
                <a:lnTo>
                  <a:pt x="2175" y="800"/>
                </a:lnTo>
                <a:lnTo>
                  <a:pt x="2154" y="800"/>
                </a:lnTo>
                <a:lnTo>
                  <a:pt x="2132" y="802"/>
                </a:lnTo>
                <a:lnTo>
                  <a:pt x="2109" y="805"/>
                </a:lnTo>
                <a:lnTo>
                  <a:pt x="2086" y="810"/>
                </a:lnTo>
                <a:lnTo>
                  <a:pt x="2062" y="818"/>
                </a:lnTo>
                <a:lnTo>
                  <a:pt x="2037" y="829"/>
                </a:lnTo>
                <a:lnTo>
                  <a:pt x="2037" y="829"/>
                </a:lnTo>
                <a:lnTo>
                  <a:pt x="1995" y="847"/>
                </a:lnTo>
                <a:lnTo>
                  <a:pt x="1967" y="859"/>
                </a:lnTo>
                <a:lnTo>
                  <a:pt x="1936" y="872"/>
                </a:lnTo>
                <a:lnTo>
                  <a:pt x="1900" y="886"/>
                </a:lnTo>
                <a:lnTo>
                  <a:pt x="1860" y="900"/>
                </a:lnTo>
                <a:lnTo>
                  <a:pt x="1814" y="916"/>
                </a:lnTo>
                <a:lnTo>
                  <a:pt x="1764" y="931"/>
                </a:lnTo>
                <a:lnTo>
                  <a:pt x="1764" y="931"/>
                </a:lnTo>
                <a:lnTo>
                  <a:pt x="1737" y="938"/>
                </a:lnTo>
                <a:lnTo>
                  <a:pt x="1725" y="940"/>
                </a:lnTo>
                <a:lnTo>
                  <a:pt x="1713" y="941"/>
                </a:lnTo>
                <a:lnTo>
                  <a:pt x="1701" y="941"/>
                </a:lnTo>
                <a:lnTo>
                  <a:pt x="1691" y="941"/>
                </a:lnTo>
                <a:lnTo>
                  <a:pt x="1681" y="940"/>
                </a:lnTo>
                <a:lnTo>
                  <a:pt x="1672" y="938"/>
                </a:lnTo>
                <a:lnTo>
                  <a:pt x="1664" y="935"/>
                </a:lnTo>
                <a:lnTo>
                  <a:pt x="1655" y="930"/>
                </a:lnTo>
                <a:lnTo>
                  <a:pt x="1649" y="925"/>
                </a:lnTo>
                <a:lnTo>
                  <a:pt x="1642" y="919"/>
                </a:lnTo>
                <a:lnTo>
                  <a:pt x="1637" y="912"/>
                </a:lnTo>
                <a:lnTo>
                  <a:pt x="1633" y="902"/>
                </a:lnTo>
                <a:lnTo>
                  <a:pt x="1629" y="892"/>
                </a:lnTo>
                <a:lnTo>
                  <a:pt x="1626" y="881"/>
                </a:lnTo>
                <a:lnTo>
                  <a:pt x="1626" y="881"/>
                </a:lnTo>
                <a:lnTo>
                  <a:pt x="1624" y="871"/>
                </a:lnTo>
                <a:lnTo>
                  <a:pt x="1623" y="860"/>
                </a:lnTo>
                <a:lnTo>
                  <a:pt x="1623" y="851"/>
                </a:lnTo>
                <a:lnTo>
                  <a:pt x="1623" y="842"/>
                </a:lnTo>
                <a:lnTo>
                  <a:pt x="1625" y="826"/>
                </a:lnTo>
                <a:lnTo>
                  <a:pt x="1629" y="811"/>
                </a:lnTo>
                <a:lnTo>
                  <a:pt x="1633" y="800"/>
                </a:lnTo>
                <a:lnTo>
                  <a:pt x="1636" y="792"/>
                </a:lnTo>
                <a:lnTo>
                  <a:pt x="1640" y="784"/>
                </a:lnTo>
                <a:lnTo>
                  <a:pt x="1640" y="784"/>
                </a:lnTo>
                <a:lnTo>
                  <a:pt x="1636" y="785"/>
                </a:lnTo>
                <a:lnTo>
                  <a:pt x="1626" y="788"/>
                </a:lnTo>
                <a:lnTo>
                  <a:pt x="1610" y="794"/>
                </a:lnTo>
                <a:lnTo>
                  <a:pt x="1601" y="797"/>
                </a:lnTo>
                <a:lnTo>
                  <a:pt x="1592" y="802"/>
                </a:lnTo>
                <a:lnTo>
                  <a:pt x="1582" y="808"/>
                </a:lnTo>
                <a:lnTo>
                  <a:pt x="1573" y="814"/>
                </a:lnTo>
                <a:lnTo>
                  <a:pt x="1563" y="823"/>
                </a:lnTo>
                <a:lnTo>
                  <a:pt x="1554" y="832"/>
                </a:lnTo>
                <a:lnTo>
                  <a:pt x="1546" y="842"/>
                </a:lnTo>
                <a:lnTo>
                  <a:pt x="1539" y="853"/>
                </a:lnTo>
                <a:lnTo>
                  <a:pt x="1533" y="867"/>
                </a:lnTo>
                <a:lnTo>
                  <a:pt x="1528" y="881"/>
                </a:lnTo>
                <a:lnTo>
                  <a:pt x="1528" y="881"/>
                </a:lnTo>
                <a:lnTo>
                  <a:pt x="1525" y="896"/>
                </a:lnTo>
                <a:lnTo>
                  <a:pt x="1523" y="912"/>
                </a:lnTo>
                <a:lnTo>
                  <a:pt x="1523" y="927"/>
                </a:lnTo>
                <a:lnTo>
                  <a:pt x="1523" y="941"/>
                </a:lnTo>
                <a:lnTo>
                  <a:pt x="1524" y="954"/>
                </a:lnTo>
                <a:lnTo>
                  <a:pt x="1527" y="969"/>
                </a:lnTo>
                <a:lnTo>
                  <a:pt x="1531" y="981"/>
                </a:lnTo>
                <a:lnTo>
                  <a:pt x="1536" y="993"/>
                </a:lnTo>
                <a:lnTo>
                  <a:pt x="1542" y="1006"/>
                </a:lnTo>
                <a:lnTo>
                  <a:pt x="1549" y="1016"/>
                </a:lnTo>
                <a:lnTo>
                  <a:pt x="1557" y="1026"/>
                </a:lnTo>
                <a:lnTo>
                  <a:pt x="1568" y="1034"/>
                </a:lnTo>
                <a:lnTo>
                  <a:pt x="1578" y="1042"/>
                </a:lnTo>
                <a:lnTo>
                  <a:pt x="1590" y="1049"/>
                </a:lnTo>
                <a:lnTo>
                  <a:pt x="1602" y="1055"/>
                </a:lnTo>
                <a:lnTo>
                  <a:pt x="1617" y="1059"/>
                </a:lnTo>
                <a:lnTo>
                  <a:pt x="1617" y="1059"/>
                </a:lnTo>
                <a:lnTo>
                  <a:pt x="1630" y="1062"/>
                </a:lnTo>
                <a:lnTo>
                  <a:pt x="1644" y="1063"/>
                </a:lnTo>
                <a:lnTo>
                  <a:pt x="1660" y="1062"/>
                </a:lnTo>
                <a:lnTo>
                  <a:pt x="1676" y="1060"/>
                </a:lnTo>
                <a:lnTo>
                  <a:pt x="1692" y="1058"/>
                </a:lnTo>
                <a:lnTo>
                  <a:pt x="1710" y="1054"/>
                </a:lnTo>
                <a:lnTo>
                  <a:pt x="1727" y="1049"/>
                </a:lnTo>
                <a:lnTo>
                  <a:pt x="1744" y="1043"/>
                </a:lnTo>
                <a:lnTo>
                  <a:pt x="1779" y="1029"/>
                </a:lnTo>
                <a:lnTo>
                  <a:pt x="1815" y="1014"/>
                </a:lnTo>
                <a:lnTo>
                  <a:pt x="1849" y="997"/>
                </a:lnTo>
                <a:lnTo>
                  <a:pt x="1880" y="981"/>
                </a:lnTo>
                <a:lnTo>
                  <a:pt x="1880" y="981"/>
                </a:lnTo>
                <a:lnTo>
                  <a:pt x="1942" y="949"/>
                </a:lnTo>
                <a:lnTo>
                  <a:pt x="1979" y="931"/>
                </a:lnTo>
                <a:lnTo>
                  <a:pt x="2013" y="915"/>
                </a:lnTo>
                <a:lnTo>
                  <a:pt x="2013" y="915"/>
                </a:lnTo>
                <a:lnTo>
                  <a:pt x="2041" y="903"/>
                </a:lnTo>
                <a:lnTo>
                  <a:pt x="2054" y="899"/>
                </a:lnTo>
                <a:lnTo>
                  <a:pt x="2068" y="895"/>
                </a:lnTo>
                <a:lnTo>
                  <a:pt x="2081" y="892"/>
                </a:lnTo>
                <a:lnTo>
                  <a:pt x="2093" y="890"/>
                </a:lnTo>
                <a:lnTo>
                  <a:pt x="2105" y="888"/>
                </a:lnTo>
                <a:lnTo>
                  <a:pt x="2119" y="888"/>
                </a:lnTo>
                <a:lnTo>
                  <a:pt x="2131" y="888"/>
                </a:lnTo>
                <a:lnTo>
                  <a:pt x="2143" y="889"/>
                </a:lnTo>
                <a:lnTo>
                  <a:pt x="2156" y="891"/>
                </a:lnTo>
                <a:lnTo>
                  <a:pt x="2170" y="893"/>
                </a:lnTo>
                <a:lnTo>
                  <a:pt x="2183" y="897"/>
                </a:lnTo>
                <a:lnTo>
                  <a:pt x="2196" y="901"/>
                </a:lnTo>
                <a:lnTo>
                  <a:pt x="2211" y="907"/>
                </a:lnTo>
                <a:lnTo>
                  <a:pt x="2226" y="914"/>
                </a:lnTo>
                <a:lnTo>
                  <a:pt x="2226" y="914"/>
                </a:lnTo>
                <a:lnTo>
                  <a:pt x="2246" y="924"/>
                </a:lnTo>
                <a:lnTo>
                  <a:pt x="2265" y="934"/>
                </a:lnTo>
                <a:lnTo>
                  <a:pt x="2281" y="945"/>
                </a:lnTo>
                <a:lnTo>
                  <a:pt x="2295" y="954"/>
                </a:lnTo>
                <a:lnTo>
                  <a:pt x="2305" y="964"/>
                </a:lnTo>
                <a:lnTo>
                  <a:pt x="2312" y="971"/>
                </a:lnTo>
                <a:lnTo>
                  <a:pt x="2319" y="977"/>
                </a:lnTo>
                <a:lnTo>
                  <a:pt x="2319" y="977"/>
                </a:lnTo>
                <a:lnTo>
                  <a:pt x="2317" y="980"/>
                </a:lnTo>
                <a:lnTo>
                  <a:pt x="2313" y="987"/>
                </a:lnTo>
                <a:lnTo>
                  <a:pt x="2305" y="998"/>
                </a:lnTo>
                <a:lnTo>
                  <a:pt x="2300" y="1005"/>
                </a:lnTo>
                <a:lnTo>
                  <a:pt x="2293" y="1012"/>
                </a:lnTo>
                <a:lnTo>
                  <a:pt x="2285" y="1018"/>
                </a:lnTo>
                <a:lnTo>
                  <a:pt x="2276" y="1025"/>
                </a:lnTo>
                <a:lnTo>
                  <a:pt x="2267" y="1031"/>
                </a:lnTo>
                <a:lnTo>
                  <a:pt x="2255" y="1036"/>
                </a:lnTo>
                <a:lnTo>
                  <a:pt x="2242" y="1041"/>
                </a:lnTo>
                <a:lnTo>
                  <a:pt x="2228" y="1045"/>
                </a:lnTo>
                <a:lnTo>
                  <a:pt x="2212" y="1049"/>
                </a:lnTo>
                <a:lnTo>
                  <a:pt x="2194" y="1050"/>
                </a:lnTo>
                <a:lnTo>
                  <a:pt x="2194" y="1050"/>
                </a:lnTo>
                <a:lnTo>
                  <a:pt x="2180" y="1051"/>
                </a:lnTo>
                <a:lnTo>
                  <a:pt x="2166" y="1050"/>
                </a:lnTo>
                <a:lnTo>
                  <a:pt x="2152" y="1048"/>
                </a:lnTo>
                <a:lnTo>
                  <a:pt x="2139" y="1044"/>
                </a:lnTo>
                <a:lnTo>
                  <a:pt x="2127" y="1041"/>
                </a:lnTo>
                <a:lnTo>
                  <a:pt x="2115" y="1037"/>
                </a:lnTo>
                <a:lnTo>
                  <a:pt x="2103" y="1033"/>
                </a:lnTo>
                <a:lnTo>
                  <a:pt x="2092" y="1027"/>
                </a:lnTo>
                <a:lnTo>
                  <a:pt x="2082" y="1022"/>
                </a:lnTo>
                <a:lnTo>
                  <a:pt x="2073" y="1016"/>
                </a:lnTo>
                <a:lnTo>
                  <a:pt x="2064" y="1010"/>
                </a:lnTo>
                <a:lnTo>
                  <a:pt x="2056" y="1003"/>
                </a:lnTo>
                <a:lnTo>
                  <a:pt x="2048" y="995"/>
                </a:lnTo>
                <a:lnTo>
                  <a:pt x="2042" y="988"/>
                </a:lnTo>
                <a:lnTo>
                  <a:pt x="2036" y="981"/>
                </a:lnTo>
                <a:lnTo>
                  <a:pt x="2031" y="974"/>
                </a:lnTo>
                <a:lnTo>
                  <a:pt x="2031" y="974"/>
                </a:lnTo>
                <a:lnTo>
                  <a:pt x="2022" y="996"/>
                </a:lnTo>
                <a:lnTo>
                  <a:pt x="2013" y="1014"/>
                </a:lnTo>
                <a:lnTo>
                  <a:pt x="2007" y="1027"/>
                </a:lnTo>
                <a:lnTo>
                  <a:pt x="2007" y="1027"/>
                </a:lnTo>
                <a:lnTo>
                  <a:pt x="2003" y="1035"/>
                </a:lnTo>
                <a:lnTo>
                  <a:pt x="2000" y="1042"/>
                </a:lnTo>
                <a:lnTo>
                  <a:pt x="1998" y="1051"/>
                </a:lnTo>
                <a:lnTo>
                  <a:pt x="1997" y="1057"/>
                </a:lnTo>
                <a:lnTo>
                  <a:pt x="1997" y="1064"/>
                </a:lnTo>
                <a:lnTo>
                  <a:pt x="1997" y="1070"/>
                </a:lnTo>
                <a:lnTo>
                  <a:pt x="1999" y="1082"/>
                </a:lnTo>
                <a:lnTo>
                  <a:pt x="2001" y="1094"/>
                </a:lnTo>
                <a:lnTo>
                  <a:pt x="2003" y="1104"/>
                </a:lnTo>
                <a:lnTo>
                  <a:pt x="2004" y="1115"/>
                </a:lnTo>
                <a:lnTo>
                  <a:pt x="2003" y="1121"/>
                </a:lnTo>
                <a:lnTo>
                  <a:pt x="2001" y="1126"/>
                </a:lnTo>
                <a:lnTo>
                  <a:pt x="2001" y="1126"/>
                </a:lnTo>
                <a:lnTo>
                  <a:pt x="1999" y="1132"/>
                </a:lnTo>
                <a:lnTo>
                  <a:pt x="1995" y="1138"/>
                </a:lnTo>
                <a:lnTo>
                  <a:pt x="1986" y="1151"/>
                </a:lnTo>
                <a:lnTo>
                  <a:pt x="1973" y="1163"/>
                </a:lnTo>
                <a:lnTo>
                  <a:pt x="1960" y="1175"/>
                </a:lnTo>
                <a:lnTo>
                  <a:pt x="1945" y="1187"/>
                </a:lnTo>
                <a:lnTo>
                  <a:pt x="1931" y="1198"/>
                </a:lnTo>
                <a:lnTo>
                  <a:pt x="1904" y="1216"/>
                </a:lnTo>
                <a:lnTo>
                  <a:pt x="1904" y="1216"/>
                </a:lnTo>
                <a:lnTo>
                  <a:pt x="1886" y="1227"/>
                </a:lnTo>
                <a:lnTo>
                  <a:pt x="1864" y="1239"/>
                </a:lnTo>
                <a:lnTo>
                  <a:pt x="1842" y="1249"/>
                </a:lnTo>
                <a:lnTo>
                  <a:pt x="1819" y="1257"/>
                </a:lnTo>
                <a:lnTo>
                  <a:pt x="1798" y="1264"/>
                </a:lnTo>
                <a:lnTo>
                  <a:pt x="1779" y="1270"/>
                </a:lnTo>
                <a:lnTo>
                  <a:pt x="1754" y="1278"/>
                </a:lnTo>
                <a:lnTo>
                  <a:pt x="1754" y="1278"/>
                </a:lnTo>
                <a:lnTo>
                  <a:pt x="1779" y="1336"/>
                </a:lnTo>
                <a:lnTo>
                  <a:pt x="1811" y="1404"/>
                </a:lnTo>
                <a:lnTo>
                  <a:pt x="1811" y="1404"/>
                </a:lnTo>
                <a:lnTo>
                  <a:pt x="1833" y="1449"/>
                </a:lnTo>
                <a:lnTo>
                  <a:pt x="1862" y="1504"/>
                </a:lnTo>
                <a:lnTo>
                  <a:pt x="1877" y="1531"/>
                </a:lnTo>
                <a:lnTo>
                  <a:pt x="1893" y="1557"/>
                </a:lnTo>
                <a:lnTo>
                  <a:pt x="1909" y="1578"/>
                </a:lnTo>
                <a:lnTo>
                  <a:pt x="1916" y="1588"/>
                </a:lnTo>
                <a:lnTo>
                  <a:pt x="1924" y="1597"/>
                </a:lnTo>
                <a:lnTo>
                  <a:pt x="1924" y="1597"/>
                </a:lnTo>
                <a:lnTo>
                  <a:pt x="1940" y="1592"/>
                </a:lnTo>
                <a:lnTo>
                  <a:pt x="1957" y="1587"/>
                </a:lnTo>
                <a:lnTo>
                  <a:pt x="1980" y="1581"/>
                </a:lnTo>
                <a:lnTo>
                  <a:pt x="2004" y="1573"/>
                </a:lnTo>
                <a:lnTo>
                  <a:pt x="2031" y="1563"/>
                </a:lnTo>
                <a:lnTo>
                  <a:pt x="2057" y="1551"/>
                </a:lnTo>
                <a:lnTo>
                  <a:pt x="2071" y="1544"/>
                </a:lnTo>
                <a:lnTo>
                  <a:pt x="2083" y="1537"/>
                </a:lnTo>
                <a:lnTo>
                  <a:pt x="2083" y="1537"/>
                </a:lnTo>
                <a:lnTo>
                  <a:pt x="2105" y="1524"/>
                </a:lnTo>
                <a:lnTo>
                  <a:pt x="2126" y="1510"/>
                </a:lnTo>
                <a:lnTo>
                  <a:pt x="2145" y="1495"/>
                </a:lnTo>
                <a:lnTo>
                  <a:pt x="2162" y="1480"/>
                </a:lnTo>
                <a:lnTo>
                  <a:pt x="2177" y="1466"/>
                </a:lnTo>
                <a:lnTo>
                  <a:pt x="2189" y="1451"/>
                </a:lnTo>
                <a:lnTo>
                  <a:pt x="2199" y="1437"/>
                </a:lnTo>
                <a:lnTo>
                  <a:pt x="2207" y="1424"/>
                </a:lnTo>
                <a:lnTo>
                  <a:pt x="2207" y="1424"/>
                </a:lnTo>
                <a:lnTo>
                  <a:pt x="2190" y="1460"/>
                </a:lnTo>
                <a:lnTo>
                  <a:pt x="2175" y="1493"/>
                </a:lnTo>
                <a:lnTo>
                  <a:pt x="2161" y="1523"/>
                </a:lnTo>
                <a:lnTo>
                  <a:pt x="2146" y="1551"/>
                </a:lnTo>
                <a:lnTo>
                  <a:pt x="2132" y="1576"/>
                </a:lnTo>
                <a:lnTo>
                  <a:pt x="2119" y="1599"/>
                </a:lnTo>
                <a:lnTo>
                  <a:pt x="2105" y="1619"/>
                </a:lnTo>
                <a:lnTo>
                  <a:pt x="2092" y="1637"/>
                </a:lnTo>
                <a:lnTo>
                  <a:pt x="2080" y="1655"/>
                </a:lnTo>
                <a:lnTo>
                  <a:pt x="2068" y="1669"/>
                </a:lnTo>
                <a:lnTo>
                  <a:pt x="2055" y="1682"/>
                </a:lnTo>
                <a:lnTo>
                  <a:pt x="2044" y="1694"/>
                </a:lnTo>
                <a:lnTo>
                  <a:pt x="2033" y="1705"/>
                </a:lnTo>
                <a:lnTo>
                  <a:pt x="2022" y="1714"/>
                </a:lnTo>
                <a:lnTo>
                  <a:pt x="2011" y="1721"/>
                </a:lnTo>
                <a:lnTo>
                  <a:pt x="2000" y="1729"/>
                </a:lnTo>
                <a:lnTo>
                  <a:pt x="2000" y="1729"/>
                </a:lnTo>
                <a:lnTo>
                  <a:pt x="1907" y="1790"/>
                </a:lnTo>
                <a:lnTo>
                  <a:pt x="1797" y="1862"/>
                </a:lnTo>
                <a:lnTo>
                  <a:pt x="1735" y="1901"/>
                </a:lnTo>
                <a:lnTo>
                  <a:pt x="1671" y="1940"/>
                </a:lnTo>
                <a:lnTo>
                  <a:pt x="1602" y="1980"/>
                </a:lnTo>
                <a:lnTo>
                  <a:pt x="1532" y="2020"/>
                </a:lnTo>
                <a:lnTo>
                  <a:pt x="1459" y="2058"/>
                </a:lnTo>
                <a:lnTo>
                  <a:pt x="1422" y="2077"/>
                </a:lnTo>
                <a:lnTo>
                  <a:pt x="1384" y="2094"/>
                </a:lnTo>
                <a:lnTo>
                  <a:pt x="1347" y="2112"/>
                </a:lnTo>
                <a:lnTo>
                  <a:pt x="1308" y="2129"/>
                </a:lnTo>
                <a:lnTo>
                  <a:pt x="1269" y="2146"/>
                </a:lnTo>
                <a:lnTo>
                  <a:pt x="1230" y="2161"/>
                </a:lnTo>
                <a:lnTo>
                  <a:pt x="1190" y="2175"/>
                </a:lnTo>
                <a:lnTo>
                  <a:pt x="1151" y="2189"/>
                </a:lnTo>
                <a:lnTo>
                  <a:pt x="1111" y="2202"/>
                </a:lnTo>
                <a:lnTo>
                  <a:pt x="1072" y="2213"/>
                </a:lnTo>
                <a:lnTo>
                  <a:pt x="1032" y="2223"/>
                </a:lnTo>
                <a:lnTo>
                  <a:pt x="992" y="2231"/>
                </a:lnTo>
                <a:lnTo>
                  <a:pt x="952" y="2240"/>
                </a:lnTo>
                <a:lnTo>
                  <a:pt x="913" y="2246"/>
                </a:lnTo>
                <a:lnTo>
                  <a:pt x="913" y="2246"/>
                </a:lnTo>
                <a:lnTo>
                  <a:pt x="901" y="2246"/>
                </a:lnTo>
                <a:lnTo>
                  <a:pt x="889" y="2245"/>
                </a:lnTo>
                <a:lnTo>
                  <a:pt x="876" y="2242"/>
                </a:lnTo>
                <a:lnTo>
                  <a:pt x="863" y="2239"/>
                </a:lnTo>
                <a:lnTo>
                  <a:pt x="850" y="2236"/>
                </a:lnTo>
                <a:lnTo>
                  <a:pt x="836" y="2230"/>
                </a:lnTo>
                <a:lnTo>
                  <a:pt x="809" y="2218"/>
                </a:lnTo>
                <a:lnTo>
                  <a:pt x="781" y="2204"/>
                </a:lnTo>
                <a:lnTo>
                  <a:pt x="754" y="2188"/>
                </a:lnTo>
                <a:lnTo>
                  <a:pt x="726" y="2170"/>
                </a:lnTo>
                <a:lnTo>
                  <a:pt x="698" y="2151"/>
                </a:lnTo>
                <a:lnTo>
                  <a:pt x="672" y="2130"/>
                </a:lnTo>
                <a:lnTo>
                  <a:pt x="646" y="2110"/>
                </a:lnTo>
                <a:lnTo>
                  <a:pt x="623" y="2089"/>
                </a:lnTo>
                <a:lnTo>
                  <a:pt x="600" y="2069"/>
                </a:lnTo>
                <a:lnTo>
                  <a:pt x="581" y="2049"/>
                </a:lnTo>
                <a:lnTo>
                  <a:pt x="563" y="2032"/>
                </a:lnTo>
                <a:lnTo>
                  <a:pt x="548" y="2017"/>
                </a:lnTo>
                <a:lnTo>
                  <a:pt x="537" y="2003"/>
                </a:lnTo>
                <a:lnTo>
                  <a:pt x="537" y="2003"/>
                </a:lnTo>
                <a:lnTo>
                  <a:pt x="533" y="1999"/>
                </a:lnTo>
                <a:lnTo>
                  <a:pt x="530" y="1995"/>
                </a:lnTo>
                <a:lnTo>
                  <a:pt x="520" y="1990"/>
                </a:lnTo>
                <a:lnTo>
                  <a:pt x="512" y="1988"/>
                </a:lnTo>
                <a:lnTo>
                  <a:pt x="502" y="1987"/>
                </a:lnTo>
                <a:lnTo>
                  <a:pt x="493" y="1987"/>
                </a:lnTo>
                <a:lnTo>
                  <a:pt x="483" y="1989"/>
                </a:lnTo>
                <a:lnTo>
                  <a:pt x="473" y="1992"/>
                </a:lnTo>
                <a:lnTo>
                  <a:pt x="464" y="1996"/>
                </a:lnTo>
                <a:lnTo>
                  <a:pt x="447" y="2004"/>
                </a:lnTo>
                <a:lnTo>
                  <a:pt x="433" y="2014"/>
                </a:lnTo>
                <a:lnTo>
                  <a:pt x="419" y="2024"/>
                </a:lnTo>
                <a:lnTo>
                  <a:pt x="419" y="2024"/>
                </a:lnTo>
                <a:lnTo>
                  <a:pt x="412" y="2023"/>
                </a:lnTo>
                <a:lnTo>
                  <a:pt x="393" y="2021"/>
                </a:lnTo>
                <a:lnTo>
                  <a:pt x="379" y="2021"/>
                </a:lnTo>
                <a:lnTo>
                  <a:pt x="364" y="2021"/>
                </a:lnTo>
                <a:lnTo>
                  <a:pt x="348" y="2022"/>
                </a:lnTo>
                <a:lnTo>
                  <a:pt x="329" y="2024"/>
                </a:lnTo>
                <a:lnTo>
                  <a:pt x="310" y="2027"/>
                </a:lnTo>
                <a:lnTo>
                  <a:pt x="290" y="2032"/>
                </a:lnTo>
                <a:lnTo>
                  <a:pt x="271" y="2038"/>
                </a:lnTo>
                <a:lnTo>
                  <a:pt x="252" y="2047"/>
                </a:lnTo>
                <a:lnTo>
                  <a:pt x="242" y="2053"/>
                </a:lnTo>
                <a:lnTo>
                  <a:pt x="233" y="2058"/>
                </a:lnTo>
                <a:lnTo>
                  <a:pt x="224" y="2064"/>
                </a:lnTo>
                <a:lnTo>
                  <a:pt x="216" y="2071"/>
                </a:lnTo>
                <a:lnTo>
                  <a:pt x="207" y="2079"/>
                </a:lnTo>
                <a:lnTo>
                  <a:pt x="199" y="2087"/>
                </a:lnTo>
                <a:lnTo>
                  <a:pt x="191" y="2097"/>
                </a:lnTo>
                <a:lnTo>
                  <a:pt x="184" y="2106"/>
                </a:lnTo>
                <a:lnTo>
                  <a:pt x="184" y="2106"/>
                </a:lnTo>
                <a:lnTo>
                  <a:pt x="183" y="2109"/>
                </a:lnTo>
                <a:lnTo>
                  <a:pt x="185" y="2111"/>
                </a:lnTo>
                <a:lnTo>
                  <a:pt x="188" y="2112"/>
                </a:lnTo>
                <a:lnTo>
                  <a:pt x="193" y="2112"/>
                </a:lnTo>
                <a:lnTo>
                  <a:pt x="210" y="2110"/>
                </a:lnTo>
                <a:lnTo>
                  <a:pt x="230" y="2108"/>
                </a:lnTo>
                <a:lnTo>
                  <a:pt x="255" y="2106"/>
                </a:lnTo>
                <a:lnTo>
                  <a:pt x="280" y="2105"/>
                </a:lnTo>
                <a:lnTo>
                  <a:pt x="293" y="2106"/>
                </a:lnTo>
                <a:lnTo>
                  <a:pt x="307" y="2107"/>
                </a:lnTo>
                <a:lnTo>
                  <a:pt x="319" y="2109"/>
                </a:lnTo>
                <a:lnTo>
                  <a:pt x="331" y="2112"/>
                </a:lnTo>
                <a:lnTo>
                  <a:pt x="331" y="2112"/>
                </a:lnTo>
                <a:lnTo>
                  <a:pt x="338" y="2115"/>
                </a:lnTo>
                <a:lnTo>
                  <a:pt x="343" y="2118"/>
                </a:lnTo>
                <a:lnTo>
                  <a:pt x="346" y="2121"/>
                </a:lnTo>
                <a:lnTo>
                  <a:pt x="347" y="2124"/>
                </a:lnTo>
                <a:lnTo>
                  <a:pt x="347" y="2127"/>
                </a:lnTo>
                <a:lnTo>
                  <a:pt x="345" y="2131"/>
                </a:lnTo>
                <a:lnTo>
                  <a:pt x="339" y="2139"/>
                </a:lnTo>
                <a:lnTo>
                  <a:pt x="332" y="2149"/>
                </a:lnTo>
                <a:lnTo>
                  <a:pt x="325" y="2160"/>
                </a:lnTo>
                <a:lnTo>
                  <a:pt x="321" y="2166"/>
                </a:lnTo>
                <a:lnTo>
                  <a:pt x="319" y="2172"/>
                </a:lnTo>
                <a:lnTo>
                  <a:pt x="317" y="2178"/>
                </a:lnTo>
                <a:lnTo>
                  <a:pt x="317" y="2185"/>
                </a:lnTo>
                <a:lnTo>
                  <a:pt x="317" y="2185"/>
                </a:lnTo>
                <a:lnTo>
                  <a:pt x="317" y="2191"/>
                </a:lnTo>
                <a:lnTo>
                  <a:pt x="319" y="2197"/>
                </a:lnTo>
                <a:lnTo>
                  <a:pt x="321" y="2202"/>
                </a:lnTo>
                <a:lnTo>
                  <a:pt x="324" y="2207"/>
                </a:lnTo>
                <a:lnTo>
                  <a:pt x="328" y="2212"/>
                </a:lnTo>
                <a:lnTo>
                  <a:pt x="333" y="2217"/>
                </a:lnTo>
                <a:lnTo>
                  <a:pt x="346" y="2227"/>
                </a:lnTo>
                <a:lnTo>
                  <a:pt x="361" y="2237"/>
                </a:lnTo>
                <a:lnTo>
                  <a:pt x="377" y="2246"/>
                </a:lnTo>
                <a:lnTo>
                  <a:pt x="397" y="2255"/>
                </a:lnTo>
                <a:lnTo>
                  <a:pt x="416" y="2263"/>
                </a:lnTo>
                <a:lnTo>
                  <a:pt x="458" y="2279"/>
                </a:lnTo>
                <a:lnTo>
                  <a:pt x="500" y="2293"/>
                </a:lnTo>
                <a:lnTo>
                  <a:pt x="571" y="2314"/>
                </a:lnTo>
                <a:lnTo>
                  <a:pt x="571" y="2314"/>
                </a:lnTo>
                <a:lnTo>
                  <a:pt x="579" y="2318"/>
                </a:lnTo>
                <a:lnTo>
                  <a:pt x="585" y="2322"/>
                </a:lnTo>
                <a:lnTo>
                  <a:pt x="588" y="2328"/>
                </a:lnTo>
                <a:lnTo>
                  <a:pt x="590" y="2333"/>
                </a:lnTo>
                <a:lnTo>
                  <a:pt x="590" y="2337"/>
                </a:lnTo>
                <a:lnTo>
                  <a:pt x="588" y="2341"/>
                </a:lnTo>
                <a:lnTo>
                  <a:pt x="585" y="2343"/>
                </a:lnTo>
                <a:lnTo>
                  <a:pt x="581" y="2344"/>
                </a:lnTo>
                <a:lnTo>
                  <a:pt x="581" y="2344"/>
                </a:lnTo>
                <a:lnTo>
                  <a:pt x="556" y="2343"/>
                </a:lnTo>
                <a:lnTo>
                  <a:pt x="532" y="2340"/>
                </a:lnTo>
                <a:lnTo>
                  <a:pt x="509" y="2337"/>
                </a:lnTo>
                <a:lnTo>
                  <a:pt x="488" y="2332"/>
                </a:lnTo>
                <a:lnTo>
                  <a:pt x="467" y="2327"/>
                </a:lnTo>
                <a:lnTo>
                  <a:pt x="448" y="2320"/>
                </a:lnTo>
                <a:lnTo>
                  <a:pt x="429" y="2314"/>
                </a:lnTo>
                <a:lnTo>
                  <a:pt x="412" y="2308"/>
                </a:lnTo>
                <a:lnTo>
                  <a:pt x="380" y="2295"/>
                </a:lnTo>
                <a:lnTo>
                  <a:pt x="352" y="2283"/>
                </a:lnTo>
                <a:lnTo>
                  <a:pt x="327" y="2271"/>
                </a:lnTo>
                <a:lnTo>
                  <a:pt x="316" y="2267"/>
                </a:lnTo>
                <a:lnTo>
                  <a:pt x="305" y="2263"/>
                </a:lnTo>
                <a:lnTo>
                  <a:pt x="305" y="2263"/>
                </a:lnTo>
                <a:lnTo>
                  <a:pt x="286" y="2258"/>
                </a:lnTo>
                <a:lnTo>
                  <a:pt x="268" y="2254"/>
                </a:lnTo>
                <a:lnTo>
                  <a:pt x="253" y="2251"/>
                </a:lnTo>
                <a:lnTo>
                  <a:pt x="237" y="2249"/>
                </a:lnTo>
                <a:lnTo>
                  <a:pt x="224" y="2248"/>
                </a:lnTo>
                <a:lnTo>
                  <a:pt x="213" y="2249"/>
                </a:lnTo>
                <a:lnTo>
                  <a:pt x="202" y="2250"/>
                </a:lnTo>
                <a:lnTo>
                  <a:pt x="192" y="2252"/>
                </a:lnTo>
                <a:lnTo>
                  <a:pt x="185" y="2256"/>
                </a:lnTo>
                <a:lnTo>
                  <a:pt x="178" y="2260"/>
                </a:lnTo>
                <a:lnTo>
                  <a:pt x="172" y="2265"/>
                </a:lnTo>
                <a:lnTo>
                  <a:pt x="167" y="2271"/>
                </a:lnTo>
                <a:lnTo>
                  <a:pt x="163" y="2277"/>
                </a:lnTo>
                <a:lnTo>
                  <a:pt x="160" y="2286"/>
                </a:lnTo>
                <a:lnTo>
                  <a:pt x="156" y="2294"/>
                </a:lnTo>
                <a:lnTo>
                  <a:pt x="155" y="2303"/>
                </a:lnTo>
                <a:lnTo>
                  <a:pt x="155" y="2303"/>
                </a:lnTo>
                <a:lnTo>
                  <a:pt x="154" y="2306"/>
                </a:lnTo>
                <a:lnTo>
                  <a:pt x="152" y="2309"/>
                </a:lnTo>
                <a:lnTo>
                  <a:pt x="150" y="2312"/>
                </a:lnTo>
                <a:lnTo>
                  <a:pt x="147" y="2314"/>
                </a:lnTo>
                <a:lnTo>
                  <a:pt x="140" y="2318"/>
                </a:lnTo>
                <a:lnTo>
                  <a:pt x="132" y="2323"/>
                </a:lnTo>
                <a:lnTo>
                  <a:pt x="109" y="2333"/>
                </a:lnTo>
                <a:lnTo>
                  <a:pt x="97" y="2339"/>
                </a:lnTo>
                <a:lnTo>
                  <a:pt x="84" y="2347"/>
                </a:lnTo>
                <a:lnTo>
                  <a:pt x="71" y="2357"/>
                </a:lnTo>
                <a:lnTo>
                  <a:pt x="57" y="2371"/>
                </a:lnTo>
                <a:lnTo>
                  <a:pt x="51" y="2378"/>
                </a:lnTo>
                <a:lnTo>
                  <a:pt x="45" y="2386"/>
                </a:lnTo>
                <a:lnTo>
                  <a:pt x="39" y="2396"/>
                </a:lnTo>
                <a:lnTo>
                  <a:pt x="33" y="2406"/>
                </a:lnTo>
                <a:lnTo>
                  <a:pt x="28" y="2418"/>
                </a:lnTo>
                <a:lnTo>
                  <a:pt x="22" y="2430"/>
                </a:lnTo>
                <a:lnTo>
                  <a:pt x="17" y="2444"/>
                </a:lnTo>
                <a:lnTo>
                  <a:pt x="13" y="2458"/>
                </a:lnTo>
                <a:lnTo>
                  <a:pt x="9" y="2475"/>
                </a:lnTo>
                <a:lnTo>
                  <a:pt x="6" y="2492"/>
                </a:lnTo>
                <a:lnTo>
                  <a:pt x="3" y="2512"/>
                </a:lnTo>
                <a:lnTo>
                  <a:pt x="0" y="2532"/>
                </a:lnTo>
                <a:lnTo>
                  <a:pt x="0" y="2532"/>
                </a:lnTo>
                <a:lnTo>
                  <a:pt x="1" y="2533"/>
                </a:lnTo>
                <a:lnTo>
                  <a:pt x="2" y="2534"/>
                </a:lnTo>
                <a:lnTo>
                  <a:pt x="6" y="2532"/>
                </a:lnTo>
                <a:lnTo>
                  <a:pt x="12" y="2527"/>
                </a:lnTo>
                <a:lnTo>
                  <a:pt x="20" y="2519"/>
                </a:lnTo>
                <a:lnTo>
                  <a:pt x="43" y="2496"/>
                </a:lnTo>
                <a:lnTo>
                  <a:pt x="69" y="2472"/>
                </a:lnTo>
                <a:lnTo>
                  <a:pt x="82" y="2459"/>
                </a:lnTo>
                <a:lnTo>
                  <a:pt x="95" y="2448"/>
                </a:lnTo>
                <a:lnTo>
                  <a:pt x="107" y="2439"/>
                </a:lnTo>
                <a:lnTo>
                  <a:pt x="119" y="2432"/>
                </a:lnTo>
                <a:lnTo>
                  <a:pt x="124" y="2429"/>
                </a:lnTo>
                <a:lnTo>
                  <a:pt x="129" y="2428"/>
                </a:lnTo>
                <a:lnTo>
                  <a:pt x="133" y="2427"/>
                </a:lnTo>
                <a:lnTo>
                  <a:pt x="137" y="2427"/>
                </a:lnTo>
                <a:lnTo>
                  <a:pt x="140" y="2429"/>
                </a:lnTo>
                <a:lnTo>
                  <a:pt x="143" y="2431"/>
                </a:lnTo>
                <a:lnTo>
                  <a:pt x="144" y="2435"/>
                </a:lnTo>
                <a:lnTo>
                  <a:pt x="146" y="2439"/>
                </a:lnTo>
                <a:lnTo>
                  <a:pt x="146" y="2439"/>
                </a:lnTo>
                <a:lnTo>
                  <a:pt x="149" y="2455"/>
                </a:lnTo>
                <a:lnTo>
                  <a:pt x="154" y="2470"/>
                </a:lnTo>
                <a:lnTo>
                  <a:pt x="162" y="2483"/>
                </a:lnTo>
                <a:lnTo>
                  <a:pt x="170" y="2493"/>
                </a:lnTo>
                <a:lnTo>
                  <a:pt x="179" y="2503"/>
                </a:lnTo>
                <a:lnTo>
                  <a:pt x="189" y="2511"/>
                </a:lnTo>
                <a:lnTo>
                  <a:pt x="200" y="2518"/>
                </a:lnTo>
                <a:lnTo>
                  <a:pt x="214" y="2523"/>
                </a:lnTo>
                <a:lnTo>
                  <a:pt x="227" y="2527"/>
                </a:lnTo>
                <a:lnTo>
                  <a:pt x="241" y="2529"/>
                </a:lnTo>
                <a:lnTo>
                  <a:pt x="256" y="2531"/>
                </a:lnTo>
                <a:lnTo>
                  <a:pt x="271" y="2532"/>
                </a:lnTo>
                <a:lnTo>
                  <a:pt x="287" y="2533"/>
                </a:lnTo>
                <a:lnTo>
                  <a:pt x="304" y="2532"/>
                </a:lnTo>
                <a:lnTo>
                  <a:pt x="337" y="2530"/>
                </a:lnTo>
                <a:lnTo>
                  <a:pt x="371" y="2526"/>
                </a:lnTo>
                <a:lnTo>
                  <a:pt x="405" y="2521"/>
                </a:lnTo>
                <a:lnTo>
                  <a:pt x="438" y="2516"/>
                </a:lnTo>
                <a:lnTo>
                  <a:pt x="468" y="2512"/>
                </a:lnTo>
                <a:lnTo>
                  <a:pt x="496" y="2510"/>
                </a:lnTo>
                <a:lnTo>
                  <a:pt x="509" y="2509"/>
                </a:lnTo>
                <a:lnTo>
                  <a:pt x="520" y="2509"/>
                </a:lnTo>
                <a:lnTo>
                  <a:pt x="531" y="2510"/>
                </a:lnTo>
                <a:lnTo>
                  <a:pt x="541" y="2512"/>
                </a:lnTo>
                <a:lnTo>
                  <a:pt x="549" y="2515"/>
                </a:lnTo>
                <a:lnTo>
                  <a:pt x="555" y="2519"/>
                </a:lnTo>
                <a:lnTo>
                  <a:pt x="555" y="2519"/>
                </a:lnTo>
                <a:lnTo>
                  <a:pt x="558" y="2522"/>
                </a:lnTo>
                <a:lnTo>
                  <a:pt x="559" y="2524"/>
                </a:lnTo>
                <a:lnTo>
                  <a:pt x="557" y="2527"/>
                </a:lnTo>
                <a:lnTo>
                  <a:pt x="554" y="2529"/>
                </a:lnTo>
                <a:lnTo>
                  <a:pt x="549" y="2532"/>
                </a:lnTo>
                <a:lnTo>
                  <a:pt x="542" y="2534"/>
                </a:lnTo>
                <a:lnTo>
                  <a:pt x="525" y="2538"/>
                </a:lnTo>
                <a:lnTo>
                  <a:pt x="475" y="2547"/>
                </a:lnTo>
                <a:lnTo>
                  <a:pt x="447" y="2553"/>
                </a:lnTo>
                <a:lnTo>
                  <a:pt x="417" y="2559"/>
                </a:lnTo>
                <a:lnTo>
                  <a:pt x="388" y="2566"/>
                </a:lnTo>
                <a:lnTo>
                  <a:pt x="359" y="2574"/>
                </a:lnTo>
                <a:lnTo>
                  <a:pt x="346" y="2578"/>
                </a:lnTo>
                <a:lnTo>
                  <a:pt x="333" y="2583"/>
                </a:lnTo>
                <a:lnTo>
                  <a:pt x="322" y="2588"/>
                </a:lnTo>
                <a:lnTo>
                  <a:pt x="312" y="2594"/>
                </a:lnTo>
                <a:lnTo>
                  <a:pt x="303" y="2601"/>
                </a:lnTo>
                <a:lnTo>
                  <a:pt x="294" y="2607"/>
                </a:lnTo>
                <a:lnTo>
                  <a:pt x="288" y="2614"/>
                </a:lnTo>
                <a:lnTo>
                  <a:pt x="284" y="2622"/>
                </a:lnTo>
                <a:lnTo>
                  <a:pt x="282" y="2630"/>
                </a:lnTo>
                <a:lnTo>
                  <a:pt x="281" y="2638"/>
                </a:lnTo>
                <a:lnTo>
                  <a:pt x="283" y="2649"/>
                </a:lnTo>
                <a:lnTo>
                  <a:pt x="287" y="2659"/>
                </a:lnTo>
                <a:lnTo>
                  <a:pt x="287" y="2659"/>
                </a:lnTo>
                <a:lnTo>
                  <a:pt x="287" y="2660"/>
                </a:lnTo>
                <a:lnTo>
                  <a:pt x="286" y="2663"/>
                </a:lnTo>
                <a:lnTo>
                  <a:pt x="283" y="2669"/>
                </a:lnTo>
                <a:lnTo>
                  <a:pt x="268" y="2686"/>
                </a:lnTo>
                <a:lnTo>
                  <a:pt x="258" y="2699"/>
                </a:lnTo>
                <a:lnTo>
                  <a:pt x="247" y="2712"/>
                </a:lnTo>
                <a:lnTo>
                  <a:pt x="237" y="2727"/>
                </a:lnTo>
                <a:lnTo>
                  <a:pt x="228" y="2744"/>
                </a:lnTo>
                <a:lnTo>
                  <a:pt x="220" y="2761"/>
                </a:lnTo>
                <a:lnTo>
                  <a:pt x="217" y="2770"/>
                </a:lnTo>
                <a:lnTo>
                  <a:pt x="214" y="2781"/>
                </a:lnTo>
                <a:lnTo>
                  <a:pt x="213" y="2790"/>
                </a:lnTo>
                <a:lnTo>
                  <a:pt x="212" y="2801"/>
                </a:lnTo>
                <a:lnTo>
                  <a:pt x="212" y="2811"/>
                </a:lnTo>
                <a:lnTo>
                  <a:pt x="213" y="2821"/>
                </a:lnTo>
                <a:lnTo>
                  <a:pt x="215" y="2833"/>
                </a:lnTo>
                <a:lnTo>
                  <a:pt x="219" y="2844"/>
                </a:lnTo>
                <a:lnTo>
                  <a:pt x="223" y="2856"/>
                </a:lnTo>
                <a:lnTo>
                  <a:pt x="229" y="2867"/>
                </a:lnTo>
                <a:lnTo>
                  <a:pt x="237" y="2880"/>
                </a:lnTo>
                <a:lnTo>
                  <a:pt x="246" y="2892"/>
                </a:lnTo>
                <a:lnTo>
                  <a:pt x="257" y="2904"/>
                </a:lnTo>
                <a:lnTo>
                  <a:pt x="270" y="2917"/>
                </a:lnTo>
                <a:lnTo>
                  <a:pt x="270" y="2917"/>
                </a:lnTo>
                <a:lnTo>
                  <a:pt x="270" y="2910"/>
                </a:lnTo>
                <a:lnTo>
                  <a:pt x="272" y="2893"/>
                </a:lnTo>
                <a:lnTo>
                  <a:pt x="277" y="2868"/>
                </a:lnTo>
                <a:lnTo>
                  <a:pt x="281" y="2855"/>
                </a:lnTo>
                <a:lnTo>
                  <a:pt x="285" y="2841"/>
                </a:lnTo>
                <a:lnTo>
                  <a:pt x="291" y="2828"/>
                </a:lnTo>
                <a:lnTo>
                  <a:pt x="298" y="2814"/>
                </a:lnTo>
                <a:lnTo>
                  <a:pt x="306" y="2801"/>
                </a:lnTo>
                <a:lnTo>
                  <a:pt x="315" y="2791"/>
                </a:lnTo>
                <a:lnTo>
                  <a:pt x="321" y="2786"/>
                </a:lnTo>
                <a:lnTo>
                  <a:pt x="326" y="2782"/>
                </a:lnTo>
                <a:lnTo>
                  <a:pt x="332" y="2777"/>
                </a:lnTo>
                <a:lnTo>
                  <a:pt x="339" y="2774"/>
                </a:lnTo>
                <a:lnTo>
                  <a:pt x="346" y="2772"/>
                </a:lnTo>
                <a:lnTo>
                  <a:pt x="354" y="2770"/>
                </a:lnTo>
                <a:lnTo>
                  <a:pt x="361" y="2770"/>
                </a:lnTo>
                <a:lnTo>
                  <a:pt x="369" y="2770"/>
                </a:lnTo>
                <a:lnTo>
                  <a:pt x="369" y="2770"/>
                </a:lnTo>
                <a:lnTo>
                  <a:pt x="383" y="2771"/>
                </a:lnTo>
                <a:lnTo>
                  <a:pt x="396" y="2774"/>
                </a:lnTo>
                <a:lnTo>
                  <a:pt x="408" y="2778"/>
                </a:lnTo>
                <a:lnTo>
                  <a:pt x="420" y="2783"/>
                </a:lnTo>
                <a:lnTo>
                  <a:pt x="443" y="2793"/>
                </a:lnTo>
                <a:lnTo>
                  <a:pt x="454" y="2797"/>
                </a:lnTo>
                <a:lnTo>
                  <a:pt x="465" y="2801"/>
                </a:lnTo>
                <a:lnTo>
                  <a:pt x="476" y="2804"/>
                </a:lnTo>
                <a:lnTo>
                  <a:pt x="489" y="2806"/>
                </a:lnTo>
                <a:lnTo>
                  <a:pt x="501" y="2807"/>
                </a:lnTo>
                <a:lnTo>
                  <a:pt x="514" y="2805"/>
                </a:lnTo>
                <a:lnTo>
                  <a:pt x="528" y="2802"/>
                </a:lnTo>
                <a:lnTo>
                  <a:pt x="542" y="2796"/>
                </a:lnTo>
                <a:lnTo>
                  <a:pt x="558" y="2788"/>
                </a:lnTo>
                <a:lnTo>
                  <a:pt x="575" y="2775"/>
                </a:lnTo>
                <a:lnTo>
                  <a:pt x="575" y="2775"/>
                </a:lnTo>
                <a:lnTo>
                  <a:pt x="588" y="2766"/>
                </a:lnTo>
                <a:lnTo>
                  <a:pt x="600" y="2755"/>
                </a:lnTo>
                <a:lnTo>
                  <a:pt x="614" y="2743"/>
                </a:lnTo>
                <a:lnTo>
                  <a:pt x="630" y="2730"/>
                </a:lnTo>
                <a:lnTo>
                  <a:pt x="651" y="2718"/>
                </a:lnTo>
                <a:lnTo>
                  <a:pt x="664" y="2711"/>
                </a:lnTo>
                <a:lnTo>
                  <a:pt x="678" y="2705"/>
                </a:lnTo>
                <a:lnTo>
                  <a:pt x="693" y="2698"/>
                </a:lnTo>
                <a:lnTo>
                  <a:pt x="712" y="2692"/>
                </a:lnTo>
                <a:lnTo>
                  <a:pt x="732" y="2684"/>
                </a:lnTo>
                <a:lnTo>
                  <a:pt x="754" y="2677"/>
                </a:lnTo>
                <a:lnTo>
                  <a:pt x="754" y="2677"/>
                </a:lnTo>
                <a:lnTo>
                  <a:pt x="756" y="2677"/>
                </a:lnTo>
                <a:lnTo>
                  <a:pt x="757" y="2678"/>
                </a:lnTo>
                <a:lnTo>
                  <a:pt x="760" y="2683"/>
                </a:lnTo>
                <a:lnTo>
                  <a:pt x="762" y="2692"/>
                </a:lnTo>
                <a:lnTo>
                  <a:pt x="765" y="2701"/>
                </a:lnTo>
                <a:lnTo>
                  <a:pt x="768" y="2713"/>
                </a:lnTo>
                <a:lnTo>
                  <a:pt x="772" y="2725"/>
                </a:lnTo>
                <a:lnTo>
                  <a:pt x="777" y="2738"/>
                </a:lnTo>
                <a:lnTo>
                  <a:pt x="783" y="2750"/>
                </a:lnTo>
                <a:lnTo>
                  <a:pt x="783" y="2750"/>
                </a:lnTo>
                <a:lnTo>
                  <a:pt x="786" y="2753"/>
                </a:lnTo>
                <a:lnTo>
                  <a:pt x="789" y="2755"/>
                </a:lnTo>
                <a:lnTo>
                  <a:pt x="797" y="2760"/>
                </a:lnTo>
                <a:lnTo>
                  <a:pt x="805" y="2763"/>
                </a:lnTo>
                <a:lnTo>
                  <a:pt x="813" y="2767"/>
                </a:lnTo>
                <a:lnTo>
                  <a:pt x="821" y="2770"/>
                </a:lnTo>
                <a:lnTo>
                  <a:pt x="827" y="2773"/>
                </a:lnTo>
                <a:lnTo>
                  <a:pt x="830" y="2775"/>
                </a:lnTo>
                <a:lnTo>
                  <a:pt x="831" y="2777"/>
                </a:lnTo>
                <a:lnTo>
                  <a:pt x="833" y="2781"/>
                </a:lnTo>
                <a:lnTo>
                  <a:pt x="833" y="2784"/>
                </a:lnTo>
                <a:lnTo>
                  <a:pt x="833" y="2784"/>
                </a:lnTo>
                <a:lnTo>
                  <a:pt x="832" y="2794"/>
                </a:lnTo>
                <a:lnTo>
                  <a:pt x="830" y="2805"/>
                </a:lnTo>
                <a:lnTo>
                  <a:pt x="826" y="2815"/>
                </a:lnTo>
                <a:lnTo>
                  <a:pt x="822" y="2824"/>
                </a:lnTo>
                <a:lnTo>
                  <a:pt x="817" y="2834"/>
                </a:lnTo>
                <a:lnTo>
                  <a:pt x="811" y="2843"/>
                </a:lnTo>
                <a:lnTo>
                  <a:pt x="798" y="2859"/>
                </a:lnTo>
                <a:lnTo>
                  <a:pt x="784" y="2873"/>
                </a:lnTo>
                <a:lnTo>
                  <a:pt x="773" y="2884"/>
                </a:lnTo>
                <a:lnTo>
                  <a:pt x="765" y="2890"/>
                </a:lnTo>
                <a:lnTo>
                  <a:pt x="763" y="2893"/>
                </a:lnTo>
                <a:lnTo>
                  <a:pt x="763" y="2893"/>
                </a:lnTo>
                <a:lnTo>
                  <a:pt x="767" y="2896"/>
                </a:lnTo>
                <a:lnTo>
                  <a:pt x="778" y="2899"/>
                </a:lnTo>
                <a:lnTo>
                  <a:pt x="785" y="2900"/>
                </a:lnTo>
                <a:lnTo>
                  <a:pt x="794" y="2901"/>
                </a:lnTo>
                <a:lnTo>
                  <a:pt x="804" y="2901"/>
                </a:lnTo>
                <a:lnTo>
                  <a:pt x="815" y="2899"/>
                </a:lnTo>
                <a:lnTo>
                  <a:pt x="826" y="2896"/>
                </a:lnTo>
                <a:lnTo>
                  <a:pt x="839" y="2891"/>
                </a:lnTo>
                <a:lnTo>
                  <a:pt x="852" y="2884"/>
                </a:lnTo>
                <a:lnTo>
                  <a:pt x="865" y="2874"/>
                </a:lnTo>
                <a:lnTo>
                  <a:pt x="879" y="2860"/>
                </a:lnTo>
                <a:lnTo>
                  <a:pt x="894" y="2844"/>
                </a:lnTo>
                <a:lnTo>
                  <a:pt x="907" y="2824"/>
                </a:lnTo>
                <a:lnTo>
                  <a:pt x="921" y="2801"/>
                </a:lnTo>
                <a:lnTo>
                  <a:pt x="921" y="2801"/>
                </a:lnTo>
                <a:lnTo>
                  <a:pt x="924" y="2797"/>
                </a:lnTo>
                <a:lnTo>
                  <a:pt x="927" y="2793"/>
                </a:lnTo>
                <a:lnTo>
                  <a:pt x="930" y="2791"/>
                </a:lnTo>
                <a:lnTo>
                  <a:pt x="935" y="2789"/>
                </a:lnTo>
                <a:lnTo>
                  <a:pt x="939" y="2788"/>
                </a:lnTo>
                <a:lnTo>
                  <a:pt x="943" y="2788"/>
                </a:lnTo>
                <a:lnTo>
                  <a:pt x="951" y="2788"/>
                </a:lnTo>
                <a:lnTo>
                  <a:pt x="970" y="2790"/>
                </a:lnTo>
                <a:lnTo>
                  <a:pt x="982" y="2790"/>
                </a:lnTo>
                <a:lnTo>
                  <a:pt x="987" y="2789"/>
                </a:lnTo>
                <a:lnTo>
                  <a:pt x="992" y="2788"/>
                </a:lnTo>
                <a:lnTo>
                  <a:pt x="992" y="2788"/>
                </a:lnTo>
                <a:lnTo>
                  <a:pt x="1010" y="2782"/>
                </a:lnTo>
                <a:lnTo>
                  <a:pt x="1017" y="2777"/>
                </a:lnTo>
                <a:lnTo>
                  <a:pt x="1024" y="2773"/>
                </a:lnTo>
                <a:lnTo>
                  <a:pt x="1029" y="2770"/>
                </a:lnTo>
                <a:lnTo>
                  <a:pt x="1033" y="2766"/>
                </a:lnTo>
                <a:lnTo>
                  <a:pt x="1036" y="2762"/>
                </a:lnTo>
                <a:lnTo>
                  <a:pt x="1039" y="2757"/>
                </a:lnTo>
                <a:lnTo>
                  <a:pt x="1041" y="2753"/>
                </a:lnTo>
                <a:lnTo>
                  <a:pt x="1042" y="2748"/>
                </a:lnTo>
                <a:lnTo>
                  <a:pt x="1043" y="2739"/>
                </a:lnTo>
                <a:lnTo>
                  <a:pt x="1042" y="2728"/>
                </a:lnTo>
                <a:lnTo>
                  <a:pt x="1040" y="2718"/>
                </a:lnTo>
                <a:lnTo>
                  <a:pt x="1035" y="2696"/>
                </a:lnTo>
                <a:lnTo>
                  <a:pt x="1034" y="2685"/>
                </a:lnTo>
                <a:lnTo>
                  <a:pt x="1033" y="2673"/>
                </a:lnTo>
                <a:lnTo>
                  <a:pt x="1034" y="2662"/>
                </a:lnTo>
                <a:lnTo>
                  <a:pt x="1036" y="2657"/>
                </a:lnTo>
                <a:lnTo>
                  <a:pt x="1038" y="2651"/>
                </a:lnTo>
                <a:lnTo>
                  <a:pt x="1040" y="2646"/>
                </a:lnTo>
                <a:lnTo>
                  <a:pt x="1044" y="2640"/>
                </a:lnTo>
                <a:lnTo>
                  <a:pt x="1048" y="2634"/>
                </a:lnTo>
                <a:lnTo>
                  <a:pt x="1054" y="2629"/>
                </a:lnTo>
                <a:lnTo>
                  <a:pt x="1054" y="2629"/>
                </a:lnTo>
                <a:lnTo>
                  <a:pt x="1069" y="2616"/>
                </a:lnTo>
                <a:lnTo>
                  <a:pt x="1084" y="2603"/>
                </a:lnTo>
                <a:lnTo>
                  <a:pt x="1099" y="2591"/>
                </a:lnTo>
                <a:lnTo>
                  <a:pt x="1115" y="2579"/>
                </a:lnTo>
                <a:lnTo>
                  <a:pt x="1146" y="2559"/>
                </a:lnTo>
                <a:lnTo>
                  <a:pt x="1178" y="2540"/>
                </a:lnTo>
                <a:lnTo>
                  <a:pt x="1210" y="2524"/>
                </a:lnTo>
                <a:lnTo>
                  <a:pt x="1241" y="2509"/>
                </a:lnTo>
                <a:lnTo>
                  <a:pt x="1273" y="2494"/>
                </a:lnTo>
                <a:lnTo>
                  <a:pt x="1304" y="2482"/>
                </a:lnTo>
                <a:lnTo>
                  <a:pt x="1304" y="2482"/>
                </a:lnTo>
                <a:lnTo>
                  <a:pt x="1303" y="2486"/>
                </a:lnTo>
                <a:lnTo>
                  <a:pt x="1299" y="2498"/>
                </a:lnTo>
                <a:lnTo>
                  <a:pt x="1294" y="2518"/>
                </a:lnTo>
                <a:lnTo>
                  <a:pt x="1291" y="2541"/>
                </a:lnTo>
                <a:lnTo>
                  <a:pt x="1290" y="2556"/>
                </a:lnTo>
                <a:lnTo>
                  <a:pt x="1290" y="2570"/>
                </a:lnTo>
                <a:lnTo>
                  <a:pt x="1291" y="2585"/>
                </a:lnTo>
                <a:lnTo>
                  <a:pt x="1292" y="2602"/>
                </a:lnTo>
                <a:lnTo>
                  <a:pt x="1296" y="2618"/>
                </a:lnTo>
                <a:lnTo>
                  <a:pt x="1301" y="2634"/>
                </a:lnTo>
                <a:lnTo>
                  <a:pt x="1306" y="2652"/>
                </a:lnTo>
                <a:lnTo>
                  <a:pt x="1314" y="2669"/>
                </a:lnTo>
                <a:lnTo>
                  <a:pt x="1640" y="2585"/>
                </a:lnTo>
                <a:lnTo>
                  <a:pt x="1640" y="2585"/>
                </a:lnTo>
                <a:lnTo>
                  <a:pt x="1634" y="2569"/>
                </a:lnTo>
                <a:lnTo>
                  <a:pt x="1631" y="2553"/>
                </a:lnTo>
                <a:lnTo>
                  <a:pt x="1629" y="2535"/>
                </a:lnTo>
                <a:lnTo>
                  <a:pt x="1629" y="2518"/>
                </a:lnTo>
                <a:lnTo>
                  <a:pt x="1631" y="2500"/>
                </a:lnTo>
                <a:lnTo>
                  <a:pt x="1634" y="2483"/>
                </a:lnTo>
                <a:lnTo>
                  <a:pt x="1638" y="2466"/>
                </a:lnTo>
                <a:lnTo>
                  <a:pt x="1644" y="2447"/>
                </a:lnTo>
                <a:lnTo>
                  <a:pt x="1651" y="2430"/>
                </a:lnTo>
                <a:lnTo>
                  <a:pt x="1660" y="2411"/>
                </a:lnTo>
                <a:lnTo>
                  <a:pt x="1669" y="2394"/>
                </a:lnTo>
                <a:lnTo>
                  <a:pt x="1679" y="2377"/>
                </a:lnTo>
                <a:lnTo>
                  <a:pt x="1689" y="2359"/>
                </a:lnTo>
                <a:lnTo>
                  <a:pt x="1701" y="2342"/>
                </a:lnTo>
                <a:lnTo>
                  <a:pt x="1725" y="2310"/>
                </a:lnTo>
                <a:lnTo>
                  <a:pt x="1725" y="2310"/>
                </a:lnTo>
                <a:lnTo>
                  <a:pt x="1726" y="2309"/>
                </a:lnTo>
                <a:lnTo>
                  <a:pt x="1727" y="2309"/>
                </a:lnTo>
                <a:lnTo>
                  <a:pt x="1728" y="2313"/>
                </a:lnTo>
                <a:lnTo>
                  <a:pt x="1725" y="2335"/>
                </a:lnTo>
                <a:lnTo>
                  <a:pt x="1721" y="2368"/>
                </a:lnTo>
                <a:lnTo>
                  <a:pt x="1715" y="2410"/>
                </a:lnTo>
                <a:lnTo>
                  <a:pt x="1713" y="2433"/>
                </a:lnTo>
                <a:lnTo>
                  <a:pt x="1711" y="2456"/>
                </a:lnTo>
                <a:lnTo>
                  <a:pt x="1711" y="2478"/>
                </a:lnTo>
                <a:lnTo>
                  <a:pt x="1711" y="2499"/>
                </a:lnTo>
                <a:lnTo>
                  <a:pt x="1713" y="2519"/>
                </a:lnTo>
                <a:lnTo>
                  <a:pt x="1716" y="2536"/>
                </a:lnTo>
                <a:lnTo>
                  <a:pt x="1719" y="2544"/>
                </a:lnTo>
                <a:lnTo>
                  <a:pt x="1722" y="2551"/>
                </a:lnTo>
                <a:lnTo>
                  <a:pt x="1726" y="2557"/>
                </a:lnTo>
                <a:lnTo>
                  <a:pt x="1730" y="2562"/>
                </a:lnTo>
                <a:lnTo>
                  <a:pt x="2050" y="2479"/>
                </a:lnTo>
                <a:lnTo>
                  <a:pt x="2050" y="2479"/>
                </a:lnTo>
                <a:lnTo>
                  <a:pt x="2046" y="2469"/>
                </a:lnTo>
                <a:lnTo>
                  <a:pt x="2043" y="2457"/>
                </a:lnTo>
                <a:lnTo>
                  <a:pt x="2041" y="2446"/>
                </a:lnTo>
                <a:lnTo>
                  <a:pt x="2039" y="2434"/>
                </a:lnTo>
                <a:lnTo>
                  <a:pt x="2038" y="2422"/>
                </a:lnTo>
                <a:lnTo>
                  <a:pt x="2038" y="2409"/>
                </a:lnTo>
                <a:lnTo>
                  <a:pt x="2039" y="2383"/>
                </a:lnTo>
                <a:lnTo>
                  <a:pt x="2043" y="2356"/>
                </a:lnTo>
                <a:lnTo>
                  <a:pt x="2048" y="2330"/>
                </a:lnTo>
                <a:lnTo>
                  <a:pt x="2055" y="2303"/>
                </a:lnTo>
                <a:lnTo>
                  <a:pt x="2064" y="2279"/>
                </a:lnTo>
                <a:lnTo>
                  <a:pt x="2064" y="2279"/>
                </a:lnTo>
                <a:lnTo>
                  <a:pt x="2072" y="2306"/>
                </a:lnTo>
                <a:lnTo>
                  <a:pt x="2079" y="2335"/>
                </a:lnTo>
                <a:lnTo>
                  <a:pt x="2088" y="2362"/>
                </a:lnTo>
                <a:lnTo>
                  <a:pt x="2098" y="2390"/>
                </a:lnTo>
                <a:lnTo>
                  <a:pt x="2108" y="2417"/>
                </a:lnTo>
                <a:lnTo>
                  <a:pt x="2121" y="2443"/>
                </a:lnTo>
                <a:lnTo>
                  <a:pt x="2135" y="2469"/>
                </a:lnTo>
                <a:lnTo>
                  <a:pt x="2149" y="2494"/>
                </a:lnTo>
                <a:lnTo>
                  <a:pt x="2166" y="2519"/>
                </a:lnTo>
                <a:lnTo>
                  <a:pt x="2183" y="2541"/>
                </a:lnTo>
                <a:lnTo>
                  <a:pt x="2201" y="2563"/>
                </a:lnTo>
                <a:lnTo>
                  <a:pt x="2222" y="2583"/>
                </a:lnTo>
                <a:lnTo>
                  <a:pt x="2244" y="2603"/>
                </a:lnTo>
                <a:lnTo>
                  <a:pt x="2268" y="2619"/>
                </a:lnTo>
                <a:lnTo>
                  <a:pt x="2280" y="2627"/>
                </a:lnTo>
                <a:lnTo>
                  <a:pt x="2292" y="2634"/>
                </a:lnTo>
                <a:lnTo>
                  <a:pt x="2306" y="2641"/>
                </a:lnTo>
                <a:lnTo>
                  <a:pt x="2320" y="2648"/>
                </a:lnTo>
                <a:lnTo>
                  <a:pt x="2320" y="2648"/>
                </a:lnTo>
                <a:lnTo>
                  <a:pt x="2365" y="2667"/>
                </a:lnTo>
                <a:lnTo>
                  <a:pt x="2410" y="2685"/>
                </a:lnTo>
                <a:lnTo>
                  <a:pt x="2454" y="2702"/>
                </a:lnTo>
                <a:lnTo>
                  <a:pt x="2499" y="2718"/>
                </a:lnTo>
                <a:lnTo>
                  <a:pt x="2544" y="2733"/>
                </a:lnTo>
                <a:lnTo>
                  <a:pt x="2589" y="2749"/>
                </a:lnTo>
                <a:lnTo>
                  <a:pt x="2683" y="2778"/>
                </a:lnTo>
                <a:lnTo>
                  <a:pt x="2782" y="2807"/>
                </a:lnTo>
                <a:lnTo>
                  <a:pt x="2889" y="2838"/>
                </a:lnTo>
                <a:lnTo>
                  <a:pt x="3005" y="2872"/>
                </a:lnTo>
                <a:lnTo>
                  <a:pt x="3133" y="2908"/>
                </a:lnTo>
                <a:lnTo>
                  <a:pt x="3133" y="2908"/>
                </a:lnTo>
                <a:lnTo>
                  <a:pt x="3205" y="2931"/>
                </a:lnTo>
                <a:lnTo>
                  <a:pt x="3273" y="2954"/>
                </a:lnTo>
                <a:lnTo>
                  <a:pt x="3305" y="2966"/>
                </a:lnTo>
                <a:lnTo>
                  <a:pt x="3333" y="2977"/>
                </a:lnTo>
                <a:lnTo>
                  <a:pt x="3358" y="2987"/>
                </a:lnTo>
                <a:lnTo>
                  <a:pt x="3377" y="2996"/>
                </a:lnTo>
                <a:lnTo>
                  <a:pt x="3377" y="2996"/>
                </a:lnTo>
                <a:lnTo>
                  <a:pt x="3383" y="2999"/>
                </a:lnTo>
                <a:lnTo>
                  <a:pt x="3389" y="3003"/>
                </a:lnTo>
                <a:lnTo>
                  <a:pt x="3393" y="3006"/>
                </a:lnTo>
                <a:lnTo>
                  <a:pt x="3397" y="3011"/>
                </a:lnTo>
                <a:lnTo>
                  <a:pt x="3399" y="3015"/>
                </a:lnTo>
                <a:lnTo>
                  <a:pt x="3401" y="3020"/>
                </a:lnTo>
                <a:lnTo>
                  <a:pt x="3402" y="3024"/>
                </a:lnTo>
                <a:lnTo>
                  <a:pt x="3402" y="3028"/>
                </a:lnTo>
                <a:lnTo>
                  <a:pt x="3401" y="3037"/>
                </a:lnTo>
                <a:lnTo>
                  <a:pt x="3397" y="3046"/>
                </a:lnTo>
                <a:lnTo>
                  <a:pt x="3392" y="3055"/>
                </a:lnTo>
                <a:lnTo>
                  <a:pt x="3386" y="3064"/>
                </a:lnTo>
                <a:lnTo>
                  <a:pt x="3378" y="3072"/>
                </a:lnTo>
                <a:lnTo>
                  <a:pt x="3371" y="3080"/>
                </a:lnTo>
                <a:lnTo>
                  <a:pt x="3357" y="3092"/>
                </a:lnTo>
                <a:lnTo>
                  <a:pt x="3346" y="3102"/>
                </a:lnTo>
                <a:lnTo>
                  <a:pt x="3341" y="3105"/>
                </a:lnTo>
                <a:lnTo>
                  <a:pt x="3341" y="3105"/>
                </a:lnTo>
                <a:lnTo>
                  <a:pt x="3355" y="3113"/>
                </a:lnTo>
                <a:lnTo>
                  <a:pt x="3371" y="3121"/>
                </a:lnTo>
                <a:lnTo>
                  <a:pt x="3411" y="3139"/>
                </a:lnTo>
                <a:lnTo>
                  <a:pt x="3435" y="3152"/>
                </a:lnTo>
                <a:lnTo>
                  <a:pt x="3461" y="3167"/>
                </a:lnTo>
                <a:lnTo>
                  <a:pt x="3492" y="3186"/>
                </a:lnTo>
                <a:lnTo>
                  <a:pt x="3527" y="3211"/>
                </a:lnTo>
                <a:lnTo>
                  <a:pt x="3527" y="3211"/>
                </a:lnTo>
                <a:lnTo>
                  <a:pt x="3545" y="3226"/>
                </a:lnTo>
                <a:lnTo>
                  <a:pt x="3563" y="3244"/>
                </a:lnTo>
                <a:lnTo>
                  <a:pt x="3580" y="3263"/>
                </a:lnTo>
                <a:lnTo>
                  <a:pt x="3595" y="3284"/>
                </a:lnTo>
                <a:lnTo>
                  <a:pt x="3608" y="3305"/>
                </a:lnTo>
                <a:lnTo>
                  <a:pt x="3622" y="3329"/>
                </a:lnTo>
                <a:lnTo>
                  <a:pt x="3634" y="3352"/>
                </a:lnTo>
                <a:lnTo>
                  <a:pt x="3645" y="3378"/>
                </a:lnTo>
                <a:lnTo>
                  <a:pt x="3655" y="3404"/>
                </a:lnTo>
                <a:lnTo>
                  <a:pt x="3665" y="3432"/>
                </a:lnTo>
                <a:lnTo>
                  <a:pt x="3674" y="3460"/>
                </a:lnTo>
                <a:lnTo>
                  <a:pt x="3682" y="3489"/>
                </a:lnTo>
                <a:lnTo>
                  <a:pt x="3698" y="3549"/>
                </a:lnTo>
                <a:lnTo>
                  <a:pt x="3714" y="3612"/>
                </a:lnTo>
                <a:lnTo>
                  <a:pt x="3714" y="3612"/>
                </a:lnTo>
                <a:lnTo>
                  <a:pt x="3725" y="3662"/>
                </a:lnTo>
                <a:lnTo>
                  <a:pt x="3734" y="3715"/>
                </a:lnTo>
                <a:lnTo>
                  <a:pt x="3742" y="3768"/>
                </a:lnTo>
                <a:lnTo>
                  <a:pt x="3744" y="3795"/>
                </a:lnTo>
                <a:lnTo>
                  <a:pt x="3746" y="3819"/>
                </a:lnTo>
                <a:lnTo>
                  <a:pt x="3748" y="3844"/>
                </a:lnTo>
                <a:lnTo>
                  <a:pt x="3749" y="3867"/>
                </a:lnTo>
                <a:lnTo>
                  <a:pt x="3748" y="3889"/>
                </a:lnTo>
                <a:lnTo>
                  <a:pt x="3745" y="3909"/>
                </a:lnTo>
                <a:lnTo>
                  <a:pt x="3742" y="3928"/>
                </a:lnTo>
                <a:lnTo>
                  <a:pt x="3737" y="3944"/>
                </a:lnTo>
                <a:lnTo>
                  <a:pt x="3731" y="3957"/>
                </a:lnTo>
                <a:lnTo>
                  <a:pt x="3728" y="3963"/>
                </a:lnTo>
                <a:lnTo>
                  <a:pt x="3724" y="3969"/>
                </a:lnTo>
                <a:lnTo>
                  <a:pt x="3724" y="3969"/>
                </a:lnTo>
                <a:lnTo>
                  <a:pt x="3715" y="3979"/>
                </a:lnTo>
                <a:lnTo>
                  <a:pt x="3705" y="3989"/>
                </a:lnTo>
                <a:lnTo>
                  <a:pt x="3691" y="3998"/>
                </a:lnTo>
                <a:lnTo>
                  <a:pt x="3683" y="4003"/>
                </a:lnTo>
                <a:lnTo>
                  <a:pt x="3673" y="4008"/>
                </a:lnTo>
                <a:lnTo>
                  <a:pt x="3663" y="4014"/>
                </a:lnTo>
                <a:lnTo>
                  <a:pt x="3650" y="4019"/>
                </a:lnTo>
                <a:lnTo>
                  <a:pt x="3621" y="4028"/>
                </a:lnTo>
                <a:lnTo>
                  <a:pt x="3582" y="4038"/>
                </a:lnTo>
                <a:lnTo>
                  <a:pt x="3535" y="4048"/>
                </a:lnTo>
                <a:lnTo>
                  <a:pt x="3560" y="4171"/>
                </a:lnTo>
                <a:lnTo>
                  <a:pt x="3560" y="4171"/>
                </a:lnTo>
                <a:lnTo>
                  <a:pt x="3579" y="4172"/>
                </a:lnTo>
                <a:lnTo>
                  <a:pt x="3597" y="4172"/>
                </a:lnTo>
                <a:lnTo>
                  <a:pt x="3615" y="4171"/>
                </a:lnTo>
                <a:lnTo>
                  <a:pt x="3631" y="4169"/>
                </a:lnTo>
                <a:lnTo>
                  <a:pt x="3646" y="4167"/>
                </a:lnTo>
                <a:lnTo>
                  <a:pt x="3662" y="4164"/>
                </a:lnTo>
                <a:lnTo>
                  <a:pt x="3688" y="4157"/>
                </a:lnTo>
                <a:lnTo>
                  <a:pt x="3711" y="4150"/>
                </a:lnTo>
                <a:lnTo>
                  <a:pt x="3728" y="4143"/>
                </a:lnTo>
                <a:lnTo>
                  <a:pt x="3742" y="4137"/>
                </a:lnTo>
                <a:lnTo>
                  <a:pt x="3742" y="4137"/>
                </a:lnTo>
                <a:lnTo>
                  <a:pt x="3736" y="4143"/>
                </a:lnTo>
                <a:lnTo>
                  <a:pt x="3730" y="4151"/>
                </a:lnTo>
                <a:lnTo>
                  <a:pt x="3722" y="4161"/>
                </a:lnTo>
                <a:lnTo>
                  <a:pt x="3722" y="4161"/>
                </a:lnTo>
                <a:lnTo>
                  <a:pt x="3711" y="4177"/>
                </a:lnTo>
                <a:lnTo>
                  <a:pt x="3700" y="4194"/>
                </a:lnTo>
                <a:lnTo>
                  <a:pt x="3692" y="4209"/>
                </a:lnTo>
                <a:lnTo>
                  <a:pt x="3685" y="4224"/>
                </a:lnTo>
                <a:lnTo>
                  <a:pt x="3680" y="4240"/>
                </a:lnTo>
                <a:lnTo>
                  <a:pt x="3675" y="4257"/>
                </a:lnTo>
                <a:lnTo>
                  <a:pt x="3672" y="4274"/>
                </a:lnTo>
                <a:lnTo>
                  <a:pt x="3669" y="4295"/>
                </a:lnTo>
                <a:lnTo>
                  <a:pt x="3799" y="4379"/>
                </a:lnTo>
                <a:lnTo>
                  <a:pt x="3799" y="4379"/>
                </a:lnTo>
                <a:lnTo>
                  <a:pt x="3812" y="4338"/>
                </a:lnTo>
                <a:lnTo>
                  <a:pt x="3826" y="4298"/>
                </a:lnTo>
                <a:lnTo>
                  <a:pt x="3841" y="4262"/>
                </a:lnTo>
                <a:lnTo>
                  <a:pt x="3855" y="4229"/>
                </a:lnTo>
                <a:lnTo>
                  <a:pt x="3870" y="4202"/>
                </a:lnTo>
                <a:lnTo>
                  <a:pt x="3877" y="4189"/>
                </a:lnTo>
                <a:lnTo>
                  <a:pt x="3885" y="4179"/>
                </a:lnTo>
                <a:lnTo>
                  <a:pt x="3892" y="4170"/>
                </a:lnTo>
                <a:lnTo>
                  <a:pt x="3899" y="4163"/>
                </a:lnTo>
                <a:lnTo>
                  <a:pt x="3906" y="4158"/>
                </a:lnTo>
                <a:lnTo>
                  <a:pt x="3913" y="4154"/>
                </a:lnTo>
                <a:lnTo>
                  <a:pt x="3913" y="4154"/>
                </a:lnTo>
                <a:lnTo>
                  <a:pt x="3919" y="4152"/>
                </a:lnTo>
                <a:lnTo>
                  <a:pt x="3926" y="4152"/>
                </a:lnTo>
                <a:lnTo>
                  <a:pt x="3935" y="4152"/>
                </a:lnTo>
                <a:lnTo>
                  <a:pt x="3944" y="4153"/>
                </a:lnTo>
                <a:lnTo>
                  <a:pt x="3954" y="4155"/>
                </a:lnTo>
                <a:lnTo>
                  <a:pt x="3965" y="4157"/>
                </a:lnTo>
                <a:lnTo>
                  <a:pt x="3990" y="4166"/>
                </a:lnTo>
                <a:lnTo>
                  <a:pt x="4017" y="4177"/>
                </a:lnTo>
                <a:lnTo>
                  <a:pt x="4047" y="4192"/>
                </a:lnTo>
                <a:lnTo>
                  <a:pt x="4078" y="4212"/>
                </a:lnTo>
                <a:lnTo>
                  <a:pt x="4110" y="4233"/>
                </a:lnTo>
                <a:lnTo>
                  <a:pt x="4127" y="4246"/>
                </a:lnTo>
                <a:lnTo>
                  <a:pt x="4143" y="4259"/>
                </a:lnTo>
                <a:lnTo>
                  <a:pt x="4160" y="4273"/>
                </a:lnTo>
                <a:lnTo>
                  <a:pt x="4176" y="4288"/>
                </a:lnTo>
                <a:lnTo>
                  <a:pt x="4192" y="4303"/>
                </a:lnTo>
                <a:lnTo>
                  <a:pt x="4208" y="4319"/>
                </a:lnTo>
                <a:lnTo>
                  <a:pt x="4224" y="4337"/>
                </a:lnTo>
                <a:lnTo>
                  <a:pt x="4239" y="4355"/>
                </a:lnTo>
                <a:lnTo>
                  <a:pt x="4254" y="4373"/>
                </a:lnTo>
                <a:lnTo>
                  <a:pt x="4268" y="4393"/>
                </a:lnTo>
                <a:lnTo>
                  <a:pt x="4282" y="4413"/>
                </a:lnTo>
                <a:lnTo>
                  <a:pt x="4296" y="4435"/>
                </a:lnTo>
                <a:lnTo>
                  <a:pt x="4308" y="4456"/>
                </a:lnTo>
                <a:lnTo>
                  <a:pt x="4320" y="4479"/>
                </a:lnTo>
                <a:lnTo>
                  <a:pt x="4331" y="4502"/>
                </a:lnTo>
                <a:lnTo>
                  <a:pt x="4342" y="4527"/>
                </a:lnTo>
                <a:lnTo>
                  <a:pt x="4342" y="4527"/>
                </a:lnTo>
                <a:lnTo>
                  <a:pt x="4347" y="4541"/>
                </a:lnTo>
                <a:lnTo>
                  <a:pt x="4352" y="4558"/>
                </a:lnTo>
                <a:lnTo>
                  <a:pt x="4356" y="4574"/>
                </a:lnTo>
                <a:lnTo>
                  <a:pt x="4360" y="4591"/>
                </a:lnTo>
                <a:lnTo>
                  <a:pt x="4363" y="4610"/>
                </a:lnTo>
                <a:lnTo>
                  <a:pt x="4366" y="4628"/>
                </a:lnTo>
                <a:lnTo>
                  <a:pt x="4370" y="4667"/>
                </a:lnTo>
                <a:lnTo>
                  <a:pt x="4372" y="4706"/>
                </a:lnTo>
                <a:lnTo>
                  <a:pt x="4371" y="4747"/>
                </a:lnTo>
                <a:lnTo>
                  <a:pt x="4370" y="4767"/>
                </a:lnTo>
                <a:lnTo>
                  <a:pt x="4369" y="4787"/>
                </a:lnTo>
                <a:lnTo>
                  <a:pt x="4366" y="4807"/>
                </a:lnTo>
                <a:lnTo>
                  <a:pt x="4363" y="4826"/>
                </a:lnTo>
                <a:lnTo>
                  <a:pt x="4360" y="4846"/>
                </a:lnTo>
                <a:lnTo>
                  <a:pt x="4356" y="4864"/>
                </a:lnTo>
                <a:lnTo>
                  <a:pt x="4351" y="4883"/>
                </a:lnTo>
                <a:lnTo>
                  <a:pt x="4345" y="4900"/>
                </a:lnTo>
                <a:lnTo>
                  <a:pt x="4339" y="4917"/>
                </a:lnTo>
                <a:lnTo>
                  <a:pt x="4332" y="4933"/>
                </a:lnTo>
                <a:lnTo>
                  <a:pt x="4324" y="4948"/>
                </a:lnTo>
                <a:lnTo>
                  <a:pt x="4316" y="4962"/>
                </a:lnTo>
                <a:lnTo>
                  <a:pt x="4307" y="4976"/>
                </a:lnTo>
                <a:lnTo>
                  <a:pt x="4298" y="4988"/>
                </a:lnTo>
                <a:lnTo>
                  <a:pt x="4287" y="4999"/>
                </a:lnTo>
                <a:lnTo>
                  <a:pt x="4276" y="5008"/>
                </a:lnTo>
                <a:lnTo>
                  <a:pt x="4264" y="5017"/>
                </a:lnTo>
                <a:lnTo>
                  <a:pt x="4252" y="5024"/>
                </a:lnTo>
                <a:lnTo>
                  <a:pt x="4238" y="5029"/>
                </a:lnTo>
                <a:lnTo>
                  <a:pt x="4224" y="5032"/>
                </a:lnTo>
                <a:lnTo>
                  <a:pt x="4224" y="5032"/>
                </a:lnTo>
                <a:lnTo>
                  <a:pt x="4216" y="5033"/>
                </a:lnTo>
                <a:lnTo>
                  <a:pt x="4208" y="5033"/>
                </a:lnTo>
                <a:lnTo>
                  <a:pt x="4198" y="5032"/>
                </a:lnTo>
                <a:lnTo>
                  <a:pt x="4188" y="5030"/>
                </a:lnTo>
                <a:lnTo>
                  <a:pt x="4168" y="5025"/>
                </a:lnTo>
                <a:lnTo>
                  <a:pt x="4145" y="5017"/>
                </a:lnTo>
                <a:lnTo>
                  <a:pt x="4123" y="5006"/>
                </a:lnTo>
                <a:lnTo>
                  <a:pt x="4099" y="4995"/>
                </a:lnTo>
                <a:lnTo>
                  <a:pt x="4051" y="4973"/>
                </a:lnTo>
                <a:lnTo>
                  <a:pt x="4028" y="4961"/>
                </a:lnTo>
                <a:lnTo>
                  <a:pt x="4005" y="4952"/>
                </a:lnTo>
                <a:lnTo>
                  <a:pt x="3984" y="4945"/>
                </a:lnTo>
                <a:lnTo>
                  <a:pt x="3964" y="4940"/>
                </a:lnTo>
                <a:lnTo>
                  <a:pt x="3955" y="4939"/>
                </a:lnTo>
                <a:lnTo>
                  <a:pt x="3947" y="4938"/>
                </a:lnTo>
                <a:lnTo>
                  <a:pt x="3939" y="4939"/>
                </a:lnTo>
                <a:lnTo>
                  <a:pt x="3932" y="4940"/>
                </a:lnTo>
                <a:lnTo>
                  <a:pt x="3924" y="4943"/>
                </a:lnTo>
                <a:lnTo>
                  <a:pt x="3919" y="4947"/>
                </a:lnTo>
                <a:lnTo>
                  <a:pt x="3914" y="4952"/>
                </a:lnTo>
                <a:lnTo>
                  <a:pt x="3909" y="4958"/>
                </a:lnTo>
                <a:lnTo>
                  <a:pt x="3909" y="4958"/>
                </a:lnTo>
                <a:lnTo>
                  <a:pt x="3905" y="4965"/>
                </a:lnTo>
                <a:lnTo>
                  <a:pt x="3900" y="4973"/>
                </a:lnTo>
                <a:lnTo>
                  <a:pt x="3893" y="4979"/>
                </a:lnTo>
                <a:lnTo>
                  <a:pt x="3886" y="4985"/>
                </a:lnTo>
                <a:lnTo>
                  <a:pt x="3869" y="4996"/>
                </a:lnTo>
                <a:lnTo>
                  <a:pt x="3851" y="5006"/>
                </a:lnTo>
                <a:lnTo>
                  <a:pt x="3810" y="5028"/>
                </a:lnTo>
                <a:lnTo>
                  <a:pt x="3789" y="5039"/>
                </a:lnTo>
                <a:lnTo>
                  <a:pt x="3770" y="5052"/>
                </a:lnTo>
                <a:lnTo>
                  <a:pt x="3761" y="5058"/>
                </a:lnTo>
                <a:lnTo>
                  <a:pt x="3752" y="5067"/>
                </a:lnTo>
                <a:lnTo>
                  <a:pt x="3743" y="5074"/>
                </a:lnTo>
                <a:lnTo>
                  <a:pt x="3735" y="5083"/>
                </a:lnTo>
                <a:lnTo>
                  <a:pt x="3728" y="5092"/>
                </a:lnTo>
                <a:lnTo>
                  <a:pt x="3722" y="5102"/>
                </a:lnTo>
                <a:lnTo>
                  <a:pt x="3717" y="5113"/>
                </a:lnTo>
                <a:lnTo>
                  <a:pt x="3713" y="5125"/>
                </a:lnTo>
                <a:lnTo>
                  <a:pt x="3710" y="5137"/>
                </a:lnTo>
                <a:lnTo>
                  <a:pt x="3708" y="5151"/>
                </a:lnTo>
                <a:lnTo>
                  <a:pt x="3707" y="5165"/>
                </a:lnTo>
                <a:lnTo>
                  <a:pt x="3707" y="5181"/>
                </a:lnTo>
                <a:lnTo>
                  <a:pt x="3709" y="5198"/>
                </a:lnTo>
                <a:lnTo>
                  <a:pt x="3713" y="5215"/>
                </a:lnTo>
                <a:lnTo>
                  <a:pt x="3718" y="5234"/>
                </a:lnTo>
                <a:lnTo>
                  <a:pt x="3724" y="5255"/>
                </a:lnTo>
                <a:lnTo>
                  <a:pt x="3724" y="5255"/>
                </a:lnTo>
                <a:lnTo>
                  <a:pt x="3741" y="5234"/>
                </a:lnTo>
                <a:lnTo>
                  <a:pt x="3759" y="5213"/>
                </a:lnTo>
                <a:lnTo>
                  <a:pt x="3776" y="5194"/>
                </a:lnTo>
                <a:lnTo>
                  <a:pt x="3794" y="5178"/>
                </a:lnTo>
                <a:lnTo>
                  <a:pt x="3802" y="5171"/>
                </a:lnTo>
                <a:lnTo>
                  <a:pt x="3811" y="5165"/>
                </a:lnTo>
                <a:lnTo>
                  <a:pt x="3819" y="5159"/>
                </a:lnTo>
                <a:lnTo>
                  <a:pt x="3827" y="5155"/>
                </a:lnTo>
                <a:lnTo>
                  <a:pt x="3835" y="5153"/>
                </a:lnTo>
                <a:lnTo>
                  <a:pt x="3843" y="5151"/>
                </a:lnTo>
                <a:lnTo>
                  <a:pt x="3850" y="5151"/>
                </a:lnTo>
                <a:lnTo>
                  <a:pt x="3857" y="5153"/>
                </a:lnTo>
                <a:lnTo>
                  <a:pt x="3857" y="5153"/>
                </a:lnTo>
                <a:lnTo>
                  <a:pt x="3861" y="5155"/>
                </a:lnTo>
                <a:lnTo>
                  <a:pt x="3864" y="5157"/>
                </a:lnTo>
                <a:lnTo>
                  <a:pt x="3870" y="5163"/>
                </a:lnTo>
                <a:lnTo>
                  <a:pt x="3875" y="5171"/>
                </a:lnTo>
                <a:lnTo>
                  <a:pt x="3879" y="5179"/>
                </a:lnTo>
                <a:lnTo>
                  <a:pt x="3888" y="5200"/>
                </a:lnTo>
                <a:lnTo>
                  <a:pt x="3894" y="5210"/>
                </a:lnTo>
                <a:lnTo>
                  <a:pt x="3901" y="5220"/>
                </a:lnTo>
                <a:lnTo>
                  <a:pt x="3901" y="5220"/>
                </a:lnTo>
                <a:lnTo>
                  <a:pt x="3904" y="5223"/>
                </a:lnTo>
                <a:lnTo>
                  <a:pt x="3908" y="5225"/>
                </a:lnTo>
                <a:lnTo>
                  <a:pt x="3913" y="5227"/>
                </a:lnTo>
                <a:lnTo>
                  <a:pt x="3919" y="5228"/>
                </a:lnTo>
                <a:lnTo>
                  <a:pt x="3934" y="5230"/>
                </a:lnTo>
                <a:lnTo>
                  <a:pt x="3950" y="5230"/>
                </a:lnTo>
                <a:lnTo>
                  <a:pt x="3968" y="5229"/>
                </a:lnTo>
                <a:lnTo>
                  <a:pt x="3989" y="5227"/>
                </a:lnTo>
                <a:lnTo>
                  <a:pt x="4032" y="5223"/>
                </a:lnTo>
                <a:lnTo>
                  <a:pt x="4074" y="5219"/>
                </a:lnTo>
                <a:lnTo>
                  <a:pt x="4093" y="5217"/>
                </a:lnTo>
                <a:lnTo>
                  <a:pt x="4110" y="5217"/>
                </a:lnTo>
                <a:lnTo>
                  <a:pt x="4126" y="5217"/>
                </a:lnTo>
                <a:lnTo>
                  <a:pt x="4137" y="5219"/>
                </a:lnTo>
                <a:lnTo>
                  <a:pt x="4142" y="5221"/>
                </a:lnTo>
                <a:lnTo>
                  <a:pt x="4146" y="5223"/>
                </a:lnTo>
                <a:lnTo>
                  <a:pt x="4148" y="5225"/>
                </a:lnTo>
                <a:lnTo>
                  <a:pt x="4150" y="5228"/>
                </a:lnTo>
                <a:lnTo>
                  <a:pt x="4150" y="5228"/>
                </a:lnTo>
                <a:lnTo>
                  <a:pt x="4151" y="5231"/>
                </a:lnTo>
                <a:lnTo>
                  <a:pt x="4150" y="5234"/>
                </a:lnTo>
                <a:lnTo>
                  <a:pt x="4149" y="5236"/>
                </a:lnTo>
                <a:lnTo>
                  <a:pt x="4148" y="5238"/>
                </a:lnTo>
                <a:lnTo>
                  <a:pt x="4143" y="5242"/>
                </a:lnTo>
                <a:lnTo>
                  <a:pt x="4136" y="5243"/>
                </a:lnTo>
                <a:lnTo>
                  <a:pt x="4118" y="5246"/>
                </a:lnTo>
                <a:lnTo>
                  <a:pt x="4100" y="5248"/>
                </a:lnTo>
                <a:lnTo>
                  <a:pt x="4100" y="5248"/>
                </a:lnTo>
                <a:lnTo>
                  <a:pt x="4021" y="5262"/>
                </a:lnTo>
                <a:lnTo>
                  <a:pt x="3981" y="5269"/>
                </a:lnTo>
                <a:lnTo>
                  <a:pt x="3943" y="5277"/>
                </a:lnTo>
                <a:lnTo>
                  <a:pt x="3925" y="5282"/>
                </a:lnTo>
                <a:lnTo>
                  <a:pt x="3909" y="5288"/>
                </a:lnTo>
                <a:lnTo>
                  <a:pt x="3894" y="5294"/>
                </a:lnTo>
                <a:lnTo>
                  <a:pt x="3881" y="5300"/>
                </a:lnTo>
                <a:lnTo>
                  <a:pt x="3869" y="5306"/>
                </a:lnTo>
                <a:lnTo>
                  <a:pt x="3860" y="5314"/>
                </a:lnTo>
                <a:lnTo>
                  <a:pt x="3853" y="5322"/>
                </a:lnTo>
                <a:lnTo>
                  <a:pt x="3850" y="5326"/>
                </a:lnTo>
                <a:lnTo>
                  <a:pt x="3848" y="5331"/>
                </a:lnTo>
                <a:lnTo>
                  <a:pt x="3848" y="5331"/>
                </a:lnTo>
                <a:lnTo>
                  <a:pt x="3846" y="5338"/>
                </a:lnTo>
                <a:lnTo>
                  <a:pt x="3846" y="5342"/>
                </a:lnTo>
                <a:lnTo>
                  <a:pt x="3847" y="5352"/>
                </a:lnTo>
                <a:lnTo>
                  <a:pt x="3847" y="5357"/>
                </a:lnTo>
                <a:lnTo>
                  <a:pt x="3846" y="5363"/>
                </a:lnTo>
                <a:lnTo>
                  <a:pt x="3845" y="5371"/>
                </a:lnTo>
                <a:lnTo>
                  <a:pt x="3842" y="5382"/>
                </a:lnTo>
                <a:lnTo>
                  <a:pt x="3842" y="5382"/>
                </a:lnTo>
                <a:lnTo>
                  <a:pt x="3837" y="5393"/>
                </a:lnTo>
                <a:lnTo>
                  <a:pt x="3831" y="5402"/>
                </a:lnTo>
                <a:lnTo>
                  <a:pt x="3823" y="5410"/>
                </a:lnTo>
                <a:lnTo>
                  <a:pt x="3815" y="5418"/>
                </a:lnTo>
                <a:lnTo>
                  <a:pt x="3796" y="5434"/>
                </a:lnTo>
                <a:lnTo>
                  <a:pt x="3786" y="5442"/>
                </a:lnTo>
                <a:lnTo>
                  <a:pt x="3776" y="5451"/>
                </a:lnTo>
                <a:lnTo>
                  <a:pt x="3767" y="5460"/>
                </a:lnTo>
                <a:lnTo>
                  <a:pt x="3758" y="5472"/>
                </a:lnTo>
                <a:lnTo>
                  <a:pt x="3750" y="5485"/>
                </a:lnTo>
                <a:lnTo>
                  <a:pt x="3742" y="5499"/>
                </a:lnTo>
                <a:lnTo>
                  <a:pt x="3736" y="5517"/>
                </a:lnTo>
                <a:lnTo>
                  <a:pt x="3732" y="5536"/>
                </a:lnTo>
                <a:lnTo>
                  <a:pt x="3730" y="5558"/>
                </a:lnTo>
                <a:lnTo>
                  <a:pt x="3730" y="5584"/>
                </a:lnTo>
                <a:lnTo>
                  <a:pt x="3730" y="5584"/>
                </a:lnTo>
                <a:lnTo>
                  <a:pt x="3732" y="5597"/>
                </a:lnTo>
                <a:lnTo>
                  <a:pt x="3735" y="5610"/>
                </a:lnTo>
                <a:lnTo>
                  <a:pt x="3739" y="5622"/>
                </a:lnTo>
                <a:lnTo>
                  <a:pt x="3744" y="5634"/>
                </a:lnTo>
                <a:lnTo>
                  <a:pt x="3751" y="5644"/>
                </a:lnTo>
                <a:lnTo>
                  <a:pt x="3757" y="5656"/>
                </a:lnTo>
                <a:lnTo>
                  <a:pt x="3763" y="5665"/>
                </a:lnTo>
                <a:lnTo>
                  <a:pt x="3770" y="5674"/>
                </a:lnTo>
                <a:lnTo>
                  <a:pt x="3784" y="5689"/>
                </a:lnTo>
                <a:lnTo>
                  <a:pt x="3797" y="5701"/>
                </a:lnTo>
                <a:lnTo>
                  <a:pt x="3807" y="5708"/>
                </a:lnTo>
                <a:lnTo>
                  <a:pt x="3810" y="5710"/>
                </a:lnTo>
                <a:lnTo>
                  <a:pt x="3813" y="5711"/>
                </a:lnTo>
                <a:lnTo>
                  <a:pt x="3813" y="5711"/>
                </a:lnTo>
                <a:lnTo>
                  <a:pt x="3814" y="5710"/>
                </a:lnTo>
                <a:lnTo>
                  <a:pt x="3815" y="5709"/>
                </a:lnTo>
                <a:lnTo>
                  <a:pt x="3816" y="5704"/>
                </a:lnTo>
                <a:lnTo>
                  <a:pt x="3818" y="5696"/>
                </a:lnTo>
                <a:lnTo>
                  <a:pt x="3818" y="5686"/>
                </a:lnTo>
                <a:lnTo>
                  <a:pt x="3820" y="5662"/>
                </a:lnTo>
                <a:lnTo>
                  <a:pt x="3823" y="5633"/>
                </a:lnTo>
                <a:lnTo>
                  <a:pt x="3825" y="5619"/>
                </a:lnTo>
                <a:lnTo>
                  <a:pt x="3828" y="5603"/>
                </a:lnTo>
                <a:lnTo>
                  <a:pt x="3831" y="5590"/>
                </a:lnTo>
                <a:lnTo>
                  <a:pt x="3836" y="5577"/>
                </a:lnTo>
                <a:lnTo>
                  <a:pt x="3843" y="5566"/>
                </a:lnTo>
                <a:lnTo>
                  <a:pt x="3847" y="5562"/>
                </a:lnTo>
                <a:lnTo>
                  <a:pt x="3851" y="5556"/>
                </a:lnTo>
                <a:lnTo>
                  <a:pt x="3855" y="5553"/>
                </a:lnTo>
                <a:lnTo>
                  <a:pt x="3860" y="5550"/>
                </a:lnTo>
                <a:lnTo>
                  <a:pt x="3865" y="5547"/>
                </a:lnTo>
                <a:lnTo>
                  <a:pt x="3871" y="5546"/>
                </a:lnTo>
                <a:lnTo>
                  <a:pt x="3871" y="5546"/>
                </a:lnTo>
                <a:lnTo>
                  <a:pt x="3877" y="5545"/>
                </a:lnTo>
                <a:lnTo>
                  <a:pt x="3882" y="5546"/>
                </a:lnTo>
                <a:lnTo>
                  <a:pt x="3888" y="5548"/>
                </a:lnTo>
                <a:lnTo>
                  <a:pt x="3892" y="5552"/>
                </a:lnTo>
                <a:lnTo>
                  <a:pt x="3902" y="5561"/>
                </a:lnTo>
                <a:lnTo>
                  <a:pt x="3911" y="5571"/>
                </a:lnTo>
                <a:lnTo>
                  <a:pt x="3921" y="5581"/>
                </a:lnTo>
                <a:lnTo>
                  <a:pt x="3926" y="5586"/>
                </a:lnTo>
                <a:lnTo>
                  <a:pt x="3933" y="5590"/>
                </a:lnTo>
                <a:lnTo>
                  <a:pt x="3940" y="5594"/>
                </a:lnTo>
                <a:lnTo>
                  <a:pt x="3946" y="5597"/>
                </a:lnTo>
                <a:lnTo>
                  <a:pt x="3954" y="5598"/>
                </a:lnTo>
                <a:lnTo>
                  <a:pt x="3962" y="5599"/>
                </a:lnTo>
                <a:lnTo>
                  <a:pt x="3962" y="5599"/>
                </a:lnTo>
                <a:lnTo>
                  <a:pt x="3970" y="5598"/>
                </a:lnTo>
                <a:lnTo>
                  <a:pt x="3979" y="5595"/>
                </a:lnTo>
                <a:lnTo>
                  <a:pt x="3987" y="5592"/>
                </a:lnTo>
                <a:lnTo>
                  <a:pt x="3996" y="5588"/>
                </a:lnTo>
                <a:lnTo>
                  <a:pt x="4005" y="5582"/>
                </a:lnTo>
                <a:lnTo>
                  <a:pt x="4014" y="5576"/>
                </a:lnTo>
                <a:lnTo>
                  <a:pt x="4035" y="5559"/>
                </a:lnTo>
                <a:lnTo>
                  <a:pt x="4055" y="5542"/>
                </a:lnTo>
                <a:lnTo>
                  <a:pt x="4077" y="5522"/>
                </a:lnTo>
                <a:lnTo>
                  <a:pt x="4122" y="5479"/>
                </a:lnTo>
                <a:lnTo>
                  <a:pt x="4144" y="5457"/>
                </a:lnTo>
                <a:lnTo>
                  <a:pt x="4166" y="5437"/>
                </a:lnTo>
                <a:lnTo>
                  <a:pt x="4187" y="5417"/>
                </a:lnTo>
                <a:lnTo>
                  <a:pt x="4208" y="5402"/>
                </a:lnTo>
                <a:lnTo>
                  <a:pt x="4227" y="5389"/>
                </a:lnTo>
                <a:lnTo>
                  <a:pt x="4236" y="5384"/>
                </a:lnTo>
                <a:lnTo>
                  <a:pt x="4245" y="5380"/>
                </a:lnTo>
                <a:lnTo>
                  <a:pt x="4254" y="5376"/>
                </a:lnTo>
                <a:lnTo>
                  <a:pt x="4262" y="5374"/>
                </a:lnTo>
                <a:lnTo>
                  <a:pt x="4270" y="5374"/>
                </a:lnTo>
                <a:lnTo>
                  <a:pt x="4277" y="5375"/>
                </a:lnTo>
                <a:lnTo>
                  <a:pt x="4277" y="5375"/>
                </a:lnTo>
                <a:lnTo>
                  <a:pt x="4278" y="5376"/>
                </a:lnTo>
                <a:lnTo>
                  <a:pt x="4279" y="5379"/>
                </a:lnTo>
                <a:lnTo>
                  <a:pt x="4278" y="5382"/>
                </a:lnTo>
                <a:lnTo>
                  <a:pt x="4277" y="5384"/>
                </a:lnTo>
                <a:lnTo>
                  <a:pt x="4272" y="5391"/>
                </a:lnTo>
                <a:lnTo>
                  <a:pt x="4264" y="5399"/>
                </a:lnTo>
                <a:lnTo>
                  <a:pt x="4241" y="5420"/>
                </a:lnTo>
                <a:lnTo>
                  <a:pt x="4212" y="5447"/>
                </a:lnTo>
                <a:lnTo>
                  <a:pt x="4181" y="5477"/>
                </a:lnTo>
                <a:lnTo>
                  <a:pt x="4167" y="5492"/>
                </a:lnTo>
                <a:lnTo>
                  <a:pt x="4152" y="5508"/>
                </a:lnTo>
                <a:lnTo>
                  <a:pt x="4140" y="5525"/>
                </a:lnTo>
                <a:lnTo>
                  <a:pt x="4129" y="5542"/>
                </a:lnTo>
                <a:lnTo>
                  <a:pt x="4121" y="5558"/>
                </a:lnTo>
                <a:lnTo>
                  <a:pt x="4118" y="5567"/>
                </a:lnTo>
                <a:lnTo>
                  <a:pt x="4116" y="5576"/>
                </a:lnTo>
                <a:lnTo>
                  <a:pt x="4116" y="5576"/>
                </a:lnTo>
                <a:lnTo>
                  <a:pt x="4114" y="5588"/>
                </a:lnTo>
                <a:lnTo>
                  <a:pt x="4114" y="5599"/>
                </a:lnTo>
                <a:lnTo>
                  <a:pt x="4115" y="5611"/>
                </a:lnTo>
                <a:lnTo>
                  <a:pt x="4119" y="5620"/>
                </a:lnTo>
                <a:lnTo>
                  <a:pt x="4123" y="5628"/>
                </a:lnTo>
                <a:lnTo>
                  <a:pt x="4129" y="5636"/>
                </a:lnTo>
                <a:lnTo>
                  <a:pt x="4135" y="5643"/>
                </a:lnTo>
                <a:lnTo>
                  <a:pt x="4142" y="5649"/>
                </a:lnTo>
                <a:lnTo>
                  <a:pt x="4157" y="5663"/>
                </a:lnTo>
                <a:lnTo>
                  <a:pt x="4163" y="5669"/>
                </a:lnTo>
                <a:lnTo>
                  <a:pt x="4169" y="5676"/>
                </a:lnTo>
                <a:lnTo>
                  <a:pt x="4175" y="5683"/>
                </a:lnTo>
                <a:lnTo>
                  <a:pt x="4179" y="5690"/>
                </a:lnTo>
                <a:lnTo>
                  <a:pt x="4182" y="5699"/>
                </a:lnTo>
                <a:lnTo>
                  <a:pt x="4183" y="5708"/>
                </a:lnTo>
                <a:lnTo>
                  <a:pt x="4183" y="5708"/>
                </a:lnTo>
                <a:lnTo>
                  <a:pt x="4184" y="5718"/>
                </a:lnTo>
                <a:lnTo>
                  <a:pt x="4186" y="5729"/>
                </a:lnTo>
                <a:lnTo>
                  <a:pt x="4189" y="5738"/>
                </a:lnTo>
                <a:lnTo>
                  <a:pt x="4193" y="5749"/>
                </a:lnTo>
                <a:lnTo>
                  <a:pt x="4198" y="5758"/>
                </a:lnTo>
                <a:lnTo>
                  <a:pt x="4205" y="5767"/>
                </a:lnTo>
                <a:lnTo>
                  <a:pt x="4212" y="5775"/>
                </a:lnTo>
                <a:lnTo>
                  <a:pt x="4220" y="5783"/>
                </a:lnTo>
                <a:lnTo>
                  <a:pt x="4228" y="5792"/>
                </a:lnTo>
                <a:lnTo>
                  <a:pt x="4237" y="5799"/>
                </a:lnTo>
                <a:lnTo>
                  <a:pt x="4257" y="5812"/>
                </a:lnTo>
                <a:lnTo>
                  <a:pt x="4278" y="5824"/>
                </a:lnTo>
                <a:lnTo>
                  <a:pt x="4300" y="5835"/>
                </a:lnTo>
                <a:lnTo>
                  <a:pt x="4322" y="5844"/>
                </a:lnTo>
                <a:lnTo>
                  <a:pt x="4344" y="5852"/>
                </a:lnTo>
                <a:lnTo>
                  <a:pt x="4364" y="5857"/>
                </a:lnTo>
                <a:lnTo>
                  <a:pt x="4382" y="5862"/>
                </a:lnTo>
                <a:lnTo>
                  <a:pt x="4399" y="5864"/>
                </a:lnTo>
                <a:lnTo>
                  <a:pt x="4412" y="5865"/>
                </a:lnTo>
                <a:lnTo>
                  <a:pt x="4421" y="5865"/>
                </a:lnTo>
                <a:lnTo>
                  <a:pt x="4424" y="5864"/>
                </a:lnTo>
                <a:lnTo>
                  <a:pt x="4426" y="5863"/>
                </a:lnTo>
                <a:lnTo>
                  <a:pt x="4426" y="5863"/>
                </a:lnTo>
                <a:lnTo>
                  <a:pt x="4427" y="5861"/>
                </a:lnTo>
                <a:lnTo>
                  <a:pt x="4427" y="5859"/>
                </a:lnTo>
                <a:lnTo>
                  <a:pt x="4425" y="5853"/>
                </a:lnTo>
                <a:lnTo>
                  <a:pt x="4420" y="5846"/>
                </a:lnTo>
                <a:lnTo>
                  <a:pt x="4412" y="5836"/>
                </a:lnTo>
                <a:lnTo>
                  <a:pt x="4393" y="5813"/>
                </a:lnTo>
                <a:lnTo>
                  <a:pt x="4369" y="5786"/>
                </a:lnTo>
                <a:lnTo>
                  <a:pt x="4358" y="5773"/>
                </a:lnTo>
                <a:lnTo>
                  <a:pt x="4348" y="5759"/>
                </a:lnTo>
                <a:lnTo>
                  <a:pt x="4339" y="5745"/>
                </a:lnTo>
                <a:lnTo>
                  <a:pt x="4330" y="5731"/>
                </a:lnTo>
                <a:lnTo>
                  <a:pt x="4325" y="5718"/>
                </a:lnTo>
                <a:lnTo>
                  <a:pt x="4324" y="5712"/>
                </a:lnTo>
                <a:lnTo>
                  <a:pt x="4323" y="5706"/>
                </a:lnTo>
                <a:lnTo>
                  <a:pt x="4323" y="5700"/>
                </a:lnTo>
                <a:lnTo>
                  <a:pt x="4324" y="5694"/>
                </a:lnTo>
                <a:lnTo>
                  <a:pt x="4326" y="5689"/>
                </a:lnTo>
                <a:lnTo>
                  <a:pt x="4329" y="5684"/>
                </a:lnTo>
                <a:lnTo>
                  <a:pt x="4329" y="5684"/>
                </a:lnTo>
                <a:lnTo>
                  <a:pt x="4333" y="5680"/>
                </a:lnTo>
                <a:lnTo>
                  <a:pt x="4337" y="5677"/>
                </a:lnTo>
                <a:lnTo>
                  <a:pt x="4343" y="5676"/>
                </a:lnTo>
                <a:lnTo>
                  <a:pt x="4347" y="5675"/>
                </a:lnTo>
                <a:lnTo>
                  <a:pt x="4352" y="5675"/>
                </a:lnTo>
                <a:lnTo>
                  <a:pt x="4358" y="5676"/>
                </a:lnTo>
                <a:lnTo>
                  <a:pt x="4370" y="5678"/>
                </a:lnTo>
                <a:lnTo>
                  <a:pt x="4384" y="5681"/>
                </a:lnTo>
                <a:lnTo>
                  <a:pt x="4392" y="5682"/>
                </a:lnTo>
                <a:lnTo>
                  <a:pt x="4399" y="5682"/>
                </a:lnTo>
                <a:lnTo>
                  <a:pt x="4408" y="5682"/>
                </a:lnTo>
                <a:lnTo>
                  <a:pt x="4416" y="5681"/>
                </a:lnTo>
                <a:lnTo>
                  <a:pt x="4425" y="5679"/>
                </a:lnTo>
                <a:lnTo>
                  <a:pt x="4436" y="5675"/>
                </a:lnTo>
                <a:lnTo>
                  <a:pt x="4436" y="5675"/>
                </a:lnTo>
                <a:lnTo>
                  <a:pt x="4437" y="5673"/>
                </a:lnTo>
                <a:lnTo>
                  <a:pt x="4438" y="5670"/>
                </a:lnTo>
                <a:lnTo>
                  <a:pt x="4438" y="5663"/>
                </a:lnTo>
                <a:lnTo>
                  <a:pt x="4436" y="5652"/>
                </a:lnTo>
                <a:lnTo>
                  <a:pt x="4434" y="5637"/>
                </a:lnTo>
                <a:lnTo>
                  <a:pt x="4431" y="5621"/>
                </a:lnTo>
                <a:lnTo>
                  <a:pt x="4428" y="5602"/>
                </a:lnTo>
                <a:lnTo>
                  <a:pt x="4426" y="5581"/>
                </a:lnTo>
                <a:lnTo>
                  <a:pt x="4426" y="5557"/>
                </a:lnTo>
                <a:lnTo>
                  <a:pt x="4428" y="5533"/>
                </a:lnTo>
                <a:lnTo>
                  <a:pt x="4431" y="5520"/>
                </a:lnTo>
                <a:lnTo>
                  <a:pt x="4434" y="5505"/>
                </a:lnTo>
                <a:lnTo>
                  <a:pt x="4437" y="5492"/>
                </a:lnTo>
                <a:lnTo>
                  <a:pt x="4441" y="5477"/>
                </a:lnTo>
                <a:lnTo>
                  <a:pt x="4446" y="5462"/>
                </a:lnTo>
                <a:lnTo>
                  <a:pt x="4453" y="5447"/>
                </a:lnTo>
                <a:lnTo>
                  <a:pt x="4460" y="5432"/>
                </a:lnTo>
                <a:lnTo>
                  <a:pt x="4469" y="5416"/>
                </a:lnTo>
                <a:lnTo>
                  <a:pt x="4479" y="5400"/>
                </a:lnTo>
                <a:lnTo>
                  <a:pt x="4490" y="5384"/>
                </a:lnTo>
                <a:lnTo>
                  <a:pt x="4503" y="5367"/>
                </a:lnTo>
                <a:lnTo>
                  <a:pt x="4516" y="5351"/>
                </a:lnTo>
                <a:lnTo>
                  <a:pt x="4533" y="5334"/>
                </a:lnTo>
                <a:lnTo>
                  <a:pt x="4550" y="5317"/>
                </a:lnTo>
                <a:lnTo>
                  <a:pt x="4550" y="5317"/>
                </a:lnTo>
                <a:lnTo>
                  <a:pt x="4557" y="5328"/>
                </a:lnTo>
                <a:lnTo>
                  <a:pt x="4566" y="5340"/>
                </a:lnTo>
                <a:lnTo>
                  <a:pt x="4578" y="5353"/>
                </a:lnTo>
                <a:lnTo>
                  <a:pt x="4586" y="5360"/>
                </a:lnTo>
                <a:lnTo>
                  <a:pt x="4594" y="5367"/>
                </a:lnTo>
                <a:lnTo>
                  <a:pt x="4603" y="5373"/>
                </a:lnTo>
                <a:lnTo>
                  <a:pt x="4614" y="5381"/>
                </a:lnTo>
                <a:lnTo>
                  <a:pt x="4624" y="5386"/>
                </a:lnTo>
                <a:lnTo>
                  <a:pt x="4636" y="5390"/>
                </a:lnTo>
                <a:lnTo>
                  <a:pt x="4648" y="5394"/>
                </a:lnTo>
                <a:lnTo>
                  <a:pt x="4662" y="5396"/>
                </a:lnTo>
                <a:lnTo>
                  <a:pt x="4662" y="5396"/>
                </a:lnTo>
                <a:lnTo>
                  <a:pt x="4668" y="5397"/>
                </a:lnTo>
                <a:lnTo>
                  <a:pt x="4673" y="5399"/>
                </a:lnTo>
                <a:lnTo>
                  <a:pt x="4677" y="5402"/>
                </a:lnTo>
                <a:lnTo>
                  <a:pt x="4681" y="5405"/>
                </a:lnTo>
                <a:lnTo>
                  <a:pt x="4685" y="5409"/>
                </a:lnTo>
                <a:lnTo>
                  <a:pt x="4688" y="5413"/>
                </a:lnTo>
                <a:lnTo>
                  <a:pt x="4692" y="5425"/>
                </a:lnTo>
                <a:lnTo>
                  <a:pt x="4696" y="5437"/>
                </a:lnTo>
                <a:lnTo>
                  <a:pt x="4698" y="5450"/>
                </a:lnTo>
                <a:lnTo>
                  <a:pt x="4698" y="5463"/>
                </a:lnTo>
                <a:lnTo>
                  <a:pt x="4698" y="5478"/>
                </a:lnTo>
                <a:lnTo>
                  <a:pt x="4696" y="5506"/>
                </a:lnTo>
                <a:lnTo>
                  <a:pt x="4694" y="5531"/>
                </a:lnTo>
                <a:lnTo>
                  <a:pt x="4692" y="5548"/>
                </a:lnTo>
                <a:lnTo>
                  <a:pt x="4692" y="5553"/>
                </a:lnTo>
                <a:lnTo>
                  <a:pt x="4693" y="5554"/>
                </a:lnTo>
                <a:lnTo>
                  <a:pt x="4694" y="5554"/>
                </a:lnTo>
                <a:lnTo>
                  <a:pt x="4694" y="5554"/>
                </a:lnTo>
                <a:lnTo>
                  <a:pt x="4697" y="5553"/>
                </a:lnTo>
                <a:lnTo>
                  <a:pt x="4702" y="5550"/>
                </a:lnTo>
                <a:lnTo>
                  <a:pt x="4708" y="5545"/>
                </a:lnTo>
                <a:lnTo>
                  <a:pt x="4714" y="5538"/>
                </a:lnTo>
                <a:lnTo>
                  <a:pt x="4721" y="5529"/>
                </a:lnTo>
                <a:lnTo>
                  <a:pt x="4729" y="5519"/>
                </a:lnTo>
                <a:lnTo>
                  <a:pt x="4736" y="5505"/>
                </a:lnTo>
                <a:lnTo>
                  <a:pt x="4743" y="5492"/>
                </a:lnTo>
                <a:lnTo>
                  <a:pt x="4751" y="5477"/>
                </a:lnTo>
                <a:lnTo>
                  <a:pt x="4758" y="5459"/>
                </a:lnTo>
                <a:lnTo>
                  <a:pt x="4763" y="5442"/>
                </a:lnTo>
                <a:lnTo>
                  <a:pt x="4768" y="5422"/>
                </a:lnTo>
                <a:lnTo>
                  <a:pt x="4771" y="5402"/>
                </a:lnTo>
                <a:lnTo>
                  <a:pt x="4773" y="5382"/>
                </a:lnTo>
                <a:lnTo>
                  <a:pt x="4772" y="5360"/>
                </a:lnTo>
                <a:lnTo>
                  <a:pt x="4770" y="5338"/>
                </a:lnTo>
                <a:lnTo>
                  <a:pt x="4770" y="5338"/>
                </a:lnTo>
                <a:lnTo>
                  <a:pt x="4778" y="5330"/>
                </a:lnTo>
                <a:lnTo>
                  <a:pt x="4798" y="5313"/>
                </a:lnTo>
                <a:lnTo>
                  <a:pt x="4809" y="5302"/>
                </a:lnTo>
                <a:lnTo>
                  <a:pt x="4819" y="5290"/>
                </a:lnTo>
                <a:lnTo>
                  <a:pt x="4827" y="5276"/>
                </a:lnTo>
                <a:lnTo>
                  <a:pt x="4830" y="5270"/>
                </a:lnTo>
                <a:lnTo>
                  <a:pt x="4832" y="5264"/>
                </a:lnTo>
                <a:lnTo>
                  <a:pt x="4832" y="5264"/>
                </a:lnTo>
                <a:lnTo>
                  <a:pt x="4834" y="5255"/>
                </a:lnTo>
                <a:lnTo>
                  <a:pt x="4835" y="5246"/>
                </a:lnTo>
                <a:lnTo>
                  <a:pt x="4836" y="5237"/>
                </a:lnTo>
                <a:lnTo>
                  <a:pt x="4835" y="5230"/>
                </a:lnTo>
                <a:lnTo>
                  <a:pt x="4834" y="5224"/>
                </a:lnTo>
                <a:lnTo>
                  <a:pt x="4832" y="5218"/>
                </a:lnTo>
                <a:lnTo>
                  <a:pt x="4830" y="5213"/>
                </a:lnTo>
                <a:lnTo>
                  <a:pt x="4827" y="5208"/>
                </a:lnTo>
                <a:lnTo>
                  <a:pt x="4819" y="5199"/>
                </a:lnTo>
                <a:lnTo>
                  <a:pt x="4810" y="5189"/>
                </a:lnTo>
                <a:lnTo>
                  <a:pt x="4800" y="5180"/>
                </a:lnTo>
                <a:lnTo>
                  <a:pt x="4789" y="5169"/>
                </a:lnTo>
                <a:lnTo>
                  <a:pt x="4778" y="5156"/>
                </a:lnTo>
                <a:lnTo>
                  <a:pt x="4772" y="5148"/>
                </a:lnTo>
                <a:lnTo>
                  <a:pt x="4767" y="5139"/>
                </a:lnTo>
                <a:lnTo>
                  <a:pt x="4762" y="5130"/>
                </a:lnTo>
                <a:lnTo>
                  <a:pt x="4757" y="5120"/>
                </a:lnTo>
                <a:lnTo>
                  <a:pt x="4753" y="5108"/>
                </a:lnTo>
                <a:lnTo>
                  <a:pt x="4749" y="5095"/>
                </a:lnTo>
                <a:lnTo>
                  <a:pt x="4744" y="5081"/>
                </a:lnTo>
                <a:lnTo>
                  <a:pt x="4741" y="5065"/>
                </a:lnTo>
                <a:lnTo>
                  <a:pt x="4738" y="5048"/>
                </a:lnTo>
                <a:lnTo>
                  <a:pt x="4736" y="5029"/>
                </a:lnTo>
                <a:lnTo>
                  <a:pt x="4735" y="5008"/>
                </a:lnTo>
                <a:lnTo>
                  <a:pt x="4734" y="4986"/>
                </a:lnTo>
                <a:lnTo>
                  <a:pt x="4734" y="4961"/>
                </a:lnTo>
                <a:lnTo>
                  <a:pt x="4735" y="4935"/>
                </a:lnTo>
                <a:lnTo>
                  <a:pt x="4735" y="4935"/>
                </a:lnTo>
                <a:lnTo>
                  <a:pt x="4735" y="4917"/>
                </a:lnTo>
                <a:lnTo>
                  <a:pt x="4734" y="4911"/>
                </a:lnTo>
                <a:lnTo>
                  <a:pt x="4733" y="4906"/>
                </a:lnTo>
                <a:lnTo>
                  <a:pt x="4731" y="4901"/>
                </a:lnTo>
                <a:lnTo>
                  <a:pt x="4729" y="4897"/>
                </a:lnTo>
                <a:lnTo>
                  <a:pt x="4727" y="4894"/>
                </a:lnTo>
                <a:lnTo>
                  <a:pt x="4724" y="4891"/>
                </a:lnTo>
                <a:lnTo>
                  <a:pt x="4716" y="4885"/>
                </a:lnTo>
                <a:lnTo>
                  <a:pt x="4706" y="4878"/>
                </a:lnTo>
                <a:lnTo>
                  <a:pt x="4693" y="4868"/>
                </a:lnTo>
                <a:lnTo>
                  <a:pt x="4679" y="4856"/>
                </a:lnTo>
                <a:lnTo>
                  <a:pt x="4679" y="4856"/>
                </a:lnTo>
                <a:lnTo>
                  <a:pt x="4671" y="4846"/>
                </a:lnTo>
                <a:lnTo>
                  <a:pt x="4664" y="4836"/>
                </a:lnTo>
                <a:lnTo>
                  <a:pt x="4659" y="4825"/>
                </a:lnTo>
                <a:lnTo>
                  <a:pt x="4655" y="4815"/>
                </a:lnTo>
                <a:lnTo>
                  <a:pt x="4654" y="4807"/>
                </a:lnTo>
                <a:lnTo>
                  <a:pt x="4654" y="4804"/>
                </a:lnTo>
                <a:lnTo>
                  <a:pt x="4654" y="4802"/>
                </a:lnTo>
                <a:lnTo>
                  <a:pt x="4657" y="4800"/>
                </a:lnTo>
                <a:lnTo>
                  <a:pt x="4659" y="4799"/>
                </a:lnTo>
                <a:lnTo>
                  <a:pt x="4661" y="4799"/>
                </a:lnTo>
                <a:lnTo>
                  <a:pt x="4665" y="4800"/>
                </a:lnTo>
                <a:lnTo>
                  <a:pt x="4665" y="4800"/>
                </a:lnTo>
                <a:lnTo>
                  <a:pt x="4679" y="4806"/>
                </a:lnTo>
                <a:lnTo>
                  <a:pt x="4693" y="4810"/>
                </a:lnTo>
                <a:lnTo>
                  <a:pt x="4708" y="4813"/>
                </a:lnTo>
                <a:lnTo>
                  <a:pt x="4723" y="4814"/>
                </a:lnTo>
                <a:lnTo>
                  <a:pt x="4737" y="4815"/>
                </a:lnTo>
                <a:lnTo>
                  <a:pt x="4752" y="4816"/>
                </a:lnTo>
                <a:lnTo>
                  <a:pt x="4765" y="4815"/>
                </a:lnTo>
                <a:lnTo>
                  <a:pt x="4778" y="4814"/>
                </a:lnTo>
                <a:lnTo>
                  <a:pt x="4802" y="4811"/>
                </a:lnTo>
                <a:lnTo>
                  <a:pt x="4819" y="4807"/>
                </a:lnTo>
                <a:lnTo>
                  <a:pt x="4835" y="4803"/>
                </a:lnTo>
                <a:lnTo>
                  <a:pt x="4835" y="4803"/>
                </a:lnTo>
                <a:lnTo>
                  <a:pt x="4844" y="4707"/>
                </a:lnTo>
                <a:lnTo>
                  <a:pt x="4849" y="4632"/>
                </a:lnTo>
                <a:lnTo>
                  <a:pt x="4851" y="4577"/>
                </a:lnTo>
                <a:lnTo>
                  <a:pt x="4851" y="4539"/>
                </a:lnTo>
                <a:lnTo>
                  <a:pt x="4849" y="4514"/>
                </a:lnTo>
                <a:lnTo>
                  <a:pt x="4847" y="4499"/>
                </a:lnTo>
                <a:lnTo>
                  <a:pt x="4845" y="4493"/>
                </a:lnTo>
                <a:lnTo>
                  <a:pt x="4844" y="4491"/>
                </a:lnTo>
                <a:lnTo>
                  <a:pt x="4844" y="4491"/>
                </a:lnTo>
                <a:lnTo>
                  <a:pt x="4825" y="4492"/>
                </a:lnTo>
                <a:lnTo>
                  <a:pt x="4808" y="4491"/>
                </a:lnTo>
                <a:lnTo>
                  <a:pt x="4791" y="4490"/>
                </a:lnTo>
                <a:lnTo>
                  <a:pt x="4776" y="4489"/>
                </a:lnTo>
                <a:lnTo>
                  <a:pt x="4763" y="4487"/>
                </a:lnTo>
                <a:lnTo>
                  <a:pt x="4750" y="4484"/>
                </a:lnTo>
                <a:lnTo>
                  <a:pt x="4737" y="4481"/>
                </a:lnTo>
                <a:lnTo>
                  <a:pt x="4726" y="4477"/>
                </a:lnTo>
                <a:lnTo>
                  <a:pt x="4716" y="4473"/>
                </a:lnTo>
                <a:lnTo>
                  <a:pt x="4707" y="4469"/>
                </a:lnTo>
                <a:lnTo>
                  <a:pt x="4698" y="4463"/>
                </a:lnTo>
                <a:lnTo>
                  <a:pt x="4690" y="4458"/>
                </a:lnTo>
                <a:lnTo>
                  <a:pt x="4683" y="4452"/>
                </a:lnTo>
                <a:lnTo>
                  <a:pt x="4676" y="4447"/>
                </a:lnTo>
                <a:lnTo>
                  <a:pt x="4665" y="4434"/>
                </a:lnTo>
                <a:lnTo>
                  <a:pt x="4665" y="4434"/>
                </a:lnTo>
                <a:lnTo>
                  <a:pt x="4677" y="4437"/>
                </a:lnTo>
                <a:lnTo>
                  <a:pt x="4690" y="4439"/>
                </a:lnTo>
                <a:lnTo>
                  <a:pt x="4717" y="4441"/>
                </a:lnTo>
                <a:lnTo>
                  <a:pt x="4742" y="4441"/>
                </a:lnTo>
                <a:lnTo>
                  <a:pt x="4768" y="4439"/>
                </a:lnTo>
                <a:lnTo>
                  <a:pt x="4790" y="4435"/>
                </a:lnTo>
                <a:lnTo>
                  <a:pt x="4812" y="4429"/>
                </a:lnTo>
                <a:lnTo>
                  <a:pt x="4821" y="4426"/>
                </a:lnTo>
                <a:lnTo>
                  <a:pt x="4829" y="4422"/>
                </a:lnTo>
                <a:lnTo>
                  <a:pt x="4838" y="4416"/>
                </a:lnTo>
                <a:lnTo>
                  <a:pt x="4844" y="4412"/>
                </a:lnTo>
                <a:lnTo>
                  <a:pt x="4844" y="4412"/>
                </a:lnTo>
                <a:lnTo>
                  <a:pt x="4843" y="4364"/>
                </a:lnTo>
                <a:lnTo>
                  <a:pt x="4841" y="4316"/>
                </a:lnTo>
                <a:lnTo>
                  <a:pt x="4838" y="4261"/>
                </a:lnTo>
                <a:lnTo>
                  <a:pt x="4833" y="4206"/>
                </a:lnTo>
                <a:lnTo>
                  <a:pt x="4831" y="4181"/>
                </a:lnTo>
                <a:lnTo>
                  <a:pt x="4828" y="4159"/>
                </a:lnTo>
                <a:lnTo>
                  <a:pt x="4825" y="4140"/>
                </a:lnTo>
                <a:lnTo>
                  <a:pt x="4822" y="4126"/>
                </a:lnTo>
                <a:lnTo>
                  <a:pt x="4820" y="4121"/>
                </a:lnTo>
                <a:lnTo>
                  <a:pt x="4818" y="4118"/>
                </a:lnTo>
                <a:lnTo>
                  <a:pt x="4816" y="4116"/>
                </a:lnTo>
                <a:lnTo>
                  <a:pt x="4814" y="4116"/>
                </a:lnTo>
                <a:lnTo>
                  <a:pt x="4814" y="4116"/>
                </a:lnTo>
                <a:lnTo>
                  <a:pt x="4786" y="4123"/>
                </a:lnTo>
                <a:lnTo>
                  <a:pt x="4760" y="4128"/>
                </a:lnTo>
                <a:lnTo>
                  <a:pt x="4746" y="4129"/>
                </a:lnTo>
                <a:lnTo>
                  <a:pt x="4734" y="4130"/>
                </a:lnTo>
                <a:lnTo>
                  <a:pt x="4722" y="4130"/>
                </a:lnTo>
                <a:lnTo>
                  <a:pt x="4711" y="4129"/>
                </a:lnTo>
                <a:lnTo>
                  <a:pt x="4698" y="4127"/>
                </a:lnTo>
                <a:lnTo>
                  <a:pt x="4687" y="4125"/>
                </a:lnTo>
                <a:lnTo>
                  <a:pt x="4675" y="4122"/>
                </a:lnTo>
                <a:lnTo>
                  <a:pt x="4664" y="4118"/>
                </a:lnTo>
                <a:lnTo>
                  <a:pt x="4652" y="4113"/>
                </a:lnTo>
                <a:lnTo>
                  <a:pt x="4640" y="4108"/>
                </a:lnTo>
                <a:lnTo>
                  <a:pt x="4629" y="4100"/>
                </a:lnTo>
                <a:lnTo>
                  <a:pt x="4618" y="4093"/>
                </a:lnTo>
                <a:lnTo>
                  <a:pt x="4618" y="4093"/>
                </a:lnTo>
                <a:lnTo>
                  <a:pt x="4613" y="4090"/>
                </a:lnTo>
                <a:lnTo>
                  <a:pt x="4608" y="4086"/>
                </a:lnTo>
                <a:lnTo>
                  <a:pt x="4602" y="4078"/>
                </a:lnTo>
                <a:lnTo>
                  <a:pt x="4597" y="4069"/>
                </a:lnTo>
                <a:lnTo>
                  <a:pt x="4594" y="4059"/>
                </a:lnTo>
                <a:lnTo>
                  <a:pt x="4592" y="4047"/>
                </a:lnTo>
                <a:lnTo>
                  <a:pt x="4591" y="4037"/>
                </a:lnTo>
                <a:lnTo>
                  <a:pt x="4590" y="4015"/>
                </a:lnTo>
                <a:lnTo>
                  <a:pt x="4589" y="3993"/>
                </a:lnTo>
                <a:lnTo>
                  <a:pt x="4587" y="3984"/>
                </a:lnTo>
                <a:lnTo>
                  <a:pt x="4585" y="3976"/>
                </a:lnTo>
                <a:lnTo>
                  <a:pt x="4581" y="3969"/>
                </a:lnTo>
                <a:lnTo>
                  <a:pt x="4575" y="3962"/>
                </a:lnTo>
                <a:lnTo>
                  <a:pt x="4571" y="3959"/>
                </a:lnTo>
                <a:lnTo>
                  <a:pt x="4567" y="3957"/>
                </a:lnTo>
                <a:lnTo>
                  <a:pt x="4561" y="3956"/>
                </a:lnTo>
                <a:lnTo>
                  <a:pt x="4556" y="3955"/>
                </a:lnTo>
                <a:lnTo>
                  <a:pt x="4556" y="3955"/>
                </a:lnTo>
                <a:lnTo>
                  <a:pt x="4534" y="3948"/>
                </a:lnTo>
                <a:lnTo>
                  <a:pt x="4511" y="3941"/>
                </a:lnTo>
                <a:lnTo>
                  <a:pt x="4489" y="3933"/>
                </a:lnTo>
                <a:lnTo>
                  <a:pt x="4468" y="3923"/>
                </a:lnTo>
                <a:lnTo>
                  <a:pt x="4448" y="3913"/>
                </a:lnTo>
                <a:lnTo>
                  <a:pt x="4428" y="3902"/>
                </a:lnTo>
                <a:lnTo>
                  <a:pt x="4410" y="3892"/>
                </a:lnTo>
                <a:lnTo>
                  <a:pt x="4394" y="3881"/>
                </a:lnTo>
                <a:lnTo>
                  <a:pt x="4377" y="3869"/>
                </a:lnTo>
                <a:lnTo>
                  <a:pt x="4363" y="3859"/>
                </a:lnTo>
                <a:lnTo>
                  <a:pt x="4337" y="3839"/>
                </a:lnTo>
                <a:lnTo>
                  <a:pt x="4318" y="3820"/>
                </a:lnTo>
                <a:lnTo>
                  <a:pt x="4306" y="3805"/>
                </a:lnTo>
                <a:lnTo>
                  <a:pt x="4306" y="3805"/>
                </a:lnTo>
                <a:lnTo>
                  <a:pt x="4297" y="3793"/>
                </a:lnTo>
                <a:lnTo>
                  <a:pt x="4288" y="3780"/>
                </a:lnTo>
                <a:lnTo>
                  <a:pt x="4282" y="3769"/>
                </a:lnTo>
                <a:lnTo>
                  <a:pt x="4277" y="3758"/>
                </a:lnTo>
                <a:lnTo>
                  <a:pt x="4273" y="3748"/>
                </a:lnTo>
                <a:lnTo>
                  <a:pt x="4270" y="3739"/>
                </a:lnTo>
                <a:lnTo>
                  <a:pt x="4266" y="3722"/>
                </a:lnTo>
                <a:lnTo>
                  <a:pt x="4265" y="3709"/>
                </a:lnTo>
                <a:lnTo>
                  <a:pt x="4265" y="3699"/>
                </a:lnTo>
                <a:lnTo>
                  <a:pt x="4266" y="3690"/>
                </a:lnTo>
                <a:lnTo>
                  <a:pt x="4266" y="3690"/>
                </a:lnTo>
                <a:lnTo>
                  <a:pt x="4284" y="3700"/>
                </a:lnTo>
                <a:lnTo>
                  <a:pt x="4302" y="3706"/>
                </a:lnTo>
                <a:lnTo>
                  <a:pt x="4321" y="3711"/>
                </a:lnTo>
                <a:lnTo>
                  <a:pt x="4340" y="3714"/>
                </a:lnTo>
                <a:lnTo>
                  <a:pt x="4358" y="3716"/>
                </a:lnTo>
                <a:lnTo>
                  <a:pt x="4377" y="3715"/>
                </a:lnTo>
                <a:lnTo>
                  <a:pt x="4396" y="3712"/>
                </a:lnTo>
                <a:lnTo>
                  <a:pt x="4414" y="3708"/>
                </a:lnTo>
                <a:lnTo>
                  <a:pt x="4434" y="3468"/>
                </a:lnTo>
                <a:lnTo>
                  <a:pt x="4434" y="3468"/>
                </a:lnTo>
                <a:lnTo>
                  <a:pt x="4425" y="3467"/>
                </a:lnTo>
                <a:lnTo>
                  <a:pt x="4405" y="3464"/>
                </a:lnTo>
                <a:lnTo>
                  <a:pt x="4392" y="3461"/>
                </a:lnTo>
                <a:lnTo>
                  <a:pt x="4377" y="3457"/>
                </a:lnTo>
                <a:lnTo>
                  <a:pt x="4362" y="3453"/>
                </a:lnTo>
                <a:lnTo>
                  <a:pt x="4348" y="3447"/>
                </a:lnTo>
                <a:lnTo>
                  <a:pt x="4348" y="3447"/>
                </a:lnTo>
                <a:lnTo>
                  <a:pt x="4339" y="3443"/>
                </a:lnTo>
                <a:lnTo>
                  <a:pt x="4331" y="3438"/>
                </a:lnTo>
                <a:lnTo>
                  <a:pt x="4323" y="3432"/>
                </a:lnTo>
                <a:lnTo>
                  <a:pt x="4316" y="3426"/>
                </a:lnTo>
                <a:lnTo>
                  <a:pt x="4302" y="3412"/>
                </a:lnTo>
                <a:lnTo>
                  <a:pt x="4289" y="3399"/>
                </a:lnTo>
                <a:lnTo>
                  <a:pt x="4280" y="3386"/>
                </a:lnTo>
                <a:lnTo>
                  <a:pt x="4273" y="3376"/>
                </a:lnTo>
                <a:lnTo>
                  <a:pt x="4267" y="3366"/>
                </a:lnTo>
                <a:lnTo>
                  <a:pt x="4267" y="3366"/>
                </a:lnTo>
                <a:lnTo>
                  <a:pt x="4274" y="3369"/>
                </a:lnTo>
                <a:lnTo>
                  <a:pt x="4293" y="3377"/>
                </a:lnTo>
                <a:lnTo>
                  <a:pt x="4321" y="3385"/>
                </a:lnTo>
                <a:lnTo>
                  <a:pt x="4339" y="3389"/>
                </a:lnTo>
                <a:lnTo>
                  <a:pt x="4356" y="3392"/>
                </a:lnTo>
                <a:lnTo>
                  <a:pt x="4356" y="3392"/>
                </a:lnTo>
                <a:lnTo>
                  <a:pt x="4375" y="3394"/>
                </a:lnTo>
                <a:lnTo>
                  <a:pt x="4392" y="3395"/>
                </a:lnTo>
                <a:lnTo>
                  <a:pt x="4407" y="3393"/>
                </a:lnTo>
                <a:lnTo>
                  <a:pt x="4419" y="3391"/>
                </a:lnTo>
                <a:lnTo>
                  <a:pt x="4430" y="3389"/>
                </a:lnTo>
                <a:lnTo>
                  <a:pt x="4438" y="3387"/>
                </a:lnTo>
                <a:lnTo>
                  <a:pt x="4444" y="3384"/>
                </a:lnTo>
                <a:lnTo>
                  <a:pt x="4477" y="3113"/>
                </a:lnTo>
                <a:lnTo>
                  <a:pt x="4477" y="3113"/>
                </a:lnTo>
                <a:lnTo>
                  <a:pt x="4451" y="3114"/>
                </a:lnTo>
                <a:lnTo>
                  <a:pt x="4427" y="3113"/>
                </a:lnTo>
                <a:lnTo>
                  <a:pt x="4408" y="3111"/>
                </a:lnTo>
                <a:lnTo>
                  <a:pt x="4392" y="3106"/>
                </a:lnTo>
                <a:lnTo>
                  <a:pt x="4377" y="3100"/>
                </a:lnTo>
                <a:lnTo>
                  <a:pt x="4365" y="3093"/>
                </a:lnTo>
                <a:lnTo>
                  <a:pt x="4356" y="3085"/>
                </a:lnTo>
                <a:lnTo>
                  <a:pt x="4348" y="3077"/>
                </a:lnTo>
                <a:lnTo>
                  <a:pt x="4343" y="3069"/>
                </a:lnTo>
                <a:lnTo>
                  <a:pt x="4337" y="3060"/>
                </a:lnTo>
                <a:lnTo>
                  <a:pt x="4335" y="3051"/>
                </a:lnTo>
                <a:lnTo>
                  <a:pt x="4333" y="3043"/>
                </a:lnTo>
                <a:lnTo>
                  <a:pt x="4332" y="3035"/>
                </a:lnTo>
                <a:lnTo>
                  <a:pt x="4331" y="3029"/>
                </a:lnTo>
                <a:lnTo>
                  <a:pt x="4332" y="3020"/>
                </a:lnTo>
                <a:lnTo>
                  <a:pt x="4332" y="3020"/>
                </a:lnTo>
                <a:lnTo>
                  <a:pt x="4357" y="3015"/>
                </a:lnTo>
                <a:lnTo>
                  <a:pt x="4381" y="3009"/>
                </a:lnTo>
                <a:lnTo>
                  <a:pt x="4405" y="3001"/>
                </a:lnTo>
                <a:lnTo>
                  <a:pt x="4428" y="2994"/>
                </a:lnTo>
                <a:lnTo>
                  <a:pt x="4451" y="2985"/>
                </a:lnTo>
                <a:lnTo>
                  <a:pt x="4473" y="2975"/>
                </a:lnTo>
                <a:lnTo>
                  <a:pt x="4495" y="2964"/>
                </a:lnTo>
                <a:lnTo>
                  <a:pt x="4515" y="2951"/>
                </a:lnTo>
                <a:lnTo>
                  <a:pt x="4536" y="2939"/>
                </a:lnTo>
                <a:lnTo>
                  <a:pt x="4555" y="2926"/>
                </a:lnTo>
                <a:lnTo>
                  <a:pt x="4574" y="2911"/>
                </a:lnTo>
                <a:lnTo>
                  <a:pt x="4592" y="2896"/>
                </a:lnTo>
                <a:lnTo>
                  <a:pt x="4609" y="2881"/>
                </a:lnTo>
                <a:lnTo>
                  <a:pt x="4627" y="2864"/>
                </a:lnTo>
                <a:lnTo>
                  <a:pt x="4642" y="2848"/>
                </a:lnTo>
                <a:lnTo>
                  <a:pt x="4659" y="2831"/>
                </a:lnTo>
                <a:lnTo>
                  <a:pt x="4673" y="2812"/>
                </a:lnTo>
                <a:lnTo>
                  <a:pt x="4688" y="2794"/>
                </a:lnTo>
                <a:lnTo>
                  <a:pt x="4702" y="2775"/>
                </a:lnTo>
                <a:lnTo>
                  <a:pt x="4715" y="2756"/>
                </a:lnTo>
                <a:lnTo>
                  <a:pt x="4727" y="2737"/>
                </a:lnTo>
                <a:lnTo>
                  <a:pt x="4738" y="2717"/>
                </a:lnTo>
                <a:lnTo>
                  <a:pt x="4750" y="2698"/>
                </a:lnTo>
                <a:lnTo>
                  <a:pt x="4760" y="2677"/>
                </a:lnTo>
                <a:lnTo>
                  <a:pt x="4770" y="2657"/>
                </a:lnTo>
                <a:lnTo>
                  <a:pt x="4779" y="2636"/>
                </a:lnTo>
                <a:lnTo>
                  <a:pt x="4787" y="2616"/>
                </a:lnTo>
                <a:lnTo>
                  <a:pt x="4796" y="2595"/>
                </a:lnTo>
                <a:lnTo>
                  <a:pt x="4803" y="2575"/>
                </a:lnTo>
                <a:lnTo>
                  <a:pt x="4809" y="2555"/>
                </a:lnTo>
                <a:lnTo>
                  <a:pt x="4815" y="2534"/>
                </a:lnTo>
                <a:lnTo>
                  <a:pt x="4820" y="2515"/>
                </a:lnTo>
                <a:lnTo>
                  <a:pt x="4820" y="2515"/>
                </a:lnTo>
                <a:lnTo>
                  <a:pt x="4831" y="2521"/>
                </a:lnTo>
                <a:lnTo>
                  <a:pt x="4847" y="2527"/>
                </a:lnTo>
                <a:lnTo>
                  <a:pt x="4864" y="2533"/>
                </a:lnTo>
                <a:lnTo>
                  <a:pt x="4882" y="2538"/>
                </a:lnTo>
                <a:lnTo>
                  <a:pt x="4903" y="2541"/>
                </a:lnTo>
                <a:lnTo>
                  <a:pt x="4913" y="2542"/>
                </a:lnTo>
                <a:lnTo>
                  <a:pt x="4923" y="2543"/>
                </a:lnTo>
                <a:lnTo>
                  <a:pt x="4935" y="2542"/>
                </a:lnTo>
                <a:lnTo>
                  <a:pt x="4945" y="2541"/>
                </a:lnTo>
                <a:lnTo>
                  <a:pt x="4955" y="2539"/>
                </a:lnTo>
                <a:lnTo>
                  <a:pt x="4965" y="2536"/>
                </a:lnTo>
                <a:lnTo>
                  <a:pt x="4965" y="2536"/>
                </a:lnTo>
                <a:lnTo>
                  <a:pt x="4967" y="2508"/>
                </a:lnTo>
                <a:lnTo>
                  <a:pt x="4970" y="2441"/>
                </a:lnTo>
                <a:lnTo>
                  <a:pt x="4972" y="2405"/>
                </a:lnTo>
                <a:lnTo>
                  <a:pt x="4973" y="2371"/>
                </a:lnTo>
                <a:lnTo>
                  <a:pt x="4972" y="2343"/>
                </a:lnTo>
                <a:lnTo>
                  <a:pt x="4972" y="2333"/>
                </a:lnTo>
                <a:lnTo>
                  <a:pt x="4970" y="2327"/>
                </a:lnTo>
                <a:lnTo>
                  <a:pt x="4970" y="2327"/>
                </a:lnTo>
                <a:lnTo>
                  <a:pt x="4955" y="2325"/>
                </a:lnTo>
                <a:lnTo>
                  <a:pt x="4938" y="2322"/>
                </a:lnTo>
                <a:lnTo>
                  <a:pt x="4919" y="2317"/>
                </a:lnTo>
                <a:lnTo>
                  <a:pt x="4911" y="2314"/>
                </a:lnTo>
                <a:lnTo>
                  <a:pt x="4902" y="2311"/>
                </a:lnTo>
                <a:lnTo>
                  <a:pt x="4893" y="2306"/>
                </a:lnTo>
                <a:lnTo>
                  <a:pt x="4885" y="2302"/>
                </a:lnTo>
                <a:lnTo>
                  <a:pt x="4876" y="2296"/>
                </a:lnTo>
                <a:lnTo>
                  <a:pt x="4868" y="2289"/>
                </a:lnTo>
                <a:lnTo>
                  <a:pt x="4861" y="2282"/>
                </a:lnTo>
                <a:lnTo>
                  <a:pt x="4854" y="2273"/>
                </a:lnTo>
                <a:lnTo>
                  <a:pt x="4848" y="2264"/>
                </a:lnTo>
                <a:lnTo>
                  <a:pt x="4842" y="225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86" name="Freeform 37"/>
          <p:cNvSpPr>
            <a:spLocks/>
          </p:cNvSpPr>
          <p:nvPr userDrawn="1"/>
        </p:nvSpPr>
        <p:spPr bwMode="auto">
          <a:xfrm>
            <a:off x="8332788" y="-385340"/>
            <a:ext cx="276225" cy="73025"/>
          </a:xfrm>
          <a:custGeom>
            <a:avLst/>
            <a:gdLst>
              <a:gd name="T0" fmla="*/ 0 w 349"/>
              <a:gd name="T1" fmla="*/ 34 h 91"/>
              <a:gd name="T2" fmla="*/ 0 w 349"/>
              <a:gd name="T3" fmla="*/ 34 h 91"/>
              <a:gd name="T4" fmla="*/ 20 w 349"/>
              <a:gd name="T5" fmla="*/ 49 h 91"/>
              <a:gd name="T6" fmla="*/ 38 w 349"/>
              <a:gd name="T7" fmla="*/ 60 h 91"/>
              <a:gd name="T8" fmla="*/ 38 w 349"/>
              <a:gd name="T9" fmla="*/ 60 h 91"/>
              <a:gd name="T10" fmla="*/ 69 w 349"/>
              <a:gd name="T11" fmla="*/ 71 h 91"/>
              <a:gd name="T12" fmla="*/ 89 w 349"/>
              <a:gd name="T13" fmla="*/ 78 h 91"/>
              <a:gd name="T14" fmla="*/ 111 w 349"/>
              <a:gd name="T15" fmla="*/ 84 h 91"/>
              <a:gd name="T16" fmla="*/ 137 w 349"/>
              <a:gd name="T17" fmla="*/ 87 h 91"/>
              <a:gd name="T18" fmla="*/ 164 w 349"/>
              <a:gd name="T19" fmla="*/ 91 h 91"/>
              <a:gd name="T20" fmla="*/ 194 w 349"/>
              <a:gd name="T21" fmla="*/ 91 h 91"/>
              <a:gd name="T22" fmla="*/ 226 w 349"/>
              <a:gd name="T23" fmla="*/ 89 h 91"/>
              <a:gd name="T24" fmla="*/ 226 w 349"/>
              <a:gd name="T25" fmla="*/ 89 h 91"/>
              <a:gd name="T26" fmla="*/ 256 w 349"/>
              <a:gd name="T27" fmla="*/ 86 h 91"/>
              <a:gd name="T28" fmla="*/ 279 w 349"/>
              <a:gd name="T29" fmla="*/ 80 h 91"/>
              <a:gd name="T30" fmla="*/ 301 w 349"/>
              <a:gd name="T31" fmla="*/ 75 h 91"/>
              <a:gd name="T32" fmla="*/ 318 w 349"/>
              <a:gd name="T33" fmla="*/ 69 h 91"/>
              <a:gd name="T34" fmla="*/ 342 w 349"/>
              <a:gd name="T35" fmla="*/ 56 h 91"/>
              <a:gd name="T36" fmla="*/ 349 w 349"/>
              <a:gd name="T37" fmla="*/ 53 h 91"/>
              <a:gd name="T38" fmla="*/ 349 w 349"/>
              <a:gd name="T39" fmla="*/ 53 h 91"/>
              <a:gd name="T40" fmla="*/ 338 w 349"/>
              <a:gd name="T41" fmla="*/ 49 h 91"/>
              <a:gd name="T42" fmla="*/ 329 w 349"/>
              <a:gd name="T43" fmla="*/ 44 h 91"/>
              <a:gd name="T44" fmla="*/ 314 w 349"/>
              <a:gd name="T45" fmla="*/ 31 h 91"/>
              <a:gd name="T46" fmla="*/ 314 w 349"/>
              <a:gd name="T47" fmla="*/ 31 h 91"/>
              <a:gd name="T48" fmla="*/ 312 w 349"/>
              <a:gd name="T49" fmla="*/ 38 h 91"/>
              <a:gd name="T50" fmla="*/ 312 w 349"/>
              <a:gd name="T51" fmla="*/ 38 h 91"/>
              <a:gd name="T52" fmla="*/ 311 w 349"/>
              <a:gd name="T53" fmla="*/ 51 h 91"/>
              <a:gd name="T54" fmla="*/ 311 w 349"/>
              <a:gd name="T55" fmla="*/ 51 h 91"/>
              <a:gd name="T56" fmla="*/ 303 w 349"/>
              <a:gd name="T57" fmla="*/ 49 h 91"/>
              <a:gd name="T58" fmla="*/ 303 w 349"/>
              <a:gd name="T59" fmla="*/ 49 h 91"/>
              <a:gd name="T60" fmla="*/ 298 w 349"/>
              <a:gd name="T61" fmla="*/ 45 h 91"/>
              <a:gd name="T62" fmla="*/ 292 w 349"/>
              <a:gd name="T63" fmla="*/ 40 h 91"/>
              <a:gd name="T64" fmla="*/ 289 w 349"/>
              <a:gd name="T65" fmla="*/ 33 h 91"/>
              <a:gd name="T66" fmla="*/ 287 w 349"/>
              <a:gd name="T67" fmla="*/ 23 h 91"/>
              <a:gd name="T68" fmla="*/ 287 w 349"/>
              <a:gd name="T69" fmla="*/ 23 h 91"/>
              <a:gd name="T70" fmla="*/ 287 w 349"/>
              <a:gd name="T71" fmla="*/ 22 h 91"/>
              <a:gd name="T72" fmla="*/ 287 w 349"/>
              <a:gd name="T73" fmla="*/ 22 h 91"/>
              <a:gd name="T74" fmla="*/ 272 w 349"/>
              <a:gd name="T75" fmla="*/ 27 h 91"/>
              <a:gd name="T76" fmla="*/ 252 w 349"/>
              <a:gd name="T77" fmla="*/ 33 h 91"/>
              <a:gd name="T78" fmla="*/ 228 w 349"/>
              <a:gd name="T79" fmla="*/ 38 h 91"/>
              <a:gd name="T80" fmla="*/ 205 w 349"/>
              <a:gd name="T81" fmla="*/ 40 h 91"/>
              <a:gd name="T82" fmla="*/ 205 w 349"/>
              <a:gd name="T83" fmla="*/ 40 h 91"/>
              <a:gd name="T84" fmla="*/ 161 w 349"/>
              <a:gd name="T85" fmla="*/ 38 h 91"/>
              <a:gd name="T86" fmla="*/ 139 w 349"/>
              <a:gd name="T87" fmla="*/ 36 h 91"/>
              <a:gd name="T88" fmla="*/ 117 w 349"/>
              <a:gd name="T89" fmla="*/ 33 h 91"/>
              <a:gd name="T90" fmla="*/ 95 w 349"/>
              <a:gd name="T91" fmla="*/ 29 h 91"/>
              <a:gd name="T92" fmla="*/ 73 w 349"/>
              <a:gd name="T93" fmla="*/ 22 h 91"/>
              <a:gd name="T94" fmla="*/ 51 w 349"/>
              <a:gd name="T95" fmla="*/ 14 h 91"/>
              <a:gd name="T96" fmla="*/ 31 w 349"/>
              <a:gd name="T97" fmla="*/ 7 h 91"/>
              <a:gd name="T98" fmla="*/ 31 w 349"/>
              <a:gd name="T99" fmla="*/ 7 h 91"/>
              <a:gd name="T100" fmla="*/ 15 w 349"/>
              <a:gd name="T101" fmla="*/ 0 h 91"/>
              <a:gd name="T102" fmla="*/ 15 w 349"/>
              <a:gd name="T103" fmla="*/ 0 h 91"/>
              <a:gd name="T104" fmla="*/ 15 w 349"/>
              <a:gd name="T105" fmla="*/ 1 h 91"/>
              <a:gd name="T106" fmla="*/ 15 w 349"/>
              <a:gd name="T107" fmla="*/ 5 h 91"/>
              <a:gd name="T108" fmla="*/ 18 w 349"/>
              <a:gd name="T109" fmla="*/ 14 h 91"/>
              <a:gd name="T110" fmla="*/ 25 w 349"/>
              <a:gd name="T111" fmla="*/ 25 h 91"/>
              <a:gd name="T112" fmla="*/ 25 w 349"/>
              <a:gd name="T113" fmla="*/ 25 h 91"/>
              <a:gd name="T114" fmla="*/ 16 w 349"/>
              <a:gd name="T115" fmla="*/ 23 h 91"/>
              <a:gd name="T116" fmla="*/ 7 w 349"/>
              <a:gd name="T117" fmla="*/ 27 h 91"/>
              <a:gd name="T118" fmla="*/ 7 w 349"/>
              <a:gd name="T119" fmla="*/ 27 h 91"/>
              <a:gd name="T120" fmla="*/ 2 w 349"/>
              <a:gd name="T121" fmla="*/ 31 h 91"/>
              <a:gd name="T122" fmla="*/ 0 w 349"/>
              <a:gd name="T123" fmla="*/ 3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9" h="91">
                <a:moveTo>
                  <a:pt x="0" y="34"/>
                </a:moveTo>
                <a:lnTo>
                  <a:pt x="0" y="34"/>
                </a:lnTo>
                <a:lnTo>
                  <a:pt x="20" y="49"/>
                </a:lnTo>
                <a:lnTo>
                  <a:pt x="38" y="60"/>
                </a:lnTo>
                <a:lnTo>
                  <a:pt x="38" y="60"/>
                </a:lnTo>
                <a:lnTo>
                  <a:pt x="69" y="71"/>
                </a:lnTo>
                <a:lnTo>
                  <a:pt x="89" y="78"/>
                </a:lnTo>
                <a:lnTo>
                  <a:pt x="111" y="84"/>
                </a:lnTo>
                <a:lnTo>
                  <a:pt x="137" y="87"/>
                </a:lnTo>
                <a:lnTo>
                  <a:pt x="164" y="91"/>
                </a:lnTo>
                <a:lnTo>
                  <a:pt x="194" y="91"/>
                </a:lnTo>
                <a:lnTo>
                  <a:pt x="226" y="89"/>
                </a:lnTo>
                <a:lnTo>
                  <a:pt x="226" y="89"/>
                </a:lnTo>
                <a:lnTo>
                  <a:pt x="256" y="86"/>
                </a:lnTo>
                <a:lnTo>
                  <a:pt x="279" y="80"/>
                </a:lnTo>
                <a:lnTo>
                  <a:pt x="301" y="75"/>
                </a:lnTo>
                <a:lnTo>
                  <a:pt x="318" y="69"/>
                </a:lnTo>
                <a:lnTo>
                  <a:pt x="342" y="56"/>
                </a:lnTo>
                <a:lnTo>
                  <a:pt x="349" y="53"/>
                </a:lnTo>
                <a:lnTo>
                  <a:pt x="349" y="53"/>
                </a:lnTo>
                <a:lnTo>
                  <a:pt x="338" y="49"/>
                </a:lnTo>
                <a:lnTo>
                  <a:pt x="329" y="44"/>
                </a:lnTo>
                <a:lnTo>
                  <a:pt x="314" y="31"/>
                </a:lnTo>
                <a:lnTo>
                  <a:pt x="314" y="31"/>
                </a:lnTo>
                <a:lnTo>
                  <a:pt x="312" y="38"/>
                </a:lnTo>
                <a:lnTo>
                  <a:pt x="312" y="38"/>
                </a:lnTo>
                <a:lnTo>
                  <a:pt x="311" y="51"/>
                </a:lnTo>
                <a:lnTo>
                  <a:pt x="311" y="51"/>
                </a:lnTo>
                <a:lnTo>
                  <a:pt x="303" y="49"/>
                </a:lnTo>
                <a:lnTo>
                  <a:pt x="303" y="49"/>
                </a:lnTo>
                <a:lnTo>
                  <a:pt x="298" y="45"/>
                </a:lnTo>
                <a:lnTo>
                  <a:pt x="292" y="40"/>
                </a:lnTo>
                <a:lnTo>
                  <a:pt x="289" y="33"/>
                </a:lnTo>
                <a:lnTo>
                  <a:pt x="287" y="23"/>
                </a:lnTo>
                <a:lnTo>
                  <a:pt x="287" y="23"/>
                </a:lnTo>
                <a:lnTo>
                  <a:pt x="287" y="22"/>
                </a:lnTo>
                <a:lnTo>
                  <a:pt x="287" y="22"/>
                </a:lnTo>
                <a:lnTo>
                  <a:pt x="272" y="27"/>
                </a:lnTo>
                <a:lnTo>
                  <a:pt x="252" y="33"/>
                </a:lnTo>
                <a:lnTo>
                  <a:pt x="228" y="38"/>
                </a:lnTo>
                <a:lnTo>
                  <a:pt x="205" y="40"/>
                </a:lnTo>
                <a:lnTo>
                  <a:pt x="205" y="40"/>
                </a:lnTo>
                <a:lnTo>
                  <a:pt x="161" y="38"/>
                </a:lnTo>
                <a:lnTo>
                  <a:pt x="139" y="36"/>
                </a:lnTo>
                <a:lnTo>
                  <a:pt x="117" y="33"/>
                </a:lnTo>
                <a:lnTo>
                  <a:pt x="95" y="29"/>
                </a:lnTo>
                <a:lnTo>
                  <a:pt x="73" y="22"/>
                </a:lnTo>
                <a:lnTo>
                  <a:pt x="51" y="14"/>
                </a:lnTo>
                <a:lnTo>
                  <a:pt x="31" y="7"/>
                </a:lnTo>
                <a:lnTo>
                  <a:pt x="31" y="7"/>
                </a:lnTo>
                <a:lnTo>
                  <a:pt x="15" y="0"/>
                </a:lnTo>
                <a:lnTo>
                  <a:pt x="15" y="0"/>
                </a:lnTo>
                <a:lnTo>
                  <a:pt x="15" y="1"/>
                </a:lnTo>
                <a:lnTo>
                  <a:pt x="15" y="5"/>
                </a:lnTo>
                <a:lnTo>
                  <a:pt x="18" y="14"/>
                </a:lnTo>
                <a:lnTo>
                  <a:pt x="25" y="25"/>
                </a:lnTo>
                <a:lnTo>
                  <a:pt x="25" y="25"/>
                </a:lnTo>
                <a:lnTo>
                  <a:pt x="16" y="23"/>
                </a:lnTo>
                <a:lnTo>
                  <a:pt x="7" y="27"/>
                </a:lnTo>
                <a:lnTo>
                  <a:pt x="7" y="27"/>
                </a:lnTo>
                <a:lnTo>
                  <a:pt x="2" y="31"/>
                </a:lnTo>
                <a:lnTo>
                  <a:pt x="0" y="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87" name="Freeform 38"/>
          <p:cNvSpPr>
            <a:spLocks/>
          </p:cNvSpPr>
          <p:nvPr userDrawn="1"/>
        </p:nvSpPr>
        <p:spPr bwMode="auto">
          <a:xfrm>
            <a:off x="8270875" y="-618703"/>
            <a:ext cx="282575" cy="201613"/>
          </a:xfrm>
          <a:custGeom>
            <a:avLst/>
            <a:gdLst>
              <a:gd name="T0" fmla="*/ 326 w 357"/>
              <a:gd name="T1" fmla="*/ 20 h 253"/>
              <a:gd name="T2" fmla="*/ 320 w 357"/>
              <a:gd name="T3" fmla="*/ 3 h 253"/>
              <a:gd name="T4" fmla="*/ 311 w 357"/>
              <a:gd name="T5" fmla="*/ 0 h 253"/>
              <a:gd name="T6" fmla="*/ 227 w 357"/>
              <a:gd name="T7" fmla="*/ 40 h 253"/>
              <a:gd name="T8" fmla="*/ 207 w 357"/>
              <a:gd name="T9" fmla="*/ 53 h 253"/>
              <a:gd name="T10" fmla="*/ 176 w 357"/>
              <a:gd name="T11" fmla="*/ 53 h 253"/>
              <a:gd name="T12" fmla="*/ 181 w 357"/>
              <a:gd name="T13" fmla="*/ 71 h 253"/>
              <a:gd name="T14" fmla="*/ 172 w 357"/>
              <a:gd name="T15" fmla="*/ 78 h 253"/>
              <a:gd name="T16" fmla="*/ 181 w 357"/>
              <a:gd name="T17" fmla="*/ 93 h 253"/>
              <a:gd name="T18" fmla="*/ 198 w 357"/>
              <a:gd name="T19" fmla="*/ 91 h 253"/>
              <a:gd name="T20" fmla="*/ 189 w 357"/>
              <a:gd name="T21" fmla="*/ 115 h 253"/>
              <a:gd name="T22" fmla="*/ 147 w 357"/>
              <a:gd name="T23" fmla="*/ 146 h 253"/>
              <a:gd name="T24" fmla="*/ 101 w 357"/>
              <a:gd name="T25" fmla="*/ 155 h 253"/>
              <a:gd name="T26" fmla="*/ 79 w 357"/>
              <a:gd name="T27" fmla="*/ 137 h 253"/>
              <a:gd name="T28" fmla="*/ 68 w 357"/>
              <a:gd name="T29" fmla="*/ 126 h 253"/>
              <a:gd name="T30" fmla="*/ 50 w 357"/>
              <a:gd name="T31" fmla="*/ 126 h 253"/>
              <a:gd name="T32" fmla="*/ 28 w 357"/>
              <a:gd name="T33" fmla="*/ 137 h 253"/>
              <a:gd name="T34" fmla="*/ 48 w 357"/>
              <a:gd name="T35" fmla="*/ 140 h 253"/>
              <a:gd name="T36" fmla="*/ 44 w 357"/>
              <a:gd name="T37" fmla="*/ 149 h 253"/>
              <a:gd name="T38" fmla="*/ 75 w 357"/>
              <a:gd name="T39" fmla="*/ 169 h 253"/>
              <a:gd name="T40" fmla="*/ 75 w 357"/>
              <a:gd name="T41" fmla="*/ 171 h 253"/>
              <a:gd name="T42" fmla="*/ 39 w 357"/>
              <a:gd name="T43" fmla="*/ 160 h 253"/>
              <a:gd name="T44" fmla="*/ 28 w 357"/>
              <a:gd name="T45" fmla="*/ 164 h 253"/>
              <a:gd name="T46" fmla="*/ 8 w 357"/>
              <a:gd name="T47" fmla="*/ 171 h 253"/>
              <a:gd name="T48" fmla="*/ 2 w 357"/>
              <a:gd name="T49" fmla="*/ 193 h 253"/>
              <a:gd name="T50" fmla="*/ 17 w 357"/>
              <a:gd name="T51" fmla="*/ 180 h 253"/>
              <a:gd name="T52" fmla="*/ 22 w 357"/>
              <a:gd name="T53" fmla="*/ 188 h 253"/>
              <a:gd name="T54" fmla="*/ 26 w 357"/>
              <a:gd name="T55" fmla="*/ 197 h 253"/>
              <a:gd name="T56" fmla="*/ 66 w 357"/>
              <a:gd name="T57" fmla="*/ 195 h 253"/>
              <a:gd name="T58" fmla="*/ 75 w 357"/>
              <a:gd name="T59" fmla="*/ 197 h 253"/>
              <a:gd name="T60" fmla="*/ 39 w 357"/>
              <a:gd name="T61" fmla="*/ 206 h 253"/>
              <a:gd name="T62" fmla="*/ 37 w 357"/>
              <a:gd name="T63" fmla="*/ 213 h 253"/>
              <a:gd name="T64" fmla="*/ 28 w 357"/>
              <a:gd name="T65" fmla="*/ 233 h 253"/>
              <a:gd name="T66" fmla="*/ 35 w 357"/>
              <a:gd name="T67" fmla="*/ 248 h 253"/>
              <a:gd name="T68" fmla="*/ 41 w 357"/>
              <a:gd name="T69" fmla="*/ 244 h 253"/>
              <a:gd name="T70" fmla="*/ 42 w 357"/>
              <a:gd name="T71" fmla="*/ 235 h 253"/>
              <a:gd name="T72" fmla="*/ 55 w 357"/>
              <a:gd name="T73" fmla="*/ 243 h 253"/>
              <a:gd name="T74" fmla="*/ 72 w 357"/>
              <a:gd name="T75" fmla="*/ 232 h 253"/>
              <a:gd name="T76" fmla="*/ 94 w 357"/>
              <a:gd name="T77" fmla="*/ 213 h 253"/>
              <a:gd name="T78" fmla="*/ 108 w 357"/>
              <a:gd name="T79" fmla="*/ 211 h 253"/>
              <a:gd name="T80" fmla="*/ 110 w 357"/>
              <a:gd name="T81" fmla="*/ 222 h 253"/>
              <a:gd name="T82" fmla="*/ 115 w 357"/>
              <a:gd name="T83" fmla="*/ 233 h 253"/>
              <a:gd name="T84" fmla="*/ 114 w 357"/>
              <a:gd name="T85" fmla="*/ 243 h 253"/>
              <a:gd name="T86" fmla="*/ 136 w 357"/>
              <a:gd name="T87" fmla="*/ 224 h 253"/>
              <a:gd name="T88" fmla="*/ 141 w 357"/>
              <a:gd name="T89" fmla="*/ 219 h 253"/>
              <a:gd name="T90" fmla="*/ 145 w 357"/>
              <a:gd name="T91" fmla="*/ 211 h 253"/>
              <a:gd name="T92" fmla="*/ 147 w 357"/>
              <a:gd name="T93" fmla="*/ 200 h 253"/>
              <a:gd name="T94" fmla="*/ 167 w 357"/>
              <a:gd name="T95" fmla="*/ 193 h 253"/>
              <a:gd name="T96" fmla="*/ 170 w 357"/>
              <a:gd name="T97" fmla="*/ 180 h 253"/>
              <a:gd name="T98" fmla="*/ 181 w 357"/>
              <a:gd name="T99" fmla="*/ 179 h 253"/>
              <a:gd name="T100" fmla="*/ 199 w 357"/>
              <a:gd name="T101" fmla="*/ 197 h 253"/>
              <a:gd name="T102" fmla="*/ 231 w 357"/>
              <a:gd name="T103" fmla="*/ 182 h 253"/>
              <a:gd name="T104" fmla="*/ 227 w 357"/>
              <a:gd name="T105" fmla="*/ 169 h 253"/>
              <a:gd name="T106" fmla="*/ 223 w 357"/>
              <a:gd name="T107" fmla="*/ 155 h 253"/>
              <a:gd name="T108" fmla="*/ 245 w 357"/>
              <a:gd name="T109" fmla="*/ 173 h 253"/>
              <a:gd name="T110" fmla="*/ 276 w 357"/>
              <a:gd name="T111" fmla="*/ 155 h 253"/>
              <a:gd name="T112" fmla="*/ 273 w 357"/>
              <a:gd name="T113" fmla="*/ 149 h 253"/>
              <a:gd name="T114" fmla="*/ 263 w 357"/>
              <a:gd name="T115" fmla="*/ 131 h 253"/>
              <a:gd name="T116" fmla="*/ 262 w 357"/>
              <a:gd name="T117" fmla="*/ 115 h 253"/>
              <a:gd name="T118" fmla="*/ 262 w 357"/>
              <a:gd name="T119" fmla="*/ 98 h 253"/>
              <a:gd name="T120" fmla="*/ 353 w 357"/>
              <a:gd name="T121" fmla="*/ 45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7" h="253">
                <a:moveTo>
                  <a:pt x="344" y="31"/>
                </a:moveTo>
                <a:lnTo>
                  <a:pt x="344" y="31"/>
                </a:lnTo>
                <a:lnTo>
                  <a:pt x="335" y="23"/>
                </a:lnTo>
                <a:lnTo>
                  <a:pt x="326" y="20"/>
                </a:lnTo>
                <a:lnTo>
                  <a:pt x="309" y="12"/>
                </a:lnTo>
                <a:lnTo>
                  <a:pt x="309" y="12"/>
                </a:lnTo>
                <a:lnTo>
                  <a:pt x="316" y="7"/>
                </a:lnTo>
                <a:lnTo>
                  <a:pt x="320" y="3"/>
                </a:lnTo>
                <a:lnTo>
                  <a:pt x="320" y="1"/>
                </a:lnTo>
                <a:lnTo>
                  <a:pt x="320" y="1"/>
                </a:lnTo>
                <a:lnTo>
                  <a:pt x="315" y="0"/>
                </a:lnTo>
                <a:lnTo>
                  <a:pt x="311" y="0"/>
                </a:lnTo>
                <a:lnTo>
                  <a:pt x="311" y="0"/>
                </a:lnTo>
                <a:lnTo>
                  <a:pt x="280" y="12"/>
                </a:lnTo>
                <a:lnTo>
                  <a:pt x="252" y="25"/>
                </a:lnTo>
                <a:lnTo>
                  <a:pt x="227" y="40"/>
                </a:lnTo>
                <a:lnTo>
                  <a:pt x="209" y="53"/>
                </a:lnTo>
                <a:lnTo>
                  <a:pt x="209" y="53"/>
                </a:lnTo>
                <a:lnTo>
                  <a:pt x="207" y="53"/>
                </a:lnTo>
                <a:lnTo>
                  <a:pt x="207" y="53"/>
                </a:lnTo>
                <a:lnTo>
                  <a:pt x="201" y="56"/>
                </a:lnTo>
                <a:lnTo>
                  <a:pt x="196" y="56"/>
                </a:lnTo>
                <a:lnTo>
                  <a:pt x="185" y="54"/>
                </a:lnTo>
                <a:lnTo>
                  <a:pt x="176" y="53"/>
                </a:lnTo>
                <a:lnTo>
                  <a:pt x="174" y="51"/>
                </a:lnTo>
                <a:lnTo>
                  <a:pt x="170" y="67"/>
                </a:lnTo>
                <a:lnTo>
                  <a:pt x="170" y="67"/>
                </a:lnTo>
                <a:lnTo>
                  <a:pt x="181" y="71"/>
                </a:lnTo>
                <a:lnTo>
                  <a:pt x="189" y="74"/>
                </a:lnTo>
                <a:lnTo>
                  <a:pt x="189" y="74"/>
                </a:lnTo>
                <a:lnTo>
                  <a:pt x="178" y="76"/>
                </a:lnTo>
                <a:lnTo>
                  <a:pt x="172" y="78"/>
                </a:lnTo>
                <a:lnTo>
                  <a:pt x="168" y="82"/>
                </a:lnTo>
                <a:lnTo>
                  <a:pt x="174" y="96"/>
                </a:lnTo>
                <a:lnTo>
                  <a:pt x="174" y="96"/>
                </a:lnTo>
                <a:lnTo>
                  <a:pt x="181" y="93"/>
                </a:lnTo>
                <a:lnTo>
                  <a:pt x="189" y="91"/>
                </a:lnTo>
                <a:lnTo>
                  <a:pt x="198" y="89"/>
                </a:lnTo>
                <a:lnTo>
                  <a:pt x="198" y="89"/>
                </a:lnTo>
                <a:lnTo>
                  <a:pt x="198" y="91"/>
                </a:lnTo>
                <a:lnTo>
                  <a:pt x="198" y="91"/>
                </a:lnTo>
                <a:lnTo>
                  <a:pt x="198" y="98"/>
                </a:lnTo>
                <a:lnTo>
                  <a:pt x="194" y="105"/>
                </a:lnTo>
                <a:lnTo>
                  <a:pt x="189" y="115"/>
                </a:lnTo>
                <a:lnTo>
                  <a:pt x="181" y="122"/>
                </a:lnTo>
                <a:lnTo>
                  <a:pt x="165" y="137"/>
                </a:lnTo>
                <a:lnTo>
                  <a:pt x="156" y="142"/>
                </a:lnTo>
                <a:lnTo>
                  <a:pt x="147" y="146"/>
                </a:lnTo>
                <a:lnTo>
                  <a:pt x="147" y="146"/>
                </a:lnTo>
                <a:lnTo>
                  <a:pt x="128" y="151"/>
                </a:lnTo>
                <a:lnTo>
                  <a:pt x="112" y="155"/>
                </a:lnTo>
                <a:lnTo>
                  <a:pt x="101" y="155"/>
                </a:lnTo>
                <a:lnTo>
                  <a:pt x="95" y="153"/>
                </a:lnTo>
                <a:lnTo>
                  <a:pt x="95" y="153"/>
                </a:lnTo>
                <a:lnTo>
                  <a:pt x="84" y="144"/>
                </a:lnTo>
                <a:lnTo>
                  <a:pt x="79" y="137"/>
                </a:lnTo>
                <a:lnTo>
                  <a:pt x="73" y="129"/>
                </a:lnTo>
                <a:lnTo>
                  <a:pt x="72" y="126"/>
                </a:lnTo>
                <a:lnTo>
                  <a:pt x="68" y="126"/>
                </a:lnTo>
                <a:lnTo>
                  <a:pt x="68" y="126"/>
                </a:lnTo>
                <a:lnTo>
                  <a:pt x="64" y="126"/>
                </a:lnTo>
                <a:lnTo>
                  <a:pt x="61" y="127"/>
                </a:lnTo>
                <a:lnTo>
                  <a:pt x="61" y="127"/>
                </a:lnTo>
                <a:lnTo>
                  <a:pt x="50" y="126"/>
                </a:lnTo>
                <a:lnTo>
                  <a:pt x="41" y="127"/>
                </a:lnTo>
                <a:lnTo>
                  <a:pt x="33" y="131"/>
                </a:lnTo>
                <a:lnTo>
                  <a:pt x="30" y="133"/>
                </a:lnTo>
                <a:lnTo>
                  <a:pt x="28" y="137"/>
                </a:lnTo>
                <a:lnTo>
                  <a:pt x="28" y="137"/>
                </a:lnTo>
                <a:lnTo>
                  <a:pt x="41" y="137"/>
                </a:lnTo>
                <a:lnTo>
                  <a:pt x="48" y="138"/>
                </a:lnTo>
                <a:lnTo>
                  <a:pt x="48" y="140"/>
                </a:lnTo>
                <a:lnTo>
                  <a:pt x="46" y="142"/>
                </a:lnTo>
                <a:lnTo>
                  <a:pt x="46" y="142"/>
                </a:lnTo>
                <a:lnTo>
                  <a:pt x="42" y="146"/>
                </a:lnTo>
                <a:lnTo>
                  <a:pt x="44" y="149"/>
                </a:lnTo>
                <a:lnTo>
                  <a:pt x="46" y="153"/>
                </a:lnTo>
                <a:lnTo>
                  <a:pt x="52" y="157"/>
                </a:lnTo>
                <a:lnTo>
                  <a:pt x="75" y="169"/>
                </a:lnTo>
                <a:lnTo>
                  <a:pt x="75" y="169"/>
                </a:lnTo>
                <a:lnTo>
                  <a:pt x="75" y="169"/>
                </a:lnTo>
                <a:lnTo>
                  <a:pt x="75" y="171"/>
                </a:lnTo>
                <a:lnTo>
                  <a:pt x="75" y="171"/>
                </a:lnTo>
                <a:lnTo>
                  <a:pt x="75" y="171"/>
                </a:lnTo>
                <a:lnTo>
                  <a:pt x="68" y="171"/>
                </a:lnTo>
                <a:lnTo>
                  <a:pt x="59" y="168"/>
                </a:lnTo>
                <a:lnTo>
                  <a:pt x="39" y="160"/>
                </a:lnTo>
                <a:lnTo>
                  <a:pt x="39" y="160"/>
                </a:lnTo>
                <a:lnTo>
                  <a:pt x="35" y="160"/>
                </a:lnTo>
                <a:lnTo>
                  <a:pt x="31" y="160"/>
                </a:lnTo>
                <a:lnTo>
                  <a:pt x="28" y="164"/>
                </a:lnTo>
                <a:lnTo>
                  <a:pt x="28" y="164"/>
                </a:lnTo>
                <a:lnTo>
                  <a:pt x="24" y="164"/>
                </a:lnTo>
                <a:lnTo>
                  <a:pt x="19" y="164"/>
                </a:lnTo>
                <a:lnTo>
                  <a:pt x="11" y="168"/>
                </a:lnTo>
                <a:lnTo>
                  <a:pt x="8" y="171"/>
                </a:lnTo>
                <a:lnTo>
                  <a:pt x="2" y="175"/>
                </a:lnTo>
                <a:lnTo>
                  <a:pt x="0" y="180"/>
                </a:lnTo>
                <a:lnTo>
                  <a:pt x="0" y="186"/>
                </a:lnTo>
                <a:lnTo>
                  <a:pt x="2" y="193"/>
                </a:lnTo>
                <a:lnTo>
                  <a:pt x="2" y="193"/>
                </a:lnTo>
                <a:lnTo>
                  <a:pt x="8" y="186"/>
                </a:lnTo>
                <a:lnTo>
                  <a:pt x="13" y="180"/>
                </a:lnTo>
                <a:lnTo>
                  <a:pt x="17" y="180"/>
                </a:lnTo>
                <a:lnTo>
                  <a:pt x="20" y="180"/>
                </a:lnTo>
                <a:lnTo>
                  <a:pt x="20" y="180"/>
                </a:lnTo>
                <a:lnTo>
                  <a:pt x="22" y="182"/>
                </a:lnTo>
                <a:lnTo>
                  <a:pt x="22" y="188"/>
                </a:lnTo>
                <a:lnTo>
                  <a:pt x="22" y="191"/>
                </a:lnTo>
                <a:lnTo>
                  <a:pt x="24" y="195"/>
                </a:lnTo>
                <a:lnTo>
                  <a:pt x="26" y="197"/>
                </a:lnTo>
                <a:lnTo>
                  <a:pt x="26" y="197"/>
                </a:lnTo>
                <a:lnTo>
                  <a:pt x="30" y="199"/>
                </a:lnTo>
                <a:lnTo>
                  <a:pt x="37" y="199"/>
                </a:lnTo>
                <a:lnTo>
                  <a:pt x="52" y="197"/>
                </a:lnTo>
                <a:lnTo>
                  <a:pt x="66" y="195"/>
                </a:lnTo>
                <a:lnTo>
                  <a:pt x="73" y="195"/>
                </a:lnTo>
                <a:lnTo>
                  <a:pt x="75" y="195"/>
                </a:lnTo>
                <a:lnTo>
                  <a:pt x="75" y="195"/>
                </a:lnTo>
                <a:lnTo>
                  <a:pt x="75" y="197"/>
                </a:lnTo>
                <a:lnTo>
                  <a:pt x="72" y="199"/>
                </a:lnTo>
                <a:lnTo>
                  <a:pt x="59" y="200"/>
                </a:lnTo>
                <a:lnTo>
                  <a:pt x="44" y="202"/>
                </a:lnTo>
                <a:lnTo>
                  <a:pt x="39" y="206"/>
                </a:lnTo>
                <a:lnTo>
                  <a:pt x="37" y="208"/>
                </a:lnTo>
                <a:lnTo>
                  <a:pt x="37" y="208"/>
                </a:lnTo>
                <a:lnTo>
                  <a:pt x="37" y="213"/>
                </a:lnTo>
                <a:lnTo>
                  <a:pt x="37" y="213"/>
                </a:lnTo>
                <a:lnTo>
                  <a:pt x="37" y="215"/>
                </a:lnTo>
                <a:lnTo>
                  <a:pt x="33" y="219"/>
                </a:lnTo>
                <a:lnTo>
                  <a:pt x="30" y="226"/>
                </a:lnTo>
                <a:lnTo>
                  <a:pt x="28" y="233"/>
                </a:lnTo>
                <a:lnTo>
                  <a:pt x="28" y="233"/>
                </a:lnTo>
                <a:lnTo>
                  <a:pt x="28" y="237"/>
                </a:lnTo>
                <a:lnTo>
                  <a:pt x="30" y="243"/>
                </a:lnTo>
                <a:lnTo>
                  <a:pt x="35" y="248"/>
                </a:lnTo>
                <a:lnTo>
                  <a:pt x="41" y="253"/>
                </a:lnTo>
                <a:lnTo>
                  <a:pt x="41" y="253"/>
                </a:lnTo>
                <a:lnTo>
                  <a:pt x="42" y="252"/>
                </a:lnTo>
                <a:lnTo>
                  <a:pt x="41" y="244"/>
                </a:lnTo>
                <a:lnTo>
                  <a:pt x="41" y="239"/>
                </a:lnTo>
                <a:lnTo>
                  <a:pt x="42" y="237"/>
                </a:lnTo>
                <a:lnTo>
                  <a:pt x="42" y="235"/>
                </a:lnTo>
                <a:lnTo>
                  <a:pt x="42" y="235"/>
                </a:lnTo>
                <a:lnTo>
                  <a:pt x="46" y="235"/>
                </a:lnTo>
                <a:lnTo>
                  <a:pt x="48" y="237"/>
                </a:lnTo>
                <a:lnTo>
                  <a:pt x="52" y="241"/>
                </a:lnTo>
                <a:lnTo>
                  <a:pt x="55" y="243"/>
                </a:lnTo>
                <a:lnTo>
                  <a:pt x="55" y="243"/>
                </a:lnTo>
                <a:lnTo>
                  <a:pt x="59" y="241"/>
                </a:lnTo>
                <a:lnTo>
                  <a:pt x="62" y="239"/>
                </a:lnTo>
                <a:lnTo>
                  <a:pt x="72" y="232"/>
                </a:lnTo>
                <a:lnTo>
                  <a:pt x="81" y="222"/>
                </a:lnTo>
                <a:lnTo>
                  <a:pt x="86" y="217"/>
                </a:lnTo>
                <a:lnTo>
                  <a:pt x="94" y="213"/>
                </a:lnTo>
                <a:lnTo>
                  <a:pt x="94" y="213"/>
                </a:lnTo>
                <a:lnTo>
                  <a:pt x="103" y="210"/>
                </a:lnTo>
                <a:lnTo>
                  <a:pt x="106" y="208"/>
                </a:lnTo>
                <a:lnTo>
                  <a:pt x="108" y="210"/>
                </a:lnTo>
                <a:lnTo>
                  <a:pt x="108" y="211"/>
                </a:lnTo>
                <a:lnTo>
                  <a:pt x="108" y="217"/>
                </a:lnTo>
                <a:lnTo>
                  <a:pt x="108" y="221"/>
                </a:lnTo>
                <a:lnTo>
                  <a:pt x="110" y="222"/>
                </a:lnTo>
                <a:lnTo>
                  <a:pt x="110" y="222"/>
                </a:lnTo>
                <a:lnTo>
                  <a:pt x="115" y="224"/>
                </a:lnTo>
                <a:lnTo>
                  <a:pt x="117" y="226"/>
                </a:lnTo>
                <a:lnTo>
                  <a:pt x="117" y="230"/>
                </a:lnTo>
                <a:lnTo>
                  <a:pt x="115" y="233"/>
                </a:lnTo>
                <a:lnTo>
                  <a:pt x="112" y="239"/>
                </a:lnTo>
                <a:lnTo>
                  <a:pt x="108" y="243"/>
                </a:lnTo>
                <a:lnTo>
                  <a:pt x="108" y="243"/>
                </a:lnTo>
                <a:lnTo>
                  <a:pt x="114" y="243"/>
                </a:lnTo>
                <a:lnTo>
                  <a:pt x="121" y="241"/>
                </a:lnTo>
                <a:lnTo>
                  <a:pt x="128" y="233"/>
                </a:lnTo>
                <a:lnTo>
                  <a:pt x="132" y="230"/>
                </a:lnTo>
                <a:lnTo>
                  <a:pt x="136" y="224"/>
                </a:lnTo>
                <a:lnTo>
                  <a:pt x="136" y="224"/>
                </a:lnTo>
                <a:lnTo>
                  <a:pt x="136" y="221"/>
                </a:lnTo>
                <a:lnTo>
                  <a:pt x="137" y="221"/>
                </a:lnTo>
                <a:lnTo>
                  <a:pt x="141" y="219"/>
                </a:lnTo>
                <a:lnTo>
                  <a:pt x="143" y="217"/>
                </a:lnTo>
                <a:lnTo>
                  <a:pt x="143" y="217"/>
                </a:lnTo>
                <a:lnTo>
                  <a:pt x="145" y="215"/>
                </a:lnTo>
                <a:lnTo>
                  <a:pt x="145" y="211"/>
                </a:lnTo>
                <a:lnTo>
                  <a:pt x="145" y="208"/>
                </a:lnTo>
                <a:lnTo>
                  <a:pt x="145" y="204"/>
                </a:lnTo>
                <a:lnTo>
                  <a:pt x="145" y="204"/>
                </a:lnTo>
                <a:lnTo>
                  <a:pt x="147" y="200"/>
                </a:lnTo>
                <a:lnTo>
                  <a:pt x="150" y="199"/>
                </a:lnTo>
                <a:lnTo>
                  <a:pt x="157" y="197"/>
                </a:lnTo>
                <a:lnTo>
                  <a:pt x="165" y="195"/>
                </a:lnTo>
                <a:lnTo>
                  <a:pt x="167" y="193"/>
                </a:lnTo>
                <a:lnTo>
                  <a:pt x="167" y="191"/>
                </a:lnTo>
                <a:lnTo>
                  <a:pt x="167" y="191"/>
                </a:lnTo>
                <a:lnTo>
                  <a:pt x="167" y="186"/>
                </a:lnTo>
                <a:lnTo>
                  <a:pt x="170" y="180"/>
                </a:lnTo>
                <a:lnTo>
                  <a:pt x="176" y="179"/>
                </a:lnTo>
                <a:lnTo>
                  <a:pt x="179" y="177"/>
                </a:lnTo>
                <a:lnTo>
                  <a:pt x="179" y="177"/>
                </a:lnTo>
                <a:lnTo>
                  <a:pt x="181" y="179"/>
                </a:lnTo>
                <a:lnTo>
                  <a:pt x="183" y="184"/>
                </a:lnTo>
                <a:lnTo>
                  <a:pt x="189" y="190"/>
                </a:lnTo>
                <a:lnTo>
                  <a:pt x="194" y="193"/>
                </a:lnTo>
                <a:lnTo>
                  <a:pt x="199" y="197"/>
                </a:lnTo>
                <a:lnTo>
                  <a:pt x="199" y="197"/>
                </a:lnTo>
                <a:lnTo>
                  <a:pt x="221" y="186"/>
                </a:lnTo>
                <a:lnTo>
                  <a:pt x="221" y="186"/>
                </a:lnTo>
                <a:lnTo>
                  <a:pt x="231" y="182"/>
                </a:lnTo>
                <a:lnTo>
                  <a:pt x="234" y="179"/>
                </a:lnTo>
                <a:lnTo>
                  <a:pt x="234" y="179"/>
                </a:lnTo>
                <a:lnTo>
                  <a:pt x="231" y="173"/>
                </a:lnTo>
                <a:lnTo>
                  <a:pt x="227" y="169"/>
                </a:lnTo>
                <a:lnTo>
                  <a:pt x="225" y="164"/>
                </a:lnTo>
                <a:lnTo>
                  <a:pt x="225" y="164"/>
                </a:lnTo>
                <a:lnTo>
                  <a:pt x="223" y="158"/>
                </a:lnTo>
                <a:lnTo>
                  <a:pt x="223" y="155"/>
                </a:lnTo>
                <a:lnTo>
                  <a:pt x="223" y="155"/>
                </a:lnTo>
                <a:lnTo>
                  <a:pt x="229" y="162"/>
                </a:lnTo>
                <a:lnTo>
                  <a:pt x="236" y="168"/>
                </a:lnTo>
                <a:lnTo>
                  <a:pt x="245" y="173"/>
                </a:lnTo>
                <a:lnTo>
                  <a:pt x="245" y="173"/>
                </a:lnTo>
                <a:lnTo>
                  <a:pt x="271" y="157"/>
                </a:lnTo>
                <a:lnTo>
                  <a:pt x="271" y="157"/>
                </a:lnTo>
                <a:lnTo>
                  <a:pt x="276" y="155"/>
                </a:lnTo>
                <a:lnTo>
                  <a:pt x="276" y="155"/>
                </a:lnTo>
                <a:lnTo>
                  <a:pt x="276" y="155"/>
                </a:lnTo>
                <a:lnTo>
                  <a:pt x="276" y="155"/>
                </a:lnTo>
                <a:lnTo>
                  <a:pt x="273" y="149"/>
                </a:lnTo>
                <a:lnTo>
                  <a:pt x="267" y="144"/>
                </a:lnTo>
                <a:lnTo>
                  <a:pt x="262" y="137"/>
                </a:lnTo>
                <a:lnTo>
                  <a:pt x="262" y="133"/>
                </a:lnTo>
                <a:lnTo>
                  <a:pt x="263" y="131"/>
                </a:lnTo>
                <a:lnTo>
                  <a:pt x="263" y="131"/>
                </a:lnTo>
                <a:lnTo>
                  <a:pt x="265" y="129"/>
                </a:lnTo>
                <a:lnTo>
                  <a:pt x="265" y="126"/>
                </a:lnTo>
                <a:lnTo>
                  <a:pt x="262" y="115"/>
                </a:lnTo>
                <a:lnTo>
                  <a:pt x="258" y="105"/>
                </a:lnTo>
                <a:lnTo>
                  <a:pt x="258" y="100"/>
                </a:lnTo>
                <a:lnTo>
                  <a:pt x="262" y="98"/>
                </a:lnTo>
                <a:lnTo>
                  <a:pt x="262" y="98"/>
                </a:lnTo>
                <a:lnTo>
                  <a:pt x="313" y="73"/>
                </a:lnTo>
                <a:lnTo>
                  <a:pt x="357" y="51"/>
                </a:lnTo>
                <a:lnTo>
                  <a:pt x="357" y="51"/>
                </a:lnTo>
                <a:lnTo>
                  <a:pt x="353" y="45"/>
                </a:lnTo>
                <a:lnTo>
                  <a:pt x="349" y="38"/>
                </a:lnTo>
                <a:lnTo>
                  <a:pt x="344" y="3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88" name="Freeform 39"/>
          <p:cNvSpPr>
            <a:spLocks/>
          </p:cNvSpPr>
          <p:nvPr userDrawn="1"/>
        </p:nvSpPr>
        <p:spPr bwMode="auto">
          <a:xfrm>
            <a:off x="8229600" y="-437728"/>
            <a:ext cx="120650" cy="115888"/>
          </a:xfrm>
          <a:custGeom>
            <a:avLst/>
            <a:gdLst>
              <a:gd name="T0" fmla="*/ 0 w 152"/>
              <a:gd name="T1" fmla="*/ 42 h 144"/>
              <a:gd name="T2" fmla="*/ 2 w 152"/>
              <a:gd name="T3" fmla="*/ 51 h 144"/>
              <a:gd name="T4" fmla="*/ 4 w 152"/>
              <a:gd name="T5" fmla="*/ 57 h 144"/>
              <a:gd name="T6" fmla="*/ 15 w 152"/>
              <a:gd name="T7" fmla="*/ 60 h 144"/>
              <a:gd name="T8" fmla="*/ 18 w 152"/>
              <a:gd name="T9" fmla="*/ 58 h 144"/>
              <a:gd name="T10" fmla="*/ 20 w 152"/>
              <a:gd name="T11" fmla="*/ 51 h 144"/>
              <a:gd name="T12" fmla="*/ 22 w 152"/>
              <a:gd name="T13" fmla="*/ 44 h 144"/>
              <a:gd name="T14" fmla="*/ 24 w 152"/>
              <a:gd name="T15" fmla="*/ 42 h 144"/>
              <a:gd name="T16" fmla="*/ 26 w 152"/>
              <a:gd name="T17" fmla="*/ 42 h 144"/>
              <a:gd name="T18" fmla="*/ 28 w 152"/>
              <a:gd name="T19" fmla="*/ 40 h 144"/>
              <a:gd name="T20" fmla="*/ 68 w 152"/>
              <a:gd name="T21" fmla="*/ 60 h 144"/>
              <a:gd name="T22" fmla="*/ 106 w 152"/>
              <a:gd name="T23" fmla="*/ 86 h 144"/>
              <a:gd name="T24" fmla="*/ 112 w 152"/>
              <a:gd name="T25" fmla="*/ 89 h 144"/>
              <a:gd name="T26" fmla="*/ 106 w 152"/>
              <a:gd name="T27" fmla="*/ 100 h 144"/>
              <a:gd name="T28" fmla="*/ 95 w 152"/>
              <a:gd name="T29" fmla="*/ 128 h 144"/>
              <a:gd name="T30" fmla="*/ 93 w 152"/>
              <a:gd name="T31" fmla="*/ 135 h 144"/>
              <a:gd name="T32" fmla="*/ 97 w 152"/>
              <a:gd name="T33" fmla="*/ 142 h 144"/>
              <a:gd name="T34" fmla="*/ 104 w 152"/>
              <a:gd name="T35" fmla="*/ 144 h 144"/>
              <a:gd name="T36" fmla="*/ 110 w 152"/>
              <a:gd name="T37" fmla="*/ 144 h 144"/>
              <a:gd name="T38" fmla="*/ 117 w 152"/>
              <a:gd name="T39" fmla="*/ 139 h 144"/>
              <a:gd name="T40" fmla="*/ 119 w 152"/>
              <a:gd name="T41" fmla="*/ 135 h 144"/>
              <a:gd name="T42" fmla="*/ 119 w 152"/>
              <a:gd name="T43" fmla="*/ 130 h 144"/>
              <a:gd name="T44" fmla="*/ 112 w 152"/>
              <a:gd name="T45" fmla="*/ 122 h 144"/>
              <a:gd name="T46" fmla="*/ 110 w 152"/>
              <a:gd name="T47" fmla="*/ 122 h 144"/>
              <a:gd name="T48" fmla="*/ 115 w 152"/>
              <a:gd name="T49" fmla="*/ 110 h 144"/>
              <a:gd name="T50" fmla="*/ 123 w 152"/>
              <a:gd name="T51" fmla="*/ 93 h 144"/>
              <a:gd name="T52" fmla="*/ 132 w 152"/>
              <a:gd name="T53" fmla="*/ 86 h 144"/>
              <a:gd name="T54" fmla="*/ 141 w 152"/>
              <a:gd name="T55" fmla="*/ 84 h 144"/>
              <a:gd name="T56" fmla="*/ 139 w 152"/>
              <a:gd name="T57" fmla="*/ 80 h 144"/>
              <a:gd name="T58" fmla="*/ 135 w 152"/>
              <a:gd name="T59" fmla="*/ 69 h 144"/>
              <a:gd name="T60" fmla="*/ 137 w 152"/>
              <a:gd name="T61" fmla="*/ 57 h 144"/>
              <a:gd name="T62" fmla="*/ 141 w 152"/>
              <a:gd name="T63" fmla="*/ 49 h 144"/>
              <a:gd name="T64" fmla="*/ 152 w 152"/>
              <a:gd name="T65" fmla="*/ 18 h 144"/>
              <a:gd name="T66" fmla="*/ 152 w 152"/>
              <a:gd name="T67" fmla="*/ 13 h 144"/>
              <a:gd name="T68" fmla="*/ 146 w 152"/>
              <a:gd name="T69" fmla="*/ 5 h 144"/>
              <a:gd name="T70" fmla="*/ 141 w 152"/>
              <a:gd name="T71" fmla="*/ 4 h 144"/>
              <a:gd name="T72" fmla="*/ 132 w 152"/>
              <a:gd name="T73" fmla="*/ 7 h 144"/>
              <a:gd name="T74" fmla="*/ 128 w 152"/>
              <a:gd name="T75" fmla="*/ 15 h 144"/>
              <a:gd name="T76" fmla="*/ 128 w 152"/>
              <a:gd name="T77" fmla="*/ 20 h 144"/>
              <a:gd name="T78" fmla="*/ 134 w 152"/>
              <a:gd name="T79" fmla="*/ 27 h 144"/>
              <a:gd name="T80" fmla="*/ 137 w 152"/>
              <a:gd name="T81" fmla="*/ 29 h 144"/>
              <a:gd name="T82" fmla="*/ 132 w 152"/>
              <a:gd name="T83" fmla="*/ 46 h 144"/>
              <a:gd name="T84" fmla="*/ 124 w 152"/>
              <a:gd name="T85" fmla="*/ 55 h 144"/>
              <a:gd name="T86" fmla="*/ 117 w 152"/>
              <a:gd name="T87" fmla="*/ 51 h 144"/>
              <a:gd name="T88" fmla="*/ 60 w 152"/>
              <a:gd name="T89" fmla="*/ 24 h 144"/>
              <a:gd name="T90" fmla="*/ 40 w 152"/>
              <a:gd name="T91" fmla="*/ 18 h 144"/>
              <a:gd name="T92" fmla="*/ 42 w 152"/>
              <a:gd name="T93" fmla="*/ 13 h 144"/>
              <a:gd name="T94" fmla="*/ 50 w 152"/>
              <a:gd name="T95" fmla="*/ 0 h 144"/>
              <a:gd name="T96" fmla="*/ 46 w 152"/>
              <a:gd name="T97" fmla="*/ 2 h 144"/>
              <a:gd name="T98" fmla="*/ 39 w 152"/>
              <a:gd name="T99" fmla="*/ 5 h 144"/>
              <a:gd name="T100" fmla="*/ 24 w 152"/>
              <a:gd name="T101" fmla="*/ 11 h 144"/>
              <a:gd name="T102" fmla="*/ 18 w 152"/>
              <a:gd name="T103" fmla="*/ 11 h 144"/>
              <a:gd name="T104" fmla="*/ 15 w 152"/>
              <a:gd name="T105" fmla="*/ 11 h 144"/>
              <a:gd name="T106" fmla="*/ 9 w 152"/>
              <a:gd name="T107" fmla="*/ 22 h 144"/>
              <a:gd name="T108" fmla="*/ 6 w 152"/>
              <a:gd name="T109" fmla="*/ 33 h 144"/>
              <a:gd name="T110" fmla="*/ 2 w 152"/>
              <a:gd name="T111" fmla="*/ 3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2" h="144">
                <a:moveTo>
                  <a:pt x="0" y="42"/>
                </a:moveTo>
                <a:lnTo>
                  <a:pt x="0" y="42"/>
                </a:lnTo>
                <a:lnTo>
                  <a:pt x="0" y="47"/>
                </a:lnTo>
                <a:lnTo>
                  <a:pt x="2" y="51"/>
                </a:lnTo>
                <a:lnTo>
                  <a:pt x="4" y="57"/>
                </a:lnTo>
                <a:lnTo>
                  <a:pt x="4" y="57"/>
                </a:lnTo>
                <a:lnTo>
                  <a:pt x="11" y="58"/>
                </a:lnTo>
                <a:lnTo>
                  <a:pt x="15" y="60"/>
                </a:lnTo>
                <a:lnTo>
                  <a:pt x="18" y="58"/>
                </a:lnTo>
                <a:lnTo>
                  <a:pt x="18" y="58"/>
                </a:lnTo>
                <a:lnTo>
                  <a:pt x="20" y="55"/>
                </a:lnTo>
                <a:lnTo>
                  <a:pt x="20" y="51"/>
                </a:lnTo>
                <a:lnTo>
                  <a:pt x="20" y="47"/>
                </a:lnTo>
                <a:lnTo>
                  <a:pt x="22" y="44"/>
                </a:lnTo>
                <a:lnTo>
                  <a:pt x="22" y="44"/>
                </a:lnTo>
                <a:lnTo>
                  <a:pt x="24" y="42"/>
                </a:lnTo>
                <a:lnTo>
                  <a:pt x="26" y="42"/>
                </a:lnTo>
                <a:lnTo>
                  <a:pt x="26" y="42"/>
                </a:lnTo>
                <a:lnTo>
                  <a:pt x="28" y="40"/>
                </a:lnTo>
                <a:lnTo>
                  <a:pt x="28" y="40"/>
                </a:lnTo>
                <a:lnTo>
                  <a:pt x="48" y="49"/>
                </a:lnTo>
                <a:lnTo>
                  <a:pt x="68" y="60"/>
                </a:lnTo>
                <a:lnTo>
                  <a:pt x="106" y="86"/>
                </a:lnTo>
                <a:lnTo>
                  <a:pt x="106" y="86"/>
                </a:lnTo>
                <a:lnTo>
                  <a:pt x="112" y="89"/>
                </a:lnTo>
                <a:lnTo>
                  <a:pt x="112" y="89"/>
                </a:lnTo>
                <a:lnTo>
                  <a:pt x="106" y="100"/>
                </a:lnTo>
                <a:lnTo>
                  <a:pt x="106" y="100"/>
                </a:lnTo>
                <a:lnTo>
                  <a:pt x="97" y="119"/>
                </a:lnTo>
                <a:lnTo>
                  <a:pt x="95" y="128"/>
                </a:lnTo>
                <a:lnTo>
                  <a:pt x="93" y="135"/>
                </a:lnTo>
                <a:lnTo>
                  <a:pt x="93" y="135"/>
                </a:lnTo>
                <a:lnTo>
                  <a:pt x="95" y="139"/>
                </a:lnTo>
                <a:lnTo>
                  <a:pt x="97" y="142"/>
                </a:lnTo>
                <a:lnTo>
                  <a:pt x="101" y="144"/>
                </a:lnTo>
                <a:lnTo>
                  <a:pt x="104" y="144"/>
                </a:lnTo>
                <a:lnTo>
                  <a:pt x="104" y="144"/>
                </a:lnTo>
                <a:lnTo>
                  <a:pt x="110" y="144"/>
                </a:lnTo>
                <a:lnTo>
                  <a:pt x="113" y="142"/>
                </a:lnTo>
                <a:lnTo>
                  <a:pt x="117" y="139"/>
                </a:lnTo>
                <a:lnTo>
                  <a:pt x="119" y="135"/>
                </a:lnTo>
                <a:lnTo>
                  <a:pt x="119" y="135"/>
                </a:lnTo>
                <a:lnTo>
                  <a:pt x="119" y="131"/>
                </a:lnTo>
                <a:lnTo>
                  <a:pt x="119" y="130"/>
                </a:lnTo>
                <a:lnTo>
                  <a:pt x="115" y="124"/>
                </a:lnTo>
                <a:lnTo>
                  <a:pt x="112" y="122"/>
                </a:lnTo>
                <a:lnTo>
                  <a:pt x="110" y="122"/>
                </a:lnTo>
                <a:lnTo>
                  <a:pt x="110" y="122"/>
                </a:lnTo>
                <a:lnTo>
                  <a:pt x="115" y="110"/>
                </a:lnTo>
                <a:lnTo>
                  <a:pt x="115" y="110"/>
                </a:lnTo>
                <a:lnTo>
                  <a:pt x="119" y="100"/>
                </a:lnTo>
                <a:lnTo>
                  <a:pt x="123" y="93"/>
                </a:lnTo>
                <a:lnTo>
                  <a:pt x="128" y="89"/>
                </a:lnTo>
                <a:lnTo>
                  <a:pt x="132" y="86"/>
                </a:lnTo>
                <a:lnTo>
                  <a:pt x="137" y="84"/>
                </a:lnTo>
                <a:lnTo>
                  <a:pt x="141" y="84"/>
                </a:lnTo>
                <a:lnTo>
                  <a:pt x="141" y="84"/>
                </a:lnTo>
                <a:lnTo>
                  <a:pt x="139" y="80"/>
                </a:lnTo>
                <a:lnTo>
                  <a:pt x="135" y="75"/>
                </a:lnTo>
                <a:lnTo>
                  <a:pt x="135" y="69"/>
                </a:lnTo>
                <a:lnTo>
                  <a:pt x="135" y="64"/>
                </a:lnTo>
                <a:lnTo>
                  <a:pt x="137" y="57"/>
                </a:lnTo>
                <a:lnTo>
                  <a:pt x="141" y="49"/>
                </a:lnTo>
                <a:lnTo>
                  <a:pt x="141" y="49"/>
                </a:lnTo>
                <a:lnTo>
                  <a:pt x="148" y="31"/>
                </a:lnTo>
                <a:lnTo>
                  <a:pt x="152" y="18"/>
                </a:lnTo>
                <a:lnTo>
                  <a:pt x="152" y="18"/>
                </a:lnTo>
                <a:lnTo>
                  <a:pt x="152" y="13"/>
                </a:lnTo>
                <a:lnTo>
                  <a:pt x="150" y="9"/>
                </a:lnTo>
                <a:lnTo>
                  <a:pt x="146" y="5"/>
                </a:lnTo>
                <a:lnTo>
                  <a:pt x="141" y="4"/>
                </a:lnTo>
                <a:lnTo>
                  <a:pt x="141" y="4"/>
                </a:lnTo>
                <a:lnTo>
                  <a:pt x="137" y="5"/>
                </a:lnTo>
                <a:lnTo>
                  <a:pt x="132" y="7"/>
                </a:lnTo>
                <a:lnTo>
                  <a:pt x="130" y="11"/>
                </a:lnTo>
                <a:lnTo>
                  <a:pt x="128" y="15"/>
                </a:lnTo>
                <a:lnTo>
                  <a:pt x="128" y="15"/>
                </a:lnTo>
                <a:lnTo>
                  <a:pt x="128" y="20"/>
                </a:lnTo>
                <a:lnTo>
                  <a:pt x="130" y="24"/>
                </a:lnTo>
                <a:lnTo>
                  <a:pt x="134" y="27"/>
                </a:lnTo>
                <a:lnTo>
                  <a:pt x="137" y="29"/>
                </a:lnTo>
                <a:lnTo>
                  <a:pt x="137" y="29"/>
                </a:lnTo>
                <a:lnTo>
                  <a:pt x="137" y="29"/>
                </a:lnTo>
                <a:lnTo>
                  <a:pt x="132" y="46"/>
                </a:lnTo>
                <a:lnTo>
                  <a:pt x="124" y="55"/>
                </a:lnTo>
                <a:lnTo>
                  <a:pt x="124" y="55"/>
                </a:lnTo>
                <a:lnTo>
                  <a:pt x="117" y="51"/>
                </a:lnTo>
                <a:lnTo>
                  <a:pt x="117" y="51"/>
                </a:lnTo>
                <a:lnTo>
                  <a:pt x="81" y="31"/>
                </a:lnTo>
                <a:lnTo>
                  <a:pt x="60" y="24"/>
                </a:lnTo>
                <a:lnTo>
                  <a:pt x="40" y="18"/>
                </a:lnTo>
                <a:lnTo>
                  <a:pt x="40" y="18"/>
                </a:lnTo>
                <a:lnTo>
                  <a:pt x="42" y="13"/>
                </a:lnTo>
                <a:lnTo>
                  <a:pt x="42" y="13"/>
                </a:lnTo>
                <a:lnTo>
                  <a:pt x="48" y="4"/>
                </a:lnTo>
                <a:lnTo>
                  <a:pt x="50" y="0"/>
                </a:lnTo>
                <a:lnTo>
                  <a:pt x="50" y="0"/>
                </a:lnTo>
                <a:lnTo>
                  <a:pt x="46" y="2"/>
                </a:lnTo>
                <a:lnTo>
                  <a:pt x="39" y="5"/>
                </a:lnTo>
                <a:lnTo>
                  <a:pt x="39" y="5"/>
                </a:lnTo>
                <a:lnTo>
                  <a:pt x="29" y="9"/>
                </a:lnTo>
                <a:lnTo>
                  <a:pt x="24" y="11"/>
                </a:lnTo>
                <a:lnTo>
                  <a:pt x="24" y="11"/>
                </a:lnTo>
                <a:lnTo>
                  <a:pt x="18" y="11"/>
                </a:lnTo>
                <a:lnTo>
                  <a:pt x="15" y="11"/>
                </a:lnTo>
                <a:lnTo>
                  <a:pt x="15" y="11"/>
                </a:lnTo>
                <a:lnTo>
                  <a:pt x="13" y="13"/>
                </a:lnTo>
                <a:lnTo>
                  <a:pt x="9" y="22"/>
                </a:lnTo>
                <a:lnTo>
                  <a:pt x="9" y="22"/>
                </a:lnTo>
                <a:lnTo>
                  <a:pt x="6" y="33"/>
                </a:lnTo>
                <a:lnTo>
                  <a:pt x="6" y="33"/>
                </a:lnTo>
                <a:lnTo>
                  <a:pt x="2" y="38"/>
                </a:lnTo>
                <a:lnTo>
                  <a:pt x="0" y="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89" name="Freeform 40"/>
          <p:cNvSpPr>
            <a:spLocks/>
          </p:cNvSpPr>
          <p:nvPr userDrawn="1"/>
        </p:nvSpPr>
        <p:spPr bwMode="auto">
          <a:xfrm>
            <a:off x="8226425" y="-921915"/>
            <a:ext cx="30163" cy="34925"/>
          </a:xfrm>
          <a:custGeom>
            <a:avLst/>
            <a:gdLst>
              <a:gd name="T0" fmla="*/ 12 w 36"/>
              <a:gd name="T1" fmla="*/ 44 h 44"/>
              <a:gd name="T2" fmla="*/ 12 w 36"/>
              <a:gd name="T3" fmla="*/ 44 h 44"/>
              <a:gd name="T4" fmla="*/ 27 w 36"/>
              <a:gd name="T5" fmla="*/ 42 h 44"/>
              <a:gd name="T6" fmla="*/ 36 w 36"/>
              <a:gd name="T7" fmla="*/ 40 h 44"/>
              <a:gd name="T8" fmla="*/ 36 w 36"/>
              <a:gd name="T9" fmla="*/ 3 h 44"/>
              <a:gd name="T10" fmla="*/ 36 w 36"/>
              <a:gd name="T11" fmla="*/ 3 h 44"/>
              <a:gd name="T12" fmla="*/ 16 w 36"/>
              <a:gd name="T13" fmla="*/ 0 h 44"/>
              <a:gd name="T14" fmla="*/ 16 w 36"/>
              <a:gd name="T15" fmla="*/ 0 h 44"/>
              <a:gd name="T16" fmla="*/ 11 w 36"/>
              <a:gd name="T17" fmla="*/ 0 h 44"/>
              <a:gd name="T18" fmla="*/ 7 w 36"/>
              <a:gd name="T19" fmla="*/ 2 h 44"/>
              <a:gd name="T20" fmla="*/ 3 w 36"/>
              <a:gd name="T21" fmla="*/ 3 h 44"/>
              <a:gd name="T22" fmla="*/ 1 w 36"/>
              <a:gd name="T23" fmla="*/ 7 h 44"/>
              <a:gd name="T24" fmla="*/ 0 w 36"/>
              <a:gd name="T25" fmla="*/ 13 h 44"/>
              <a:gd name="T26" fmla="*/ 0 w 36"/>
              <a:gd name="T27" fmla="*/ 16 h 44"/>
              <a:gd name="T28" fmla="*/ 0 w 36"/>
              <a:gd name="T29" fmla="*/ 27 h 44"/>
              <a:gd name="T30" fmla="*/ 0 w 36"/>
              <a:gd name="T31" fmla="*/ 27 h 44"/>
              <a:gd name="T32" fmla="*/ 1 w 36"/>
              <a:gd name="T33" fmla="*/ 34 h 44"/>
              <a:gd name="T34" fmla="*/ 5 w 36"/>
              <a:gd name="T35" fmla="*/ 40 h 44"/>
              <a:gd name="T36" fmla="*/ 9 w 36"/>
              <a:gd name="T37" fmla="*/ 42 h 44"/>
              <a:gd name="T38" fmla="*/ 12 w 36"/>
              <a:gd name="T3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 h="44">
                <a:moveTo>
                  <a:pt x="12" y="44"/>
                </a:moveTo>
                <a:lnTo>
                  <a:pt x="12" y="44"/>
                </a:lnTo>
                <a:lnTo>
                  <a:pt x="27" y="42"/>
                </a:lnTo>
                <a:lnTo>
                  <a:pt x="36" y="40"/>
                </a:lnTo>
                <a:lnTo>
                  <a:pt x="36" y="3"/>
                </a:lnTo>
                <a:lnTo>
                  <a:pt x="36" y="3"/>
                </a:lnTo>
                <a:lnTo>
                  <a:pt x="16" y="0"/>
                </a:lnTo>
                <a:lnTo>
                  <a:pt x="16" y="0"/>
                </a:lnTo>
                <a:lnTo>
                  <a:pt x="11" y="0"/>
                </a:lnTo>
                <a:lnTo>
                  <a:pt x="7" y="2"/>
                </a:lnTo>
                <a:lnTo>
                  <a:pt x="3" y="3"/>
                </a:lnTo>
                <a:lnTo>
                  <a:pt x="1" y="7"/>
                </a:lnTo>
                <a:lnTo>
                  <a:pt x="0" y="13"/>
                </a:lnTo>
                <a:lnTo>
                  <a:pt x="0" y="16"/>
                </a:lnTo>
                <a:lnTo>
                  <a:pt x="0" y="27"/>
                </a:lnTo>
                <a:lnTo>
                  <a:pt x="0" y="27"/>
                </a:lnTo>
                <a:lnTo>
                  <a:pt x="1" y="34"/>
                </a:lnTo>
                <a:lnTo>
                  <a:pt x="5" y="40"/>
                </a:lnTo>
                <a:lnTo>
                  <a:pt x="9" y="42"/>
                </a:lnTo>
                <a:lnTo>
                  <a:pt x="12" y="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0" name="Freeform 41"/>
          <p:cNvSpPr>
            <a:spLocks/>
          </p:cNvSpPr>
          <p:nvPr userDrawn="1"/>
        </p:nvSpPr>
        <p:spPr bwMode="auto">
          <a:xfrm>
            <a:off x="8262938" y="-928265"/>
            <a:ext cx="44450" cy="41275"/>
          </a:xfrm>
          <a:custGeom>
            <a:avLst/>
            <a:gdLst>
              <a:gd name="T0" fmla="*/ 55 w 55"/>
              <a:gd name="T1" fmla="*/ 38 h 53"/>
              <a:gd name="T2" fmla="*/ 55 w 55"/>
              <a:gd name="T3" fmla="*/ 27 h 53"/>
              <a:gd name="T4" fmla="*/ 55 w 55"/>
              <a:gd name="T5" fmla="*/ 7 h 53"/>
              <a:gd name="T6" fmla="*/ 55 w 55"/>
              <a:gd name="T7" fmla="*/ 1 h 53"/>
              <a:gd name="T8" fmla="*/ 53 w 55"/>
              <a:gd name="T9" fmla="*/ 0 h 53"/>
              <a:gd name="T10" fmla="*/ 46 w 55"/>
              <a:gd name="T11" fmla="*/ 0 h 53"/>
              <a:gd name="T12" fmla="*/ 40 w 55"/>
              <a:gd name="T13" fmla="*/ 0 h 53"/>
              <a:gd name="T14" fmla="*/ 29 w 55"/>
              <a:gd name="T15" fmla="*/ 0 h 53"/>
              <a:gd name="T16" fmla="*/ 28 w 55"/>
              <a:gd name="T17" fmla="*/ 7 h 53"/>
              <a:gd name="T18" fmla="*/ 26 w 55"/>
              <a:gd name="T19" fmla="*/ 0 h 53"/>
              <a:gd name="T20" fmla="*/ 17 w 55"/>
              <a:gd name="T21" fmla="*/ 0 h 53"/>
              <a:gd name="T22" fmla="*/ 11 w 55"/>
              <a:gd name="T23" fmla="*/ 0 h 53"/>
              <a:gd name="T24" fmla="*/ 4 w 55"/>
              <a:gd name="T25" fmla="*/ 0 h 53"/>
              <a:gd name="T26" fmla="*/ 2 w 55"/>
              <a:gd name="T27" fmla="*/ 1 h 53"/>
              <a:gd name="T28" fmla="*/ 0 w 55"/>
              <a:gd name="T29" fmla="*/ 7 h 53"/>
              <a:gd name="T30" fmla="*/ 0 w 55"/>
              <a:gd name="T31" fmla="*/ 27 h 53"/>
              <a:gd name="T32" fmla="*/ 0 w 55"/>
              <a:gd name="T33" fmla="*/ 49 h 53"/>
              <a:gd name="T34" fmla="*/ 6 w 55"/>
              <a:gd name="T35" fmla="*/ 49 h 53"/>
              <a:gd name="T36" fmla="*/ 9 w 55"/>
              <a:gd name="T37" fmla="*/ 47 h 53"/>
              <a:gd name="T38" fmla="*/ 13 w 55"/>
              <a:gd name="T39" fmla="*/ 40 h 53"/>
              <a:gd name="T40" fmla="*/ 13 w 55"/>
              <a:gd name="T41" fmla="*/ 53 h 53"/>
              <a:gd name="T42" fmla="*/ 17 w 55"/>
              <a:gd name="T43" fmla="*/ 53 h 53"/>
              <a:gd name="T44" fmla="*/ 24 w 55"/>
              <a:gd name="T45" fmla="*/ 49 h 53"/>
              <a:gd name="T46" fmla="*/ 26 w 55"/>
              <a:gd name="T47" fmla="*/ 43 h 53"/>
              <a:gd name="T48" fmla="*/ 28 w 55"/>
              <a:gd name="T49" fmla="*/ 40 h 53"/>
              <a:gd name="T50" fmla="*/ 28 w 55"/>
              <a:gd name="T51" fmla="*/ 53 h 53"/>
              <a:gd name="T52" fmla="*/ 39 w 55"/>
              <a:gd name="T53" fmla="*/ 49 h 53"/>
              <a:gd name="T54" fmla="*/ 42 w 55"/>
              <a:gd name="T55" fmla="*/ 43 h 53"/>
              <a:gd name="T56" fmla="*/ 42 w 55"/>
              <a:gd name="T57" fmla="*/ 40 h 53"/>
              <a:gd name="T58" fmla="*/ 42 w 55"/>
              <a:gd name="T59" fmla="*/ 49 h 53"/>
              <a:gd name="T60" fmla="*/ 46 w 55"/>
              <a:gd name="T61" fmla="*/ 47 h 53"/>
              <a:gd name="T62" fmla="*/ 51 w 55"/>
              <a:gd name="T63" fmla="*/ 45 h 53"/>
              <a:gd name="T64" fmla="*/ 55 w 55"/>
              <a:gd name="T65" fmla="*/ 38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5" h="53">
                <a:moveTo>
                  <a:pt x="55" y="38"/>
                </a:moveTo>
                <a:lnTo>
                  <a:pt x="55" y="38"/>
                </a:lnTo>
                <a:lnTo>
                  <a:pt x="55" y="27"/>
                </a:lnTo>
                <a:lnTo>
                  <a:pt x="55" y="27"/>
                </a:lnTo>
                <a:lnTo>
                  <a:pt x="55" y="7"/>
                </a:lnTo>
                <a:lnTo>
                  <a:pt x="55" y="7"/>
                </a:lnTo>
                <a:lnTo>
                  <a:pt x="55" y="3"/>
                </a:lnTo>
                <a:lnTo>
                  <a:pt x="55" y="1"/>
                </a:lnTo>
                <a:lnTo>
                  <a:pt x="53" y="0"/>
                </a:lnTo>
                <a:lnTo>
                  <a:pt x="53" y="0"/>
                </a:lnTo>
                <a:lnTo>
                  <a:pt x="46" y="0"/>
                </a:lnTo>
                <a:lnTo>
                  <a:pt x="46" y="0"/>
                </a:lnTo>
                <a:lnTo>
                  <a:pt x="42" y="7"/>
                </a:lnTo>
                <a:lnTo>
                  <a:pt x="40" y="0"/>
                </a:lnTo>
                <a:lnTo>
                  <a:pt x="40" y="0"/>
                </a:lnTo>
                <a:lnTo>
                  <a:pt x="29" y="0"/>
                </a:lnTo>
                <a:lnTo>
                  <a:pt x="29" y="0"/>
                </a:lnTo>
                <a:lnTo>
                  <a:pt x="28" y="7"/>
                </a:lnTo>
                <a:lnTo>
                  <a:pt x="26" y="0"/>
                </a:lnTo>
                <a:lnTo>
                  <a:pt x="26" y="0"/>
                </a:lnTo>
                <a:lnTo>
                  <a:pt x="17" y="0"/>
                </a:lnTo>
                <a:lnTo>
                  <a:pt x="17" y="0"/>
                </a:lnTo>
                <a:lnTo>
                  <a:pt x="13" y="7"/>
                </a:lnTo>
                <a:lnTo>
                  <a:pt x="11" y="0"/>
                </a:lnTo>
                <a:lnTo>
                  <a:pt x="11" y="0"/>
                </a:lnTo>
                <a:lnTo>
                  <a:pt x="4" y="0"/>
                </a:lnTo>
                <a:lnTo>
                  <a:pt x="4" y="0"/>
                </a:lnTo>
                <a:lnTo>
                  <a:pt x="2" y="1"/>
                </a:lnTo>
                <a:lnTo>
                  <a:pt x="0" y="3"/>
                </a:lnTo>
                <a:lnTo>
                  <a:pt x="0" y="7"/>
                </a:lnTo>
                <a:lnTo>
                  <a:pt x="0" y="7"/>
                </a:lnTo>
                <a:lnTo>
                  <a:pt x="0" y="27"/>
                </a:lnTo>
                <a:lnTo>
                  <a:pt x="0" y="27"/>
                </a:lnTo>
                <a:lnTo>
                  <a:pt x="0" y="49"/>
                </a:lnTo>
                <a:lnTo>
                  <a:pt x="0" y="49"/>
                </a:lnTo>
                <a:lnTo>
                  <a:pt x="6" y="49"/>
                </a:lnTo>
                <a:lnTo>
                  <a:pt x="9" y="47"/>
                </a:lnTo>
                <a:lnTo>
                  <a:pt x="9" y="47"/>
                </a:lnTo>
                <a:lnTo>
                  <a:pt x="11" y="42"/>
                </a:lnTo>
                <a:lnTo>
                  <a:pt x="13" y="40"/>
                </a:lnTo>
                <a:lnTo>
                  <a:pt x="13" y="40"/>
                </a:lnTo>
                <a:lnTo>
                  <a:pt x="13" y="53"/>
                </a:lnTo>
                <a:lnTo>
                  <a:pt x="13" y="53"/>
                </a:lnTo>
                <a:lnTo>
                  <a:pt x="17" y="53"/>
                </a:lnTo>
                <a:lnTo>
                  <a:pt x="20" y="51"/>
                </a:lnTo>
                <a:lnTo>
                  <a:pt x="24" y="49"/>
                </a:lnTo>
                <a:lnTo>
                  <a:pt x="24" y="49"/>
                </a:lnTo>
                <a:lnTo>
                  <a:pt x="26" y="43"/>
                </a:lnTo>
                <a:lnTo>
                  <a:pt x="28" y="40"/>
                </a:lnTo>
                <a:lnTo>
                  <a:pt x="28" y="40"/>
                </a:lnTo>
                <a:lnTo>
                  <a:pt x="28" y="53"/>
                </a:lnTo>
                <a:lnTo>
                  <a:pt x="28" y="53"/>
                </a:lnTo>
                <a:lnTo>
                  <a:pt x="33" y="51"/>
                </a:lnTo>
                <a:lnTo>
                  <a:pt x="39" y="49"/>
                </a:lnTo>
                <a:lnTo>
                  <a:pt x="39" y="49"/>
                </a:lnTo>
                <a:lnTo>
                  <a:pt x="42" y="43"/>
                </a:lnTo>
                <a:lnTo>
                  <a:pt x="42" y="40"/>
                </a:lnTo>
                <a:lnTo>
                  <a:pt x="42" y="40"/>
                </a:lnTo>
                <a:lnTo>
                  <a:pt x="42" y="49"/>
                </a:lnTo>
                <a:lnTo>
                  <a:pt x="42" y="49"/>
                </a:lnTo>
                <a:lnTo>
                  <a:pt x="46" y="47"/>
                </a:lnTo>
                <a:lnTo>
                  <a:pt x="46" y="47"/>
                </a:lnTo>
                <a:lnTo>
                  <a:pt x="51" y="45"/>
                </a:lnTo>
                <a:lnTo>
                  <a:pt x="51" y="45"/>
                </a:lnTo>
                <a:lnTo>
                  <a:pt x="53" y="43"/>
                </a:lnTo>
                <a:lnTo>
                  <a:pt x="55" y="3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1" name="Freeform 42"/>
          <p:cNvSpPr>
            <a:spLocks/>
          </p:cNvSpPr>
          <p:nvPr userDrawn="1"/>
        </p:nvSpPr>
        <p:spPr bwMode="auto">
          <a:xfrm>
            <a:off x="8269288" y="-926678"/>
            <a:ext cx="53975" cy="60325"/>
          </a:xfrm>
          <a:custGeom>
            <a:avLst/>
            <a:gdLst>
              <a:gd name="T0" fmla="*/ 67 w 67"/>
              <a:gd name="T1" fmla="*/ 57 h 77"/>
              <a:gd name="T2" fmla="*/ 67 w 67"/>
              <a:gd name="T3" fmla="*/ 44 h 77"/>
              <a:gd name="T4" fmla="*/ 67 w 67"/>
              <a:gd name="T5" fmla="*/ 44 h 77"/>
              <a:gd name="T6" fmla="*/ 65 w 67"/>
              <a:gd name="T7" fmla="*/ 42 h 77"/>
              <a:gd name="T8" fmla="*/ 63 w 67"/>
              <a:gd name="T9" fmla="*/ 37 h 77"/>
              <a:gd name="T10" fmla="*/ 63 w 67"/>
              <a:gd name="T11" fmla="*/ 30 h 77"/>
              <a:gd name="T12" fmla="*/ 63 w 67"/>
              <a:gd name="T13" fmla="*/ 30 h 77"/>
              <a:gd name="T14" fmla="*/ 63 w 67"/>
              <a:gd name="T15" fmla="*/ 26 h 77"/>
              <a:gd name="T16" fmla="*/ 65 w 67"/>
              <a:gd name="T17" fmla="*/ 21 h 77"/>
              <a:gd name="T18" fmla="*/ 67 w 67"/>
              <a:gd name="T19" fmla="*/ 17 h 77"/>
              <a:gd name="T20" fmla="*/ 67 w 67"/>
              <a:gd name="T21" fmla="*/ 6 h 77"/>
              <a:gd name="T22" fmla="*/ 67 w 67"/>
              <a:gd name="T23" fmla="*/ 6 h 77"/>
              <a:gd name="T24" fmla="*/ 63 w 67"/>
              <a:gd name="T25" fmla="*/ 2 h 77"/>
              <a:gd name="T26" fmla="*/ 60 w 67"/>
              <a:gd name="T27" fmla="*/ 0 h 77"/>
              <a:gd name="T28" fmla="*/ 56 w 67"/>
              <a:gd name="T29" fmla="*/ 0 h 77"/>
              <a:gd name="T30" fmla="*/ 56 w 67"/>
              <a:gd name="T31" fmla="*/ 41 h 77"/>
              <a:gd name="T32" fmla="*/ 56 w 67"/>
              <a:gd name="T33" fmla="*/ 41 h 77"/>
              <a:gd name="T34" fmla="*/ 54 w 67"/>
              <a:gd name="T35" fmla="*/ 46 h 77"/>
              <a:gd name="T36" fmla="*/ 51 w 67"/>
              <a:gd name="T37" fmla="*/ 52 h 77"/>
              <a:gd name="T38" fmla="*/ 45 w 67"/>
              <a:gd name="T39" fmla="*/ 55 h 77"/>
              <a:gd name="T40" fmla="*/ 38 w 67"/>
              <a:gd name="T41" fmla="*/ 57 h 77"/>
              <a:gd name="T42" fmla="*/ 38 w 67"/>
              <a:gd name="T43" fmla="*/ 57 h 77"/>
              <a:gd name="T44" fmla="*/ 23 w 67"/>
              <a:gd name="T45" fmla="*/ 59 h 77"/>
              <a:gd name="T46" fmla="*/ 10 w 67"/>
              <a:gd name="T47" fmla="*/ 61 h 77"/>
              <a:gd name="T48" fmla="*/ 0 w 67"/>
              <a:gd name="T49" fmla="*/ 61 h 77"/>
              <a:gd name="T50" fmla="*/ 0 w 67"/>
              <a:gd name="T51" fmla="*/ 61 h 77"/>
              <a:gd name="T52" fmla="*/ 1 w 67"/>
              <a:gd name="T53" fmla="*/ 70 h 77"/>
              <a:gd name="T54" fmla="*/ 1 w 67"/>
              <a:gd name="T55" fmla="*/ 70 h 77"/>
              <a:gd name="T56" fmla="*/ 5 w 67"/>
              <a:gd name="T57" fmla="*/ 75 h 77"/>
              <a:gd name="T58" fmla="*/ 7 w 67"/>
              <a:gd name="T59" fmla="*/ 77 h 77"/>
              <a:gd name="T60" fmla="*/ 54 w 67"/>
              <a:gd name="T61" fmla="*/ 77 h 77"/>
              <a:gd name="T62" fmla="*/ 67 w 67"/>
              <a:gd name="T63" fmla="*/ 5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7" h="77">
                <a:moveTo>
                  <a:pt x="67" y="57"/>
                </a:moveTo>
                <a:lnTo>
                  <a:pt x="67" y="44"/>
                </a:lnTo>
                <a:lnTo>
                  <a:pt x="67" y="44"/>
                </a:lnTo>
                <a:lnTo>
                  <a:pt x="65" y="42"/>
                </a:lnTo>
                <a:lnTo>
                  <a:pt x="63" y="37"/>
                </a:lnTo>
                <a:lnTo>
                  <a:pt x="63" y="30"/>
                </a:lnTo>
                <a:lnTo>
                  <a:pt x="63" y="30"/>
                </a:lnTo>
                <a:lnTo>
                  <a:pt x="63" y="26"/>
                </a:lnTo>
                <a:lnTo>
                  <a:pt x="65" y="21"/>
                </a:lnTo>
                <a:lnTo>
                  <a:pt x="67" y="17"/>
                </a:lnTo>
                <a:lnTo>
                  <a:pt x="67" y="6"/>
                </a:lnTo>
                <a:lnTo>
                  <a:pt x="67" y="6"/>
                </a:lnTo>
                <a:lnTo>
                  <a:pt x="63" y="2"/>
                </a:lnTo>
                <a:lnTo>
                  <a:pt x="60" y="0"/>
                </a:lnTo>
                <a:lnTo>
                  <a:pt x="56" y="0"/>
                </a:lnTo>
                <a:lnTo>
                  <a:pt x="56" y="41"/>
                </a:lnTo>
                <a:lnTo>
                  <a:pt x="56" y="41"/>
                </a:lnTo>
                <a:lnTo>
                  <a:pt x="54" y="46"/>
                </a:lnTo>
                <a:lnTo>
                  <a:pt x="51" y="52"/>
                </a:lnTo>
                <a:lnTo>
                  <a:pt x="45" y="55"/>
                </a:lnTo>
                <a:lnTo>
                  <a:pt x="38" y="57"/>
                </a:lnTo>
                <a:lnTo>
                  <a:pt x="38" y="57"/>
                </a:lnTo>
                <a:lnTo>
                  <a:pt x="23" y="59"/>
                </a:lnTo>
                <a:lnTo>
                  <a:pt x="10" y="61"/>
                </a:lnTo>
                <a:lnTo>
                  <a:pt x="0" y="61"/>
                </a:lnTo>
                <a:lnTo>
                  <a:pt x="0" y="61"/>
                </a:lnTo>
                <a:lnTo>
                  <a:pt x="1" y="70"/>
                </a:lnTo>
                <a:lnTo>
                  <a:pt x="1" y="70"/>
                </a:lnTo>
                <a:lnTo>
                  <a:pt x="5" y="75"/>
                </a:lnTo>
                <a:lnTo>
                  <a:pt x="7" y="77"/>
                </a:lnTo>
                <a:lnTo>
                  <a:pt x="54" y="77"/>
                </a:lnTo>
                <a:lnTo>
                  <a:pt x="67" y="5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2" name="Freeform 43"/>
          <p:cNvSpPr>
            <a:spLocks/>
          </p:cNvSpPr>
          <p:nvPr userDrawn="1"/>
        </p:nvSpPr>
        <p:spPr bwMode="auto">
          <a:xfrm>
            <a:off x="8272463" y="-858415"/>
            <a:ext cx="42863" cy="14288"/>
          </a:xfrm>
          <a:custGeom>
            <a:avLst/>
            <a:gdLst>
              <a:gd name="T0" fmla="*/ 4 w 55"/>
              <a:gd name="T1" fmla="*/ 19 h 19"/>
              <a:gd name="T2" fmla="*/ 51 w 55"/>
              <a:gd name="T3" fmla="*/ 19 h 19"/>
              <a:gd name="T4" fmla="*/ 51 w 55"/>
              <a:gd name="T5" fmla="*/ 19 h 19"/>
              <a:gd name="T6" fmla="*/ 55 w 55"/>
              <a:gd name="T7" fmla="*/ 9 h 19"/>
              <a:gd name="T8" fmla="*/ 53 w 55"/>
              <a:gd name="T9" fmla="*/ 0 h 19"/>
              <a:gd name="T10" fmla="*/ 4 w 55"/>
              <a:gd name="T11" fmla="*/ 0 h 19"/>
              <a:gd name="T12" fmla="*/ 0 w 55"/>
              <a:gd name="T13" fmla="*/ 9 h 19"/>
              <a:gd name="T14" fmla="*/ 4 w 55"/>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19">
                <a:moveTo>
                  <a:pt x="4" y="19"/>
                </a:moveTo>
                <a:lnTo>
                  <a:pt x="51" y="19"/>
                </a:lnTo>
                <a:lnTo>
                  <a:pt x="51" y="19"/>
                </a:lnTo>
                <a:lnTo>
                  <a:pt x="55" y="9"/>
                </a:lnTo>
                <a:lnTo>
                  <a:pt x="53" y="0"/>
                </a:lnTo>
                <a:lnTo>
                  <a:pt x="4" y="0"/>
                </a:lnTo>
                <a:lnTo>
                  <a:pt x="0" y="9"/>
                </a:lnTo>
                <a:lnTo>
                  <a:pt x="4" y="1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3" name="Freeform 44"/>
          <p:cNvSpPr>
            <a:spLocks/>
          </p:cNvSpPr>
          <p:nvPr userDrawn="1"/>
        </p:nvSpPr>
        <p:spPr bwMode="auto">
          <a:xfrm>
            <a:off x="8274050" y="-837778"/>
            <a:ext cx="44450" cy="50800"/>
          </a:xfrm>
          <a:custGeom>
            <a:avLst/>
            <a:gdLst>
              <a:gd name="T0" fmla="*/ 47 w 55"/>
              <a:gd name="T1" fmla="*/ 0 h 64"/>
              <a:gd name="T2" fmla="*/ 0 w 55"/>
              <a:gd name="T3" fmla="*/ 0 h 64"/>
              <a:gd name="T4" fmla="*/ 0 w 55"/>
              <a:gd name="T5" fmla="*/ 62 h 64"/>
              <a:gd name="T6" fmla="*/ 42 w 55"/>
              <a:gd name="T7" fmla="*/ 64 h 64"/>
              <a:gd name="T8" fmla="*/ 55 w 55"/>
              <a:gd name="T9" fmla="*/ 53 h 64"/>
              <a:gd name="T10" fmla="*/ 47 w 55"/>
              <a:gd name="T11" fmla="*/ 0 h 64"/>
            </a:gdLst>
            <a:ahLst/>
            <a:cxnLst>
              <a:cxn ang="0">
                <a:pos x="T0" y="T1"/>
              </a:cxn>
              <a:cxn ang="0">
                <a:pos x="T2" y="T3"/>
              </a:cxn>
              <a:cxn ang="0">
                <a:pos x="T4" y="T5"/>
              </a:cxn>
              <a:cxn ang="0">
                <a:pos x="T6" y="T7"/>
              </a:cxn>
              <a:cxn ang="0">
                <a:pos x="T8" y="T9"/>
              </a:cxn>
              <a:cxn ang="0">
                <a:pos x="T10" y="T11"/>
              </a:cxn>
            </a:cxnLst>
            <a:rect l="0" t="0" r="r" b="b"/>
            <a:pathLst>
              <a:path w="55" h="64">
                <a:moveTo>
                  <a:pt x="47" y="0"/>
                </a:moveTo>
                <a:lnTo>
                  <a:pt x="0" y="0"/>
                </a:lnTo>
                <a:lnTo>
                  <a:pt x="0" y="62"/>
                </a:lnTo>
                <a:lnTo>
                  <a:pt x="42" y="64"/>
                </a:lnTo>
                <a:lnTo>
                  <a:pt x="55" y="53"/>
                </a:lnTo>
                <a:lnTo>
                  <a:pt x="4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4" name="Freeform 45"/>
          <p:cNvSpPr>
            <a:spLocks/>
          </p:cNvSpPr>
          <p:nvPr userDrawn="1"/>
        </p:nvSpPr>
        <p:spPr bwMode="auto">
          <a:xfrm>
            <a:off x="8274050" y="-788565"/>
            <a:ext cx="57150" cy="50800"/>
          </a:xfrm>
          <a:custGeom>
            <a:avLst/>
            <a:gdLst>
              <a:gd name="T0" fmla="*/ 73 w 73"/>
              <a:gd name="T1" fmla="*/ 16 h 64"/>
              <a:gd name="T2" fmla="*/ 73 w 73"/>
              <a:gd name="T3" fmla="*/ 16 h 64"/>
              <a:gd name="T4" fmla="*/ 64 w 73"/>
              <a:gd name="T5" fmla="*/ 9 h 64"/>
              <a:gd name="T6" fmla="*/ 64 w 73"/>
              <a:gd name="T7" fmla="*/ 9 h 64"/>
              <a:gd name="T8" fmla="*/ 62 w 73"/>
              <a:gd name="T9" fmla="*/ 0 h 64"/>
              <a:gd name="T10" fmla="*/ 48 w 73"/>
              <a:gd name="T11" fmla="*/ 11 h 64"/>
              <a:gd name="T12" fmla="*/ 0 w 73"/>
              <a:gd name="T13" fmla="*/ 11 h 64"/>
              <a:gd name="T14" fmla="*/ 0 w 73"/>
              <a:gd name="T15" fmla="*/ 11 h 64"/>
              <a:gd name="T16" fmla="*/ 0 w 73"/>
              <a:gd name="T17" fmla="*/ 27 h 64"/>
              <a:gd name="T18" fmla="*/ 0 w 73"/>
              <a:gd name="T19" fmla="*/ 45 h 64"/>
              <a:gd name="T20" fmla="*/ 0 w 73"/>
              <a:gd name="T21" fmla="*/ 45 h 64"/>
              <a:gd name="T22" fmla="*/ 11 w 73"/>
              <a:gd name="T23" fmla="*/ 55 h 64"/>
              <a:gd name="T24" fmla="*/ 24 w 73"/>
              <a:gd name="T25" fmla="*/ 64 h 64"/>
              <a:gd name="T26" fmla="*/ 55 w 73"/>
              <a:gd name="T27" fmla="*/ 25 h 64"/>
              <a:gd name="T28" fmla="*/ 73 w 73"/>
              <a:gd name="T29"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64">
                <a:moveTo>
                  <a:pt x="73" y="16"/>
                </a:moveTo>
                <a:lnTo>
                  <a:pt x="73" y="16"/>
                </a:lnTo>
                <a:lnTo>
                  <a:pt x="64" y="9"/>
                </a:lnTo>
                <a:lnTo>
                  <a:pt x="64" y="9"/>
                </a:lnTo>
                <a:lnTo>
                  <a:pt x="62" y="0"/>
                </a:lnTo>
                <a:lnTo>
                  <a:pt x="48" y="11"/>
                </a:lnTo>
                <a:lnTo>
                  <a:pt x="0" y="11"/>
                </a:lnTo>
                <a:lnTo>
                  <a:pt x="0" y="11"/>
                </a:lnTo>
                <a:lnTo>
                  <a:pt x="0" y="27"/>
                </a:lnTo>
                <a:lnTo>
                  <a:pt x="0" y="45"/>
                </a:lnTo>
                <a:lnTo>
                  <a:pt x="0" y="45"/>
                </a:lnTo>
                <a:lnTo>
                  <a:pt x="11" y="55"/>
                </a:lnTo>
                <a:lnTo>
                  <a:pt x="24" y="64"/>
                </a:lnTo>
                <a:lnTo>
                  <a:pt x="55" y="25"/>
                </a:lnTo>
                <a:lnTo>
                  <a:pt x="73"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5" name="Freeform 46"/>
          <p:cNvSpPr>
            <a:spLocks/>
          </p:cNvSpPr>
          <p:nvPr userDrawn="1"/>
        </p:nvSpPr>
        <p:spPr bwMode="auto">
          <a:xfrm>
            <a:off x="8301038" y="-769515"/>
            <a:ext cx="85725" cy="50800"/>
          </a:xfrm>
          <a:custGeom>
            <a:avLst/>
            <a:gdLst>
              <a:gd name="T0" fmla="*/ 27 w 108"/>
              <a:gd name="T1" fmla="*/ 7 h 63"/>
              <a:gd name="T2" fmla="*/ 0 w 108"/>
              <a:gd name="T3" fmla="*/ 43 h 63"/>
              <a:gd name="T4" fmla="*/ 45 w 108"/>
              <a:gd name="T5" fmla="*/ 63 h 63"/>
              <a:gd name="T6" fmla="*/ 45 w 108"/>
              <a:gd name="T7" fmla="*/ 63 h 63"/>
              <a:gd name="T8" fmla="*/ 65 w 108"/>
              <a:gd name="T9" fmla="*/ 51 h 63"/>
              <a:gd name="T10" fmla="*/ 86 w 108"/>
              <a:gd name="T11" fmla="*/ 38 h 63"/>
              <a:gd name="T12" fmla="*/ 108 w 108"/>
              <a:gd name="T13" fmla="*/ 23 h 63"/>
              <a:gd name="T14" fmla="*/ 44 w 108"/>
              <a:gd name="T15" fmla="*/ 0 h 63"/>
              <a:gd name="T16" fmla="*/ 27 w 108"/>
              <a:gd name="T17" fmla="*/ 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63">
                <a:moveTo>
                  <a:pt x="27" y="7"/>
                </a:moveTo>
                <a:lnTo>
                  <a:pt x="0" y="43"/>
                </a:lnTo>
                <a:lnTo>
                  <a:pt x="45" y="63"/>
                </a:lnTo>
                <a:lnTo>
                  <a:pt x="45" y="63"/>
                </a:lnTo>
                <a:lnTo>
                  <a:pt x="65" y="51"/>
                </a:lnTo>
                <a:lnTo>
                  <a:pt x="86" y="38"/>
                </a:lnTo>
                <a:lnTo>
                  <a:pt x="108" y="23"/>
                </a:lnTo>
                <a:lnTo>
                  <a:pt x="44" y="0"/>
                </a:lnTo>
                <a:lnTo>
                  <a:pt x="2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6" name="Freeform 47"/>
          <p:cNvSpPr>
            <a:spLocks/>
          </p:cNvSpPr>
          <p:nvPr userDrawn="1"/>
        </p:nvSpPr>
        <p:spPr bwMode="auto">
          <a:xfrm>
            <a:off x="8324850" y="-952078"/>
            <a:ext cx="22225" cy="93663"/>
          </a:xfrm>
          <a:custGeom>
            <a:avLst/>
            <a:gdLst>
              <a:gd name="T0" fmla="*/ 22 w 27"/>
              <a:gd name="T1" fmla="*/ 50 h 117"/>
              <a:gd name="T2" fmla="*/ 22 w 27"/>
              <a:gd name="T3" fmla="*/ 50 h 117"/>
              <a:gd name="T4" fmla="*/ 22 w 27"/>
              <a:gd name="T5" fmla="*/ 11 h 117"/>
              <a:gd name="T6" fmla="*/ 22 w 27"/>
              <a:gd name="T7" fmla="*/ 11 h 117"/>
              <a:gd name="T8" fmla="*/ 24 w 27"/>
              <a:gd name="T9" fmla="*/ 8 h 117"/>
              <a:gd name="T10" fmla="*/ 24 w 27"/>
              <a:gd name="T11" fmla="*/ 8 h 117"/>
              <a:gd name="T12" fmla="*/ 24 w 27"/>
              <a:gd name="T13" fmla="*/ 4 h 117"/>
              <a:gd name="T14" fmla="*/ 24 w 27"/>
              <a:gd name="T15" fmla="*/ 0 h 117"/>
              <a:gd name="T16" fmla="*/ 2 w 27"/>
              <a:gd name="T17" fmla="*/ 0 h 117"/>
              <a:gd name="T18" fmla="*/ 2 w 27"/>
              <a:gd name="T19" fmla="*/ 0 h 117"/>
              <a:gd name="T20" fmla="*/ 2 w 27"/>
              <a:gd name="T21" fmla="*/ 6 h 117"/>
              <a:gd name="T22" fmla="*/ 2 w 27"/>
              <a:gd name="T23" fmla="*/ 6 h 117"/>
              <a:gd name="T24" fmla="*/ 2 w 27"/>
              <a:gd name="T25" fmla="*/ 9 h 117"/>
              <a:gd name="T26" fmla="*/ 3 w 27"/>
              <a:gd name="T27" fmla="*/ 11 h 117"/>
              <a:gd name="T28" fmla="*/ 3 w 27"/>
              <a:gd name="T29" fmla="*/ 50 h 117"/>
              <a:gd name="T30" fmla="*/ 3 w 27"/>
              <a:gd name="T31" fmla="*/ 50 h 117"/>
              <a:gd name="T32" fmla="*/ 2 w 27"/>
              <a:gd name="T33" fmla="*/ 52 h 117"/>
              <a:gd name="T34" fmla="*/ 0 w 27"/>
              <a:gd name="T35" fmla="*/ 61 h 117"/>
              <a:gd name="T36" fmla="*/ 0 w 27"/>
              <a:gd name="T37" fmla="*/ 61 h 117"/>
              <a:gd name="T38" fmla="*/ 0 w 27"/>
              <a:gd name="T39" fmla="*/ 66 h 117"/>
              <a:gd name="T40" fmla="*/ 2 w 27"/>
              <a:gd name="T41" fmla="*/ 72 h 117"/>
              <a:gd name="T42" fmla="*/ 5 w 27"/>
              <a:gd name="T43" fmla="*/ 75 h 117"/>
              <a:gd name="T44" fmla="*/ 3 w 27"/>
              <a:gd name="T45" fmla="*/ 106 h 117"/>
              <a:gd name="T46" fmla="*/ 3 w 27"/>
              <a:gd name="T47" fmla="*/ 106 h 117"/>
              <a:gd name="T48" fmla="*/ 3 w 27"/>
              <a:gd name="T49" fmla="*/ 108 h 117"/>
              <a:gd name="T50" fmla="*/ 2 w 27"/>
              <a:gd name="T51" fmla="*/ 112 h 117"/>
              <a:gd name="T52" fmla="*/ 2 w 27"/>
              <a:gd name="T53" fmla="*/ 112 h 117"/>
              <a:gd name="T54" fmla="*/ 2 w 27"/>
              <a:gd name="T55" fmla="*/ 117 h 117"/>
              <a:gd name="T56" fmla="*/ 24 w 27"/>
              <a:gd name="T57" fmla="*/ 117 h 117"/>
              <a:gd name="T58" fmla="*/ 24 w 27"/>
              <a:gd name="T59" fmla="*/ 117 h 117"/>
              <a:gd name="T60" fmla="*/ 24 w 27"/>
              <a:gd name="T61" fmla="*/ 110 h 117"/>
              <a:gd name="T62" fmla="*/ 24 w 27"/>
              <a:gd name="T63" fmla="*/ 110 h 117"/>
              <a:gd name="T64" fmla="*/ 22 w 27"/>
              <a:gd name="T65" fmla="*/ 106 h 117"/>
              <a:gd name="T66" fmla="*/ 22 w 27"/>
              <a:gd name="T67" fmla="*/ 75 h 117"/>
              <a:gd name="T68" fmla="*/ 22 w 27"/>
              <a:gd name="T69" fmla="*/ 75 h 117"/>
              <a:gd name="T70" fmla="*/ 25 w 27"/>
              <a:gd name="T71" fmla="*/ 70 h 117"/>
              <a:gd name="T72" fmla="*/ 25 w 27"/>
              <a:gd name="T73" fmla="*/ 66 h 117"/>
              <a:gd name="T74" fmla="*/ 27 w 27"/>
              <a:gd name="T75" fmla="*/ 62 h 117"/>
              <a:gd name="T76" fmla="*/ 27 w 27"/>
              <a:gd name="T77" fmla="*/ 62 h 117"/>
              <a:gd name="T78" fmla="*/ 24 w 27"/>
              <a:gd name="T79" fmla="*/ 53 h 117"/>
              <a:gd name="T80" fmla="*/ 22 w 27"/>
              <a:gd name="T81" fmla="*/ 5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7" h="117">
                <a:moveTo>
                  <a:pt x="22" y="50"/>
                </a:moveTo>
                <a:lnTo>
                  <a:pt x="22" y="50"/>
                </a:lnTo>
                <a:lnTo>
                  <a:pt x="22" y="11"/>
                </a:lnTo>
                <a:lnTo>
                  <a:pt x="22" y="11"/>
                </a:lnTo>
                <a:lnTo>
                  <a:pt x="24" y="8"/>
                </a:lnTo>
                <a:lnTo>
                  <a:pt x="24" y="8"/>
                </a:lnTo>
                <a:lnTo>
                  <a:pt x="24" y="4"/>
                </a:lnTo>
                <a:lnTo>
                  <a:pt x="24" y="0"/>
                </a:lnTo>
                <a:lnTo>
                  <a:pt x="2" y="0"/>
                </a:lnTo>
                <a:lnTo>
                  <a:pt x="2" y="0"/>
                </a:lnTo>
                <a:lnTo>
                  <a:pt x="2" y="6"/>
                </a:lnTo>
                <a:lnTo>
                  <a:pt x="2" y="6"/>
                </a:lnTo>
                <a:lnTo>
                  <a:pt x="2" y="9"/>
                </a:lnTo>
                <a:lnTo>
                  <a:pt x="3" y="11"/>
                </a:lnTo>
                <a:lnTo>
                  <a:pt x="3" y="50"/>
                </a:lnTo>
                <a:lnTo>
                  <a:pt x="3" y="50"/>
                </a:lnTo>
                <a:lnTo>
                  <a:pt x="2" y="52"/>
                </a:lnTo>
                <a:lnTo>
                  <a:pt x="0" y="61"/>
                </a:lnTo>
                <a:lnTo>
                  <a:pt x="0" y="61"/>
                </a:lnTo>
                <a:lnTo>
                  <a:pt x="0" y="66"/>
                </a:lnTo>
                <a:lnTo>
                  <a:pt x="2" y="72"/>
                </a:lnTo>
                <a:lnTo>
                  <a:pt x="5" y="75"/>
                </a:lnTo>
                <a:lnTo>
                  <a:pt x="3" y="106"/>
                </a:lnTo>
                <a:lnTo>
                  <a:pt x="3" y="106"/>
                </a:lnTo>
                <a:lnTo>
                  <a:pt x="3" y="108"/>
                </a:lnTo>
                <a:lnTo>
                  <a:pt x="2" y="112"/>
                </a:lnTo>
                <a:lnTo>
                  <a:pt x="2" y="112"/>
                </a:lnTo>
                <a:lnTo>
                  <a:pt x="2" y="117"/>
                </a:lnTo>
                <a:lnTo>
                  <a:pt x="24" y="117"/>
                </a:lnTo>
                <a:lnTo>
                  <a:pt x="24" y="117"/>
                </a:lnTo>
                <a:lnTo>
                  <a:pt x="24" y="110"/>
                </a:lnTo>
                <a:lnTo>
                  <a:pt x="24" y="110"/>
                </a:lnTo>
                <a:lnTo>
                  <a:pt x="22" y="106"/>
                </a:lnTo>
                <a:lnTo>
                  <a:pt x="22" y="75"/>
                </a:lnTo>
                <a:lnTo>
                  <a:pt x="22" y="75"/>
                </a:lnTo>
                <a:lnTo>
                  <a:pt x="25" y="70"/>
                </a:lnTo>
                <a:lnTo>
                  <a:pt x="25" y="66"/>
                </a:lnTo>
                <a:lnTo>
                  <a:pt x="27" y="62"/>
                </a:lnTo>
                <a:lnTo>
                  <a:pt x="27" y="62"/>
                </a:lnTo>
                <a:lnTo>
                  <a:pt x="24" y="53"/>
                </a:lnTo>
                <a:lnTo>
                  <a:pt x="22" y="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7" name="Freeform 48"/>
          <p:cNvSpPr>
            <a:spLocks/>
          </p:cNvSpPr>
          <p:nvPr userDrawn="1"/>
        </p:nvSpPr>
        <p:spPr bwMode="auto">
          <a:xfrm>
            <a:off x="8347075" y="-923503"/>
            <a:ext cx="60325" cy="42863"/>
          </a:xfrm>
          <a:custGeom>
            <a:avLst/>
            <a:gdLst>
              <a:gd name="T0" fmla="*/ 42 w 77"/>
              <a:gd name="T1" fmla="*/ 46 h 55"/>
              <a:gd name="T2" fmla="*/ 77 w 77"/>
              <a:gd name="T3" fmla="*/ 9 h 55"/>
              <a:gd name="T4" fmla="*/ 77 w 77"/>
              <a:gd name="T5" fmla="*/ 9 h 55"/>
              <a:gd name="T6" fmla="*/ 26 w 77"/>
              <a:gd name="T7" fmla="*/ 9 h 55"/>
              <a:gd name="T8" fmla="*/ 26 w 77"/>
              <a:gd name="T9" fmla="*/ 9 h 55"/>
              <a:gd name="T10" fmla="*/ 20 w 77"/>
              <a:gd name="T11" fmla="*/ 7 h 55"/>
              <a:gd name="T12" fmla="*/ 15 w 77"/>
              <a:gd name="T13" fmla="*/ 4 h 55"/>
              <a:gd name="T14" fmla="*/ 7 w 77"/>
              <a:gd name="T15" fmla="*/ 0 h 55"/>
              <a:gd name="T16" fmla="*/ 6 w 77"/>
              <a:gd name="T17" fmla="*/ 0 h 55"/>
              <a:gd name="T18" fmla="*/ 6 w 77"/>
              <a:gd name="T19" fmla="*/ 0 h 55"/>
              <a:gd name="T20" fmla="*/ 0 w 77"/>
              <a:gd name="T21" fmla="*/ 11 h 55"/>
              <a:gd name="T22" fmla="*/ 0 w 77"/>
              <a:gd name="T23" fmla="*/ 11 h 55"/>
              <a:gd name="T24" fmla="*/ 4 w 77"/>
              <a:gd name="T25" fmla="*/ 17 h 55"/>
              <a:gd name="T26" fmla="*/ 6 w 77"/>
              <a:gd name="T27" fmla="*/ 20 h 55"/>
              <a:gd name="T28" fmla="*/ 7 w 77"/>
              <a:gd name="T29" fmla="*/ 27 h 55"/>
              <a:gd name="T30" fmla="*/ 7 w 77"/>
              <a:gd name="T31" fmla="*/ 27 h 55"/>
              <a:gd name="T32" fmla="*/ 7 w 77"/>
              <a:gd name="T33" fmla="*/ 33 h 55"/>
              <a:gd name="T34" fmla="*/ 4 w 77"/>
              <a:gd name="T35" fmla="*/ 38 h 55"/>
              <a:gd name="T36" fmla="*/ 0 w 77"/>
              <a:gd name="T37" fmla="*/ 42 h 55"/>
              <a:gd name="T38" fmla="*/ 0 w 77"/>
              <a:gd name="T39" fmla="*/ 42 h 55"/>
              <a:gd name="T40" fmla="*/ 7 w 77"/>
              <a:gd name="T41" fmla="*/ 55 h 55"/>
              <a:gd name="T42" fmla="*/ 7 w 77"/>
              <a:gd name="T43" fmla="*/ 55 h 55"/>
              <a:gd name="T44" fmla="*/ 13 w 77"/>
              <a:gd name="T45" fmla="*/ 51 h 55"/>
              <a:gd name="T46" fmla="*/ 28 w 77"/>
              <a:gd name="T47" fmla="*/ 46 h 55"/>
              <a:gd name="T48" fmla="*/ 28 w 77"/>
              <a:gd name="T49" fmla="*/ 46 h 55"/>
              <a:gd name="T50" fmla="*/ 42 w 77"/>
              <a:gd name="T51" fmla="*/ 4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7" h="55">
                <a:moveTo>
                  <a:pt x="42" y="46"/>
                </a:moveTo>
                <a:lnTo>
                  <a:pt x="77" y="9"/>
                </a:lnTo>
                <a:lnTo>
                  <a:pt x="77" y="9"/>
                </a:lnTo>
                <a:lnTo>
                  <a:pt x="26" y="9"/>
                </a:lnTo>
                <a:lnTo>
                  <a:pt x="26" y="9"/>
                </a:lnTo>
                <a:lnTo>
                  <a:pt x="20" y="7"/>
                </a:lnTo>
                <a:lnTo>
                  <a:pt x="15" y="4"/>
                </a:lnTo>
                <a:lnTo>
                  <a:pt x="7" y="0"/>
                </a:lnTo>
                <a:lnTo>
                  <a:pt x="6" y="0"/>
                </a:lnTo>
                <a:lnTo>
                  <a:pt x="6" y="0"/>
                </a:lnTo>
                <a:lnTo>
                  <a:pt x="0" y="11"/>
                </a:lnTo>
                <a:lnTo>
                  <a:pt x="0" y="11"/>
                </a:lnTo>
                <a:lnTo>
                  <a:pt x="4" y="17"/>
                </a:lnTo>
                <a:lnTo>
                  <a:pt x="6" y="20"/>
                </a:lnTo>
                <a:lnTo>
                  <a:pt x="7" y="27"/>
                </a:lnTo>
                <a:lnTo>
                  <a:pt x="7" y="27"/>
                </a:lnTo>
                <a:lnTo>
                  <a:pt x="7" y="33"/>
                </a:lnTo>
                <a:lnTo>
                  <a:pt x="4" y="38"/>
                </a:lnTo>
                <a:lnTo>
                  <a:pt x="0" y="42"/>
                </a:lnTo>
                <a:lnTo>
                  <a:pt x="0" y="42"/>
                </a:lnTo>
                <a:lnTo>
                  <a:pt x="7" y="55"/>
                </a:lnTo>
                <a:lnTo>
                  <a:pt x="7" y="55"/>
                </a:lnTo>
                <a:lnTo>
                  <a:pt x="13" y="51"/>
                </a:lnTo>
                <a:lnTo>
                  <a:pt x="28" y="46"/>
                </a:lnTo>
                <a:lnTo>
                  <a:pt x="28" y="46"/>
                </a:lnTo>
                <a:lnTo>
                  <a:pt x="42" y="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8" name="Freeform 49"/>
          <p:cNvSpPr>
            <a:spLocks/>
          </p:cNvSpPr>
          <p:nvPr userDrawn="1"/>
        </p:nvSpPr>
        <p:spPr bwMode="auto">
          <a:xfrm>
            <a:off x="8423275" y="-982240"/>
            <a:ext cx="119063" cy="93663"/>
          </a:xfrm>
          <a:custGeom>
            <a:avLst/>
            <a:gdLst>
              <a:gd name="T0" fmla="*/ 152 w 152"/>
              <a:gd name="T1" fmla="*/ 60 h 119"/>
              <a:gd name="T2" fmla="*/ 148 w 152"/>
              <a:gd name="T3" fmla="*/ 58 h 119"/>
              <a:gd name="T4" fmla="*/ 139 w 152"/>
              <a:gd name="T5" fmla="*/ 62 h 119"/>
              <a:gd name="T6" fmla="*/ 135 w 152"/>
              <a:gd name="T7" fmla="*/ 64 h 119"/>
              <a:gd name="T8" fmla="*/ 134 w 152"/>
              <a:gd name="T9" fmla="*/ 75 h 119"/>
              <a:gd name="T10" fmla="*/ 130 w 152"/>
              <a:gd name="T11" fmla="*/ 71 h 119"/>
              <a:gd name="T12" fmla="*/ 121 w 152"/>
              <a:gd name="T13" fmla="*/ 69 h 119"/>
              <a:gd name="T14" fmla="*/ 113 w 152"/>
              <a:gd name="T15" fmla="*/ 71 h 119"/>
              <a:gd name="T16" fmla="*/ 117 w 152"/>
              <a:gd name="T17" fmla="*/ 80 h 119"/>
              <a:gd name="T18" fmla="*/ 113 w 152"/>
              <a:gd name="T19" fmla="*/ 90 h 119"/>
              <a:gd name="T20" fmla="*/ 110 w 152"/>
              <a:gd name="T21" fmla="*/ 90 h 119"/>
              <a:gd name="T22" fmla="*/ 103 w 152"/>
              <a:gd name="T23" fmla="*/ 84 h 119"/>
              <a:gd name="T24" fmla="*/ 103 w 152"/>
              <a:gd name="T25" fmla="*/ 79 h 119"/>
              <a:gd name="T26" fmla="*/ 93 w 152"/>
              <a:gd name="T27" fmla="*/ 82 h 119"/>
              <a:gd name="T28" fmla="*/ 88 w 152"/>
              <a:gd name="T29" fmla="*/ 79 h 119"/>
              <a:gd name="T30" fmla="*/ 90 w 152"/>
              <a:gd name="T31" fmla="*/ 69 h 119"/>
              <a:gd name="T32" fmla="*/ 104 w 152"/>
              <a:gd name="T33" fmla="*/ 66 h 119"/>
              <a:gd name="T34" fmla="*/ 103 w 152"/>
              <a:gd name="T35" fmla="*/ 60 h 119"/>
              <a:gd name="T36" fmla="*/ 97 w 152"/>
              <a:gd name="T37" fmla="*/ 53 h 119"/>
              <a:gd name="T38" fmla="*/ 92 w 152"/>
              <a:gd name="T39" fmla="*/ 51 h 119"/>
              <a:gd name="T40" fmla="*/ 82 w 152"/>
              <a:gd name="T41" fmla="*/ 53 h 119"/>
              <a:gd name="T42" fmla="*/ 86 w 152"/>
              <a:gd name="T43" fmla="*/ 51 h 119"/>
              <a:gd name="T44" fmla="*/ 90 w 152"/>
              <a:gd name="T45" fmla="*/ 44 h 119"/>
              <a:gd name="T46" fmla="*/ 90 w 152"/>
              <a:gd name="T47" fmla="*/ 35 h 119"/>
              <a:gd name="T48" fmla="*/ 84 w 152"/>
              <a:gd name="T49" fmla="*/ 26 h 119"/>
              <a:gd name="T50" fmla="*/ 84 w 152"/>
              <a:gd name="T51" fmla="*/ 26 h 119"/>
              <a:gd name="T52" fmla="*/ 79 w 152"/>
              <a:gd name="T53" fmla="*/ 27 h 119"/>
              <a:gd name="T54" fmla="*/ 68 w 152"/>
              <a:gd name="T55" fmla="*/ 33 h 119"/>
              <a:gd name="T56" fmla="*/ 66 w 152"/>
              <a:gd name="T57" fmla="*/ 38 h 119"/>
              <a:gd name="T58" fmla="*/ 66 w 152"/>
              <a:gd name="T59" fmla="*/ 46 h 119"/>
              <a:gd name="T60" fmla="*/ 62 w 152"/>
              <a:gd name="T61" fmla="*/ 40 h 119"/>
              <a:gd name="T62" fmla="*/ 55 w 152"/>
              <a:gd name="T63" fmla="*/ 35 h 119"/>
              <a:gd name="T64" fmla="*/ 50 w 152"/>
              <a:gd name="T65" fmla="*/ 35 h 119"/>
              <a:gd name="T66" fmla="*/ 42 w 152"/>
              <a:gd name="T67" fmla="*/ 38 h 119"/>
              <a:gd name="T68" fmla="*/ 48 w 152"/>
              <a:gd name="T69" fmla="*/ 46 h 119"/>
              <a:gd name="T70" fmla="*/ 48 w 152"/>
              <a:gd name="T71" fmla="*/ 57 h 119"/>
              <a:gd name="T72" fmla="*/ 42 w 152"/>
              <a:gd name="T73" fmla="*/ 58 h 119"/>
              <a:gd name="T74" fmla="*/ 35 w 152"/>
              <a:gd name="T75" fmla="*/ 53 h 119"/>
              <a:gd name="T76" fmla="*/ 33 w 152"/>
              <a:gd name="T77" fmla="*/ 47 h 119"/>
              <a:gd name="T78" fmla="*/ 26 w 152"/>
              <a:gd name="T79" fmla="*/ 53 h 119"/>
              <a:gd name="T80" fmla="*/ 20 w 152"/>
              <a:gd name="T81" fmla="*/ 51 h 119"/>
              <a:gd name="T82" fmla="*/ 17 w 152"/>
              <a:gd name="T83" fmla="*/ 42 h 119"/>
              <a:gd name="T84" fmla="*/ 31 w 152"/>
              <a:gd name="T85" fmla="*/ 35 h 119"/>
              <a:gd name="T86" fmla="*/ 29 w 152"/>
              <a:gd name="T87" fmla="*/ 33 h 119"/>
              <a:gd name="T88" fmla="*/ 22 w 152"/>
              <a:gd name="T89" fmla="*/ 24 h 119"/>
              <a:gd name="T90" fmla="*/ 15 w 152"/>
              <a:gd name="T91" fmla="*/ 24 h 119"/>
              <a:gd name="T92" fmla="*/ 18 w 152"/>
              <a:gd name="T93" fmla="*/ 18 h 119"/>
              <a:gd name="T94" fmla="*/ 20 w 152"/>
              <a:gd name="T95" fmla="*/ 9 h 119"/>
              <a:gd name="T96" fmla="*/ 18 w 152"/>
              <a:gd name="T97" fmla="*/ 5 h 119"/>
              <a:gd name="T98" fmla="*/ 13 w 152"/>
              <a:gd name="T99" fmla="*/ 0 h 119"/>
              <a:gd name="T100" fmla="*/ 35 w 152"/>
              <a:gd name="T101" fmla="*/ 88 h 119"/>
              <a:gd name="T102" fmla="*/ 46 w 152"/>
              <a:gd name="T103" fmla="*/ 82 h 119"/>
              <a:gd name="T104" fmla="*/ 51 w 152"/>
              <a:gd name="T105" fmla="*/ 79 h 119"/>
              <a:gd name="T106" fmla="*/ 66 w 152"/>
              <a:gd name="T107" fmla="*/ 80 h 119"/>
              <a:gd name="T108" fmla="*/ 71 w 152"/>
              <a:gd name="T109" fmla="*/ 82 h 119"/>
              <a:gd name="T110" fmla="*/ 82 w 152"/>
              <a:gd name="T111" fmla="*/ 90 h 119"/>
              <a:gd name="T112" fmla="*/ 84 w 152"/>
              <a:gd name="T113" fmla="*/ 99 h 119"/>
              <a:gd name="T114" fmla="*/ 84 w 152"/>
              <a:gd name="T115" fmla="*/ 104 h 119"/>
              <a:gd name="T116" fmla="*/ 106 w 152"/>
              <a:gd name="T117"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2" h="119">
                <a:moveTo>
                  <a:pt x="106" y="119"/>
                </a:moveTo>
                <a:lnTo>
                  <a:pt x="152" y="60"/>
                </a:lnTo>
                <a:lnTo>
                  <a:pt x="152" y="60"/>
                </a:lnTo>
                <a:lnTo>
                  <a:pt x="148" y="58"/>
                </a:lnTo>
                <a:lnTo>
                  <a:pt x="145" y="60"/>
                </a:lnTo>
                <a:lnTo>
                  <a:pt x="139" y="62"/>
                </a:lnTo>
                <a:lnTo>
                  <a:pt x="139" y="62"/>
                </a:lnTo>
                <a:lnTo>
                  <a:pt x="135" y="64"/>
                </a:lnTo>
                <a:lnTo>
                  <a:pt x="134" y="69"/>
                </a:lnTo>
                <a:lnTo>
                  <a:pt x="134" y="75"/>
                </a:lnTo>
                <a:lnTo>
                  <a:pt x="134" y="75"/>
                </a:lnTo>
                <a:lnTo>
                  <a:pt x="130" y="71"/>
                </a:lnTo>
                <a:lnTo>
                  <a:pt x="128" y="69"/>
                </a:lnTo>
                <a:lnTo>
                  <a:pt x="121" y="69"/>
                </a:lnTo>
                <a:lnTo>
                  <a:pt x="115" y="69"/>
                </a:lnTo>
                <a:lnTo>
                  <a:pt x="113" y="71"/>
                </a:lnTo>
                <a:lnTo>
                  <a:pt x="113" y="71"/>
                </a:lnTo>
                <a:lnTo>
                  <a:pt x="117" y="80"/>
                </a:lnTo>
                <a:lnTo>
                  <a:pt x="117" y="86"/>
                </a:lnTo>
                <a:lnTo>
                  <a:pt x="113" y="90"/>
                </a:lnTo>
                <a:lnTo>
                  <a:pt x="110" y="90"/>
                </a:lnTo>
                <a:lnTo>
                  <a:pt x="110" y="90"/>
                </a:lnTo>
                <a:lnTo>
                  <a:pt x="104" y="88"/>
                </a:lnTo>
                <a:lnTo>
                  <a:pt x="103" y="84"/>
                </a:lnTo>
                <a:lnTo>
                  <a:pt x="103" y="79"/>
                </a:lnTo>
                <a:lnTo>
                  <a:pt x="103" y="79"/>
                </a:lnTo>
                <a:lnTo>
                  <a:pt x="97" y="82"/>
                </a:lnTo>
                <a:lnTo>
                  <a:pt x="93" y="82"/>
                </a:lnTo>
                <a:lnTo>
                  <a:pt x="88" y="79"/>
                </a:lnTo>
                <a:lnTo>
                  <a:pt x="88" y="79"/>
                </a:lnTo>
                <a:lnTo>
                  <a:pt x="86" y="75"/>
                </a:lnTo>
                <a:lnTo>
                  <a:pt x="90" y="69"/>
                </a:lnTo>
                <a:lnTo>
                  <a:pt x="95" y="68"/>
                </a:lnTo>
                <a:lnTo>
                  <a:pt x="104" y="66"/>
                </a:lnTo>
                <a:lnTo>
                  <a:pt x="104" y="66"/>
                </a:lnTo>
                <a:lnTo>
                  <a:pt x="103" y="60"/>
                </a:lnTo>
                <a:lnTo>
                  <a:pt x="101" y="57"/>
                </a:lnTo>
                <a:lnTo>
                  <a:pt x="97" y="53"/>
                </a:lnTo>
                <a:lnTo>
                  <a:pt x="97" y="53"/>
                </a:lnTo>
                <a:lnTo>
                  <a:pt x="92" y="51"/>
                </a:lnTo>
                <a:lnTo>
                  <a:pt x="88" y="51"/>
                </a:lnTo>
                <a:lnTo>
                  <a:pt x="82" y="53"/>
                </a:lnTo>
                <a:lnTo>
                  <a:pt x="82" y="53"/>
                </a:lnTo>
                <a:lnTo>
                  <a:pt x="86" y="51"/>
                </a:lnTo>
                <a:lnTo>
                  <a:pt x="88" y="47"/>
                </a:lnTo>
                <a:lnTo>
                  <a:pt x="90" y="44"/>
                </a:lnTo>
                <a:lnTo>
                  <a:pt x="90" y="44"/>
                </a:lnTo>
                <a:lnTo>
                  <a:pt x="90" y="35"/>
                </a:lnTo>
                <a:lnTo>
                  <a:pt x="88" y="31"/>
                </a:lnTo>
                <a:lnTo>
                  <a:pt x="84" y="26"/>
                </a:lnTo>
                <a:lnTo>
                  <a:pt x="84" y="26"/>
                </a:lnTo>
                <a:lnTo>
                  <a:pt x="84" y="26"/>
                </a:lnTo>
                <a:lnTo>
                  <a:pt x="84" y="26"/>
                </a:lnTo>
                <a:lnTo>
                  <a:pt x="79" y="27"/>
                </a:lnTo>
                <a:lnTo>
                  <a:pt x="73" y="29"/>
                </a:lnTo>
                <a:lnTo>
                  <a:pt x="68" y="33"/>
                </a:lnTo>
                <a:lnTo>
                  <a:pt x="68" y="33"/>
                </a:lnTo>
                <a:lnTo>
                  <a:pt x="66" y="38"/>
                </a:lnTo>
                <a:lnTo>
                  <a:pt x="66" y="42"/>
                </a:lnTo>
                <a:lnTo>
                  <a:pt x="66" y="46"/>
                </a:lnTo>
                <a:lnTo>
                  <a:pt x="66" y="46"/>
                </a:lnTo>
                <a:lnTo>
                  <a:pt x="62" y="40"/>
                </a:lnTo>
                <a:lnTo>
                  <a:pt x="60" y="37"/>
                </a:lnTo>
                <a:lnTo>
                  <a:pt x="55" y="35"/>
                </a:lnTo>
                <a:lnTo>
                  <a:pt x="55" y="35"/>
                </a:lnTo>
                <a:lnTo>
                  <a:pt x="50" y="35"/>
                </a:lnTo>
                <a:lnTo>
                  <a:pt x="46" y="37"/>
                </a:lnTo>
                <a:lnTo>
                  <a:pt x="42" y="38"/>
                </a:lnTo>
                <a:lnTo>
                  <a:pt x="42" y="38"/>
                </a:lnTo>
                <a:lnTo>
                  <a:pt x="48" y="46"/>
                </a:lnTo>
                <a:lnTo>
                  <a:pt x="48" y="53"/>
                </a:lnTo>
                <a:lnTo>
                  <a:pt x="48" y="57"/>
                </a:lnTo>
                <a:lnTo>
                  <a:pt x="42" y="58"/>
                </a:lnTo>
                <a:lnTo>
                  <a:pt x="42" y="58"/>
                </a:lnTo>
                <a:lnTo>
                  <a:pt x="37" y="57"/>
                </a:lnTo>
                <a:lnTo>
                  <a:pt x="35" y="53"/>
                </a:lnTo>
                <a:lnTo>
                  <a:pt x="33" y="47"/>
                </a:lnTo>
                <a:lnTo>
                  <a:pt x="33" y="47"/>
                </a:lnTo>
                <a:lnTo>
                  <a:pt x="29" y="51"/>
                </a:lnTo>
                <a:lnTo>
                  <a:pt x="26" y="53"/>
                </a:lnTo>
                <a:lnTo>
                  <a:pt x="20" y="51"/>
                </a:lnTo>
                <a:lnTo>
                  <a:pt x="20" y="51"/>
                </a:lnTo>
                <a:lnTo>
                  <a:pt x="17" y="47"/>
                </a:lnTo>
                <a:lnTo>
                  <a:pt x="17" y="42"/>
                </a:lnTo>
                <a:lnTo>
                  <a:pt x="22" y="38"/>
                </a:lnTo>
                <a:lnTo>
                  <a:pt x="31" y="35"/>
                </a:lnTo>
                <a:lnTo>
                  <a:pt x="31" y="35"/>
                </a:lnTo>
                <a:lnTo>
                  <a:pt x="29" y="33"/>
                </a:lnTo>
                <a:lnTo>
                  <a:pt x="28" y="27"/>
                </a:lnTo>
                <a:lnTo>
                  <a:pt x="22" y="24"/>
                </a:lnTo>
                <a:lnTo>
                  <a:pt x="18" y="22"/>
                </a:lnTo>
                <a:lnTo>
                  <a:pt x="15" y="24"/>
                </a:lnTo>
                <a:lnTo>
                  <a:pt x="15" y="24"/>
                </a:lnTo>
                <a:lnTo>
                  <a:pt x="18" y="18"/>
                </a:lnTo>
                <a:lnTo>
                  <a:pt x="20" y="15"/>
                </a:lnTo>
                <a:lnTo>
                  <a:pt x="20" y="9"/>
                </a:lnTo>
                <a:lnTo>
                  <a:pt x="20" y="9"/>
                </a:lnTo>
                <a:lnTo>
                  <a:pt x="18" y="5"/>
                </a:lnTo>
                <a:lnTo>
                  <a:pt x="17" y="2"/>
                </a:lnTo>
                <a:lnTo>
                  <a:pt x="13" y="0"/>
                </a:lnTo>
                <a:lnTo>
                  <a:pt x="0" y="73"/>
                </a:lnTo>
                <a:lnTo>
                  <a:pt x="35" y="88"/>
                </a:lnTo>
                <a:lnTo>
                  <a:pt x="35" y="88"/>
                </a:lnTo>
                <a:lnTo>
                  <a:pt x="46" y="82"/>
                </a:lnTo>
                <a:lnTo>
                  <a:pt x="46" y="82"/>
                </a:lnTo>
                <a:lnTo>
                  <a:pt x="51" y="79"/>
                </a:lnTo>
                <a:lnTo>
                  <a:pt x="59" y="79"/>
                </a:lnTo>
                <a:lnTo>
                  <a:pt x="66" y="80"/>
                </a:lnTo>
                <a:lnTo>
                  <a:pt x="71" y="82"/>
                </a:lnTo>
                <a:lnTo>
                  <a:pt x="71" y="82"/>
                </a:lnTo>
                <a:lnTo>
                  <a:pt x="79" y="86"/>
                </a:lnTo>
                <a:lnTo>
                  <a:pt x="82" y="90"/>
                </a:lnTo>
                <a:lnTo>
                  <a:pt x="84" y="95"/>
                </a:lnTo>
                <a:lnTo>
                  <a:pt x="84" y="99"/>
                </a:lnTo>
                <a:lnTo>
                  <a:pt x="84" y="99"/>
                </a:lnTo>
                <a:lnTo>
                  <a:pt x="84" y="104"/>
                </a:lnTo>
                <a:lnTo>
                  <a:pt x="81" y="110"/>
                </a:lnTo>
                <a:lnTo>
                  <a:pt x="106" y="11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9" name="Freeform 50"/>
          <p:cNvSpPr>
            <a:spLocks/>
          </p:cNvSpPr>
          <p:nvPr userDrawn="1"/>
        </p:nvSpPr>
        <p:spPr bwMode="auto">
          <a:xfrm>
            <a:off x="8520113" y="-917153"/>
            <a:ext cx="142875" cy="25400"/>
          </a:xfrm>
          <a:custGeom>
            <a:avLst/>
            <a:gdLst>
              <a:gd name="T0" fmla="*/ 151 w 180"/>
              <a:gd name="T1" fmla="*/ 28 h 31"/>
              <a:gd name="T2" fmla="*/ 180 w 180"/>
              <a:gd name="T3" fmla="*/ 15 h 31"/>
              <a:gd name="T4" fmla="*/ 151 w 180"/>
              <a:gd name="T5" fmla="*/ 2 h 31"/>
              <a:gd name="T6" fmla="*/ 151 w 180"/>
              <a:gd name="T7" fmla="*/ 2 h 31"/>
              <a:gd name="T8" fmla="*/ 102 w 180"/>
              <a:gd name="T9" fmla="*/ 2 h 31"/>
              <a:gd name="T10" fmla="*/ 23 w 180"/>
              <a:gd name="T11" fmla="*/ 0 h 31"/>
              <a:gd name="T12" fmla="*/ 0 w 180"/>
              <a:gd name="T13" fmla="*/ 31 h 31"/>
              <a:gd name="T14" fmla="*/ 0 w 180"/>
              <a:gd name="T15" fmla="*/ 31 h 31"/>
              <a:gd name="T16" fmla="*/ 151 w 180"/>
              <a:gd name="T17"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31">
                <a:moveTo>
                  <a:pt x="151" y="28"/>
                </a:moveTo>
                <a:lnTo>
                  <a:pt x="180" y="15"/>
                </a:lnTo>
                <a:lnTo>
                  <a:pt x="151" y="2"/>
                </a:lnTo>
                <a:lnTo>
                  <a:pt x="151" y="2"/>
                </a:lnTo>
                <a:lnTo>
                  <a:pt x="102" y="2"/>
                </a:lnTo>
                <a:lnTo>
                  <a:pt x="23" y="0"/>
                </a:lnTo>
                <a:lnTo>
                  <a:pt x="0" y="31"/>
                </a:lnTo>
                <a:lnTo>
                  <a:pt x="0" y="31"/>
                </a:lnTo>
                <a:lnTo>
                  <a:pt x="151"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00" name="Freeform 51"/>
          <p:cNvSpPr>
            <a:spLocks/>
          </p:cNvSpPr>
          <p:nvPr userDrawn="1"/>
        </p:nvSpPr>
        <p:spPr bwMode="auto">
          <a:xfrm>
            <a:off x="8566150" y="-855240"/>
            <a:ext cx="85725" cy="84138"/>
          </a:xfrm>
          <a:custGeom>
            <a:avLst/>
            <a:gdLst>
              <a:gd name="T0" fmla="*/ 55 w 108"/>
              <a:gd name="T1" fmla="*/ 106 h 106"/>
              <a:gd name="T2" fmla="*/ 55 w 108"/>
              <a:gd name="T3" fmla="*/ 106 h 106"/>
              <a:gd name="T4" fmla="*/ 38 w 108"/>
              <a:gd name="T5" fmla="*/ 97 h 106"/>
              <a:gd name="T6" fmla="*/ 26 w 108"/>
              <a:gd name="T7" fmla="*/ 89 h 106"/>
              <a:gd name="T8" fmla="*/ 13 w 108"/>
              <a:gd name="T9" fmla="*/ 80 h 106"/>
              <a:gd name="T10" fmla="*/ 4 w 108"/>
              <a:gd name="T11" fmla="*/ 69 h 106"/>
              <a:gd name="T12" fmla="*/ 4 w 108"/>
              <a:gd name="T13" fmla="*/ 69 h 106"/>
              <a:gd name="T14" fmla="*/ 0 w 108"/>
              <a:gd name="T15" fmla="*/ 62 h 106"/>
              <a:gd name="T16" fmla="*/ 0 w 108"/>
              <a:gd name="T17" fmla="*/ 53 h 106"/>
              <a:gd name="T18" fmla="*/ 0 w 108"/>
              <a:gd name="T19" fmla="*/ 45 h 106"/>
              <a:gd name="T20" fmla="*/ 0 w 108"/>
              <a:gd name="T21" fmla="*/ 36 h 106"/>
              <a:gd name="T22" fmla="*/ 4 w 108"/>
              <a:gd name="T23" fmla="*/ 27 h 106"/>
              <a:gd name="T24" fmla="*/ 7 w 108"/>
              <a:gd name="T25" fmla="*/ 20 h 106"/>
              <a:gd name="T26" fmla="*/ 15 w 108"/>
              <a:gd name="T27" fmla="*/ 13 h 106"/>
              <a:gd name="T28" fmla="*/ 22 w 108"/>
              <a:gd name="T29" fmla="*/ 7 h 106"/>
              <a:gd name="T30" fmla="*/ 22 w 108"/>
              <a:gd name="T31" fmla="*/ 7 h 106"/>
              <a:gd name="T32" fmla="*/ 26 w 108"/>
              <a:gd name="T33" fmla="*/ 11 h 106"/>
              <a:gd name="T34" fmla="*/ 27 w 108"/>
              <a:gd name="T35" fmla="*/ 14 h 106"/>
              <a:gd name="T36" fmla="*/ 27 w 108"/>
              <a:gd name="T37" fmla="*/ 18 h 106"/>
              <a:gd name="T38" fmla="*/ 27 w 108"/>
              <a:gd name="T39" fmla="*/ 18 h 106"/>
              <a:gd name="T40" fmla="*/ 51 w 108"/>
              <a:gd name="T41" fmla="*/ 16 h 106"/>
              <a:gd name="T42" fmla="*/ 51 w 108"/>
              <a:gd name="T43" fmla="*/ 16 h 106"/>
              <a:gd name="T44" fmla="*/ 51 w 108"/>
              <a:gd name="T45" fmla="*/ 9 h 106"/>
              <a:gd name="T46" fmla="*/ 51 w 108"/>
              <a:gd name="T47" fmla="*/ 3 h 106"/>
              <a:gd name="T48" fmla="*/ 49 w 108"/>
              <a:gd name="T49" fmla="*/ 0 h 106"/>
              <a:gd name="T50" fmla="*/ 49 w 108"/>
              <a:gd name="T51" fmla="*/ 0 h 106"/>
              <a:gd name="T52" fmla="*/ 57 w 108"/>
              <a:gd name="T53" fmla="*/ 5 h 106"/>
              <a:gd name="T54" fmla="*/ 59 w 108"/>
              <a:gd name="T55" fmla="*/ 11 h 106"/>
              <a:gd name="T56" fmla="*/ 60 w 108"/>
              <a:gd name="T57" fmla="*/ 16 h 106"/>
              <a:gd name="T58" fmla="*/ 60 w 108"/>
              <a:gd name="T59" fmla="*/ 16 h 106"/>
              <a:gd name="T60" fmla="*/ 82 w 108"/>
              <a:gd name="T61" fmla="*/ 18 h 106"/>
              <a:gd name="T62" fmla="*/ 82 w 108"/>
              <a:gd name="T63" fmla="*/ 18 h 106"/>
              <a:gd name="T64" fmla="*/ 82 w 108"/>
              <a:gd name="T65" fmla="*/ 11 h 106"/>
              <a:gd name="T66" fmla="*/ 79 w 108"/>
              <a:gd name="T67" fmla="*/ 3 h 106"/>
              <a:gd name="T68" fmla="*/ 79 w 108"/>
              <a:gd name="T69" fmla="*/ 3 h 106"/>
              <a:gd name="T70" fmla="*/ 86 w 108"/>
              <a:gd name="T71" fmla="*/ 9 h 106"/>
              <a:gd name="T72" fmla="*/ 93 w 108"/>
              <a:gd name="T73" fmla="*/ 13 h 106"/>
              <a:gd name="T74" fmla="*/ 99 w 108"/>
              <a:gd name="T75" fmla="*/ 20 h 106"/>
              <a:gd name="T76" fmla="*/ 102 w 108"/>
              <a:gd name="T77" fmla="*/ 25 h 106"/>
              <a:gd name="T78" fmla="*/ 106 w 108"/>
              <a:gd name="T79" fmla="*/ 38 h 106"/>
              <a:gd name="T80" fmla="*/ 108 w 108"/>
              <a:gd name="T81" fmla="*/ 49 h 106"/>
              <a:gd name="T82" fmla="*/ 108 w 108"/>
              <a:gd name="T83" fmla="*/ 49 h 106"/>
              <a:gd name="T84" fmla="*/ 106 w 108"/>
              <a:gd name="T85" fmla="*/ 62 h 106"/>
              <a:gd name="T86" fmla="*/ 102 w 108"/>
              <a:gd name="T87" fmla="*/ 73 h 106"/>
              <a:gd name="T88" fmla="*/ 95 w 108"/>
              <a:gd name="T89" fmla="*/ 82 h 106"/>
              <a:gd name="T90" fmla="*/ 86 w 108"/>
              <a:gd name="T91" fmla="*/ 89 h 106"/>
              <a:gd name="T92" fmla="*/ 86 w 108"/>
              <a:gd name="T93" fmla="*/ 89 h 106"/>
              <a:gd name="T94" fmla="*/ 69 w 108"/>
              <a:gd name="T95" fmla="*/ 98 h 106"/>
              <a:gd name="T96" fmla="*/ 55 w 108"/>
              <a:gd name="T97"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 h="106">
                <a:moveTo>
                  <a:pt x="55" y="106"/>
                </a:moveTo>
                <a:lnTo>
                  <a:pt x="55" y="106"/>
                </a:lnTo>
                <a:lnTo>
                  <a:pt x="38" y="97"/>
                </a:lnTo>
                <a:lnTo>
                  <a:pt x="26" y="89"/>
                </a:lnTo>
                <a:lnTo>
                  <a:pt x="13" y="80"/>
                </a:lnTo>
                <a:lnTo>
                  <a:pt x="4" y="69"/>
                </a:lnTo>
                <a:lnTo>
                  <a:pt x="4" y="69"/>
                </a:lnTo>
                <a:lnTo>
                  <a:pt x="0" y="62"/>
                </a:lnTo>
                <a:lnTo>
                  <a:pt x="0" y="53"/>
                </a:lnTo>
                <a:lnTo>
                  <a:pt x="0" y="45"/>
                </a:lnTo>
                <a:lnTo>
                  <a:pt x="0" y="36"/>
                </a:lnTo>
                <a:lnTo>
                  <a:pt x="4" y="27"/>
                </a:lnTo>
                <a:lnTo>
                  <a:pt x="7" y="20"/>
                </a:lnTo>
                <a:lnTo>
                  <a:pt x="15" y="13"/>
                </a:lnTo>
                <a:lnTo>
                  <a:pt x="22" y="7"/>
                </a:lnTo>
                <a:lnTo>
                  <a:pt x="22" y="7"/>
                </a:lnTo>
                <a:lnTo>
                  <a:pt x="26" y="11"/>
                </a:lnTo>
                <a:lnTo>
                  <a:pt x="27" y="14"/>
                </a:lnTo>
                <a:lnTo>
                  <a:pt x="27" y="18"/>
                </a:lnTo>
                <a:lnTo>
                  <a:pt x="27" y="18"/>
                </a:lnTo>
                <a:lnTo>
                  <a:pt x="51" y="16"/>
                </a:lnTo>
                <a:lnTo>
                  <a:pt x="51" y="16"/>
                </a:lnTo>
                <a:lnTo>
                  <a:pt x="51" y="9"/>
                </a:lnTo>
                <a:lnTo>
                  <a:pt x="51" y="3"/>
                </a:lnTo>
                <a:lnTo>
                  <a:pt x="49" y="0"/>
                </a:lnTo>
                <a:lnTo>
                  <a:pt x="49" y="0"/>
                </a:lnTo>
                <a:lnTo>
                  <a:pt x="57" y="5"/>
                </a:lnTo>
                <a:lnTo>
                  <a:pt x="59" y="11"/>
                </a:lnTo>
                <a:lnTo>
                  <a:pt x="60" y="16"/>
                </a:lnTo>
                <a:lnTo>
                  <a:pt x="60" y="16"/>
                </a:lnTo>
                <a:lnTo>
                  <a:pt x="82" y="18"/>
                </a:lnTo>
                <a:lnTo>
                  <a:pt x="82" y="18"/>
                </a:lnTo>
                <a:lnTo>
                  <a:pt x="82" y="11"/>
                </a:lnTo>
                <a:lnTo>
                  <a:pt x="79" y="3"/>
                </a:lnTo>
                <a:lnTo>
                  <a:pt x="79" y="3"/>
                </a:lnTo>
                <a:lnTo>
                  <a:pt x="86" y="9"/>
                </a:lnTo>
                <a:lnTo>
                  <a:pt x="93" y="13"/>
                </a:lnTo>
                <a:lnTo>
                  <a:pt x="99" y="20"/>
                </a:lnTo>
                <a:lnTo>
                  <a:pt x="102" y="25"/>
                </a:lnTo>
                <a:lnTo>
                  <a:pt x="106" y="38"/>
                </a:lnTo>
                <a:lnTo>
                  <a:pt x="108" y="49"/>
                </a:lnTo>
                <a:lnTo>
                  <a:pt x="108" y="49"/>
                </a:lnTo>
                <a:lnTo>
                  <a:pt x="106" y="62"/>
                </a:lnTo>
                <a:lnTo>
                  <a:pt x="102" y="73"/>
                </a:lnTo>
                <a:lnTo>
                  <a:pt x="95" y="82"/>
                </a:lnTo>
                <a:lnTo>
                  <a:pt x="86" y="89"/>
                </a:lnTo>
                <a:lnTo>
                  <a:pt x="86" y="89"/>
                </a:lnTo>
                <a:lnTo>
                  <a:pt x="69" y="98"/>
                </a:lnTo>
                <a:lnTo>
                  <a:pt x="55" y="1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01" name="Freeform 52"/>
          <p:cNvSpPr>
            <a:spLocks/>
          </p:cNvSpPr>
          <p:nvPr userDrawn="1"/>
        </p:nvSpPr>
        <p:spPr bwMode="auto">
          <a:xfrm>
            <a:off x="8589963" y="-648865"/>
            <a:ext cx="1588" cy="1588"/>
          </a:xfrm>
          <a:custGeom>
            <a:avLst/>
            <a:gdLst>
              <a:gd name="T0" fmla="*/ 4 w 4"/>
              <a:gd name="T1" fmla="*/ 2 h 2"/>
              <a:gd name="T2" fmla="*/ 4 w 4"/>
              <a:gd name="T3" fmla="*/ 2 h 2"/>
              <a:gd name="T4" fmla="*/ 2 w 4"/>
              <a:gd name="T5" fmla="*/ 0 h 2"/>
              <a:gd name="T6" fmla="*/ 2 w 4"/>
              <a:gd name="T7" fmla="*/ 0 h 2"/>
              <a:gd name="T8" fmla="*/ 0 w 4"/>
              <a:gd name="T9" fmla="*/ 0 h 2"/>
              <a:gd name="T10" fmla="*/ 0 w 4"/>
              <a:gd name="T11" fmla="*/ 0 h 2"/>
              <a:gd name="T12" fmla="*/ 4 w 4"/>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2"/>
                </a:moveTo>
                <a:lnTo>
                  <a:pt x="4" y="2"/>
                </a:lnTo>
                <a:lnTo>
                  <a:pt x="2" y="0"/>
                </a:lnTo>
                <a:lnTo>
                  <a:pt x="2" y="0"/>
                </a:lnTo>
                <a:lnTo>
                  <a:pt x="0" y="0"/>
                </a:lnTo>
                <a:lnTo>
                  <a:pt x="0" y="0"/>
                </a:lnTo>
                <a:lnTo>
                  <a:pt x="4"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02" name="Freeform 53"/>
          <p:cNvSpPr>
            <a:spLocks/>
          </p:cNvSpPr>
          <p:nvPr userDrawn="1"/>
        </p:nvSpPr>
        <p:spPr bwMode="auto">
          <a:xfrm>
            <a:off x="8405813" y="-885403"/>
            <a:ext cx="15875" cy="9525"/>
          </a:xfrm>
          <a:custGeom>
            <a:avLst/>
            <a:gdLst>
              <a:gd name="T0" fmla="*/ 20 w 20"/>
              <a:gd name="T1" fmla="*/ 10 h 11"/>
              <a:gd name="T2" fmla="*/ 20 w 20"/>
              <a:gd name="T3" fmla="*/ 10 h 11"/>
              <a:gd name="T4" fmla="*/ 19 w 20"/>
              <a:gd name="T5" fmla="*/ 10 h 11"/>
              <a:gd name="T6" fmla="*/ 11 w 20"/>
              <a:gd name="T7" fmla="*/ 11 h 11"/>
              <a:gd name="T8" fmla="*/ 2 w 20"/>
              <a:gd name="T9" fmla="*/ 11 h 11"/>
              <a:gd name="T10" fmla="*/ 2 w 20"/>
              <a:gd name="T11" fmla="*/ 11 h 11"/>
              <a:gd name="T12" fmla="*/ 0 w 20"/>
              <a:gd name="T13" fmla="*/ 8 h 11"/>
              <a:gd name="T14" fmla="*/ 0 w 20"/>
              <a:gd name="T15" fmla="*/ 0 h 11"/>
              <a:gd name="T16" fmla="*/ 0 w 20"/>
              <a:gd name="T17" fmla="*/ 0 h 11"/>
              <a:gd name="T18" fmla="*/ 4 w 20"/>
              <a:gd name="T19" fmla="*/ 0 h 11"/>
              <a:gd name="T20" fmla="*/ 11 w 20"/>
              <a:gd name="T21" fmla="*/ 2 h 11"/>
              <a:gd name="T22" fmla="*/ 17 w 20"/>
              <a:gd name="T23" fmla="*/ 4 h 11"/>
              <a:gd name="T24" fmla="*/ 20 w 20"/>
              <a:gd name="T25"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1">
                <a:moveTo>
                  <a:pt x="20" y="10"/>
                </a:moveTo>
                <a:lnTo>
                  <a:pt x="20" y="10"/>
                </a:lnTo>
                <a:lnTo>
                  <a:pt x="19" y="10"/>
                </a:lnTo>
                <a:lnTo>
                  <a:pt x="11" y="11"/>
                </a:lnTo>
                <a:lnTo>
                  <a:pt x="2" y="11"/>
                </a:lnTo>
                <a:lnTo>
                  <a:pt x="2" y="11"/>
                </a:lnTo>
                <a:lnTo>
                  <a:pt x="0" y="8"/>
                </a:lnTo>
                <a:lnTo>
                  <a:pt x="0" y="0"/>
                </a:lnTo>
                <a:lnTo>
                  <a:pt x="0" y="0"/>
                </a:lnTo>
                <a:lnTo>
                  <a:pt x="4" y="0"/>
                </a:lnTo>
                <a:lnTo>
                  <a:pt x="11" y="2"/>
                </a:lnTo>
                <a:lnTo>
                  <a:pt x="17" y="4"/>
                </a:lnTo>
                <a:lnTo>
                  <a:pt x="20"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03" name="Freeform 54"/>
          <p:cNvSpPr>
            <a:spLocks/>
          </p:cNvSpPr>
          <p:nvPr userDrawn="1"/>
        </p:nvSpPr>
        <p:spPr bwMode="auto">
          <a:xfrm>
            <a:off x="8197850" y="-917153"/>
            <a:ext cx="492125" cy="579438"/>
          </a:xfrm>
          <a:custGeom>
            <a:avLst/>
            <a:gdLst>
              <a:gd name="T0" fmla="*/ 592 w 619"/>
              <a:gd name="T1" fmla="*/ 245 h 729"/>
              <a:gd name="T2" fmla="*/ 588 w 619"/>
              <a:gd name="T3" fmla="*/ 150 h 729"/>
              <a:gd name="T4" fmla="*/ 513 w 619"/>
              <a:gd name="T5" fmla="*/ 57 h 729"/>
              <a:gd name="T6" fmla="*/ 446 w 619"/>
              <a:gd name="T7" fmla="*/ 150 h 729"/>
              <a:gd name="T8" fmla="*/ 460 w 619"/>
              <a:gd name="T9" fmla="*/ 243 h 729"/>
              <a:gd name="T10" fmla="*/ 490 w 619"/>
              <a:gd name="T11" fmla="*/ 256 h 729"/>
              <a:gd name="T12" fmla="*/ 506 w 619"/>
              <a:gd name="T13" fmla="*/ 240 h 729"/>
              <a:gd name="T14" fmla="*/ 568 w 619"/>
              <a:gd name="T15" fmla="*/ 250 h 729"/>
              <a:gd name="T16" fmla="*/ 533 w 619"/>
              <a:gd name="T17" fmla="*/ 345 h 729"/>
              <a:gd name="T18" fmla="*/ 429 w 619"/>
              <a:gd name="T19" fmla="*/ 291 h 729"/>
              <a:gd name="T20" fmla="*/ 417 w 619"/>
              <a:gd name="T21" fmla="*/ 198 h 729"/>
              <a:gd name="T22" fmla="*/ 418 w 619"/>
              <a:gd name="T23" fmla="*/ 183 h 729"/>
              <a:gd name="T24" fmla="*/ 375 w 619"/>
              <a:gd name="T25" fmla="*/ 121 h 729"/>
              <a:gd name="T26" fmla="*/ 424 w 619"/>
              <a:gd name="T27" fmla="*/ 77 h 729"/>
              <a:gd name="T28" fmla="*/ 353 w 619"/>
              <a:gd name="T29" fmla="*/ 28 h 729"/>
              <a:gd name="T30" fmla="*/ 247 w 619"/>
              <a:gd name="T31" fmla="*/ 33 h 729"/>
              <a:gd name="T32" fmla="*/ 225 w 619"/>
              <a:gd name="T33" fmla="*/ 73 h 729"/>
              <a:gd name="T34" fmla="*/ 243 w 619"/>
              <a:gd name="T35" fmla="*/ 104 h 729"/>
              <a:gd name="T36" fmla="*/ 292 w 619"/>
              <a:gd name="T37" fmla="*/ 88 h 729"/>
              <a:gd name="T38" fmla="*/ 219 w 619"/>
              <a:gd name="T39" fmla="*/ 115 h 729"/>
              <a:gd name="T40" fmla="*/ 190 w 619"/>
              <a:gd name="T41" fmla="*/ 110 h 729"/>
              <a:gd name="T42" fmla="*/ 258 w 619"/>
              <a:gd name="T43" fmla="*/ 112 h 729"/>
              <a:gd name="T44" fmla="*/ 261 w 619"/>
              <a:gd name="T45" fmla="*/ 128 h 729"/>
              <a:gd name="T46" fmla="*/ 238 w 619"/>
              <a:gd name="T47" fmla="*/ 152 h 729"/>
              <a:gd name="T48" fmla="*/ 259 w 619"/>
              <a:gd name="T49" fmla="*/ 192 h 729"/>
              <a:gd name="T50" fmla="*/ 133 w 619"/>
              <a:gd name="T51" fmla="*/ 276 h 729"/>
              <a:gd name="T52" fmla="*/ 53 w 619"/>
              <a:gd name="T53" fmla="*/ 252 h 729"/>
              <a:gd name="T54" fmla="*/ 42 w 619"/>
              <a:gd name="T55" fmla="*/ 267 h 729"/>
              <a:gd name="T56" fmla="*/ 51 w 619"/>
              <a:gd name="T57" fmla="*/ 287 h 729"/>
              <a:gd name="T58" fmla="*/ 2 w 619"/>
              <a:gd name="T59" fmla="*/ 305 h 729"/>
              <a:gd name="T60" fmla="*/ 58 w 619"/>
              <a:gd name="T61" fmla="*/ 313 h 729"/>
              <a:gd name="T62" fmla="*/ 37 w 619"/>
              <a:gd name="T63" fmla="*/ 331 h 729"/>
              <a:gd name="T64" fmla="*/ 53 w 619"/>
              <a:gd name="T65" fmla="*/ 345 h 729"/>
              <a:gd name="T66" fmla="*/ 104 w 619"/>
              <a:gd name="T67" fmla="*/ 345 h 729"/>
              <a:gd name="T68" fmla="*/ 117 w 619"/>
              <a:gd name="T69" fmla="*/ 347 h 729"/>
              <a:gd name="T70" fmla="*/ 163 w 619"/>
              <a:gd name="T71" fmla="*/ 309 h 729"/>
              <a:gd name="T72" fmla="*/ 214 w 619"/>
              <a:gd name="T73" fmla="*/ 300 h 729"/>
              <a:gd name="T74" fmla="*/ 283 w 619"/>
              <a:gd name="T75" fmla="*/ 325 h 729"/>
              <a:gd name="T76" fmla="*/ 417 w 619"/>
              <a:gd name="T77" fmla="*/ 386 h 729"/>
              <a:gd name="T78" fmla="*/ 466 w 619"/>
              <a:gd name="T79" fmla="*/ 492 h 729"/>
              <a:gd name="T80" fmla="*/ 464 w 619"/>
              <a:gd name="T81" fmla="*/ 517 h 729"/>
              <a:gd name="T82" fmla="*/ 512 w 619"/>
              <a:gd name="T83" fmla="*/ 526 h 729"/>
              <a:gd name="T84" fmla="*/ 526 w 619"/>
              <a:gd name="T85" fmla="*/ 627 h 729"/>
              <a:gd name="T86" fmla="*/ 462 w 619"/>
              <a:gd name="T87" fmla="*/ 638 h 729"/>
              <a:gd name="T88" fmla="*/ 491 w 619"/>
              <a:gd name="T89" fmla="*/ 651 h 729"/>
              <a:gd name="T90" fmla="*/ 479 w 619"/>
              <a:gd name="T91" fmla="*/ 663 h 729"/>
              <a:gd name="T92" fmla="*/ 475 w 619"/>
              <a:gd name="T93" fmla="*/ 711 h 729"/>
              <a:gd name="T94" fmla="*/ 502 w 619"/>
              <a:gd name="T95" fmla="*/ 693 h 729"/>
              <a:gd name="T96" fmla="*/ 513 w 619"/>
              <a:gd name="T97" fmla="*/ 700 h 729"/>
              <a:gd name="T98" fmla="*/ 544 w 619"/>
              <a:gd name="T99" fmla="*/ 720 h 729"/>
              <a:gd name="T100" fmla="*/ 554 w 619"/>
              <a:gd name="T101" fmla="*/ 678 h 729"/>
              <a:gd name="T102" fmla="*/ 586 w 619"/>
              <a:gd name="T103" fmla="*/ 689 h 729"/>
              <a:gd name="T104" fmla="*/ 590 w 619"/>
              <a:gd name="T105" fmla="*/ 625 h 729"/>
              <a:gd name="T106" fmla="*/ 603 w 619"/>
              <a:gd name="T107" fmla="*/ 598 h 729"/>
              <a:gd name="T108" fmla="*/ 599 w 619"/>
              <a:gd name="T109" fmla="*/ 552 h 729"/>
              <a:gd name="T110" fmla="*/ 574 w 619"/>
              <a:gd name="T111" fmla="*/ 508 h 729"/>
              <a:gd name="T112" fmla="*/ 532 w 619"/>
              <a:gd name="T113" fmla="*/ 462 h 729"/>
              <a:gd name="T114" fmla="*/ 532 w 619"/>
              <a:gd name="T115" fmla="*/ 419 h 729"/>
              <a:gd name="T116" fmla="*/ 539 w 619"/>
              <a:gd name="T117" fmla="*/ 377 h 729"/>
              <a:gd name="T118" fmla="*/ 618 w 619"/>
              <a:gd name="T119" fmla="*/ 316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9" h="729">
                <a:moveTo>
                  <a:pt x="603" y="280"/>
                </a:moveTo>
                <a:lnTo>
                  <a:pt x="603" y="280"/>
                </a:lnTo>
                <a:lnTo>
                  <a:pt x="612" y="282"/>
                </a:lnTo>
                <a:lnTo>
                  <a:pt x="619" y="280"/>
                </a:lnTo>
                <a:lnTo>
                  <a:pt x="619" y="280"/>
                </a:lnTo>
                <a:lnTo>
                  <a:pt x="618" y="269"/>
                </a:lnTo>
                <a:lnTo>
                  <a:pt x="616" y="252"/>
                </a:lnTo>
                <a:lnTo>
                  <a:pt x="616" y="252"/>
                </a:lnTo>
                <a:lnTo>
                  <a:pt x="610" y="252"/>
                </a:lnTo>
                <a:lnTo>
                  <a:pt x="605" y="252"/>
                </a:lnTo>
                <a:lnTo>
                  <a:pt x="599" y="250"/>
                </a:lnTo>
                <a:lnTo>
                  <a:pt x="592" y="245"/>
                </a:lnTo>
                <a:lnTo>
                  <a:pt x="592" y="245"/>
                </a:lnTo>
                <a:lnTo>
                  <a:pt x="588" y="238"/>
                </a:lnTo>
                <a:lnTo>
                  <a:pt x="588" y="238"/>
                </a:lnTo>
                <a:lnTo>
                  <a:pt x="577" y="223"/>
                </a:lnTo>
                <a:lnTo>
                  <a:pt x="565" y="212"/>
                </a:lnTo>
                <a:lnTo>
                  <a:pt x="552" y="203"/>
                </a:lnTo>
                <a:lnTo>
                  <a:pt x="541" y="196"/>
                </a:lnTo>
                <a:lnTo>
                  <a:pt x="541" y="196"/>
                </a:lnTo>
                <a:lnTo>
                  <a:pt x="559" y="185"/>
                </a:lnTo>
                <a:lnTo>
                  <a:pt x="572" y="174"/>
                </a:lnTo>
                <a:lnTo>
                  <a:pt x="581" y="165"/>
                </a:lnTo>
                <a:lnTo>
                  <a:pt x="585" y="157"/>
                </a:lnTo>
                <a:lnTo>
                  <a:pt x="585" y="157"/>
                </a:lnTo>
                <a:lnTo>
                  <a:pt x="588" y="150"/>
                </a:lnTo>
                <a:lnTo>
                  <a:pt x="592" y="139"/>
                </a:lnTo>
                <a:lnTo>
                  <a:pt x="592" y="128"/>
                </a:lnTo>
                <a:lnTo>
                  <a:pt x="592" y="115"/>
                </a:lnTo>
                <a:lnTo>
                  <a:pt x="588" y="103"/>
                </a:lnTo>
                <a:lnTo>
                  <a:pt x="583" y="90"/>
                </a:lnTo>
                <a:lnTo>
                  <a:pt x="574" y="79"/>
                </a:lnTo>
                <a:lnTo>
                  <a:pt x="566" y="73"/>
                </a:lnTo>
                <a:lnTo>
                  <a:pt x="559" y="68"/>
                </a:lnTo>
                <a:lnTo>
                  <a:pt x="559" y="68"/>
                </a:lnTo>
                <a:lnTo>
                  <a:pt x="548" y="62"/>
                </a:lnTo>
                <a:lnTo>
                  <a:pt x="535" y="59"/>
                </a:lnTo>
                <a:lnTo>
                  <a:pt x="524" y="57"/>
                </a:lnTo>
                <a:lnTo>
                  <a:pt x="513" y="57"/>
                </a:lnTo>
                <a:lnTo>
                  <a:pt x="495" y="60"/>
                </a:lnTo>
                <a:lnTo>
                  <a:pt x="481" y="64"/>
                </a:lnTo>
                <a:lnTo>
                  <a:pt x="481" y="64"/>
                </a:lnTo>
                <a:lnTo>
                  <a:pt x="471" y="70"/>
                </a:lnTo>
                <a:lnTo>
                  <a:pt x="462" y="77"/>
                </a:lnTo>
                <a:lnTo>
                  <a:pt x="455" y="84"/>
                </a:lnTo>
                <a:lnTo>
                  <a:pt x="449" y="93"/>
                </a:lnTo>
                <a:lnTo>
                  <a:pt x="446" y="104"/>
                </a:lnTo>
                <a:lnTo>
                  <a:pt x="442" y="115"/>
                </a:lnTo>
                <a:lnTo>
                  <a:pt x="442" y="126"/>
                </a:lnTo>
                <a:lnTo>
                  <a:pt x="442" y="141"/>
                </a:lnTo>
                <a:lnTo>
                  <a:pt x="442" y="141"/>
                </a:lnTo>
                <a:lnTo>
                  <a:pt x="446" y="150"/>
                </a:lnTo>
                <a:lnTo>
                  <a:pt x="449" y="159"/>
                </a:lnTo>
                <a:lnTo>
                  <a:pt x="455" y="168"/>
                </a:lnTo>
                <a:lnTo>
                  <a:pt x="460" y="174"/>
                </a:lnTo>
                <a:lnTo>
                  <a:pt x="477" y="185"/>
                </a:lnTo>
                <a:lnTo>
                  <a:pt x="495" y="196"/>
                </a:lnTo>
                <a:lnTo>
                  <a:pt x="495" y="196"/>
                </a:lnTo>
                <a:lnTo>
                  <a:pt x="481" y="203"/>
                </a:lnTo>
                <a:lnTo>
                  <a:pt x="470" y="214"/>
                </a:lnTo>
                <a:lnTo>
                  <a:pt x="466" y="219"/>
                </a:lnTo>
                <a:lnTo>
                  <a:pt x="464" y="227"/>
                </a:lnTo>
                <a:lnTo>
                  <a:pt x="462" y="234"/>
                </a:lnTo>
                <a:lnTo>
                  <a:pt x="460" y="243"/>
                </a:lnTo>
                <a:lnTo>
                  <a:pt x="460" y="243"/>
                </a:lnTo>
                <a:lnTo>
                  <a:pt x="462" y="254"/>
                </a:lnTo>
                <a:lnTo>
                  <a:pt x="466" y="267"/>
                </a:lnTo>
                <a:lnTo>
                  <a:pt x="468" y="282"/>
                </a:lnTo>
                <a:lnTo>
                  <a:pt x="468" y="291"/>
                </a:lnTo>
                <a:lnTo>
                  <a:pt x="466" y="300"/>
                </a:lnTo>
                <a:lnTo>
                  <a:pt x="466" y="300"/>
                </a:lnTo>
                <a:lnTo>
                  <a:pt x="468" y="300"/>
                </a:lnTo>
                <a:lnTo>
                  <a:pt x="475" y="298"/>
                </a:lnTo>
                <a:lnTo>
                  <a:pt x="484" y="291"/>
                </a:lnTo>
                <a:lnTo>
                  <a:pt x="484" y="291"/>
                </a:lnTo>
                <a:lnTo>
                  <a:pt x="488" y="280"/>
                </a:lnTo>
                <a:lnTo>
                  <a:pt x="490" y="269"/>
                </a:lnTo>
                <a:lnTo>
                  <a:pt x="490" y="256"/>
                </a:lnTo>
                <a:lnTo>
                  <a:pt x="490" y="256"/>
                </a:lnTo>
                <a:lnTo>
                  <a:pt x="493" y="261"/>
                </a:lnTo>
                <a:lnTo>
                  <a:pt x="495" y="271"/>
                </a:lnTo>
                <a:lnTo>
                  <a:pt x="495" y="278"/>
                </a:lnTo>
                <a:lnTo>
                  <a:pt x="493" y="285"/>
                </a:lnTo>
                <a:lnTo>
                  <a:pt x="493" y="285"/>
                </a:lnTo>
                <a:lnTo>
                  <a:pt x="501" y="282"/>
                </a:lnTo>
                <a:lnTo>
                  <a:pt x="504" y="278"/>
                </a:lnTo>
                <a:lnTo>
                  <a:pt x="508" y="274"/>
                </a:lnTo>
                <a:lnTo>
                  <a:pt x="508" y="274"/>
                </a:lnTo>
                <a:lnTo>
                  <a:pt x="510" y="261"/>
                </a:lnTo>
                <a:lnTo>
                  <a:pt x="510" y="249"/>
                </a:lnTo>
                <a:lnTo>
                  <a:pt x="506" y="240"/>
                </a:lnTo>
                <a:lnTo>
                  <a:pt x="504" y="232"/>
                </a:lnTo>
                <a:lnTo>
                  <a:pt x="504" y="232"/>
                </a:lnTo>
                <a:lnTo>
                  <a:pt x="502" y="225"/>
                </a:lnTo>
                <a:lnTo>
                  <a:pt x="504" y="218"/>
                </a:lnTo>
                <a:lnTo>
                  <a:pt x="510" y="210"/>
                </a:lnTo>
                <a:lnTo>
                  <a:pt x="515" y="207"/>
                </a:lnTo>
                <a:lnTo>
                  <a:pt x="515" y="207"/>
                </a:lnTo>
                <a:lnTo>
                  <a:pt x="533" y="216"/>
                </a:lnTo>
                <a:lnTo>
                  <a:pt x="533" y="216"/>
                </a:lnTo>
                <a:lnTo>
                  <a:pt x="541" y="221"/>
                </a:lnTo>
                <a:lnTo>
                  <a:pt x="552" y="230"/>
                </a:lnTo>
                <a:lnTo>
                  <a:pt x="563" y="243"/>
                </a:lnTo>
                <a:lnTo>
                  <a:pt x="568" y="250"/>
                </a:lnTo>
                <a:lnTo>
                  <a:pt x="572" y="260"/>
                </a:lnTo>
                <a:lnTo>
                  <a:pt x="572" y="260"/>
                </a:lnTo>
                <a:lnTo>
                  <a:pt x="577" y="271"/>
                </a:lnTo>
                <a:lnTo>
                  <a:pt x="579" y="282"/>
                </a:lnTo>
                <a:lnTo>
                  <a:pt x="579" y="291"/>
                </a:lnTo>
                <a:lnTo>
                  <a:pt x="579" y="300"/>
                </a:lnTo>
                <a:lnTo>
                  <a:pt x="576" y="313"/>
                </a:lnTo>
                <a:lnTo>
                  <a:pt x="572" y="320"/>
                </a:lnTo>
                <a:lnTo>
                  <a:pt x="572" y="320"/>
                </a:lnTo>
                <a:lnTo>
                  <a:pt x="565" y="329"/>
                </a:lnTo>
                <a:lnTo>
                  <a:pt x="557" y="338"/>
                </a:lnTo>
                <a:lnTo>
                  <a:pt x="546" y="344"/>
                </a:lnTo>
                <a:lnTo>
                  <a:pt x="533" y="345"/>
                </a:lnTo>
                <a:lnTo>
                  <a:pt x="533" y="345"/>
                </a:lnTo>
                <a:lnTo>
                  <a:pt x="532" y="345"/>
                </a:lnTo>
                <a:lnTo>
                  <a:pt x="532" y="345"/>
                </a:lnTo>
                <a:lnTo>
                  <a:pt x="517" y="345"/>
                </a:lnTo>
                <a:lnTo>
                  <a:pt x="517" y="345"/>
                </a:lnTo>
                <a:lnTo>
                  <a:pt x="504" y="342"/>
                </a:lnTo>
                <a:lnTo>
                  <a:pt x="504" y="342"/>
                </a:lnTo>
                <a:lnTo>
                  <a:pt x="493" y="338"/>
                </a:lnTo>
                <a:lnTo>
                  <a:pt x="493" y="338"/>
                </a:lnTo>
                <a:lnTo>
                  <a:pt x="482" y="333"/>
                </a:lnTo>
                <a:lnTo>
                  <a:pt x="466" y="322"/>
                </a:lnTo>
                <a:lnTo>
                  <a:pt x="448" y="309"/>
                </a:lnTo>
                <a:lnTo>
                  <a:pt x="429" y="291"/>
                </a:lnTo>
                <a:lnTo>
                  <a:pt x="429" y="291"/>
                </a:lnTo>
                <a:lnTo>
                  <a:pt x="406" y="261"/>
                </a:lnTo>
                <a:lnTo>
                  <a:pt x="389" y="241"/>
                </a:lnTo>
                <a:lnTo>
                  <a:pt x="389" y="241"/>
                </a:lnTo>
                <a:lnTo>
                  <a:pt x="398" y="245"/>
                </a:lnTo>
                <a:lnTo>
                  <a:pt x="406" y="245"/>
                </a:lnTo>
                <a:lnTo>
                  <a:pt x="415" y="245"/>
                </a:lnTo>
                <a:lnTo>
                  <a:pt x="415" y="245"/>
                </a:lnTo>
                <a:lnTo>
                  <a:pt x="417" y="229"/>
                </a:lnTo>
                <a:lnTo>
                  <a:pt x="417" y="212"/>
                </a:lnTo>
                <a:lnTo>
                  <a:pt x="417" y="212"/>
                </a:lnTo>
                <a:lnTo>
                  <a:pt x="417" y="198"/>
                </a:lnTo>
                <a:lnTo>
                  <a:pt x="417" y="198"/>
                </a:lnTo>
                <a:lnTo>
                  <a:pt x="411" y="198"/>
                </a:lnTo>
                <a:lnTo>
                  <a:pt x="398" y="194"/>
                </a:lnTo>
                <a:lnTo>
                  <a:pt x="393" y="192"/>
                </a:lnTo>
                <a:lnTo>
                  <a:pt x="386" y="188"/>
                </a:lnTo>
                <a:lnTo>
                  <a:pt x="380" y="185"/>
                </a:lnTo>
                <a:lnTo>
                  <a:pt x="376" y="179"/>
                </a:lnTo>
                <a:lnTo>
                  <a:pt x="376" y="179"/>
                </a:lnTo>
                <a:lnTo>
                  <a:pt x="382" y="181"/>
                </a:lnTo>
                <a:lnTo>
                  <a:pt x="387" y="183"/>
                </a:lnTo>
                <a:lnTo>
                  <a:pt x="395" y="185"/>
                </a:lnTo>
                <a:lnTo>
                  <a:pt x="395" y="185"/>
                </a:lnTo>
                <a:lnTo>
                  <a:pt x="411" y="183"/>
                </a:lnTo>
                <a:lnTo>
                  <a:pt x="418" y="183"/>
                </a:lnTo>
                <a:lnTo>
                  <a:pt x="418" y="183"/>
                </a:lnTo>
                <a:lnTo>
                  <a:pt x="420" y="166"/>
                </a:lnTo>
                <a:lnTo>
                  <a:pt x="420" y="152"/>
                </a:lnTo>
                <a:lnTo>
                  <a:pt x="420" y="152"/>
                </a:lnTo>
                <a:lnTo>
                  <a:pt x="420" y="137"/>
                </a:lnTo>
                <a:lnTo>
                  <a:pt x="420" y="137"/>
                </a:lnTo>
                <a:lnTo>
                  <a:pt x="409" y="137"/>
                </a:lnTo>
                <a:lnTo>
                  <a:pt x="396" y="135"/>
                </a:lnTo>
                <a:lnTo>
                  <a:pt x="396" y="135"/>
                </a:lnTo>
                <a:lnTo>
                  <a:pt x="384" y="130"/>
                </a:lnTo>
                <a:lnTo>
                  <a:pt x="378" y="126"/>
                </a:lnTo>
                <a:lnTo>
                  <a:pt x="375" y="121"/>
                </a:lnTo>
                <a:lnTo>
                  <a:pt x="375" y="121"/>
                </a:lnTo>
                <a:lnTo>
                  <a:pt x="380" y="123"/>
                </a:lnTo>
                <a:lnTo>
                  <a:pt x="395" y="126"/>
                </a:lnTo>
                <a:lnTo>
                  <a:pt x="395" y="126"/>
                </a:lnTo>
                <a:lnTo>
                  <a:pt x="404" y="126"/>
                </a:lnTo>
                <a:lnTo>
                  <a:pt x="413" y="124"/>
                </a:lnTo>
                <a:lnTo>
                  <a:pt x="420" y="124"/>
                </a:lnTo>
                <a:lnTo>
                  <a:pt x="422" y="123"/>
                </a:lnTo>
                <a:lnTo>
                  <a:pt x="422" y="123"/>
                </a:lnTo>
                <a:lnTo>
                  <a:pt x="422" y="93"/>
                </a:lnTo>
                <a:lnTo>
                  <a:pt x="422" y="93"/>
                </a:lnTo>
                <a:lnTo>
                  <a:pt x="424" y="86"/>
                </a:lnTo>
                <a:lnTo>
                  <a:pt x="424" y="77"/>
                </a:lnTo>
                <a:lnTo>
                  <a:pt x="424" y="77"/>
                </a:lnTo>
                <a:lnTo>
                  <a:pt x="418" y="77"/>
                </a:lnTo>
                <a:lnTo>
                  <a:pt x="407" y="75"/>
                </a:lnTo>
                <a:lnTo>
                  <a:pt x="395" y="70"/>
                </a:lnTo>
                <a:lnTo>
                  <a:pt x="389" y="66"/>
                </a:lnTo>
                <a:lnTo>
                  <a:pt x="382" y="60"/>
                </a:lnTo>
                <a:lnTo>
                  <a:pt x="382" y="60"/>
                </a:lnTo>
                <a:lnTo>
                  <a:pt x="380" y="57"/>
                </a:lnTo>
                <a:lnTo>
                  <a:pt x="380" y="53"/>
                </a:lnTo>
                <a:lnTo>
                  <a:pt x="382" y="46"/>
                </a:lnTo>
                <a:lnTo>
                  <a:pt x="382" y="46"/>
                </a:lnTo>
                <a:lnTo>
                  <a:pt x="349" y="31"/>
                </a:lnTo>
                <a:lnTo>
                  <a:pt x="349" y="31"/>
                </a:lnTo>
                <a:lnTo>
                  <a:pt x="353" y="28"/>
                </a:lnTo>
                <a:lnTo>
                  <a:pt x="356" y="22"/>
                </a:lnTo>
                <a:lnTo>
                  <a:pt x="356" y="18"/>
                </a:lnTo>
                <a:lnTo>
                  <a:pt x="356" y="18"/>
                </a:lnTo>
                <a:lnTo>
                  <a:pt x="354" y="13"/>
                </a:lnTo>
                <a:lnTo>
                  <a:pt x="349" y="9"/>
                </a:lnTo>
                <a:lnTo>
                  <a:pt x="343" y="8"/>
                </a:lnTo>
                <a:lnTo>
                  <a:pt x="336" y="8"/>
                </a:lnTo>
                <a:lnTo>
                  <a:pt x="336" y="8"/>
                </a:lnTo>
                <a:lnTo>
                  <a:pt x="329" y="9"/>
                </a:lnTo>
                <a:lnTo>
                  <a:pt x="325" y="13"/>
                </a:lnTo>
                <a:lnTo>
                  <a:pt x="320" y="18"/>
                </a:lnTo>
                <a:lnTo>
                  <a:pt x="280" y="0"/>
                </a:lnTo>
                <a:lnTo>
                  <a:pt x="247" y="33"/>
                </a:lnTo>
                <a:lnTo>
                  <a:pt x="247" y="33"/>
                </a:lnTo>
                <a:lnTo>
                  <a:pt x="245" y="35"/>
                </a:lnTo>
                <a:lnTo>
                  <a:pt x="245" y="39"/>
                </a:lnTo>
                <a:lnTo>
                  <a:pt x="245" y="42"/>
                </a:lnTo>
                <a:lnTo>
                  <a:pt x="245" y="42"/>
                </a:lnTo>
                <a:lnTo>
                  <a:pt x="245" y="44"/>
                </a:lnTo>
                <a:lnTo>
                  <a:pt x="243" y="46"/>
                </a:lnTo>
                <a:lnTo>
                  <a:pt x="243" y="46"/>
                </a:lnTo>
                <a:lnTo>
                  <a:pt x="234" y="57"/>
                </a:lnTo>
                <a:lnTo>
                  <a:pt x="234" y="57"/>
                </a:lnTo>
                <a:lnTo>
                  <a:pt x="228" y="66"/>
                </a:lnTo>
                <a:lnTo>
                  <a:pt x="228" y="66"/>
                </a:lnTo>
                <a:lnTo>
                  <a:pt x="225" y="73"/>
                </a:lnTo>
                <a:lnTo>
                  <a:pt x="223" y="79"/>
                </a:lnTo>
                <a:lnTo>
                  <a:pt x="223" y="79"/>
                </a:lnTo>
                <a:lnTo>
                  <a:pt x="221" y="81"/>
                </a:lnTo>
                <a:lnTo>
                  <a:pt x="221" y="84"/>
                </a:lnTo>
                <a:lnTo>
                  <a:pt x="225" y="92"/>
                </a:lnTo>
                <a:lnTo>
                  <a:pt x="234" y="99"/>
                </a:lnTo>
                <a:lnTo>
                  <a:pt x="234" y="101"/>
                </a:lnTo>
                <a:lnTo>
                  <a:pt x="234" y="101"/>
                </a:lnTo>
                <a:lnTo>
                  <a:pt x="236" y="99"/>
                </a:lnTo>
                <a:lnTo>
                  <a:pt x="238" y="99"/>
                </a:lnTo>
                <a:lnTo>
                  <a:pt x="238" y="99"/>
                </a:lnTo>
                <a:lnTo>
                  <a:pt x="243" y="104"/>
                </a:lnTo>
                <a:lnTo>
                  <a:pt x="243" y="104"/>
                </a:lnTo>
                <a:lnTo>
                  <a:pt x="245" y="101"/>
                </a:lnTo>
                <a:lnTo>
                  <a:pt x="248" y="95"/>
                </a:lnTo>
                <a:lnTo>
                  <a:pt x="248" y="95"/>
                </a:lnTo>
                <a:lnTo>
                  <a:pt x="254" y="88"/>
                </a:lnTo>
                <a:lnTo>
                  <a:pt x="261" y="82"/>
                </a:lnTo>
                <a:lnTo>
                  <a:pt x="261" y="82"/>
                </a:lnTo>
                <a:lnTo>
                  <a:pt x="269" y="79"/>
                </a:lnTo>
                <a:lnTo>
                  <a:pt x="276" y="79"/>
                </a:lnTo>
                <a:lnTo>
                  <a:pt x="276" y="79"/>
                </a:lnTo>
                <a:lnTo>
                  <a:pt x="283" y="79"/>
                </a:lnTo>
                <a:lnTo>
                  <a:pt x="289" y="82"/>
                </a:lnTo>
                <a:lnTo>
                  <a:pt x="289" y="82"/>
                </a:lnTo>
                <a:lnTo>
                  <a:pt x="292" y="88"/>
                </a:lnTo>
                <a:lnTo>
                  <a:pt x="294" y="95"/>
                </a:lnTo>
                <a:lnTo>
                  <a:pt x="294" y="103"/>
                </a:lnTo>
                <a:lnTo>
                  <a:pt x="294" y="108"/>
                </a:lnTo>
                <a:lnTo>
                  <a:pt x="294" y="108"/>
                </a:lnTo>
                <a:lnTo>
                  <a:pt x="290" y="104"/>
                </a:lnTo>
                <a:lnTo>
                  <a:pt x="290" y="104"/>
                </a:lnTo>
                <a:lnTo>
                  <a:pt x="285" y="103"/>
                </a:lnTo>
                <a:lnTo>
                  <a:pt x="276" y="101"/>
                </a:lnTo>
                <a:lnTo>
                  <a:pt x="265" y="101"/>
                </a:lnTo>
                <a:lnTo>
                  <a:pt x="254" y="103"/>
                </a:lnTo>
                <a:lnTo>
                  <a:pt x="254" y="103"/>
                </a:lnTo>
                <a:lnTo>
                  <a:pt x="241" y="108"/>
                </a:lnTo>
                <a:lnTo>
                  <a:pt x="219" y="115"/>
                </a:lnTo>
                <a:lnTo>
                  <a:pt x="219" y="115"/>
                </a:lnTo>
                <a:lnTo>
                  <a:pt x="214" y="117"/>
                </a:lnTo>
                <a:lnTo>
                  <a:pt x="208" y="117"/>
                </a:lnTo>
                <a:lnTo>
                  <a:pt x="205" y="113"/>
                </a:lnTo>
                <a:lnTo>
                  <a:pt x="203" y="110"/>
                </a:lnTo>
                <a:lnTo>
                  <a:pt x="203" y="110"/>
                </a:lnTo>
                <a:lnTo>
                  <a:pt x="203" y="104"/>
                </a:lnTo>
                <a:lnTo>
                  <a:pt x="203" y="101"/>
                </a:lnTo>
                <a:lnTo>
                  <a:pt x="205" y="97"/>
                </a:lnTo>
                <a:lnTo>
                  <a:pt x="205" y="97"/>
                </a:lnTo>
                <a:lnTo>
                  <a:pt x="199" y="101"/>
                </a:lnTo>
                <a:lnTo>
                  <a:pt x="194" y="104"/>
                </a:lnTo>
                <a:lnTo>
                  <a:pt x="190" y="110"/>
                </a:lnTo>
                <a:lnTo>
                  <a:pt x="190" y="110"/>
                </a:lnTo>
                <a:lnTo>
                  <a:pt x="190" y="117"/>
                </a:lnTo>
                <a:lnTo>
                  <a:pt x="192" y="124"/>
                </a:lnTo>
                <a:lnTo>
                  <a:pt x="195" y="128"/>
                </a:lnTo>
                <a:lnTo>
                  <a:pt x="201" y="132"/>
                </a:lnTo>
                <a:lnTo>
                  <a:pt x="201" y="132"/>
                </a:lnTo>
                <a:lnTo>
                  <a:pt x="208" y="132"/>
                </a:lnTo>
                <a:lnTo>
                  <a:pt x="217" y="130"/>
                </a:lnTo>
                <a:lnTo>
                  <a:pt x="234" y="123"/>
                </a:lnTo>
                <a:lnTo>
                  <a:pt x="234" y="123"/>
                </a:lnTo>
                <a:lnTo>
                  <a:pt x="250" y="113"/>
                </a:lnTo>
                <a:lnTo>
                  <a:pt x="250" y="113"/>
                </a:lnTo>
                <a:lnTo>
                  <a:pt x="258" y="112"/>
                </a:lnTo>
                <a:lnTo>
                  <a:pt x="263" y="110"/>
                </a:lnTo>
                <a:lnTo>
                  <a:pt x="270" y="112"/>
                </a:lnTo>
                <a:lnTo>
                  <a:pt x="278" y="113"/>
                </a:lnTo>
                <a:lnTo>
                  <a:pt x="278" y="113"/>
                </a:lnTo>
                <a:lnTo>
                  <a:pt x="285" y="119"/>
                </a:lnTo>
                <a:lnTo>
                  <a:pt x="289" y="121"/>
                </a:lnTo>
                <a:lnTo>
                  <a:pt x="289" y="121"/>
                </a:lnTo>
                <a:lnTo>
                  <a:pt x="285" y="126"/>
                </a:lnTo>
                <a:lnTo>
                  <a:pt x="281" y="130"/>
                </a:lnTo>
                <a:lnTo>
                  <a:pt x="274" y="130"/>
                </a:lnTo>
                <a:lnTo>
                  <a:pt x="274" y="130"/>
                </a:lnTo>
                <a:lnTo>
                  <a:pt x="267" y="130"/>
                </a:lnTo>
                <a:lnTo>
                  <a:pt x="261" y="128"/>
                </a:lnTo>
                <a:lnTo>
                  <a:pt x="256" y="124"/>
                </a:lnTo>
                <a:lnTo>
                  <a:pt x="254" y="121"/>
                </a:lnTo>
                <a:lnTo>
                  <a:pt x="254" y="121"/>
                </a:lnTo>
                <a:lnTo>
                  <a:pt x="250" y="128"/>
                </a:lnTo>
                <a:lnTo>
                  <a:pt x="250" y="128"/>
                </a:lnTo>
                <a:lnTo>
                  <a:pt x="248" y="132"/>
                </a:lnTo>
                <a:lnTo>
                  <a:pt x="248" y="135"/>
                </a:lnTo>
                <a:lnTo>
                  <a:pt x="250" y="137"/>
                </a:lnTo>
                <a:lnTo>
                  <a:pt x="248" y="141"/>
                </a:lnTo>
                <a:lnTo>
                  <a:pt x="248" y="141"/>
                </a:lnTo>
                <a:lnTo>
                  <a:pt x="247" y="143"/>
                </a:lnTo>
                <a:lnTo>
                  <a:pt x="245" y="146"/>
                </a:lnTo>
                <a:lnTo>
                  <a:pt x="238" y="152"/>
                </a:lnTo>
                <a:lnTo>
                  <a:pt x="238" y="152"/>
                </a:lnTo>
                <a:lnTo>
                  <a:pt x="227" y="157"/>
                </a:lnTo>
                <a:lnTo>
                  <a:pt x="219" y="159"/>
                </a:lnTo>
                <a:lnTo>
                  <a:pt x="219" y="159"/>
                </a:lnTo>
                <a:lnTo>
                  <a:pt x="227" y="176"/>
                </a:lnTo>
                <a:lnTo>
                  <a:pt x="227" y="176"/>
                </a:lnTo>
                <a:lnTo>
                  <a:pt x="232" y="187"/>
                </a:lnTo>
                <a:lnTo>
                  <a:pt x="236" y="194"/>
                </a:lnTo>
                <a:lnTo>
                  <a:pt x="239" y="199"/>
                </a:lnTo>
                <a:lnTo>
                  <a:pt x="239" y="199"/>
                </a:lnTo>
                <a:lnTo>
                  <a:pt x="247" y="198"/>
                </a:lnTo>
                <a:lnTo>
                  <a:pt x="259" y="192"/>
                </a:lnTo>
                <a:lnTo>
                  <a:pt x="259" y="192"/>
                </a:lnTo>
                <a:lnTo>
                  <a:pt x="269" y="185"/>
                </a:lnTo>
                <a:lnTo>
                  <a:pt x="274" y="177"/>
                </a:lnTo>
                <a:lnTo>
                  <a:pt x="274" y="177"/>
                </a:lnTo>
                <a:lnTo>
                  <a:pt x="267" y="194"/>
                </a:lnTo>
                <a:lnTo>
                  <a:pt x="261" y="203"/>
                </a:lnTo>
                <a:lnTo>
                  <a:pt x="254" y="210"/>
                </a:lnTo>
                <a:lnTo>
                  <a:pt x="248" y="216"/>
                </a:lnTo>
                <a:lnTo>
                  <a:pt x="248" y="216"/>
                </a:lnTo>
                <a:lnTo>
                  <a:pt x="225" y="232"/>
                </a:lnTo>
                <a:lnTo>
                  <a:pt x="192" y="250"/>
                </a:lnTo>
                <a:lnTo>
                  <a:pt x="172" y="261"/>
                </a:lnTo>
                <a:lnTo>
                  <a:pt x="153" y="269"/>
                </a:lnTo>
                <a:lnTo>
                  <a:pt x="133" y="276"/>
                </a:lnTo>
                <a:lnTo>
                  <a:pt x="113" y="280"/>
                </a:lnTo>
                <a:lnTo>
                  <a:pt x="113" y="280"/>
                </a:lnTo>
                <a:lnTo>
                  <a:pt x="108" y="278"/>
                </a:lnTo>
                <a:lnTo>
                  <a:pt x="100" y="276"/>
                </a:lnTo>
                <a:lnTo>
                  <a:pt x="88" y="267"/>
                </a:lnTo>
                <a:lnTo>
                  <a:pt x="75" y="258"/>
                </a:lnTo>
                <a:lnTo>
                  <a:pt x="68" y="249"/>
                </a:lnTo>
                <a:lnTo>
                  <a:pt x="68" y="249"/>
                </a:lnTo>
                <a:lnTo>
                  <a:pt x="66" y="249"/>
                </a:lnTo>
                <a:lnTo>
                  <a:pt x="62" y="247"/>
                </a:lnTo>
                <a:lnTo>
                  <a:pt x="58" y="249"/>
                </a:lnTo>
                <a:lnTo>
                  <a:pt x="53" y="252"/>
                </a:lnTo>
                <a:lnTo>
                  <a:pt x="53" y="252"/>
                </a:lnTo>
                <a:lnTo>
                  <a:pt x="49" y="252"/>
                </a:lnTo>
                <a:lnTo>
                  <a:pt x="42" y="252"/>
                </a:lnTo>
                <a:lnTo>
                  <a:pt x="31" y="254"/>
                </a:lnTo>
                <a:lnTo>
                  <a:pt x="27" y="258"/>
                </a:lnTo>
                <a:lnTo>
                  <a:pt x="24" y="261"/>
                </a:lnTo>
                <a:lnTo>
                  <a:pt x="24" y="261"/>
                </a:lnTo>
                <a:lnTo>
                  <a:pt x="24" y="263"/>
                </a:lnTo>
                <a:lnTo>
                  <a:pt x="29" y="263"/>
                </a:lnTo>
                <a:lnTo>
                  <a:pt x="35" y="261"/>
                </a:lnTo>
                <a:lnTo>
                  <a:pt x="42" y="263"/>
                </a:lnTo>
                <a:lnTo>
                  <a:pt x="42" y="263"/>
                </a:lnTo>
                <a:lnTo>
                  <a:pt x="44" y="265"/>
                </a:lnTo>
                <a:lnTo>
                  <a:pt x="42" y="267"/>
                </a:lnTo>
                <a:lnTo>
                  <a:pt x="40" y="269"/>
                </a:lnTo>
                <a:lnTo>
                  <a:pt x="40" y="272"/>
                </a:lnTo>
                <a:lnTo>
                  <a:pt x="40" y="272"/>
                </a:lnTo>
                <a:lnTo>
                  <a:pt x="40" y="274"/>
                </a:lnTo>
                <a:lnTo>
                  <a:pt x="44" y="278"/>
                </a:lnTo>
                <a:lnTo>
                  <a:pt x="53" y="282"/>
                </a:lnTo>
                <a:lnTo>
                  <a:pt x="71" y="289"/>
                </a:lnTo>
                <a:lnTo>
                  <a:pt x="71" y="289"/>
                </a:lnTo>
                <a:lnTo>
                  <a:pt x="73" y="291"/>
                </a:lnTo>
                <a:lnTo>
                  <a:pt x="73" y="293"/>
                </a:lnTo>
                <a:lnTo>
                  <a:pt x="73" y="293"/>
                </a:lnTo>
                <a:lnTo>
                  <a:pt x="60" y="291"/>
                </a:lnTo>
                <a:lnTo>
                  <a:pt x="51" y="287"/>
                </a:lnTo>
                <a:lnTo>
                  <a:pt x="38" y="282"/>
                </a:lnTo>
                <a:lnTo>
                  <a:pt x="38" y="282"/>
                </a:lnTo>
                <a:lnTo>
                  <a:pt x="29" y="280"/>
                </a:lnTo>
                <a:lnTo>
                  <a:pt x="24" y="280"/>
                </a:lnTo>
                <a:lnTo>
                  <a:pt x="22" y="283"/>
                </a:lnTo>
                <a:lnTo>
                  <a:pt x="20" y="287"/>
                </a:lnTo>
                <a:lnTo>
                  <a:pt x="20" y="287"/>
                </a:lnTo>
                <a:lnTo>
                  <a:pt x="18" y="289"/>
                </a:lnTo>
                <a:lnTo>
                  <a:pt x="16" y="289"/>
                </a:lnTo>
                <a:lnTo>
                  <a:pt x="11" y="293"/>
                </a:lnTo>
                <a:lnTo>
                  <a:pt x="7" y="294"/>
                </a:lnTo>
                <a:lnTo>
                  <a:pt x="4" y="300"/>
                </a:lnTo>
                <a:lnTo>
                  <a:pt x="2" y="305"/>
                </a:lnTo>
                <a:lnTo>
                  <a:pt x="0" y="314"/>
                </a:lnTo>
                <a:lnTo>
                  <a:pt x="0" y="314"/>
                </a:lnTo>
                <a:lnTo>
                  <a:pt x="4" y="313"/>
                </a:lnTo>
                <a:lnTo>
                  <a:pt x="9" y="307"/>
                </a:lnTo>
                <a:lnTo>
                  <a:pt x="15" y="303"/>
                </a:lnTo>
                <a:lnTo>
                  <a:pt x="18" y="302"/>
                </a:lnTo>
                <a:lnTo>
                  <a:pt x="18" y="303"/>
                </a:lnTo>
                <a:lnTo>
                  <a:pt x="18" y="303"/>
                </a:lnTo>
                <a:lnTo>
                  <a:pt x="22" y="311"/>
                </a:lnTo>
                <a:lnTo>
                  <a:pt x="27" y="314"/>
                </a:lnTo>
                <a:lnTo>
                  <a:pt x="35" y="314"/>
                </a:lnTo>
                <a:lnTo>
                  <a:pt x="42" y="314"/>
                </a:lnTo>
                <a:lnTo>
                  <a:pt x="58" y="313"/>
                </a:lnTo>
                <a:lnTo>
                  <a:pt x="66" y="313"/>
                </a:lnTo>
                <a:lnTo>
                  <a:pt x="69" y="313"/>
                </a:lnTo>
                <a:lnTo>
                  <a:pt x="69" y="313"/>
                </a:lnTo>
                <a:lnTo>
                  <a:pt x="69" y="314"/>
                </a:lnTo>
                <a:lnTo>
                  <a:pt x="69" y="314"/>
                </a:lnTo>
                <a:lnTo>
                  <a:pt x="66" y="316"/>
                </a:lnTo>
                <a:lnTo>
                  <a:pt x="53" y="318"/>
                </a:lnTo>
                <a:lnTo>
                  <a:pt x="46" y="320"/>
                </a:lnTo>
                <a:lnTo>
                  <a:pt x="38" y="324"/>
                </a:lnTo>
                <a:lnTo>
                  <a:pt x="37" y="325"/>
                </a:lnTo>
                <a:lnTo>
                  <a:pt x="35" y="329"/>
                </a:lnTo>
                <a:lnTo>
                  <a:pt x="37" y="331"/>
                </a:lnTo>
                <a:lnTo>
                  <a:pt x="37" y="331"/>
                </a:lnTo>
                <a:lnTo>
                  <a:pt x="33" y="335"/>
                </a:lnTo>
                <a:lnTo>
                  <a:pt x="29" y="342"/>
                </a:lnTo>
                <a:lnTo>
                  <a:pt x="27" y="345"/>
                </a:lnTo>
                <a:lnTo>
                  <a:pt x="27" y="351"/>
                </a:lnTo>
                <a:lnTo>
                  <a:pt x="29" y="356"/>
                </a:lnTo>
                <a:lnTo>
                  <a:pt x="35" y="364"/>
                </a:lnTo>
                <a:lnTo>
                  <a:pt x="35" y="364"/>
                </a:lnTo>
                <a:lnTo>
                  <a:pt x="37" y="353"/>
                </a:lnTo>
                <a:lnTo>
                  <a:pt x="40" y="347"/>
                </a:lnTo>
                <a:lnTo>
                  <a:pt x="42" y="345"/>
                </a:lnTo>
                <a:lnTo>
                  <a:pt x="46" y="345"/>
                </a:lnTo>
                <a:lnTo>
                  <a:pt x="46" y="345"/>
                </a:lnTo>
                <a:lnTo>
                  <a:pt x="53" y="345"/>
                </a:lnTo>
                <a:lnTo>
                  <a:pt x="58" y="349"/>
                </a:lnTo>
                <a:lnTo>
                  <a:pt x="64" y="349"/>
                </a:lnTo>
                <a:lnTo>
                  <a:pt x="71" y="345"/>
                </a:lnTo>
                <a:lnTo>
                  <a:pt x="71" y="345"/>
                </a:lnTo>
                <a:lnTo>
                  <a:pt x="79" y="340"/>
                </a:lnTo>
                <a:lnTo>
                  <a:pt x="84" y="336"/>
                </a:lnTo>
                <a:lnTo>
                  <a:pt x="95" y="333"/>
                </a:lnTo>
                <a:lnTo>
                  <a:pt x="95" y="333"/>
                </a:lnTo>
                <a:lnTo>
                  <a:pt x="95" y="336"/>
                </a:lnTo>
                <a:lnTo>
                  <a:pt x="99" y="342"/>
                </a:lnTo>
                <a:lnTo>
                  <a:pt x="99" y="342"/>
                </a:lnTo>
                <a:lnTo>
                  <a:pt x="102" y="344"/>
                </a:lnTo>
                <a:lnTo>
                  <a:pt x="104" y="345"/>
                </a:lnTo>
                <a:lnTo>
                  <a:pt x="104" y="345"/>
                </a:lnTo>
                <a:lnTo>
                  <a:pt x="104" y="345"/>
                </a:lnTo>
                <a:lnTo>
                  <a:pt x="102" y="351"/>
                </a:lnTo>
                <a:lnTo>
                  <a:pt x="99" y="356"/>
                </a:lnTo>
                <a:lnTo>
                  <a:pt x="95" y="360"/>
                </a:lnTo>
                <a:lnTo>
                  <a:pt x="95" y="360"/>
                </a:lnTo>
                <a:lnTo>
                  <a:pt x="97" y="360"/>
                </a:lnTo>
                <a:lnTo>
                  <a:pt x="102" y="360"/>
                </a:lnTo>
                <a:lnTo>
                  <a:pt x="108" y="358"/>
                </a:lnTo>
                <a:lnTo>
                  <a:pt x="111" y="355"/>
                </a:lnTo>
                <a:lnTo>
                  <a:pt x="115" y="349"/>
                </a:lnTo>
                <a:lnTo>
                  <a:pt x="115" y="349"/>
                </a:lnTo>
                <a:lnTo>
                  <a:pt x="117" y="347"/>
                </a:lnTo>
                <a:lnTo>
                  <a:pt x="119" y="347"/>
                </a:lnTo>
                <a:lnTo>
                  <a:pt x="124" y="347"/>
                </a:lnTo>
                <a:lnTo>
                  <a:pt x="124" y="347"/>
                </a:lnTo>
                <a:lnTo>
                  <a:pt x="128" y="345"/>
                </a:lnTo>
                <a:lnTo>
                  <a:pt x="130" y="344"/>
                </a:lnTo>
                <a:lnTo>
                  <a:pt x="130" y="338"/>
                </a:lnTo>
                <a:lnTo>
                  <a:pt x="130" y="333"/>
                </a:lnTo>
                <a:lnTo>
                  <a:pt x="130" y="329"/>
                </a:lnTo>
                <a:lnTo>
                  <a:pt x="132" y="327"/>
                </a:lnTo>
                <a:lnTo>
                  <a:pt x="132" y="327"/>
                </a:lnTo>
                <a:lnTo>
                  <a:pt x="139" y="322"/>
                </a:lnTo>
                <a:lnTo>
                  <a:pt x="146" y="316"/>
                </a:lnTo>
                <a:lnTo>
                  <a:pt x="163" y="309"/>
                </a:lnTo>
                <a:lnTo>
                  <a:pt x="163" y="309"/>
                </a:lnTo>
                <a:lnTo>
                  <a:pt x="161" y="316"/>
                </a:lnTo>
                <a:lnTo>
                  <a:pt x="161" y="324"/>
                </a:lnTo>
                <a:lnTo>
                  <a:pt x="164" y="333"/>
                </a:lnTo>
                <a:lnTo>
                  <a:pt x="205" y="322"/>
                </a:lnTo>
                <a:lnTo>
                  <a:pt x="205" y="322"/>
                </a:lnTo>
                <a:lnTo>
                  <a:pt x="203" y="313"/>
                </a:lnTo>
                <a:lnTo>
                  <a:pt x="205" y="305"/>
                </a:lnTo>
                <a:lnTo>
                  <a:pt x="210" y="296"/>
                </a:lnTo>
                <a:lnTo>
                  <a:pt x="216" y="287"/>
                </a:lnTo>
                <a:lnTo>
                  <a:pt x="216" y="287"/>
                </a:lnTo>
                <a:lnTo>
                  <a:pt x="216" y="291"/>
                </a:lnTo>
                <a:lnTo>
                  <a:pt x="214" y="300"/>
                </a:lnTo>
                <a:lnTo>
                  <a:pt x="214" y="311"/>
                </a:lnTo>
                <a:lnTo>
                  <a:pt x="214" y="316"/>
                </a:lnTo>
                <a:lnTo>
                  <a:pt x="216" y="318"/>
                </a:lnTo>
                <a:lnTo>
                  <a:pt x="256" y="309"/>
                </a:lnTo>
                <a:lnTo>
                  <a:pt x="256" y="309"/>
                </a:lnTo>
                <a:lnTo>
                  <a:pt x="254" y="303"/>
                </a:lnTo>
                <a:lnTo>
                  <a:pt x="254" y="296"/>
                </a:lnTo>
                <a:lnTo>
                  <a:pt x="258" y="283"/>
                </a:lnTo>
                <a:lnTo>
                  <a:pt x="258" y="283"/>
                </a:lnTo>
                <a:lnTo>
                  <a:pt x="261" y="298"/>
                </a:lnTo>
                <a:lnTo>
                  <a:pt x="269" y="311"/>
                </a:lnTo>
                <a:lnTo>
                  <a:pt x="278" y="322"/>
                </a:lnTo>
                <a:lnTo>
                  <a:pt x="283" y="325"/>
                </a:lnTo>
                <a:lnTo>
                  <a:pt x="289" y="329"/>
                </a:lnTo>
                <a:lnTo>
                  <a:pt x="289" y="329"/>
                </a:lnTo>
                <a:lnTo>
                  <a:pt x="311" y="338"/>
                </a:lnTo>
                <a:lnTo>
                  <a:pt x="334" y="345"/>
                </a:lnTo>
                <a:lnTo>
                  <a:pt x="391" y="362"/>
                </a:lnTo>
                <a:lnTo>
                  <a:pt x="391" y="362"/>
                </a:lnTo>
                <a:lnTo>
                  <a:pt x="407" y="367"/>
                </a:lnTo>
                <a:lnTo>
                  <a:pt x="420" y="373"/>
                </a:lnTo>
                <a:lnTo>
                  <a:pt x="420" y="373"/>
                </a:lnTo>
                <a:lnTo>
                  <a:pt x="424" y="375"/>
                </a:lnTo>
                <a:lnTo>
                  <a:pt x="424" y="377"/>
                </a:lnTo>
                <a:lnTo>
                  <a:pt x="422" y="382"/>
                </a:lnTo>
                <a:lnTo>
                  <a:pt x="417" y="386"/>
                </a:lnTo>
                <a:lnTo>
                  <a:pt x="417" y="386"/>
                </a:lnTo>
                <a:lnTo>
                  <a:pt x="424" y="391"/>
                </a:lnTo>
                <a:lnTo>
                  <a:pt x="438" y="400"/>
                </a:lnTo>
                <a:lnTo>
                  <a:pt x="438" y="400"/>
                </a:lnTo>
                <a:lnTo>
                  <a:pt x="448" y="409"/>
                </a:lnTo>
                <a:lnTo>
                  <a:pt x="453" y="420"/>
                </a:lnTo>
                <a:lnTo>
                  <a:pt x="459" y="435"/>
                </a:lnTo>
                <a:lnTo>
                  <a:pt x="462" y="450"/>
                </a:lnTo>
                <a:lnTo>
                  <a:pt x="462" y="450"/>
                </a:lnTo>
                <a:lnTo>
                  <a:pt x="466" y="462"/>
                </a:lnTo>
                <a:lnTo>
                  <a:pt x="466" y="475"/>
                </a:lnTo>
                <a:lnTo>
                  <a:pt x="466" y="486"/>
                </a:lnTo>
                <a:lnTo>
                  <a:pt x="466" y="492"/>
                </a:lnTo>
                <a:lnTo>
                  <a:pt x="464" y="493"/>
                </a:lnTo>
                <a:lnTo>
                  <a:pt x="464" y="493"/>
                </a:lnTo>
                <a:lnTo>
                  <a:pt x="460" y="497"/>
                </a:lnTo>
                <a:lnTo>
                  <a:pt x="457" y="499"/>
                </a:lnTo>
                <a:lnTo>
                  <a:pt x="451" y="501"/>
                </a:lnTo>
                <a:lnTo>
                  <a:pt x="440" y="504"/>
                </a:lnTo>
                <a:lnTo>
                  <a:pt x="444" y="519"/>
                </a:lnTo>
                <a:lnTo>
                  <a:pt x="444" y="519"/>
                </a:lnTo>
                <a:lnTo>
                  <a:pt x="451" y="519"/>
                </a:lnTo>
                <a:lnTo>
                  <a:pt x="459" y="517"/>
                </a:lnTo>
                <a:lnTo>
                  <a:pt x="466" y="515"/>
                </a:lnTo>
                <a:lnTo>
                  <a:pt x="466" y="515"/>
                </a:lnTo>
                <a:lnTo>
                  <a:pt x="464" y="517"/>
                </a:lnTo>
                <a:lnTo>
                  <a:pt x="464" y="517"/>
                </a:lnTo>
                <a:lnTo>
                  <a:pt x="459" y="526"/>
                </a:lnTo>
                <a:lnTo>
                  <a:pt x="457" y="534"/>
                </a:lnTo>
                <a:lnTo>
                  <a:pt x="473" y="545"/>
                </a:lnTo>
                <a:lnTo>
                  <a:pt x="473" y="545"/>
                </a:lnTo>
                <a:lnTo>
                  <a:pt x="481" y="526"/>
                </a:lnTo>
                <a:lnTo>
                  <a:pt x="484" y="521"/>
                </a:lnTo>
                <a:lnTo>
                  <a:pt x="488" y="517"/>
                </a:lnTo>
                <a:lnTo>
                  <a:pt x="488" y="517"/>
                </a:lnTo>
                <a:lnTo>
                  <a:pt x="491" y="517"/>
                </a:lnTo>
                <a:lnTo>
                  <a:pt x="497" y="519"/>
                </a:lnTo>
                <a:lnTo>
                  <a:pt x="504" y="523"/>
                </a:lnTo>
                <a:lnTo>
                  <a:pt x="512" y="526"/>
                </a:lnTo>
                <a:lnTo>
                  <a:pt x="521" y="534"/>
                </a:lnTo>
                <a:lnTo>
                  <a:pt x="528" y="543"/>
                </a:lnTo>
                <a:lnTo>
                  <a:pt x="535" y="552"/>
                </a:lnTo>
                <a:lnTo>
                  <a:pt x="541" y="563"/>
                </a:lnTo>
                <a:lnTo>
                  <a:pt x="541" y="563"/>
                </a:lnTo>
                <a:lnTo>
                  <a:pt x="543" y="572"/>
                </a:lnTo>
                <a:lnTo>
                  <a:pt x="544" y="581"/>
                </a:lnTo>
                <a:lnTo>
                  <a:pt x="544" y="590"/>
                </a:lnTo>
                <a:lnTo>
                  <a:pt x="543" y="601"/>
                </a:lnTo>
                <a:lnTo>
                  <a:pt x="541" y="610"/>
                </a:lnTo>
                <a:lnTo>
                  <a:pt x="537" y="618"/>
                </a:lnTo>
                <a:lnTo>
                  <a:pt x="532" y="623"/>
                </a:lnTo>
                <a:lnTo>
                  <a:pt x="526" y="627"/>
                </a:lnTo>
                <a:lnTo>
                  <a:pt x="526" y="627"/>
                </a:lnTo>
                <a:lnTo>
                  <a:pt x="521" y="627"/>
                </a:lnTo>
                <a:lnTo>
                  <a:pt x="517" y="625"/>
                </a:lnTo>
                <a:lnTo>
                  <a:pt x="504" y="620"/>
                </a:lnTo>
                <a:lnTo>
                  <a:pt x="493" y="614"/>
                </a:lnTo>
                <a:lnTo>
                  <a:pt x="490" y="614"/>
                </a:lnTo>
                <a:lnTo>
                  <a:pt x="486" y="618"/>
                </a:lnTo>
                <a:lnTo>
                  <a:pt x="486" y="618"/>
                </a:lnTo>
                <a:lnTo>
                  <a:pt x="484" y="620"/>
                </a:lnTo>
                <a:lnTo>
                  <a:pt x="479" y="623"/>
                </a:lnTo>
                <a:lnTo>
                  <a:pt x="470" y="629"/>
                </a:lnTo>
                <a:lnTo>
                  <a:pt x="466" y="632"/>
                </a:lnTo>
                <a:lnTo>
                  <a:pt x="462" y="638"/>
                </a:lnTo>
                <a:lnTo>
                  <a:pt x="462" y="645"/>
                </a:lnTo>
                <a:lnTo>
                  <a:pt x="464" y="654"/>
                </a:lnTo>
                <a:lnTo>
                  <a:pt x="464" y="654"/>
                </a:lnTo>
                <a:lnTo>
                  <a:pt x="473" y="645"/>
                </a:lnTo>
                <a:lnTo>
                  <a:pt x="477" y="641"/>
                </a:lnTo>
                <a:lnTo>
                  <a:pt x="481" y="641"/>
                </a:lnTo>
                <a:lnTo>
                  <a:pt x="481" y="641"/>
                </a:lnTo>
                <a:lnTo>
                  <a:pt x="482" y="643"/>
                </a:lnTo>
                <a:lnTo>
                  <a:pt x="482" y="645"/>
                </a:lnTo>
                <a:lnTo>
                  <a:pt x="486" y="649"/>
                </a:lnTo>
                <a:lnTo>
                  <a:pt x="486" y="649"/>
                </a:lnTo>
                <a:lnTo>
                  <a:pt x="488" y="651"/>
                </a:lnTo>
                <a:lnTo>
                  <a:pt x="491" y="651"/>
                </a:lnTo>
                <a:lnTo>
                  <a:pt x="502" y="651"/>
                </a:lnTo>
                <a:lnTo>
                  <a:pt x="512" y="649"/>
                </a:lnTo>
                <a:lnTo>
                  <a:pt x="515" y="649"/>
                </a:lnTo>
                <a:lnTo>
                  <a:pt x="517" y="651"/>
                </a:lnTo>
                <a:lnTo>
                  <a:pt x="517" y="651"/>
                </a:lnTo>
                <a:lnTo>
                  <a:pt x="517" y="652"/>
                </a:lnTo>
                <a:lnTo>
                  <a:pt x="515" y="652"/>
                </a:lnTo>
                <a:lnTo>
                  <a:pt x="510" y="652"/>
                </a:lnTo>
                <a:lnTo>
                  <a:pt x="510" y="652"/>
                </a:lnTo>
                <a:lnTo>
                  <a:pt x="491" y="656"/>
                </a:lnTo>
                <a:lnTo>
                  <a:pt x="484" y="660"/>
                </a:lnTo>
                <a:lnTo>
                  <a:pt x="479" y="663"/>
                </a:lnTo>
                <a:lnTo>
                  <a:pt x="479" y="663"/>
                </a:lnTo>
                <a:lnTo>
                  <a:pt x="479" y="665"/>
                </a:lnTo>
                <a:lnTo>
                  <a:pt x="479" y="669"/>
                </a:lnTo>
                <a:lnTo>
                  <a:pt x="479" y="669"/>
                </a:lnTo>
                <a:lnTo>
                  <a:pt x="475" y="674"/>
                </a:lnTo>
                <a:lnTo>
                  <a:pt x="470" y="678"/>
                </a:lnTo>
                <a:lnTo>
                  <a:pt x="466" y="683"/>
                </a:lnTo>
                <a:lnTo>
                  <a:pt x="464" y="689"/>
                </a:lnTo>
                <a:lnTo>
                  <a:pt x="464" y="694"/>
                </a:lnTo>
                <a:lnTo>
                  <a:pt x="464" y="694"/>
                </a:lnTo>
                <a:lnTo>
                  <a:pt x="466" y="702"/>
                </a:lnTo>
                <a:lnTo>
                  <a:pt x="470" y="705"/>
                </a:lnTo>
                <a:lnTo>
                  <a:pt x="475" y="711"/>
                </a:lnTo>
                <a:lnTo>
                  <a:pt x="475" y="711"/>
                </a:lnTo>
                <a:lnTo>
                  <a:pt x="475" y="707"/>
                </a:lnTo>
                <a:lnTo>
                  <a:pt x="477" y="702"/>
                </a:lnTo>
                <a:lnTo>
                  <a:pt x="479" y="694"/>
                </a:lnTo>
                <a:lnTo>
                  <a:pt x="479" y="691"/>
                </a:lnTo>
                <a:lnTo>
                  <a:pt x="482" y="691"/>
                </a:lnTo>
                <a:lnTo>
                  <a:pt x="482" y="691"/>
                </a:lnTo>
                <a:lnTo>
                  <a:pt x="484" y="691"/>
                </a:lnTo>
                <a:lnTo>
                  <a:pt x="488" y="693"/>
                </a:lnTo>
                <a:lnTo>
                  <a:pt x="490" y="696"/>
                </a:lnTo>
                <a:lnTo>
                  <a:pt x="493" y="696"/>
                </a:lnTo>
                <a:lnTo>
                  <a:pt x="493" y="696"/>
                </a:lnTo>
                <a:lnTo>
                  <a:pt x="497" y="696"/>
                </a:lnTo>
                <a:lnTo>
                  <a:pt x="502" y="693"/>
                </a:lnTo>
                <a:lnTo>
                  <a:pt x="513" y="682"/>
                </a:lnTo>
                <a:lnTo>
                  <a:pt x="524" y="672"/>
                </a:lnTo>
                <a:lnTo>
                  <a:pt x="528" y="669"/>
                </a:lnTo>
                <a:lnTo>
                  <a:pt x="532" y="669"/>
                </a:lnTo>
                <a:lnTo>
                  <a:pt x="532" y="669"/>
                </a:lnTo>
                <a:lnTo>
                  <a:pt x="533" y="671"/>
                </a:lnTo>
                <a:lnTo>
                  <a:pt x="532" y="672"/>
                </a:lnTo>
                <a:lnTo>
                  <a:pt x="524" y="678"/>
                </a:lnTo>
                <a:lnTo>
                  <a:pt x="517" y="685"/>
                </a:lnTo>
                <a:lnTo>
                  <a:pt x="513" y="689"/>
                </a:lnTo>
                <a:lnTo>
                  <a:pt x="512" y="694"/>
                </a:lnTo>
                <a:lnTo>
                  <a:pt x="512" y="694"/>
                </a:lnTo>
                <a:lnTo>
                  <a:pt x="513" y="700"/>
                </a:lnTo>
                <a:lnTo>
                  <a:pt x="515" y="704"/>
                </a:lnTo>
                <a:lnTo>
                  <a:pt x="519" y="707"/>
                </a:lnTo>
                <a:lnTo>
                  <a:pt x="521" y="711"/>
                </a:lnTo>
                <a:lnTo>
                  <a:pt x="521" y="711"/>
                </a:lnTo>
                <a:lnTo>
                  <a:pt x="523" y="715"/>
                </a:lnTo>
                <a:lnTo>
                  <a:pt x="526" y="720"/>
                </a:lnTo>
                <a:lnTo>
                  <a:pt x="530" y="724"/>
                </a:lnTo>
                <a:lnTo>
                  <a:pt x="535" y="725"/>
                </a:lnTo>
                <a:lnTo>
                  <a:pt x="546" y="729"/>
                </a:lnTo>
                <a:lnTo>
                  <a:pt x="552" y="729"/>
                </a:lnTo>
                <a:lnTo>
                  <a:pt x="552" y="729"/>
                </a:lnTo>
                <a:lnTo>
                  <a:pt x="550" y="725"/>
                </a:lnTo>
                <a:lnTo>
                  <a:pt x="544" y="720"/>
                </a:lnTo>
                <a:lnTo>
                  <a:pt x="539" y="713"/>
                </a:lnTo>
                <a:lnTo>
                  <a:pt x="539" y="711"/>
                </a:lnTo>
                <a:lnTo>
                  <a:pt x="539" y="707"/>
                </a:lnTo>
                <a:lnTo>
                  <a:pt x="539" y="707"/>
                </a:lnTo>
                <a:lnTo>
                  <a:pt x="541" y="705"/>
                </a:lnTo>
                <a:lnTo>
                  <a:pt x="544" y="707"/>
                </a:lnTo>
                <a:lnTo>
                  <a:pt x="548" y="707"/>
                </a:lnTo>
                <a:lnTo>
                  <a:pt x="552" y="705"/>
                </a:lnTo>
                <a:lnTo>
                  <a:pt x="552" y="705"/>
                </a:lnTo>
                <a:lnTo>
                  <a:pt x="552" y="702"/>
                </a:lnTo>
                <a:lnTo>
                  <a:pt x="552" y="691"/>
                </a:lnTo>
                <a:lnTo>
                  <a:pt x="552" y="685"/>
                </a:lnTo>
                <a:lnTo>
                  <a:pt x="554" y="678"/>
                </a:lnTo>
                <a:lnTo>
                  <a:pt x="559" y="671"/>
                </a:lnTo>
                <a:lnTo>
                  <a:pt x="566" y="662"/>
                </a:lnTo>
                <a:lnTo>
                  <a:pt x="566" y="662"/>
                </a:lnTo>
                <a:lnTo>
                  <a:pt x="570" y="667"/>
                </a:lnTo>
                <a:lnTo>
                  <a:pt x="574" y="669"/>
                </a:lnTo>
                <a:lnTo>
                  <a:pt x="581" y="671"/>
                </a:lnTo>
                <a:lnTo>
                  <a:pt x="581" y="671"/>
                </a:lnTo>
                <a:lnTo>
                  <a:pt x="583" y="672"/>
                </a:lnTo>
                <a:lnTo>
                  <a:pt x="585" y="674"/>
                </a:lnTo>
                <a:lnTo>
                  <a:pt x="585" y="682"/>
                </a:lnTo>
                <a:lnTo>
                  <a:pt x="585" y="691"/>
                </a:lnTo>
                <a:lnTo>
                  <a:pt x="585" y="691"/>
                </a:lnTo>
                <a:lnTo>
                  <a:pt x="586" y="689"/>
                </a:lnTo>
                <a:lnTo>
                  <a:pt x="590" y="683"/>
                </a:lnTo>
                <a:lnTo>
                  <a:pt x="594" y="674"/>
                </a:lnTo>
                <a:lnTo>
                  <a:pt x="594" y="663"/>
                </a:lnTo>
                <a:lnTo>
                  <a:pt x="594" y="663"/>
                </a:lnTo>
                <a:lnTo>
                  <a:pt x="597" y="662"/>
                </a:lnTo>
                <a:lnTo>
                  <a:pt x="601" y="654"/>
                </a:lnTo>
                <a:lnTo>
                  <a:pt x="601" y="654"/>
                </a:lnTo>
                <a:lnTo>
                  <a:pt x="603" y="651"/>
                </a:lnTo>
                <a:lnTo>
                  <a:pt x="601" y="649"/>
                </a:lnTo>
                <a:lnTo>
                  <a:pt x="596" y="643"/>
                </a:lnTo>
                <a:lnTo>
                  <a:pt x="594" y="640"/>
                </a:lnTo>
                <a:lnTo>
                  <a:pt x="592" y="634"/>
                </a:lnTo>
                <a:lnTo>
                  <a:pt x="590" y="625"/>
                </a:lnTo>
                <a:lnTo>
                  <a:pt x="590" y="614"/>
                </a:lnTo>
                <a:lnTo>
                  <a:pt x="590" y="614"/>
                </a:lnTo>
                <a:lnTo>
                  <a:pt x="590" y="610"/>
                </a:lnTo>
                <a:lnTo>
                  <a:pt x="588" y="609"/>
                </a:lnTo>
                <a:lnTo>
                  <a:pt x="583" y="605"/>
                </a:lnTo>
                <a:lnTo>
                  <a:pt x="583" y="605"/>
                </a:lnTo>
                <a:lnTo>
                  <a:pt x="579" y="599"/>
                </a:lnTo>
                <a:lnTo>
                  <a:pt x="579" y="598"/>
                </a:lnTo>
                <a:lnTo>
                  <a:pt x="581" y="598"/>
                </a:lnTo>
                <a:lnTo>
                  <a:pt x="581" y="598"/>
                </a:lnTo>
                <a:lnTo>
                  <a:pt x="588" y="599"/>
                </a:lnTo>
                <a:lnTo>
                  <a:pt x="596" y="599"/>
                </a:lnTo>
                <a:lnTo>
                  <a:pt x="603" y="598"/>
                </a:lnTo>
                <a:lnTo>
                  <a:pt x="603" y="598"/>
                </a:lnTo>
                <a:lnTo>
                  <a:pt x="603" y="576"/>
                </a:lnTo>
                <a:lnTo>
                  <a:pt x="605" y="565"/>
                </a:lnTo>
                <a:lnTo>
                  <a:pt x="603" y="559"/>
                </a:lnTo>
                <a:lnTo>
                  <a:pt x="603" y="559"/>
                </a:lnTo>
                <a:lnTo>
                  <a:pt x="596" y="559"/>
                </a:lnTo>
                <a:lnTo>
                  <a:pt x="588" y="557"/>
                </a:lnTo>
                <a:lnTo>
                  <a:pt x="585" y="556"/>
                </a:lnTo>
                <a:lnTo>
                  <a:pt x="581" y="552"/>
                </a:lnTo>
                <a:lnTo>
                  <a:pt x="581" y="552"/>
                </a:lnTo>
                <a:lnTo>
                  <a:pt x="586" y="552"/>
                </a:lnTo>
                <a:lnTo>
                  <a:pt x="594" y="552"/>
                </a:lnTo>
                <a:lnTo>
                  <a:pt x="599" y="552"/>
                </a:lnTo>
                <a:lnTo>
                  <a:pt x="603" y="548"/>
                </a:lnTo>
                <a:lnTo>
                  <a:pt x="603" y="548"/>
                </a:lnTo>
                <a:lnTo>
                  <a:pt x="603" y="530"/>
                </a:lnTo>
                <a:lnTo>
                  <a:pt x="601" y="517"/>
                </a:lnTo>
                <a:lnTo>
                  <a:pt x="601" y="514"/>
                </a:lnTo>
                <a:lnTo>
                  <a:pt x="599" y="512"/>
                </a:lnTo>
                <a:lnTo>
                  <a:pt x="599" y="512"/>
                </a:lnTo>
                <a:lnTo>
                  <a:pt x="592" y="514"/>
                </a:lnTo>
                <a:lnTo>
                  <a:pt x="586" y="514"/>
                </a:lnTo>
                <a:lnTo>
                  <a:pt x="581" y="512"/>
                </a:lnTo>
                <a:lnTo>
                  <a:pt x="576" y="510"/>
                </a:lnTo>
                <a:lnTo>
                  <a:pt x="576" y="510"/>
                </a:lnTo>
                <a:lnTo>
                  <a:pt x="574" y="508"/>
                </a:lnTo>
                <a:lnTo>
                  <a:pt x="572" y="504"/>
                </a:lnTo>
                <a:lnTo>
                  <a:pt x="572" y="499"/>
                </a:lnTo>
                <a:lnTo>
                  <a:pt x="570" y="495"/>
                </a:lnTo>
                <a:lnTo>
                  <a:pt x="570" y="493"/>
                </a:lnTo>
                <a:lnTo>
                  <a:pt x="568" y="492"/>
                </a:lnTo>
                <a:lnTo>
                  <a:pt x="568" y="492"/>
                </a:lnTo>
                <a:lnTo>
                  <a:pt x="557" y="488"/>
                </a:lnTo>
                <a:lnTo>
                  <a:pt x="546" y="482"/>
                </a:lnTo>
                <a:lnTo>
                  <a:pt x="541" y="477"/>
                </a:lnTo>
                <a:lnTo>
                  <a:pt x="535" y="473"/>
                </a:lnTo>
                <a:lnTo>
                  <a:pt x="535" y="473"/>
                </a:lnTo>
                <a:lnTo>
                  <a:pt x="532" y="468"/>
                </a:lnTo>
                <a:lnTo>
                  <a:pt x="532" y="462"/>
                </a:lnTo>
                <a:lnTo>
                  <a:pt x="532" y="459"/>
                </a:lnTo>
                <a:lnTo>
                  <a:pt x="532" y="459"/>
                </a:lnTo>
                <a:lnTo>
                  <a:pt x="541" y="462"/>
                </a:lnTo>
                <a:lnTo>
                  <a:pt x="544" y="462"/>
                </a:lnTo>
                <a:lnTo>
                  <a:pt x="550" y="461"/>
                </a:lnTo>
                <a:lnTo>
                  <a:pt x="552" y="431"/>
                </a:lnTo>
                <a:lnTo>
                  <a:pt x="552" y="431"/>
                </a:lnTo>
                <a:lnTo>
                  <a:pt x="548" y="431"/>
                </a:lnTo>
                <a:lnTo>
                  <a:pt x="541" y="430"/>
                </a:lnTo>
                <a:lnTo>
                  <a:pt x="541" y="430"/>
                </a:lnTo>
                <a:lnTo>
                  <a:pt x="537" y="426"/>
                </a:lnTo>
                <a:lnTo>
                  <a:pt x="533" y="422"/>
                </a:lnTo>
                <a:lnTo>
                  <a:pt x="532" y="419"/>
                </a:lnTo>
                <a:lnTo>
                  <a:pt x="532" y="419"/>
                </a:lnTo>
                <a:lnTo>
                  <a:pt x="535" y="420"/>
                </a:lnTo>
                <a:lnTo>
                  <a:pt x="543" y="422"/>
                </a:lnTo>
                <a:lnTo>
                  <a:pt x="543" y="422"/>
                </a:lnTo>
                <a:lnTo>
                  <a:pt x="550" y="422"/>
                </a:lnTo>
                <a:lnTo>
                  <a:pt x="554" y="420"/>
                </a:lnTo>
                <a:lnTo>
                  <a:pt x="557" y="387"/>
                </a:lnTo>
                <a:lnTo>
                  <a:pt x="557" y="387"/>
                </a:lnTo>
                <a:lnTo>
                  <a:pt x="552" y="387"/>
                </a:lnTo>
                <a:lnTo>
                  <a:pt x="546" y="386"/>
                </a:lnTo>
                <a:lnTo>
                  <a:pt x="541" y="384"/>
                </a:lnTo>
                <a:lnTo>
                  <a:pt x="539" y="378"/>
                </a:lnTo>
                <a:lnTo>
                  <a:pt x="539" y="377"/>
                </a:lnTo>
                <a:lnTo>
                  <a:pt x="539" y="377"/>
                </a:lnTo>
                <a:lnTo>
                  <a:pt x="552" y="373"/>
                </a:lnTo>
                <a:lnTo>
                  <a:pt x="563" y="367"/>
                </a:lnTo>
                <a:lnTo>
                  <a:pt x="572" y="360"/>
                </a:lnTo>
                <a:lnTo>
                  <a:pt x="579" y="353"/>
                </a:lnTo>
                <a:lnTo>
                  <a:pt x="586" y="344"/>
                </a:lnTo>
                <a:lnTo>
                  <a:pt x="592" y="333"/>
                </a:lnTo>
                <a:lnTo>
                  <a:pt x="597" y="324"/>
                </a:lnTo>
                <a:lnTo>
                  <a:pt x="599" y="313"/>
                </a:lnTo>
                <a:lnTo>
                  <a:pt x="599" y="313"/>
                </a:lnTo>
                <a:lnTo>
                  <a:pt x="608" y="316"/>
                </a:lnTo>
                <a:lnTo>
                  <a:pt x="614" y="316"/>
                </a:lnTo>
                <a:lnTo>
                  <a:pt x="618" y="316"/>
                </a:lnTo>
                <a:lnTo>
                  <a:pt x="618" y="316"/>
                </a:lnTo>
                <a:lnTo>
                  <a:pt x="619" y="303"/>
                </a:lnTo>
                <a:lnTo>
                  <a:pt x="619" y="289"/>
                </a:lnTo>
                <a:lnTo>
                  <a:pt x="619" y="289"/>
                </a:lnTo>
                <a:lnTo>
                  <a:pt x="610" y="287"/>
                </a:lnTo>
                <a:lnTo>
                  <a:pt x="607" y="285"/>
                </a:lnTo>
                <a:lnTo>
                  <a:pt x="603" y="28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pic>
        <p:nvPicPr>
          <p:cNvPr id="53" name="Picture 3">
            <a:extLst>
              <a:ext uri="{FF2B5EF4-FFF2-40B4-BE49-F238E27FC236}">
                <a16:creationId xmlns:a16="http://schemas.microsoft.com/office/drawing/2014/main" id="{F1689B57-8BAA-BF42-B648-10782572357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804248" y="4443958"/>
            <a:ext cx="2088034" cy="397877"/>
          </a:xfrm>
          <a:prstGeom prst="rect">
            <a:avLst/>
          </a:prstGeom>
        </p:spPr>
      </p:pic>
      <p:pic>
        <p:nvPicPr>
          <p:cNvPr id="55" name="Picture 5">
            <a:extLst>
              <a:ext uri="{FF2B5EF4-FFF2-40B4-BE49-F238E27FC236}">
                <a16:creationId xmlns:a16="http://schemas.microsoft.com/office/drawing/2014/main" id="{4F591584-9FCE-5A4F-A985-77C337C3AB8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04448" y="235340"/>
            <a:ext cx="305495" cy="419486"/>
          </a:xfrm>
          <a:prstGeom prst="rect">
            <a:avLst/>
          </a:prstGeom>
        </p:spPr>
      </p:pic>
    </p:spTree>
    <p:extLst>
      <p:ext uri="{BB962C8B-B14F-4D97-AF65-F5344CB8AC3E}">
        <p14:creationId xmlns:p14="http://schemas.microsoft.com/office/powerpoint/2010/main" val="394517693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0_Väliotsikko">
    <p:spTree>
      <p:nvGrpSpPr>
        <p:cNvPr id="1" name=""/>
        <p:cNvGrpSpPr/>
        <p:nvPr/>
      </p:nvGrpSpPr>
      <p:grpSpPr>
        <a:xfrm>
          <a:off x="0" y="0"/>
          <a:ext cx="0" cy="0"/>
          <a:chOff x="0" y="0"/>
          <a:chExt cx="0" cy="0"/>
        </a:xfrm>
      </p:grpSpPr>
      <p:pic>
        <p:nvPicPr>
          <p:cNvPr id="3" name="Kuva 2"/>
          <p:cNvPicPr>
            <a:picLocks noChangeAspect="1"/>
          </p:cNvPicPr>
          <p:nvPr userDrawn="1"/>
        </p:nvPicPr>
        <p:blipFill rotWithShape="1">
          <a:blip r:embed="rId2" cstate="print">
            <a:extLst>
              <a:ext uri="{28A0092B-C50C-407E-A947-70E740481C1C}">
                <a14:useLocalDpi xmlns:a14="http://schemas.microsoft.com/office/drawing/2010/main" val="0"/>
              </a:ext>
            </a:extLst>
          </a:blip>
          <a:srcRect r="24098"/>
          <a:stretch/>
        </p:blipFill>
        <p:spPr>
          <a:xfrm>
            <a:off x="3248046" y="-50378"/>
            <a:ext cx="6004474" cy="5217326"/>
          </a:xfrm>
          <a:prstGeom prst="rect">
            <a:avLst/>
          </a:prstGeom>
        </p:spPr>
      </p:pic>
      <p:sp>
        <p:nvSpPr>
          <p:cNvPr id="51" name="Rectangle 50"/>
          <p:cNvSpPr/>
          <p:nvPr userDrawn="1"/>
        </p:nvSpPr>
        <p:spPr>
          <a:xfrm rot="10800000" flipV="1">
            <a:off x="-10667" y="-21804"/>
            <a:ext cx="4582667" cy="5165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58" name="Rectangle 57"/>
          <p:cNvSpPr/>
          <p:nvPr userDrawn="1"/>
        </p:nvSpPr>
        <p:spPr>
          <a:xfrm rot="10800000" flipV="1">
            <a:off x="4499992" y="-34502"/>
            <a:ext cx="4752528" cy="5178002"/>
          </a:xfrm>
          <a:prstGeom prst="rect">
            <a:avLst/>
          </a:pr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54" name="Freeform 7"/>
          <p:cNvSpPr>
            <a:spLocks/>
          </p:cNvSpPr>
          <p:nvPr userDrawn="1"/>
        </p:nvSpPr>
        <p:spPr bwMode="auto">
          <a:xfrm rot="10800000" flipV="1">
            <a:off x="3392894" y="-21803"/>
            <a:ext cx="4279900" cy="5165302"/>
          </a:xfrm>
          <a:custGeom>
            <a:avLst/>
            <a:gdLst>
              <a:gd name="T0" fmla="*/ 2425 w 2696"/>
              <a:gd name="T1" fmla="*/ 3240 h 3240"/>
              <a:gd name="T2" fmla="*/ 2398 w 2696"/>
              <a:gd name="T3" fmla="*/ 3171 h 3240"/>
              <a:gd name="T4" fmla="*/ 2372 w 2696"/>
              <a:gd name="T5" fmla="*/ 3103 h 3240"/>
              <a:gd name="T6" fmla="*/ 2325 w 2696"/>
              <a:gd name="T7" fmla="*/ 2966 h 3240"/>
              <a:gd name="T8" fmla="*/ 2283 w 2696"/>
              <a:gd name="T9" fmla="*/ 2828 h 3240"/>
              <a:gd name="T10" fmla="*/ 2248 w 2696"/>
              <a:gd name="T11" fmla="*/ 2689 h 3240"/>
              <a:gd name="T12" fmla="*/ 2219 w 2696"/>
              <a:gd name="T13" fmla="*/ 2550 h 3240"/>
              <a:gd name="T14" fmla="*/ 2196 w 2696"/>
              <a:gd name="T15" fmla="*/ 2411 h 3240"/>
              <a:gd name="T16" fmla="*/ 2178 w 2696"/>
              <a:gd name="T17" fmla="*/ 2273 h 3240"/>
              <a:gd name="T18" fmla="*/ 2164 w 2696"/>
              <a:gd name="T19" fmla="*/ 2133 h 3240"/>
              <a:gd name="T20" fmla="*/ 2157 w 2696"/>
              <a:gd name="T21" fmla="*/ 1995 h 3240"/>
              <a:gd name="T22" fmla="*/ 2156 w 2696"/>
              <a:gd name="T23" fmla="*/ 1856 h 3240"/>
              <a:gd name="T24" fmla="*/ 2160 w 2696"/>
              <a:gd name="T25" fmla="*/ 1718 h 3240"/>
              <a:gd name="T26" fmla="*/ 2170 w 2696"/>
              <a:gd name="T27" fmla="*/ 1581 h 3240"/>
              <a:gd name="T28" fmla="*/ 2183 w 2696"/>
              <a:gd name="T29" fmla="*/ 1445 h 3240"/>
              <a:gd name="T30" fmla="*/ 2203 w 2696"/>
              <a:gd name="T31" fmla="*/ 1310 h 3240"/>
              <a:gd name="T32" fmla="*/ 2228 w 2696"/>
              <a:gd name="T33" fmla="*/ 1175 h 3240"/>
              <a:gd name="T34" fmla="*/ 2259 w 2696"/>
              <a:gd name="T35" fmla="*/ 1042 h 3240"/>
              <a:gd name="T36" fmla="*/ 2274 w 2696"/>
              <a:gd name="T37" fmla="*/ 977 h 3240"/>
              <a:gd name="T38" fmla="*/ 2313 w 2696"/>
              <a:gd name="T39" fmla="*/ 845 h 3240"/>
              <a:gd name="T40" fmla="*/ 2354 w 2696"/>
              <a:gd name="T41" fmla="*/ 716 h 3240"/>
              <a:gd name="T42" fmla="*/ 2400 w 2696"/>
              <a:gd name="T43" fmla="*/ 590 h 3240"/>
              <a:gd name="T44" fmla="*/ 2452 w 2696"/>
              <a:gd name="T45" fmla="*/ 466 h 3240"/>
              <a:gd name="T46" fmla="*/ 2507 w 2696"/>
              <a:gd name="T47" fmla="*/ 345 h 3240"/>
              <a:gd name="T48" fmla="*/ 2566 w 2696"/>
              <a:gd name="T49" fmla="*/ 227 h 3240"/>
              <a:gd name="T50" fmla="*/ 2630 w 2696"/>
              <a:gd name="T51" fmla="*/ 113 h 3240"/>
              <a:gd name="T52" fmla="*/ 2696 w 2696"/>
              <a:gd name="T53" fmla="*/ 0 h 3240"/>
              <a:gd name="T54" fmla="*/ 0 w 2696"/>
              <a:gd name="T55" fmla="*/ 0 h 3240"/>
              <a:gd name="T56" fmla="*/ 72 w 2696"/>
              <a:gd name="T57" fmla="*/ 207 h 3240"/>
              <a:gd name="T58" fmla="*/ 150 w 2696"/>
              <a:gd name="T59" fmla="*/ 414 h 3240"/>
              <a:gd name="T60" fmla="*/ 187 w 2696"/>
              <a:gd name="T61" fmla="*/ 510 h 3240"/>
              <a:gd name="T62" fmla="*/ 266 w 2696"/>
              <a:gd name="T63" fmla="*/ 701 h 3240"/>
              <a:gd name="T64" fmla="*/ 349 w 2696"/>
              <a:gd name="T65" fmla="*/ 890 h 3240"/>
              <a:gd name="T66" fmla="*/ 436 w 2696"/>
              <a:gd name="T67" fmla="*/ 1077 h 3240"/>
              <a:gd name="T68" fmla="*/ 527 w 2696"/>
              <a:gd name="T69" fmla="*/ 1262 h 3240"/>
              <a:gd name="T70" fmla="*/ 622 w 2696"/>
              <a:gd name="T71" fmla="*/ 1446 h 3240"/>
              <a:gd name="T72" fmla="*/ 722 w 2696"/>
              <a:gd name="T73" fmla="*/ 1627 h 3240"/>
              <a:gd name="T74" fmla="*/ 826 w 2696"/>
              <a:gd name="T75" fmla="*/ 1807 h 3240"/>
              <a:gd name="T76" fmla="*/ 934 w 2696"/>
              <a:gd name="T77" fmla="*/ 1983 h 3240"/>
              <a:gd name="T78" fmla="*/ 1046 w 2696"/>
              <a:gd name="T79" fmla="*/ 2159 h 3240"/>
              <a:gd name="T80" fmla="*/ 1162 w 2696"/>
              <a:gd name="T81" fmla="*/ 2332 h 3240"/>
              <a:gd name="T82" fmla="*/ 1282 w 2696"/>
              <a:gd name="T83" fmla="*/ 2503 h 3240"/>
              <a:gd name="T84" fmla="*/ 1406 w 2696"/>
              <a:gd name="T85" fmla="*/ 2671 h 3240"/>
              <a:gd name="T86" fmla="*/ 1535 w 2696"/>
              <a:gd name="T87" fmla="*/ 2837 h 3240"/>
              <a:gd name="T88" fmla="*/ 1667 w 2696"/>
              <a:gd name="T89" fmla="*/ 3000 h 3240"/>
              <a:gd name="T90" fmla="*/ 1804 w 2696"/>
              <a:gd name="T91" fmla="*/ 3160 h 3240"/>
              <a:gd name="T92" fmla="*/ 1874 w 2696"/>
              <a:gd name="T93" fmla="*/ 3240 h 3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96" h="3240">
                <a:moveTo>
                  <a:pt x="1874" y="3240"/>
                </a:moveTo>
                <a:lnTo>
                  <a:pt x="2425" y="3240"/>
                </a:lnTo>
                <a:lnTo>
                  <a:pt x="2425" y="3240"/>
                </a:lnTo>
                <a:lnTo>
                  <a:pt x="2398" y="3171"/>
                </a:lnTo>
                <a:lnTo>
                  <a:pt x="2398" y="3171"/>
                </a:lnTo>
                <a:lnTo>
                  <a:pt x="2372" y="3103"/>
                </a:lnTo>
                <a:lnTo>
                  <a:pt x="2347" y="3034"/>
                </a:lnTo>
                <a:lnTo>
                  <a:pt x="2325" y="2966"/>
                </a:lnTo>
                <a:lnTo>
                  <a:pt x="2304" y="2897"/>
                </a:lnTo>
                <a:lnTo>
                  <a:pt x="2283" y="2828"/>
                </a:lnTo>
                <a:lnTo>
                  <a:pt x="2265" y="2759"/>
                </a:lnTo>
                <a:lnTo>
                  <a:pt x="2248" y="2689"/>
                </a:lnTo>
                <a:lnTo>
                  <a:pt x="2233" y="2620"/>
                </a:lnTo>
                <a:lnTo>
                  <a:pt x="2219" y="2550"/>
                </a:lnTo>
                <a:lnTo>
                  <a:pt x="2207" y="2481"/>
                </a:lnTo>
                <a:lnTo>
                  <a:pt x="2196" y="2411"/>
                </a:lnTo>
                <a:lnTo>
                  <a:pt x="2185" y="2342"/>
                </a:lnTo>
                <a:lnTo>
                  <a:pt x="2178" y="2273"/>
                </a:lnTo>
                <a:lnTo>
                  <a:pt x="2170" y="2203"/>
                </a:lnTo>
                <a:lnTo>
                  <a:pt x="2164" y="2133"/>
                </a:lnTo>
                <a:lnTo>
                  <a:pt x="2161" y="2063"/>
                </a:lnTo>
                <a:lnTo>
                  <a:pt x="2157" y="1995"/>
                </a:lnTo>
                <a:lnTo>
                  <a:pt x="2156" y="1925"/>
                </a:lnTo>
                <a:lnTo>
                  <a:pt x="2156" y="1856"/>
                </a:lnTo>
                <a:lnTo>
                  <a:pt x="2157" y="1787"/>
                </a:lnTo>
                <a:lnTo>
                  <a:pt x="2160" y="1718"/>
                </a:lnTo>
                <a:lnTo>
                  <a:pt x="2164" y="1649"/>
                </a:lnTo>
                <a:lnTo>
                  <a:pt x="2170" y="1581"/>
                </a:lnTo>
                <a:lnTo>
                  <a:pt x="2175" y="1513"/>
                </a:lnTo>
                <a:lnTo>
                  <a:pt x="2183" y="1445"/>
                </a:lnTo>
                <a:lnTo>
                  <a:pt x="2193" y="1377"/>
                </a:lnTo>
                <a:lnTo>
                  <a:pt x="2203" y="1310"/>
                </a:lnTo>
                <a:lnTo>
                  <a:pt x="2215" y="1242"/>
                </a:lnTo>
                <a:lnTo>
                  <a:pt x="2228" y="1175"/>
                </a:lnTo>
                <a:lnTo>
                  <a:pt x="2243" y="1108"/>
                </a:lnTo>
                <a:lnTo>
                  <a:pt x="2259" y="1042"/>
                </a:lnTo>
                <a:lnTo>
                  <a:pt x="2274" y="977"/>
                </a:lnTo>
                <a:lnTo>
                  <a:pt x="2274" y="977"/>
                </a:lnTo>
                <a:lnTo>
                  <a:pt x="2293" y="910"/>
                </a:lnTo>
                <a:lnTo>
                  <a:pt x="2313" y="845"/>
                </a:lnTo>
                <a:lnTo>
                  <a:pt x="2333" y="780"/>
                </a:lnTo>
                <a:lnTo>
                  <a:pt x="2354" y="716"/>
                </a:lnTo>
                <a:lnTo>
                  <a:pt x="2377" y="653"/>
                </a:lnTo>
                <a:lnTo>
                  <a:pt x="2400" y="590"/>
                </a:lnTo>
                <a:lnTo>
                  <a:pt x="2426" y="528"/>
                </a:lnTo>
                <a:lnTo>
                  <a:pt x="2452" y="466"/>
                </a:lnTo>
                <a:lnTo>
                  <a:pt x="2479" y="405"/>
                </a:lnTo>
                <a:lnTo>
                  <a:pt x="2507" y="345"/>
                </a:lnTo>
                <a:lnTo>
                  <a:pt x="2536" y="286"/>
                </a:lnTo>
                <a:lnTo>
                  <a:pt x="2566" y="227"/>
                </a:lnTo>
                <a:lnTo>
                  <a:pt x="2597" y="169"/>
                </a:lnTo>
                <a:lnTo>
                  <a:pt x="2630" y="113"/>
                </a:lnTo>
                <a:lnTo>
                  <a:pt x="2662" y="55"/>
                </a:lnTo>
                <a:lnTo>
                  <a:pt x="2696" y="0"/>
                </a:lnTo>
                <a:lnTo>
                  <a:pt x="0" y="0"/>
                </a:lnTo>
                <a:lnTo>
                  <a:pt x="0" y="0"/>
                </a:lnTo>
                <a:lnTo>
                  <a:pt x="35" y="104"/>
                </a:lnTo>
                <a:lnTo>
                  <a:pt x="72" y="207"/>
                </a:lnTo>
                <a:lnTo>
                  <a:pt x="111" y="311"/>
                </a:lnTo>
                <a:lnTo>
                  <a:pt x="150" y="414"/>
                </a:lnTo>
                <a:lnTo>
                  <a:pt x="150" y="414"/>
                </a:lnTo>
                <a:lnTo>
                  <a:pt x="187" y="510"/>
                </a:lnTo>
                <a:lnTo>
                  <a:pt x="226" y="605"/>
                </a:lnTo>
                <a:lnTo>
                  <a:pt x="266" y="701"/>
                </a:lnTo>
                <a:lnTo>
                  <a:pt x="306" y="795"/>
                </a:lnTo>
                <a:lnTo>
                  <a:pt x="349" y="890"/>
                </a:lnTo>
                <a:lnTo>
                  <a:pt x="392" y="983"/>
                </a:lnTo>
                <a:lnTo>
                  <a:pt x="436" y="1077"/>
                </a:lnTo>
                <a:lnTo>
                  <a:pt x="481" y="1169"/>
                </a:lnTo>
                <a:lnTo>
                  <a:pt x="527" y="1262"/>
                </a:lnTo>
                <a:lnTo>
                  <a:pt x="574" y="1353"/>
                </a:lnTo>
                <a:lnTo>
                  <a:pt x="622" y="1446"/>
                </a:lnTo>
                <a:lnTo>
                  <a:pt x="672" y="1537"/>
                </a:lnTo>
                <a:lnTo>
                  <a:pt x="722" y="1627"/>
                </a:lnTo>
                <a:lnTo>
                  <a:pt x="773" y="1717"/>
                </a:lnTo>
                <a:lnTo>
                  <a:pt x="826" y="1807"/>
                </a:lnTo>
                <a:lnTo>
                  <a:pt x="879" y="1896"/>
                </a:lnTo>
                <a:lnTo>
                  <a:pt x="934" y="1983"/>
                </a:lnTo>
                <a:lnTo>
                  <a:pt x="989" y="2072"/>
                </a:lnTo>
                <a:lnTo>
                  <a:pt x="1046" y="2159"/>
                </a:lnTo>
                <a:lnTo>
                  <a:pt x="1104" y="2246"/>
                </a:lnTo>
                <a:lnTo>
                  <a:pt x="1162" y="2332"/>
                </a:lnTo>
                <a:lnTo>
                  <a:pt x="1222" y="2418"/>
                </a:lnTo>
                <a:lnTo>
                  <a:pt x="1282" y="2503"/>
                </a:lnTo>
                <a:lnTo>
                  <a:pt x="1344" y="2588"/>
                </a:lnTo>
                <a:lnTo>
                  <a:pt x="1406" y="2671"/>
                </a:lnTo>
                <a:lnTo>
                  <a:pt x="1470" y="2754"/>
                </a:lnTo>
                <a:lnTo>
                  <a:pt x="1535" y="2837"/>
                </a:lnTo>
                <a:lnTo>
                  <a:pt x="1601" y="2918"/>
                </a:lnTo>
                <a:lnTo>
                  <a:pt x="1667" y="3000"/>
                </a:lnTo>
                <a:lnTo>
                  <a:pt x="1736" y="3080"/>
                </a:lnTo>
                <a:lnTo>
                  <a:pt x="1804" y="3160"/>
                </a:lnTo>
                <a:lnTo>
                  <a:pt x="1874" y="3240"/>
                </a:lnTo>
                <a:lnTo>
                  <a:pt x="1874" y="3240"/>
                </a:lnTo>
                <a:close/>
              </a:path>
            </a:pathLst>
          </a:custGeom>
          <a:solidFill>
            <a:srgbClr val="EA006F"/>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10" name="Otsikko 1"/>
          <p:cNvSpPr>
            <a:spLocks noGrp="1"/>
          </p:cNvSpPr>
          <p:nvPr userDrawn="1">
            <p:ph type="ctrTitle"/>
          </p:nvPr>
        </p:nvSpPr>
        <p:spPr>
          <a:xfrm>
            <a:off x="366651" y="411510"/>
            <a:ext cx="3485269" cy="2967062"/>
          </a:xfrm>
        </p:spPr>
        <p:txBody>
          <a:bodyPr anchor="b" anchorCtr="0">
            <a:noAutofit/>
          </a:bodyPr>
          <a:lstStyle>
            <a:lvl1pPr algn="l">
              <a:defRPr sz="4000">
                <a:solidFill>
                  <a:schemeClr val="accent4"/>
                </a:solidFill>
              </a:defRPr>
            </a:lvl1pPr>
          </a:lstStyle>
          <a:p>
            <a:r>
              <a:rPr lang="en-US" dirty="0"/>
              <a:t>Click to edit Master title style</a:t>
            </a:r>
            <a:endParaRPr lang="fi-FI" dirty="0"/>
          </a:p>
        </p:txBody>
      </p:sp>
      <p:sp>
        <p:nvSpPr>
          <p:cNvPr id="11" name="Alaotsikko 2"/>
          <p:cNvSpPr>
            <a:spLocks noGrp="1"/>
          </p:cNvSpPr>
          <p:nvPr userDrawn="1">
            <p:ph type="subTitle" idx="1"/>
          </p:nvPr>
        </p:nvSpPr>
        <p:spPr>
          <a:xfrm>
            <a:off x="366651" y="3507854"/>
            <a:ext cx="3485270" cy="1512168"/>
          </a:xfrm>
        </p:spPr>
        <p:txBody>
          <a:bodyPr>
            <a:normAutofit/>
          </a:bodyPr>
          <a:lstStyle>
            <a:lvl1pPr marL="0" indent="0" algn="l">
              <a:spcBef>
                <a:spcPts val="0"/>
              </a:spcBef>
              <a:buNone/>
              <a:defRPr sz="1800">
                <a:solidFill>
                  <a:srgbClr val="59596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fi-FI" dirty="0"/>
          </a:p>
        </p:txBody>
      </p:sp>
      <p:sp>
        <p:nvSpPr>
          <p:cNvPr id="32" name="Freeform 30"/>
          <p:cNvSpPr>
            <a:spLocks/>
          </p:cNvSpPr>
          <p:nvPr userDrawn="1"/>
        </p:nvSpPr>
        <p:spPr bwMode="auto">
          <a:xfrm>
            <a:off x="7331075" y="1931690"/>
            <a:ext cx="371475" cy="98425"/>
          </a:xfrm>
          <a:custGeom>
            <a:avLst/>
            <a:gdLst>
              <a:gd name="T0" fmla="*/ 87 w 2807"/>
              <a:gd name="T1" fmla="*/ 343 h 743"/>
              <a:gd name="T2" fmla="*/ 203 w 2807"/>
              <a:gd name="T3" fmla="*/ 417 h 743"/>
              <a:gd name="T4" fmla="*/ 319 w 2807"/>
              <a:gd name="T5" fmla="*/ 479 h 743"/>
              <a:gd name="T6" fmla="*/ 430 w 2807"/>
              <a:gd name="T7" fmla="*/ 529 h 743"/>
              <a:gd name="T8" fmla="*/ 603 w 2807"/>
              <a:gd name="T9" fmla="*/ 595 h 743"/>
              <a:gd name="T10" fmla="*/ 724 w 2807"/>
              <a:gd name="T11" fmla="*/ 633 h 743"/>
              <a:gd name="T12" fmla="*/ 857 w 2807"/>
              <a:gd name="T13" fmla="*/ 666 h 743"/>
              <a:gd name="T14" fmla="*/ 1001 w 2807"/>
              <a:gd name="T15" fmla="*/ 696 h 743"/>
              <a:gd name="T16" fmla="*/ 1157 w 2807"/>
              <a:gd name="T17" fmla="*/ 719 h 743"/>
              <a:gd name="T18" fmla="*/ 1324 w 2807"/>
              <a:gd name="T19" fmla="*/ 736 h 743"/>
              <a:gd name="T20" fmla="*/ 1502 w 2807"/>
              <a:gd name="T21" fmla="*/ 743 h 743"/>
              <a:gd name="T22" fmla="*/ 1689 w 2807"/>
              <a:gd name="T23" fmla="*/ 738 h 743"/>
              <a:gd name="T24" fmla="*/ 1819 w 2807"/>
              <a:gd name="T25" fmla="*/ 729 h 743"/>
              <a:gd name="T26" fmla="*/ 1999 w 2807"/>
              <a:gd name="T27" fmla="*/ 706 h 743"/>
              <a:gd name="T28" fmla="*/ 2159 w 2807"/>
              <a:gd name="T29" fmla="*/ 678 h 743"/>
              <a:gd name="T30" fmla="*/ 2302 w 2807"/>
              <a:gd name="T31" fmla="*/ 643 h 743"/>
              <a:gd name="T32" fmla="*/ 2426 w 2807"/>
              <a:gd name="T33" fmla="*/ 605 h 743"/>
              <a:gd name="T34" fmla="*/ 2533 w 2807"/>
              <a:gd name="T35" fmla="*/ 566 h 743"/>
              <a:gd name="T36" fmla="*/ 2672 w 2807"/>
              <a:gd name="T37" fmla="*/ 505 h 743"/>
              <a:gd name="T38" fmla="*/ 2773 w 2807"/>
              <a:gd name="T39" fmla="*/ 449 h 743"/>
              <a:gd name="T40" fmla="*/ 2807 w 2807"/>
              <a:gd name="T41" fmla="*/ 426 h 743"/>
              <a:gd name="T42" fmla="*/ 2745 w 2807"/>
              <a:gd name="T43" fmla="*/ 402 h 743"/>
              <a:gd name="T44" fmla="*/ 2688 w 2807"/>
              <a:gd name="T45" fmla="*/ 372 h 743"/>
              <a:gd name="T46" fmla="*/ 2586 w 2807"/>
              <a:gd name="T47" fmla="*/ 303 h 743"/>
              <a:gd name="T48" fmla="*/ 2529 w 2807"/>
              <a:gd name="T49" fmla="*/ 256 h 743"/>
              <a:gd name="T50" fmla="*/ 2518 w 2807"/>
              <a:gd name="T51" fmla="*/ 294 h 743"/>
              <a:gd name="T52" fmla="*/ 2507 w 2807"/>
              <a:gd name="T53" fmla="*/ 381 h 743"/>
              <a:gd name="T54" fmla="*/ 2499 w 2807"/>
              <a:gd name="T55" fmla="*/ 413 h 743"/>
              <a:gd name="T56" fmla="*/ 2443 w 2807"/>
              <a:gd name="T57" fmla="*/ 391 h 743"/>
              <a:gd name="T58" fmla="*/ 2423 w 2807"/>
              <a:gd name="T59" fmla="*/ 381 h 743"/>
              <a:gd name="T60" fmla="*/ 2392 w 2807"/>
              <a:gd name="T61" fmla="*/ 357 h 743"/>
              <a:gd name="T62" fmla="*/ 2361 w 2807"/>
              <a:gd name="T63" fmla="*/ 324 h 743"/>
              <a:gd name="T64" fmla="*/ 2334 w 2807"/>
              <a:gd name="T65" fmla="*/ 283 h 743"/>
              <a:gd name="T66" fmla="*/ 2316 w 2807"/>
              <a:gd name="T67" fmla="*/ 235 h 743"/>
              <a:gd name="T68" fmla="*/ 2310 w 2807"/>
              <a:gd name="T69" fmla="*/ 199 h 743"/>
              <a:gd name="T70" fmla="*/ 2252 w 2807"/>
              <a:gd name="T71" fmla="*/ 195 h 743"/>
              <a:gd name="T72" fmla="*/ 2110 w 2807"/>
              <a:gd name="T73" fmla="*/ 243 h 743"/>
              <a:gd name="T74" fmla="*/ 1984 w 2807"/>
              <a:gd name="T75" fmla="*/ 277 h 743"/>
              <a:gd name="T76" fmla="*/ 1843 w 2807"/>
              <a:gd name="T77" fmla="*/ 303 h 743"/>
              <a:gd name="T78" fmla="*/ 1697 w 2807"/>
              <a:gd name="T79" fmla="*/ 319 h 743"/>
              <a:gd name="T80" fmla="*/ 1558 w 2807"/>
              <a:gd name="T81" fmla="*/ 322 h 743"/>
              <a:gd name="T82" fmla="*/ 1293 w 2807"/>
              <a:gd name="T83" fmla="*/ 312 h 743"/>
              <a:gd name="T84" fmla="*/ 1030 w 2807"/>
              <a:gd name="T85" fmla="*/ 282 h 743"/>
              <a:gd name="T86" fmla="*/ 855 w 2807"/>
              <a:gd name="T87" fmla="*/ 251 h 743"/>
              <a:gd name="T88" fmla="*/ 725 w 2807"/>
              <a:gd name="T89" fmla="*/ 221 h 743"/>
              <a:gd name="T90" fmla="*/ 594 w 2807"/>
              <a:gd name="T91" fmla="*/ 185 h 743"/>
              <a:gd name="T92" fmla="*/ 465 w 2807"/>
              <a:gd name="T93" fmla="*/ 143 h 743"/>
              <a:gd name="T94" fmla="*/ 336 w 2807"/>
              <a:gd name="T95" fmla="*/ 94 h 743"/>
              <a:gd name="T96" fmla="*/ 251 w 2807"/>
              <a:gd name="T97" fmla="*/ 58 h 743"/>
              <a:gd name="T98" fmla="*/ 122 w 2807"/>
              <a:gd name="T99" fmla="*/ 0 h 743"/>
              <a:gd name="T100" fmla="*/ 119 w 2807"/>
              <a:gd name="T101" fmla="*/ 19 h 743"/>
              <a:gd name="T102" fmla="*/ 121 w 2807"/>
              <a:gd name="T103" fmla="*/ 51 h 743"/>
              <a:gd name="T104" fmla="*/ 136 w 2807"/>
              <a:gd name="T105" fmla="*/ 96 h 743"/>
              <a:gd name="T106" fmla="*/ 171 w 2807"/>
              <a:gd name="T107" fmla="*/ 156 h 743"/>
              <a:gd name="T108" fmla="*/ 207 w 2807"/>
              <a:gd name="T109" fmla="*/ 204 h 743"/>
              <a:gd name="T110" fmla="*/ 151 w 2807"/>
              <a:gd name="T111" fmla="*/ 199 h 743"/>
              <a:gd name="T112" fmla="*/ 98 w 2807"/>
              <a:gd name="T113" fmla="*/ 204 h 743"/>
              <a:gd name="T114" fmla="*/ 69 w 2807"/>
              <a:gd name="T115" fmla="*/ 215 h 743"/>
              <a:gd name="T116" fmla="*/ 32 w 2807"/>
              <a:gd name="T117" fmla="*/ 244 h 743"/>
              <a:gd name="T118" fmla="*/ 7 w 2807"/>
              <a:gd name="T119" fmla="*/ 272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07" h="743">
                <a:moveTo>
                  <a:pt x="0" y="284"/>
                </a:moveTo>
                <a:lnTo>
                  <a:pt x="0" y="284"/>
                </a:lnTo>
                <a:lnTo>
                  <a:pt x="87" y="343"/>
                </a:lnTo>
                <a:lnTo>
                  <a:pt x="127" y="369"/>
                </a:lnTo>
                <a:lnTo>
                  <a:pt x="166" y="394"/>
                </a:lnTo>
                <a:lnTo>
                  <a:pt x="203" y="417"/>
                </a:lnTo>
                <a:lnTo>
                  <a:pt x="241" y="438"/>
                </a:lnTo>
                <a:lnTo>
                  <a:pt x="280" y="460"/>
                </a:lnTo>
                <a:lnTo>
                  <a:pt x="319" y="479"/>
                </a:lnTo>
                <a:lnTo>
                  <a:pt x="319" y="479"/>
                </a:lnTo>
                <a:lnTo>
                  <a:pt x="372" y="504"/>
                </a:lnTo>
                <a:lnTo>
                  <a:pt x="430" y="529"/>
                </a:lnTo>
                <a:lnTo>
                  <a:pt x="495" y="556"/>
                </a:lnTo>
                <a:lnTo>
                  <a:pt x="565" y="581"/>
                </a:lnTo>
                <a:lnTo>
                  <a:pt x="603" y="595"/>
                </a:lnTo>
                <a:lnTo>
                  <a:pt x="642" y="607"/>
                </a:lnTo>
                <a:lnTo>
                  <a:pt x="682" y="620"/>
                </a:lnTo>
                <a:lnTo>
                  <a:pt x="724" y="633"/>
                </a:lnTo>
                <a:lnTo>
                  <a:pt x="767" y="644"/>
                </a:lnTo>
                <a:lnTo>
                  <a:pt x="811" y="655"/>
                </a:lnTo>
                <a:lnTo>
                  <a:pt x="857" y="666"/>
                </a:lnTo>
                <a:lnTo>
                  <a:pt x="903" y="677"/>
                </a:lnTo>
                <a:lnTo>
                  <a:pt x="952" y="687"/>
                </a:lnTo>
                <a:lnTo>
                  <a:pt x="1001" y="696"/>
                </a:lnTo>
                <a:lnTo>
                  <a:pt x="1052" y="705"/>
                </a:lnTo>
                <a:lnTo>
                  <a:pt x="1104" y="713"/>
                </a:lnTo>
                <a:lnTo>
                  <a:pt x="1157" y="719"/>
                </a:lnTo>
                <a:lnTo>
                  <a:pt x="1212" y="727"/>
                </a:lnTo>
                <a:lnTo>
                  <a:pt x="1267" y="732"/>
                </a:lnTo>
                <a:lnTo>
                  <a:pt x="1324" y="736"/>
                </a:lnTo>
                <a:lnTo>
                  <a:pt x="1382" y="739"/>
                </a:lnTo>
                <a:lnTo>
                  <a:pt x="1442" y="741"/>
                </a:lnTo>
                <a:lnTo>
                  <a:pt x="1502" y="743"/>
                </a:lnTo>
                <a:lnTo>
                  <a:pt x="1563" y="742"/>
                </a:lnTo>
                <a:lnTo>
                  <a:pt x="1626" y="741"/>
                </a:lnTo>
                <a:lnTo>
                  <a:pt x="1689" y="738"/>
                </a:lnTo>
                <a:lnTo>
                  <a:pt x="1754" y="734"/>
                </a:lnTo>
                <a:lnTo>
                  <a:pt x="1819" y="729"/>
                </a:lnTo>
                <a:lnTo>
                  <a:pt x="1819" y="729"/>
                </a:lnTo>
                <a:lnTo>
                  <a:pt x="1881" y="723"/>
                </a:lnTo>
                <a:lnTo>
                  <a:pt x="1941" y="714"/>
                </a:lnTo>
                <a:lnTo>
                  <a:pt x="1999" y="706"/>
                </a:lnTo>
                <a:lnTo>
                  <a:pt x="2054" y="697"/>
                </a:lnTo>
                <a:lnTo>
                  <a:pt x="2108" y="688"/>
                </a:lnTo>
                <a:lnTo>
                  <a:pt x="2159" y="678"/>
                </a:lnTo>
                <a:lnTo>
                  <a:pt x="2209" y="666"/>
                </a:lnTo>
                <a:lnTo>
                  <a:pt x="2257" y="655"/>
                </a:lnTo>
                <a:lnTo>
                  <a:pt x="2302" y="643"/>
                </a:lnTo>
                <a:lnTo>
                  <a:pt x="2346" y="631"/>
                </a:lnTo>
                <a:lnTo>
                  <a:pt x="2387" y="618"/>
                </a:lnTo>
                <a:lnTo>
                  <a:pt x="2426" y="605"/>
                </a:lnTo>
                <a:lnTo>
                  <a:pt x="2464" y="593"/>
                </a:lnTo>
                <a:lnTo>
                  <a:pt x="2500" y="579"/>
                </a:lnTo>
                <a:lnTo>
                  <a:pt x="2533" y="566"/>
                </a:lnTo>
                <a:lnTo>
                  <a:pt x="2564" y="554"/>
                </a:lnTo>
                <a:lnTo>
                  <a:pt x="2622" y="528"/>
                </a:lnTo>
                <a:lnTo>
                  <a:pt x="2672" y="505"/>
                </a:lnTo>
                <a:lnTo>
                  <a:pt x="2713" y="483"/>
                </a:lnTo>
                <a:lnTo>
                  <a:pt x="2747" y="465"/>
                </a:lnTo>
                <a:lnTo>
                  <a:pt x="2773" y="449"/>
                </a:lnTo>
                <a:lnTo>
                  <a:pt x="2792" y="436"/>
                </a:lnTo>
                <a:lnTo>
                  <a:pt x="2807" y="426"/>
                </a:lnTo>
                <a:lnTo>
                  <a:pt x="2807" y="426"/>
                </a:lnTo>
                <a:lnTo>
                  <a:pt x="2786" y="419"/>
                </a:lnTo>
                <a:lnTo>
                  <a:pt x="2766" y="410"/>
                </a:lnTo>
                <a:lnTo>
                  <a:pt x="2745" y="402"/>
                </a:lnTo>
                <a:lnTo>
                  <a:pt x="2726" y="391"/>
                </a:lnTo>
                <a:lnTo>
                  <a:pt x="2706" y="382"/>
                </a:lnTo>
                <a:lnTo>
                  <a:pt x="2688" y="372"/>
                </a:lnTo>
                <a:lnTo>
                  <a:pt x="2651" y="349"/>
                </a:lnTo>
                <a:lnTo>
                  <a:pt x="2618" y="327"/>
                </a:lnTo>
                <a:lnTo>
                  <a:pt x="2586" y="303"/>
                </a:lnTo>
                <a:lnTo>
                  <a:pt x="2556" y="280"/>
                </a:lnTo>
                <a:lnTo>
                  <a:pt x="2529" y="256"/>
                </a:lnTo>
                <a:lnTo>
                  <a:pt x="2529" y="256"/>
                </a:lnTo>
                <a:lnTo>
                  <a:pt x="2524" y="266"/>
                </a:lnTo>
                <a:lnTo>
                  <a:pt x="2521" y="279"/>
                </a:lnTo>
                <a:lnTo>
                  <a:pt x="2518" y="294"/>
                </a:lnTo>
                <a:lnTo>
                  <a:pt x="2515" y="312"/>
                </a:lnTo>
                <a:lnTo>
                  <a:pt x="2515" y="312"/>
                </a:lnTo>
                <a:lnTo>
                  <a:pt x="2507" y="381"/>
                </a:lnTo>
                <a:lnTo>
                  <a:pt x="2503" y="414"/>
                </a:lnTo>
                <a:lnTo>
                  <a:pt x="2503" y="414"/>
                </a:lnTo>
                <a:lnTo>
                  <a:pt x="2499" y="413"/>
                </a:lnTo>
                <a:lnTo>
                  <a:pt x="2489" y="410"/>
                </a:lnTo>
                <a:lnTo>
                  <a:pt x="2470" y="403"/>
                </a:lnTo>
                <a:lnTo>
                  <a:pt x="2443" y="391"/>
                </a:lnTo>
                <a:lnTo>
                  <a:pt x="2443" y="391"/>
                </a:lnTo>
                <a:lnTo>
                  <a:pt x="2433" y="387"/>
                </a:lnTo>
                <a:lnTo>
                  <a:pt x="2423" y="381"/>
                </a:lnTo>
                <a:lnTo>
                  <a:pt x="2413" y="374"/>
                </a:lnTo>
                <a:lnTo>
                  <a:pt x="2403" y="366"/>
                </a:lnTo>
                <a:lnTo>
                  <a:pt x="2392" y="357"/>
                </a:lnTo>
                <a:lnTo>
                  <a:pt x="2381" y="347"/>
                </a:lnTo>
                <a:lnTo>
                  <a:pt x="2371" y="336"/>
                </a:lnTo>
                <a:lnTo>
                  <a:pt x="2361" y="324"/>
                </a:lnTo>
                <a:lnTo>
                  <a:pt x="2351" y="312"/>
                </a:lnTo>
                <a:lnTo>
                  <a:pt x="2342" y="297"/>
                </a:lnTo>
                <a:lnTo>
                  <a:pt x="2334" y="283"/>
                </a:lnTo>
                <a:lnTo>
                  <a:pt x="2326" y="268"/>
                </a:lnTo>
                <a:lnTo>
                  <a:pt x="2320" y="251"/>
                </a:lnTo>
                <a:lnTo>
                  <a:pt x="2316" y="235"/>
                </a:lnTo>
                <a:lnTo>
                  <a:pt x="2312" y="216"/>
                </a:lnTo>
                <a:lnTo>
                  <a:pt x="2310" y="199"/>
                </a:lnTo>
                <a:lnTo>
                  <a:pt x="2310" y="199"/>
                </a:lnTo>
                <a:lnTo>
                  <a:pt x="2309" y="174"/>
                </a:lnTo>
                <a:lnTo>
                  <a:pt x="2309" y="174"/>
                </a:lnTo>
                <a:lnTo>
                  <a:pt x="2252" y="195"/>
                </a:lnTo>
                <a:lnTo>
                  <a:pt x="2186" y="218"/>
                </a:lnTo>
                <a:lnTo>
                  <a:pt x="2149" y="231"/>
                </a:lnTo>
                <a:lnTo>
                  <a:pt x="2110" y="243"/>
                </a:lnTo>
                <a:lnTo>
                  <a:pt x="2069" y="254"/>
                </a:lnTo>
                <a:lnTo>
                  <a:pt x="2028" y="266"/>
                </a:lnTo>
                <a:lnTo>
                  <a:pt x="1984" y="277"/>
                </a:lnTo>
                <a:lnTo>
                  <a:pt x="1938" y="286"/>
                </a:lnTo>
                <a:lnTo>
                  <a:pt x="1892" y="295"/>
                </a:lnTo>
                <a:lnTo>
                  <a:pt x="1843" y="303"/>
                </a:lnTo>
                <a:lnTo>
                  <a:pt x="1795" y="311"/>
                </a:lnTo>
                <a:lnTo>
                  <a:pt x="1746" y="316"/>
                </a:lnTo>
                <a:lnTo>
                  <a:pt x="1697" y="319"/>
                </a:lnTo>
                <a:lnTo>
                  <a:pt x="1647" y="321"/>
                </a:lnTo>
                <a:lnTo>
                  <a:pt x="1647" y="321"/>
                </a:lnTo>
                <a:lnTo>
                  <a:pt x="1558" y="322"/>
                </a:lnTo>
                <a:lnTo>
                  <a:pt x="1470" y="321"/>
                </a:lnTo>
                <a:lnTo>
                  <a:pt x="1382" y="317"/>
                </a:lnTo>
                <a:lnTo>
                  <a:pt x="1293" y="312"/>
                </a:lnTo>
                <a:lnTo>
                  <a:pt x="1205" y="304"/>
                </a:lnTo>
                <a:lnTo>
                  <a:pt x="1118" y="294"/>
                </a:lnTo>
                <a:lnTo>
                  <a:pt x="1030" y="282"/>
                </a:lnTo>
                <a:lnTo>
                  <a:pt x="943" y="268"/>
                </a:lnTo>
                <a:lnTo>
                  <a:pt x="899" y="259"/>
                </a:lnTo>
                <a:lnTo>
                  <a:pt x="855" y="251"/>
                </a:lnTo>
                <a:lnTo>
                  <a:pt x="812" y="241"/>
                </a:lnTo>
                <a:lnTo>
                  <a:pt x="768" y="231"/>
                </a:lnTo>
                <a:lnTo>
                  <a:pt x="725" y="221"/>
                </a:lnTo>
                <a:lnTo>
                  <a:pt x="681" y="209"/>
                </a:lnTo>
                <a:lnTo>
                  <a:pt x="638" y="197"/>
                </a:lnTo>
                <a:lnTo>
                  <a:pt x="594" y="185"/>
                </a:lnTo>
                <a:lnTo>
                  <a:pt x="551" y="171"/>
                </a:lnTo>
                <a:lnTo>
                  <a:pt x="508" y="157"/>
                </a:lnTo>
                <a:lnTo>
                  <a:pt x="465" y="143"/>
                </a:lnTo>
                <a:lnTo>
                  <a:pt x="422" y="127"/>
                </a:lnTo>
                <a:lnTo>
                  <a:pt x="379" y="111"/>
                </a:lnTo>
                <a:lnTo>
                  <a:pt x="336" y="94"/>
                </a:lnTo>
                <a:lnTo>
                  <a:pt x="294" y="76"/>
                </a:lnTo>
                <a:lnTo>
                  <a:pt x="251" y="58"/>
                </a:lnTo>
                <a:lnTo>
                  <a:pt x="251" y="58"/>
                </a:lnTo>
                <a:lnTo>
                  <a:pt x="165" y="19"/>
                </a:lnTo>
                <a:lnTo>
                  <a:pt x="122" y="0"/>
                </a:lnTo>
                <a:lnTo>
                  <a:pt x="122" y="0"/>
                </a:lnTo>
                <a:lnTo>
                  <a:pt x="121" y="3"/>
                </a:lnTo>
                <a:lnTo>
                  <a:pt x="119" y="12"/>
                </a:lnTo>
                <a:lnTo>
                  <a:pt x="119" y="19"/>
                </a:lnTo>
                <a:lnTo>
                  <a:pt x="119" y="28"/>
                </a:lnTo>
                <a:lnTo>
                  <a:pt x="119" y="39"/>
                </a:lnTo>
                <a:lnTo>
                  <a:pt x="121" y="51"/>
                </a:lnTo>
                <a:lnTo>
                  <a:pt x="125" y="64"/>
                </a:lnTo>
                <a:lnTo>
                  <a:pt x="129" y="79"/>
                </a:lnTo>
                <a:lnTo>
                  <a:pt x="136" y="96"/>
                </a:lnTo>
                <a:lnTo>
                  <a:pt x="145" y="114"/>
                </a:lnTo>
                <a:lnTo>
                  <a:pt x="156" y="135"/>
                </a:lnTo>
                <a:lnTo>
                  <a:pt x="171" y="156"/>
                </a:lnTo>
                <a:lnTo>
                  <a:pt x="187" y="180"/>
                </a:lnTo>
                <a:lnTo>
                  <a:pt x="207" y="204"/>
                </a:lnTo>
                <a:lnTo>
                  <a:pt x="207" y="204"/>
                </a:lnTo>
                <a:lnTo>
                  <a:pt x="189" y="201"/>
                </a:lnTo>
                <a:lnTo>
                  <a:pt x="170" y="199"/>
                </a:lnTo>
                <a:lnTo>
                  <a:pt x="151" y="199"/>
                </a:lnTo>
                <a:lnTo>
                  <a:pt x="132" y="199"/>
                </a:lnTo>
                <a:lnTo>
                  <a:pt x="114" y="201"/>
                </a:lnTo>
                <a:lnTo>
                  <a:pt x="98" y="204"/>
                </a:lnTo>
                <a:lnTo>
                  <a:pt x="83" y="209"/>
                </a:lnTo>
                <a:lnTo>
                  <a:pt x="69" y="215"/>
                </a:lnTo>
                <a:lnTo>
                  <a:pt x="69" y="215"/>
                </a:lnTo>
                <a:lnTo>
                  <a:pt x="55" y="224"/>
                </a:lnTo>
                <a:lnTo>
                  <a:pt x="42" y="234"/>
                </a:lnTo>
                <a:lnTo>
                  <a:pt x="32" y="244"/>
                </a:lnTo>
                <a:lnTo>
                  <a:pt x="21" y="253"/>
                </a:lnTo>
                <a:lnTo>
                  <a:pt x="13" y="262"/>
                </a:lnTo>
                <a:lnTo>
                  <a:pt x="7" y="272"/>
                </a:lnTo>
                <a:lnTo>
                  <a:pt x="0" y="28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3" name="Freeform 31"/>
          <p:cNvSpPr>
            <a:spLocks/>
          </p:cNvSpPr>
          <p:nvPr userDrawn="1"/>
        </p:nvSpPr>
        <p:spPr bwMode="auto">
          <a:xfrm>
            <a:off x="7248525" y="1618953"/>
            <a:ext cx="377825" cy="271463"/>
          </a:xfrm>
          <a:custGeom>
            <a:avLst/>
            <a:gdLst>
              <a:gd name="T0" fmla="*/ 2491 w 2863"/>
              <a:gd name="T1" fmla="*/ 103 h 2054"/>
              <a:gd name="T2" fmla="*/ 2575 w 2863"/>
              <a:gd name="T3" fmla="*/ 23 h 2054"/>
              <a:gd name="T4" fmla="*/ 2196 w 2863"/>
              <a:gd name="T5" fmla="*/ 132 h 2054"/>
              <a:gd name="T6" fmla="*/ 1671 w 2863"/>
              <a:gd name="T7" fmla="*/ 429 h 2054"/>
              <a:gd name="T8" fmla="*/ 1528 w 2863"/>
              <a:gd name="T9" fmla="*/ 462 h 2054"/>
              <a:gd name="T10" fmla="*/ 1416 w 2863"/>
              <a:gd name="T11" fmla="*/ 568 h 2054"/>
              <a:gd name="T12" fmla="*/ 1409 w 2863"/>
              <a:gd name="T13" fmla="*/ 634 h 2054"/>
              <a:gd name="T14" fmla="*/ 1479 w 2863"/>
              <a:gd name="T15" fmla="*/ 748 h 2054"/>
              <a:gd name="T16" fmla="*/ 1586 w 2863"/>
              <a:gd name="T17" fmla="*/ 787 h 2054"/>
              <a:gd name="T18" fmla="*/ 1476 w 2863"/>
              <a:gd name="T19" fmla="*/ 974 h 2054"/>
              <a:gd name="T20" fmla="*/ 1133 w 2863"/>
              <a:gd name="T21" fmla="*/ 1199 h 2054"/>
              <a:gd name="T22" fmla="*/ 799 w 2863"/>
              <a:gd name="T23" fmla="*/ 1254 h 2054"/>
              <a:gd name="T24" fmla="*/ 634 w 2863"/>
              <a:gd name="T25" fmla="*/ 1102 h 2054"/>
              <a:gd name="T26" fmla="*/ 539 w 2863"/>
              <a:gd name="T27" fmla="*/ 1015 h 2054"/>
              <a:gd name="T28" fmla="*/ 406 w 2863"/>
              <a:gd name="T29" fmla="*/ 1023 h 2054"/>
              <a:gd name="T30" fmla="*/ 231 w 2863"/>
              <a:gd name="T31" fmla="*/ 1090 h 2054"/>
              <a:gd name="T32" fmla="*/ 382 w 2863"/>
              <a:gd name="T33" fmla="*/ 1121 h 2054"/>
              <a:gd name="T34" fmla="*/ 351 w 2863"/>
              <a:gd name="T35" fmla="*/ 1168 h 2054"/>
              <a:gd name="T36" fmla="*/ 418 w 2863"/>
              <a:gd name="T37" fmla="*/ 1270 h 2054"/>
              <a:gd name="T38" fmla="*/ 608 w 2863"/>
              <a:gd name="T39" fmla="*/ 1387 h 2054"/>
              <a:gd name="T40" fmla="*/ 314 w 2863"/>
              <a:gd name="T41" fmla="*/ 1296 h 2054"/>
              <a:gd name="T42" fmla="*/ 234 w 2863"/>
              <a:gd name="T43" fmla="*/ 1324 h 2054"/>
              <a:gd name="T44" fmla="*/ 77 w 2863"/>
              <a:gd name="T45" fmla="*/ 1367 h 2054"/>
              <a:gd name="T46" fmla="*/ 0 w 2863"/>
              <a:gd name="T47" fmla="*/ 1480 h 2054"/>
              <a:gd name="T48" fmla="*/ 63 w 2863"/>
              <a:gd name="T49" fmla="*/ 1501 h 2054"/>
              <a:gd name="T50" fmla="*/ 166 w 2863"/>
              <a:gd name="T51" fmla="*/ 1461 h 2054"/>
              <a:gd name="T52" fmla="*/ 187 w 2863"/>
              <a:gd name="T53" fmla="*/ 1573 h 2054"/>
              <a:gd name="T54" fmla="*/ 354 w 2863"/>
              <a:gd name="T55" fmla="*/ 1597 h 2054"/>
              <a:gd name="T56" fmla="*/ 616 w 2863"/>
              <a:gd name="T57" fmla="*/ 1588 h 2054"/>
              <a:gd name="T58" fmla="*/ 382 w 2863"/>
              <a:gd name="T59" fmla="*/ 1636 h 2054"/>
              <a:gd name="T60" fmla="*/ 295 w 2863"/>
              <a:gd name="T61" fmla="*/ 1696 h 2054"/>
              <a:gd name="T62" fmla="*/ 254 w 2863"/>
              <a:gd name="T63" fmla="*/ 1795 h 2054"/>
              <a:gd name="T64" fmla="*/ 239 w 2863"/>
              <a:gd name="T65" fmla="*/ 1953 h 2054"/>
              <a:gd name="T66" fmla="*/ 335 w 2863"/>
              <a:gd name="T67" fmla="*/ 2045 h 2054"/>
              <a:gd name="T68" fmla="*/ 341 w 2863"/>
              <a:gd name="T69" fmla="*/ 1906 h 2054"/>
              <a:gd name="T70" fmla="*/ 417 w 2863"/>
              <a:gd name="T71" fmla="*/ 1946 h 2054"/>
              <a:gd name="T72" fmla="*/ 509 w 2863"/>
              <a:gd name="T73" fmla="*/ 1935 h 2054"/>
              <a:gd name="T74" fmla="*/ 732 w 2863"/>
              <a:gd name="T75" fmla="*/ 1733 h 2054"/>
              <a:gd name="T76" fmla="*/ 874 w 2863"/>
              <a:gd name="T77" fmla="*/ 1691 h 2054"/>
              <a:gd name="T78" fmla="*/ 870 w 2863"/>
              <a:gd name="T79" fmla="*/ 1786 h 2054"/>
              <a:gd name="T80" fmla="*/ 945 w 2863"/>
              <a:gd name="T81" fmla="*/ 1834 h 2054"/>
              <a:gd name="T82" fmla="*/ 875 w 2863"/>
              <a:gd name="T83" fmla="*/ 1948 h 2054"/>
              <a:gd name="T84" fmla="*/ 1004 w 2863"/>
              <a:gd name="T85" fmla="*/ 1919 h 2054"/>
              <a:gd name="T86" fmla="*/ 1100 w 2863"/>
              <a:gd name="T87" fmla="*/ 1787 h 2054"/>
              <a:gd name="T88" fmla="*/ 1159 w 2863"/>
              <a:gd name="T89" fmla="*/ 1734 h 2054"/>
              <a:gd name="T90" fmla="*/ 1183 w 2863"/>
              <a:gd name="T91" fmla="*/ 1628 h 2054"/>
              <a:gd name="T92" fmla="*/ 1338 w 2863"/>
              <a:gd name="T93" fmla="*/ 1564 h 2054"/>
              <a:gd name="T94" fmla="*/ 1370 w 2863"/>
              <a:gd name="T95" fmla="*/ 1465 h 2054"/>
              <a:gd name="T96" fmla="*/ 1461 w 2863"/>
              <a:gd name="T97" fmla="*/ 1462 h 2054"/>
              <a:gd name="T98" fmla="*/ 1684 w 2863"/>
              <a:gd name="T99" fmla="*/ 1556 h 2054"/>
              <a:gd name="T100" fmla="*/ 1888 w 2863"/>
              <a:gd name="T101" fmla="*/ 1440 h 2054"/>
              <a:gd name="T102" fmla="*/ 1799 w 2863"/>
              <a:gd name="T103" fmla="*/ 1308 h 2054"/>
              <a:gd name="T104" fmla="*/ 1857 w 2863"/>
              <a:gd name="T105" fmla="*/ 1327 h 2054"/>
              <a:gd name="T106" fmla="*/ 2183 w 2863"/>
              <a:gd name="T107" fmla="*/ 1273 h 2054"/>
              <a:gd name="T108" fmla="*/ 2142 w 2863"/>
              <a:gd name="T109" fmla="*/ 1164 h 2054"/>
              <a:gd name="T110" fmla="*/ 2112 w 2863"/>
              <a:gd name="T111" fmla="*/ 1069 h 2054"/>
              <a:gd name="T112" fmla="*/ 2121 w 2863"/>
              <a:gd name="T113" fmla="*/ 977 h 2054"/>
              <a:gd name="T114" fmla="*/ 2085 w 2863"/>
              <a:gd name="T115" fmla="*/ 807 h 2054"/>
              <a:gd name="T116" fmla="*/ 2859 w 2863"/>
              <a:gd name="T117" fmla="*/ 408 h 2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63" h="2054">
                <a:moveTo>
                  <a:pt x="2759" y="252"/>
                </a:moveTo>
                <a:lnTo>
                  <a:pt x="2759" y="252"/>
                </a:lnTo>
                <a:lnTo>
                  <a:pt x="2742" y="239"/>
                </a:lnTo>
                <a:lnTo>
                  <a:pt x="2725" y="227"/>
                </a:lnTo>
                <a:lnTo>
                  <a:pt x="2708" y="214"/>
                </a:lnTo>
                <a:lnTo>
                  <a:pt x="2690" y="203"/>
                </a:lnTo>
                <a:lnTo>
                  <a:pt x="2655" y="184"/>
                </a:lnTo>
                <a:lnTo>
                  <a:pt x="2621" y="165"/>
                </a:lnTo>
                <a:lnTo>
                  <a:pt x="2586" y="148"/>
                </a:lnTo>
                <a:lnTo>
                  <a:pt x="2553" y="133"/>
                </a:lnTo>
                <a:lnTo>
                  <a:pt x="2522" y="118"/>
                </a:lnTo>
                <a:lnTo>
                  <a:pt x="2491" y="103"/>
                </a:lnTo>
                <a:lnTo>
                  <a:pt x="2491" y="103"/>
                </a:lnTo>
                <a:lnTo>
                  <a:pt x="2507" y="93"/>
                </a:lnTo>
                <a:lnTo>
                  <a:pt x="2523" y="82"/>
                </a:lnTo>
                <a:lnTo>
                  <a:pt x="2540" y="68"/>
                </a:lnTo>
                <a:lnTo>
                  <a:pt x="2556" y="54"/>
                </a:lnTo>
                <a:lnTo>
                  <a:pt x="2570" y="41"/>
                </a:lnTo>
                <a:lnTo>
                  <a:pt x="2574" y="35"/>
                </a:lnTo>
                <a:lnTo>
                  <a:pt x="2577" y="30"/>
                </a:lnTo>
                <a:lnTo>
                  <a:pt x="2577" y="26"/>
                </a:lnTo>
                <a:lnTo>
                  <a:pt x="2577" y="24"/>
                </a:lnTo>
                <a:lnTo>
                  <a:pt x="2575" y="23"/>
                </a:lnTo>
                <a:lnTo>
                  <a:pt x="2575" y="23"/>
                </a:lnTo>
                <a:lnTo>
                  <a:pt x="2562" y="16"/>
                </a:lnTo>
                <a:lnTo>
                  <a:pt x="2550" y="10"/>
                </a:lnTo>
                <a:lnTo>
                  <a:pt x="2538" y="6"/>
                </a:lnTo>
                <a:lnTo>
                  <a:pt x="2527" y="4"/>
                </a:lnTo>
                <a:lnTo>
                  <a:pt x="2508" y="1"/>
                </a:lnTo>
                <a:lnTo>
                  <a:pt x="2501" y="0"/>
                </a:lnTo>
                <a:lnTo>
                  <a:pt x="2501" y="0"/>
                </a:lnTo>
                <a:lnTo>
                  <a:pt x="2440" y="24"/>
                </a:lnTo>
                <a:lnTo>
                  <a:pt x="2377" y="50"/>
                </a:lnTo>
                <a:lnTo>
                  <a:pt x="2317" y="76"/>
                </a:lnTo>
                <a:lnTo>
                  <a:pt x="2256" y="103"/>
                </a:lnTo>
                <a:lnTo>
                  <a:pt x="2196" y="132"/>
                </a:lnTo>
                <a:lnTo>
                  <a:pt x="2138" y="160"/>
                </a:lnTo>
                <a:lnTo>
                  <a:pt x="2081" y="189"/>
                </a:lnTo>
                <a:lnTo>
                  <a:pt x="2026" y="219"/>
                </a:lnTo>
                <a:lnTo>
                  <a:pt x="1972" y="247"/>
                </a:lnTo>
                <a:lnTo>
                  <a:pt x="1921" y="276"/>
                </a:lnTo>
                <a:lnTo>
                  <a:pt x="1872" y="303"/>
                </a:lnTo>
                <a:lnTo>
                  <a:pt x="1825" y="331"/>
                </a:lnTo>
                <a:lnTo>
                  <a:pt x="1782" y="358"/>
                </a:lnTo>
                <a:lnTo>
                  <a:pt x="1741" y="383"/>
                </a:lnTo>
                <a:lnTo>
                  <a:pt x="1705" y="407"/>
                </a:lnTo>
                <a:lnTo>
                  <a:pt x="1671" y="429"/>
                </a:lnTo>
                <a:lnTo>
                  <a:pt x="1671" y="429"/>
                </a:lnTo>
                <a:lnTo>
                  <a:pt x="1666" y="432"/>
                </a:lnTo>
                <a:lnTo>
                  <a:pt x="1666" y="432"/>
                </a:lnTo>
                <a:lnTo>
                  <a:pt x="1654" y="439"/>
                </a:lnTo>
                <a:lnTo>
                  <a:pt x="1643" y="446"/>
                </a:lnTo>
                <a:lnTo>
                  <a:pt x="1632" y="451"/>
                </a:lnTo>
                <a:lnTo>
                  <a:pt x="1620" y="455"/>
                </a:lnTo>
                <a:lnTo>
                  <a:pt x="1608" y="458"/>
                </a:lnTo>
                <a:lnTo>
                  <a:pt x="1597" y="461"/>
                </a:lnTo>
                <a:lnTo>
                  <a:pt x="1585" y="462"/>
                </a:lnTo>
                <a:lnTo>
                  <a:pt x="1574" y="463"/>
                </a:lnTo>
                <a:lnTo>
                  <a:pt x="1550" y="464"/>
                </a:lnTo>
                <a:lnTo>
                  <a:pt x="1528" y="462"/>
                </a:lnTo>
                <a:lnTo>
                  <a:pt x="1505" y="459"/>
                </a:lnTo>
                <a:lnTo>
                  <a:pt x="1485" y="454"/>
                </a:lnTo>
                <a:lnTo>
                  <a:pt x="1465" y="449"/>
                </a:lnTo>
                <a:lnTo>
                  <a:pt x="1448" y="442"/>
                </a:lnTo>
                <a:lnTo>
                  <a:pt x="1433" y="436"/>
                </a:lnTo>
                <a:lnTo>
                  <a:pt x="1418" y="430"/>
                </a:lnTo>
                <a:lnTo>
                  <a:pt x="1399" y="420"/>
                </a:lnTo>
                <a:lnTo>
                  <a:pt x="1393" y="416"/>
                </a:lnTo>
                <a:lnTo>
                  <a:pt x="1372" y="544"/>
                </a:lnTo>
                <a:lnTo>
                  <a:pt x="1372" y="544"/>
                </a:lnTo>
                <a:lnTo>
                  <a:pt x="1395" y="557"/>
                </a:lnTo>
                <a:lnTo>
                  <a:pt x="1416" y="568"/>
                </a:lnTo>
                <a:lnTo>
                  <a:pt x="1437" y="577"/>
                </a:lnTo>
                <a:lnTo>
                  <a:pt x="1454" y="586"/>
                </a:lnTo>
                <a:lnTo>
                  <a:pt x="1470" y="592"/>
                </a:lnTo>
                <a:lnTo>
                  <a:pt x="1486" y="596"/>
                </a:lnTo>
                <a:lnTo>
                  <a:pt x="1499" y="600"/>
                </a:lnTo>
                <a:lnTo>
                  <a:pt x="1510" y="602"/>
                </a:lnTo>
                <a:lnTo>
                  <a:pt x="1510" y="602"/>
                </a:lnTo>
                <a:lnTo>
                  <a:pt x="1491" y="606"/>
                </a:lnTo>
                <a:lnTo>
                  <a:pt x="1470" y="611"/>
                </a:lnTo>
                <a:lnTo>
                  <a:pt x="1450" y="617"/>
                </a:lnTo>
                <a:lnTo>
                  <a:pt x="1428" y="625"/>
                </a:lnTo>
                <a:lnTo>
                  <a:pt x="1409" y="634"/>
                </a:lnTo>
                <a:lnTo>
                  <a:pt x="1391" y="645"/>
                </a:lnTo>
                <a:lnTo>
                  <a:pt x="1381" y="650"/>
                </a:lnTo>
                <a:lnTo>
                  <a:pt x="1373" y="656"/>
                </a:lnTo>
                <a:lnTo>
                  <a:pt x="1366" y="663"/>
                </a:lnTo>
                <a:lnTo>
                  <a:pt x="1360" y="670"/>
                </a:lnTo>
                <a:lnTo>
                  <a:pt x="1404" y="788"/>
                </a:lnTo>
                <a:lnTo>
                  <a:pt x="1404" y="788"/>
                </a:lnTo>
                <a:lnTo>
                  <a:pt x="1416" y="779"/>
                </a:lnTo>
                <a:lnTo>
                  <a:pt x="1432" y="770"/>
                </a:lnTo>
                <a:lnTo>
                  <a:pt x="1453" y="758"/>
                </a:lnTo>
                <a:lnTo>
                  <a:pt x="1465" y="753"/>
                </a:lnTo>
                <a:lnTo>
                  <a:pt x="1479" y="748"/>
                </a:lnTo>
                <a:lnTo>
                  <a:pt x="1494" y="743"/>
                </a:lnTo>
                <a:lnTo>
                  <a:pt x="1509" y="738"/>
                </a:lnTo>
                <a:lnTo>
                  <a:pt x="1527" y="734"/>
                </a:lnTo>
                <a:lnTo>
                  <a:pt x="1545" y="731"/>
                </a:lnTo>
                <a:lnTo>
                  <a:pt x="1564" y="729"/>
                </a:lnTo>
                <a:lnTo>
                  <a:pt x="1585" y="728"/>
                </a:lnTo>
                <a:lnTo>
                  <a:pt x="1585" y="728"/>
                </a:lnTo>
                <a:lnTo>
                  <a:pt x="1588" y="744"/>
                </a:lnTo>
                <a:lnTo>
                  <a:pt x="1588" y="744"/>
                </a:lnTo>
                <a:lnTo>
                  <a:pt x="1588" y="758"/>
                </a:lnTo>
                <a:lnTo>
                  <a:pt x="1588" y="773"/>
                </a:lnTo>
                <a:lnTo>
                  <a:pt x="1586" y="787"/>
                </a:lnTo>
                <a:lnTo>
                  <a:pt x="1583" y="802"/>
                </a:lnTo>
                <a:lnTo>
                  <a:pt x="1578" y="818"/>
                </a:lnTo>
                <a:lnTo>
                  <a:pt x="1573" y="833"/>
                </a:lnTo>
                <a:lnTo>
                  <a:pt x="1565" y="848"/>
                </a:lnTo>
                <a:lnTo>
                  <a:pt x="1557" y="864"/>
                </a:lnTo>
                <a:lnTo>
                  <a:pt x="1549" y="880"/>
                </a:lnTo>
                <a:lnTo>
                  <a:pt x="1539" y="895"/>
                </a:lnTo>
                <a:lnTo>
                  <a:pt x="1528" y="912"/>
                </a:lnTo>
                <a:lnTo>
                  <a:pt x="1516" y="927"/>
                </a:lnTo>
                <a:lnTo>
                  <a:pt x="1503" y="943"/>
                </a:lnTo>
                <a:lnTo>
                  <a:pt x="1490" y="959"/>
                </a:lnTo>
                <a:lnTo>
                  <a:pt x="1476" y="974"/>
                </a:lnTo>
                <a:lnTo>
                  <a:pt x="1461" y="989"/>
                </a:lnTo>
                <a:lnTo>
                  <a:pt x="1429" y="1020"/>
                </a:lnTo>
                <a:lnTo>
                  <a:pt x="1396" y="1049"/>
                </a:lnTo>
                <a:lnTo>
                  <a:pt x="1360" y="1076"/>
                </a:lnTo>
                <a:lnTo>
                  <a:pt x="1323" y="1102"/>
                </a:lnTo>
                <a:lnTo>
                  <a:pt x="1285" y="1126"/>
                </a:lnTo>
                <a:lnTo>
                  <a:pt x="1247" y="1148"/>
                </a:lnTo>
                <a:lnTo>
                  <a:pt x="1209" y="1167"/>
                </a:lnTo>
                <a:lnTo>
                  <a:pt x="1189" y="1177"/>
                </a:lnTo>
                <a:lnTo>
                  <a:pt x="1171" y="1185"/>
                </a:lnTo>
                <a:lnTo>
                  <a:pt x="1171" y="1185"/>
                </a:lnTo>
                <a:lnTo>
                  <a:pt x="1133" y="1199"/>
                </a:lnTo>
                <a:lnTo>
                  <a:pt x="1095" y="1211"/>
                </a:lnTo>
                <a:lnTo>
                  <a:pt x="1060" y="1223"/>
                </a:lnTo>
                <a:lnTo>
                  <a:pt x="1026" y="1232"/>
                </a:lnTo>
                <a:lnTo>
                  <a:pt x="993" y="1240"/>
                </a:lnTo>
                <a:lnTo>
                  <a:pt x="962" y="1246"/>
                </a:lnTo>
                <a:lnTo>
                  <a:pt x="933" y="1250"/>
                </a:lnTo>
                <a:lnTo>
                  <a:pt x="905" y="1254"/>
                </a:lnTo>
                <a:lnTo>
                  <a:pt x="879" y="1256"/>
                </a:lnTo>
                <a:lnTo>
                  <a:pt x="856" y="1257"/>
                </a:lnTo>
                <a:lnTo>
                  <a:pt x="834" y="1257"/>
                </a:lnTo>
                <a:lnTo>
                  <a:pt x="815" y="1256"/>
                </a:lnTo>
                <a:lnTo>
                  <a:pt x="799" y="1254"/>
                </a:lnTo>
                <a:lnTo>
                  <a:pt x="785" y="1251"/>
                </a:lnTo>
                <a:lnTo>
                  <a:pt x="774" y="1247"/>
                </a:lnTo>
                <a:lnTo>
                  <a:pt x="765" y="1243"/>
                </a:lnTo>
                <a:lnTo>
                  <a:pt x="765" y="1243"/>
                </a:lnTo>
                <a:lnTo>
                  <a:pt x="741" y="1227"/>
                </a:lnTo>
                <a:lnTo>
                  <a:pt x="720" y="1209"/>
                </a:lnTo>
                <a:lnTo>
                  <a:pt x="701" y="1191"/>
                </a:lnTo>
                <a:lnTo>
                  <a:pt x="685" y="1172"/>
                </a:lnTo>
                <a:lnTo>
                  <a:pt x="670" y="1155"/>
                </a:lnTo>
                <a:lnTo>
                  <a:pt x="656" y="1137"/>
                </a:lnTo>
                <a:lnTo>
                  <a:pt x="645" y="1119"/>
                </a:lnTo>
                <a:lnTo>
                  <a:pt x="634" y="1102"/>
                </a:lnTo>
                <a:lnTo>
                  <a:pt x="615" y="1071"/>
                </a:lnTo>
                <a:lnTo>
                  <a:pt x="605" y="1057"/>
                </a:lnTo>
                <a:lnTo>
                  <a:pt x="596" y="1045"/>
                </a:lnTo>
                <a:lnTo>
                  <a:pt x="587" y="1033"/>
                </a:lnTo>
                <a:lnTo>
                  <a:pt x="577" y="1025"/>
                </a:lnTo>
                <a:lnTo>
                  <a:pt x="565" y="1018"/>
                </a:lnTo>
                <a:lnTo>
                  <a:pt x="559" y="1015"/>
                </a:lnTo>
                <a:lnTo>
                  <a:pt x="553" y="1013"/>
                </a:lnTo>
                <a:lnTo>
                  <a:pt x="553" y="1013"/>
                </a:lnTo>
                <a:lnTo>
                  <a:pt x="549" y="1013"/>
                </a:lnTo>
                <a:lnTo>
                  <a:pt x="546" y="1013"/>
                </a:lnTo>
                <a:lnTo>
                  <a:pt x="539" y="1015"/>
                </a:lnTo>
                <a:lnTo>
                  <a:pt x="532" y="1018"/>
                </a:lnTo>
                <a:lnTo>
                  <a:pt x="524" y="1022"/>
                </a:lnTo>
                <a:lnTo>
                  <a:pt x="516" y="1026"/>
                </a:lnTo>
                <a:lnTo>
                  <a:pt x="507" y="1029"/>
                </a:lnTo>
                <a:lnTo>
                  <a:pt x="499" y="1031"/>
                </a:lnTo>
                <a:lnTo>
                  <a:pt x="494" y="1031"/>
                </a:lnTo>
                <a:lnTo>
                  <a:pt x="489" y="1031"/>
                </a:lnTo>
                <a:lnTo>
                  <a:pt x="489" y="1031"/>
                </a:lnTo>
                <a:lnTo>
                  <a:pt x="468" y="1028"/>
                </a:lnTo>
                <a:lnTo>
                  <a:pt x="448" y="1025"/>
                </a:lnTo>
                <a:lnTo>
                  <a:pt x="427" y="1024"/>
                </a:lnTo>
                <a:lnTo>
                  <a:pt x="406" y="1023"/>
                </a:lnTo>
                <a:lnTo>
                  <a:pt x="386" y="1023"/>
                </a:lnTo>
                <a:lnTo>
                  <a:pt x="366" y="1025"/>
                </a:lnTo>
                <a:lnTo>
                  <a:pt x="347" y="1027"/>
                </a:lnTo>
                <a:lnTo>
                  <a:pt x="327" y="1031"/>
                </a:lnTo>
                <a:lnTo>
                  <a:pt x="309" y="1035"/>
                </a:lnTo>
                <a:lnTo>
                  <a:pt x="292" y="1043"/>
                </a:lnTo>
                <a:lnTo>
                  <a:pt x="276" y="1050"/>
                </a:lnTo>
                <a:lnTo>
                  <a:pt x="262" y="1059"/>
                </a:lnTo>
                <a:lnTo>
                  <a:pt x="248" y="1070"/>
                </a:lnTo>
                <a:lnTo>
                  <a:pt x="242" y="1076"/>
                </a:lnTo>
                <a:lnTo>
                  <a:pt x="236" y="1082"/>
                </a:lnTo>
                <a:lnTo>
                  <a:pt x="231" y="1090"/>
                </a:lnTo>
                <a:lnTo>
                  <a:pt x="227" y="1098"/>
                </a:lnTo>
                <a:lnTo>
                  <a:pt x="223" y="1105"/>
                </a:lnTo>
                <a:lnTo>
                  <a:pt x="219" y="1114"/>
                </a:lnTo>
                <a:lnTo>
                  <a:pt x="219" y="1114"/>
                </a:lnTo>
                <a:lnTo>
                  <a:pt x="257" y="1112"/>
                </a:lnTo>
                <a:lnTo>
                  <a:pt x="292" y="1111"/>
                </a:lnTo>
                <a:lnTo>
                  <a:pt x="312" y="1111"/>
                </a:lnTo>
                <a:lnTo>
                  <a:pt x="331" y="1112"/>
                </a:lnTo>
                <a:lnTo>
                  <a:pt x="349" y="1113"/>
                </a:lnTo>
                <a:lnTo>
                  <a:pt x="364" y="1116"/>
                </a:lnTo>
                <a:lnTo>
                  <a:pt x="377" y="1119"/>
                </a:lnTo>
                <a:lnTo>
                  <a:pt x="382" y="1121"/>
                </a:lnTo>
                <a:lnTo>
                  <a:pt x="387" y="1123"/>
                </a:lnTo>
                <a:lnTo>
                  <a:pt x="389" y="1126"/>
                </a:lnTo>
                <a:lnTo>
                  <a:pt x="391" y="1130"/>
                </a:lnTo>
                <a:lnTo>
                  <a:pt x="391" y="1133"/>
                </a:lnTo>
                <a:lnTo>
                  <a:pt x="389" y="1137"/>
                </a:lnTo>
                <a:lnTo>
                  <a:pt x="386" y="1141"/>
                </a:lnTo>
                <a:lnTo>
                  <a:pt x="381" y="1146"/>
                </a:lnTo>
                <a:lnTo>
                  <a:pt x="374" y="1151"/>
                </a:lnTo>
                <a:lnTo>
                  <a:pt x="366" y="1156"/>
                </a:lnTo>
                <a:lnTo>
                  <a:pt x="366" y="1156"/>
                </a:lnTo>
                <a:lnTo>
                  <a:pt x="357" y="1162"/>
                </a:lnTo>
                <a:lnTo>
                  <a:pt x="351" y="1168"/>
                </a:lnTo>
                <a:lnTo>
                  <a:pt x="346" y="1175"/>
                </a:lnTo>
                <a:lnTo>
                  <a:pt x="344" y="1182"/>
                </a:lnTo>
                <a:lnTo>
                  <a:pt x="343" y="1189"/>
                </a:lnTo>
                <a:lnTo>
                  <a:pt x="344" y="1195"/>
                </a:lnTo>
                <a:lnTo>
                  <a:pt x="346" y="1202"/>
                </a:lnTo>
                <a:lnTo>
                  <a:pt x="349" y="1209"/>
                </a:lnTo>
                <a:lnTo>
                  <a:pt x="354" y="1217"/>
                </a:lnTo>
                <a:lnTo>
                  <a:pt x="360" y="1225"/>
                </a:lnTo>
                <a:lnTo>
                  <a:pt x="368" y="1232"/>
                </a:lnTo>
                <a:lnTo>
                  <a:pt x="376" y="1239"/>
                </a:lnTo>
                <a:lnTo>
                  <a:pt x="396" y="1254"/>
                </a:lnTo>
                <a:lnTo>
                  <a:pt x="418" y="1270"/>
                </a:lnTo>
                <a:lnTo>
                  <a:pt x="442" y="1285"/>
                </a:lnTo>
                <a:lnTo>
                  <a:pt x="467" y="1299"/>
                </a:lnTo>
                <a:lnTo>
                  <a:pt x="519" y="1327"/>
                </a:lnTo>
                <a:lnTo>
                  <a:pt x="565" y="1350"/>
                </a:lnTo>
                <a:lnTo>
                  <a:pt x="585" y="1361"/>
                </a:lnTo>
                <a:lnTo>
                  <a:pt x="601" y="1370"/>
                </a:lnTo>
                <a:lnTo>
                  <a:pt x="601" y="1370"/>
                </a:lnTo>
                <a:lnTo>
                  <a:pt x="608" y="1375"/>
                </a:lnTo>
                <a:lnTo>
                  <a:pt x="611" y="1379"/>
                </a:lnTo>
                <a:lnTo>
                  <a:pt x="613" y="1382"/>
                </a:lnTo>
                <a:lnTo>
                  <a:pt x="611" y="1385"/>
                </a:lnTo>
                <a:lnTo>
                  <a:pt x="608" y="1387"/>
                </a:lnTo>
                <a:lnTo>
                  <a:pt x="604" y="1389"/>
                </a:lnTo>
                <a:lnTo>
                  <a:pt x="598" y="1390"/>
                </a:lnTo>
                <a:lnTo>
                  <a:pt x="598" y="1390"/>
                </a:lnTo>
                <a:lnTo>
                  <a:pt x="588" y="1390"/>
                </a:lnTo>
                <a:lnTo>
                  <a:pt x="576" y="1388"/>
                </a:lnTo>
                <a:lnTo>
                  <a:pt x="561" y="1385"/>
                </a:lnTo>
                <a:lnTo>
                  <a:pt x="545" y="1380"/>
                </a:lnTo>
                <a:lnTo>
                  <a:pt x="509" y="1369"/>
                </a:lnTo>
                <a:lnTo>
                  <a:pt x="469" y="1354"/>
                </a:lnTo>
                <a:lnTo>
                  <a:pt x="387" y="1323"/>
                </a:lnTo>
                <a:lnTo>
                  <a:pt x="349" y="1307"/>
                </a:lnTo>
                <a:lnTo>
                  <a:pt x="314" y="1296"/>
                </a:lnTo>
                <a:lnTo>
                  <a:pt x="314" y="1296"/>
                </a:lnTo>
                <a:lnTo>
                  <a:pt x="303" y="1293"/>
                </a:lnTo>
                <a:lnTo>
                  <a:pt x="292" y="1291"/>
                </a:lnTo>
                <a:lnTo>
                  <a:pt x="283" y="1291"/>
                </a:lnTo>
                <a:lnTo>
                  <a:pt x="275" y="1292"/>
                </a:lnTo>
                <a:lnTo>
                  <a:pt x="268" y="1294"/>
                </a:lnTo>
                <a:lnTo>
                  <a:pt x="262" y="1297"/>
                </a:lnTo>
                <a:lnTo>
                  <a:pt x="257" y="1300"/>
                </a:lnTo>
                <a:lnTo>
                  <a:pt x="253" y="1303"/>
                </a:lnTo>
                <a:lnTo>
                  <a:pt x="244" y="1312"/>
                </a:lnTo>
                <a:lnTo>
                  <a:pt x="238" y="1319"/>
                </a:lnTo>
                <a:lnTo>
                  <a:pt x="234" y="1324"/>
                </a:lnTo>
                <a:lnTo>
                  <a:pt x="231" y="1325"/>
                </a:lnTo>
                <a:lnTo>
                  <a:pt x="229" y="1326"/>
                </a:lnTo>
                <a:lnTo>
                  <a:pt x="229" y="1326"/>
                </a:lnTo>
                <a:lnTo>
                  <a:pt x="220" y="1325"/>
                </a:lnTo>
                <a:lnTo>
                  <a:pt x="210" y="1324"/>
                </a:lnTo>
                <a:lnTo>
                  <a:pt x="198" y="1325"/>
                </a:lnTo>
                <a:lnTo>
                  <a:pt x="188" y="1325"/>
                </a:lnTo>
                <a:lnTo>
                  <a:pt x="166" y="1329"/>
                </a:lnTo>
                <a:lnTo>
                  <a:pt x="143" y="1335"/>
                </a:lnTo>
                <a:lnTo>
                  <a:pt x="121" y="1343"/>
                </a:lnTo>
                <a:lnTo>
                  <a:pt x="98" y="1353"/>
                </a:lnTo>
                <a:lnTo>
                  <a:pt x="77" y="1367"/>
                </a:lnTo>
                <a:lnTo>
                  <a:pt x="66" y="1374"/>
                </a:lnTo>
                <a:lnTo>
                  <a:pt x="57" y="1381"/>
                </a:lnTo>
                <a:lnTo>
                  <a:pt x="48" y="1389"/>
                </a:lnTo>
                <a:lnTo>
                  <a:pt x="40" y="1397"/>
                </a:lnTo>
                <a:lnTo>
                  <a:pt x="32" y="1407"/>
                </a:lnTo>
                <a:lnTo>
                  <a:pt x="25" y="1416"/>
                </a:lnTo>
                <a:lnTo>
                  <a:pt x="18" y="1426"/>
                </a:lnTo>
                <a:lnTo>
                  <a:pt x="12" y="1435"/>
                </a:lnTo>
                <a:lnTo>
                  <a:pt x="8" y="1446"/>
                </a:lnTo>
                <a:lnTo>
                  <a:pt x="4" y="1458"/>
                </a:lnTo>
                <a:lnTo>
                  <a:pt x="2" y="1469"/>
                </a:lnTo>
                <a:lnTo>
                  <a:pt x="0" y="1480"/>
                </a:lnTo>
                <a:lnTo>
                  <a:pt x="0" y="1492"/>
                </a:lnTo>
                <a:lnTo>
                  <a:pt x="0" y="1505"/>
                </a:lnTo>
                <a:lnTo>
                  <a:pt x="3" y="1518"/>
                </a:lnTo>
                <a:lnTo>
                  <a:pt x="6" y="1530"/>
                </a:lnTo>
                <a:lnTo>
                  <a:pt x="11" y="1544"/>
                </a:lnTo>
                <a:lnTo>
                  <a:pt x="17" y="1558"/>
                </a:lnTo>
                <a:lnTo>
                  <a:pt x="17" y="1558"/>
                </a:lnTo>
                <a:lnTo>
                  <a:pt x="20" y="1553"/>
                </a:lnTo>
                <a:lnTo>
                  <a:pt x="30" y="1540"/>
                </a:lnTo>
                <a:lnTo>
                  <a:pt x="45" y="1521"/>
                </a:lnTo>
                <a:lnTo>
                  <a:pt x="53" y="1511"/>
                </a:lnTo>
                <a:lnTo>
                  <a:pt x="63" y="1501"/>
                </a:lnTo>
                <a:lnTo>
                  <a:pt x="75" y="1490"/>
                </a:lnTo>
                <a:lnTo>
                  <a:pt x="86" y="1481"/>
                </a:lnTo>
                <a:lnTo>
                  <a:pt x="98" y="1473"/>
                </a:lnTo>
                <a:lnTo>
                  <a:pt x="111" y="1466"/>
                </a:lnTo>
                <a:lnTo>
                  <a:pt x="125" y="1461"/>
                </a:lnTo>
                <a:lnTo>
                  <a:pt x="131" y="1459"/>
                </a:lnTo>
                <a:lnTo>
                  <a:pt x="138" y="1458"/>
                </a:lnTo>
                <a:lnTo>
                  <a:pt x="145" y="1458"/>
                </a:lnTo>
                <a:lnTo>
                  <a:pt x="151" y="1458"/>
                </a:lnTo>
                <a:lnTo>
                  <a:pt x="159" y="1459"/>
                </a:lnTo>
                <a:lnTo>
                  <a:pt x="166" y="1461"/>
                </a:lnTo>
                <a:lnTo>
                  <a:pt x="166" y="1461"/>
                </a:lnTo>
                <a:lnTo>
                  <a:pt x="171" y="1463"/>
                </a:lnTo>
                <a:lnTo>
                  <a:pt x="174" y="1467"/>
                </a:lnTo>
                <a:lnTo>
                  <a:pt x="175" y="1473"/>
                </a:lnTo>
                <a:lnTo>
                  <a:pt x="176" y="1479"/>
                </a:lnTo>
                <a:lnTo>
                  <a:pt x="176" y="1496"/>
                </a:lnTo>
                <a:lnTo>
                  <a:pt x="174" y="1514"/>
                </a:lnTo>
                <a:lnTo>
                  <a:pt x="174" y="1524"/>
                </a:lnTo>
                <a:lnTo>
                  <a:pt x="174" y="1534"/>
                </a:lnTo>
                <a:lnTo>
                  <a:pt x="176" y="1545"/>
                </a:lnTo>
                <a:lnTo>
                  <a:pt x="178" y="1554"/>
                </a:lnTo>
                <a:lnTo>
                  <a:pt x="182" y="1564"/>
                </a:lnTo>
                <a:lnTo>
                  <a:pt x="187" y="1573"/>
                </a:lnTo>
                <a:lnTo>
                  <a:pt x="195" y="1581"/>
                </a:lnTo>
                <a:lnTo>
                  <a:pt x="205" y="1589"/>
                </a:lnTo>
                <a:lnTo>
                  <a:pt x="205" y="1589"/>
                </a:lnTo>
                <a:lnTo>
                  <a:pt x="213" y="1593"/>
                </a:lnTo>
                <a:lnTo>
                  <a:pt x="221" y="1596"/>
                </a:lnTo>
                <a:lnTo>
                  <a:pt x="231" y="1599"/>
                </a:lnTo>
                <a:lnTo>
                  <a:pt x="242" y="1600"/>
                </a:lnTo>
                <a:lnTo>
                  <a:pt x="254" y="1602"/>
                </a:lnTo>
                <a:lnTo>
                  <a:pt x="267" y="1602"/>
                </a:lnTo>
                <a:lnTo>
                  <a:pt x="293" y="1602"/>
                </a:lnTo>
                <a:lnTo>
                  <a:pt x="323" y="1600"/>
                </a:lnTo>
                <a:lnTo>
                  <a:pt x="354" y="1597"/>
                </a:lnTo>
                <a:lnTo>
                  <a:pt x="418" y="1589"/>
                </a:lnTo>
                <a:lnTo>
                  <a:pt x="481" y="1580"/>
                </a:lnTo>
                <a:lnTo>
                  <a:pt x="510" y="1576"/>
                </a:lnTo>
                <a:lnTo>
                  <a:pt x="538" y="1574"/>
                </a:lnTo>
                <a:lnTo>
                  <a:pt x="562" y="1573"/>
                </a:lnTo>
                <a:lnTo>
                  <a:pt x="583" y="1574"/>
                </a:lnTo>
                <a:lnTo>
                  <a:pt x="592" y="1575"/>
                </a:lnTo>
                <a:lnTo>
                  <a:pt x="600" y="1577"/>
                </a:lnTo>
                <a:lnTo>
                  <a:pt x="607" y="1580"/>
                </a:lnTo>
                <a:lnTo>
                  <a:pt x="613" y="1585"/>
                </a:lnTo>
                <a:lnTo>
                  <a:pt x="613" y="1585"/>
                </a:lnTo>
                <a:lnTo>
                  <a:pt x="616" y="1588"/>
                </a:lnTo>
                <a:lnTo>
                  <a:pt x="617" y="1591"/>
                </a:lnTo>
                <a:lnTo>
                  <a:pt x="616" y="1593"/>
                </a:lnTo>
                <a:lnTo>
                  <a:pt x="611" y="1596"/>
                </a:lnTo>
                <a:lnTo>
                  <a:pt x="607" y="1598"/>
                </a:lnTo>
                <a:lnTo>
                  <a:pt x="600" y="1601"/>
                </a:lnTo>
                <a:lnTo>
                  <a:pt x="583" y="1605"/>
                </a:lnTo>
                <a:lnTo>
                  <a:pt x="560" y="1609"/>
                </a:lnTo>
                <a:lnTo>
                  <a:pt x="535" y="1612"/>
                </a:lnTo>
                <a:lnTo>
                  <a:pt x="474" y="1620"/>
                </a:lnTo>
                <a:lnTo>
                  <a:pt x="443" y="1624"/>
                </a:lnTo>
                <a:lnTo>
                  <a:pt x="412" y="1629"/>
                </a:lnTo>
                <a:lnTo>
                  <a:pt x="382" y="1636"/>
                </a:lnTo>
                <a:lnTo>
                  <a:pt x="356" y="1642"/>
                </a:lnTo>
                <a:lnTo>
                  <a:pt x="344" y="1646"/>
                </a:lnTo>
                <a:lnTo>
                  <a:pt x="332" y="1650"/>
                </a:lnTo>
                <a:lnTo>
                  <a:pt x="322" y="1654"/>
                </a:lnTo>
                <a:lnTo>
                  <a:pt x="314" y="1659"/>
                </a:lnTo>
                <a:lnTo>
                  <a:pt x="307" y="1664"/>
                </a:lnTo>
                <a:lnTo>
                  <a:pt x="302" y="1669"/>
                </a:lnTo>
                <a:lnTo>
                  <a:pt x="298" y="1676"/>
                </a:lnTo>
                <a:lnTo>
                  <a:pt x="296" y="1682"/>
                </a:lnTo>
                <a:lnTo>
                  <a:pt x="296" y="1682"/>
                </a:lnTo>
                <a:lnTo>
                  <a:pt x="295" y="1687"/>
                </a:lnTo>
                <a:lnTo>
                  <a:pt x="295" y="1696"/>
                </a:lnTo>
                <a:lnTo>
                  <a:pt x="296" y="1707"/>
                </a:lnTo>
                <a:lnTo>
                  <a:pt x="298" y="1713"/>
                </a:lnTo>
                <a:lnTo>
                  <a:pt x="300" y="1718"/>
                </a:lnTo>
                <a:lnTo>
                  <a:pt x="300" y="1718"/>
                </a:lnTo>
                <a:lnTo>
                  <a:pt x="301" y="1725"/>
                </a:lnTo>
                <a:lnTo>
                  <a:pt x="301" y="1731"/>
                </a:lnTo>
                <a:lnTo>
                  <a:pt x="298" y="1737"/>
                </a:lnTo>
                <a:lnTo>
                  <a:pt x="293" y="1743"/>
                </a:lnTo>
                <a:lnTo>
                  <a:pt x="283" y="1757"/>
                </a:lnTo>
                <a:lnTo>
                  <a:pt x="269" y="1775"/>
                </a:lnTo>
                <a:lnTo>
                  <a:pt x="261" y="1785"/>
                </a:lnTo>
                <a:lnTo>
                  <a:pt x="254" y="1795"/>
                </a:lnTo>
                <a:lnTo>
                  <a:pt x="246" y="1807"/>
                </a:lnTo>
                <a:lnTo>
                  <a:pt x="240" y="1820"/>
                </a:lnTo>
                <a:lnTo>
                  <a:pt x="234" y="1834"/>
                </a:lnTo>
                <a:lnTo>
                  <a:pt x="230" y="1849"/>
                </a:lnTo>
                <a:lnTo>
                  <a:pt x="226" y="1866"/>
                </a:lnTo>
                <a:lnTo>
                  <a:pt x="225" y="1884"/>
                </a:lnTo>
                <a:lnTo>
                  <a:pt x="225" y="1884"/>
                </a:lnTo>
                <a:lnTo>
                  <a:pt x="225" y="1893"/>
                </a:lnTo>
                <a:lnTo>
                  <a:pt x="225" y="1902"/>
                </a:lnTo>
                <a:lnTo>
                  <a:pt x="228" y="1920"/>
                </a:lnTo>
                <a:lnTo>
                  <a:pt x="233" y="1937"/>
                </a:lnTo>
                <a:lnTo>
                  <a:pt x="239" y="1953"/>
                </a:lnTo>
                <a:lnTo>
                  <a:pt x="247" y="1968"/>
                </a:lnTo>
                <a:lnTo>
                  <a:pt x="257" y="1982"/>
                </a:lnTo>
                <a:lnTo>
                  <a:pt x="267" y="1995"/>
                </a:lnTo>
                <a:lnTo>
                  <a:pt x="277" y="2007"/>
                </a:lnTo>
                <a:lnTo>
                  <a:pt x="287" y="2017"/>
                </a:lnTo>
                <a:lnTo>
                  <a:pt x="298" y="2026"/>
                </a:lnTo>
                <a:lnTo>
                  <a:pt x="315" y="2042"/>
                </a:lnTo>
                <a:lnTo>
                  <a:pt x="327" y="2050"/>
                </a:lnTo>
                <a:lnTo>
                  <a:pt x="332" y="2054"/>
                </a:lnTo>
                <a:lnTo>
                  <a:pt x="332" y="2054"/>
                </a:lnTo>
                <a:lnTo>
                  <a:pt x="334" y="2050"/>
                </a:lnTo>
                <a:lnTo>
                  <a:pt x="335" y="2045"/>
                </a:lnTo>
                <a:lnTo>
                  <a:pt x="335" y="2036"/>
                </a:lnTo>
                <a:lnTo>
                  <a:pt x="334" y="2027"/>
                </a:lnTo>
                <a:lnTo>
                  <a:pt x="331" y="2006"/>
                </a:lnTo>
                <a:lnTo>
                  <a:pt x="328" y="1980"/>
                </a:lnTo>
                <a:lnTo>
                  <a:pt x="327" y="1968"/>
                </a:lnTo>
                <a:lnTo>
                  <a:pt x="326" y="1955"/>
                </a:lnTo>
                <a:lnTo>
                  <a:pt x="326" y="1943"/>
                </a:lnTo>
                <a:lnTo>
                  <a:pt x="328" y="1932"/>
                </a:lnTo>
                <a:lnTo>
                  <a:pt x="330" y="1922"/>
                </a:lnTo>
                <a:lnTo>
                  <a:pt x="334" y="1913"/>
                </a:lnTo>
                <a:lnTo>
                  <a:pt x="337" y="1910"/>
                </a:lnTo>
                <a:lnTo>
                  <a:pt x="341" y="1906"/>
                </a:lnTo>
                <a:lnTo>
                  <a:pt x="344" y="1904"/>
                </a:lnTo>
                <a:lnTo>
                  <a:pt x="348" y="1901"/>
                </a:lnTo>
                <a:lnTo>
                  <a:pt x="348" y="1901"/>
                </a:lnTo>
                <a:lnTo>
                  <a:pt x="353" y="1900"/>
                </a:lnTo>
                <a:lnTo>
                  <a:pt x="357" y="1900"/>
                </a:lnTo>
                <a:lnTo>
                  <a:pt x="362" y="1901"/>
                </a:lnTo>
                <a:lnTo>
                  <a:pt x="366" y="1905"/>
                </a:lnTo>
                <a:lnTo>
                  <a:pt x="375" y="1912"/>
                </a:lnTo>
                <a:lnTo>
                  <a:pt x="386" y="1921"/>
                </a:lnTo>
                <a:lnTo>
                  <a:pt x="397" y="1932"/>
                </a:lnTo>
                <a:lnTo>
                  <a:pt x="410" y="1941"/>
                </a:lnTo>
                <a:lnTo>
                  <a:pt x="417" y="1946"/>
                </a:lnTo>
                <a:lnTo>
                  <a:pt x="424" y="1950"/>
                </a:lnTo>
                <a:lnTo>
                  <a:pt x="434" y="1953"/>
                </a:lnTo>
                <a:lnTo>
                  <a:pt x="442" y="1955"/>
                </a:lnTo>
                <a:lnTo>
                  <a:pt x="442" y="1955"/>
                </a:lnTo>
                <a:lnTo>
                  <a:pt x="451" y="1955"/>
                </a:lnTo>
                <a:lnTo>
                  <a:pt x="460" y="1955"/>
                </a:lnTo>
                <a:lnTo>
                  <a:pt x="468" y="1954"/>
                </a:lnTo>
                <a:lnTo>
                  <a:pt x="478" y="1952"/>
                </a:lnTo>
                <a:lnTo>
                  <a:pt x="486" y="1948"/>
                </a:lnTo>
                <a:lnTo>
                  <a:pt x="494" y="1944"/>
                </a:lnTo>
                <a:lnTo>
                  <a:pt x="501" y="1940"/>
                </a:lnTo>
                <a:lnTo>
                  <a:pt x="509" y="1935"/>
                </a:lnTo>
                <a:lnTo>
                  <a:pt x="525" y="1923"/>
                </a:lnTo>
                <a:lnTo>
                  <a:pt x="539" y="1909"/>
                </a:lnTo>
                <a:lnTo>
                  <a:pt x="554" y="1892"/>
                </a:lnTo>
                <a:lnTo>
                  <a:pt x="571" y="1875"/>
                </a:lnTo>
                <a:lnTo>
                  <a:pt x="604" y="1836"/>
                </a:lnTo>
                <a:lnTo>
                  <a:pt x="624" y="1817"/>
                </a:lnTo>
                <a:lnTo>
                  <a:pt x="644" y="1797"/>
                </a:lnTo>
                <a:lnTo>
                  <a:pt x="667" y="1777"/>
                </a:lnTo>
                <a:lnTo>
                  <a:pt x="691" y="1758"/>
                </a:lnTo>
                <a:lnTo>
                  <a:pt x="705" y="1749"/>
                </a:lnTo>
                <a:lnTo>
                  <a:pt x="718" y="1741"/>
                </a:lnTo>
                <a:lnTo>
                  <a:pt x="732" y="1733"/>
                </a:lnTo>
                <a:lnTo>
                  <a:pt x="747" y="1725"/>
                </a:lnTo>
                <a:lnTo>
                  <a:pt x="747" y="1725"/>
                </a:lnTo>
                <a:lnTo>
                  <a:pt x="787" y="1706"/>
                </a:lnTo>
                <a:lnTo>
                  <a:pt x="819" y="1694"/>
                </a:lnTo>
                <a:lnTo>
                  <a:pt x="831" y="1689"/>
                </a:lnTo>
                <a:lnTo>
                  <a:pt x="843" y="1686"/>
                </a:lnTo>
                <a:lnTo>
                  <a:pt x="852" y="1685"/>
                </a:lnTo>
                <a:lnTo>
                  <a:pt x="859" y="1684"/>
                </a:lnTo>
                <a:lnTo>
                  <a:pt x="865" y="1684"/>
                </a:lnTo>
                <a:lnTo>
                  <a:pt x="869" y="1686"/>
                </a:lnTo>
                <a:lnTo>
                  <a:pt x="872" y="1688"/>
                </a:lnTo>
                <a:lnTo>
                  <a:pt x="874" y="1691"/>
                </a:lnTo>
                <a:lnTo>
                  <a:pt x="876" y="1694"/>
                </a:lnTo>
                <a:lnTo>
                  <a:pt x="876" y="1698"/>
                </a:lnTo>
                <a:lnTo>
                  <a:pt x="875" y="1708"/>
                </a:lnTo>
                <a:lnTo>
                  <a:pt x="872" y="1720"/>
                </a:lnTo>
                <a:lnTo>
                  <a:pt x="868" y="1734"/>
                </a:lnTo>
                <a:lnTo>
                  <a:pt x="865" y="1747"/>
                </a:lnTo>
                <a:lnTo>
                  <a:pt x="863" y="1759"/>
                </a:lnTo>
                <a:lnTo>
                  <a:pt x="863" y="1765"/>
                </a:lnTo>
                <a:lnTo>
                  <a:pt x="863" y="1772"/>
                </a:lnTo>
                <a:lnTo>
                  <a:pt x="865" y="1777"/>
                </a:lnTo>
                <a:lnTo>
                  <a:pt x="867" y="1782"/>
                </a:lnTo>
                <a:lnTo>
                  <a:pt x="870" y="1786"/>
                </a:lnTo>
                <a:lnTo>
                  <a:pt x="875" y="1790"/>
                </a:lnTo>
                <a:lnTo>
                  <a:pt x="881" y="1793"/>
                </a:lnTo>
                <a:lnTo>
                  <a:pt x="889" y="1795"/>
                </a:lnTo>
                <a:lnTo>
                  <a:pt x="889" y="1795"/>
                </a:lnTo>
                <a:lnTo>
                  <a:pt x="901" y="1799"/>
                </a:lnTo>
                <a:lnTo>
                  <a:pt x="912" y="1802"/>
                </a:lnTo>
                <a:lnTo>
                  <a:pt x="921" y="1807"/>
                </a:lnTo>
                <a:lnTo>
                  <a:pt x="928" y="1811"/>
                </a:lnTo>
                <a:lnTo>
                  <a:pt x="935" y="1817"/>
                </a:lnTo>
                <a:lnTo>
                  <a:pt x="940" y="1822"/>
                </a:lnTo>
                <a:lnTo>
                  <a:pt x="943" y="1828"/>
                </a:lnTo>
                <a:lnTo>
                  <a:pt x="945" y="1834"/>
                </a:lnTo>
                <a:lnTo>
                  <a:pt x="947" y="1840"/>
                </a:lnTo>
                <a:lnTo>
                  <a:pt x="947" y="1846"/>
                </a:lnTo>
                <a:lnTo>
                  <a:pt x="946" y="1853"/>
                </a:lnTo>
                <a:lnTo>
                  <a:pt x="945" y="1860"/>
                </a:lnTo>
                <a:lnTo>
                  <a:pt x="943" y="1867"/>
                </a:lnTo>
                <a:lnTo>
                  <a:pt x="940" y="1874"/>
                </a:lnTo>
                <a:lnTo>
                  <a:pt x="932" y="1887"/>
                </a:lnTo>
                <a:lnTo>
                  <a:pt x="922" y="1900"/>
                </a:lnTo>
                <a:lnTo>
                  <a:pt x="912" y="1913"/>
                </a:lnTo>
                <a:lnTo>
                  <a:pt x="902" y="1924"/>
                </a:lnTo>
                <a:lnTo>
                  <a:pt x="892" y="1934"/>
                </a:lnTo>
                <a:lnTo>
                  <a:pt x="875" y="1948"/>
                </a:lnTo>
                <a:lnTo>
                  <a:pt x="869" y="1955"/>
                </a:lnTo>
                <a:lnTo>
                  <a:pt x="869" y="1955"/>
                </a:lnTo>
                <a:lnTo>
                  <a:pt x="877" y="1959"/>
                </a:lnTo>
                <a:lnTo>
                  <a:pt x="888" y="1961"/>
                </a:lnTo>
                <a:lnTo>
                  <a:pt x="899" y="1962"/>
                </a:lnTo>
                <a:lnTo>
                  <a:pt x="912" y="1961"/>
                </a:lnTo>
                <a:lnTo>
                  <a:pt x="926" y="1958"/>
                </a:lnTo>
                <a:lnTo>
                  <a:pt x="941" y="1954"/>
                </a:lnTo>
                <a:lnTo>
                  <a:pt x="957" y="1947"/>
                </a:lnTo>
                <a:lnTo>
                  <a:pt x="972" y="1939"/>
                </a:lnTo>
                <a:lnTo>
                  <a:pt x="989" y="1930"/>
                </a:lnTo>
                <a:lnTo>
                  <a:pt x="1004" y="1919"/>
                </a:lnTo>
                <a:lnTo>
                  <a:pt x="1019" y="1906"/>
                </a:lnTo>
                <a:lnTo>
                  <a:pt x="1035" y="1891"/>
                </a:lnTo>
                <a:lnTo>
                  <a:pt x="1048" y="1874"/>
                </a:lnTo>
                <a:lnTo>
                  <a:pt x="1061" y="1855"/>
                </a:lnTo>
                <a:lnTo>
                  <a:pt x="1073" y="1835"/>
                </a:lnTo>
                <a:lnTo>
                  <a:pt x="1083" y="1814"/>
                </a:lnTo>
                <a:lnTo>
                  <a:pt x="1083" y="1814"/>
                </a:lnTo>
                <a:lnTo>
                  <a:pt x="1086" y="1805"/>
                </a:lnTo>
                <a:lnTo>
                  <a:pt x="1089" y="1799"/>
                </a:lnTo>
                <a:lnTo>
                  <a:pt x="1092" y="1794"/>
                </a:lnTo>
                <a:lnTo>
                  <a:pt x="1096" y="1790"/>
                </a:lnTo>
                <a:lnTo>
                  <a:pt x="1100" y="1787"/>
                </a:lnTo>
                <a:lnTo>
                  <a:pt x="1103" y="1784"/>
                </a:lnTo>
                <a:lnTo>
                  <a:pt x="1111" y="1781"/>
                </a:lnTo>
                <a:lnTo>
                  <a:pt x="1120" y="1778"/>
                </a:lnTo>
                <a:lnTo>
                  <a:pt x="1129" y="1774"/>
                </a:lnTo>
                <a:lnTo>
                  <a:pt x="1138" y="1768"/>
                </a:lnTo>
                <a:lnTo>
                  <a:pt x="1143" y="1763"/>
                </a:lnTo>
                <a:lnTo>
                  <a:pt x="1148" y="1758"/>
                </a:lnTo>
                <a:lnTo>
                  <a:pt x="1148" y="1758"/>
                </a:lnTo>
                <a:lnTo>
                  <a:pt x="1151" y="1752"/>
                </a:lnTo>
                <a:lnTo>
                  <a:pt x="1154" y="1746"/>
                </a:lnTo>
                <a:lnTo>
                  <a:pt x="1158" y="1740"/>
                </a:lnTo>
                <a:lnTo>
                  <a:pt x="1159" y="1734"/>
                </a:lnTo>
                <a:lnTo>
                  <a:pt x="1160" y="1719"/>
                </a:lnTo>
                <a:lnTo>
                  <a:pt x="1160" y="1705"/>
                </a:lnTo>
                <a:lnTo>
                  <a:pt x="1160" y="1690"/>
                </a:lnTo>
                <a:lnTo>
                  <a:pt x="1160" y="1676"/>
                </a:lnTo>
                <a:lnTo>
                  <a:pt x="1162" y="1661"/>
                </a:lnTo>
                <a:lnTo>
                  <a:pt x="1164" y="1655"/>
                </a:lnTo>
                <a:lnTo>
                  <a:pt x="1166" y="1649"/>
                </a:lnTo>
                <a:lnTo>
                  <a:pt x="1166" y="1649"/>
                </a:lnTo>
                <a:lnTo>
                  <a:pt x="1170" y="1643"/>
                </a:lnTo>
                <a:lnTo>
                  <a:pt x="1174" y="1638"/>
                </a:lnTo>
                <a:lnTo>
                  <a:pt x="1178" y="1633"/>
                </a:lnTo>
                <a:lnTo>
                  <a:pt x="1183" y="1628"/>
                </a:lnTo>
                <a:lnTo>
                  <a:pt x="1195" y="1620"/>
                </a:lnTo>
                <a:lnTo>
                  <a:pt x="1209" y="1614"/>
                </a:lnTo>
                <a:lnTo>
                  <a:pt x="1223" y="1609"/>
                </a:lnTo>
                <a:lnTo>
                  <a:pt x="1237" y="1605"/>
                </a:lnTo>
                <a:lnTo>
                  <a:pt x="1268" y="1597"/>
                </a:lnTo>
                <a:lnTo>
                  <a:pt x="1298" y="1591"/>
                </a:lnTo>
                <a:lnTo>
                  <a:pt x="1310" y="1587"/>
                </a:lnTo>
                <a:lnTo>
                  <a:pt x="1321" y="1581"/>
                </a:lnTo>
                <a:lnTo>
                  <a:pt x="1329" y="1575"/>
                </a:lnTo>
                <a:lnTo>
                  <a:pt x="1333" y="1572"/>
                </a:lnTo>
                <a:lnTo>
                  <a:pt x="1335" y="1568"/>
                </a:lnTo>
                <a:lnTo>
                  <a:pt x="1338" y="1564"/>
                </a:lnTo>
                <a:lnTo>
                  <a:pt x="1340" y="1559"/>
                </a:lnTo>
                <a:lnTo>
                  <a:pt x="1340" y="1554"/>
                </a:lnTo>
                <a:lnTo>
                  <a:pt x="1340" y="1549"/>
                </a:lnTo>
                <a:lnTo>
                  <a:pt x="1340" y="1549"/>
                </a:lnTo>
                <a:lnTo>
                  <a:pt x="1338" y="1534"/>
                </a:lnTo>
                <a:lnTo>
                  <a:pt x="1338" y="1521"/>
                </a:lnTo>
                <a:lnTo>
                  <a:pt x="1341" y="1509"/>
                </a:lnTo>
                <a:lnTo>
                  <a:pt x="1345" y="1499"/>
                </a:lnTo>
                <a:lnTo>
                  <a:pt x="1350" y="1488"/>
                </a:lnTo>
                <a:lnTo>
                  <a:pt x="1355" y="1480"/>
                </a:lnTo>
                <a:lnTo>
                  <a:pt x="1362" y="1472"/>
                </a:lnTo>
                <a:lnTo>
                  <a:pt x="1370" y="1465"/>
                </a:lnTo>
                <a:lnTo>
                  <a:pt x="1378" y="1459"/>
                </a:lnTo>
                <a:lnTo>
                  <a:pt x="1388" y="1453"/>
                </a:lnTo>
                <a:lnTo>
                  <a:pt x="1406" y="1443"/>
                </a:lnTo>
                <a:lnTo>
                  <a:pt x="1424" y="1435"/>
                </a:lnTo>
                <a:lnTo>
                  <a:pt x="1441" y="1428"/>
                </a:lnTo>
                <a:lnTo>
                  <a:pt x="1441" y="1428"/>
                </a:lnTo>
                <a:lnTo>
                  <a:pt x="1443" y="1428"/>
                </a:lnTo>
                <a:lnTo>
                  <a:pt x="1444" y="1429"/>
                </a:lnTo>
                <a:lnTo>
                  <a:pt x="1447" y="1431"/>
                </a:lnTo>
                <a:lnTo>
                  <a:pt x="1449" y="1436"/>
                </a:lnTo>
                <a:lnTo>
                  <a:pt x="1453" y="1443"/>
                </a:lnTo>
                <a:lnTo>
                  <a:pt x="1461" y="1462"/>
                </a:lnTo>
                <a:lnTo>
                  <a:pt x="1467" y="1473"/>
                </a:lnTo>
                <a:lnTo>
                  <a:pt x="1474" y="1485"/>
                </a:lnTo>
                <a:lnTo>
                  <a:pt x="1484" y="1498"/>
                </a:lnTo>
                <a:lnTo>
                  <a:pt x="1494" y="1511"/>
                </a:lnTo>
                <a:lnTo>
                  <a:pt x="1506" y="1525"/>
                </a:lnTo>
                <a:lnTo>
                  <a:pt x="1522" y="1539"/>
                </a:lnTo>
                <a:lnTo>
                  <a:pt x="1539" y="1552"/>
                </a:lnTo>
                <a:lnTo>
                  <a:pt x="1559" y="1564"/>
                </a:lnTo>
                <a:lnTo>
                  <a:pt x="1583" y="1576"/>
                </a:lnTo>
                <a:lnTo>
                  <a:pt x="1609" y="1587"/>
                </a:lnTo>
                <a:lnTo>
                  <a:pt x="1609" y="1587"/>
                </a:lnTo>
                <a:lnTo>
                  <a:pt x="1684" y="1556"/>
                </a:lnTo>
                <a:lnTo>
                  <a:pt x="1730" y="1534"/>
                </a:lnTo>
                <a:lnTo>
                  <a:pt x="1757" y="1521"/>
                </a:lnTo>
                <a:lnTo>
                  <a:pt x="1786" y="1506"/>
                </a:lnTo>
                <a:lnTo>
                  <a:pt x="1786" y="1506"/>
                </a:lnTo>
                <a:lnTo>
                  <a:pt x="1818" y="1489"/>
                </a:lnTo>
                <a:lnTo>
                  <a:pt x="1848" y="1472"/>
                </a:lnTo>
                <a:lnTo>
                  <a:pt x="1860" y="1464"/>
                </a:lnTo>
                <a:lnTo>
                  <a:pt x="1871" y="1457"/>
                </a:lnTo>
                <a:lnTo>
                  <a:pt x="1881" y="1449"/>
                </a:lnTo>
                <a:lnTo>
                  <a:pt x="1889" y="1442"/>
                </a:lnTo>
                <a:lnTo>
                  <a:pt x="1889" y="1442"/>
                </a:lnTo>
                <a:lnTo>
                  <a:pt x="1888" y="1440"/>
                </a:lnTo>
                <a:lnTo>
                  <a:pt x="1887" y="1438"/>
                </a:lnTo>
                <a:lnTo>
                  <a:pt x="1879" y="1431"/>
                </a:lnTo>
                <a:lnTo>
                  <a:pt x="1868" y="1420"/>
                </a:lnTo>
                <a:lnTo>
                  <a:pt x="1855" y="1406"/>
                </a:lnTo>
                <a:lnTo>
                  <a:pt x="1840" y="1388"/>
                </a:lnTo>
                <a:lnTo>
                  <a:pt x="1825" y="1369"/>
                </a:lnTo>
                <a:lnTo>
                  <a:pt x="1818" y="1358"/>
                </a:lnTo>
                <a:lnTo>
                  <a:pt x="1812" y="1345"/>
                </a:lnTo>
                <a:lnTo>
                  <a:pt x="1807" y="1334"/>
                </a:lnTo>
                <a:lnTo>
                  <a:pt x="1802" y="1321"/>
                </a:lnTo>
                <a:lnTo>
                  <a:pt x="1802" y="1321"/>
                </a:lnTo>
                <a:lnTo>
                  <a:pt x="1799" y="1308"/>
                </a:lnTo>
                <a:lnTo>
                  <a:pt x="1796" y="1297"/>
                </a:lnTo>
                <a:lnTo>
                  <a:pt x="1794" y="1288"/>
                </a:lnTo>
                <a:lnTo>
                  <a:pt x="1794" y="1279"/>
                </a:lnTo>
                <a:lnTo>
                  <a:pt x="1794" y="1272"/>
                </a:lnTo>
                <a:lnTo>
                  <a:pt x="1794" y="1267"/>
                </a:lnTo>
                <a:lnTo>
                  <a:pt x="1795" y="1263"/>
                </a:lnTo>
                <a:lnTo>
                  <a:pt x="1796" y="1261"/>
                </a:lnTo>
                <a:lnTo>
                  <a:pt x="1796" y="1261"/>
                </a:lnTo>
                <a:lnTo>
                  <a:pt x="1809" y="1278"/>
                </a:lnTo>
                <a:lnTo>
                  <a:pt x="1824" y="1295"/>
                </a:lnTo>
                <a:lnTo>
                  <a:pt x="1845" y="1316"/>
                </a:lnTo>
                <a:lnTo>
                  <a:pt x="1857" y="1327"/>
                </a:lnTo>
                <a:lnTo>
                  <a:pt x="1869" y="1338"/>
                </a:lnTo>
                <a:lnTo>
                  <a:pt x="1883" y="1349"/>
                </a:lnTo>
                <a:lnTo>
                  <a:pt x="1899" y="1361"/>
                </a:lnTo>
                <a:lnTo>
                  <a:pt x="1915" y="1372"/>
                </a:lnTo>
                <a:lnTo>
                  <a:pt x="1932" y="1381"/>
                </a:lnTo>
                <a:lnTo>
                  <a:pt x="1949" y="1390"/>
                </a:lnTo>
                <a:lnTo>
                  <a:pt x="1967" y="1398"/>
                </a:lnTo>
                <a:lnTo>
                  <a:pt x="1967" y="1398"/>
                </a:lnTo>
                <a:lnTo>
                  <a:pt x="2021" y="1370"/>
                </a:lnTo>
                <a:lnTo>
                  <a:pt x="2075" y="1340"/>
                </a:lnTo>
                <a:lnTo>
                  <a:pt x="2129" y="1307"/>
                </a:lnTo>
                <a:lnTo>
                  <a:pt x="2183" y="1273"/>
                </a:lnTo>
                <a:lnTo>
                  <a:pt x="2183" y="1273"/>
                </a:lnTo>
                <a:lnTo>
                  <a:pt x="2218" y="1249"/>
                </a:lnTo>
                <a:lnTo>
                  <a:pt x="2218" y="1249"/>
                </a:lnTo>
                <a:lnTo>
                  <a:pt x="2219" y="1248"/>
                </a:lnTo>
                <a:lnTo>
                  <a:pt x="2219" y="1248"/>
                </a:lnTo>
                <a:lnTo>
                  <a:pt x="2220" y="1246"/>
                </a:lnTo>
                <a:lnTo>
                  <a:pt x="2219" y="1244"/>
                </a:lnTo>
                <a:lnTo>
                  <a:pt x="2215" y="1237"/>
                </a:lnTo>
                <a:lnTo>
                  <a:pt x="2207" y="1228"/>
                </a:lnTo>
                <a:lnTo>
                  <a:pt x="2196" y="1217"/>
                </a:lnTo>
                <a:lnTo>
                  <a:pt x="2171" y="1193"/>
                </a:lnTo>
                <a:lnTo>
                  <a:pt x="2142" y="1164"/>
                </a:lnTo>
                <a:lnTo>
                  <a:pt x="2129" y="1150"/>
                </a:lnTo>
                <a:lnTo>
                  <a:pt x="2118" y="1136"/>
                </a:lnTo>
                <a:lnTo>
                  <a:pt x="2108" y="1121"/>
                </a:lnTo>
                <a:lnTo>
                  <a:pt x="2104" y="1114"/>
                </a:lnTo>
                <a:lnTo>
                  <a:pt x="2101" y="1108"/>
                </a:lnTo>
                <a:lnTo>
                  <a:pt x="2100" y="1101"/>
                </a:lnTo>
                <a:lnTo>
                  <a:pt x="2099" y="1095"/>
                </a:lnTo>
                <a:lnTo>
                  <a:pt x="2099" y="1089"/>
                </a:lnTo>
                <a:lnTo>
                  <a:pt x="2100" y="1084"/>
                </a:lnTo>
                <a:lnTo>
                  <a:pt x="2102" y="1078"/>
                </a:lnTo>
                <a:lnTo>
                  <a:pt x="2106" y="1073"/>
                </a:lnTo>
                <a:lnTo>
                  <a:pt x="2112" y="1069"/>
                </a:lnTo>
                <a:lnTo>
                  <a:pt x="2119" y="1065"/>
                </a:lnTo>
                <a:lnTo>
                  <a:pt x="2119" y="1065"/>
                </a:lnTo>
                <a:lnTo>
                  <a:pt x="2125" y="1061"/>
                </a:lnTo>
                <a:lnTo>
                  <a:pt x="2130" y="1056"/>
                </a:lnTo>
                <a:lnTo>
                  <a:pt x="2133" y="1051"/>
                </a:lnTo>
                <a:lnTo>
                  <a:pt x="2135" y="1045"/>
                </a:lnTo>
                <a:lnTo>
                  <a:pt x="2136" y="1039"/>
                </a:lnTo>
                <a:lnTo>
                  <a:pt x="2136" y="1030"/>
                </a:lnTo>
                <a:lnTo>
                  <a:pt x="2136" y="1023"/>
                </a:lnTo>
                <a:lnTo>
                  <a:pt x="2134" y="1014"/>
                </a:lnTo>
                <a:lnTo>
                  <a:pt x="2129" y="997"/>
                </a:lnTo>
                <a:lnTo>
                  <a:pt x="2121" y="977"/>
                </a:lnTo>
                <a:lnTo>
                  <a:pt x="2102" y="935"/>
                </a:lnTo>
                <a:lnTo>
                  <a:pt x="2093" y="914"/>
                </a:lnTo>
                <a:lnTo>
                  <a:pt x="2085" y="893"/>
                </a:lnTo>
                <a:lnTo>
                  <a:pt x="2078" y="873"/>
                </a:lnTo>
                <a:lnTo>
                  <a:pt x="2076" y="863"/>
                </a:lnTo>
                <a:lnTo>
                  <a:pt x="2074" y="853"/>
                </a:lnTo>
                <a:lnTo>
                  <a:pt x="2074" y="844"/>
                </a:lnTo>
                <a:lnTo>
                  <a:pt x="2074" y="836"/>
                </a:lnTo>
                <a:lnTo>
                  <a:pt x="2075" y="828"/>
                </a:lnTo>
                <a:lnTo>
                  <a:pt x="2077" y="821"/>
                </a:lnTo>
                <a:lnTo>
                  <a:pt x="2080" y="814"/>
                </a:lnTo>
                <a:lnTo>
                  <a:pt x="2085" y="807"/>
                </a:lnTo>
                <a:lnTo>
                  <a:pt x="2091" y="801"/>
                </a:lnTo>
                <a:lnTo>
                  <a:pt x="2099" y="797"/>
                </a:lnTo>
                <a:lnTo>
                  <a:pt x="2099" y="797"/>
                </a:lnTo>
                <a:lnTo>
                  <a:pt x="2200" y="744"/>
                </a:lnTo>
                <a:lnTo>
                  <a:pt x="2306" y="693"/>
                </a:lnTo>
                <a:lnTo>
                  <a:pt x="2410" y="642"/>
                </a:lnTo>
                <a:lnTo>
                  <a:pt x="2513" y="592"/>
                </a:lnTo>
                <a:lnTo>
                  <a:pt x="2705" y="501"/>
                </a:lnTo>
                <a:lnTo>
                  <a:pt x="2788" y="461"/>
                </a:lnTo>
                <a:lnTo>
                  <a:pt x="2863" y="424"/>
                </a:lnTo>
                <a:lnTo>
                  <a:pt x="2863" y="424"/>
                </a:lnTo>
                <a:lnTo>
                  <a:pt x="2859" y="408"/>
                </a:lnTo>
                <a:lnTo>
                  <a:pt x="2853" y="389"/>
                </a:lnTo>
                <a:lnTo>
                  <a:pt x="2843" y="366"/>
                </a:lnTo>
                <a:lnTo>
                  <a:pt x="2836" y="354"/>
                </a:lnTo>
                <a:lnTo>
                  <a:pt x="2829" y="339"/>
                </a:lnTo>
                <a:lnTo>
                  <a:pt x="2821" y="325"/>
                </a:lnTo>
                <a:lnTo>
                  <a:pt x="2812" y="311"/>
                </a:lnTo>
                <a:lnTo>
                  <a:pt x="2801" y="296"/>
                </a:lnTo>
                <a:lnTo>
                  <a:pt x="2788" y="281"/>
                </a:lnTo>
                <a:lnTo>
                  <a:pt x="2774" y="267"/>
                </a:lnTo>
                <a:lnTo>
                  <a:pt x="2759" y="25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5" name="Freeform 32"/>
          <p:cNvSpPr>
            <a:spLocks/>
          </p:cNvSpPr>
          <p:nvPr userDrawn="1"/>
        </p:nvSpPr>
        <p:spPr bwMode="auto">
          <a:xfrm>
            <a:off x="7194550" y="1861840"/>
            <a:ext cx="161925" cy="153988"/>
          </a:xfrm>
          <a:custGeom>
            <a:avLst/>
            <a:gdLst>
              <a:gd name="T0" fmla="*/ 2 w 1226"/>
              <a:gd name="T1" fmla="*/ 386 h 1168"/>
              <a:gd name="T2" fmla="*/ 22 w 1226"/>
              <a:gd name="T3" fmla="*/ 434 h 1168"/>
              <a:gd name="T4" fmla="*/ 61 w 1226"/>
              <a:gd name="T5" fmla="*/ 466 h 1168"/>
              <a:gd name="T6" fmla="*/ 120 w 1226"/>
              <a:gd name="T7" fmla="*/ 479 h 1168"/>
              <a:gd name="T8" fmla="*/ 142 w 1226"/>
              <a:gd name="T9" fmla="*/ 469 h 1168"/>
              <a:gd name="T10" fmla="*/ 160 w 1226"/>
              <a:gd name="T11" fmla="*/ 436 h 1168"/>
              <a:gd name="T12" fmla="*/ 164 w 1226"/>
              <a:gd name="T13" fmla="*/ 370 h 1168"/>
              <a:gd name="T14" fmla="*/ 174 w 1226"/>
              <a:gd name="T15" fmla="*/ 344 h 1168"/>
              <a:gd name="T16" fmla="*/ 198 w 1226"/>
              <a:gd name="T17" fmla="*/ 331 h 1168"/>
              <a:gd name="T18" fmla="*/ 223 w 1226"/>
              <a:gd name="T19" fmla="*/ 318 h 1168"/>
              <a:gd name="T20" fmla="*/ 427 w 1226"/>
              <a:gd name="T21" fmla="*/ 416 h 1168"/>
              <a:gd name="T22" fmla="*/ 628 w 1226"/>
              <a:gd name="T23" fmla="*/ 534 h 1168"/>
              <a:gd name="T24" fmla="*/ 876 w 1226"/>
              <a:gd name="T25" fmla="*/ 703 h 1168"/>
              <a:gd name="T26" fmla="*/ 868 w 1226"/>
              <a:gd name="T27" fmla="*/ 783 h 1168"/>
              <a:gd name="T28" fmla="*/ 779 w 1226"/>
              <a:gd name="T29" fmla="*/ 957 h 1168"/>
              <a:gd name="T30" fmla="*/ 753 w 1226"/>
              <a:gd name="T31" fmla="*/ 1040 h 1168"/>
              <a:gd name="T32" fmla="*/ 754 w 1226"/>
              <a:gd name="T33" fmla="*/ 1090 h 1168"/>
              <a:gd name="T34" fmla="*/ 771 w 1226"/>
              <a:gd name="T35" fmla="*/ 1130 h 1168"/>
              <a:gd name="T36" fmla="*/ 801 w 1226"/>
              <a:gd name="T37" fmla="*/ 1157 h 1168"/>
              <a:gd name="T38" fmla="*/ 842 w 1226"/>
              <a:gd name="T39" fmla="*/ 1168 h 1168"/>
              <a:gd name="T40" fmla="*/ 880 w 1226"/>
              <a:gd name="T41" fmla="*/ 1163 h 1168"/>
              <a:gd name="T42" fmla="*/ 919 w 1226"/>
              <a:gd name="T43" fmla="*/ 1140 h 1168"/>
              <a:gd name="T44" fmla="*/ 944 w 1226"/>
              <a:gd name="T45" fmla="*/ 1107 h 1168"/>
              <a:gd name="T46" fmla="*/ 952 w 1226"/>
              <a:gd name="T47" fmla="*/ 1060 h 1168"/>
              <a:gd name="T48" fmla="*/ 930 w 1226"/>
              <a:gd name="T49" fmla="*/ 1010 h 1168"/>
              <a:gd name="T50" fmla="*/ 885 w 1226"/>
              <a:gd name="T51" fmla="*/ 989 h 1168"/>
              <a:gd name="T52" fmla="*/ 919 w 1226"/>
              <a:gd name="T53" fmla="*/ 879 h 1168"/>
              <a:gd name="T54" fmla="*/ 954 w 1226"/>
              <a:gd name="T55" fmla="*/ 807 h 1168"/>
              <a:gd name="T56" fmla="*/ 1024 w 1226"/>
              <a:gd name="T57" fmla="*/ 715 h 1168"/>
              <a:gd name="T58" fmla="*/ 1095 w 1226"/>
              <a:gd name="T59" fmla="*/ 673 h 1168"/>
              <a:gd name="T60" fmla="*/ 1125 w 1226"/>
              <a:gd name="T61" fmla="*/ 670 h 1168"/>
              <a:gd name="T62" fmla="*/ 1099 w 1226"/>
              <a:gd name="T63" fmla="*/ 633 h 1168"/>
              <a:gd name="T64" fmla="*/ 1083 w 1226"/>
              <a:gd name="T65" fmla="*/ 543 h 1168"/>
              <a:gd name="T66" fmla="*/ 1096 w 1226"/>
              <a:gd name="T67" fmla="*/ 477 h 1168"/>
              <a:gd name="T68" fmla="*/ 1132 w 1226"/>
              <a:gd name="T69" fmla="*/ 395 h 1168"/>
              <a:gd name="T70" fmla="*/ 1195 w 1226"/>
              <a:gd name="T71" fmla="*/ 258 h 1168"/>
              <a:gd name="T72" fmla="*/ 1225 w 1226"/>
              <a:gd name="T73" fmla="*/ 141 h 1168"/>
              <a:gd name="T74" fmla="*/ 1217 w 1226"/>
              <a:gd name="T75" fmla="*/ 95 h 1168"/>
              <a:gd name="T76" fmla="*/ 1187 w 1226"/>
              <a:gd name="T77" fmla="*/ 55 h 1168"/>
              <a:gd name="T78" fmla="*/ 1144 w 1226"/>
              <a:gd name="T79" fmla="*/ 34 h 1168"/>
              <a:gd name="T80" fmla="*/ 1104 w 1226"/>
              <a:gd name="T81" fmla="*/ 35 h 1168"/>
              <a:gd name="T82" fmla="*/ 1061 w 1226"/>
              <a:gd name="T83" fmla="*/ 57 h 1168"/>
              <a:gd name="T84" fmla="*/ 1033 w 1226"/>
              <a:gd name="T85" fmla="*/ 94 h 1168"/>
              <a:gd name="T86" fmla="*/ 1025 w 1226"/>
              <a:gd name="T87" fmla="*/ 139 h 1168"/>
              <a:gd name="T88" fmla="*/ 1048 w 1226"/>
              <a:gd name="T89" fmla="*/ 205 h 1168"/>
              <a:gd name="T90" fmla="*/ 1095 w 1226"/>
              <a:gd name="T91" fmla="*/ 230 h 1168"/>
              <a:gd name="T92" fmla="*/ 1107 w 1226"/>
              <a:gd name="T93" fmla="*/ 240 h 1168"/>
              <a:gd name="T94" fmla="*/ 1044 w 1226"/>
              <a:gd name="T95" fmla="*/ 390 h 1168"/>
              <a:gd name="T96" fmla="*/ 975 w 1226"/>
              <a:gd name="T97" fmla="*/ 431 h 1168"/>
              <a:gd name="T98" fmla="*/ 717 w 1226"/>
              <a:gd name="T99" fmla="*/ 289 h 1168"/>
              <a:gd name="T100" fmla="*/ 529 w 1226"/>
              <a:gd name="T101" fmla="*/ 205 h 1168"/>
              <a:gd name="T102" fmla="*/ 317 w 1226"/>
              <a:gd name="T103" fmla="*/ 140 h 1168"/>
              <a:gd name="T104" fmla="*/ 378 w 1226"/>
              <a:gd name="T105" fmla="*/ 31 h 1168"/>
              <a:gd name="T106" fmla="*/ 389 w 1226"/>
              <a:gd name="T107" fmla="*/ 0 h 1168"/>
              <a:gd name="T108" fmla="*/ 367 w 1226"/>
              <a:gd name="T109" fmla="*/ 10 h 1168"/>
              <a:gd name="T110" fmla="*/ 285 w 1226"/>
              <a:gd name="T111" fmla="*/ 57 h 1168"/>
              <a:gd name="T112" fmla="*/ 211 w 1226"/>
              <a:gd name="T113" fmla="*/ 85 h 1168"/>
              <a:gd name="T114" fmla="*/ 147 w 1226"/>
              <a:gd name="T115" fmla="*/ 85 h 1168"/>
              <a:gd name="T116" fmla="*/ 114 w 1226"/>
              <a:gd name="T117" fmla="*/ 85 h 1168"/>
              <a:gd name="T118" fmla="*/ 87 w 1226"/>
              <a:gd name="T119" fmla="*/ 134 h 1168"/>
              <a:gd name="T120" fmla="*/ 42 w 1226"/>
              <a:gd name="T121" fmla="*/ 261 h 1168"/>
              <a:gd name="T122" fmla="*/ 6 w 1226"/>
              <a:gd name="T123" fmla="*/ 327 h 1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6" h="1168">
                <a:moveTo>
                  <a:pt x="1" y="345"/>
                </a:moveTo>
                <a:lnTo>
                  <a:pt x="1" y="345"/>
                </a:lnTo>
                <a:lnTo>
                  <a:pt x="0" y="359"/>
                </a:lnTo>
                <a:lnTo>
                  <a:pt x="0" y="370"/>
                </a:lnTo>
                <a:lnTo>
                  <a:pt x="2" y="386"/>
                </a:lnTo>
                <a:lnTo>
                  <a:pt x="5" y="401"/>
                </a:lnTo>
                <a:lnTo>
                  <a:pt x="8" y="409"/>
                </a:lnTo>
                <a:lnTo>
                  <a:pt x="11" y="417"/>
                </a:lnTo>
                <a:lnTo>
                  <a:pt x="16" y="425"/>
                </a:lnTo>
                <a:lnTo>
                  <a:pt x="22" y="434"/>
                </a:lnTo>
                <a:lnTo>
                  <a:pt x="28" y="442"/>
                </a:lnTo>
                <a:lnTo>
                  <a:pt x="36" y="449"/>
                </a:lnTo>
                <a:lnTo>
                  <a:pt x="36" y="449"/>
                </a:lnTo>
                <a:lnTo>
                  <a:pt x="48" y="458"/>
                </a:lnTo>
                <a:lnTo>
                  <a:pt x="61" y="466"/>
                </a:lnTo>
                <a:lnTo>
                  <a:pt x="76" y="473"/>
                </a:lnTo>
                <a:lnTo>
                  <a:pt x="91" y="478"/>
                </a:lnTo>
                <a:lnTo>
                  <a:pt x="105" y="480"/>
                </a:lnTo>
                <a:lnTo>
                  <a:pt x="113" y="480"/>
                </a:lnTo>
                <a:lnTo>
                  <a:pt x="120" y="479"/>
                </a:lnTo>
                <a:lnTo>
                  <a:pt x="126" y="478"/>
                </a:lnTo>
                <a:lnTo>
                  <a:pt x="132" y="476"/>
                </a:lnTo>
                <a:lnTo>
                  <a:pt x="137" y="473"/>
                </a:lnTo>
                <a:lnTo>
                  <a:pt x="142" y="469"/>
                </a:lnTo>
                <a:lnTo>
                  <a:pt x="142" y="469"/>
                </a:lnTo>
                <a:lnTo>
                  <a:pt x="147" y="464"/>
                </a:lnTo>
                <a:lnTo>
                  <a:pt x="152" y="457"/>
                </a:lnTo>
                <a:lnTo>
                  <a:pt x="155" y="451"/>
                </a:lnTo>
                <a:lnTo>
                  <a:pt x="158" y="444"/>
                </a:lnTo>
                <a:lnTo>
                  <a:pt x="160" y="436"/>
                </a:lnTo>
                <a:lnTo>
                  <a:pt x="161" y="428"/>
                </a:lnTo>
                <a:lnTo>
                  <a:pt x="162" y="411"/>
                </a:lnTo>
                <a:lnTo>
                  <a:pt x="162" y="395"/>
                </a:lnTo>
                <a:lnTo>
                  <a:pt x="163" y="378"/>
                </a:lnTo>
                <a:lnTo>
                  <a:pt x="164" y="370"/>
                </a:lnTo>
                <a:lnTo>
                  <a:pt x="166" y="362"/>
                </a:lnTo>
                <a:lnTo>
                  <a:pt x="168" y="355"/>
                </a:lnTo>
                <a:lnTo>
                  <a:pt x="172" y="347"/>
                </a:lnTo>
                <a:lnTo>
                  <a:pt x="172" y="347"/>
                </a:lnTo>
                <a:lnTo>
                  <a:pt x="174" y="344"/>
                </a:lnTo>
                <a:lnTo>
                  <a:pt x="178" y="341"/>
                </a:lnTo>
                <a:lnTo>
                  <a:pt x="187" y="335"/>
                </a:lnTo>
                <a:lnTo>
                  <a:pt x="195" y="332"/>
                </a:lnTo>
                <a:lnTo>
                  <a:pt x="198" y="331"/>
                </a:lnTo>
                <a:lnTo>
                  <a:pt x="198" y="331"/>
                </a:lnTo>
                <a:lnTo>
                  <a:pt x="205" y="329"/>
                </a:lnTo>
                <a:lnTo>
                  <a:pt x="211" y="326"/>
                </a:lnTo>
                <a:lnTo>
                  <a:pt x="217" y="323"/>
                </a:lnTo>
                <a:lnTo>
                  <a:pt x="223" y="318"/>
                </a:lnTo>
                <a:lnTo>
                  <a:pt x="223" y="318"/>
                </a:lnTo>
                <a:lnTo>
                  <a:pt x="264" y="337"/>
                </a:lnTo>
                <a:lnTo>
                  <a:pt x="305" y="355"/>
                </a:lnTo>
                <a:lnTo>
                  <a:pt x="347" y="374"/>
                </a:lnTo>
                <a:lnTo>
                  <a:pt x="388" y="395"/>
                </a:lnTo>
                <a:lnTo>
                  <a:pt x="427" y="416"/>
                </a:lnTo>
                <a:lnTo>
                  <a:pt x="468" y="439"/>
                </a:lnTo>
                <a:lnTo>
                  <a:pt x="509" y="461"/>
                </a:lnTo>
                <a:lnTo>
                  <a:pt x="549" y="485"/>
                </a:lnTo>
                <a:lnTo>
                  <a:pt x="589" y="509"/>
                </a:lnTo>
                <a:lnTo>
                  <a:pt x="628" y="534"/>
                </a:lnTo>
                <a:lnTo>
                  <a:pt x="706" y="584"/>
                </a:lnTo>
                <a:lnTo>
                  <a:pt x="782" y="636"/>
                </a:lnTo>
                <a:lnTo>
                  <a:pt x="857" y="689"/>
                </a:lnTo>
                <a:lnTo>
                  <a:pt x="857" y="689"/>
                </a:lnTo>
                <a:lnTo>
                  <a:pt x="876" y="703"/>
                </a:lnTo>
                <a:lnTo>
                  <a:pt x="894" y="714"/>
                </a:lnTo>
                <a:lnTo>
                  <a:pt x="894" y="714"/>
                </a:lnTo>
                <a:lnTo>
                  <a:pt x="887" y="736"/>
                </a:lnTo>
                <a:lnTo>
                  <a:pt x="878" y="759"/>
                </a:lnTo>
                <a:lnTo>
                  <a:pt x="868" y="783"/>
                </a:lnTo>
                <a:lnTo>
                  <a:pt x="856" y="809"/>
                </a:lnTo>
                <a:lnTo>
                  <a:pt x="856" y="809"/>
                </a:lnTo>
                <a:lnTo>
                  <a:pt x="816" y="885"/>
                </a:lnTo>
                <a:lnTo>
                  <a:pt x="797" y="921"/>
                </a:lnTo>
                <a:lnTo>
                  <a:pt x="779" y="957"/>
                </a:lnTo>
                <a:lnTo>
                  <a:pt x="772" y="975"/>
                </a:lnTo>
                <a:lnTo>
                  <a:pt x="766" y="992"/>
                </a:lnTo>
                <a:lnTo>
                  <a:pt x="760" y="1008"/>
                </a:lnTo>
                <a:lnTo>
                  <a:pt x="756" y="1025"/>
                </a:lnTo>
                <a:lnTo>
                  <a:pt x="753" y="1040"/>
                </a:lnTo>
                <a:lnTo>
                  <a:pt x="751" y="1054"/>
                </a:lnTo>
                <a:lnTo>
                  <a:pt x="751" y="1069"/>
                </a:lnTo>
                <a:lnTo>
                  <a:pt x="752" y="1081"/>
                </a:lnTo>
                <a:lnTo>
                  <a:pt x="752" y="1081"/>
                </a:lnTo>
                <a:lnTo>
                  <a:pt x="754" y="1090"/>
                </a:lnTo>
                <a:lnTo>
                  <a:pt x="756" y="1099"/>
                </a:lnTo>
                <a:lnTo>
                  <a:pt x="759" y="1107"/>
                </a:lnTo>
                <a:lnTo>
                  <a:pt x="762" y="1116"/>
                </a:lnTo>
                <a:lnTo>
                  <a:pt x="766" y="1123"/>
                </a:lnTo>
                <a:lnTo>
                  <a:pt x="771" y="1130"/>
                </a:lnTo>
                <a:lnTo>
                  <a:pt x="776" y="1136"/>
                </a:lnTo>
                <a:lnTo>
                  <a:pt x="781" y="1142"/>
                </a:lnTo>
                <a:lnTo>
                  <a:pt x="787" y="1147"/>
                </a:lnTo>
                <a:lnTo>
                  <a:pt x="794" y="1152"/>
                </a:lnTo>
                <a:lnTo>
                  <a:pt x="801" y="1157"/>
                </a:lnTo>
                <a:lnTo>
                  <a:pt x="808" y="1160"/>
                </a:lnTo>
                <a:lnTo>
                  <a:pt x="816" y="1163"/>
                </a:lnTo>
                <a:lnTo>
                  <a:pt x="824" y="1165"/>
                </a:lnTo>
                <a:lnTo>
                  <a:pt x="833" y="1167"/>
                </a:lnTo>
                <a:lnTo>
                  <a:pt x="842" y="1168"/>
                </a:lnTo>
                <a:lnTo>
                  <a:pt x="842" y="1168"/>
                </a:lnTo>
                <a:lnTo>
                  <a:pt x="852" y="1168"/>
                </a:lnTo>
                <a:lnTo>
                  <a:pt x="862" y="1167"/>
                </a:lnTo>
                <a:lnTo>
                  <a:pt x="871" y="1165"/>
                </a:lnTo>
                <a:lnTo>
                  <a:pt x="880" y="1163"/>
                </a:lnTo>
                <a:lnTo>
                  <a:pt x="889" y="1160"/>
                </a:lnTo>
                <a:lnTo>
                  <a:pt x="897" y="1155"/>
                </a:lnTo>
                <a:lnTo>
                  <a:pt x="905" y="1151"/>
                </a:lnTo>
                <a:lnTo>
                  <a:pt x="912" y="1146"/>
                </a:lnTo>
                <a:lnTo>
                  <a:pt x="919" y="1140"/>
                </a:lnTo>
                <a:lnTo>
                  <a:pt x="925" y="1135"/>
                </a:lnTo>
                <a:lnTo>
                  <a:pt x="931" y="1129"/>
                </a:lnTo>
                <a:lnTo>
                  <a:pt x="936" y="1122"/>
                </a:lnTo>
                <a:lnTo>
                  <a:pt x="940" y="1115"/>
                </a:lnTo>
                <a:lnTo>
                  <a:pt x="944" y="1107"/>
                </a:lnTo>
                <a:lnTo>
                  <a:pt x="947" y="1100"/>
                </a:lnTo>
                <a:lnTo>
                  <a:pt x="949" y="1092"/>
                </a:lnTo>
                <a:lnTo>
                  <a:pt x="949" y="1092"/>
                </a:lnTo>
                <a:lnTo>
                  <a:pt x="951" y="1076"/>
                </a:lnTo>
                <a:lnTo>
                  <a:pt x="952" y="1060"/>
                </a:lnTo>
                <a:lnTo>
                  <a:pt x="950" y="1048"/>
                </a:lnTo>
                <a:lnTo>
                  <a:pt x="947" y="1036"/>
                </a:lnTo>
                <a:lnTo>
                  <a:pt x="942" y="1027"/>
                </a:lnTo>
                <a:lnTo>
                  <a:pt x="937" y="1017"/>
                </a:lnTo>
                <a:lnTo>
                  <a:pt x="930" y="1010"/>
                </a:lnTo>
                <a:lnTo>
                  <a:pt x="922" y="1005"/>
                </a:lnTo>
                <a:lnTo>
                  <a:pt x="915" y="1000"/>
                </a:lnTo>
                <a:lnTo>
                  <a:pt x="908" y="996"/>
                </a:lnTo>
                <a:lnTo>
                  <a:pt x="894" y="991"/>
                </a:lnTo>
                <a:lnTo>
                  <a:pt x="885" y="989"/>
                </a:lnTo>
                <a:lnTo>
                  <a:pt x="880" y="989"/>
                </a:lnTo>
                <a:lnTo>
                  <a:pt x="880" y="989"/>
                </a:lnTo>
                <a:lnTo>
                  <a:pt x="896" y="944"/>
                </a:lnTo>
                <a:lnTo>
                  <a:pt x="908" y="908"/>
                </a:lnTo>
                <a:lnTo>
                  <a:pt x="919" y="879"/>
                </a:lnTo>
                <a:lnTo>
                  <a:pt x="919" y="879"/>
                </a:lnTo>
                <a:lnTo>
                  <a:pt x="927" y="859"/>
                </a:lnTo>
                <a:lnTo>
                  <a:pt x="937" y="841"/>
                </a:lnTo>
                <a:lnTo>
                  <a:pt x="945" y="823"/>
                </a:lnTo>
                <a:lnTo>
                  <a:pt x="954" y="807"/>
                </a:lnTo>
                <a:lnTo>
                  <a:pt x="962" y="792"/>
                </a:lnTo>
                <a:lnTo>
                  <a:pt x="971" y="777"/>
                </a:lnTo>
                <a:lnTo>
                  <a:pt x="989" y="753"/>
                </a:lnTo>
                <a:lnTo>
                  <a:pt x="1006" y="732"/>
                </a:lnTo>
                <a:lnTo>
                  <a:pt x="1024" y="715"/>
                </a:lnTo>
                <a:lnTo>
                  <a:pt x="1040" y="702"/>
                </a:lnTo>
                <a:lnTo>
                  <a:pt x="1055" y="690"/>
                </a:lnTo>
                <a:lnTo>
                  <a:pt x="1070" y="683"/>
                </a:lnTo>
                <a:lnTo>
                  <a:pt x="1083" y="677"/>
                </a:lnTo>
                <a:lnTo>
                  <a:pt x="1095" y="673"/>
                </a:lnTo>
                <a:lnTo>
                  <a:pt x="1105" y="671"/>
                </a:lnTo>
                <a:lnTo>
                  <a:pt x="1114" y="670"/>
                </a:lnTo>
                <a:lnTo>
                  <a:pt x="1120" y="670"/>
                </a:lnTo>
                <a:lnTo>
                  <a:pt x="1125" y="670"/>
                </a:lnTo>
                <a:lnTo>
                  <a:pt x="1125" y="670"/>
                </a:lnTo>
                <a:lnTo>
                  <a:pt x="1121" y="666"/>
                </a:lnTo>
                <a:lnTo>
                  <a:pt x="1116" y="661"/>
                </a:lnTo>
                <a:lnTo>
                  <a:pt x="1111" y="653"/>
                </a:lnTo>
                <a:lnTo>
                  <a:pt x="1104" y="644"/>
                </a:lnTo>
                <a:lnTo>
                  <a:pt x="1099" y="633"/>
                </a:lnTo>
                <a:lnTo>
                  <a:pt x="1093" y="620"/>
                </a:lnTo>
                <a:lnTo>
                  <a:pt x="1088" y="603"/>
                </a:lnTo>
                <a:lnTo>
                  <a:pt x="1085" y="586"/>
                </a:lnTo>
                <a:lnTo>
                  <a:pt x="1083" y="566"/>
                </a:lnTo>
                <a:lnTo>
                  <a:pt x="1083" y="543"/>
                </a:lnTo>
                <a:lnTo>
                  <a:pt x="1084" y="531"/>
                </a:lnTo>
                <a:lnTo>
                  <a:pt x="1086" y="519"/>
                </a:lnTo>
                <a:lnTo>
                  <a:pt x="1088" y="505"/>
                </a:lnTo>
                <a:lnTo>
                  <a:pt x="1092" y="491"/>
                </a:lnTo>
                <a:lnTo>
                  <a:pt x="1096" y="477"/>
                </a:lnTo>
                <a:lnTo>
                  <a:pt x="1101" y="461"/>
                </a:lnTo>
                <a:lnTo>
                  <a:pt x="1107" y="446"/>
                </a:lnTo>
                <a:lnTo>
                  <a:pt x="1115" y="430"/>
                </a:lnTo>
                <a:lnTo>
                  <a:pt x="1123" y="412"/>
                </a:lnTo>
                <a:lnTo>
                  <a:pt x="1132" y="395"/>
                </a:lnTo>
                <a:lnTo>
                  <a:pt x="1132" y="395"/>
                </a:lnTo>
                <a:lnTo>
                  <a:pt x="1152" y="358"/>
                </a:lnTo>
                <a:lnTo>
                  <a:pt x="1169" y="322"/>
                </a:lnTo>
                <a:lnTo>
                  <a:pt x="1184" y="289"/>
                </a:lnTo>
                <a:lnTo>
                  <a:pt x="1195" y="258"/>
                </a:lnTo>
                <a:lnTo>
                  <a:pt x="1206" y="227"/>
                </a:lnTo>
                <a:lnTo>
                  <a:pt x="1214" y="197"/>
                </a:lnTo>
                <a:lnTo>
                  <a:pt x="1220" y="169"/>
                </a:lnTo>
                <a:lnTo>
                  <a:pt x="1225" y="141"/>
                </a:lnTo>
                <a:lnTo>
                  <a:pt x="1225" y="141"/>
                </a:lnTo>
                <a:lnTo>
                  <a:pt x="1226" y="132"/>
                </a:lnTo>
                <a:lnTo>
                  <a:pt x="1225" y="123"/>
                </a:lnTo>
                <a:lnTo>
                  <a:pt x="1224" y="114"/>
                </a:lnTo>
                <a:lnTo>
                  <a:pt x="1221" y="104"/>
                </a:lnTo>
                <a:lnTo>
                  <a:pt x="1217" y="95"/>
                </a:lnTo>
                <a:lnTo>
                  <a:pt x="1213" y="87"/>
                </a:lnTo>
                <a:lnTo>
                  <a:pt x="1208" y="78"/>
                </a:lnTo>
                <a:lnTo>
                  <a:pt x="1202" y="70"/>
                </a:lnTo>
                <a:lnTo>
                  <a:pt x="1194" y="63"/>
                </a:lnTo>
                <a:lnTo>
                  <a:pt x="1187" y="55"/>
                </a:lnTo>
                <a:lnTo>
                  <a:pt x="1179" y="49"/>
                </a:lnTo>
                <a:lnTo>
                  <a:pt x="1171" y="44"/>
                </a:lnTo>
                <a:lnTo>
                  <a:pt x="1163" y="39"/>
                </a:lnTo>
                <a:lnTo>
                  <a:pt x="1153" y="36"/>
                </a:lnTo>
                <a:lnTo>
                  <a:pt x="1144" y="34"/>
                </a:lnTo>
                <a:lnTo>
                  <a:pt x="1134" y="32"/>
                </a:lnTo>
                <a:lnTo>
                  <a:pt x="1134" y="32"/>
                </a:lnTo>
                <a:lnTo>
                  <a:pt x="1124" y="32"/>
                </a:lnTo>
                <a:lnTo>
                  <a:pt x="1115" y="33"/>
                </a:lnTo>
                <a:lnTo>
                  <a:pt x="1104" y="35"/>
                </a:lnTo>
                <a:lnTo>
                  <a:pt x="1095" y="38"/>
                </a:lnTo>
                <a:lnTo>
                  <a:pt x="1086" y="42"/>
                </a:lnTo>
                <a:lnTo>
                  <a:pt x="1078" y="46"/>
                </a:lnTo>
                <a:lnTo>
                  <a:pt x="1070" y="52"/>
                </a:lnTo>
                <a:lnTo>
                  <a:pt x="1061" y="57"/>
                </a:lnTo>
                <a:lnTo>
                  <a:pt x="1054" y="65"/>
                </a:lnTo>
                <a:lnTo>
                  <a:pt x="1048" y="71"/>
                </a:lnTo>
                <a:lnTo>
                  <a:pt x="1042" y="78"/>
                </a:lnTo>
                <a:lnTo>
                  <a:pt x="1037" y="86"/>
                </a:lnTo>
                <a:lnTo>
                  <a:pt x="1033" y="94"/>
                </a:lnTo>
                <a:lnTo>
                  <a:pt x="1029" y="102"/>
                </a:lnTo>
                <a:lnTo>
                  <a:pt x="1027" y="111"/>
                </a:lnTo>
                <a:lnTo>
                  <a:pt x="1026" y="119"/>
                </a:lnTo>
                <a:lnTo>
                  <a:pt x="1026" y="119"/>
                </a:lnTo>
                <a:lnTo>
                  <a:pt x="1025" y="139"/>
                </a:lnTo>
                <a:lnTo>
                  <a:pt x="1026" y="158"/>
                </a:lnTo>
                <a:lnTo>
                  <a:pt x="1030" y="173"/>
                </a:lnTo>
                <a:lnTo>
                  <a:pt x="1035" y="185"/>
                </a:lnTo>
                <a:lnTo>
                  <a:pt x="1041" y="195"/>
                </a:lnTo>
                <a:lnTo>
                  <a:pt x="1048" y="205"/>
                </a:lnTo>
                <a:lnTo>
                  <a:pt x="1056" y="212"/>
                </a:lnTo>
                <a:lnTo>
                  <a:pt x="1065" y="217"/>
                </a:lnTo>
                <a:lnTo>
                  <a:pt x="1073" y="221"/>
                </a:lnTo>
                <a:lnTo>
                  <a:pt x="1081" y="225"/>
                </a:lnTo>
                <a:lnTo>
                  <a:pt x="1095" y="230"/>
                </a:lnTo>
                <a:lnTo>
                  <a:pt x="1101" y="232"/>
                </a:lnTo>
                <a:lnTo>
                  <a:pt x="1104" y="234"/>
                </a:lnTo>
                <a:lnTo>
                  <a:pt x="1107" y="237"/>
                </a:lnTo>
                <a:lnTo>
                  <a:pt x="1107" y="240"/>
                </a:lnTo>
                <a:lnTo>
                  <a:pt x="1107" y="240"/>
                </a:lnTo>
                <a:lnTo>
                  <a:pt x="1096" y="276"/>
                </a:lnTo>
                <a:lnTo>
                  <a:pt x="1084" y="309"/>
                </a:lnTo>
                <a:lnTo>
                  <a:pt x="1071" y="339"/>
                </a:lnTo>
                <a:lnTo>
                  <a:pt x="1057" y="365"/>
                </a:lnTo>
                <a:lnTo>
                  <a:pt x="1044" y="390"/>
                </a:lnTo>
                <a:lnTo>
                  <a:pt x="1031" y="411"/>
                </a:lnTo>
                <a:lnTo>
                  <a:pt x="1016" y="431"/>
                </a:lnTo>
                <a:lnTo>
                  <a:pt x="1002" y="447"/>
                </a:lnTo>
                <a:lnTo>
                  <a:pt x="1002" y="447"/>
                </a:lnTo>
                <a:lnTo>
                  <a:pt x="975" y="431"/>
                </a:lnTo>
                <a:lnTo>
                  <a:pt x="942" y="411"/>
                </a:lnTo>
                <a:lnTo>
                  <a:pt x="942" y="411"/>
                </a:lnTo>
                <a:lnTo>
                  <a:pt x="865" y="369"/>
                </a:lnTo>
                <a:lnTo>
                  <a:pt x="790" y="328"/>
                </a:lnTo>
                <a:lnTo>
                  <a:pt x="717" y="289"/>
                </a:lnTo>
                <a:lnTo>
                  <a:pt x="680" y="271"/>
                </a:lnTo>
                <a:lnTo>
                  <a:pt x="643" y="254"/>
                </a:lnTo>
                <a:lnTo>
                  <a:pt x="606" y="236"/>
                </a:lnTo>
                <a:lnTo>
                  <a:pt x="568" y="221"/>
                </a:lnTo>
                <a:lnTo>
                  <a:pt x="529" y="205"/>
                </a:lnTo>
                <a:lnTo>
                  <a:pt x="489" y="190"/>
                </a:lnTo>
                <a:lnTo>
                  <a:pt x="448" y="176"/>
                </a:lnTo>
                <a:lnTo>
                  <a:pt x="406" y="164"/>
                </a:lnTo>
                <a:lnTo>
                  <a:pt x="362" y="151"/>
                </a:lnTo>
                <a:lnTo>
                  <a:pt x="317" y="140"/>
                </a:lnTo>
                <a:lnTo>
                  <a:pt x="317" y="140"/>
                </a:lnTo>
                <a:lnTo>
                  <a:pt x="334" y="107"/>
                </a:lnTo>
                <a:lnTo>
                  <a:pt x="334" y="107"/>
                </a:lnTo>
                <a:lnTo>
                  <a:pt x="360" y="63"/>
                </a:lnTo>
                <a:lnTo>
                  <a:pt x="378" y="31"/>
                </a:lnTo>
                <a:lnTo>
                  <a:pt x="385" y="20"/>
                </a:lnTo>
                <a:lnTo>
                  <a:pt x="389" y="10"/>
                </a:lnTo>
                <a:lnTo>
                  <a:pt x="391" y="4"/>
                </a:lnTo>
                <a:lnTo>
                  <a:pt x="390" y="2"/>
                </a:lnTo>
                <a:lnTo>
                  <a:pt x="389" y="0"/>
                </a:lnTo>
                <a:lnTo>
                  <a:pt x="389" y="0"/>
                </a:lnTo>
                <a:lnTo>
                  <a:pt x="388" y="0"/>
                </a:lnTo>
                <a:lnTo>
                  <a:pt x="387" y="0"/>
                </a:lnTo>
                <a:lnTo>
                  <a:pt x="381" y="1"/>
                </a:lnTo>
                <a:lnTo>
                  <a:pt x="367" y="10"/>
                </a:lnTo>
                <a:lnTo>
                  <a:pt x="343" y="26"/>
                </a:lnTo>
                <a:lnTo>
                  <a:pt x="326" y="35"/>
                </a:lnTo>
                <a:lnTo>
                  <a:pt x="307" y="46"/>
                </a:lnTo>
                <a:lnTo>
                  <a:pt x="307" y="46"/>
                </a:lnTo>
                <a:lnTo>
                  <a:pt x="285" y="57"/>
                </a:lnTo>
                <a:lnTo>
                  <a:pt x="267" y="67"/>
                </a:lnTo>
                <a:lnTo>
                  <a:pt x="252" y="73"/>
                </a:lnTo>
                <a:lnTo>
                  <a:pt x="237" y="78"/>
                </a:lnTo>
                <a:lnTo>
                  <a:pt x="224" y="82"/>
                </a:lnTo>
                <a:lnTo>
                  <a:pt x="211" y="85"/>
                </a:lnTo>
                <a:lnTo>
                  <a:pt x="183" y="89"/>
                </a:lnTo>
                <a:lnTo>
                  <a:pt x="183" y="89"/>
                </a:lnTo>
                <a:lnTo>
                  <a:pt x="174" y="89"/>
                </a:lnTo>
                <a:lnTo>
                  <a:pt x="165" y="88"/>
                </a:lnTo>
                <a:lnTo>
                  <a:pt x="147" y="85"/>
                </a:lnTo>
                <a:lnTo>
                  <a:pt x="132" y="81"/>
                </a:lnTo>
                <a:lnTo>
                  <a:pt x="125" y="81"/>
                </a:lnTo>
                <a:lnTo>
                  <a:pt x="120" y="82"/>
                </a:lnTo>
                <a:lnTo>
                  <a:pt x="120" y="82"/>
                </a:lnTo>
                <a:lnTo>
                  <a:pt x="114" y="85"/>
                </a:lnTo>
                <a:lnTo>
                  <a:pt x="107" y="91"/>
                </a:lnTo>
                <a:lnTo>
                  <a:pt x="102" y="98"/>
                </a:lnTo>
                <a:lnTo>
                  <a:pt x="97" y="107"/>
                </a:lnTo>
                <a:lnTo>
                  <a:pt x="92" y="120"/>
                </a:lnTo>
                <a:lnTo>
                  <a:pt x="87" y="134"/>
                </a:lnTo>
                <a:lnTo>
                  <a:pt x="74" y="171"/>
                </a:lnTo>
                <a:lnTo>
                  <a:pt x="74" y="171"/>
                </a:lnTo>
                <a:lnTo>
                  <a:pt x="49" y="242"/>
                </a:lnTo>
                <a:lnTo>
                  <a:pt x="42" y="261"/>
                </a:lnTo>
                <a:lnTo>
                  <a:pt x="42" y="261"/>
                </a:lnTo>
                <a:lnTo>
                  <a:pt x="34" y="279"/>
                </a:lnTo>
                <a:lnTo>
                  <a:pt x="27" y="293"/>
                </a:lnTo>
                <a:lnTo>
                  <a:pt x="14" y="312"/>
                </a:lnTo>
                <a:lnTo>
                  <a:pt x="10" y="320"/>
                </a:lnTo>
                <a:lnTo>
                  <a:pt x="6" y="327"/>
                </a:lnTo>
                <a:lnTo>
                  <a:pt x="3" y="335"/>
                </a:lnTo>
                <a:lnTo>
                  <a:pt x="1" y="34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6" name="Freeform 33"/>
          <p:cNvSpPr>
            <a:spLocks/>
          </p:cNvSpPr>
          <p:nvPr userDrawn="1"/>
        </p:nvSpPr>
        <p:spPr bwMode="auto">
          <a:xfrm>
            <a:off x="7189787" y="1214140"/>
            <a:ext cx="39688" cy="46038"/>
          </a:xfrm>
          <a:custGeom>
            <a:avLst/>
            <a:gdLst>
              <a:gd name="T0" fmla="*/ 103 w 296"/>
              <a:gd name="T1" fmla="*/ 350 h 350"/>
              <a:gd name="T2" fmla="*/ 103 w 296"/>
              <a:gd name="T3" fmla="*/ 350 h 350"/>
              <a:gd name="T4" fmla="*/ 132 w 296"/>
              <a:gd name="T5" fmla="*/ 349 h 350"/>
              <a:gd name="T6" fmla="*/ 164 w 296"/>
              <a:gd name="T7" fmla="*/ 346 h 350"/>
              <a:gd name="T8" fmla="*/ 196 w 296"/>
              <a:gd name="T9" fmla="*/ 343 h 350"/>
              <a:gd name="T10" fmla="*/ 226 w 296"/>
              <a:gd name="T11" fmla="*/ 339 h 350"/>
              <a:gd name="T12" fmla="*/ 276 w 296"/>
              <a:gd name="T13" fmla="*/ 333 h 350"/>
              <a:gd name="T14" fmla="*/ 296 w 296"/>
              <a:gd name="T15" fmla="*/ 329 h 350"/>
              <a:gd name="T16" fmla="*/ 293 w 296"/>
              <a:gd name="T17" fmla="*/ 25 h 350"/>
              <a:gd name="T18" fmla="*/ 293 w 296"/>
              <a:gd name="T19" fmla="*/ 25 h 350"/>
              <a:gd name="T20" fmla="*/ 244 w 296"/>
              <a:gd name="T21" fmla="*/ 18 h 350"/>
              <a:gd name="T22" fmla="*/ 142 w 296"/>
              <a:gd name="T23" fmla="*/ 2 h 350"/>
              <a:gd name="T24" fmla="*/ 142 w 296"/>
              <a:gd name="T25" fmla="*/ 2 h 350"/>
              <a:gd name="T26" fmla="*/ 129 w 296"/>
              <a:gd name="T27" fmla="*/ 1 h 350"/>
              <a:gd name="T28" fmla="*/ 117 w 296"/>
              <a:gd name="T29" fmla="*/ 0 h 350"/>
              <a:gd name="T30" fmla="*/ 105 w 296"/>
              <a:gd name="T31" fmla="*/ 0 h 350"/>
              <a:gd name="T32" fmla="*/ 94 w 296"/>
              <a:gd name="T33" fmla="*/ 1 h 350"/>
              <a:gd name="T34" fmla="*/ 84 w 296"/>
              <a:gd name="T35" fmla="*/ 3 h 350"/>
              <a:gd name="T36" fmla="*/ 75 w 296"/>
              <a:gd name="T37" fmla="*/ 6 h 350"/>
              <a:gd name="T38" fmla="*/ 66 w 296"/>
              <a:gd name="T39" fmla="*/ 9 h 350"/>
              <a:gd name="T40" fmla="*/ 59 w 296"/>
              <a:gd name="T41" fmla="*/ 13 h 350"/>
              <a:gd name="T42" fmla="*/ 51 w 296"/>
              <a:gd name="T43" fmla="*/ 17 h 350"/>
              <a:gd name="T44" fmla="*/ 44 w 296"/>
              <a:gd name="T45" fmla="*/ 22 h 350"/>
              <a:gd name="T46" fmla="*/ 38 w 296"/>
              <a:gd name="T47" fmla="*/ 27 h 350"/>
              <a:gd name="T48" fmla="*/ 33 w 296"/>
              <a:gd name="T49" fmla="*/ 32 h 350"/>
              <a:gd name="T50" fmla="*/ 24 w 296"/>
              <a:gd name="T51" fmla="*/ 45 h 350"/>
              <a:gd name="T52" fmla="*/ 17 w 296"/>
              <a:gd name="T53" fmla="*/ 57 h 350"/>
              <a:gd name="T54" fmla="*/ 11 w 296"/>
              <a:gd name="T55" fmla="*/ 70 h 350"/>
              <a:gd name="T56" fmla="*/ 6 w 296"/>
              <a:gd name="T57" fmla="*/ 83 h 350"/>
              <a:gd name="T58" fmla="*/ 3 w 296"/>
              <a:gd name="T59" fmla="*/ 96 h 350"/>
              <a:gd name="T60" fmla="*/ 1 w 296"/>
              <a:gd name="T61" fmla="*/ 106 h 350"/>
              <a:gd name="T62" fmla="*/ 0 w 296"/>
              <a:gd name="T63" fmla="*/ 123 h 350"/>
              <a:gd name="T64" fmla="*/ 0 w 296"/>
              <a:gd name="T65" fmla="*/ 129 h 350"/>
              <a:gd name="T66" fmla="*/ 4 w 296"/>
              <a:gd name="T67" fmla="*/ 213 h 350"/>
              <a:gd name="T68" fmla="*/ 4 w 296"/>
              <a:gd name="T69" fmla="*/ 213 h 350"/>
              <a:gd name="T70" fmla="*/ 4 w 296"/>
              <a:gd name="T71" fmla="*/ 219 h 350"/>
              <a:gd name="T72" fmla="*/ 6 w 296"/>
              <a:gd name="T73" fmla="*/ 235 h 350"/>
              <a:gd name="T74" fmla="*/ 11 w 296"/>
              <a:gd name="T75" fmla="*/ 256 h 350"/>
              <a:gd name="T76" fmla="*/ 15 w 296"/>
              <a:gd name="T77" fmla="*/ 268 h 350"/>
              <a:gd name="T78" fmla="*/ 19 w 296"/>
              <a:gd name="T79" fmla="*/ 282 h 350"/>
              <a:gd name="T80" fmla="*/ 24 w 296"/>
              <a:gd name="T81" fmla="*/ 294 h 350"/>
              <a:gd name="T82" fmla="*/ 31 w 296"/>
              <a:gd name="T83" fmla="*/ 306 h 350"/>
              <a:gd name="T84" fmla="*/ 39 w 296"/>
              <a:gd name="T85" fmla="*/ 319 h 350"/>
              <a:gd name="T86" fmla="*/ 48 w 296"/>
              <a:gd name="T87" fmla="*/ 329 h 350"/>
              <a:gd name="T88" fmla="*/ 53 w 296"/>
              <a:gd name="T89" fmla="*/ 333 h 350"/>
              <a:gd name="T90" fmla="*/ 60 w 296"/>
              <a:gd name="T91" fmla="*/ 337 h 350"/>
              <a:gd name="T92" fmla="*/ 66 w 296"/>
              <a:gd name="T93" fmla="*/ 341 h 350"/>
              <a:gd name="T94" fmla="*/ 72 w 296"/>
              <a:gd name="T95" fmla="*/ 344 h 350"/>
              <a:gd name="T96" fmla="*/ 79 w 296"/>
              <a:gd name="T97" fmla="*/ 346 h 350"/>
              <a:gd name="T98" fmla="*/ 86 w 296"/>
              <a:gd name="T99" fmla="*/ 348 h 350"/>
              <a:gd name="T100" fmla="*/ 94 w 296"/>
              <a:gd name="T101" fmla="*/ 349 h 350"/>
              <a:gd name="T102" fmla="*/ 103 w 296"/>
              <a:gd name="T103" fmla="*/ 35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6" h="350">
                <a:moveTo>
                  <a:pt x="103" y="350"/>
                </a:moveTo>
                <a:lnTo>
                  <a:pt x="103" y="350"/>
                </a:lnTo>
                <a:lnTo>
                  <a:pt x="132" y="349"/>
                </a:lnTo>
                <a:lnTo>
                  <a:pt x="164" y="346"/>
                </a:lnTo>
                <a:lnTo>
                  <a:pt x="196" y="343"/>
                </a:lnTo>
                <a:lnTo>
                  <a:pt x="226" y="339"/>
                </a:lnTo>
                <a:lnTo>
                  <a:pt x="276" y="333"/>
                </a:lnTo>
                <a:lnTo>
                  <a:pt x="296" y="329"/>
                </a:lnTo>
                <a:lnTo>
                  <a:pt x="293" y="25"/>
                </a:lnTo>
                <a:lnTo>
                  <a:pt x="293" y="25"/>
                </a:lnTo>
                <a:lnTo>
                  <a:pt x="244" y="18"/>
                </a:lnTo>
                <a:lnTo>
                  <a:pt x="142" y="2"/>
                </a:lnTo>
                <a:lnTo>
                  <a:pt x="142" y="2"/>
                </a:lnTo>
                <a:lnTo>
                  <a:pt x="129" y="1"/>
                </a:lnTo>
                <a:lnTo>
                  <a:pt x="117" y="0"/>
                </a:lnTo>
                <a:lnTo>
                  <a:pt x="105" y="0"/>
                </a:lnTo>
                <a:lnTo>
                  <a:pt x="94" y="1"/>
                </a:lnTo>
                <a:lnTo>
                  <a:pt x="84" y="3"/>
                </a:lnTo>
                <a:lnTo>
                  <a:pt x="75" y="6"/>
                </a:lnTo>
                <a:lnTo>
                  <a:pt x="66" y="9"/>
                </a:lnTo>
                <a:lnTo>
                  <a:pt x="59" y="13"/>
                </a:lnTo>
                <a:lnTo>
                  <a:pt x="51" y="17"/>
                </a:lnTo>
                <a:lnTo>
                  <a:pt x="44" y="22"/>
                </a:lnTo>
                <a:lnTo>
                  <a:pt x="38" y="27"/>
                </a:lnTo>
                <a:lnTo>
                  <a:pt x="33" y="32"/>
                </a:lnTo>
                <a:lnTo>
                  <a:pt x="24" y="45"/>
                </a:lnTo>
                <a:lnTo>
                  <a:pt x="17" y="57"/>
                </a:lnTo>
                <a:lnTo>
                  <a:pt x="11" y="70"/>
                </a:lnTo>
                <a:lnTo>
                  <a:pt x="6" y="83"/>
                </a:lnTo>
                <a:lnTo>
                  <a:pt x="3" y="96"/>
                </a:lnTo>
                <a:lnTo>
                  <a:pt x="1" y="106"/>
                </a:lnTo>
                <a:lnTo>
                  <a:pt x="0" y="123"/>
                </a:lnTo>
                <a:lnTo>
                  <a:pt x="0" y="129"/>
                </a:lnTo>
                <a:lnTo>
                  <a:pt x="4" y="213"/>
                </a:lnTo>
                <a:lnTo>
                  <a:pt x="4" y="213"/>
                </a:lnTo>
                <a:lnTo>
                  <a:pt x="4" y="219"/>
                </a:lnTo>
                <a:lnTo>
                  <a:pt x="6" y="235"/>
                </a:lnTo>
                <a:lnTo>
                  <a:pt x="11" y="256"/>
                </a:lnTo>
                <a:lnTo>
                  <a:pt x="15" y="268"/>
                </a:lnTo>
                <a:lnTo>
                  <a:pt x="19" y="282"/>
                </a:lnTo>
                <a:lnTo>
                  <a:pt x="24" y="294"/>
                </a:lnTo>
                <a:lnTo>
                  <a:pt x="31" y="306"/>
                </a:lnTo>
                <a:lnTo>
                  <a:pt x="39" y="319"/>
                </a:lnTo>
                <a:lnTo>
                  <a:pt x="48" y="329"/>
                </a:lnTo>
                <a:lnTo>
                  <a:pt x="53" y="333"/>
                </a:lnTo>
                <a:lnTo>
                  <a:pt x="60" y="337"/>
                </a:lnTo>
                <a:lnTo>
                  <a:pt x="66" y="341"/>
                </a:lnTo>
                <a:lnTo>
                  <a:pt x="72" y="344"/>
                </a:lnTo>
                <a:lnTo>
                  <a:pt x="79" y="346"/>
                </a:lnTo>
                <a:lnTo>
                  <a:pt x="86" y="348"/>
                </a:lnTo>
                <a:lnTo>
                  <a:pt x="94" y="349"/>
                </a:lnTo>
                <a:lnTo>
                  <a:pt x="103" y="3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7" name="Freeform 34"/>
          <p:cNvSpPr>
            <a:spLocks/>
          </p:cNvSpPr>
          <p:nvPr userDrawn="1"/>
        </p:nvSpPr>
        <p:spPr bwMode="auto">
          <a:xfrm>
            <a:off x="7237412" y="1203028"/>
            <a:ext cx="60325" cy="57150"/>
          </a:xfrm>
          <a:custGeom>
            <a:avLst/>
            <a:gdLst>
              <a:gd name="T0" fmla="*/ 450 w 450"/>
              <a:gd name="T1" fmla="*/ 290 h 425"/>
              <a:gd name="T2" fmla="*/ 450 w 450"/>
              <a:gd name="T3" fmla="*/ 225 h 425"/>
              <a:gd name="T4" fmla="*/ 449 w 450"/>
              <a:gd name="T5" fmla="*/ 54 h 425"/>
              <a:gd name="T6" fmla="*/ 444 w 450"/>
              <a:gd name="T7" fmla="*/ 20 h 425"/>
              <a:gd name="T8" fmla="*/ 436 w 450"/>
              <a:gd name="T9" fmla="*/ 3 h 425"/>
              <a:gd name="T10" fmla="*/ 429 w 450"/>
              <a:gd name="T11" fmla="*/ 0 h 425"/>
              <a:gd name="T12" fmla="*/ 367 w 450"/>
              <a:gd name="T13" fmla="*/ 2 h 425"/>
              <a:gd name="T14" fmla="*/ 362 w 450"/>
              <a:gd name="T15" fmla="*/ 14 h 425"/>
              <a:gd name="T16" fmla="*/ 347 w 450"/>
              <a:gd name="T17" fmla="*/ 59 h 425"/>
              <a:gd name="T18" fmla="*/ 325 w 450"/>
              <a:gd name="T19" fmla="*/ 2 h 425"/>
              <a:gd name="T20" fmla="*/ 261 w 450"/>
              <a:gd name="T21" fmla="*/ 2 h 425"/>
              <a:gd name="T22" fmla="*/ 242 w 450"/>
              <a:gd name="T23" fmla="*/ 16 h 425"/>
              <a:gd name="T24" fmla="*/ 224 w 450"/>
              <a:gd name="T25" fmla="*/ 64 h 425"/>
              <a:gd name="T26" fmla="*/ 192 w 450"/>
              <a:gd name="T27" fmla="*/ 4 h 425"/>
              <a:gd name="T28" fmla="*/ 135 w 450"/>
              <a:gd name="T29" fmla="*/ 6 h 425"/>
              <a:gd name="T30" fmla="*/ 127 w 450"/>
              <a:gd name="T31" fmla="*/ 11 h 425"/>
              <a:gd name="T32" fmla="*/ 110 w 450"/>
              <a:gd name="T33" fmla="*/ 53 h 425"/>
              <a:gd name="T34" fmla="*/ 86 w 450"/>
              <a:gd name="T35" fmla="*/ 6 h 425"/>
              <a:gd name="T36" fmla="*/ 38 w 450"/>
              <a:gd name="T37" fmla="*/ 6 h 425"/>
              <a:gd name="T38" fmla="*/ 25 w 450"/>
              <a:gd name="T39" fmla="*/ 10 h 425"/>
              <a:gd name="T40" fmla="*/ 10 w 450"/>
              <a:gd name="T41" fmla="*/ 28 h 425"/>
              <a:gd name="T42" fmla="*/ 1 w 450"/>
              <a:gd name="T43" fmla="*/ 55 h 425"/>
              <a:gd name="T44" fmla="*/ 1 w 450"/>
              <a:gd name="T45" fmla="*/ 141 h 425"/>
              <a:gd name="T46" fmla="*/ 5 w 450"/>
              <a:gd name="T47" fmla="*/ 324 h 425"/>
              <a:gd name="T48" fmla="*/ 27 w 450"/>
              <a:gd name="T49" fmla="*/ 401 h 425"/>
              <a:gd name="T50" fmla="*/ 54 w 450"/>
              <a:gd name="T51" fmla="*/ 396 h 425"/>
              <a:gd name="T52" fmla="*/ 74 w 450"/>
              <a:gd name="T53" fmla="*/ 384 h 425"/>
              <a:gd name="T54" fmla="*/ 83 w 450"/>
              <a:gd name="T55" fmla="*/ 374 h 425"/>
              <a:gd name="T56" fmla="*/ 100 w 450"/>
              <a:gd name="T57" fmla="*/ 341 h 425"/>
              <a:gd name="T58" fmla="*/ 105 w 450"/>
              <a:gd name="T59" fmla="*/ 317 h 425"/>
              <a:gd name="T60" fmla="*/ 105 w 450"/>
              <a:gd name="T61" fmla="*/ 367 h 425"/>
              <a:gd name="T62" fmla="*/ 108 w 450"/>
              <a:gd name="T63" fmla="*/ 420 h 425"/>
              <a:gd name="T64" fmla="*/ 116 w 450"/>
              <a:gd name="T65" fmla="*/ 424 h 425"/>
              <a:gd name="T66" fmla="*/ 150 w 450"/>
              <a:gd name="T67" fmla="*/ 423 h 425"/>
              <a:gd name="T68" fmla="*/ 176 w 450"/>
              <a:gd name="T69" fmla="*/ 412 h 425"/>
              <a:gd name="T70" fmla="*/ 189 w 450"/>
              <a:gd name="T71" fmla="*/ 402 h 425"/>
              <a:gd name="T72" fmla="*/ 209 w 450"/>
              <a:gd name="T73" fmla="*/ 368 h 425"/>
              <a:gd name="T74" fmla="*/ 224 w 450"/>
              <a:gd name="T75" fmla="*/ 317 h 425"/>
              <a:gd name="T76" fmla="*/ 225 w 450"/>
              <a:gd name="T77" fmla="*/ 381 h 425"/>
              <a:gd name="T78" fmla="*/ 229 w 450"/>
              <a:gd name="T79" fmla="*/ 419 h 425"/>
              <a:gd name="T80" fmla="*/ 237 w 450"/>
              <a:gd name="T81" fmla="*/ 421 h 425"/>
              <a:gd name="T82" fmla="*/ 266 w 450"/>
              <a:gd name="T83" fmla="*/ 418 h 425"/>
              <a:gd name="T84" fmla="*/ 300 w 450"/>
              <a:gd name="T85" fmla="*/ 405 h 425"/>
              <a:gd name="T86" fmla="*/ 309 w 450"/>
              <a:gd name="T87" fmla="*/ 397 h 425"/>
              <a:gd name="T88" fmla="*/ 331 w 450"/>
              <a:gd name="T89" fmla="*/ 367 h 425"/>
              <a:gd name="T90" fmla="*/ 342 w 450"/>
              <a:gd name="T91" fmla="*/ 334 h 425"/>
              <a:gd name="T92" fmla="*/ 345 w 450"/>
              <a:gd name="T93" fmla="*/ 346 h 425"/>
              <a:gd name="T94" fmla="*/ 348 w 450"/>
              <a:gd name="T95" fmla="*/ 391 h 425"/>
              <a:gd name="T96" fmla="*/ 379 w 450"/>
              <a:gd name="T97" fmla="*/ 386 h 425"/>
              <a:gd name="T98" fmla="*/ 404 w 450"/>
              <a:gd name="T99" fmla="*/ 375 h 425"/>
              <a:gd name="T100" fmla="*/ 425 w 450"/>
              <a:gd name="T101" fmla="*/ 360 h 425"/>
              <a:gd name="T102" fmla="*/ 439 w 450"/>
              <a:gd name="T103" fmla="*/ 342 h 425"/>
              <a:gd name="T104" fmla="*/ 448 w 450"/>
              <a:gd name="T105" fmla="*/ 311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0" h="425">
                <a:moveTo>
                  <a:pt x="448" y="311"/>
                </a:moveTo>
                <a:lnTo>
                  <a:pt x="448" y="311"/>
                </a:lnTo>
                <a:lnTo>
                  <a:pt x="450" y="290"/>
                </a:lnTo>
                <a:lnTo>
                  <a:pt x="450" y="268"/>
                </a:lnTo>
                <a:lnTo>
                  <a:pt x="450" y="225"/>
                </a:lnTo>
                <a:lnTo>
                  <a:pt x="450" y="225"/>
                </a:lnTo>
                <a:lnTo>
                  <a:pt x="449" y="64"/>
                </a:lnTo>
                <a:lnTo>
                  <a:pt x="449" y="64"/>
                </a:lnTo>
                <a:lnTo>
                  <a:pt x="449" y="54"/>
                </a:lnTo>
                <a:lnTo>
                  <a:pt x="448" y="44"/>
                </a:lnTo>
                <a:lnTo>
                  <a:pt x="447" y="33"/>
                </a:lnTo>
                <a:lnTo>
                  <a:pt x="444" y="20"/>
                </a:lnTo>
                <a:lnTo>
                  <a:pt x="441" y="10"/>
                </a:lnTo>
                <a:lnTo>
                  <a:pt x="439" y="6"/>
                </a:lnTo>
                <a:lnTo>
                  <a:pt x="436" y="3"/>
                </a:lnTo>
                <a:lnTo>
                  <a:pt x="433" y="1"/>
                </a:lnTo>
                <a:lnTo>
                  <a:pt x="429" y="0"/>
                </a:lnTo>
                <a:lnTo>
                  <a:pt x="429" y="0"/>
                </a:lnTo>
                <a:lnTo>
                  <a:pt x="396" y="0"/>
                </a:lnTo>
                <a:lnTo>
                  <a:pt x="378" y="1"/>
                </a:lnTo>
                <a:lnTo>
                  <a:pt x="367" y="2"/>
                </a:lnTo>
                <a:lnTo>
                  <a:pt x="367" y="2"/>
                </a:lnTo>
                <a:lnTo>
                  <a:pt x="364" y="7"/>
                </a:lnTo>
                <a:lnTo>
                  <a:pt x="362" y="14"/>
                </a:lnTo>
                <a:lnTo>
                  <a:pt x="356" y="33"/>
                </a:lnTo>
                <a:lnTo>
                  <a:pt x="350" y="52"/>
                </a:lnTo>
                <a:lnTo>
                  <a:pt x="347" y="59"/>
                </a:lnTo>
                <a:lnTo>
                  <a:pt x="345" y="64"/>
                </a:lnTo>
                <a:lnTo>
                  <a:pt x="325" y="2"/>
                </a:lnTo>
                <a:lnTo>
                  <a:pt x="325" y="2"/>
                </a:lnTo>
                <a:lnTo>
                  <a:pt x="309" y="1"/>
                </a:lnTo>
                <a:lnTo>
                  <a:pt x="286" y="1"/>
                </a:lnTo>
                <a:lnTo>
                  <a:pt x="261" y="2"/>
                </a:lnTo>
                <a:lnTo>
                  <a:pt x="247" y="4"/>
                </a:lnTo>
                <a:lnTo>
                  <a:pt x="247" y="4"/>
                </a:lnTo>
                <a:lnTo>
                  <a:pt x="242" y="16"/>
                </a:lnTo>
                <a:lnTo>
                  <a:pt x="236" y="34"/>
                </a:lnTo>
                <a:lnTo>
                  <a:pt x="229" y="52"/>
                </a:lnTo>
                <a:lnTo>
                  <a:pt x="224" y="64"/>
                </a:lnTo>
                <a:lnTo>
                  <a:pt x="205" y="5"/>
                </a:lnTo>
                <a:lnTo>
                  <a:pt x="205" y="5"/>
                </a:lnTo>
                <a:lnTo>
                  <a:pt x="192" y="4"/>
                </a:lnTo>
                <a:lnTo>
                  <a:pt x="168" y="4"/>
                </a:lnTo>
                <a:lnTo>
                  <a:pt x="144" y="5"/>
                </a:lnTo>
                <a:lnTo>
                  <a:pt x="135" y="6"/>
                </a:lnTo>
                <a:lnTo>
                  <a:pt x="131" y="6"/>
                </a:lnTo>
                <a:lnTo>
                  <a:pt x="131" y="6"/>
                </a:lnTo>
                <a:lnTo>
                  <a:pt x="127" y="11"/>
                </a:lnTo>
                <a:lnTo>
                  <a:pt x="124" y="18"/>
                </a:lnTo>
                <a:lnTo>
                  <a:pt x="117" y="36"/>
                </a:lnTo>
                <a:lnTo>
                  <a:pt x="110" y="53"/>
                </a:lnTo>
                <a:lnTo>
                  <a:pt x="105" y="64"/>
                </a:lnTo>
                <a:lnTo>
                  <a:pt x="86" y="6"/>
                </a:lnTo>
                <a:lnTo>
                  <a:pt x="86" y="6"/>
                </a:lnTo>
                <a:lnTo>
                  <a:pt x="69" y="6"/>
                </a:lnTo>
                <a:lnTo>
                  <a:pt x="38" y="6"/>
                </a:lnTo>
                <a:lnTo>
                  <a:pt x="38" y="6"/>
                </a:lnTo>
                <a:lnTo>
                  <a:pt x="33" y="7"/>
                </a:lnTo>
                <a:lnTo>
                  <a:pt x="29" y="8"/>
                </a:lnTo>
                <a:lnTo>
                  <a:pt x="25" y="10"/>
                </a:lnTo>
                <a:lnTo>
                  <a:pt x="21" y="12"/>
                </a:lnTo>
                <a:lnTo>
                  <a:pt x="15" y="19"/>
                </a:lnTo>
                <a:lnTo>
                  <a:pt x="10" y="28"/>
                </a:lnTo>
                <a:lnTo>
                  <a:pt x="5" y="36"/>
                </a:lnTo>
                <a:lnTo>
                  <a:pt x="2" y="46"/>
                </a:lnTo>
                <a:lnTo>
                  <a:pt x="1" y="55"/>
                </a:lnTo>
                <a:lnTo>
                  <a:pt x="0" y="63"/>
                </a:lnTo>
                <a:lnTo>
                  <a:pt x="0" y="63"/>
                </a:lnTo>
                <a:lnTo>
                  <a:pt x="1" y="141"/>
                </a:lnTo>
                <a:lnTo>
                  <a:pt x="2" y="220"/>
                </a:lnTo>
                <a:lnTo>
                  <a:pt x="2" y="220"/>
                </a:lnTo>
                <a:lnTo>
                  <a:pt x="5" y="324"/>
                </a:lnTo>
                <a:lnTo>
                  <a:pt x="8" y="402"/>
                </a:lnTo>
                <a:lnTo>
                  <a:pt x="8" y="402"/>
                </a:lnTo>
                <a:lnTo>
                  <a:pt x="27" y="401"/>
                </a:lnTo>
                <a:lnTo>
                  <a:pt x="37" y="399"/>
                </a:lnTo>
                <a:lnTo>
                  <a:pt x="45" y="398"/>
                </a:lnTo>
                <a:lnTo>
                  <a:pt x="54" y="396"/>
                </a:lnTo>
                <a:lnTo>
                  <a:pt x="62" y="393"/>
                </a:lnTo>
                <a:lnTo>
                  <a:pt x="68" y="388"/>
                </a:lnTo>
                <a:lnTo>
                  <a:pt x="74" y="384"/>
                </a:lnTo>
                <a:lnTo>
                  <a:pt x="74" y="384"/>
                </a:lnTo>
                <a:lnTo>
                  <a:pt x="79" y="379"/>
                </a:lnTo>
                <a:lnTo>
                  <a:pt x="83" y="374"/>
                </a:lnTo>
                <a:lnTo>
                  <a:pt x="90" y="363"/>
                </a:lnTo>
                <a:lnTo>
                  <a:pt x="95" y="352"/>
                </a:lnTo>
                <a:lnTo>
                  <a:pt x="100" y="341"/>
                </a:lnTo>
                <a:lnTo>
                  <a:pt x="103" y="331"/>
                </a:lnTo>
                <a:lnTo>
                  <a:pt x="104" y="324"/>
                </a:lnTo>
                <a:lnTo>
                  <a:pt x="105" y="317"/>
                </a:lnTo>
                <a:lnTo>
                  <a:pt x="105" y="317"/>
                </a:lnTo>
                <a:lnTo>
                  <a:pt x="105" y="337"/>
                </a:lnTo>
                <a:lnTo>
                  <a:pt x="105" y="367"/>
                </a:lnTo>
                <a:lnTo>
                  <a:pt x="106" y="397"/>
                </a:lnTo>
                <a:lnTo>
                  <a:pt x="108" y="420"/>
                </a:lnTo>
                <a:lnTo>
                  <a:pt x="108" y="420"/>
                </a:lnTo>
                <a:lnTo>
                  <a:pt x="108" y="421"/>
                </a:lnTo>
                <a:lnTo>
                  <a:pt x="110" y="422"/>
                </a:lnTo>
                <a:lnTo>
                  <a:pt x="116" y="424"/>
                </a:lnTo>
                <a:lnTo>
                  <a:pt x="125" y="425"/>
                </a:lnTo>
                <a:lnTo>
                  <a:pt x="136" y="425"/>
                </a:lnTo>
                <a:lnTo>
                  <a:pt x="150" y="423"/>
                </a:lnTo>
                <a:lnTo>
                  <a:pt x="163" y="418"/>
                </a:lnTo>
                <a:lnTo>
                  <a:pt x="169" y="415"/>
                </a:lnTo>
                <a:lnTo>
                  <a:pt x="176" y="412"/>
                </a:lnTo>
                <a:lnTo>
                  <a:pt x="182" y="407"/>
                </a:lnTo>
                <a:lnTo>
                  <a:pt x="189" y="402"/>
                </a:lnTo>
                <a:lnTo>
                  <a:pt x="189" y="402"/>
                </a:lnTo>
                <a:lnTo>
                  <a:pt x="197" y="392"/>
                </a:lnTo>
                <a:lnTo>
                  <a:pt x="204" y="380"/>
                </a:lnTo>
                <a:lnTo>
                  <a:pt x="209" y="368"/>
                </a:lnTo>
                <a:lnTo>
                  <a:pt x="213" y="356"/>
                </a:lnTo>
                <a:lnTo>
                  <a:pt x="220" y="333"/>
                </a:lnTo>
                <a:lnTo>
                  <a:pt x="224" y="317"/>
                </a:lnTo>
                <a:lnTo>
                  <a:pt x="224" y="317"/>
                </a:lnTo>
                <a:lnTo>
                  <a:pt x="224" y="348"/>
                </a:lnTo>
                <a:lnTo>
                  <a:pt x="225" y="381"/>
                </a:lnTo>
                <a:lnTo>
                  <a:pt x="227" y="408"/>
                </a:lnTo>
                <a:lnTo>
                  <a:pt x="228" y="417"/>
                </a:lnTo>
                <a:lnTo>
                  <a:pt x="229" y="419"/>
                </a:lnTo>
                <a:lnTo>
                  <a:pt x="230" y="420"/>
                </a:lnTo>
                <a:lnTo>
                  <a:pt x="230" y="420"/>
                </a:lnTo>
                <a:lnTo>
                  <a:pt x="237" y="421"/>
                </a:lnTo>
                <a:lnTo>
                  <a:pt x="245" y="421"/>
                </a:lnTo>
                <a:lnTo>
                  <a:pt x="255" y="420"/>
                </a:lnTo>
                <a:lnTo>
                  <a:pt x="266" y="418"/>
                </a:lnTo>
                <a:lnTo>
                  <a:pt x="277" y="415"/>
                </a:lnTo>
                <a:lnTo>
                  <a:pt x="289" y="411"/>
                </a:lnTo>
                <a:lnTo>
                  <a:pt x="300" y="405"/>
                </a:lnTo>
                <a:lnTo>
                  <a:pt x="305" y="401"/>
                </a:lnTo>
                <a:lnTo>
                  <a:pt x="309" y="397"/>
                </a:lnTo>
                <a:lnTo>
                  <a:pt x="309" y="397"/>
                </a:lnTo>
                <a:lnTo>
                  <a:pt x="317" y="387"/>
                </a:lnTo>
                <a:lnTo>
                  <a:pt x="325" y="377"/>
                </a:lnTo>
                <a:lnTo>
                  <a:pt x="331" y="367"/>
                </a:lnTo>
                <a:lnTo>
                  <a:pt x="336" y="356"/>
                </a:lnTo>
                <a:lnTo>
                  <a:pt x="339" y="345"/>
                </a:lnTo>
                <a:lnTo>
                  <a:pt x="342" y="334"/>
                </a:lnTo>
                <a:lnTo>
                  <a:pt x="345" y="317"/>
                </a:lnTo>
                <a:lnTo>
                  <a:pt x="345" y="317"/>
                </a:lnTo>
                <a:lnTo>
                  <a:pt x="345" y="346"/>
                </a:lnTo>
                <a:lnTo>
                  <a:pt x="346" y="370"/>
                </a:lnTo>
                <a:lnTo>
                  <a:pt x="348" y="391"/>
                </a:lnTo>
                <a:lnTo>
                  <a:pt x="348" y="391"/>
                </a:lnTo>
                <a:lnTo>
                  <a:pt x="362" y="390"/>
                </a:lnTo>
                <a:lnTo>
                  <a:pt x="371" y="388"/>
                </a:lnTo>
                <a:lnTo>
                  <a:pt x="379" y="386"/>
                </a:lnTo>
                <a:lnTo>
                  <a:pt x="379" y="386"/>
                </a:lnTo>
                <a:lnTo>
                  <a:pt x="393" y="380"/>
                </a:lnTo>
                <a:lnTo>
                  <a:pt x="404" y="375"/>
                </a:lnTo>
                <a:lnTo>
                  <a:pt x="415" y="368"/>
                </a:lnTo>
                <a:lnTo>
                  <a:pt x="415" y="368"/>
                </a:lnTo>
                <a:lnTo>
                  <a:pt x="425" y="360"/>
                </a:lnTo>
                <a:lnTo>
                  <a:pt x="430" y="355"/>
                </a:lnTo>
                <a:lnTo>
                  <a:pt x="435" y="349"/>
                </a:lnTo>
                <a:lnTo>
                  <a:pt x="439" y="342"/>
                </a:lnTo>
                <a:lnTo>
                  <a:pt x="443" y="333"/>
                </a:lnTo>
                <a:lnTo>
                  <a:pt x="446" y="323"/>
                </a:lnTo>
                <a:lnTo>
                  <a:pt x="448" y="3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8" name="Freeform 35"/>
          <p:cNvSpPr>
            <a:spLocks/>
          </p:cNvSpPr>
          <p:nvPr userDrawn="1"/>
        </p:nvSpPr>
        <p:spPr bwMode="auto">
          <a:xfrm>
            <a:off x="7245350" y="1206203"/>
            <a:ext cx="73025" cy="80963"/>
          </a:xfrm>
          <a:custGeom>
            <a:avLst/>
            <a:gdLst>
              <a:gd name="T0" fmla="*/ 554 w 554"/>
              <a:gd name="T1" fmla="*/ 356 h 620"/>
              <a:gd name="T2" fmla="*/ 549 w 554"/>
              <a:gd name="T3" fmla="*/ 350 h 620"/>
              <a:gd name="T4" fmla="*/ 535 w 554"/>
              <a:gd name="T5" fmla="*/ 331 h 620"/>
              <a:gd name="T6" fmla="*/ 525 w 554"/>
              <a:gd name="T7" fmla="*/ 306 h 620"/>
              <a:gd name="T8" fmla="*/ 520 w 554"/>
              <a:gd name="T9" fmla="*/ 285 h 620"/>
              <a:gd name="T10" fmla="*/ 516 w 554"/>
              <a:gd name="T11" fmla="*/ 258 h 620"/>
              <a:gd name="T12" fmla="*/ 515 w 554"/>
              <a:gd name="T13" fmla="*/ 243 h 620"/>
              <a:gd name="T14" fmla="*/ 516 w 554"/>
              <a:gd name="T15" fmla="*/ 222 h 620"/>
              <a:gd name="T16" fmla="*/ 520 w 554"/>
              <a:gd name="T17" fmla="*/ 202 h 620"/>
              <a:gd name="T18" fmla="*/ 532 w 554"/>
              <a:gd name="T19" fmla="*/ 167 h 620"/>
              <a:gd name="T20" fmla="*/ 546 w 554"/>
              <a:gd name="T21" fmla="*/ 142 h 620"/>
              <a:gd name="T22" fmla="*/ 551 w 554"/>
              <a:gd name="T23" fmla="*/ 43 h 620"/>
              <a:gd name="T24" fmla="*/ 542 w 554"/>
              <a:gd name="T25" fmla="*/ 36 h 620"/>
              <a:gd name="T26" fmla="*/ 504 w 554"/>
              <a:gd name="T27" fmla="*/ 13 h 620"/>
              <a:gd name="T28" fmla="*/ 482 w 554"/>
              <a:gd name="T29" fmla="*/ 2 h 620"/>
              <a:gd name="T30" fmla="*/ 470 w 554"/>
              <a:gd name="T31" fmla="*/ 0 h 620"/>
              <a:gd name="T32" fmla="*/ 465 w 554"/>
              <a:gd name="T33" fmla="*/ 327 h 620"/>
              <a:gd name="T34" fmla="*/ 465 w 554"/>
              <a:gd name="T35" fmla="*/ 339 h 620"/>
              <a:gd name="T36" fmla="*/ 458 w 554"/>
              <a:gd name="T37" fmla="*/ 360 h 620"/>
              <a:gd name="T38" fmla="*/ 444 w 554"/>
              <a:gd name="T39" fmla="*/ 382 h 620"/>
              <a:gd name="T40" fmla="*/ 426 w 554"/>
              <a:gd name="T41" fmla="*/ 402 h 620"/>
              <a:gd name="T42" fmla="*/ 405 w 554"/>
              <a:gd name="T43" fmla="*/ 421 h 620"/>
              <a:gd name="T44" fmla="*/ 380 w 554"/>
              <a:gd name="T45" fmla="*/ 437 h 620"/>
              <a:gd name="T46" fmla="*/ 353 w 554"/>
              <a:gd name="T47" fmla="*/ 449 h 620"/>
              <a:gd name="T48" fmla="*/ 327 w 554"/>
              <a:gd name="T49" fmla="*/ 458 h 620"/>
              <a:gd name="T50" fmla="*/ 314 w 554"/>
              <a:gd name="T51" fmla="*/ 461 h 620"/>
              <a:gd name="T52" fmla="*/ 255 w 554"/>
              <a:gd name="T53" fmla="*/ 471 h 620"/>
              <a:gd name="T54" fmla="*/ 199 w 554"/>
              <a:gd name="T55" fmla="*/ 477 h 620"/>
              <a:gd name="T56" fmla="*/ 98 w 554"/>
              <a:gd name="T57" fmla="*/ 482 h 620"/>
              <a:gd name="T58" fmla="*/ 27 w 554"/>
              <a:gd name="T59" fmla="*/ 482 h 620"/>
              <a:gd name="T60" fmla="*/ 0 w 554"/>
              <a:gd name="T61" fmla="*/ 481 h 620"/>
              <a:gd name="T62" fmla="*/ 4 w 554"/>
              <a:gd name="T63" fmla="*/ 508 h 620"/>
              <a:gd name="T64" fmla="*/ 13 w 554"/>
              <a:gd name="T65" fmla="*/ 550 h 620"/>
              <a:gd name="T66" fmla="*/ 18 w 554"/>
              <a:gd name="T67" fmla="*/ 566 h 620"/>
              <a:gd name="T68" fmla="*/ 29 w 554"/>
              <a:gd name="T69" fmla="*/ 586 h 620"/>
              <a:gd name="T70" fmla="*/ 44 w 554"/>
              <a:gd name="T71" fmla="*/ 604 h 620"/>
              <a:gd name="T72" fmla="*/ 62 w 554"/>
              <a:gd name="T73" fmla="*/ 620 h 620"/>
              <a:gd name="T74" fmla="*/ 554 w 554"/>
              <a:gd name="T75" fmla="*/ 450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4" h="620">
                <a:moveTo>
                  <a:pt x="554" y="450"/>
                </a:moveTo>
                <a:lnTo>
                  <a:pt x="554" y="356"/>
                </a:lnTo>
                <a:lnTo>
                  <a:pt x="554" y="356"/>
                </a:lnTo>
                <a:lnTo>
                  <a:pt x="549" y="350"/>
                </a:lnTo>
                <a:lnTo>
                  <a:pt x="543" y="342"/>
                </a:lnTo>
                <a:lnTo>
                  <a:pt x="535" y="331"/>
                </a:lnTo>
                <a:lnTo>
                  <a:pt x="528" y="315"/>
                </a:lnTo>
                <a:lnTo>
                  <a:pt x="525" y="306"/>
                </a:lnTo>
                <a:lnTo>
                  <a:pt x="522" y="296"/>
                </a:lnTo>
                <a:lnTo>
                  <a:pt x="520" y="285"/>
                </a:lnTo>
                <a:lnTo>
                  <a:pt x="517" y="271"/>
                </a:lnTo>
                <a:lnTo>
                  <a:pt x="516" y="258"/>
                </a:lnTo>
                <a:lnTo>
                  <a:pt x="515" y="243"/>
                </a:lnTo>
                <a:lnTo>
                  <a:pt x="515" y="243"/>
                </a:lnTo>
                <a:lnTo>
                  <a:pt x="515" y="232"/>
                </a:lnTo>
                <a:lnTo>
                  <a:pt x="516" y="222"/>
                </a:lnTo>
                <a:lnTo>
                  <a:pt x="517" y="212"/>
                </a:lnTo>
                <a:lnTo>
                  <a:pt x="520" y="202"/>
                </a:lnTo>
                <a:lnTo>
                  <a:pt x="526" y="183"/>
                </a:lnTo>
                <a:lnTo>
                  <a:pt x="532" y="167"/>
                </a:lnTo>
                <a:lnTo>
                  <a:pt x="540" y="154"/>
                </a:lnTo>
                <a:lnTo>
                  <a:pt x="546" y="142"/>
                </a:lnTo>
                <a:lnTo>
                  <a:pt x="552" y="133"/>
                </a:lnTo>
                <a:lnTo>
                  <a:pt x="551" y="43"/>
                </a:lnTo>
                <a:lnTo>
                  <a:pt x="551" y="43"/>
                </a:lnTo>
                <a:lnTo>
                  <a:pt x="542" y="36"/>
                </a:lnTo>
                <a:lnTo>
                  <a:pt x="518" y="21"/>
                </a:lnTo>
                <a:lnTo>
                  <a:pt x="504" y="13"/>
                </a:lnTo>
                <a:lnTo>
                  <a:pt x="489" y="5"/>
                </a:lnTo>
                <a:lnTo>
                  <a:pt x="482" y="2"/>
                </a:lnTo>
                <a:lnTo>
                  <a:pt x="476" y="1"/>
                </a:lnTo>
                <a:lnTo>
                  <a:pt x="470" y="0"/>
                </a:lnTo>
                <a:lnTo>
                  <a:pt x="464" y="0"/>
                </a:lnTo>
                <a:lnTo>
                  <a:pt x="465" y="327"/>
                </a:lnTo>
                <a:lnTo>
                  <a:pt x="465" y="327"/>
                </a:lnTo>
                <a:lnTo>
                  <a:pt x="465" y="339"/>
                </a:lnTo>
                <a:lnTo>
                  <a:pt x="462" y="349"/>
                </a:lnTo>
                <a:lnTo>
                  <a:pt x="458" y="360"/>
                </a:lnTo>
                <a:lnTo>
                  <a:pt x="452" y="370"/>
                </a:lnTo>
                <a:lnTo>
                  <a:pt x="444" y="382"/>
                </a:lnTo>
                <a:lnTo>
                  <a:pt x="436" y="392"/>
                </a:lnTo>
                <a:lnTo>
                  <a:pt x="426" y="402"/>
                </a:lnTo>
                <a:lnTo>
                  <a:pt x="416" y="411"/>
                </a:lnTo>
                <a:lnTo>
                  <a:pt x="405" y="421"/>
                </a:lnTo>
                <a:lnTo>
                  <a:pt x="392" y="429"/>
                </a:lnTo>
                <a:lnTo>
                  <a:pt x="380" y="437"/>
                </a:lnTo>
                <a:lnTo>
                  <a:pt x="367" y="443"/>
                </a:lnTo>
                <a:lnTo>
                  <a:pt x="353" y="449"/>
                </a:lnTo>
                <a:lnTo>
                  <a:pt x="340" y="454"/>
                </a:lnTo>
                <a:lnTo>
                  <a:pt x="327" y="458"/>
                </a:lnTo>
                <a:lnTo>
                  <a:pt x="314" y="461"/>
                </a:lnTo>
                <a:lnTo>
                  <a:pt x="314" y="461"/>
                </a:lnTo>
                <a:lnTo>
                  <a:pt x="284" y="467"/>
                </a:lnTo>
                <a:lnTo>
                  <a:pt x="255" y="471"/>
                </a:lnTo>
                <a:lnTo>
                  <a:pt x="227" y="474"/>
                </a:lnTo>
                <a:lnTo>
                  <a:pt x="199" y="477"/>
                </a:lnTo>
                <a:lnTo>
                  <a:pt x="146" y="480"/>
                </a:lnTo>
                <a:lnTo>
                  <a:pt x="98" y="482"/>
                </a:lnTo>
                <a:lnTo>
                  <a:pt x="58" y="482"/>
                </a:lnTo>
                <a:lnTo>
                  <a:pt x="27" y="482"/>
                </a:lnTo>
                <a:lnTo>
                  <a:pt x="0" y="481"/>
                </a:lnTo>
                <a:lnTo>
                  <a:pt x="0" y="481"/>
                </a:lnTo>
                <a:lnTo>
                  <a:pt x="1" y="488"/>
                </a:lnTo>
                <a:lnTo>
                  <a:pt x="4" y="508"/>
                </a:lnTo>
                <a:lnTo>
                  <a:pt x="10" y="535"/>
                </a:lnTo>
                <a:lnTo>
                  <a:pt x="13" y="550"/>
                </a:lnTo>
                <a:lnTo>
                  <a:pt x="18" y="566"/>
                </a:lnTo>
                <a:lnTo>
                  <a:pt x="18" y="566"/>
                </a:lnTo>
                <a:lnTo>
                  <a:pt x="23" y="576"/>
                </a:lnTo>
                <a:lnTo>
                  <a:pt x="29" y="586"/>
                </a:lnTo>
                <a:lnTo>
                  <a:pt x="36" y="595"/>
                </a:lnTo>
                <a:lnTo>
                  <a:pt x="44" y="604"/>
                </a:lnTo>
                <a:lnTo>
                  <a:pt x="57" y="616"/>
                </a:lnTo>
                <a:lnTo>
                  <a:pt x="62" y="620"/>
                </a:lnTo>
                <a:lnTo>
                  <a:pt x="451" y="620"/>
                </a:lnTo>
                <a:lnTo>
                  <a:pt x="554" y="4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9" name="Freeform 36"/>
          <p:cNvSpPr>
            <a:spLocks/>
          </p:cNvSpPr>
          <p:nvPr userDrawn="1"/>
        </p:nvSpPr>
        <p:spPr bwMode="auto">
          <a:xfrm>
            <a:off x="7251700" y="1298278"/>
            <a:ext cx="57150" cy="17463"/>
          </a:xfrm>
          <a:custGeom>
            <a:avLst/>
            <a:gdLst>
              <a:gd name="T0" fmla="*/ 20 w 435"/>
              <a:gd name="T1" fmla="*/ 142 h 142"/>
              <a:gd name="T2" fmla="*/ 411 w 435"/>
              <a:gd name="T3" fmla="*/ 142 h 142"/>
              <a:gd name="T4" fmla="*/ 411 w 435"/>
              <a:gd name="T5" fmla="*/ 142 h 142"/>
              <a:gd name="T6" fmla="*/ 422 w 435"/>
              <a:gd name="T7" fmla="*/ 109 h 142"/>
              <a:gd name="T8" fmla="*/ 430 w 435"/>
              <a:gd name="T9" fmla="*/ 83 h 142"/>
              <a:gd name="T10" fmla="*/ 433 w 435"/>
              <a:gd name="T11" fmla="*/ 72 h 142"/>
              <a:gd name="T12" fmla="*/ 435 w 435"/>
              <a:gd name="T13" fmla="*/ 63 h 142"/>
              <a:gd name="T14" fmla="*/ 417 w 435"/>
              <a:gd name="T15" fmla="*/ 0 h 142"/>
              <a:gd name="T16" fmla="*/ 22 w 435"/>
              <a:gd name="T17" fmla="*/ 0 h 142"/>
              <a:gd name="T18" fmla="*/ 0 w 435"/>
              <a:gd name="T19" fmla="*/ 65 h 142"/>
              <a:gd name="T20" fmla="*/ 20 w 435"/>
              <a:gd name="T2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5" h="142">
                <a:moveTo>
                  <a:pt x="20" y="142"/>
                </a:moveTo>
                <a:lnTo>
                  <a:pt x="411" y="142"/>
                </a:lnTo>
                <a:lnTo>
                  <a:pt x="411" y="142"/>
                </a:lnTo>
                <a:lnTo>
                  <a:pt x="422" y="109"/>
                </a:lnTo>
                <a:lnTo>
                  <a:pt x="430" y="83"/>
                </a:lnTo>
                <a:lnTo>
                  <a:pt x="433" y="72"/>
                </a:lnTo>
                <a:lnTo>
                  <a:pt x="435" y="63"/>
                </a:lnTo>
                <a:lnTo>
                  <a:pt x="417" y="0"/>
                </a:lnTo>
                <a:lnTo>
                  <a:pt x="22" y="0"/>
                </a:lnTo>
                <a:lnTo>
                  <a:pt x="0" y="65"/>
                </a:lnTo>
                <a:lnTo>
                  <a:pt x="20" y="1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0" name="Freeform 37"/>
          <p:cNvSpPr>
            <a:spLocks/>
          </p:cNvSpPr>
          <p:nvPr userDrawn="1"/>
        </p:nvSpPr>
        <p:spPr bwMode="auto">
          <a:xfrm>
            <a:off x="7254875" y="1326853"/>
            <a:ext cx="57150" cy="66675"/>
          </a:xfrm>
          <a:custGeom>
            <a:avLst/>
            <a:gdLst>
              <a:gd name="T0" fmla="*/ 384 w 436"/>
              <a:gd name="T1" fmla="*/ 0 h 514"/>
              <a:gd name="T2" fmla="*/ 2 w 436"/>
              <a:gd name="T3" fmla="*/ 0 h 514"/>
              <a:gd name="T4" fmla="*/ 0 w 436"/>
              <a:gd name="T5" fmla="*/ 505 h 514"/>
              <a:gd name="T6" fmla="*/ 331 w 436"/>
              <a:gd name="T7" fmla="*/ 514 h 514"/>
              <a:gd name="T8" fmla="*/ 436 w 436"/>
              <a:gd name="T9" fmla="*/ 431 h 514"/>
              <a:gd name="T10" fmla="*/ 384 w 436"/>
              <a:gd name="T11" fmla="*/ 0 h 514"/>
            </a:gdLst>
            <a:ahLst/>
            <a:cxnLst>
              <a:cxn ang="0">
                <a:pos x="T0" y="T1"/>
              </a:cxn>
              <a:cxn ang="0">
                <a:pos x="T2" y="T3"/>
              </a:cxn>
              <a:cxn ang="0">
                <a:pos x="T4" y="T5"/>
              </a:cxn>
              <a:cxn ang="0">
                <a:pos x="T6" y="T7"/>
              </a:cxn>
              <a:cxn ang="0">
                <a:pos x="T8" y="T9"/>
              </a:cxn>
              <a:cxn ang="0">
                <a:pos x="T10" y="T11"/>
              </a:cxn>
            </a:cxnLst>
            <a:rect l="0" t="0" r="r" b="b"/>
            <a:pathLst>
              <a:path w="436" h="514">
                <a:moveTo>
                  <a:pt x="384" y="0"/>
                </a:moveTo>
                <a:lnTo>
                  <a:pt x="2" y="0"/>
                </a:lnTo>
                <a:lnTo>
                  <a:pt x="0" y="505"/>
                </a:lnTo>
                <a:lnTo>
                  <a:pt x="331" y="514"/>
                </a:lnTo>
                <a:lnTo>
                  <a:pt x="436" y="431"/>
                </a:lnTo>
                <a:lnTo>
                  <a:pt x="3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1" name="Freeform 38"/>
          <p:cNvSpPr>
            <a:spLocks/>
          </p:cNvSpPr>
          <p:nvPr userDrawn="1"/>
        </p:nvSpPr>
        <p:spPr bwMode="auto">
          <a:xfrm>
            <a:off x="7251700" y="1391940"/>
            <a:ext cx="77788" cy="68263"/>
          </a:xfrm>
          <a:custGeom>
            <a:avLst/>
            <a:gdLst>
              <a:gd name="T0" fmla="*/ 586 w 586"/>
              <a:gd name="T1" fmla="*/ 139 h 523"/>
              <a:gd name="T2" fmla="*/ 586 w 586"/>
              <a:gd name="T3" fmla="*/ 139 h 523"/>
              <a:gd name="T4" fmla="*/ 552 w 586"/>
              <a:gd name="T5" fmla="*/ 115 h 523"/>
              <a:gd name="T6" fmla="*/ 527 w 586"/>
              <a:gd name="T7" fmla="*/ 97 h 523"/>
              <a:gd name="T8" fmla="*/ 519 w 586"/>
              <a:gd name="T9" fmla="*/ 90 h 523"/>
              <a:gd name="T10" fmla="*/ 514 w 586"/>
              <a:gd name="T11" fmla="*/ 85 h 523"/>
              <a:gd name="T12" fmla="*/ 514 w 586"/>
              <a:gd name="T13" fmla="*/ 85 h 523"/>
              <a:gd name="T14" fmla="*/ 512 w 586"/>
              <a:gd name="T15" fmla="*/ 79 h 523"/>
              <a:gd name="T16" fmla="*/ 510 w 586"/>
              <a:gd name="T17" fmla="*/ 69 h 523"/>
              <a:gd name="T18" fmla="*/ 506 w 586"/>
              <a:gd name="T19" fmla="*/ 40 h 523"/>
              <a:gd name="T20" fmla="*/ 503 w 586"/>
              <a:gd name="T21" fmla="*/ 0 h 523"/>
              <a:gd name="T22" fmla="*/ 381 w 586"/>
              <a:gd name="T23" fmla="*/ 98 h 523"/>
              <a:gd name="T24" fmla="*/ 8 w 586"/>
              <a:gd name="T25" fmla="*/ 97 h 523"/>
              <a:gd name="T26" fmla="*/ 8 w 586"/>
              <a:gd name="T27" fmla="*/ 97 h 523"/>
              <a:gd name="T28" fmla="*/ 8 w 586"/>
              <a:gd name="T29" fmla="*/ 98 h 523"/>
              <a:gd name="T30" fmla="*/ 7 w 586"/>
              <a:gd name="T31" fmla="*/ 100 h 523"/>
              <a:gd name="T32" fmla="*/ 5 w 586"/>
              <a:gd name="T33" fmla="*/ 108 h 523"/>
              <a:gd name="T34" fmla="*/ 3 w 586"/>
              <a:gd name="T35" fmla="*/ 139 h 523"/>
              <a:gd name="T36" fmla="*/ 2 w 586"/>
              <a:gd name="T37" fmla="*/ 183 h 523"/>
              <a:gd name="T38" fmla="*/ 1 w 586"/>
              <a:gd name="T39" fmla="*/ 233 h 523"/>
              <a:gd name="T40" fmla="*/ 0 w 586"/>
              <a:gd name="T41" fmla="*/ 327 h 523"/>
              <a:gd name="T42" fmla="*/ 0 w 586"/>
              <a:gd name="T43" fmla="*/ 369 h 523"/>
              <a:gd name="T44" fmla="*/ 0 w 586"/>
              <a:gd name="T45" fmla="*/ 369 h 523"/>
              <a:gd name="T46" fmla="*/ 29 w 586"/>
              <a:gd name="T47" fmla="*/ 395 h 523"/>
              <a:gd name="T48" fmla="*/ 95 w 586"/>
              <a:gd name="T49" fmla="*/ 448 h 523"/>
              <a:gd name="T50" fmla="*/ 131 w 586"/>
              <a:gd name="T51" fmla="*/ 477 h 523"/>
              <a:gd name="T52" fmla="*/ 162 w 586"/>
              <a:gd name="T53" fmla="*/ 501 h 523"/>
              <a:gd name="T54" fmla="*/ 186 w 586"/>
              <a:gd name="T55" fmla="*/ 517 h 523"/>
              <a:gd name="T56" fmla="*/ 193 w 586"/>
              <a:gd name="T57" fmla="*/ 522 h 523"/>
              <a:gd name="T58" fmla="*/ 195 w 586"/>
              <a:gd name="T59" fmla="*/ 523 h 523"/>
              <a:gd name="T60" fmla="*/ 197 w 586"/>
              <a:gd name="T61" fmla="*/ 523 h 523"/>
              <a:gd name="T62" fmla="*/ 448 w 586"/>
              <a:gd name="T63" fmla="*/ 206 h 523"/>
              <a:gd name="T64" fmla="*/ 586 w 586"/>
              <a:gd name="T65" fmla="*/ 139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86" h="523">
                <a:moveTo>
                  <a:pt x="586" y="139"/>
                </a:moveTo>
                <a:lnTo>
                  <a:pt x="586" y="139"/>
                </a:lnTo>
                <a:lnTo>
                  <a:pt x="552" y="115"/>
                </a:lnTo>
                <a:lnTo>
                  <a:pt x="527" y="97"/>
                </a:lnTo>
                <a:lnTo>
                  <a:pt x="519" y="90"/>
                </a:lnTo>
                <a:lnTo>
                  <a:pt x="514" y="85"/>
                </a:lnTo>
                <a:lnTo>
                  <a:pt x="514" y="85"/>
                </a:lnTo>
                <a:lnTo>
                  <a:pt x="512" y="79"/>
                </a:lnTo>
                <a:lnTo>
                  <a:pt x="510" y="69"/>
                </a:lnTo>
                <a:lnTo>
                  <a:pt x="506" y="40"/>
                </a:lnTo>
                <a:lnTo>
                  <a:pt x="503" y="0"/>
                </a:lnTo>
                <a:lnTo>
                  <a:pt x="381" y="98"/>
                </a:lnTo>
                <a:lnTo>
                  <a:pt x="8" y="97"/>
                </a:lnTo>
                <a:lnTo>
                  <a:pt x="8" y="97"/>
                </a:lnTo>
                <a:lnTo>
                  <a:pt x="8" y="98"/>
                </a:lnTo>
                <a:lnTo>
                  <a:pt x="7" y="100"/>
                </a:lnTo>
                <a:lnTo>
                  <a:pt x="5" y="108"/>
                </a:lnTo>
                <a:lnTo>
                  <a:pt x="3" y="139"/>
                </a:lnTo>
                <a:lnTo>
                  <a:pt x="2" y="183"/>
                </a:lnTo>
                <a:lnTo>
                  <a:pt x="1" y="233"/>
                </a:lnTo>
                <a:lnTo>
                  <a:pt x="0" y="327"/>
                </a:lnTo>
                <a:lnTo>
                  <a:pt x="0" y="369"/>
                </a:lnTo>
                <a:lnTo>
                  <a:pt x="0" y="369"/>
                </a:lnTo>
                <a:lnTo>
                  <a:pt x="29" y="395"/>
                </a:lnTo>
                <a:lnTo>
                  <a:pt x="95" y="448"/>
                </a:lnTo>
                <a:lnTo>
                  <a:pt x="131" y="477"/>
                </a:lnTo>
                <a:lnTo>
                  <a:pt x="162" y="501"/>
                </a:lnTo>
                <a:lnTo>
                  <a:pt x="186" y="517"/>
                </a:lnTo>
                <a:lnTo>
                  <a:pt x="193" y="522"/>
                </a:lnTo>
                <a:lnTo>
                  <a:pt x="195" y="523"/>
                </a:lnTo>
                <a:lnTo>
                  <a:pt x="197" y="523"/>
                </a:lnTo>
                <a:lnTo>
                  <a:pt x="448" y="206"/>
                </a:lnTo>
                <a:lnTo>
                  <a:pt x="586" y="13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2" name="Freeform 39"/>
          <p:cNvSpPr>
            <a:spLocks/>
          </p:cNvSpPr>
          <p:nvPr userDrawn="1"/>
        </p:nvSpPr>
        <p:spPr bwMode="auto">
          <a:xfrm>
            <a:off x="7288212" y="1417340"/>
            <a:ext cx="115888" cy="66675"/>
          </a:xfrm>
          <a:custGeom>
            <a:avLst/>
            <a:gdLst>
              <a:gd name="T0" fmla="*/ 226 w 879"/>
              <a:gd name="T1" fmla="*/ 65 h 509"/>
              <a:gd name="T2" fmla="*/ 0 w 879"/>
              <a:gd name="T3" fmla="*/ 355 h 509"/>
              <a:gd name="T4" fmla="*/ 369 w 879"/>
              <a:gd name="T5" fmla="*/ 509 h 509"/>
              <a:gd name="T6" fmla="*/ 369 w 879"/>
              <a:gd name="T7" fmla="*/ 509 h 509"/>
              <a:gd name="T8" fmla="*/ 409 w 879"/>
              <a:gd name="T9" fmla="*/ 487 h 509"/>
              <a:gd name="T10" fmla="*/ 452 w 879"/>
              <a:gd name="T11" fmla="*/ 464 h 509"/>
              <a:gd name="T12" fmla="*/ 495 w 879"/>
              <a:gd name="T13" fmla="*/ 439 h 509"/>
              <a:gd name="T14" fmla="*/ 538 w 879"/>
              <a:gd name="T15" fmla="*/ 413 h 509"/>
              <a:gd name="T16" fmla="*/ 623 w 879"/>
              <a:gd name="T17" fmla="*/ 361 h 509"/>
              <a:gd name="T18" fmla="*/ 703 w 879"/>
              <a:gd name="T19" fmla="*/ 311 h 509"/>
              <a:gd name="T20" fmla="*/ 773 w 879"/>
              <a:gd name="T21" fmla="*/ 266 h 509"/>
              <a:gd name="T22" fmla="*/ 829 w 879"/>
              <a:gd name="T23" fmla="*/ 229 h 509"/>
              <a:gd name="T24" fmla="*/ 879 w 879"/>
              <a:gd name="T25" fmla="*/ 196 h 509"/>
              <a:gd name="T26" fmla="*/ 359 w 879"/>
              <a:gd name="T27" fmla="*/ 0 h 509"/>
              <a:gd name="T28" fmla="*/ 226 w 879"/>
              <a:gd name="T29" fmla="*/ 65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9" h="509">
                <a:moveTo>
                  <a:pt x="226" y="65"/>
                </a:moveTo>
                <a:lnTo>
                  <a:pt x="0" y="355"/>
                </a:lnTo>
                <a:lnTo>
                  <a:pt x="369" y="509"/>
                </a:lnTo>
                <a:lnTo>
                  <a:pt x="369" y="509"/>
                </a:lnTo>
                <a:lnTo>
                  <a:pt x="409" y="487"/>
                </a:lnTo>
                <a:lnTo>
                  <a:pt x="452" y="464"/>
                </a:lnTo>
                <a:lnTo>
                  <a:pt x="495" y="439"/>
                </a:lnTo>
                <a:lnTo>
                  <a:pt x="538" y="413"/>
                </a:lnTo>
                <a:lnTo>
                  <a:pt x="623" y="361"/>
                </a:lnTo>
                <a:lnTo>
                  <a:pt x="703" y="311"/>
                </a:lnTo>
                <a:lnTo>
                  <a:pt x="773" y="266"/>
                </a:lnTo>
                <a:lnTo>
                  <a:pt x="829" y="229"/>
                </a:lnTo>
                <a:lnTo>
                  <a:pt x="879" y="196"/>
                </a:lnTo>
                <a:lnTo>
                  <a:pt x="359" y="0"/>
                </a:lnTo>
                <a:lnTo>
                  <a:pt x="226" y="6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3" name="Freeform 40"/>
          <p:cNvSpPr>
            <a:spLocks/>
          </p:cNvSpPr>
          <p:nvPr userDrawn="1"/>
        </p:nvSpPr>
        <p:spPr bwMode="auto">
          <a:xfrm>
            <a:off x="7323137" y="1172865"/>
            <a:ext cx="26988" cy="123825"/>
          </a:xfrm>
          <a:custGeom>
            <a:avLst/>
            <a:gdLst>
              <a:gd name="T0" fmla="*/ 170 w 211"/>
              <a:gd name="T1" fmla="*/ 388 h 928"/>
              <a:gd name="T2" fmla="*/ 169 w 211"/>
              <a:gd name="T3" fmla="*/ 133 h 928"/>
              <a:gd name="T4" fmla="*/ 171 w 211"/>
              <a:gd name="T5" fmla="*/ 84 h 928"/>
              <a:gd name="T6" fmla="*/ 172 w 211"/>
              <a:gd name="T7" fmla="*/ 79 h 928"/>
              <a:gd name="T8" fmla="*/ 182 w 211"/>
              <a:gd name="T9" fmla="*/ 64 h 928"/>
              <a:gd name="T10" fmla="*/ 188 w 211"/>
              <a:gd name="T11" fmla="*/ 53 h 928"/>
              <a:gd name="T12" fmla="*/ 192 w 211"/>
              <a:gd name="T13" fmla="*/ 36 h 928"/>
              <a:gd name="T14" fmla="*/ 191 w 211"/>
              <a:gd name="T15" fmla="*/ 18 h 928"/>
              <a:gd name="T16" fmla="*/ 188 w 211"/>
              <a:gd name="T17" fmla="*/ 0 h 928"/>
              <a:gd name="T18" fmla="*/ 6 w 211"/>
              <a:gd name="T19" fmla="*/ 0 h 928"/>
              <a:gd name="T20" fmla="*/ 4 w 211"/>
              <a:gd name="T21" fmla="*/ 8 h 928"/>
              <a:gd name="T22" fmla="*/ 5 w 211"/>
              <a:gd name="T23" fmla="*/ 33 h 928"/>
              <a:gd name="T24" fmla="*/ 7 w 211"/>
              <a:gd name="T25" fmla="*/ 43 h 928"/>
              <a:gd name="T26" fmla="*/ 17 w 211"/>
              <a:gd name="T27" fmla="*/ 65 h 928"/>
              <a:gd name="T28" fmla="*/ 28 w 211"/>
              <a:gd name="T29" fmla="*/ 80 h 928"/>
              <a:gd name="T30" fmla="*/ 33 w 211"/>
              <a:gd name="T31" fmla="*/ 388 h 928"/>
              <a:gd name="T32" fmla="*/ 29 w 211"/>
              <a:gd name="T33" fmla="*/ 395 h 928"/>
              <a:gd name="T34" fmla="*/ 19 w 211"/>
              <a:gd name="T35" fmla="*/ 412 h 928"/>
              <a:gd name="T36" fmla="*/ 9 w 211"/>
              <a:gd name="T37" fmla="*/ 443 h 928"/>
              <a:gd name="T38" fmla="*/ 0 w 211"/>
              <a:gd name="T39" fmla="*/ 487 h 928"/>
              <a:gd name="T40" fmla="*/ 0 w 211"/>
              <a:gd name="T41" fmla="*/ 498 h 928"/>
              <a:gd name="T42" fmla="*/ 1 w 211"/>
              <a:gd name="T43" fmla="*/ 518 h 928"/>
              <a:gd name="T44" fmla="*/ 10 w 211"/>
              <a:gd name="T45" fmla="*/ 546 h 928"/>
              <a:gd name="T46" fmla="*/ 23 w 211"/>
              <a:gd name="T47" fmla="*/ 576 h 928"/>
              <a:gd name="T48" fmla="*/ 35 w 211"/>
              <a:gd name="T49" fmla="*/ 594 h 928"/>
              <a:gd name="T50" fmla="*/ 31 w 211"/>
              <a:gd name="T51" fmla="*/ 850 h 928"/>
              <a:gd name="T52" fmla="*/ 23 w 211"/>
              <a:gd name="T53" fmla="*/ 859 h 928"/>
              <a:gd name="T54" fmla="*/ 18 w 211"/>
              <a:gd name="T55" fmla="*/ 871 h 928"/>
              <a:gd name="T56" fmla="*/ 14 w 211"/>
              <a:gd name="T57" fmla="*/ 888 h 928"/>
              <a:gd name="T58" fmla="*/ 14 w 211"/>
              <a:gd name="T59" fmla="*/ 898 h 928"/>
              <a:gd name="T60" fmla="*/ 15 w 211"/>
              <a:gd name="T61" fmla="*/ 919 h 928"/>
              <a:gd name="T62" fmla="*/ 18 w 211"/>
              <a:gd name="T63" fmla="*/ 928 h 928"/>
              <a:gd name="T64" fmla="*/ 188 w 211"/>
              <a:gd name="T65" fmla="*/ 928 h 928"/>
              <a:gd name="T66" fmla="*/ 191 w 211"/>
              <a:gd name="T67" fmla="*/ 906 h 928"/>
              <a:gd name="T68" fmla="*/ 190 w 211"/>
              <a:gd name="T69" fmla="*/ 881 h 928"/>
              <a:gd name="T70" fmla="*/ 188 w 211"/>
              <a:gd name="T71" fmla="*/ 873 h 928"/>
              <a:gd name="T72" fmla="*/ 179 w 211"/>
              <a:gd name="T73" fmla="*/ 857 h 928"/>
              <a:gd name="T74" fmla="*/ 169 w 211"/>
              <a:gd name="T75" fmla="*/ 846 h 928"/>
              <a:gd name="T76" fmla="*/ 168 w 211"/>
              <a:gd name="T77" fmla="*/ 594 h 928"/>
              <a:gd name="T78" fmla="*/ 190 w 211"/>
              <a:gd name="T79" fmla="*/ 561 h 928"/>
              <a:gd name="T80" fmla="*/ 202 w 211"/>
              <a:gd name="T81" fmla="*/ 537 h 928"/>
              <a:gd name="T82" fmla="*/ 210 w 211"/>
              <a:gd name="T83" fmla="*/ 507 h 928"/>
              <a:gd name="T84" fmla="*/ 211 w 211"/>
              <a:gd name="T85" fmla="*/ 491 h 928"/>
              <a:gd name="T86" fmla="*/ 211 w 211"/>
              <a:gd name="T87" fmla="*/ 482 h 928"/>
              <a:gd name="T88" fmla="*/ 206 w 211"/>
              <a:gd name="T89" fmla="*/ 458 h 928"/>
              <a:gd name="T90" fmla="*/ 195 w 211"/>
              <a:gd name="T91" fmla="*/ 428 h 928"/>
              <a:gd name="T92" fmla="*/ 181 w 211"/>
              <a:gd name="T93" fmla="*/ 405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1" h="928">
                <a:moveTo>
                  <a:pt x="170" y="388"/>
                </a:moveTo>
                <a:lnTo>
                  <a:pt x="170" y="388"/>
                </a:lnTo>
                <a:lnTo>
                  <a:pt x="169" y="238"/>
                </a:lnTo>
                <a:lnTo>
                  <a:pt x="169" y="133"/>
                </a:lnTo>
                <a:lnTo>
                  <a:pt x="170" y="96"/>
                </a:lnTo>
                <a:lnTo>
                  <a:pt x="171" y="84"/>
                </a:lnTo>
                <a:lnTo>
                  <a:pt x="172" y="79"/>
                </a:lnTo>
                <a:lnTo>
                  <a:pt x="172" y="79"/>
                </a:lnTo>
                <a:lnTo>
                  <a:pt x="177" y="71"/>
                </a:lnTo>
                <a:lnTo>
                  <a:pt x="182" y="64"/>
                </a:lnTo>
                <a:lnTo>
                  <a:pt x="188" y="53"/>
                </a:lnTo>
                <a:lnTo>
                  <a:pt x="188" y="53"/>
                </a:lnTo>
                <a:lnTo>
                  <a:pt x="191" y="45"/>
                </a:lnTo>
                <a:lnTo>
                  <a:pt x="192" y="36"/>
                </a:lnTo>
                <a:lnTo>
                  <a:pt x="192" y="28"/>
                </a:lnTo>
                <a:lnTo>
                  <a:pt x="191" y="18"/>
                </a:lnTo>
                <a:lnTo>
                  <a:pt x="189" y="5"/>
                </a:lnTo>
                <a:lnTo>
                  <a:pt x="188" y="0"/>
                </a:lnTo>
                <a:lnTo>
                  <a:pt x="6" y="0"/>
                </a:lnTo>
                <a:lnTo>
                  <a:pt x="6" y="0"/>
                </a:lnTo>
                <a:lnTo>
                  <a:pt x="5" y="4"/>
                </a:lnTo>
                <a:lnTo>
                  <a:pt x="4" y="8"/>
                </a:lnTo>
                <a:lnTo>
                  <a:pt x="4" y="20"/>
                </a:lnTo>
                <a:lnTo>
                  <a:pt x="5" y="33"/>
                </a:lnTo>
                <a:lnTo>
                  <a:pt x="7" y="43"/>
                </a:lnTo>
                <a:lnTo>
                  <a:pt x="7" y="43"/>
                </a:lnTo>
                <a:lnTo>
                  <a:pt x="11" y="54"/>
                </a:lnTo>
                <a:lnTo>
                  <a:pt x="17" y="65"/>
                </a:lnTo>
                <a:lnTo>
                  <a:pt x="24" y="76"/>
                </a:lnTo>
                <a:lnTo>
                  <a:pt x="28" y="80"/>
                </a:lnTo>
                <a:lnTo>
                  <a:pt x="33" y="83"/>
                </a:lnTo>
                <a:lnTo>
                  <a:pt x="33" y="388"/>
                </a:lnTo>
                <a:lnTo>
                  <a:pt x="33" y="388"/>
                </a:lnTo>
                <a:lnTo>
                  <a:pt x="29" y="395"/>
                </a:lnTo>
                <a:lnTo>
                  <a:pt x="24" y="402"/>
                </a:lnTo>
                <a:lnTo>
                  <a:pt x="19" y="412"/>
                </a:lnTo>
                <a:lnTo>
                  <a:pt x="14" y="426"/>
                </a:lnTo>
                <a:lnTo>
                  <a:pt x="9" y="443"/>
                </a:lnTo>
                <a:lnTo>
                  <a:pt x="4" y="463"/>
                </a:lnTo>
                <a:lnTo>
                  <a:pt x="0" y="487"/>
                </a:lnTo>
                <a:lnTo>
                  <a:pt x="0" y="487"/>
                </a:lnTo>
                <a:lnTo>
                  <a:pt x="0" y="498"/>
                </a:lnTo>
                <a:lnTo>
                  <a:pt x="0" y="508"/>
                </a:lnTo>
                <a:lnTo>
                  <a:pt x="1" y="518"/>
                </a:lnTo>
                <a:lnTo>
                  <a:pt x="4" y="529"/>
                </a:lnTo>
                <a:lnTo>
                  <a:pt x="10" y="546"/>
                </a:lnTo>
                <a:lnTo>
                  <a:pt x="16" y="562"/>
                </a:lnTo>
                <a:lnTo>
                  <a:pt x="23" y="576"/>
                </a:lnTo>
                <a:lnTo>
                  <a:pt x="29" y="585"/>
                </a:lnTo>
                <a:lnTo>
                  <a:pt x="35" y="594"/>
                </a:lnTo>
                <a:lnTo>
                  <a:pt x="31" y="850"/>
                </a:lnTo>
                <a:lnTo>
                  <a:pt x="31" y="850"/>
                </a:lnTo>
                <a:lnTo>
                  <a:pt x="29" y="852"/>
                </a:lnTo>
                <a:lnTo>
                  <a:pt x="23" y="859"/>
                </a:lnTo>
                <a:lnTo>
                  <a:pt x="20" y="864"/>
                </a:lnTo>
                <a:lnTo>
                  <a:pt x="18" y="871"/>
                </a:lnTo>
                <a:lnTo>
                  <a:pt x="15" y="879"/>
                </a:lnTo>
                <a:lnTo>
                  <a:pt x="14" y="888"/>
                </a:lnTo>
                <a:lnTo>
                  <a:pt x="14" y="888"/>
                </a:lnTo>
                <a:lnTo>
                  <a:pt x="14" y="898"/>
                </a:lnTo>
                <a:lnTo>
                  <a:pt x="14" y="906"/>
                </a:lnTo>
                <a:lnTo>
                  <a:pt x="15" y="919"/>
                </a:lnTo>
                <a:lnTo>
                  <a:pt x="17" y="926"/>
                </a:lnTo>
                <a:lnTo>
                  <a:pt x="18" y="928"/>
                </a:lnTo>
                <a:lnTo>
                  <a:pt x="188" y="928"/>
                </a:lnTo>
                <a:lnTo>
                  <a:pt x="188" y="928"/>
                </a:lnTo>
                <a:lnTo>
                  <a:pt x="190" y="920"/>
                </a:lnTo>
                <a:lnTo>
                  <a:pt x="191" y="906"/>
                </a:lnTo>
                <a:lnTo>
                  <a:pt x="190" y="889"/>
                </a:lnTo>
                <a:lnTo>
                  <a:pt x="190" y="881"/>
                </a:lnTo>
                <a:lnTo>
                  <a:pt x="188" y="873"/>
                </a:lnTo>
                <a:lnTo>
                  <a:pt x="188" y="873"/>
                </a:lnTo>
                <a:lnTo>
                  <a:pt x="185" y="864"/>
                </a:lnTo>
                <a:lnTo>
                  <a:pt x="179" y="857"/>
                </a:lnTo>
                <a:lnTo>
                  <a:pt x="174" y="851"/>
                </a:lnTo>
                <a:lnTo>
                  <a:pt x="169" y="846"/>
                </a:lnTo>
                <a:lnTo>
                  <a:pt x="168" y="594"/>
                </a:lnTo>
                <a:lnTo>
                  <a:pt x="168" y="594"/>
                </a:lnTo>
                <a:lnTo>
                  <a:pt x="181" y="573"/>
                </a:lnTo>
                <a:lnTo>
                  <a:pt x="190" y="561"/>
                </a:lnTo>
                <a:lnTo>
                  <a:pt x="196" y="550"/>
                </a:lnTo>
                <a:lnTo>
                  <a:pt x="202" y="537"/>
                </a:lnTo>
                <a:lnTo>
                  <a:pt x="207" y="522"/>
                </a:lnTo>
                <a:lnTo>
                  <a:pt x="210" y="507"/>
                </a:lnTo>
                <a:lnTo>
                  <a:pt x="211" y="499"/>
                </a:lnTo>
                <a:lnTo>
                  <a:pt x="211" y="491"/>
                </a:lnTo>
                <a:lnTo>
                  <a:pt x="211" y="491"/>
                </a:lnTo>
                <a:lnTo>
                  <a:pt x="211" y="482"/>
                </a:lnTo>
                <a:lnTo>
                  <a:pt x="210" y="473"/>
                </a:lnTo>
                <a:lnTo>
                  <a:pt x="206" y="458"/>
                </a:lnTo>
                <a:lnTo>
                  <a:pt x="201" y="443"/>
                </a:lnTo>
                <a:lnTo>
                  <a:pt x="195" y="428"/>
                </a:lnTo>
                <a:lnTo>
                  <a:pt x="189" y="416"/>
                </a:lnTo>
                <a:lnTo>
                  <a:pt x="181" y="405"/>
                </a:lnTo>
                <a:lnTo>
                  <a:pt x="170" y="3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4" name="Freeform 41"/>
          <p:cNvSpPr>
            <a:spLocks/>
          </p:cNvSpPr>
          <p:nvPr userDrawn="1"/>
        </p:nvSpPr>
        <p:spPr bwMode="auto">
          <a:xfrm>
            <a:off x="7351712" y="1209378"/>
            <a:ext cx="80963" cy="58738"/>
          </a:xfrm>
          <a:custGeom>
            <a:avLst/>
            <a:gdLst>
              <a:gd name="T0" fmla="*/ 617 w 617"/>
              <a:gd name="T1" fmla="*/ 73 h 442"/>
              <a:gd name="T2" fmla="*/ 433 w 617"/>
              <a:gd name="T3" fmla="*/ 70 h 442"/>
              <a:gd name="T4" fmla="*/ 202 w 617"/>
              <a:gd name="T5" fmla="*/ 68 h 442"/>
              <a:gd name="T6" fmla="*/ 195 w 617"/>
              <a:gd name="T7" fmla="*/ 67 h 442"/>
              <a:gd name="T8" fmla="*/ 174 w 617"/>
              <a:gd name="T9" fmla="*/ 61 h 442"/>
              <a:gd name="T10" fmla="*/ 137 w 617"/>
              <a:gd name="T11" fmla="*/ 44 h 442"/>
              <a:gd name="T12" fmla="*/ 84 w 617"/>
              <a:gd name="T13" fmla="*/ 16 h 442"/>
              <a:gd name="T14" fmla="*/ 53 w 617"/>
              <a:gd name="T15" fmla="*/ 2 h 442"/>
              <a:gd name="T16" fmla="*/ 40 w 617"/>
              <a:gd name="T17" fmla="*/ 0 h 442"/>
              <a:gd name="T18" fmla="*/ 37 w 617"/>
              <a:gd name="T19" fmla="*/ 2 h 442"/>
              <a:gd name="T20" fmla="*/ 22 w 617"/>
              <a:gd name="T21" fmla="*/ 38 h 442"/>
              <a:gd name="T22" fmla="*/ 1 w 617"/>
              <a:gd name="T23" fmla="*/ 91 h 442"/>
              <a:gd name="T24" fmla="*/ 19 w 617"/>
              <a:gd name="T25" fmla="*/ 113 h 442"/>
              <a:gd name="T26" fmla="*/ 38 w 617"/>
              <a:gd name="T27" fmla="*/ 147 h 442"/>
              <a:gd name="T28" fmla="*/ 47 w 617"/>
              <a:gd name="T29" fmla="*/ 169 h 442"/>
              <a:gd name="T30" fmla="*/ 52 w 617"/>
              <a:gd name="T31" fmla="*/ 191 h 442"/>
              <a:gd name="T32" fmla="*/ 55 w 617"/>
              <a:gd name="T33" fmla="*/ 216 h 442"/>
              <a:gd name="T34" fmla="*/ 53 w 617"/>
              <a:gd name="T35" fmla="*/ 235 h 442"/>
              <a:gd name="T36" fmla="*/ 48 w 617"/>
              <a:gd name="T37" fmla="*/ 265 h 442"/>
              <a:gd name="T38" fmla="*/ 42 w 617"/>
              <a:gd name="T39" fmla="*/ 283 h 442"/>
              <a:gd name="T40" fmla="*/ 32 w 617"/>
              <a:gd name="T41" fmla="*/ 304 h 442"/>
              <a:gd name="T42" fmla="*/ 19 w 617"/>
              <a:gd name="T43" fmla="*/ 324 h 442"/>
              <a:gd name="T44" fmla="*/ 0 w 617"/>
              <a:gd name="T45" fmla="*/ 345 h 442"/>
              <a:gd name="T46" fmla="*/ 23 w 617"/>
              <a:gd name="T47" fmla="*/ 391 h 442"/>
              <a:gd name="T48" fmla="*/ 47 w 617"/>
              <a:gd name="T49" fmla="*/ 435 h 442"/>
              <a:gd name="T50" fmla="*/ 52 w 617"/>
              <a:gd name="T51" fmla="*/ 442 h 442"/>
              <a:gd name="T52" fmla="*/ 84 w 617"/>
              <a:gd name="T53" fmla="*/ 423 h 442"/>
              <a:gd name="T54" fmla="*/ 129 w 617"/>
              <a:gd name="T55" fmla="*/ 400 h 442"/>
              <a:gd name="T56" fmla="*/ 183 w 617"/>
              <a:gd name="T57" fmla="*/ 378 h 442"/>
              <a:gd name="T58" fmla="*/ 211 w 617"/>
              <a:gd name="T59" fmla="*/ 371 h 442"/>
              <a:gd name="T60" fmla="*/ 224 w 617"/>
              <a:gd name="T61" fmla="*/ 369 h 442"/>
              <a:gd name="T62" fmla="*/ 330 w 617"/>
              <a:gd name="T63" fmla="*/ 363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17" h="442">
                <a:moveTo>
                  <a:pt x="330" y="363"/>
                </a:moveTo>
                <a:lnTo>
                  <a:pt x="617" y="73"/>
                </a:lnTo>
                <a:lnTo>
                  <a:pt x="617" y="73"/>
                </a:lnTo>
                <a:lnTo>
                  <a:pt x="433" y="70"/>
                </a:lnTo>
                <a:lnTo>
                  <a:pt x="324" y="69"/>
                </a:lnTo>
                <a:lnTo>
                  <a:pt x="202" y="68"/>
                </a:lnTo>
                <a:lnTo>
                  <a:pt x="202" y="68"/>
                </a:lnTo>
                <a:lnTo>
                  <a:pt x="195" y="67"/>
                </a:lnTo>
                <a:lnTo>
                  <a:pt x="185" y="65"/>
                </a:lnTo>
                <a:lnTo>
                  <a:pt x="174" y="61"/>
                </a:lnTo>
                <a:lnTo>
                  <a:pt x="163" y="56"/>
                </a:lnTo>
                <a:lnTo>
                  <a:pt x="137" y="44"/>
                </a:lnTo>
                <a:lnTo>
                  <a:pt x="110" y="30"/>
                </a:lnTo>
                <a:lnTo>
                  <a:pt x="84" y="16"/>
                </a:lnTo>
                <a:lnTo>
                  <a:pt x="63" y="6"/>
                </a:lnTo>
                <a:lnTo>
                  <a:pt x="53" y="2"/>
                </a:lnTo>
                <a:lnTo>
                  <a:pt x="45" y="1"/>
                </a:lnTo>
                <a:lnTo>
                  <a:pt x="40" y="0"/>
                </a:lnTo>
                <a:lnTo>
                  <a:pt x="38" y="1"/>
                </a:lnTo>
                <a:lnTo>
                  <a:pt x="37" y="2"/>
                </a:lnTo>
                <a:lnTo>
                  <a:pt x="37" y="2"/>
                </a:lnTo>
                <a:lnTo>
                  <a:pt x="22" y="38"/>
                </a:lnTo>
                <a:lnTo>
                  <a:pt x="1" y="91"/>
                </a:lnTo>
                <a:lnTo>
                  <a:pt x="1" y="91"/>
                </a:lnTo>
                <a:lnTo>
                  <a:pt x="10" y="101"/>
                </a:lnTo>
                <a:lnTo>
                  <a:pt x="19" y="113"/>
                </a:lnTo>
                <a:lnTo>
                  <a:pt x="29" y="129"/>
                </a:lnTo>
                <a:lnTo>
                  <a:pt x="38" y="147"/>
                </a:lnTo>
                <a:lnTo>
                  <a:pt x="43" y="157"/>
                </a:lnTo>
                <a:lnTo>
                  <a:pt x="47" y="169"/>
                </a:lnTo>
                <a:lnTo>
                  <a:pt x="50" y="180"/>
                </a:lnTo>
                <a:lnTo>
                  <a:pt x="52" y="191"/>
                </a:lnTo>
                <a:lnTo>
                  <a:pt x="55" y="203"/>
                </a:lnTo>
                <a:lnTo>
                  <a:pt x="55" y="216"/>
                </a:lnTo>
                <a:lnTo>
                  <a:pt x="55" y="216"/>
                </a:lnTo>
                <a:lnTo>
                  <a:pt x="53" y="235"/>
                </a:lnTo>
                <a:lnTo>
                  <a:pt x="51" y="248"/>
                </a:lnTo>
                <a:lnTo>
                  <a:pt x="48" y="265"/>
                </a:lnTo>
                <a:lnTo>
                  <a:pt x="45" y="274"/>
                </a:lnTo>
                <a:lnTo>
                  <a:pt x="42" y="283"/>
                </a:lnTo>
                <a:lnTo>
                  <a:pt x="38" y="293"/>
                </a:lnTo>
                <a:lnTo>
                  <a:pt x="32" y="304"/>
                </a:lnTo>
                <a:lnTo>
                  <a:pt x="26" y="313"/>
                </a:lnTo>
                <a:lnTo>
                  <a:pt x="19" y="324"/>
                </a:lnTo>
                <a:lnTo>
                  <a:pt x="11" y="334"/>
                </a:lnTo>
                <a:lnTo>
                  <a:pt x="0" y="345"/>
                </a:lnTo>
                <a:lnTo>
                  <a:pt x="0" y="345"/>
                </a:lnTo>
                <a:lnTo>
                  <a:pt x="23" y="391"/>
                </a:lnTo>
                <a:lnTo>
                  <a:pt x="40" y="423"/>
                </a:lnTo>
                <a:lnTo>
                  <a:pt x="47" y="435"/>
                </a:lnTo>
                <a:lnTo>
                  <a:pt x="52" y="442"/>
                </a:lnTo>
                <a:lnTo>
                  <a:pt x="52" y="442"/>
                </a:lnTo>
                <a:lnTo>
                  <a:pt x="67" y="433"/>
                </a:lnTo>
                <a:lnTo>
                  <a:pt x="84" y="423"/>
                </a:lnTo>
                <a:lnTo>
                  <a:pt x="105" y="412"/>
                </a:lnTo>
                <a:lnTo>
                  <a:pt x="129" y="400"/>
                </a:lnTo>
                <a:lnTo>
                  <a:pt x="156" y="388"/>
                </a:lnTo>
                <a:lnTo>
                  <a:pt x="183" y="378"/>
                </a:lnTo>
                <a:lnTo>
                  <a:pt x="198" y="374"/>
                </a:lnTo>
                <a:lnTo>
                  <a:pt x="211" y="371"/>
                </a:lnTo>
                <a:lnTo>
                  <a:pt x="211" y="371"/>
                </a:lnTo>
                <a:lnTo>
                  <a:pt x="224" y="369"/>
                </a:lnTo>
                <a:lnTo>
                  <a:pt x="248" y="367"/>
                </a:lnTo>
                <a:lnTo>
                  <a:pt x="330" y="36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5" name="Freeform 42"/>
          <p:cNvSpPr>
            <a:spLocks/>
          </p:cNvSpPr>
          <p:nvPr userDrawn="1"/>
        </p:nvSpPr>
        <p:spPr bwMode="auto">
          <a:xfrm>
            <a:off x="7453312" y="1131590"/>
            <a:ext cx="158750" cy="127000"/>
          </a:xfrm>
          <a:custGeom>
            <a:avLst/>
            <a:gdLst>
              <a:gd name="T0" fmla="*/ 1179 w 1207"/>
              <a:gd name="T1" fmla="*/ 480 h 962"/>
              <a:gd name="T2" fmla="*/ 1115 w 1207"/>
              <a:gd name="T3" fmla="*/ 496 h 962"/>
              <a:gd name="T4" fmla="*/ 1079 w 1207"/>
              <a:gd name="T5" fmla="*/ 532 h 962"/>
              <a:gd name="T6" fmla="*/ 1057 w 1207"/>
              <a:gd name="T7" fmla="*/ 600 h 962"/>
              <a:gd name="T8" fmla="*/ 1046 w 1207"/>
              <a:gd name="T9" fmla="*/ 585 h 962"/>
              <a:gd name="T10" fmla="*/ 1007 w 1207"/>
              <a:gd name="T11" fmla="*/ 556 h 962"/>
              <a:gd name="T12" fmla="*/ 935 w 1207"/>
              <a:gd name="T13" fmla="*/ 562 h 962"/>
              <a:gd name="T14" fmla="*/ 930 w 1207"/>
              <a:gd name="T15" fmla="*/ 613 h 962"/>
              <a:gd name="T16" fmla="*/ 935 w 1207"/>
              <a:gd name="T17" fmla="*/ 696 h 962"/>
              <a:gd name="T18" fmla="*/ 890 w 1207"/>
              <a:gd name="T19" fmla="*/ 725 h 962"/>
              <a:gd name="T20" fmla="*/ 842 w 1207"/>
              <a:gd name="T21" fmla="*/ 709 h 962"/>
              <a:gd name="T22" fmla="*/ 816 w 1207"/>
              <a:gd name="T23" fmla="*/ 658 h 962"/>
              <a:gd name="T24" fmla="*/ 805 w 1207"/>
              <a:gd name="T25" fmla="*/ 643 h 962"/>
              <a:gd name="T26" fmla="*/ 749 w 1207"/>
              <a:gd name="T27" fmla="*/ 659 h 962"/>
              <a:gd name="T28" fmla="*/ 701 w 1207"/>
              <a:gd name="T29" fmla="*/ 634 h 962"/>
              <a:gd name="T30" fmla="*/ 694 w 1207"/>
              <a:gd name="T31" fmla="*/ 581 h 962"/>
              <a:gd name="T32" fmla="*/ 754 w 1207"/>
              <a:gd name="T33" fmla="*/ 540 h 962"/>
              <a:gd name="T34" fmla="*/ 824 w 1207"/>
              <a:gd name="T35" fmla="*/ 520 h 962"/>
              <a:gd name="T36" fmla="*/ 805 w 1207"/>
              <a:gd name="T37" fmla="*/ 460 h 962"/>
              <a:gd name="T38" fmla="*/ 764 w 1207"/>
              <a:gd name="T39" fmla="*/ 421 h 962"/>
              <a:gd name="T40" fmla="*/ 698 w 1207"/>
              <a:gd name="T41" fmla="*/ 414 h 962"/>
              <a:gd name="T42" fmla="*/ 672 w 1207"/>
              <a:gd name="T43" fmla="*/ 415 h 962"/>
              <a:gd name="T44" fmla="*/ 712 w 1207"/>
              <a:gd name="T45" fmla="*/ 360 h 962"/>
              <a:gd name="T46" fmla="*/ 709 w 1207"/>
              <a:gd name="T47" fmla="*/ 285 h 962"/>
              <a:gd name="T48" fmla="*/ 668 w 1207"/>
              <a:gd name="T49" fmla="*/ 214 h 962"/>
              <a:gd name="T50" fmla="*/ 606 w 1207"/>
              <a:gd name="T51" fmla="*/ 224 h 962"/>
              <a:gd name="T52" fmla="*/ 535 w 1207"/>
              <a:gd name="T53" fmla="*/ 272 h 962"/>
              <a:gd name="T54" fmla="*/ 516 w 1207"/>
              <a:gd name="T55" fmla="*/ 334 h 962"/>
              <a:gd name="T56" fmla="*/ 508 w 1207"/>
              <a:gd name="T57" fmla="*/ 341 h 962"/>
              <a:gd name="T58" fmla="*/ 458 w 1207"/>
              <a:gd name="T59" fmla="*/ 287 h 962"/>
              <a:gd name="T60" fmla="*/ 404 w 1207"/>
              <a:gd name="T61" fmla="*/ 278 h 962"/>
              <a:gd name="T62" fmla="*/ 345 w 1207"/>
              <a:gd name="T63" fmla="*/ 300 h 962"/>
              <a:gd name="T64" fmla="*/ 362 w 1207"/>
              <a:gd name="T65" fmla="*/ 357 h 962"/>
              <a:gd name="T66" fmla="*/ 382 w 1207"/>
              <a:gd name="T67" fmla="*/ 432 h 962"/>
              <a:gd name="T68" fmla="*/ 347 w 1207"/>
              <a:gd name="T69" fmla="*/ 472 h 962"/>
              <a:gd name="T70" fmla="*/ 292 w 1207"/>
              <a:gd name="T71" fmla="*/ 462 h 962"/>
              <a:gd name="T72" fmla="*/ 262 w 1207"/>
              <a:gd name="T73" fmla="*/ 417 h 962"/>
              <a:gd name="T74" fmla="*/ 249 w 1207"/>
              <a:gd name="T75" fmla="*/ 398 h 962"/>
              <a:gd name="T76" fmla="*/ 194 w 1207"/>
              <a:gd name="T77" fmla="*/ 421 h 962"/>
              <a:gd name="T78" fmla="*/ 147 w 1207"/>
              <a:gd name="T79" fmla="*/ 404 h 962"/>
              <a:gd name="T80" fmla="*/ 128 w 1207"/>
              <a:gd name="T81" fmla="*/ 354 h 962"/>
              <a:gd name="T82" fmla="*/ 178 w 1207"/>
              <a:gd name="T83" fmla="*/ 300 h 962"/>
              <a:gd name="T84" fmla="*/ 233 w 1207"/>
              <a:gd name="T85" fmla="*/ 262 h 962"/>
              <a:gd name="T86" fmla="*/ 195 w 1207"/>
              <a:gd name="T87" fmla="*/ 203 h 962"/>
              <a:gd name="T88" fmla="*/ 145 w 1207"/>
              <a:gd name="T89" fmla="*/ 185 h 962"/>
              <a:gd name="T90" fmla="*/ 115 w 1207"/>
              <a:gd name="T91" fmla="*/ 191 h 962"/>
              <a:gd name="T92" fmla="*/ 153 w 1207"/>
              <a:gd name="T93" fmla="*/ 136 h 962"/>
              <a:gd name="T94" fmla="*/ 157 w 1207"/>
              <a:gd name="T95" fmla="*/ 76 h 962"/>
              <a:gd name="T96" fmla="*/ 134 w 1207"/>
              <a:gd name="T97" fmla="*/ 28 h 962"/>
              <a:gd name="T98" fmla="*/ 269 w 1207"/>
              <a:gd name="T99" fmla="*/ 712 h 962"/>
              <a:gd name="T100" fmla="*/ 354 w 1207"/>
              <a:gd name="T101" fmla="*/ 656 h 962"/>
              <a:gd name="T102" fmla="*/ 437 w 1207"/>
              <a:gd name="T103" fmla="*/ 636 h 962"/>
              <a:gd name="T104" fmla="*/ 517 w 1207"/>
              <a:gd name="T105" fmla="*/ 643 h 962"/>
              <a:gd name="T106" fmla="*/ 610 w 1207"/>
              <a:gd name="T107" fmla="*/ 683 h 962"/>
              <a:gd name="T108" fmla="*/ 658 w 1207"/>
              <a:gd name="T109" fmla="*/ 735 h 962"/>
              <a:gd name="T110" fmla="*/ 673 w 1207"/>
              <a:gd name="T111" fmla="*/ 793 h 962"/>
              <a:gd name="T112" fmla="*/ 646 w 1207"/>
              <a:gd name="T113" fmla="*/ 877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07" h="962">
                <a:moveTo>
                  <a:pt x="841" y="962"/>
                </a:moveTo>
                <a:lnTo>
                  <a:pt x="1207" y="484"/>
                </a:lnTo>
                <a:lnTo>
                  <a:pt x="1207" y="484"/>
                </a:lnTo>
                <a:lnTo>
                  <a:pt x="1200" y="482"/>
                </a:lnTo>
                <a:lnTo>
                  <a:pt x="1190" y="481"/>
                </a:lnTo>
                <a:lnTo>
                  <a:pt x="1179" y="480"/>
                </a:lnTo>
                <a:lnTo>
                  <a:pt x="1166" y="480"/>
                </a:lnTo>
                <a:lnTo>
                  <a:pt x="1149" y="483"/>
                </a:lnTo>
                <a:lnTo>
                  <a:pt x="1141" y="485"/>
                </a:lnTo>
                <a:lnTo>
                  <a:pt x="1133" y="488"/>
                </a:lnTo>
                <a:lnTo>
                  <a:pt x="1124" y="492"/>
                </a:lnTo>
                <a:lnTo>
                  <a:pt x="1115" y="496"/>
                </a:lnTo>
                <a:lnTo>
                  <a:pt x="1115" y="496"/>
                </a:lnTo>
                <a:lnTo>
                  <a:pt x="1106" y="502"/>
                </a:lnTo>
                <a:lnTo>
                  <a:pt x="1097" y="508"/>
                </a:lnTo>
                <a:lnTo>
                  <a:pt x="1090" y="515"/>
                </a:lnTo>
                <a:lnTo>
                  <a:pt x="1084" y="523"/>
                </a:lnTo>
                <a:lnTo>
                  <a:pt x="1079" y="532"/>
                </a:lnTo>
                <a:lnTo>
                  <a:pt x="1074" y="540"/>
                </a:lnTo>
                <a:lnTo>
                  <a:pt x="1070" y="548"/>
                </a:lnTo>
                <a:lnTo>
                  <a:pt x="1067" y="557"/>
                </a:lnTo>
                <a:lnTo>
                  <a:pt x="1062" y="574"/>
                </a:lnTo>
                <a:lnTo>
                  <a:pt x="1058" y="589"/>
                </a:lnTo>
                <a:lnTo>
                  <a:pt x="1057" y="600"/>
                </a:lnTo>
                <a:lnTo>
                  <a:pt x="1058" y="605"/>
                </a:lnTo>
                <a:lnTo>
                  <a:pt x="1059" y="608"/>
                </a:lnTo>
                <a:lnTo>
                  <a:pt x="1059" y="608"/>
                </a:lnTo>
                <a:lnTo>
                  <a:pt x="1055" y="599"/>
                </a:lnTo>
                <a:lnTo>
                  <a:pt x="1051" y="592"/>
                </a:lnTo>
                <a:lnTo>
                  <a:pt x="1046" y="585"/>
                </a:lnTo>
                <a:lnTo>
                  <a:pt x="1041" y="579"/>
                </a:lnTo>
                <a:lnTo>
                  <a:pt x="1036" y="574"/>
                </a:lnTo>
                <a:lnTo>
                  <a:pt x="1031" y="568"/>
                </a:lnTo>
                <a:lnTo>
                  <a:pt x="1025" y="564"/>
                </a:lnTo>
                <a:lnTo>
                  <a:pt x="1020" y="561"/>
                </a:lnTo>
                <a:lnTo>
                  <a:pt x="1007" y="556"/>
                </a:lnTo>
                <a:lnTo>
                  <a:pt x="994" y="554"/>
                </a:lnTo>
                <a:lnTo>
                  <a:pt x="982" y="553"/>
                </a:lnTo>
                <a:lnTo>
                  <a:pt x="970" y="554"/>
                </a:lnTo>
                <a:lnTo>
                  <a:pt x="957" y="556"/>
                </a:lnTo>
                <a:lnTo>
                  <a:pt x="946" y="558"/>
                </a:lnTo>
                <a:lnTo>
                  <a:pt x="935" y="562"/>
                </a:lnTo>
                <a:lnTo>
                  <a:pt x="927" y="565"/>
                </a:lnTo>
                <a:lnTo>
                  <a:pt x="913" y="572"/>
                </a:lnTo>
                <a:lnTo>
                  <a:pt x="908" y="574"/>
                </a:lnTo>
                <a:lnTo>
                  <a:pt x="908" y="574"/>
                </a:lnTo>
                <a:lnTo>
                  <a:pt x="920" y="594"/>
                </a:lnTo>
                <a:lnTo>
                  <a:pt x="930" y="613"/>
                </a:lnTo>
                <a:lnTo>
                  <a:pt x="936" y="632"/>
                </a:lnTo>
                <a:lnTo>
                  <a:pt x="940" y="647"/>
                </a:lnTo>
                <a:lnTo>
                  <a:pt x="941" y="663"/>
                </a:lnTo>
                <a:lnTo>
                  <a:pt x="941" y="675"/>
                </a:lnTo>
                <a:lnTo>
                  <a:pt x="939" y="687"/>
                </a:lnTo>
                <a:lnTo>
                  <a:pt x="935" y="696"/>
                </a:lnTo>
                <a:lnTo>
                  <a:pt x="930" y="705"/>
                </a:lnTo>
                <a:lnTo>
                  <a:pt x="924" y="712"/>
                </a:lnTo>
                <a:lnTo>
                  <a:pt x="915" y="718"/>
                </a:lnTo>
                <a:lnTo>
                  <a:pt x="907" y="722"/>
                </a:lnTo>
                <a:lnTo>
                  <a:pt x="899" y="724"/>
                </a:lnTo>
                <a:lnTo>
                  <a:pt x="890" y="725"/>
                </a:lnTo>
                <a:lnTo>
                  <a:pt x="881" y="725"/>
                </a:lnTo>
                <a:lnTo>
                  <a:pt x="871" y="724"/>
                </a:lnTo>
                <a:lnTo>
                  <a:pt x="871" y="724"/>
                </a:lnTo>
                <a:lnTo>
                  <a:pt x="859" y="720"/>
                </a:lnTo>
                <a:lnTo>
                  <a:pt x="850" y="715"/>
                </a:lnTo>
                <a:lnTo>
                  <a:pt x="842" y="709"/>
                </a:lnTo>
                <a:lnTo>
                  <a:pt x="835" y="702"/>
                </a:lnTo>
                <a:lnTo>
                  <a:pt x="829" y="695"/>
                </a:lnTo>
                <a:lnTo>
                  <a:pt x="825" y="688"/>
                </a:lnTo>
                <a:lnTo>
                  <a:pt x="821" y="680"/>
                </a:lnTo>
                <a:lnTo>
                  <a:pt x="819" y="673"/>
                </a:lnTo>
                <a:lnTo>
                  <a:pt x="816" y="658"/>
                </a:lnTo>
                <a:lnTo>
                  <a:pt x="816" y="646"/>
                </a:lnTo>
                <a:lnTo>
                  <a:pt x="816" y="638"/>
                </a:lnTo>
                <a:lnTo>
                  <a:pt x="816" y="635"/>
                </a:lnTo>
                <a:lnTo>
                  <a:pt x="816" y="635"/>
                </a:lnTo>
                <a:lnTo>
                  <a:pt x="813" y="637"/>
                </a:lnTo>
                <a:lnTo>
                  <a:pt x="805" y="643"/>
                </a:lnTo>
                <a:lnTo>
                  <a:pt x="793" y="650"/>
                </a:lnTo>
                <a:lnTo>
                  <a:pt x="785" y="653"/>
                </a:lnTo>
                <a:lnTo>
                  <a:pt x="777" y="656"/>
                </a:lnTo>
                <a:lnTo>
                  <a:pt x="768" y="658"/>
                </a:lnTo>
                <a:lnTo>
                  <a:pt x="759" y="659"/>
                </a:lnTo>
                <a:lnTo>
                  <a:pt x="749" y="659"/>
                </a:lnTo>
                <a:lnTo>
                  <a:pt x="739" y="658"/>
                </a:lnTo>
                <a:lnTo>
                  <a:pt x="729" y="655"/>
                </a:lnTo>
                <a:lnTo>
                  <a:pt x="720" y="650"/>
                </a:lnTo>
                <a:lnTo>
                  <a:pt x="710" y="643"/>
                </a:lnTo>
                <a:lnTo>
                  <a:pt x="701" y="634"/>
                </a:lnTo>
                <a:lnTo>
                  <a:pt x="701" y="634"/>
                </a:lnTo>
                <a:lnTo>
                  <a:pt x="694" y="625"/>
                </a:lnTo>
                <a:lnTo>
                  <a:pt x="690" y="616"/>
                </a:lnTo>
                <a:lnTo>
                  <a:pt x="688" y="607"/>
                </a:lnTo>
                <a:lnTo>
                  <a:pt x="689" y="598"/>
                </a:lnTo>
                <a:lnTo>
                  <a:pt x="690" y="589"/>
                </a:lnTo>
                <a:lnTo>
                  <a:pt x="694" y="581"/>
                </a:lnTo>
                <a:lnTo>
                  <a:pt x="701" y="572"/>
                </a:lnTo>
                <a:lnTo>
                  <a:pt x="708" y="564"/>
                </a:lnTo>
                <a:lnTo>
                  <a:pt x="717" y="557"/>
                </a:lnTo>
                <a:lnTo>
                  <a:pt x="727" y="550"/>
                </a:lnTo>
                <a:lnTo>
                  <a:pt x="740" y="544"/>
                </a:lnTo>
                <a:lnTo>
                  <a:pt x="754" y="540"/>
                </a:lnTo>
                <a:lnTo>
                  <a:pt x="769" y="536"/>
                </a:lnTo>
                <a:lnTo>
                  <a:pt x="786" y="533"/>
                </a:lnTo>
                <a:lnTo>
                  <a:pt x="804" y="532"/>
                </a:lnTo>
                <a:lnTo>
                  <a:pt x="823" y="531"/>
                </a:lnTo>
                <a:lnTo>
                  <a:pt x="823" y="531"/>
                </a:lnTo>
                <a:lnTo>
                  <a:pt x="824" y="520"/>
                </a:lnTo>
                <a:lnTo>
                  <a:pt x="823" y="509"/>
                </a:lnTo>
                <a:lnTo>
                  <a:pt x="820" y="494"/>
                </a:lnTo>
                <a:lnTo>
                  <a:pt x="817" y="486"/>
                </a:lnTo>
                <a:lnTo>
                  <a:pt x="814" y="477"/>
                </a:lnTo>
                <a:lnTo>
                  <a:pt x="810" y="469"/>
                </a:lnTo>
                <a:lnTo>
                  <a:pt x="805" y="460"/>
                </a:lnTo>
                <a:lnTo>
                  <a:pt x="799" y="451"/>
                </a:lnTo>
                <a:lnTo>
                  <a:pt x="792" y="443"/>
                </a:lnTo>
                <a:lnTo>
                  <a:pt x="782" y="435"/>
                </a:lnTo>
                <a:lnTo>
                  <a:pt x="772" y="426"/>
                </a:lnTo>
                <a:lnTo>
                  <a:pt x="772" y="426"/>
                </a:lnTo>
                <a:lnTo>
                  <a:pt x="764" y="421"/>
                </a:lnTo>
                <a:lnTo>
                  <a:pt x="755" y="417"/>
                </a:lnTo>
                <a:lnTo>
                  <a:pt x="745" y="415"/>
                </a:lnTo>
                <a:lnTo>
                  <a:pt x="735" y="413"/>
                </a:lnTo>
                <a:lnTo>
                  <a:pt x="725" y="412"/>
                </a:lnTo>
                <a:lnTo>
                  <a:pt x="716" y="412"/>
                </a:lnTo>
                <a:lnTo>
                  <a:pt x="698" y="414"/>
                </a:lnTo>
                <a:lnTo>
                  <a:pt x="681" y="418"/>
                </a:lnTo>
                <a:lnTo>
                  <a:pt x="668" y="421"/>
                </a:lnTo>
                <a:lnTo>
                  <a:pt x="657" y="425"/>
                </a:lnTo>
                <a:lnTo>
                  <a:pt x="657" y="425"/>
                </a:lnTo>
                <a:lnTo>
                  <a:pt x="664" y="421"/>
                </a:lnTo>
                <a:lnTo>
                  <a:pt x="672" y="415"/>
                </a:lnTo>
                <a:lnTo>
                  <a:pt x="681" y="408"/>
                </a:lnTo>
                <a:lnTo>
                  <a:pt x="691" y="397"/>
                </a:lnTo>
                <a:lnTo>
                  <a:pt x="701" y="384"/>
                </a:lnTo>
                <a:lnTo>
                  <a:pt x="705" y="376"/>
                </a:lnTo>
                <a:lnTo>
                  <a:pt x="709" y="369"/>
                </a:lnTo>
                <a:lnTo>
                  <a:pt x="712" y="360"/>
                </a:lnTo>
                <a:lnTo>
                  <a:pt x="714" y="351"/>
                </a:lnTo>
                <a:lnTo>
                  <a:pt x="714" y="351"/>
                </a:lnTo>
                <a:lnTo>
                  <a:pt x="716" y="336"/>
                </a:lnTo>
                <a:lnTo>
                  <a:pt x="715" y="320"/>
                </a:lnTo>
                <a:lnTo>
                  <a:pt x="713" y="303"/>
                </a:lnTo>
                <a:lnTo>
                  <a:pt x="709" y="285"/>
                </a:lnTo>
                <a:lnTo>
                  <a:pt x="702" y="267"/>
                </a:lnTo>
                <a:lnTo>
                  <a:pt x="693" y="249"/>
                </a:lnTo>
                <a:lnTo>
                  <a:pt x="682" y="232"/>
                </a:lnTo>
                <a:lnTo>
                  <a:pt x="676" y="223"/>
                </a:lnTo>
                <a:lnTo>
                  <a:pt x="669" y="216"/>
                </a:lnTo>
                <a:lnTo>
                  <a:pt x="668" y="214"/>
                </a:lnTo>
                <a:lnTo>
                  <a:pt x="665" y="214"/>
                </a:lnTo>
                <a:lnTo>
                  <a:pt x="665" y="214"/>
                </a:lnTo>
                <a:lnTo>
                  <a:pt x="655" y="214"/>
                </a:lnTo>
                <a:lnTo>
                  <a:pt x="644" y="215"/>
                </a:lnTo>
                <a:lnTo>
                  <a:pt x="624" y="219"/>
                </a:lnTo>
                <a:lnTo>
                  <a:pt x="606" y="224"/>
                </a:lnTo>
                <a:lnTo>
                  <a:pt x="587" y="232"/>
                </a:lnTo>
                <a:lnTo>
                  <a:pt x="572" y="240"/>
                </a:lnTo>
                <a:lnTo>
                  <a:pt x="557" y="250"/>
                </a:lnTo>
                <a:lnTo>
                  <a:pt x="545" y="261"/>
                </a:lnTo>
                <a:lnTo>
                  <a:pt x="535" y="272"/>
                </a:lnTo>
                <a:lnTo>
                  <a:pt x="535" y="272"/>
                </a:lnTo>
                <a:lnTo>
                  <a:pt x="530" y="280"/>
                </a:lnTo>
                <a:lnTo>
                  <a:pt x="526" y="288"/>
                </a:lnTo>
                <a:lnTo>
                  <a:pt x="523" y="297"/>
                </a:lnTo>
                <a:lnTo>
                  <a:pt x="520" y="305"/>
                </a:lnTo>
                <a:lnTo>
                  <a:pt x="517" y="320"/>
                </a:lnTo>
                <a:lnTo>
                  <a:pt x="516" y="334"/>
                </a:lnTo>
                <a:lnTo>
                  <a:pt x="516" y="347"/>
                </a:lnTo>
                <a:lnTo>
                  <a:pt x="517" y="357"/>
                </a:lnTo>
                <a:lnTo>
                  <a:pt x="519" y="365"/>
                </a:lnTo>
                <a:lnTo>
                  <a:pt x="519" y="365"/>
                </a:lnTo>
                <a:lnTo>
                  <a:pt x="513" y="354"/>
                </a:lnTo>
                <a:lnTo>
                  <a:pt x="508" y="341"/>
                </a:lnTo>
                <a:lnTo>
                  <a:pt x="499" y="327"/>
                </a:lnTo>
                <a:lnTo>
                  <a:pt x="488" y="313"/>
                </a:lnTo>
                <a:lnTo>
                  <a:pt x="482" y="306"/>
                </a:lnTo>
                <a:lnTo>
                  <a:pt x="475" y="299"/>
                </a:lnTo>
                <a:lnTo>
                  <a:pt x="467" y="292"/>
                </a:lnTo>
                <a:lnTo>
                  <a:pt x="458" y="287"/>
                </a:lnTo>
                <a:lnTo>
                  <a:pt x="450" y="283"/>
                </a:lnTo>
                <a:lnTo>
                  <a:pt x="440" y="281"/>
                </a:lnTo>
                <a:lnTo>
                  <a:pt x="440" y="281"/>
                </a:lnTo>
                <a:lnTo>
                  <a:pt x="428" y="278"/>
                </a:lnTo>
                <a:lnTo>
                  <a:pt x="415" y="278"/>
                </a:lnTo>
                <a:lnTo>
                  <a:pt x="404" y="278"/>
                </a:lnTo>
                <a:lnTo>
                  <a:pt x="393" y="279"/>
                </a:lnTo>
                <a:lnTo>
                  <a:pt x="384" y="281"/>
                </a:lnTo>
                <a:lnTo>
                  <a:pt x="374" y="284"/>
                </a:lnTo>
                <a:lnTo>
                  <a:pt x="365" y="287"/>
                </a:lnTo>
                <a:lnTo>
                  <a:pt x="358" y="291"/>
                </a:lnTo>
                <a:lnTo>
                  <a:pt x="345" y="300"/>
                </a:lnTo>
                <a:lnTo>
                  <a:pt x="336" y="307"/>
                </a:lnTo>
                <a:lnTo>
                  <a:pt x="328" y="314"/>
                </a:lnTo>
                <a:lnTo>
                  <a:pt x="328" y="314"/>
                </a:lnTo>
                <a:lnTo>
                  <a:pt x="342" y="328"/>
                </a:lnTo>
                <a:lnTo>
                  <a:pt x="353" y="343"/>
                </a:lnTo>
                <a:lnTo>
                  <a:pt x="362" y="357"/>
                </a:lnTo>
                <a:lnTo>
                  <a:pt x="369" y="371"/>
                </a:lnTo>
                <a:lnTo>
                  <a:pt x="375" y="384"/>
                </a:lnTo>
                <a:lnTo>
                  <a:pt x="380" y="398"/>
                </a:lnTo>
                <a:lnTo>
                  <a:pt x="382" y="410"/>
                </a:lnTo>
                <a:lnTo>
                  <a:pt x="383" y="421"/>
                </a:lnTo>
                <a:lnTo>
                  <a:pt x="382" y="432"/>
                </a:lnTo>
                <a:lnTo>
                  <a:pt x="380" y="442"/>
                </a:lnTo>
                <a:lnTo>
                  <a:pt x="375" y="451"/>
                </a:lnTo>
                <a:lnTo>
                  <a:pt x="370" y="458"/>
                </a:lnTo>
                <a:lnTo>
                  <a:pt x="363" y="464"/>
                </a:lnTo>
                <a:lnTo>
                  <a:pt x="356" y="469"/>
                </a:lnTo>
                <a:lnTo>
                  <a:pt x="347" y="472"/>
                </a:lnTo>
                <a:lnTo>
                  <a:pt x="337" y="473"/>
                </a:lnTo>
                <a:lnTo>
                  <a:pt x="337" y="473"/>
                </a:lnTo>
                <a:lnTo>
                  <a:pt x="322" y="473"/>
                </a:lnTo>
                <a:lnTo>
                  <a:pt x="311" y="471"/>
                </a:lnTo>
                <a:lnTo>
                  <a:pt x="301" y="467"/>
                </a:lnTo>
                <a:lnTo>
                  <a:pt x="292" y="462"/>
                </a:lnTo>
                <a:lnTo>
                  <a:pt x="283" y="456"/>
                </a:lnTo>
                <a:lnTo>
                  <a:pt x="277" y="449"/>
                </a:lnTo>
                <a:lnTo>
                  <a:pt x="272" y="441"/>
                </a:lnTo>
                <a:lnTo>
                  <a:pt x="268" y="432"/>
                </a:lnTo>
                <a:lnTo>
                  <a:pt x="264" y="424"/>
                </a:lnTo>
                <a:lnTo>
                  <a:pt x="262" y="417"/>
                </a:lnTo>
                <a:lnTo>
                  <a:pt x="259" y="403"/>
                </a:lnTo>
                <a:lnTo>
                  <a:pt x="257" y="393"/>
                </a:lnTo>
                <a:lnTo>
                  <a:pt x="257" y="390"/>
                </a:lnTo>
                <a:lnTo>
                  <a:pt x="257" y="390"/>
                </a:lnTo>
                <a:lnTo>
                  <a:pt x="255" y="392"/>
                </a:lnTo>
                <a:lnTo>
                  <a:pt x="249" y="398"/>
                </a:lnTo>
                <a:lnTo>
                  <a:pt x="239" y="405"/>
                </a:lnTo>
                <a:lnTo>
                  <a:pt x="227" y="413"/>
                </a:lnTo>
                <a:lnTo>
                  <a:pt x="220" y="416"/>
                </a:lnTo>
                <a:lnTo>
                  <a:pt x="212" y="419"/>
                </a:lnTo>
                <a:lnTo>
                  <a:pt x="204" y="420"/>
                </a:lnTo>
                <a:lnTo>
                  <a:pt x="194" y="421"/>
                </a:lnTo>
                <a:lnTo>
                  <a:pt x="185" y="421"/>
                </a:lnTo>
                <a:lnTo>
                  <a:pt x="175" y="419"/>
                </a:lnTo>
                <a:lnTo>
                  <a:pt x="165" y="415"/>
                </a:lnTo>
                <a:lnTo>
                  <a:pt x="155" y="409"/>
                </a:lnTo>
                <a:lnTo>
                  <a:pt x="155" y="409"/>
                </a:lnTo>
                <a:lnTo>
                  <a:pt x="147" y="404"/>
                </a:lnTo>
                <a:lnTo>
                  <a:pt x="140" y="397"/>
                </a:lnTo>
                <a:lnTo>
                  <a:pt x="135" y="390"/>
                </a:lnTo>
                <a:lnTo>
                  <a:pt x="131" y="381"/>
                </a:lnTo>
                <a:lnTo>
                  <a:pt x="129" y="372"/>
                </a:lnTo>
                <a:lnTo>
                  <a:pt x="128" y="363"/>
                </a:lnTo>
                <a:lnTo>
                  <a:pt x="128" y="354"/>
                </a:lnTo>
                <a:lnTo>
                  <a:pt x="131" y="345"/>
                </a:lnTo>
                <a:lnTo>
                  <a:pt x="136" y="334"/>
                </a:lnTo>
                <a:lnTo>
                  <a:pt x="142" y="325"/>
                </a:lnTo>
                <a:lnTo>
                  <a:pt x="153" y="316"/>
                </a:lnTo>
                <a:lnTo>
                  <a:pt x="164" y="308"/>
                </a:lnTo>
                <a:lnTo>
                  <a:pt x="178" y="300"/>
                </a:lnTo>
                <a:lnTo>
                  <a:pt x="195" y="292"/>
                </a:lnTo>
                <a:lnTo>
                  <a:pt x="216" y="286"/>
                </a:lnTo>
                <a:lnTo>
                  <a:pt x="239" y="280"/>
                </a:lnTo>
                <a:lnTo>
                  <a:pt x="239" y="280"/>
                </a:lnTo>
                <a:lnTo>
                  <a:pt x="238" y="275"/>
                </a:lnTo>
                <a:lnTo>
                  <a:pt x="233" y="262"/>
                </a:lnTo>
                <a:lnTo>
                  <a:pt x="230" y="253"/>
                </a:lnTo>
                <a:lnTo>
                  <a:pt x="225" y="242"/>
                </a:lnTo>
                <a:lnTo>
                  <a:pt x="220" y="232"/>
                </a:lnTo>
                <a:lnTo>
                  <a:pt x="213" y="222"/>
                </a:lnTo>
                <a:lnTo>
                  <a:pt x="205" y="213"/>
                </a:lnTo>
                <a:lnTo>
                  <a:pt x="195" y="203"/>
                </a:lnTo>
                <a:lnTo>
                  <a:pt x="185" y="196"/>
                </a:lnTo>
                <a:lnTo>
                  <a:pt x="173" y="190"/>
                </a:lnTo>
                <a:lnTo>
                  <a:pt x="167" y="188"/>
                </a:lnTo>
                <a:lnTo>
                  <a:pt x="161" y="187"/>
                </a:lnTo>
                <a:lnTo>
                  <a:pt x="154" y="186"/>
                </a:lnTo>
                <a:lnTo>
                  <a:pt x="145" y="185"/>
                </a:lnTo>
                <a:lnTo>
                  <a:pt x="138" y="186"/>
                </a:lnTo>
                <a:lnTo>
                  <a:pt x="129" y="187"/>
                </a:lnTo>
                <a:lnTo>
                  <a:pt x="121" y="190"/>
                </a:lnTo>
                <a:lnTo>
                  <a:pt x="112" y="193"/>
                </a:lnTo>
                <a:lnTo>
                  <a:pt x="112" y="193"/>
                </a:lnTo>
                <a:lnTo>
                  <a:pt x="115" y="191"/>
                </a:lnTo>
                <a:lnTo>
                  <a:pt x="119" y="188"/>
                </a:lnTo>
                <a:lnTo>
                  <a:pt x="127" y="180"/>
                </a:lnTo>
                <a:lnTo>
                  <a:pt x="136" y="168"/>
                </a:lnTo>
                <a:lnTo>
                  <a:pt x="144" y="153"/>
                </a:lnTo>
                <a:lnTo>
                  <a:pt x="148" y="144"/>
                </a:lnTo>
                <a:lnTo>
                  <a:pt x="153" y="136"/>
                </a:lnTo>
                <a:lnTo>
                  <a:pt x="156" y="127"/>
                </a:lnTo>
                <a:lnTo>
                  <a:pt x="158" y="117"/>
                </a:lnTo>
                <a:lnTo>
                  <a:pt x="159" y="106"/>
                </a:lnTo>
                <a:lnTo>
                  <a:pt x="160" y="97"/>
                </a:lnTo>
                <a:lnTo>
                  <a:pt x="159" y="86"/>
                </a:lnTo>
                <a:lnTo>
                  <a:pt x="157" y="76"/>
                </a:lnTo>
                <a:lnTo>
                  <a:pt x="157" y="76"/>
                </a:lnTo>
                <a:lnTo>
                  <a:pt x="155" y="66"/>
                </a:lnTo>
                <a:lnTo>
                  <a:pt x="150" y="57"/>
                </a:lnTo>
                <a:lnTo>
                  <a:pt x="147" y="49"/>
                </a:lnTo>
                <a:lnTo>
                  <a:pt x="143" y="41"/>
                </a:lnTo>
                <a:lnTo>
                  <a:pt x="134" y="28"/>
                </a:lnTo>
                <a:lnTo>
                  <a:pt x="125" y="17"/>
                </a:lnTo>
                <a:lnTo>
                  <a:pt x="117" y="9"/>
                </a:lnTo>
                <a:lnTo>
                  <a:pt x="110" y="4"/>
                </a:lnTo>
                <a:lnTo>
                  <a:pt x="103" y="0"/>
                </a:lnTo>
                <a:lnTo>
                  <a:pt x="0" y="593"/>
                </a:lnTo>
                <a:lnTo>
                  <a:pt x="269" y="712"/>
                </a:lnTo>
                <a:lnTo>
                  <a:pt x="269" y="712"/>
                </a:lnTo>
                <a:lnTo>
                  <a:pt x="293" y="693"/>
                </a:lnTo>
                <a:lnTo>
                  <a:pt x="315" y="677"/>
                </a:lnTo>
                <a:lnTo>
                  <a:pt x="336" y="665"/>
                </a:lnTo>
                <a:lnTo>
                  <a:pt x="354" y="656"/>
                </a:lnTo>
                <a:lnTo>
                  <a:pt x="354" y="656"/>
                </a:lnTo>
                <a:lnTo>
                  <a:pt x="367" y="650"/>
                </a:lnTo>
                <a:lnTo>
                  <a:pt x="382" y="646"/>
                </a:lnTo>
                <a:lnTo>
                  <a:pt x="396" y="642"/>
                </a:lnTo>
                <a:lnTo>
                  <a:pt x="409" y="639"/>
                </a:lnTo>
                <a:lnTo>
                  <a:pt x="423" y="637"/>
                </a:lnTo>
                <a:lnTo>
                  <a:pt x="437" y="636"/>
                </a:lnTo>
                <a:lnTo>
                  <a:pt x="450" y="635"/>
                </a:lnTo>
                <a:lnTo>
                  <a:pt x="464" y="635"/>
                </a:lnTo>
                <a:lnTo>
                  <a:pt x="478" y="636"/>
                </a:lnTo>
                <a:lnTo>
                  <a:pt x="491" y="638"/>
                </a:lnTo>
                <a:lnTo>
                  <a:pt x="504" y="640"/>
                </a:lnTo>
                <a:lnTo>
                  <a:pt x="517" y="643"/>
                </a:lnTo>
                <a:lnTo>
                  <a:pt x="542" y="650"/>
                </a:lnTo>
                <a:lnTo>
                  <a:pt x="566" y="658"/>
                </a:lnTo>
                <a:lnTo>
                  <a:pt x="566" y="658"/>
                </a:lnTo>
                <a:lnTo>
                  <a:pt x="582" y="667"/>
                </a:lnTo>
                <a:lnTo>
                  <a:pt x="596" y="675"/>
                </a:lnTo>
                <a:lnTo>
                  <a:pt x="610" y="683"/>
                </a:lnTo>
                <a:lnTo>
                  <a:pt x="621" y="691"/>
                </a:lnTo>
                <a:lnTo>
                  <a:pt x="631" y="699"/>
                </a:lnTo>
                <a:lnTo>
                  <a:pt x="639" y="709"/>
                </a:lnTo>
                <a:lnTo>
                  <a:pt x="646" y="717"/>
                </a:lnTo>
                <a:lnTo>
                  <a:pt x="653" y="726"/>
                </a:lnTo>
                <a:lnTo>
                  <a:pt x="658" y="735"/>
                </a:lnTo>
                <a:lnTo>
                  <a:pt x="662" y="743"/>
                </a:lnTo>
                <a:lnTo>
                  <a:pt x="665" y="753"/>
                </a:lnTo>
                <a:lnTo>
                  <a:pt x="668" y="761"/>
                </a:lnTo>
                <a:lnTo>
                  <a:pt x="671" y="778"/>
                </a:lnTo>
                <a:lnTo>
                  <a:pt x="673" y="793"/>
                </a:lnTo>
                <a:lnTo>
                  <a:pt x="673" y="793"/>
                </a:lnTo>
                <a:lnTo>
                  <a:pt x="672" y="804"/>
                </a:lnTo>
                <a:lnTo>
                  <a:pt x="670" y="815"/>
                </a:lnTo>
                <a:lnTo>
                  <a:pt x="667" y="827"/>
                </a:lnTo>
                <a:lnTo>
                  <a:pt x="663" y="839"/>
                </a:lnTo>
                <a:lnTo>
                  <a:pt x="654" y="863"/>
                </a:lnTo>
                <a:lnTo>
                  <a:pt x="646" y="877"/>
                </a:lnTo>
                <a:lnTo>
                  <a:pt x="841" y="96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6" name="Freeform 43"/>
          <p:cNvSpPr>
            <a:spLocks/>
          </p:cNvSpPr>
          <p:nvPr userDrawn="1"/>
        </p:nvSpPr>
        <p:spPr bwMode="auto">
          <a:xfrm>
            <a:off x="7581900" y="1218903"/>
            <a:ext cx="193675" cy="33338"/>
          </a:xfrm>
          <a:custGeom>
            <a:avLst/>
            <a:gdLst>
              <a:gd name="T0" fmla="*/ 1228 w 1463"/>
              <a:gd name="T1" fmla="*/ 227 h 256"/>
              <a:gd name="T2" fmla="*/ 1463 w 1463"/>
              <a:gd name="T3" fmla="*/ 113 h 256"/>
              <a:gd name="T4" fmla="*/ 1225 w 1463"/>
              <a:gd name="T5" fmla="*/ 14 h 256"/>
              <a:gd name="T6" fmla="*/ 1225 w 1463"/>
              <a:gd name="T7" fmla="*/ 14 h 256"/>
              <a:gd name="T8" fmla="*/ 1152 w 1463"/>
              <a:gd name="T9" fmla="*/ 15 h 256"/>
              <a:gd name="T10" fmla="*/ 1060 w 1463"/>
              <a:gd name="T11" fmla="*/ 16 h 256"/>
              <a:gd name="T12" fmla="*/ 949 w 1463"/>
              <a:gd name="T13" fmla="*/ 15 h 256"/>
              <a:gd name="T14" fmla="*/ 824 w 1463"/>
              <a:gd name="T15" fmla="*/ 13 h 256"/>
              <a:gd name="T16" fmla="*/ 531 w 1463"/>
              <a:gd name="T17" fmla="*/ 7 h 256"/>
              <a:gd name="T18" fmla="*/ 197 w 1463"/>
              <a:gd name="T19" fmla="*/ 0 h 256"/>
              <a:gd name="T20" fmla="*/ 0 w 1463"/>
              <a:gd name="T21" fmla="*/ 256 h 256"/>
              <a:gd name="T22" fmla="*/ 0 w 1463"/>
              <a:gd name="T23" fmla="*/ 256 h 256"/>
              <a:gd name="T24" fmla="*/ 734 w 1463"/>
              <a:gd name="T25" fmla="*/ 240 h 256"/>
              <a:gd name="T26" fmla="*/ 1024 w 1463"/>
              <a:gd name="T27" fmla="*/ 234 h 256"/>
              <a:gd name="T28" fmla="*/ 1228 w 1463"/>
              <a:gd name="T29" fmla="*/ 22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3" h="256">
                <a:moveTo>
                  <a:pt x="1228" y="227"/>
                </a:moveTo>
                <a:lnTo>
                  <a:pt x="1463" y="113"/>
                </a:lnTo>
                <a:lnTo>
                  <a:pt x="1225" y="14"/>
                </a:lnTo>
                <a:lnTo>
                  <a:pt x="1225" y="14"/>
                </a:lnTo>
                <a:lnTo>
                  <a:pt x="1152" y="15"/>
                </a:lnTo>
                <a:lnTo>
                  <a:pt x="1060" y="16"/>
                </a:lnTo>
                <a:lnTo>
                  <a:pt x="949" y="15"/>
                </a:lnTo>
                <a:lnTo>
                  <a:pt x="824" y="13"/>
                </a:lnTo>
                <a:lnTo>
                  <a:pt x="531" y="7"/>
                </a:lnTo>
                <a:lnTo>
                  <a:pt x="197" y="0"/>
                </a:lnTo>
                <a:lnTo>
                  <a:pt x="0" y="256"/>
                </a:lnTo>
                <a:lnTo>
                  <a:pt x="0" y="256"/>
                </a:lnTo>
                <a:lnTo>
                  <a:pt x="734" y="240"/>
                </a:lnTo>
                <a:lnTo>
                  <a:pt x="1024" y="234"/>
                </a:lnTo>
                <a:lnTo>
                  <a:pt x="1228" y="22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7" name="Freeform 44"/>
          <p:cNvSpPr>
            <a:spLocks/>
          </p:cNvSpPr>
          <p:nvPr userDrawn="1"/>
        </p:nvSpPr>
        <p:spPr bwMode="auto">
          <a:xfrm>
            <a:off x="7643812" y="1301453"/>
            <a:ext cx="114300" cy="112713"/>
          </a:xfrm>
          <a:custGeom>
            <a:avLst/>
            <a:gdLst>
              <a:gd name="T0" fmla="*/ 386 w 869"/>
              <a:gd name="T1" fmla="*/ 818 h 851"/>
              <a:gd name="T2" fmla="*/ 235 w 869"/>
              <a:gd name="T3" fmla="*/ 737 h 851"/>
              <a:gd name="T4" fmla="*/ 156 w 869"/>
              <a:gd name="T5" fmla="*/ 685 h 851"/>
              <a:gd name="T6" fmla="*/ 90 w 869"/>
              <a:gd name="T7" fmla="*/ 626 h 851"/>
              <a:gd name="T8" fmla="*/ 37 w 869"/>
              <a:gd name="T9" fmla="*/ 557 h 851"/>
              <a:gd name="T10" fmla="*/ 24 w 869"/>
              <a:gd name="T11" fmla="*/ 531 h 851"/>
              <a:gd name="T12" fmla="*/ 10 w 869"/>
              <a:gd name="T13" fmla="*/ 487 h 851"/>
              <a:gd name="T14" fmla="*/ 2 w 869"/>
              <a:gd name="T15" fmla="*/ 439 h 851"/>
              <a:gd name="T16" fmla="*/ 0 w 869"/>
              <a:gd name="T17" fmla="*/ 389 h 851"/>
              <a:gd name="T18" fmla="*/ 5 w 869"/>
              <a:gd name="T19" fmla="*/ 336 h 851"/>
              <a:gd name="T20" fmla="*/ 15 w 869"/>
              <a:gd name="T21" fmla="*/ 283 h 851"/>
              <a:gd name="T22" fmla="*/ 34 w 869"/>
              <a:gd name="T23" fmla="*/ 231 h 851"/>
              <a:gd name="T24" fmla="*/ 59 w 869"/>
              <a:gd name="T25" fmla="*/ 182 h 851"/>
              <a:gd name="T26" fmla="*/ 93 w 869"/>
              <a:gd name="T27" fmla="*/ 136 h 851"/>
              <a:gd name="T28" fmla="*/ 134 w 869"/>
              <a:gd name="T29" fmla="*/ 94 h 851"/>
              <a:gd name="T30" fmla="*/ 183 w 869"/>
              <a:gd name="T31" fmla="*/ 59 h 851"/>
              <a:gd name="T32" fmla="*/ 198 w 869"/>
              <a:gd name="T33" fmla="*/ 75 h 851"/>
              <a:gd name="T34" fmla="*/ 217 w 869"/>
              <a:gd name="T35" fmla="*/ 106 h 851"/>
              <a:gd name="T36" fmla="*/ 227 w 869"/>
              <a:gd name="T37" fmla="*/ 141 h 851"/>
              <a:gd name="T38" fmla="*/ 247 w 869"/>
              <a:gd name="T39" fmla="*/ 150 h 851"/>
              <a:gd name="T40" fmla="*/ 379 w 869"/>
              <a:gd name="T41" fmla="*/ 144 h 851"/>
              <a:gd name="T42" fmla="*/ 424 w 869"/>
              <a:gd name="T43" fmla="*/ 143 h 851"/>
              <a:gd name="T44" fmla="*/ 424 w 869"/>
              <a:gd name="T45" fmla="*/ 94 h 851"/>
              <a:gd name="T46" fmla="*/ 414 w 869"/>
              <a:gd name="T47" fmla="*/ 37 h 851"/>
              <a:gd name="T48" fmla="*/ 397 w 869"/>
              <a:gd name="T49" fmla="*/ 0 h 851"/>
              <a:gd name="T50" fmla="*/ 431 w 869"/>
              <a:gd name="T51" fmla="*/ 27 h 851"/>
              <a:gd name="T52" fmla="*/ 459 w 869"/>
              <a:gd name="T53" fmla="*/ 55 h 851"/>
              <a:gd name="T54" fmla="*/ 475 w 869"/>
              <a:gd name="T55" fmla="*/ 82 h 851"/>
              <a:gd name="T56" fmla="*/ 487 w 869"/>
              <a:gd name="T57" fmla="*/ 116 h 851"/>
              <a:gd name="T58" fmla="*/ 493 w 869"/>
              <a:gd name="T59" fmla="*/ 143 h 851"/>
              <a:gd name="T60" fmla="*/ 671 w 869"/>
              <a:gd name="T61" fmla="*/ 133 h 851"/>
              <a:gd name="T62" fmla="*/ 662 w 869"/>
              <a:gd name="T63" fmla="*/ 88 h 851"/>
              <a:gd name="T64" fmla="*/ 643 w 869"/>
              <a:gd name="T65" fmla="*/ 50 h 851"/>
              <a:gd name="T66" fmla="*/ 651 w 869"/>
              <a:gd name="T67" fmla="*/ 46 h 851"/>
              <a:gd name="T68" fmla="*/ 699 w 869"/>
              <a:gd name="T69" fmla="*/ 73 h 851"/>
              <a:gd name="T70" fmla="*/ 740 w 869"/>
              <a:gd name="T71" fmla="*/ 104 h 851"/>
              <a:gd name="T72" fmla="*/ 775 w 869"/>
              <a:gd name="T73" fmla="*/ 138 h 851"/>
              <a:gd name="T74" fmla="*/ 803 w 869"/>
              <a:gd name="T75" fmla="*/ 175 h 851"/>
              <a:gd name="T76" fmla="*/ 837 w 869"/>
              <a:gd name="T77" fmla="*/ 238 h 851"/>
              <a:gd name="T78" fmla="*/ 861 w 869"/>
              <a:gd name="T79" fmla="*/ 312 h 851"/>
              <a:gd name="T80" fmla="*/ 869 w 869"/>
              <a:gd name="T81" fmla="*/ 379 h 851"/>
              <a:gd name="T82" fmla="*/ 869 w 869"/>
              <a:gd name="T83" fmla="*/ 423 h 851"/>
              <a:gd name="T84" fmla="*/ 859 w 869"/>
              <a:gd name="T85" fmla="*/ 499 h 851"/>
              <a:gd name="T86" fmla="*/ 834 w 869"/>
              <a:gd name="T87" fmla="*/ 569 h 851"/>
              <a:gd name="T88" fmla="*/ 796 w 869"/>
              <a:gd name="T89" fmla="*/ 631 h 851"/>
              <a:gd name="T90" fmla="*/ 749 w 869"/>
              <a:gd name="T91" fmla="*/ 684 h 851"/>
              <a:gd name="T92" fmla="*/ 693 w 869"/>
              <a:gd name="T93" fmla="*/ 727 h 851"/>
              <a:gd name="T94" fmla="*/ 626 w 869"/>
              <a:gd name="T95" fmla="*/ 766 h 851"/>
              <a:gd name="T96" fmla="*/ 506 w 869"/>
              <a:gd name="T97" fmla="*/ 826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9" h="851">
                <a:moveTo>
                  <a:pt x="452" y="851"/>
                </a:moveTo>
                <a:lnTo>
                  <a:pt x="452" y="851"/>
                </a:lnTo>
                <a:lnTo>
                  <a:pt x="386" y="818"/>
                </a:lnTo>
                <a:lnTo>
                  <a:pt x="323" y="785"/>
                </a:lnTo>
                <a:lnTo>
                  <a:pt x="264" y="754"/>
                </a:lnTo>
                <a:lnTo>
                  <a:pt x="235" y="737"/>
                </a:lnTo>
                <a:lnTo>
                  <a:pt x="207" y="720"/>
                </a:lnTo>
                <a:lnTo>
                  <a:pt x="181" y="703"/>
                </a:lnTo>
                <a:lnTo>
                  <a:pt x="156" y="685"/>
                </a:lnTo>
                <a:lnTo>
                  <a:pt x="133" y="666"/>
                </a:lnTo>
                <a:lnTo>
                  <a:pt x="110" y="646"/>
                </a:lnTo>
                <a:lnTo>
                  <a:pt x="90" y="626"/>
                </a:lnTo>
                <a:lnTo>
                  <a:pt x="70" y="605"/>
                </a:lnTo>
                <a:lnTo>
                  <a:pt x="53" y="581"/>
                </a:lnTo>
                <a:lnTo>
                  <a:pt x="37" y="557"/>
                </a:lnTo>
                <a:lnTo>
                  <a:pt x="37" y="557"/>
                </a:lnTo>
                <a:lnTo>
                  <a:pt x="31" y="544"/>
                </a:lnTo>
                <a:lnTo>
                  <a:pt x="24" y="531"/>
                </a:lnTo>
                <a:lnTo>
                  <a:pt x="19" y="517"/>
                </a:lnTo>
                <a:lnTo>
                  <a:pt x="14" y="502"/>
                </a:lnTo>
                <a:lnTo>
                  <a:pt x="10" y="487"/>
                </a:lnTo>
                <a:lnTo>
                  <a:pt x="7" y="472"/>
                </a:lnTo>
                <a:lnTo>
                  <a:pt x="4" y="455"/>
                </a:lnTo>
                <a:lnTo>
                  <a:pt x="2" y="439"/>
                </a:lnTo>
                <a:lnTo>
                  <a:pt x="1" y="423"/>
                </a:lnTo>
                <a:lnTo>
                  <a:pt x="0" y="405"/>
                </a:lnTo>
                <a:lnTo>
                  <a:pt x="0" y="389"/>
                </a:lnTo>
                <a:lnTo>
                  <a:pt x="1" y="371"/>
                </a:lnTo>
                <a:lnTo>
                  <a:pt x="2" y="353"/>
                </a:lnTo>
                <a:lnTo>
                  <a:pt x="5" y="336"/>
                </a:lnTo>
                <a:lnTo>
                  <a:pt x="7" y="318"/>
                </a:lnTo>
                <a:lnTo>
                  <a:pt x="11" y="301"/>
                </a:lnTo>
                <a:lnTo>
                  <a:pt x="15" y="283"/>
                </a:lnTo>
                <a:lnTo>
                  <a:pt x="21" y="266"/>
                </a:lnTo>
                <a:lnTo>
                  <a:pt x="26" y="249"/>
                </a:lnTo>
                <a:lnTo>
                  <a:pt x="34" y="231"/>
                </a:lnTo>
                <a:lnTo>
                  <a:pt x="42" y="215"/>
                </a:lnTo>
                <a:lnTo>
                  <a:pt x="50" y="199"/>
                </a:lnTo>
                <a:lnTo>
                  <a:pt x="59" y="182"/>
                </a:lnTo>
                <a:lnTo>
                  <a:pt x="69" y="166"/>
                </a:lnTo>
                <a:lnTo>
                  <a:pt x="81" y="151"/>
                </a:lnTo>
                <a:lnTo>
                  <a:pt x="93" y="136"/>
                </a:lnTo>
                <a:lnTo>
                  <a:pt x="105" y="122"/>
                </a:lnTo>
                <a:lnTo>
                  <a:pt x="120" y="108"/>
                </a:lnTo>
                <a:lnTo>
                  <a:pt x="134" y="94"/>
                </a:lnTo>
                <a:lnTo>
                  <a:pt x="149" y="82"/>
                </a:lnTo>
                <a:lnTo>
                  <a:pt x="166" y="70"/>
                </a:lnTo>
                <a:lnTo>
                  <a:pt x="183" y="59"/>
                </a:lnTo>
                <a:lnTo>
                  <a:pt x="183" y="59"/>
                </a:lnTo>
                <a:lnTo>
                  <a:pt x="191" y="67"/>
                </a:lnTo>
                <a:lnTo>
                  <a:pt x="198" y="75"/>
                </a:lnTo>
                <a:lnTo>
                  <a:pt x="203" y="82"/>
                </a:lnTo>
                <a:lnTo>
                  <a:pt x="208" y="90"/>
                </a:lnTo>
                <a:lnTo>
                  <a:pt x="217" y="106"/>
                </a:lnTo>
                <a:lnTo>
                  <a:pt x="222" y="120"/>
                </a:lnTo>
                <a:lnTo>
                  <a:pt x="225" y="132"/>
                </a:lnTo>
                <a:lnTo>
                  <a:pt x="227" y="141"/>
                </a:lnTo>
                <a:lnTo>
                  <a:pt x="227" y="150"/>
                </a:lnTo>
                <a:lnTo>
                  <a:pt x="227" y="150"/>
                </a:lnTo>
                <a:lnTo>
                  <a:pt x="247" y="150"/>
                </a:lnTo>
                <a:lnTo>
                  <a:pt x="272" y="150"/>
                </a:lnTo>
                <a:lnTo>
                  <a:pt x="325" y="146"/>
                </a:lnTo>
                <a:lnTo>
                  <a:pt x="379" y="144"/>
                </a:lnTo>
                <a:lnTo>
                  <a:pt x="404" y="143"/>
                </a:lnTo>
                <a:lnTo>
                  <a:pt x="424" y="143"/>
                </a:lnTo>
                <a:lnTo>
                  <a:pt x="424" y="143"/>
                </a:lnTo>
                <a:lnTo>
                  <a:pt x="425" y="129"/>
                </a:lnTo>
                <a:lnTo>
                  <a:pt x="425" y="112"/>
                </a:lnTo>
                <a:lnTo>
                  <a:pt x="424" y="94"/>
                </a:lnTo>
                <a:lnTo>
                  <a:pt x="422" y="76"/>
                </a:lnTo>
                <a:lnTo>
                  <a:pt x="419" y="56"/>
                </a:lnTo>
                <a:lnTo>
                  <a:pt x="414" y="37"/>
                </a:lnTo>
                <a:lnTo>
                  <a:pt x="407" y="19"/>
                </a:lnTo>
                <a:lnTo>
                  <a:pt x="402" y="9"/>
                </a:lnTo>
                <a:lnTo>
                  <a:pt x="397" y="0"/>
                </a:lnTo>
                <a:lnTo>
                  <a:pt x="397" y="0"/>
                </a:lnTo>
                <a:lnTo>
                  <a:pt x="415" y="14"/>
                </a:lnTo>
                <a:lnTo>
                  <a:pt x="431" y="27"/>
                </a:lnTo>
                <a:lnTo>
                  <a:pt x="446" y="40"/>
                </a:lnTo>
                <a:lnTo>
                  <a:pt x="453" y="47"/>
                </a:lnTo>
                <a:lnTo>
                  <a:pt x="459" y="55"/>
                </a:lnTo>
                <a:lnTo>
                  <a:pt x="465" y="64"/>
                </a:lnTo>
                <a:lnTo>
                  <a:pt x="470" y="73"/>
                </a:lnTo>
                <a:lnTo>
                  <a:pt x="475" y="82"/>
                </a:lnTo>
                <a:lnTo>
                  <a:pt x="479" y="92"/>
                </a:lnTo>
                <a:lnTo>
                  <a:pt x="484" y="104"/>
                </a:lnTo>
                <a:lnTo>
                  <a:pt x="487" y="116"/>
                </a:lnTo>
                <a:lnTo>
                  <a:pt x="490" y="129"/>
                </a:lnTo>
                <a:lnTo>
                  <a:pt x="493" y="143"/>
                </a:lnTo>
                <a:lnTo>
                  <a:pt x="493" y="143"/>
                </a:lnTo>
                <a:lnTo>
                  <a:pt x="671" y="150"/>
                </a:lnTo>
                <a:lnTo>
                  <a:pt x="671" y="150"/>
                </a:lnTo>
                <a:lnTo>
                  <a:pt x="671" y="133"/>
                </a:lnTo>
                <a:lnTo>
                  <a:pt x="670" y="118"/>
                </a:lnTo>
                <a:lnTo>
                  <a:pt x="667" y="103"/>
                </a:lnTo>
                <a:lnTo>
                  <a:pt x="662" y="88"/>
                </a:lnTo>
                <a:lnTo>
                  <a:pt x="657" y="75"/>
                </a:lnTo>
                <a:lnTo>
                  <a:pt x="651" y="62"/>
                </a:lnTo>
                <a:lnTo>
                  <a:pt x="643" y="50"/>
                </a:lnTo>
                <a:lnTo>
                  <a:pt x="634" y="38"/>
                </a:lnTo>
                <a:lnTo>
                  <a:pt x="634" y="38"/>
                </a:lnTo>
                <a:lnTo>
                  <a:pt x="651" y="46"/>
                </a:lnTo>
                <a:lnTo>
                  <a:pt x="669" y="54"/>
                </a:lnTo>
                <a:lnTo>
                  <a:pt x="684" y="64"/>
                </a:lnTo>
                <a:lnTo>
                  <a:pt x="699" y="73"/>
                </a:lnTo>
                <a:lnTo>
                  <a:pt x="714" y="83"/>
                </a:lnTo>
                <a:lnTo>
                  <a:pt x="728" y="93"/>
                </a:lnTo>
                <a:lnTo>
                  <a:pt x="740" y="104"/>
                </a:lnTo>
                <a:lnTo>
                  <a:pt x="752" y="115"/>
                </a:lnTo>
                <a:lnTo>
                  <a:pt x="764" y="126"/>
                </a:lnTo>
                <a:lnTo>
                  <a:pt x="775" y="138"/>
                </a:lnTo>
                <a:lnTo>
                  <a:pt x="785" y="151"/>
                </a:lnTo>
                <a:lnTo>
                  <a:pt x="794" y="163"/>
                </a:lnTo>
                <a:lnTo>
                  <a:pt x="803" y="175"/>
                </a:lnTo>
                <a:lnTo>
                  <a:pt x="811" y="187"/>
                </a:lnTo>
                <a:lnTo>
                  <a:pt x="825" y="213"/>
                </a:lnTo>
                <a:lnTo>
                  <a:pt x="837" y="238"/>
                </a:lnTo>
                <a:lnTo>
                  <a:pt x="848" y="263"/>
                </a:lnTo>
                <a:lnTo>
                  <a:pt x="855" y="289"/>
                </a:lnTo>
                <a:lnTo>
                  <a:pt x="861" y="312"/>
                </a:lnTo>
                <a:lnTo>
                  <a:pt x="865" y="336"/>
                </a:lnTo>
                <a:lnTo>
                  <a:pt x="868" y="358"/>
                </a:lnTo>
                <a:lnTo>
                  <a:pt x="869" y="379"/>
                </a:lnTo>
                <a:lnTo>
                  <a:pt x="869" y="397"/>
                </a:lnTo>
                <a:lnTo>
                  <a:pt x="869" y="397"/>
                </a:lnTo>
                <a:lnTo>
                  <a:pt x="869" y="423"/>
                </a:lnTo>
                <a:lnTo>
                  <a:pt x="868" y="449"/>
                </a:lnTo>
                <a:lnTo>
                  <a:pt x="864" y="474"/>
                </a:lnTo>
                <a:lnTo>
                  <a:pt x="859" y="499"/>
                </a:lnTo>
                <a:lnTo>
                  <a:pt x="852" y="523"/>
                </a:lnTo>
                <a:lnTo>
                  <a:pt x="843" y="546"/>
                </a:lnTo>
                <a:lnTo>
                  <a:pt x="834" y="569"/>
                </a:lnTo>
                <a:lnTo>
                  <a:pt x="823" y="590"/>
                </a:lnTo>
                <a:lnTo>
                  <a:pt x="811" y="612"/>
                </a:lnTo>
                <a:lnTo>
                  <a:pt x="796" y="631"/>
                </a:lnTo>
                <a:lnTo>
                  <a:pt x="782" y="651"/>
                </a:lnTo>
                <a:lnTo>
                  <a:pt x="766" y="668"/>
                </a:lnTo>
                <a:lnTo>
                  <a:pt x="749" y="684"/>
                </a:lnTo>
                <a:lnTo>
                  <a:pt x="731" y="700"/>
                </a:lnTo>
                <a:lnTo>
                  <a:pt x="713" y="714"/>
                </a:lnTo>
                <a:lnTo>
                  <a:pt x="693" y="727"/>
                </a:lnTo>
                <a:lnTo>
                  <a:pt x="693" y="727"/>
                </a:lnTo>
                <a:lnTo>
                  <a:pt x="658" y="748"/>
                </a:lnTo>
                <a:lnTo>
                  <a:pt x="626" y="766"/>
                </a:lnTo>
                <a:lnTo>
                  <a:pt x="594" y="783"/>
                </a:lnTo>
                <a:lnTo>
                  <a:pt x="563" y="799"/>
                </a:lnTo>
                <a:lnTo>
                  <a:pt x="506" y="826"/>
                </a:lnTo>
                <a:lnTo>
                  <a:pt x="452" y="85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8" name="Freeform 45"/>
          <p:cNvSpPr>
            <a:spLocks/>
          </p:cNvSpPr>
          <p:nvPr userDrawn="1"/>
        </p:nvSpPr>
        <p:spPr bwMode="auto">
          <a:xfrm>
            <a:off x="7677150" y="1579265"/>
            <a:ext cx="1588" cy="0"/>
          </a:xfrm>
          <a:custGeom>
            <a:avLst/>
            <a:gdLst>
              <a:gd name="T0" fmla="*/ 22 w 22"/>
              <a:gd name="T1" fmla="*/ 9 h 9"/>
              <a:gd name="T2" fmla="*/ 22 w 22"/>
              <a:gd name="T3" fmla="*/ 9 h 9"/>
              <a:gd name="T4" fmla="*/ 3 w 22"/>
              <a:gd name="T5" fmla="*/ 2 h 9"/>
              <a:gd name="T6" fmla="*/ 3 w 22"/>
              <a:gd name="T7" fmla="*/ 2 h 9"/>
              <a:gd name="T8" fmla="*/ 0 w 22"/>
              <a:gd name="T9" fmla="*/ 0 h 9"/>
              <a:gd name="T10" fmla="*/ 0 w 22"/>
              <a:gd name="T11" fmla="*/ 0 h 9"/>
              <a:gd name="T12" fmla="*/ 22 w 22"/>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22" h="9">
                <a:moveTo>
                  <a:pt x="22" y="9"/>
                </a:moveTo>
                <a:lnTo>
                  <a:pt x="22" y="9"/>
                </a:lnTo>
                <a:lnTo>
                  <a:pt x="3" y="2"/>
                </a:lnTo>
                <a:lnTo>
                  <a:pt x="3" y="2"/>
                </a:lnTo>
                <a:lnTo>
                  <a:pt x="0" y="0"/>
                </a:lnTo>
                <a:lnTo>
                  <a:pt x="0" y="0"/>
                </a:lnTo>
                <a:lnTo>
                  <a:pt x="22"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9" name="Freeform 46"/>
          <p:cNvSpPr>
            <a:spLocks/>
          </p:cNvSpPr>
          <p:nvPr userDrawn="1"/>
        </p:nvSpPr>
        <p:spPr bwMode="auto">
          <a:xfrm>
            <a:off x="7429500" y="1261765"/>
            <a:ext cx="20638" cy="12700"/>
          </a:xfrm>
          <a:custGeom>
            <a:avLst/>
            <a:gdLst>
              <a:gd name="T0" fmla="*/ 166 w 166"/>
              <a:gd name="T1" fmla="*/ 69 h 96"/>
              <a:gd name="T2" fmla="*/ 166 w 166"/>
              <a:gd name="T3" fmla="*/ 69 h 96"/>
              <a:gd name="T4" fmla="*/ 166 w 166"/>
              <a:gd name="T5" fmla="*/ 70 h 96"/>
              <a:gd name="T6" fmla="*/ 165 w 166"/>
              <a:gd name="T7" fmla="*/ 72 h 96"/>
              <a:gd name="T8" fmla="*/ 161 w 166"/>
              <a:gd name="T9" fmla="*/ 74 h 96"/>
              <a:gd name="T10" fmla="*/ 155 w 166"/>
              <a:gd name="T11" fmla="*/ 77 h 96"/>
              <a:gd name="T12" fmla="*/ 145 w 166"/>
              <a:gd name="T13" fmla="*/ 79 h 96"/>
              <a:gd name="T14" fmla="*/ 123 w 166"/>
              <a:gd name="T15" fmla="*/ 85 h 96"/>
              <a:gd name="T16" fmla="*/ 95 w 166"/>
              <a:gd name="T17" fmla="*/ 90 h 96"/>
              <a:gd name="T18" fmla="*/ 68 w 166"/>
              <a:gd name="T19" fmla="*/ 94 h 96"/>
              <a:gd name="T20" fmla="*/ 42 w 166"/>
              <a:gd name="T21" fmla="*/ 96 h 96"/>
              <a:gd name="T22" fmla="*/ 24 w 166"/>
              <a:gd name="T23" fmla="*/ 96 h 96"/>
              <a:gd name="T24" fmla="*/ 17 w 166"/>
              <a:gd name="T25" fmla="*/ 95 h 96"/>
              <a:gd name="T26" fmla="*/ 13 w 166"/>
              <a:gd name="T27" fmla="*/ 94 h 96"/>
              <a:gd name="T28" fmla="*/ 13 w 166"/>
              <a:gd name="T29" fmla="*/ 94 h 96"/>
              <a:gd name="T30" fmla="*/ 10 w 166"/>
              <a:gd name="T31" fmla="*/ 92 h 96"/>
              <a:gd name="T32" fmla="*/ 8 w 166"/>
              <a:gd name="T33" fmla="*/ 88 h 96"/>
              <a:gd name="T34" fmla="*/ 5 w 166"/>
              <a:gd name="T35" fmla="*/ 77 h 96"/>
              <a:gd name="T36" fmla="*/ 2 w 166"/>
              <a:gd name="T37" fmla="*/ 65 h 96"/>
              <a:gd name="T38" fmla="*/ 0 w 166"/>
              <a:gd name="T39" fmla="*/ 51 h 96"/>
              <a:gd name="T40" fmla="*/ 0 w 166"/>
              <a:gd name="T41" fmla="*/ 36 h 96"/>
              <a:gd name="T42" fmla="*/ 0 w 166"/>
              <a:gd name="T43" fmla="*/ 23 h 96"/>
              <a:gd name="T44" fmla="*/ 1 w 166"/>
              <a:gd name="T45" fmla="*/ 13 h 96"/>
              <a:gd name="T46" fmla="*/ 2 w 166"/>
              <a:gd name="T47" fmla="*/ 8 h 96"/>
              <a:gd name="T48" fmla="*/ 4 w 166"/>
              <a:gd name="T49" fmla="*/ 5 h 96"/>
              <a:gd name="T50" fmla="*/ 4 w 166"/>
              <a:gd name="T51" fmla="*/ 5 h 96"/>
              <a:gd name="T52" fmla="*/ 5 w 166"/>
              <a:gd name="T53" fmla="*/ 4 h 96"/>
              <a:gd name="T54" fmla="*/ 7 w 166"/>
              <a:gd name="T55" fmla="*/ 2 h 96"/>
              <a:gd name="T56" fmla="*/ 13 w 166"/>
              <a:gd name="T57" fmla="*/ 1 h 96"/>
              <a:gd name="T58" fmla="*/ 22 w 166"/>
              <a:gd name="T59" fmla="*/ 0 h 96"/>
              <a:gd name="T60" fmla="*/ 32 w 166"/>
              <a:gd name="T61" fmla="*/ 0 h 96"/>
              <a:gd name="T62" fmla="*/ 43 w 166"/>
              <a:gd name="T63" fmla="*/ 1 h 96"/>
              <a:gd name="T64" fmla="*/ 55 w 166"/>
              <a:gd name="T65" fmla="*/ 3 h 96"/>
              <a:gd name="T66" fmla="*/ 69 w 166"/>
              <a:gd name="T67" fmla="*/ 6 h 96"/>
              <a:gd name="T68" fmla="*/ 83 w 166"/>
              <a:gd name="T69" fmla="*/ 10 h 96"/>
              <a:gd name="T70" fmla="*/ 96 w 166"/>
              <a:gd name="T71" fmla="*/ 15 h 96"/>
              <a:gd name="T72" fmla="*/ 110 w 166"/>
              <a:gd name="T73" fmla="*/ 20 h 96"/>
              <a:gd name="T74" fmla="*/ 123 w 166"/>
              <a:gd name="T75" fmla="*/ 27 h 96"/>
              <a:gd name="T76" fmla="*/ 135 w 166"/>
              <a:gd name="T77" fmla="*/ 34 h 96"/>
              <a:gd name="T78" fmla="*/ 145 w 166"/>
              <a:gd name="T79" fmla="*/ 42 h 96"/>
              <a:gd name="T80" fmla="*/ 155 w 166"/>
              <a:gd name="T81" fmla="*/ 51 h 96"/>
              <a:gd name="T82" fmla="*/ 162 w 166"/>
              <a:gd name="T83" fmla="*/ 60 h 96"/>
              <a:gd name="T84" fmla="*/ 164 w 166"/>
              <a:gd name="T85" fmla="*/ 64 h 96"/>
              <a:gd name="T86" fmla="*/ 166 w 166"/>
              <a:gd name="T87" fmla="*/ 6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6" h="96">
                <a:moveTo>
                  <a:pt x="166" y="69"/>
                </a:moveTo>
                <a:lnTo>
                  <a:pt x="166" y="69"/>
                </a:lnTo>
                <a:lnTo>
                  <a:pt x="166" y="70"/>
                </a:lnTo>
                <a:lnTo>
                  <a:pt x="165" y="72"/>
                </a:lnTo>
                <a:lnTo>
                  <a:pt x="161" y="74"/>
                </a:lnTo>
                <a:lnTo>
                  <a:pt x="155" y="77"/>
                </a:lnTo>
                <a:lnTo>
                  <a:pt x="145" y="79"/>
                </a:lnTo>
                <a:lnTo>
                  <a:pt x="123" y="85"/>
                </a:lnTo>
                <a:lnTo>
                  <a:pt x="95" y="90"/>
                </a:lnTo>
                <a:lnTo>
                  <a:pt x="68" y="94"/>
                </a:lnTo>
                <a:lnTo>
                  <a:pt x="42" y="96"/>
                </a:lnTo>
                <a:lnTo>
                  <a:pt x="24" y="96"/>
                </a:lnTo>
                <a:lnTo>
                  <a:pt x="17" y="95"/>
                </a:lnTo>
                <a:lnTo>
                  <a:pt x="13" y="94"/>
                </a:lnTo>
                <a:lnTo>
                  <a:pt x="13" y="94"/>
                </a:lnTo>
                <a:lnTo>
                  <a:pt x="10" y="92"/>
                </a:lnTo>
                <a:lnTo>
                  <a:pt x="8" y="88"/>
                </a:lnTo>
                <a:lnTo>
                  <a:pt x="5" y="77"/>
                </a:lnTo>
                <a:lnTo>
                  <a:pt x="2" y="65"/>
                </a:lnTo>
                <a:lnTo>
                  <a:pt x="0" y="51"/>
                </a:lnTo>
                <a:lnTo>
                  <a:pt x="0" y="36"/>
                </a:lnTo>
                <a:lnTo>
                  <a:pt x="0" y="23"/>
                </a:lnTo>
                <a:lnTo>
                  <a:pt x="1" y="13"/>
                </a:lnTo>
                <a:lnTo>
                  <a:pt x="2" y="8"/>
                </a:lnTo>
                <a:lnTo>
                  <a:pt x="4" y="5"/>
                </a:lnTo>
                <a:lnTo>
                  <a:pt x="4" y="5"/>
                </a:lnTo>
                <a:lnTo>
                  <a:pt x="5" y="4"/>
                </a:lnTo>
                <a:lnTo>
                  <a:pt x="7" y="2"/>
                </a:lnTo>
                <a:lnTo>
                  <a:pt x="13" y="1"/>
                </a:lnTo>
                <a:lnTo>
                  <a:pt x="22" y="0"/>
                </a:lnTo>
                <a:lnTo>
                  <a:pt x="32" y="0"/>
                </a:lnTo>
                <a:lnTo>
                  <a:pt x="43" y="1"/>
                </a:lnTo>
                <a:lnTo>
                  <a:pt x="55" y="3"/>
                </a:lnTo>
                <a:lnTo>
                  <a:pt x="69" y="6"/>
                </a:lnTo>
                <a:lnTo>
                  <a:pt x="83" y="10"/>
                </a:lnTo>
                <a:lnTo>
                  <a:pt x="96" y="15"/>
                </a:lnTo>
                <a:lnTo>
                  <a:pt x="110" y="20"/>
                </a:lnTo>
                <a:lnTo>
                  <a:pt x="123" y="27"/>
                </a:lnTo>
                <a:lnTo>
                  <a:pt x="135" y="34"/>
                </a:lnTo>
                <a:lnTo>
                  <a:pt x="145" y="42"/>
                </a:lnTo>
                <a:lnTo>
                  <a:pt x="155" y="51"/>
                </a:lnTo>
                <a:lnTo>
                  <a:pt x="162" y="60"/>
                </a:lnTo>
                <a:lnTo>
                  <a:pt x="164" y="64"/>
                </a:lnTo>
                <a:lnTo>
                  <a:pt x="166" y="6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50" name="Freeform 47"/>
          <p:cNvSpPr>
            <a:spLocks/>
          </p:cNvSpPr>
          <p:nvPr userDrawn="1"/>
        </p:nvSpPr>
        <p:spPr bwMode="auto">
          <a:xfrm>
            <a:off x="7151687" y="1218903"/>
            <a:ext cx="657225" cy="776288"/>
          </a:xfrm>
          <a:custGeom>
            <a:avLst/>
            <a:gdLst>
              <a:gd name="T0" fmla="*/ 4703 w 4973"/>
              <a:gd name="T1" fmla="*/ 1877 h 5865"/>
              <a:gd name="T2" fmla="*/ 4733 w 4973"/>
              <a:gd name="T3" fmla="*/ 1183 h 5865"/>
              <a:gd name="T4" fmla="*/ 4302 w 4973"/>
              <a:gd name="T5" fmla="*/ 476 h 5865"/>
              <a:gd name="T6" fmla="*/ 3581 w 4973"/>
              <a:gd name="T7" fmla="*/ 813 h 5865"/>
              <a:gd name="T8" fmla="*/ 3899 w 4973"/>
              <a:gd name="T9" fmla="*/ 1529 h 5865"/>
              <a:gd name="T10" fmla="*/ 3757 w 4973"/>
              <a:gd name="T11" fmla="*/ 2227 h 5865"/>
              <a:gd name="T12" fmla="*/ 3939 w 4973"/>
              <a:gd name="T13" fmla="*/ 2068 h 5865"/>
              <a:gd name="T14" fmla="*/ 4069 w 4973"/>
              <a:gd name="T15" fmla="*/ 1928 h 5865"/>
              <a:gd name="T16" fmla="*/ 4545 w 4973"/>
              <a:gd name="T17" fmla="*/ 1985 h 5865"/>
              <a:gd name="T18" fmla="*/ 4487 w 4973"/>
              <a:gd name="T19" fmla="*/ 2697 h 5865"/>
              <a:gd name="T20" fmla="*/ 3601 w 4973"/>
              <a:gd name="T21" fmla="*/ 2477 h 5865"/>
              <a:gd name="T22" fmla="*/ 3285 w 4973"/>
              <a:gd name="T23" fmla="*/ 1581 h 5865"/>
              <a:gd name="T24" fmla="*/ 3364 w 4973"/>
              <a:gd name="T25" fmla="*/ 1421 h 5865"/>
              <a:gd name="T26" fmla="*/ 3101 w 4973"/>
              <a:gd name="T27" fmla="*/ 996 h 5865"/>
              <a:gd name="T28" fmla="*/ 3251 w 4973"/>
              <a:gd name="T29" fmla="*/ 599 h 5865"/>
              <a:gd name="T30" fmla="*/ 2863 w 4973"/>
              <a:gd name="T31" fmla="*/ 144 h 5865"/>
              <a:gd name="T32" fmla="*/ 1960 w 4973"/>
              <a:gd name="T33" fmla="*/ 304 h 5865"/>
              <a:gd name="T34" fmla="*/ 1819 w 4973"/>
              <a:gd name="T35" fmla="*/ 748 h 5865"/>
              <a:gd name="T36" fmla="*/ 2202 w 4973"/>
              <a:gd name="T37" fmla="*/ 626 h 5865"/>
              <a:gd name="T38" fmla="*/ 2215 w 4973"/>
              <a:gd name="T39" fmla="*/ 803 h 5865"/>
              <a:gd name="T40" fmla="*/ 1623 w 4973"/>
              <a:gd name="T41" fmla="*/ 851 h 5865"/>
              <a:gd name="T42" fmla="*/ 1602 w 4973"/>
              <a:gd name="T43" fmla="*/ 1055 h 5865"/>
              <a:gd name="T44" fmla="*/ 2246 w 4973"/>
              <a:gd name="T45" fmla="*/ 924 h 5865"/>
              <a:gd name="T46" fmla="*/ 2036 w 4973"/>
              <a:gd name="T47" fmla="*/ 981 h 5865"/>
              <a:gd name="T48" fmla="*/ 1754 w 4973"/>
              <a:gd name="T49" fmla="*/ 1278 h 5865"/>
              <a:gd name="T50" fmla="*/ 2105 w 4973"/>
              <a:gd name="T51" fmla="*/ 1619 h 5865"/>
              <a:gd name="T52" fmla="*/ 863 w 4973"/>
              <a:gd name="T53" fmla="*/ 2239 h 5865"/>
              <a:gd name="T54" fmla="*/ 310 w 4973"/>
              <a:gd name="T55" fmla="*/ 2027 h 5865"/>
              <a:gd name="T56" fmla="*/ 319 w 4973"/>
              <a:gd name="T57" fmla="*/ 2172 h 5865"/>
              <a:gd name="T58" fmla="*/ 380 w 4973"/>
              <a:gd name="T59" fmla="*/ 2295 h 5865"/>
              <a:gd name="T60" fmla="*/ 39 w 4973"/>
              <a:gd name="T61" fmla="*/ 2396 h 5865"/>
              <a:gd name="T62" fmla="*/ 189 w 4973"/>
              <a:gd name="T63" fmla="*/ 2511 h 5865"/>
              <a:gd name="T64" fmla="*/ 322 w 4973"/>
              <a:gd name="T65" fmla="*/ 2588 h 5865"/>
              <a:gd name="T66" fmla="*/ 272 w 4973"/>
              <a:gd name="T67" fmla="*/ 2893 h 5865"/>
              <a:gd name="T68" fmla="*/ 630 w 4973"/>
              <a:gd name="T69" fmla="*/ 2730 h 5865"/>
              <a:gd name="T70" fmla="*/ 811 w 4973"/>
              <a:gd name="T71" fmla="*/ 2843 h 5865"/>
              <a:gd name="T72" fmla="*/ 1024 w 4973"/>
              <a:gd name="T73" fmla="*/ 2773 h 5865"/>
              <a:gd name="T74" fmla="*/ 1290 w 4973"/>
              <a:gd name="T75" fmla="*/ 2556 h 5865"/>
              <a:gd name="T76" fmla="*/ 1713 w 4973"/>
              <a:gd name="T77" fmla="*/ 2519 h 5865"/>
              <a:gd name="T78" fmla="*/ 2306 w 4973"/>
              <a:gd name="T79" fmla="*/ 2641 h 5865"/>
              <a:gd name="T80" fmla="*/ 3357 w 4973"/>
              <a:gd name="T81" fmla="*/ 3092 h 5865"/>
              <a:gd name="T82" fmla="*/ 3742 w 4973"/>
              <a:gd name="T83" fmla="*/ 3928 h 5865"/>
              <a:gd name="T84" fmla="*/ 3685 w 4973"/>
              <a:gd name="T85" fmla="*/ 4224 h 5865"/>
              <a:gd name="T86" fmla="*/ 4224 w 4973"/>
              <a:gd name="T87" fmla="*/ 4337 h 5865"/>
              <a:gd name="T88" fmla="*/ 4264 w 4973"/>
              <a:gd name="T89" fmla="*/ 5017 h 5865"/>
              <a:gd name="T90" fmla="*/ 3761 w 4973"/>
              <a:gd name="T91" fmla="*/ 5058 h 5865"/>
              <a:gd name="T92" fmla="*/ 3894 w 4973"/>
              <a:gd name="T93" fmla="*/ 5210 h 5865"/>
              <a:gd name="T94" fmla="*/ 3894 w 4973"/>
              <a:gd name="T95" fmla="*/ 5294 h 5865"/>
              <a:gd name="T96" fmla="*/ 3751 w 4973"/>
              <a:gd name="T97" fmla="*/ 5644 h 5865"/>
              <a:gd name="T98" fmla="*/ 3926 w 4973"/>
              <a:gd name="T99" fmla="*/ 5586 h 5865"/>
              <a:gd name="T100" fmla="*/ 4212 w 4973"/>
              <a:gd name="T101" fmla="*/ 5447 h 5865"/>
              <a:gd name="T102" fmla="*/ 4257 w 4973"/>
              <a:gd name="T103" fmla="*/ 5812 h 5865"/>
              <a:gd name="T104" fmla="*/ 4352 w 4973"/>
              <a:gd name="T105" fmla="*/ 5675 h 5865"/>
              <a:gd name="T106" fmla="*/ 4557 w 4973"/>
              <a:gd name="T107" fmla="*/ 5328 h 5865"/>
              <a:gd name="T108" fmla="*/ 4736 w 4973"/>
              <a:gd name="T109" fmla="*/ 5505 h 5865"/>
              <a:gd name="T110" fmla="*/ 4753 w 4973"/>
              <a:gd name="T111" fmla="*/ 5108 h 5865"/>
              <a:gd name="T112" fmla="*/ 4693 w 4973"/>
              <a:gd name="T113" fmla="*/ 4810 h 5865"/>
              <a:gd name="T114" fmla="*/ 4677 w 4973"/>
              <a:gd name="T115" fmla="*/ 4437 h 5865"/>
              <a:gd name="T116" fmla="*/ 4640 w 4973"/>
              <a:gd name="T117" fmla="*/ 4108 h 5865"/>
              <a:gd name="T118" fmla="*/ 4297 w 4973"/>
              <a:gd name="T119" fmla="*/ 3793 h 5865"/>
              <a:gd name="T120" fmla="*/ 4267 w 4973"/>
              <a:gd name="T121" fmla="*/ 3366 h 5865"/>
              <a:gd name="T122" fmla="*/ 4428 w 4973"/>
              <a:gd name="T123" fmla="*/ 2994 h 5865"/>
              <a:gd name="T124" fmla="*/ 4923 w 4973"/>
              <a:gd name="T125" fmla="*/ 2543 h 5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973" h="5865">
                <a:moveTo>
                  <a:pt x="4842" y="2253"/>
                </a:moveTo>
                <a:lnTo>
                  <a:pt x="4842" y="2253"/>
                </a:lnTo>
                <a:lnTo>
                  <a:pt x="4862" y="2257"/>
                </a:lnTo>
                <a:lnTo>
                  <a:pt x="4881" y="2259"/>
                </a:lnTo>
                <a:lnTo>
                  <a:pt x="4900" y="2260"/>
                </a:lnTo>
                <a:lnTo>
                  <a:pt x="4916" y="2259"/>
                </a:lnTo>
                <a:lnTo>
                  <a:pt x="4932" y="2257"/>
                </a:lnTo>
                <a:lnTo>
                  <a:pt x="4946" y="2254"/>
                </a:lnTo>
                <a:lnTo>
                  <a:pt x="4958" y="2249"/>
                </a:lnTo>
                <a:lnTo>
                  <a:pt x="4969" y="2243"/>
                </a:lnTo>
                <a:lnTo>
                  <a:pt x="4969" y="2243"/>
                </a:lnTo>
                <a:lnTo>
                  <a:pt x="4967" y="2217"/>
                </a:lnTo>
                <a:lnTo>
                  <a:pt x="4960" y="2157"/>
                </a:lnTo>
                <a:lnTo>
                  <a:pt x="4951" y="2084"/>
                </a:lnTo>
                <a:lnTo>
                  <a:pt x="4946" y="2052"/>
                </a:lnTo>
                <a:lnTo>
                  <a:pt x="4940" y="2024"/>
                </a:lnTo>
                <a:lnTo>
                  <a:pt x="4940" y="2024"/>
                </a:lnTo>
                <a:lnTo>
                  <a:pt x="4922" y="2027"/>
                </a:lnTo>
                <a:lnTo>
                  <a:pt x="4902" y="2030"/>
                </a:lnTo>
                <a:lnTo>
                  <a:pt x="4891" y="2030"/>
                </a:lnTo>
                <a:lnTo>
                  <a:pt x="4879" y="2030"/>
                </a:lnTo>
                <a:lnTo>
                  <a:pt x="4867" y="2029"/>
                </a:lnTo>
                <a:lnTo>
                  <a:pt x="4855" y="2027"/>
                </a:lnTo>
                <a:lnTo>
                  <a:pt x="4843" y="2024"/>
                </a:lnTo>
                <a:lnTo>
                  <a:pt x="4830" y="2020"/>
                </a:lnTo>
                <a:lnTo>
                  <a:pt x="4818" y="2015"/>
                </a:lnTo>
                <a:lnTo>
                  <a:pt x="4806" y="2008"/>
                </a:lnTo>
                <a:lnTo>
                  <a:pt x="4794" y="1998"/>
                </a:lnTo>
                <a:lnTo>
                  <a:pt x="4782" y="1988"/>
                </a:lnTo>
                <a:lnTo>
                  <a:pt x="4771" y="1976"/>
                </a:lnTo>
                <a:lnTo>
                  <a:pt x="4761" y="1962"/>
                </a:lnTo>
                <a:lnTo>
                  <a:pt x="4761" y="1962"/>
                </a:lnTo>
                <a:lnTo>
                  <a:pt x="4743" y="1933"/>
                </a:lnTo>
                <a:lnTo>
                  <a:pt x="4724" y="1905"/>
                </a:lnTo>
                <a:lnTo>
                  <a:pt x="4724" y="1905"/>
                </a:lnTo>
                <a:lnTo>
                  <a:pt x="4703" y="1877"/>
                </a:lnTo>
                <a:lnTo>
                  <a:pt x="4680" y="1849"/>
                </a:lnTo>
                <a:lnTo>
                  <a:pt x="4658" y="1823"/>
                </a:lnTo>
                <a:lnTo>
                  <a:pt x="4634" y="1797"/>
                </a:lnTo>
                <a:lnTo>
                  <a:pt x="4611" y="1773"/>
                </a:lnTo>
                <a:lnTo>
                  <a:pt x="4586" y="1750"/>
                </a:lnTo>
                <a:lnTo>
                  <a:pt x="4562" y="1727"/>
                </a:lnTo>
                <a:lnTo>
                  <a:pt x="4538" y="1707"/>
                </a:lnTo>
                <a:lnTo>
                  <a:pt x="4513" y="1687"/>
                </a:lnTo>
                <a:lnTo>
                  <a:pt x="4489" y="1667"/>
                </a:lnTo>
                <a:lnTo>
                  <a:pt x="4463" y="1649"/>
                </a:lnTo>
                <a:lnTo>
                  <a:pt x="4439" y="1630"/>
                </a:lnTo>
                <a:lnTo>
                  <a:pt x="4413" y="1614"/>
                </a:lnTo>
                <a:lnTo>
                  <a:pt x="4389" y="1598"/>
                </a:lnTo>
                <a:lnTo>
                  <a:pt x="4337" y="1566"/>
                </a:lnTo>
                <a:lnTo>
                  <a:pt x="4337" y="1566"/>
                </a:lnTo>
                <a:lnTo>
                  <a:pt x="4381" y="1543"/>
                </a:lnTo>
                <a:lnTo>
                  <a:pt x="4422" y="1521"/>
                </a:lnTo>
                <a:lnTo>
                  <a:pt x="4459" y="1498"/>
                </a:lnTo>
                <a:lnTo>
                  <a:pt x="4492" y="1477"/>
                </a:lnTo>
                <a:lnTo>
                  <a:pt x="4523" y="1455"/>
                </a:lnTo>
                <a:lnTo>
                  <a:pt x="4549" y="1434"/>
                </a:lnTo>
                <a:lnTo>
                  <a:pt x="4574" y="1414"/>
                </a:lnTo>
                <a:lnTo>
                  <a:pt x="4595" y="1393"/>
                </a:lnTo>
                <a:lnTo>
                  <a:pt x="4615" y="1374"/>
                </a:lnTo>
                <a:lnTo>
                  <a:pt x="4632" y="1355"/>
                </a:lnTo>
                <a:lnTo>
                  <a:pt x="4647" y="1337"/>
                </a:lnTo>
                <a:lnTo>
                  <a:pt x="4661" y="1319"/>
                </a:lnTo>
                <a:lnTo>
                  <a:pt x="4673" y="1303"/>
                </a:lnTo>
                <a:lnTo>
                  <a:pt x="4683" y="1288"/>
                </a:lnTo>
                <a:lnTo>
                  <a:pt x="4700" y="1260"/>
                </a:lnTo>
                <a:lnTo>
                  <a:pt x="4700" y="1260"/>
                </a:lnTo>
                <a:lnTo>
                  <a:pt x="4708" y="1248"/>
                </a:lnTo>
                <a:lnTo>
                  <a:pt x="4714" y="1234"/>
                </a:lnTo>
                <a:lnTo>
                  <a:pt x="4721" y="1218"/>
                </a:lnTo>
                <a:lnTo>
                  <a:pt x="4727" y="1202"/>
                </a:lnTo>
                <a:lnTo>
                  <a:pt x="4733" y="1183"/>
                </a:lnTo>
                <a:lnTo>
                  <a:pt x="4739" y="1164"/>
                </a:lnTo>
                <a:lnTo>
                  <a:pt x="4743" y="1144"/>
                </a:lnTo>
                <a:lnTo>
                  <a:pt x="4749" y="1123"/>
                </a:lnTo>
                <a:lnTo>
                  <a:pt x="4753" y="1101"/>
                </a:lnTo>
                <a:lnTo>
                  <a:pt x="4756" y="1078"/>
                </a:lnTo>
                <a:lnTo>
                  <a:pt x="4758" y="1054"/>
                </a:lnTo>
                <a:lnTo>
                  <a:pt x="4759" y="1030"/>
                </a:lnTo>
                <a:lnTo>
                  <a:pt x="4760" y="1005"/>
                </a:lnTo>
                <a:lnTo>
                  <a:pt x="4759" y="980"/>
                </a:lnTo>
                <a:lnTo>
                  <a:pt x="4758" y="954"/>
                </a:lnTo>
                <a:lnTo>
                  <a:pt x="4755" y="928"/>
                </a:lnTo>
                <a:lnTo>
                  <a:pt x="4751" y="902"/>
                </a:lnTo>
                <a:lnTo>
                  <a:pt x="4745" y="876"/>
                </a:lnTo>
                <a:lnTo>
                  <a:pt x="4738" y="849"/>
                </a:lnTo>
                <a:lnTo>
                  <a:pt x="4730" y="824"/>
                </a:lnTo>
                <a:lnTo>
                  <a:pt x="4720" y="797"/>
                </a:lnTo>
                <a:lnTo>
                  <a:pt x="4709" y="771"/>
                </a:lnTo>
                <a:lnTo>
                  <a:pt x="4695" y="746"/>
                </a:lnTo>
                <a:lnTo>
                  <a:pt x="4681" y="721"/>
                </a:lnTo>
                <a:lnTo>
                  <a:pt x="4665" y="697"/>
                </a:lnTo>
                <a:lnTo>
                  <a:pt x="4646" y="672"/>
                </a:lnTo>
                <a:lnTo>
                  <a:pt x="4625" y="649"/>
                </a:lnTo>
                <a:lnTo>
                  <a:pt x="4602" y="626"/>
                </a:lnTo>
                <a:lnTo>
                  <a:pt x="4578" y="605"/>
                </a:lnTo>
                <a:lnTo>
                  <a:pt x="4551" y="584"/>
                </a:lnTo>
                <a:lnTo>
                  <a:pt x="4522" y="565"/>
                </a:lnTo>
                <a:lnTo>
                  <a:pt x="4490" y="545"/>
                </a:lnTo>
                <a:lnTo>
                  <a:pt x="4490" y="545"/>
                </a:lnTo>
                <a:lnTo>
                  <a:pt x="4466" y="533"/>
                </a:lnTo>
                <a:lnTo>
                  <a:pt x="4443" y="522"/>
                </a:lnTo>
                <a:lnTo>
                  <a:pt x="4419" y="512"/>
                </a:lnTo>
                <a:lnTo>
                  <a:pt x="4396" y="503"/>
                </a:lnTo>
                <a:lnTo>
                  <a:pt x="4372" y="494"/>
                </a:lnTo>
                <a:lnTo>
                  <a:pt x="4348" y="487"/>
                </a:lnTo>
                <a:lnTo>
                  <a:pt x="4325" y="481"/>
                </a:lnTo>
                <a:lnTo>
                  <a:pt x="4302" y="476"/>
                </a:lnTo>
                <a:lnTo>
                  <a:pt x="4278" y="471"/>
                </a:lnTo>
                <a:lnTo>
                  <a:pt x="4256" y="468"/>
                </a:lnTo>
                <a:lnTo>
                  <a:pt x="4233" y="465"/>
                </a:lnTo>
                <a:lnTo>
                  <a:pt x="4211" y="463"/>
                </a:lnTo>
                <a:lnTo>
                  <a:pt x="4188" y="461"/>
                </a:lnTo>
                <a:lnTo>
                  <a:pt x="4167" y="461"/>
                </a:lnTo>
                <a:lnTo>
                  <a:pt x="4145" y="461"/>
                </a:lnTo>
                <a:lnTo>
                  <a:pt x="4124" y="461"/>
                </a:lnTo>
                <a:lnTo>
                  <a:pt x="4083" y="464"/>
                </a:lnTo>
                <a:lnTo>
                  <a:pt x="4044" y="468"/>
                </a:lnTo>
                <a:lnTo>
                  <a:pt x="4007" y="474"/>
                </a:lnTo>
                <a:lnTo>
                  <a:pt x="3973" y="482"/>
                </a:lnTo>
                <a:lnTo>
                  <a:pt x="3941" y="490"/>
                </a:lnTo>
                <a:lnTo>
                  <a:pt x="3912" y="499"/>
                </a:lnTo>
                <a:lnTo>
                  <a:pt x="3887" y="510"/>
                </a:lnTo>
                <a:lnTo>
                  <a:pt x="3864" y="519"/>
                </a:lnTo>
                <a:lnTo>
                  <a:pt x="3864" y="519"/>
                </a:lnTo>
                <a:lnTo>
                  <a:pt x="3844" y="529"/>
                </a:lnTo>
                <a:lnTo>
                  <a:pt x="3824" y="539"/>
                </a:lnTo>
                <a:lnTo>
                  <a:pt x="3806" y="551"/>
                </a:lnTo>
                <a:lnTo>
                  <a:pt x="3787" y="562"/>
                </a:lnTo>
                <a:lnTo>
                  <a:pt x="3769" y="575"/>
                </a:lnTo>
                <a:lnTo>
                  <a:pt x="3752" y="587"/>
                </a:lnTo>
                <a:lnTo>
                  <a:pt x="3735" y="602"/>
                </a:lnTo>
                <a:lnTo>
                  <a:pt x="3719" y="616"/>
                </a:lnTo>
                <a:lnTo>
                  <a:pt x="3703" y="631"/>
                </a:lnTo>
                <a:lnTo>
                  <a:pt x="3687" y="647"/>
                </a:lnTo>
                <a:lnTo>
                  <a:pt x="3673" y="663"/>
                </a:lnTo>
                <a:lnTo>
                  <a:pt x="3659" y="679"/>
                </a:lnTo>
                <a:lnTo>
                  <a:pt x="3645" y="697"/>
                </a:lnTo>
                <a:lnTo>
                  <a:pt x="3633" y="715"/>
                </a:lnTo>
                <a:lnTo>
                  <a:pt x="3621" y="734"/>
                </a:lnTo>
                <a:lnTo>
                  <a:pt x="3609" y="753"/>
                </a:lnTo>
                <a:lnTo>
                  <a:pt x="3599" y="772"/>
                </a:lnTo>
                <a:lnTo>
                  <a:pt x="3589" y="793"/>
                </a:lnTo>
                <a:lnTo>
                  <a:pt x="3581" y="813"/>
                </a:lnTo>
                <a:lnTo>
                  <a:pt x="3573" y="835"/>
                </a:lnTo>
                <a:lnTo>
                  <a:pt x="3565" y="856"/>
                </a:lnTo>
                <a:lnTo>
                  <a:pt x="3559" y="879"/>
                </a:lnTo>
                <a:lnTo>
                  <a:pt x="3554" y="901"/>
                </a:lnTo>
                <a:lnTo>
                  <a:pt x="3550" y="924"/>
                </a:lnTo>
                <a:lnTo>
                  <a:pt x="3547" y="947"/>
                </a:lnTo>
                <a:lnTo>
                  <a:pt x="3545" y="972"/>
                </a:lnTo>
                <a:lnTo>
                  <a:pt x="3544" y="996"/>
                </a:lnTo>
                <a:lnTo>
                  <a:pt x="3543" y="1021"/>
                </a:lnTo>
                <a:lnTo>
                  <a:pt x="3544" y="1046"/>
                </a:lnTo>
                <a:lnTo>
                  <a:pt x="3546" y="1072"/>
                </a:lnTo>
                <a:lnTo>
                  <a:pt x="3550" y="1098"/>
                </a:lnTo>
                <a:lnTo>
                  <a:pt x="3554" y="1124"/>
                </a:lnTo>
                <a:lnTo>
                  <a:pt x="3554" y="1124"/>
                </a:lnTo>
                <a:lnTo>
                  <a:pt x="3559" y="1148"/>
                </a:lnTo>
                <a:lnTo>
                  <a:pt x="3564" y="1169"/>
                </a:lnTo>
                <a:lnTo>
                  <a:pt x="3571" y="1191"/>
                </a:lnTo>
                <a:lnTo>
                  <a:pt x="3577" y="1211"/>
                </a:lnTo>
                <a:lnTo>
                  <a:pt x="3585" y="1231"/>
                </a:lnTo>
                <a:lnTo>
                  <a:pt x="3592" y="1249"/>
                </a:lnTo>
                <a:lnTo>
                  <a:pt x="3601" y="1267"/>
                </a:lnTo>
                <a:lnTo>
                  <a:pt x="3610" y="1285"/>
                </a:lnTo>
                <a:lnTo>
                  <a:pt x="3620" y="1301"/>
                </a:lnTo>
                <a:lnTo>
                  <a:pt x="3631" y="1316"/>
                </a:lnTo>
                <a:lnTo>
                  <a:pt x="3641" y="1332"/>
                </a:lnTo>
                <a:lnTo>
                  <a:pt x="3652" y="1347"/>
                </a:lnTo>
                <a:lnTo>
                  <a:pt x="3665" y="1361"/>
                </a:lnTo>
                <a:lnTo>
                  <a:pt x="3677" y="1375"/>
                </a:lnTo>
                <a:lnTo>
                  <a:pt x="3690" y="1388"/>
                </a:lnTo>
                <a:lnTo>
                  <a:pt x="3704" y="1400"/>
                </a:lnTo>
                <a:lnTo>
                  <a:pt x="3732" y="1425"/>
                </a:lnTo>
                <a:lnTo>
                  <a:pt x="3763" y="1447"/>
                </a:lnTo>
                <a:lnTo>
                  <a:pt x="3795" y="1469"/>
                </a:lnTo>
                <a:lnTo>
                  <a:pt x="3828" y="1489"/>
                </a:lnTo>
                <a:lnTo>
                  <a:pt x="3863" y="1510"/>
                </a:lnTo>
                <a:lnTo>
                  <a:pt x="3899" y="1529"/>
                </a:lnTo>
                <a:lnTo>
                  <a:pt x="3976" y="1567"/>
                </a:lnTo>
                <a:lnTo>
                  <a:pt x="3976" y="1567"/>
                </a:lnTo>
                <a:lnTo>
                  <a:pt x="3945" y="1584"/>
                </a:lnTo>
                <a:lnTo>
                  <a:pt x="3916" y="1601"/>
                </a:lnTo>
                <a:lnTo>
                  <a:pt x="3890" y="1618"/>
                </a:lnTo>
                <a:lnTo>
                  <a:pt x="3864" y="1636"/>
                </a:lnTo>
                <a:lnTo>
                  <a:pt x="3840" y="1656"/>
                </a:lnTo>
                <a:lnTo>
                  <a:pt x="3817" y="1675"/>
                </a:lnTo>
                <a:lnTo>
                  <a:pt x="3797" y="1696"/>
                </a:lnTo>
                <a:lnTo>
                  <a:pt x="3778" y="1717"/>
                </a:lnTo>
                <a:lnTo>
                  <a:pt x="3761" y="1741"/>
                </a:lnTo>
                <a:lnTo>
                  <a:pt x="3754" y="1753"/>
                </a:lnTo>
                <a:lnTo>
                  <a:pt x="3746" y="1765"/>
                </a:lnTo>
                <a:lnTo>
                  <a:pt x="3739" y="1778"/>
                </a:lnTo>
                <a:lnTo>
                  <a:pt x="3733" y="1791"/>
                </a:lnTo>
                <a:lnTo>
                  <a:pt x="3728" y="1804"/>
                </a:lnTo>
                <a:lnTo>
                  <a:pt x="3723" y="1818"/>
                </a:lnTo>
                <a:lnTo>
                  <a:pt x="3718" y="1833"/>
                </a:lnTo>
                <a:lnTo>
                  <a:pt x="3714" y="1848"/>
                </a:lnTo>
                <a:lnTo>
                  <a:pt x="3711" y="1863"/>
                </a:lnTo>
                <a:lnTo>
                  <a:pt x="3708" y="1879"/>
                </a:lnTo>
                <a:lnTo>
                  <a:pt x="3706" y="1895"/>
                </a:lnTo>
                <a:lnTo>
                  <a:pt x="3705" y="1912"/>
                </a:lnTo>
                <a:lnTo>
                  <a:pt x="3704" y="1930"/>
                </a:lnTo>
                <a:lnTo>
                  <a:pt x="3703" y="1947"/>
                </a:lnTo>
                <a:lnTo>
                  <a:pt x="3703" y="1947"/>
                </a:lnTo>
                <a:lnTo>
                  <a:pt x="3704" y="1970"/>
                </a:lnTo>
                <a:lnTo>
                  <a:pt x="3707" y="1993"/>
                </a:lnTo>
                <a:lnTo>
                  <a:pt x="3711" y="2016"/>
                </a:lnTo>
                <a:lnTo>
                  <a:pt x="3716" y="2039"/>
                </a:lnTo>
                <a:lnTo>
                  <a:pt x="3729" y="2087"/>
                </a:lnTo>
                <a:lnTo>
                  <a:pt x="3736" y="2113"/>
                </a:lnTo>
                <a:lnTo>
                  <a:pt x="3742" y="2139"/>
                </a:lnTo>
                <a:lnTo>
                  <a:pt x="3749" y="2168"/>
                </a:lnTo>
                <a:lnTo>
                  <a:pt x="3753" y="2197"/>
                </a:lnTo>
                <a:lnTo>
                  <a:pt x="3757" y="2227"/>
                </a:lnTo>
                <a:lnTo>
                  <a:pt x="3758" y="2260"/>
                </a:lnTo>
                <a:lnTo>
                  <a:pt x="3758" y="2295"/>
                </a:lnTo>
                <a:lnTo>
                  <a:pt x="3757" y="2313"/>
                </a:lnTo>
                <a:lnTo>
                  <a:pt x="3755" y="2332"/>
                </a:lnTo>
                <a:lnTo>
                  <a:pt x="3753" y="2350"/>
                </a:lnTo>
                <a:lnTo>
                  <a:pt x="3750" y="2371"/>
                </a:lnTo>
                <a:lnTo>
                  <a:pt x="3745" y="2391"/>
                </a:lnTo>
                <a:lnTo>
                  <a:pt x="3741" y="2411"/>
                </a:lnTo>
                <a:lnTo>
                  <a:pt x="3741" y="2411"/>
                </a:lnTo>
                <a:lnTo>
                  <a:pt x="3741" y="2413"/>
                </a:lnTo>
                <a:lnTo>
                  <a:pt x="3741" y="2414"/>
                </a:lnTo>
                <a:lnTo>
                  <a:pt x="3743" y="2414"/>
                </a:lnTo>
                <a:lnTo>
                  <a:pt x="3745" y="2416"/>
                </a:lnTo>
                <a:lnTo>
                  <a:pt x="3753" y="2413"/>
                </a:lnTo>
                <a:lnTo>
                  <a:pt x="3762" y="2411"/>
                </a:lnTo>
                <a:lnTo>
                  <a:pt x="3785" y="2401"/>
                </a:lnTo>
                <a:lnTo>
                  <a:pt x="3814" y="2389"/>
                </a:lnTo>
                <a:lnTo>
                  <a:pt x="3842" y="2374"/>
                </a:lnTo>
                <a:lnTo>
                  <a:pt x="3867" y="2360"/>
                </a:lnTo>
                <a:lnTo>
                  <a:pt x="3886" y="2349"/>
                </a:lnTo>
                <a:lnTo>
                  <a:pt x="3891" y="2345"/>
                </a:lnTo>
                <a:lnTo>
                  <a:pt x="3894" y="2343"/>
                </a:lnTo>
                <a:lnTo>
                  <a:pt x="3894" y="2343"/>
                </a:lnTo>
                <a:lnTo>
                  <a:pt x="3903" y="2319"/>
                </a:lnTo>
                <a:lnTo>
                  <a:pt x="3910" y="2296"/>
                </a:lnTo>
                <a:lnTo>
                  <a:pt x="3916" y="2272"/>
                </a:lnTo>
                <a:lnTo>
                  <a:pt x="3921" y="2248"/>
                </a:lnTo>
                <a:lnTo>
                  <a:pt x="3925" y="2224"/>
                </a:lnTo>
                <a:lnTo>
                  <a:pt x="3928" y="2201"/>
                </a:lnTo>
                <a:lnTo>
                  <a:pt x="3930" y="2178"/>
                </a:lnTo>
                <a:lnTo>
                  <a:pt x="3932" y="2156"/>
                </a:lnTo>
                <a:lnTo>
                  <a:pt x="3932" y="2117"/>
                </a:lnTo>
                <a:lnTo>
                  <a:pt x="3931" y="2086"/>
                </a:lnTo>
                <a:lnTo>
                  <a:pt x="3928" y="2059"/>
                </a:lnTo>
                <a:lnTo>
                  <a:pt x="3928" y="2059"/>
                </a:lnTo>
                <a:lnTo>
                  <a:pt x="3939" y="2068"/>
                </a:lnTo>
                <a:lnTo>
                  <a:pt x="3947" y="2079"/>
                </a:lnTo>
                <a:lnTo>
                  <a:pt x="3954" y="2091"/>
                </a:lnTo>
                <a:lnTo>
                  <a:pt x="3960" y="2105"/>
                </a:lnTo>
                <a:lnTo>
                  <a:pt x="3964" y="2120"/>
                </a:lnTo>
                <a:lnTo>
                  <a:pt x="3968" y="2135"/>
                </a:lnTo>
                <a:lnTo>
                  <a:pt x="3971" y="2152"/>
                </a:lnTo>
                <a:lnTo>
                  <a:pt x="3973" y="2168"/>
                </a:lnTo>
                <a:lnTo>
                  <a:pt x="3975" y="2185"/>
                </a:lnTo>
                <a:lnTo>
                  <a:pt x="3976" y="2203"/>
                </a:lnTo>
                <a:lnTo>
                  <a:pt x="3976" y="2219"/>
                </a:lnTo>
                <a:lnTo>
                  <a:pt x="3975" y="2237"/>
                </a:lnTo>
                <a:lnTo>
                  <a:pt x="3971" y="2268"/>
                </a:lnTo>
                <a:lnTo>
                  <a:pt x="3965" y="2297"/>
                </a:lnTo>
                <a:lnTo>
                  <a:pt x="3965" y="2297"/>
                </a:lnTo>
                <a:lnTo>
                  <a:pt x="3982" y="2288"/>
                </a:lnTo>
                <a:lnTo>
                  <a:pt x="3998" y="2276"/>
                </a:lnTo>
                <a:lnTo>
                  <a:pt x="4016" y="2263"/>
                </a:lnTo>
                <a:lnTo>
                  <a:pt x="4036" y="2249"/>
                </a:lnTo>
                <a:lnTo>
                  <a:pt x="4053" y="2234"/>
                </a:lnTo>
                <a:lnTo>
                  <a:pt x="4061" y="2226"/>
                </a:lnTo>
                <a:lnTo>
                  <a:pt x="4068" y="2219"/>
                </a:lnTo>
                <a:lnTo>
                  <a:pt x="4072" y="2212"/>
                </a:lnTo>
                <a:lnTo>
                  <a:pt x="4075" y="2206"/>
                </a:lnTo>
                <a:lnTo>
                  <a:pt x="4075" y="2206"/>
                </a:lnTo>
                <a:lnTo>
                  <a:pt x="4083" y="2176"/>
                </a:lnTo>
                <a:lnTo>
                  <a:pt x="4090" y="2148"/>
                </a:lnTo>
                <a:lnTo>
                  <a:pt x="4094" y="2121"/>
                </a:lnTo>
                <a:lnTo>
                  <a:pt x="4096" y="2095"/>
                </a:lnTo>
                <a:lnTo>
                  <a:pt x="4096" y="2071"/>
                </a:lnTo>
                <a:lnTo>
                  <a:pt x="4095" y="2047"/>
                </a:lnTo>
                <a:lnTo>
                  <a:pt x="4093" y="2025"/>
                </a:lnTo>
                <a:lnTo>
                  <a:pt x="4090" y="2003"/>
                </a:lnTo>
                <a:lnTo>
                  <a:pt x="4085" y="1983"/>
                </a:lnTo>
                <a:lnTo>
                  <a:pt x="4080" y="1964"/>
                </a:lnTo>
                <a:lnTo>
                  <a:pt x="4075" y="1945"/>
                </a:lnTo>
                <a:lnTo>
                  <a:pt x="4069" y="1928"/>
                </a:lnTo>
                <a:lnTo>
                  <a:pt x="4055" y="1894"/>
                </a:lnTo>
                <a:lnTo>
                  <a:pt x="4043" y="1862"/>
                </a:lnTo>
                <a:lnTo>
                  <a:pt x="4043" y="1862"/>
                </a:lnTo>
                <a:lnTo>
                  <a:pt x="4038" y="1847"/>
                </a:lnTo>
                <a:lnTo>
                  <a:pt x="4035" y="1832"/>
                </a:lnTo>
                <a:lnTo>
                  <a:pt x="4034" y="1817"/>
                </a:lnTo>
                <a:lnTo>
                  <a:pt x="4035" y="1802"/>
                </a:lnTo>
                <a:lnTo>
                  <a:pt x="4037" y="1788"/>
                </a:lnTo>
                <a:lnTo>
                  <a:pt x="4041" y="1773"/>
                </a:lnTo>
                <a:lnTo>
                  <a:pt x="4046" y="1759"/>
                </a:lnTo>
                <a:lnTo>
                  <a:pt x="4053" y="1746"/>
                </a:lnTo>
                <a:lnTo>
                  <a:pt x="4061" y="1733"/>
                </a:lnTo>
                <a:lnTo>
                  <a:pt x="4071" y="1719"/>
                </a:lnTo>
                <a:lnTo>
                  <a:pt x="4081" y="1707"/>
                </a:lnTo>
                <a:lnTo>
                  <a:pt x="4092" y="1696"/>
                </a:lnTo>
                <a:lnTo>
                  <a:pt x="4103" y="1684"/>
                </a:lnTo>
                <a:lnTo>
                  <a:pt x="4117" y="1673"/>
                </a:lnTo>
                <a:lnTo>
                  <a:pt x="4130" y="1664"/>
                </a:lnTo>
                <a:lnTo>
                  <a:pt x="4145" y="1655"/>
                </a:lnTo>
                <a:lnTo>
                  <a:pt x="4145" y="1655"/>
                </a:lnTo>
                <a:lnTo>
                  <a:pt x="4180" y="1674"/>
                </a:lnTo>
                <a:lnTo>
                  <a:pt x="4215" y="1695"/>
                </a:lnTo>
                <a:lnTo>
                  <a:pt x="4251" y="1716"/>
                </a:lnTo>
                <a:lnTo>
                  <a:pt x="4286" y="1740"/>
                </a:lnTo>
                <a:lnTo>
                  <a:pt x="4286" y="1740"/>
                </a:lnTo>
                <a:lnTo>
                  <a:pt x="4307" y="1754"/>
                </a:lnTo>
                <a:lnTo>
                  <a:pt x="4341" y="1779"/>
                </a:lnTo>
                <a:lnTo>
                  <a:pt x="4361" y="1794"/>
                </a:lnTo>
                <a:lnTo>
                  <a:pt x="4382" y="1812"/>
                </a:lnTo>
                <a:lnTo>
                  <a:pt x="4405" y="1832"/>
                </a:lnTo>
                <a:lnTo>
                  <a:pt x="4430" y="1853"/>
                </a:lnTo>
                <a:lnTo>
                  <a:pt x="4453" y="1877"/>
                </a:lnTo>
                <a:lnTo>
                  <a:pt x="4478" y="1901"/>
                </a:lnTo>
                <a:lnTo>
                  <a:pt x="4501" y="1928"/>
                </a:lnTo>
                <a:lnTo>
                  <a:pt x="4524" y="1956"/>
                </a:lnTo>
                <a:lnTo>
                  <a:pt x="4545" y="1985"/>
                </a:lnTo>
                <a:lnTo>
                  <a:pt x="4564" y="2016"/>
                </a:lnTo>
                <a:lnTo>
                  <a:pt x="4574" y="2031"/>
                </a:lnTo>
                <a:lnTo>
                  <a:pt x="4582" y="2047"/>
                </a:lnTo>
                <a:lnTo>
                  <a:pt x="4590" y="2064"/>
                </a:lnTo>
                <a:lnTo>
                  <a:pt x="4596" y="2080"/>
                </a:lnTo>
                <a:lnTo>
                  <a:pt x="4596" y="2080"/>
                </a:lnTo>
                <a:lnTo>
                  <a:pt x="4606" y="2106"/>
                </a:lnTo>
                <a:lnTo>
                  <a:pt x="4616" y="2130"/>
                </a:lnTo>
                <a:lnTo>
                  <a:pt x="4624" y="2155"/>
                </a:lnTo>
                <a:lnTo>
                  <a:pt x="4630" y="2178"/>
                </a:lnTo>
                <a:lnTo>
                  <a:pt x="4636" y="2202"/>
                </a:lnTo>
                <a:lnTo>
                  <a:pt x="4641" y="2224"/>
                </a:lnTo>
                <a:lnTo>
                  <a:pt x="4645" y="2246"/>
                </a:lnTo>
                <a:lnTo>
                  <a:pt x="4649" y="2266"/>
                </a:lnTo>
                <a:lnTo>
                  <a:pt x="4651" y="2287"/>
                </a:lnTo>
                <a:lnTo>
                  <a:pt x="4653" y="2306"/>
                </a:lnTo>
                <a:lnTo>
                  <a:pt x="4654" y="2325"/>
                </a:lnTo>
                <a:lnTo>
                  <a:pt x="4655" y="2343"/>
                </a:lnTo>
                <a:lnTo>
                  <a:pt x="4654" y="2377"/>
                </a:lnTo>
                <a:lnTo>
                  <a:pt x="4652" y="2408"/>
                </a:lnTo>
                <a:lnTo>
                  <a:pt x="4648" y="2437"/>
                </a:lnTo>
                <a:lnTo>
                  <a:pt x="4642" y="2464"/>
                </a:lnTo>
                <a:lnTo>
                  <a:pt x="4635" y="2487"/>
                </a:lnTo>
                <a:lnTo>
                  <a:pt x="4628" y="2509"/>
                </a:lnTo>
                <a:lnTo>
                  <a:pt x="4620" y="2527"/>
                </a:lnTo>
                <a:lnTo>
                  <a:pt x="4612" y="2544"/>
                </a:lnTo>
                <a:lnTo>
                  <a:pt x="4603" y="2559"/>
                </a:lnTo>
                <a:lnTo>
                  <a:pt x="4596" y="2570"/>
                </a:lnTo>
                <a:lnTo>
                  <a:pt x="4596" y="2570"/>
                </a:lnTo>
                <a:lnTo>
                  <a:pt x="4582" y="2590"/>
                </a:lnTo>
                <a:lnTo>
                  <a:pt x="4568" y="2611"/>
                </a:lnTo>
                <a:lnTo>
                  <a:pt x="4553" y="2629"/>
                </a:lnTo>
                <a:lnTo>
                  <a:pt x="4538" y="2648"/>
                </a:lnTo>
                <a:lnTo>
                  <a:pt x="4522" y="2665"/>
                </a:lnTo>
                <a:lnTo>
                  <a:pt x="4505" y="2681"/>
                </a:lnTo>
                <a:lnTo>
                  <a:pt x="4487" y="2697"/>
                </a:lnTo>
                <a:lnTo>
                  <a:pt x="4469" y="2711"/>
                </a:lnTo>
                <a:lnTo>
                  <a:pt x="4450" y="2724"/>
                </a:lnTo>
                <a:lnTo>
                  <a:pt x="4430" y="2736"/>
                </a:lnTo>
                <a:lnTo>
                  <a:pt x="4409" y="2747"/>
                </a:lnTo>
                <a:lnTo>
                  <a:pt x="4388" y="2756"/>
                </a:lnTo>
                <a:lnTo>
                  <a:pt x="4364" y="2764"/>
                </a:lnTo>
                <a:lnTo>
                  <a:pt x="4341" y="2771"/>
                </a:lnTo>
                <a:lnTo>
                  <a:pt x="4316" y="2776"/>
                </a:lnTo>
                <a:lnTo>
                  <a:pt x="4290" y="2779"/>
                </a:lnTo>
                <a:lnTo>
                  <a:pt x="4290" y="2779"/>
                </a:lnTo>
                <a:lnTo>
                  <a:pt x="4283" y="2778"/>
                </a:lnTo>
                <a:lnTo>
                  <a:pt x="4275" y="2778"/>
                </a:lnTo>
                <a:lnTo>
                  <a:pt x="4275" y="2778"/>
                </a:lnTo>
                <a:lnTo>
                  <a:pt x="4242" y="2779"/>
                </a:lnTo>
                <a:lnTo>
                  <a:pt x="4213" y="2779"/>
                </a:lnTo>
                <a:lnTo>
                  <a:pt x="4185" y="2778"/>
                </a:lnTo>
                <a:lnTo>
                  <a:pt x="4159" y="2775"/>
                </a:lnTo>
                <a:lnTo>
                  <a:pt x="4159" y="2775"/>
                </a:lnTo>
                <a:lnTo>
                  <a:pt x="4131" y="2770"/>
                </a:lnTo>
                <a:lnTo>
                  <a:pt x="4103" y="2765"/>
                </a:lnTo>
                <a:lnTo>
                  <a:pt x="4077" y="2758"/>
                </a:lnTo>
                <a:lnTo>
                  <a:pt x="4052" y="2751"/>
                </a:lnTo>
                <a:lnTo>
                  <a:pt x="4052" y="2751"/>
                </a:lnTo>
                <a:lnTo>
                  <a:pt x="4009" y="2736"/>
                </a:lnTo>
                <a:lnTo>
                  <a:pt x="3965" y="2717"/>
                </a:lnTo>
                <a:lnTo>
                  <a:pt x="3965" y="2717"/>
                </a:lnTo>
                <a:lnTo>
                  <a:pt x="3925" y="2697"/>
                </a:lnTo>
                <a:lnTo>
                  <a:pt x="3874" y="2669"/>
                </a:lnTo>
                <a:lnTo>
                  <a:pt x="3846" y="2652"/>
                </a:lnTo>
                <a:lnTo>
                  <a:pt x="3815" y="2632"/>
                </a:lnTo>
                <a:lnTo>
                  <a:pt x="3782" y="2612"/>
                </a:lnTo>
                <a:lnTo>
                  <a:pt x="3748" y="2588"/>
                </a:lnTo>
                <a:lnTo>
                  <a:pt x="3712" y="2564"/>
                </a:lnTo>
                <a:lnTo>
                  <a:pt x="3676" y="2536"/>
                </a:lnTo>
                <a:lnTo>
                  <a:pt x="3638" y="2508"/>
                </a:lnTo>
                <a:lnTo>
                  <a:pt x="3601" y="2477"/>
                </a:lnTo>
                <a:lnTo>
                  <a:pt x="3563" y="2444"/>
                </a:lnTo>
                <a:lnTo>
                  <a:pt x="3526" y="2409"/>
                </a:lnTo>
                <a:lnTo>
                  <a:pt x="3488" y="2373"/>
                </a:lnTo>
                <a:lnTo>
                  <a:pt x="3451" y="2335"/>
                </a:lnTo>
                <a:lnTo>
                  <a:pt x="3451" y="2335"/>
                </a:lnTo>
                <a:lnTo>
                  <a:pt x="3394" y="2271"/>
                </a:lnTo>
                <a:lnTo>
                  <a:pt x="3342" y="2212"/>
                </a:lnTo>
                <a:lnTo>
                  <a:pt x="3295" y="2157"/>
                </a:lnTo>
                <a:lnTo>
                  <a:pt x="3253" y="2107"/>
                </a:lnTo>
                <a:lnTo>
                  <a:pt x="3215" y="2060"/>
                </a:lnTo>
                <a:lnTo>
                  <a:pt x="3180" y="2017"/>
                </a:lnTo>
                <a:lnTo>
                  <a:pt x="3120" y="1940"/>
                </a:lnTo>
                <a:lnTo>
                  <a:pt x="3120" y="1940"/>
                </a:lnTo>
                <a:lnTo>
                  <a:pt x="3138" y="1947"/>
                </a:lnTo>
                <a:lnTo>
                  <a:pt x="3156" y="1953"/>
                </a:lnTo>
                <a:lnTo>
                  <a:pt x="3175" y="1958"/>
                </a:lnTo>
                <a:lnTo>
                  <a:pt x="3193" y="1963"/>
                </a:lnTo>
                <a:lnTo>
                  <a:pt x="3211" y="1966"/>
                </a:lnTo>
                <a:lnTo>
                  <a:pt x="3229" y="1968"/>
                </a:lnTo>
                <a:lnTo>
                  <a:pt x="3262" y="1971"/>
                </a:lnTo>
                <a:lnTo>
                  <a:pt x="3289" y="1971"/>
                </a:lnTo>
                <a:lnTo>
                  <a:pt x="3312" y="1970"/>
                </a:lnTo>
                <a:lnTo>
                  <a:pt x="3332" y="1968"/>
                </a:lnTo>
                <a:lnTo>
                  <a:pt x="3332" y="1968"/>
                </a:lnTo>
                <a:lnTo>
                  <a:pt x="3336" y="1918"/>
                </a:lnTo>
                <a:lnTo>
                  <a:pt x="3338" y="1873"/>
                </a:lnTo>
                <a:lnTo>
                  <a:pt x="3340" y="1833"/>
                </a:lnTo>
                <a:lnTo>
                  <a:pt x="3346" y="1698"/>
                </a:lnTo>
                <a:lnTo>
                  <a:pt x="3346" y="1698"/>
                </a:lnTo>
                <a:lnTo>
                  <a:pt x="3349" y="1661"/>
                </a:lnTo>
                <a:lnTo>
                  <a:pt x="3351" y="1626"/>
                </a:lnTo>
                <a:lnTo>
                  <a:pt x="3352" y="1589"/>
                </a:lnTo>
                <a:lnTo>
                  <a:pt x="3352" y="1589"/>
                </a:lnTo>
                <a:lnTo>
                  <a:pt x="3340" y="1588"/>
                </a:lnTo>
                <a:lnTo>
                  <a:pt x="3307" y="1584"/>
                </a:lnTo>
                <a:lnTo>
                  <a:pt x="3285" y="1581"/>
                </a:lnTo>
                <a:lnTo>
                  <a:pt x="3260" y="1576"/>
                </a:lnTo>
                <a:lnTo>
                  <a:pt x="3233" y="1571"/>
                </a:lnTo>
                <a:lnTo>
                  <a:pt x="3206" y="1564"/>
                </a:lnTo>
                <a:lnTo>
                  <a:pt x="3176" y="1555"/>
                </a:lnTo>
                <a:lnTo>
                  <a:pt x="3147" y="1544"/>
                </a:lnTo>
                <a:lnTo>
                  <a:pt x="3120" y="1532"/>
                </a:lnTo>
                <a:lnTo>
                  <a:pt x="3106" y="1526"/>
                </a:lnTo>
                <a:lnTo>
                  <a:pt x="3093" y="1519"/>
                </a:lnTo>
                <a:lnTo>
                  <a:pt x="3081" y="1511"/>
                </a:lnTo>
                <a:lnTo>
                  <a:pt x="3070" y="1502"/>
                </a:lnTo>
                <a:lnTo>
                  <a:pt x="3058" y="1493"/>
                </a:lnTo>
                <a:lnTo>
                  <a:pt x="3049" y="1484"/>
                </a:lnTo>
                <a:lnTo>
                  <a:pt x="3040" y="1474"/>
                </a:lnTo>
                <a:lnTo>
                  <a:pt x="3032" y="1463"/>
                </a:lnTo>
                <a:lnTo>
                  <a:pt x="3025" y="1451"/>
                </a:lnTo>
                <a:lnTo>
                  <a:pt x="3019" y="1439"/>
                </a:lnTo>
                <a:lnTo>
                  <a:pt x="3019" y="1439"/>
                </a:lnTo>
                <a:lnTo>
                  <a:pt x="3030" y="1445"/>
                </a:lnTo>
                <a:lnTo>
                  <a:pt x="3042" y="1450"/>
                </a:lnTo>
                <a:lnTo>
                  <a:pt x="3059" y="1457"/>
                </a:lnTo>
                <a:lnTo>
                  <a:pt x="3081" y="1465"/>
                </a:lnTo>
                <a:lnTo>
                  <a:pt x="3106" y="1472"/>
                </a:lnTo>
                <a:lnTo>
                  <a:pt x="3136" y="1477"/>
                </a:lnTo>
                <a:lnTo>
                  <a:pt x="3152" y="1479"/>
                </a:lnTo>
                <a:lnTo>
                  <a:pt x="3169" y="1480"/>
                </a:lnTo>
                <a:lnTo>
                  <a:pt x="3169" y="1480"/>
                </a:lnTo>
                <a:lnTo>
                  <a:pt x="3201" y="1481"/>
                </a:lnTo>
                <a:lnTo>
                  <a:pt x="3234" y="1481"/>
                </a:lnTo>
                <a:lnTo>
                  <a:pt x="3266" y="1479"/>
                </a:lnTo>
                <a:lnTo>
                  <a:pt x="3295" y="1477"/>
                </a:lnTo>
                <a:lnTo>
                  <a:pt x="3340" y="1471"/>
                </a:lnTo>
                <a:lnTo>
                  <a:pt x="3357" y="1469"/>
                </a:lnTo>
                <a:lnTo>
                  <a:pt x="3357" y="1469"/>
                </a:lnTo>
                <a:lnTo>
                  <a:pt x="3359" y="1463"/>
                </a:lnTo>
                <a:lnTo>
                  <a:pt x="3361" y="1451"/>
                </a:lnTo>
                <a:lnTo>
                  <a:pt x="3364" y="1421"/>
                </a:lnTo>
                <a:lnTo>
                  <a:pt x="3367" y="1381"/>
                </a:lnTo>
                <a:lnTo>
                  <a:pt x="3369" y="1337"/>
                </a:lnTo>
                <a:lnTo>
                  <a:pt x="3373" y="1257"/>
                </a:lnTo>
                <a:lnTo>
                  <a:pt x="3375" y="1222"/>
                </a:lnTo>
                <a:lnTo>
                  <a:pt x="3375" y="1222"/>
                </a:lnTo>
                <a:lnTo>
                  <a:pt x="3376" y="1194"/>
                </a:lnTo>
                <a:lnTo>
                  <a:pt x="3377" y="1154"/>
                </a:lnTo>
                <a:lnTo>
                  <a:pt x="3377" y="1105"/>
                </a:lnTo>
                <a:lnTo>
                  <a:pt x="3377" y="1105"/>
                </a:lnTo>
                <a:lnTo>
                  <a:pt x="3369" y="1107"/>
                </a:lnTo>
                <a:lnTo>
                  <a:pt x="3359" y="1108"/>
                </a:lnTo>
                <a:lnTo>
                  <a:pt x="3338" y="1110"/>
                </a:lnTo>
                <a:lnTo>
                  <a:pt x="3315" y="1109"/>
                </a:lnTo>
                <a:lnTo>
                  <a:pt x="3290" y="1107"/>
                </a:lnTo>
                <a:lnTo>
                  <a:pt x="3264" y="1104"/>
                </a:lnTo>
                <a:lnTo>
                  <a:pt x="3236" y="1100"/>
                </a:lnTo>
                <a:lnTo>
                  <a:pt x="3208" y="1094"/>
                </a:lnTo>
                <a:lnTo>
                  <a:pt x="3178" y="1086"/>
                </a:lnTo>
                <a:lnTo>
                  <a:pt x="3178" y="1086"/>
                </a:lnTo>
                <a:lnTo>
                  <a:pt x="3158" y="1080"/>
                </a:lnTo>
                <a:lnTo>
                  <a:pt x="3135" y="1071"/>
                </a:lnTo>
                <a:lnTo>
                  <a:pt x="3112" y="1059"/>
                </a:lnTo>
                <a:lnTo>
                  <a:pt x="3088" y="1044"/>
                </a:lnTo>
                <a:lnTo>
                  <a:pt x="3064" y="1028"/>
                </a:lnTo>
                <a:lnTo>
                  <a:pt x="3053" y="1019"/>
                </a:lnTo>
                <a:lnTo>
                  <a:pt x="3043" y="1010"/>
                </a:lnTo>
                <a:lnTo>
                  <a:pt x="3034" y="999"/>
                </a:lnTo>
                <a:lnTo>
                  <a:pt x="3025" y="990"/>
                </a:lnTo>
                <a:lnTo>
                  <a:pt x="3017" y="980"/>
                </a:lnTo>
                <a:lnTo>
                  <a:pt x="3010" y="969"/>
                </a:lnTo>
                <a:lnTo>
                  <a:pt x="3010" y="969"/>
                </a:lnTo>
                <a:lnTo>
                  <a:pt x="3022" y="974"/>
                </a:lnTo>
                <a:lnTo>
                  <a:pt x="3035" y="978"/>
                </a:lnTo>
                <a:lnTo>
                  <a:pt x="3052" y="984"/>
                </a:lnTo>
                <a:lnTo>
                  <a:pt x="3075" y="990"/>
                </a:lnTo>
                <a:lnTo>
                  <a:pt x="3101" y="996"/>
                </a:lnTo>
                <a:lnTo>
                  <a:pt x="3132" y="1003"/>
                </a:lnTo>
                <a:lnTo>
                  <a:pt x="3167" y="1008"/>
                </a:lnTo>
                <a:lnTo>
                  <a:pt x="3167" y="1008"/>
                </a:lnTo>
                <a:lnTo>
                  <a:pt x="3187" y="1010"/>
                </a:lnTo>
                <a:lnTo>
                  <a:pt x="3207" y="1011"/>
                </a:lnTo>
                <a:lnTo>
                  <a:pt x="3226" y="1012"/>
                </a:lnTo>
                <a:lnTo>
                  <a:pt x="3245" y="1012"/>
                </a:lnTo>
                <a:lnTo>
                  <a:pt x="3283" y="1010"/>
                </a:lnTo>
                <a:lnTo>
                  <a:pt x="3317" y="1007"/>
                </a:lnTo>
                <a:lnTo>
                  <a:pt x="3346" y="1001"/>
                </a:lnTo>
                <a:lnTo>
                  <a:pt x="3369" y="996"/>
                </a:lnTo>
                <a:lnTo>
                  <a:pt x="3377" y="993"/>
                </a:lnTo>
                <a:lnTo>
                  <a:pt x="3383" y="991"/>
                </a:lnTo>
                <a:lnTo>
                  <a:pt x="3388" y="988"/>
                </a:lnTo>
                <a:lnTo>
                  <a:pt x="3390" y="985"/>
                </a:lnTo>
                <a:lnTo>
                  <a:pt x="3390" y="985"/>
                </a:lnTo>
                <a:lnTo>
                  <a:pt x="3392" y="959"/>
                </a:lnTo>
                <a:lnTo>
                  <a:pt x="3393" y="925"/>
                </a:lnTo>
                <a:lnTo>
                  <a:pt x="3394" y="848"/>
                </a:lnTo>
                <a:lnTo>
                  <a:pt x="3394" y="750"/>
                </a:lnTo>
                <a:lnTo>
                  <a:pt x="3394" y="750"/>
                </a:lnTo>
                <a:lnTo>
                  <a:pt x="3399" y="686"/>
                </a:lnTo>
                <a:lnTo>
                  <a:pt x="3400" y="642"/>
                </a:lnTo>
                <a:lnTo>
                  <a:pt x="3400" y="627"/>
                </a:lnTo>
                <a:lnTo>
                  <a:pt x="3399" y="623"/>
                </a:lnTo>
                <a:lnTo>
                  <a:pt x="3398" y="622"/>
                </a:lnTo>
                <a:lnTo>
                  <a:pt x="3398" y="622"/>
                </a:lnTo>
                <a:lnTo>
                  <a:pt x="3392" y="622"/>
                </a:lnTo>
                <a:lnTo>
                  <a:pt x="3381" y="623"/>
                </a:lnTo>
                <a:lnTo>
                  <a:pt x="3368" y="623"/>
                </a:lnTo>
                <a:lnTo>
                  <a:pt x="3354" y="622"/>
                </a:lnTo>
                <a:lnTo>
                  <a:pt x="3336" y="620"/>
                </a:lnTo>
                <a:lnTo>
                  <a:pt x="3317" y="617"/>
                </a:lnTo>
                <a:lnTo>
                  <a:pt x="3297" y="612"/>
                </a:lnTo>
                <a:lnTo>
                  <a:pt x="3274" y="607"/>
                </a:lnTo>
                <a:lnTo>
                  <a:pt x="3251" y="599"/>
                </a:lnTo>
                <a:lnTo>
                  <a:pt x="3226" y="589"/>
                </a:lnTo>
                <a:lnTo>
                  <a:pt x="3200" y="578"/>
                </a:lnTo>
                <a:lnTo>
                  <a:pt x="3175" y="564"/>
                </a:lnTo>
                <a:lnTo>
                  <a:pt x="3149" y="548"/>
                </a:lnTo>
                <a:lnTo>
                  <a:pt x="3123" y="529"/>
                </a:lnTo>
                <a:lnTo>
                  <a:pt x="3110" y="519"/>
                </a:lnTo>
                <a:lnTo>
                  <a:pt x="3097" y="508"/>
                </a:lnTo>
                <a:lnTo>
                  <a:pt x="3085" y="495"/>
                </a:lnTo>
                <a:lnTo>
                  <a:pt x="3073" y="483"/>
                </a:lnTo>
                <a:lnTo>
                  <a:pt x="3073" y="483"/>
                </a:lnTo>
                <a:lnTo>
                  <a:pt x="3071" y="481"/>
                </a:lnTo>
                <a:lnTo>
                  <a:pt x="3065" y="476"/>
                </a:lnTo>
                <a:lnTo>
                  <a:pt x="3059" y="467"/>
                </a:lnTo>
                <a:lnTo>
                  <a:pt x="3056" y="461"/>
                </a:lnTo>
                <a:lnTo>
                  <a:pt x="3053" y="454"/>
                </a:lnTo>
                <a:lnTo>
                  <a:pt x="3051" y="447"/>
                </a:lnTo>
                <a:lnTo>
                  <a:pt x="3050" y="439"/>
                </a:lnTo>
                <a:lnTo>
                  <a:pt x="3049" y="430"/>
                </a:lnTo>
                <a:lnTo>
                  <a:pt x="3050" y="420"/>
                </a:lnTo>
                <a:lnTo>
                  <a:pt x="3053" y="410"/>
                </a:lnTo>
                <a:lnTo>
                  <a:pt x="3056" y="398"/>
                </a:lnTo>
                <a:lnTo>
                  <a:pt x="3062" y="386"/>
                </a:lnTo>
                <a:lnTo>
                  <a:pt x="3071" y="373"/>
                </a:lnTo>
                <a:lnTo>
                  <a:pt x="3071" y="373"/>
                </a:lnTo>
                <a:lnTo>
                  <a:pt x="2806" y="254"/>
                </a:lnTo>
                <a:lnTo>
                  <a:pt x="2806" y="254"/>
                </a:lnTo>
                <a:lnTo>
                  <a:pt x="2815" y="245"/>
                </a:lnTo>
                <a:lnTo>
                  <a:pt x="2824" y="234"/>
                </a:lnTo>
                <a:lnTo>
                  <a:pt x="2834" y="219"/>
                </a:lnTo>
                <a:lnTo>
                  <a:pt x="2845" y="203"/>
                </a:lnTo>
                <a:lnTo>
                  <a:pt x="2850" y="194"/>
                </a:lnTo>
                <a:lnTo>
                  <a:pt x="2854" y="185"/>
                </a:lnTo>
                <a:lnTo>
                  <a:pt x="2858" y="174"/>
                </a:lnTo>
                <a:lnTo>
                  <a:pt x="2861" y="164"/>
                </a:lnTo>
                <a:lnTo>
                  <a:pt x="2863" y="154"/>
                </a:lnTo>
                <a:lnTo>
                  <a:pt x="2863" y="144"/>
                </a:lnTo>
                <a:lnTo>
                  <a:pt x="2863" y="144"/>
                </a:lnTo>
                <a:lnTo>
                  <a:pt x="2863" y="132"/>
                </a:lnTo>
                <a:lnTo>
                  <a:pt x="2860" y="122"/>
                </a:lnTo>
                <a:lnTo>
                  <a:pt x="2855" y="112"/>
                </a:lnTo>
                <a:lnTo>
                  <a:pt x="2849" y="103"/>
                </a:lnTo>
                <a:lnTo>
                  <a:pt x="2841" y="94"/>
                </a:lnTo>
                <a:lnTo>
                  <a:pt x="2830" y="86"/>
                </a:lnTo>
                <a:lnTo>
                  <a:pt x="2820" y="79"/>
                </a:lnTo>
                <a:lnTo>
                  <a:pt x="2808" y="73"/>
                </a:lnTo>
                <a:lnTo>
                  <a:pt x="2795" y="68"/>
                </a:lnTo>
                <a:lnTo>
                  <a:pt x="2781" y="64"/>
                </a:lnTo>
                <a:lnTo>
                  <a:pt x="2767" y="60"/>
                </a:lnTo>
                <a:lnTo>
                  <a:pt x="2753" y="58"/>
                </a:lnTo>
                <a:lnTo>
                  <a:pt x="2738" y="56"/>
                </a:lnTo>
                <a:lnTo>
                  <a:pt x="2723" y="56"/>
                </a:lnTo>
                <a:lnTo>
                  <a:pt x="2709" y="57"/>
                </a:lnTo>
                <a:lnTo>
                  <a:pt x="2694" y="59"/>
                </a:lnTo>
                <a:lnTo>
                  <a:pt x="2694" y="59"/>
                </a:lnTo>
                <a:lnTo>
                  <a:pt x="2681" y="62"/>
                </a:lnTo>
                <a:lnTo>
                  <a:pt x="2669" y="66"/>
                </a:lnTo>
                <a:lnTo>
                  <a:pt x="2656" y="71"/>
                </a:lnTo>
                <a:lnTo>
                  <a:pt x="2644" y="77"/>
                </a:lnTo>
                <a:lnTo>
                  <a:pt x="2634" y="84"/>
                </a:lnTo>
                <a:lnTo>
                  <a:pt x="2623" y="92"/>
                </a:lnTo>
                <a:lnTo>
                  <a:pt x="2604" y="107"/>
                </a:lnTo>
                <a:lnTo>
                  <a:pt x="2589" y="122"/>
                </a:lnTo>
                <a:lnTo>
                  <a:pt x="2578" y="134"/>
                </a:lnTo>
                <a:lnTo>
                  <a:pt x="2569" y="147"/>
                </a:lnTo>
                <a:lnTo>
                  <a:pt x="2238" y="0"/>
                </a:lnTo>
                <a:lnTo>
                  <a:pt x="1977" y="263"/>
                </a:lnTo>
                <a:lnTo>
                  <a:pt x="1977" y="263"/>
                </a:lnTo>
                <a:lnTo>
                  <a:pt x="1972" y="268"/>
                </a:lnTo>
                <a:lnTo>
                  <a:pt x="1966" y="280"/>
                </a:lnTo>
                <a:lnTo>
                  <a:pt x="1963" y="287"/>
                </a:lnTo>
                <a:lnTo>
                  <a:pt x="1961" y="295"/>
                </a:lnTo>
                <a:lnTo>
                  <a:pt x="1960" y="304"/>
                </a:lnTo>
                <a:lnTo>
                  <a:pt x="1960" y="313"/>
                </a:lnTo>
                <a:lnTo>
                  <a:pt x="1964" y="337"/>
                </a:lnTo>
                <a:lnTo>
                  <a:pt x="1964" y="337"/>
                </a:lnTo>
                <a:lnTo>
                  <a:pt x="1964" y="343"/>
                </a:lnTo>
                <a:lnTo>
                  <a:pt x="1963" y="349"/>
                </a:lnTo>
                <a:lnTo>
                  <a:pt x="1962" y="354"/>
                </a:lnTo>
                <a:lnTo>
                  <a:pt x="1961" y="358"/>
                </a:lnTo>
                <a:lnTo>
                  <a:pt x="1957" y="366"/>
                </a:lnTo>
                <a:lnTo>
                  <a:pt x="1955" y="370"/>
                </a:lnTo>
                <a:lnTo>
                  <a:pt x="1955" y="370"/>
                </a:lnTo>
                <a:lnTo>
                  <a:pt x="1936" y="392"/>
                </a:lnTo>
                <a:lnTo>
                  <a:pt x="1916" y="416"/>
                </a:lnTo>
                <a:lnTo>
                  <a:pt x="1896" y="438"/>
                </a:lnTo>
                <a:lnTo>
                  <a:pt x="1876" y="461"/>
                </a:lnTo>
                <a:lnTo>
                  <a:pt x="1876" y="461"/>
                </a:lnTo>
                <a:lnTo>
                  <a:pt x="1847" y="499"/>
                </a:lnTo>
                <a:lnTo>
                  <a:pt x="1836" y="515"/>
                </a:lnTo>
                <a:lnTo>
                  <a:pt x="1828" y="527"/>
                </a:lnTo>
                <a:lnTo>
                  <a:pt x="1828" y="527"/>
                </a:lnTo>
                <a:lnTo>
                  <a:pt x="1819" y="542"/>
                </a:lnTo>
                <a:lnTo>
                  <a:pt x="1811" y="558"/>
                </a:lnTo>
                <a:lnTo>
                  <a:pt x="1799" y="583"/>
                </a:lnTo>
                <a:lnTo>
                  <a:pt x="1789" y="607"/>
                </a:lnTo>
                <a:lnTo>
                  <a:pt x="1781" y="628"/>
                </a:lnTo>
                <a:lnTo>
                  <a:pt x="1781" y="628"/>
                </a:lnTo>
                <a:lnTo>
                  <a:pt x="1780" y="631"/>
                </a:lnTo>
                <a:lnTo>
                  <a:pt x="1778" y="642"/>
                </a:lnTo>
                <a:lnTo>
                  <a:pt x="1778" y="649"/>
                </a:lnTo>
                <a:lnTo>
                  <a:pt x="1777" y="657"/>
                </a:lnTo>
                <a:lnTo>
                  <a:pt x="1778" y="666"/>
                </a:lnTo>
                <a:lnTo>
                  <a:pt x="1780" y="677"/>
                </a:lnTo>
                <a:lnTo>
                  <a:pt x="1784" y="690"/>
                </a:lnTo>
                <a:lnTo>
                  <a:pt x="1789" y="703"/>
                </a:lnTo>
                <a:lnTo>
                  <a:pt x="1797" y="716"/>
                </a:lnTo>
                <a:lnTo>
                  <a:pt x="1807" y="732"/>
                </a:lnTo>
                <a:lnTo>
                  <a:pt x="1819" y="748"/>
                </a:lnTo>
                <a:lnTo>
                  <a:pt x="1833" y="764"/>
                </a:lnTo>
                <a:lnTo>
                  <a:pt x="1852" y="782"/>
                </a:lnTo>
                <a:lnTo>
                  <a:pt x="1874" y="800"/>
                </a:lnTo>
                <a:lnTo>
                  <a:pt x="1881" y="806"/>
                </a:lnTo>
                <a:lnTo>
                  <a:pt x="1881" y="806"/>
                </a:lnTo>
                <a:lnTo>
                  <a:pt x="1894" y="789"/>
                </a:lnTo>
                <a:lnTo>
                  <a:pt x="1905" y="800"/>
                </a:lnTo>
                <a:lnTo>
                  <a:pt x="1905" y="800"/>
                </a:lnTo>
                <a:lnTo>
                  <a:pt x="1914" y="809"/>
                </a:lnTo>
                <a:lnTo>
                  <a:pt x="1926" y="820"/>
                </a:lnTo>
                <a:lnTo>
                  <a:pt x="1941" y="832"/>
                </a:lnTo>
                <a:lnTo>
                  <a:pt x="1957" y="842"/>
                </a:lnTo>
                <a:lnTo>
                  <a:pt x="1957" y="842"/>
                </a:lnTo>
                <a:lnTo>
                  <a:pt x="1959" y="835"/>
                </a:lnTo>
                <a:lnTo>
                  <a:pt x="1964" y="815"/>
                </a:lnTo>
                <a:lnTo>
                  <a:pt x="1969" y="802"/>
                </a:lnTo>
                <a:lnTo>
                  <a:pt x="1975" y="789"/>
                </a:lnTo>
                <a:lnTo>
                  <a:pt x="1983" y="775"/>
                </a:lnTo>
                <a:lnTo>
                  <a:pt x="1991" y="760"/>
                </a:lnTo>
                <a:lnTo>
                  <a:pt x="1991" y="760"/>
                </a:lnTo>
                <a:lnTo>
                  <a:pt x="2000" y="748"/>
                </a:lnTo>
                <a:lnTo>
                  <a:pt x="2011" y="736"/>
                </a:lnTo>
                <a:lnTo>
                  <a:pt x="2025" y="722"/>
                </a:lnTo>
                <a:lnTo>
                  <a:pt x="2038" y="709"/>
                </a:lnTo>
                <a:lnTo>
                  <a:pt x="2052" y="697"/>
                </a:lnTo>
                <a:lnTo>
                  <a:pt x="2065" y="686"/>
                </a:lnTo>
                <a:lnTo>
                  <a:pt x="2080" y="675"/>
                </a:lnTo>
                <a:lnTo>
                  <a:pt x="2092" y="667"/>
                </a:lnTo>
                <a:lnTo>
                  <a:pt x="2092" y="667"/>
                </a:lnTo>
                <a:lnTo>
                  <a:pt x="2107" y="658"/>
                </a:lnTo>
                <a:lnTo>
                  <a:pt x="2123" y="650"/>
                </a:lnTo>
                <a:lnTo>
                  <a:pt x="2138" y="643"/>
                </a:lnTo>
                <a:lnTo>
                  <a:pt x="2154" y="636"/>
                </a:lnTo>
                <a:lnTo>
                  <a:pt x="2170" y="632"/>
                </a:lnTo>
                <a:lnTo>
                  <a:pt x="2186" y="629"/>
                </a:lnTo>
                <a:lnTo>
                  <a:pt x="2202" y="626"/>
                </a:lnTo>
                <a:lnTo>
                  <a:pt x="2220" y="625"/>
                </a:lnTo>
                <a:lnTo>
                  <a:pt x="2220" y="625"/>
                </a:lnTo>
                <a:lnTo>
                  <a:pt x="2234" y="626"/>
                </a:lnTo>
                <a:lnTo>
                  <a:pt x="2247" y="627"/>
                </a:lnTo>
                <a:lnTo>
                  <a:pt x="2261" y="630"/>
                </a:lnTo>
                <a:lnTo>
                  <a:pt x="2272" y="635"/>
                </a:lnTo>
                <a:lnTo>
                  <a:pt x="2283" y="642"/>
                </a:lnTo>
                <a:lnTo>
                  <a:pt x="2295" y="649"/>
                </a:lnTo>
                <a:lnTo>
                  <a:pt x="2305" y="658"/>
                </a:lnTo>
                <a:lnTo>
                  <a:pt x="2316" y="668"/>
                </a:lnTo>
                <a:lnTo>
                  <a:pt x="2316" y="668"/>
                </a:lnTo>
                <a:lnTo>
                  <a:pt x="2323" y="676"/>
                </a:lnTo>
                <a:lnTo>
                  <a:pt x="2330" y="687"/>
                </a:lnTo>
                <a:lnTo>
                  <a:pt x="2336" y="698"/>
                </a:lnTo>
                <a:lnTo>
                  <a:pt x="2342" y="710"/>
                </a:lnTo>
                <a:lnTo>
                  <a:pt x="2347" y="722"/>
                </a:lnTo>
                <a:lnTo>
                  <a:pt x="2351" y="736"/>
                </a:lnTo>
                <a:lnTo>
                  <a:pt x="2355" y="750"/>
                </a:lnTo>
                <a:lnTo>
                  <a:pt x="2358" y="764"/>
                </a:lnTo>
                <a:lnTo>
                  <a:pt x="2360" y="778"/>
                </a:lnTo>
                <a:lnTo>
                  <a:pt x="2362" y="792"/>
                </a:lnTo>
                <a:lnTo>
                  <a:pt x="2363" y="805"/>
                </a:lnTo>
                <a:lnTo>
                  <a:pt x="2364" y="818"/>
                </a:lnTo>
                <a:lnTo>
                  <a:pt x="2364" y="831"/>
                </a:lnTo>
                <a:lnTo>
                  <a:pt x="2363" y="842"/>
                </a:lnTo>
                <a:lnTo>
                  <a:pt x="2361" y="852"/>
                </a:lnTo>
                <a:lnTo>
                  <a:pt x="2359" y="861"/>
                </a:lnTo>
                <a:lnTo>
                  <a:pt x="2359" y="861"/>
                </a:lnTo>
                <a:lnTo>
                  <a:pt x="2330" y="843"/>
                </a:lnTo>
                <a:lnTo>
                  <a:pt x="2330" y="843"/>
                </a:lnTo>
                <a:lnTo>
                  <a:pt x="2309" y="832"/>
                </a:lnTo>
                <a:lnTo>
                  <a:pt x="2281" y="822"/>
                </a:lnTo>
                <a:lnTo>
                  <a:pt x="2266" y="815"/>
                </a:lnTo>
                <a:lnTo>
                  <a:pt x="2251" y="811"/>
                </a:lnTo>
                <a:lnTo>
                  <a:pt x="2233" y="807"/>
                </a:lnTo>
                <a:lnTo>
                  <a:pt x="2215" y="803"/>
                </a:lnTo>
                <a:lnTo>
                  <a:pt x="2195" y="801"/>
                </a:lnTo>
                <a:lnTo>
                  <a:pt x="2175" y="800"/>
                </a:lnTo>
                <a:lnTo>
                  <a:pt x="2154" y="800"/>
                </a:lnTo>
                <a:lnTo>
                  <a:pt x="2132" y="802"/>
                </a:lnTo>
                <a:lnTo>
                  <a:pt x="2109" y="805"/>
                </a:lnTo>
                <a:lnTo>
                  <a:pt x="2086" y="810"/>
                </a:lnTo>
                <a:lnTo>
                  <a:pt x="2062" y="818"/>
                </a:lnTo>
                <a:lnTo>
                  <a:pt x="2037" y="829"/>
                </a:lnTo>
                <a:lnTo>
                  <a:pt x="2037" y="829"/>
                </a:lnTo>
                <a:lnTo>
                  <a:pt x="1995" y="847"/>
                </a:lnTo>
                <a:lnTo>
                  <a:pt x="1967" y="859"/>
                </a:lnTo>
                <a:lnTo>
                  <a:pt x="1936" y="872"/>
                </a:lnTo>
                <a:lnTo>
                  <a:pt x="1900" y="886"/>
                </a:lnTo>
                <a:lnTo>
                  <a:pt x="1860" y="900"/>
                </a:lnTo>
                <a:lnTo>
                  <a:pt x="1814" y="916"/>
                </a:lnTo>
                <a:lnTo>
                  <a:pt x="1764" y="931"/>
                </a:lnTo>
                <a:lnTo>
                  <a:pt x="1764" y="931"/>
                </a:lnTo>
                <a:lnTo>
                  <a:pt x="1737" y="938"/>
                </a:lnTo>
                <a:lnTo>
                  <a:pt x="1725" y="940"/>
                </a:lnTo>
                <a:lnTo>
                  <a:pt x="1713" y="941"/>
                </a:lnTo>
                <a:lnTo>
                  <a:pt x="1701" y="941"/>
                </a:lnTo>
                <a:lnTo>
                  <a:pt x="1691" y="941"/>
                </a:lnTo>
                <a:lnTo>
                  <a:pt x="1681" y="940"/>
                </a:lnTo>
                <a:lnTo>
                  <a:pt x="1672" y="938"/>
                </a:lnTo>
                <a:lnTo>
                  <a:pt x="1664" y="935"/>
                </a:lnTo>
                <a:lnTo>
                  <a:pt x="1655" y="930"/>
                </a:lnTo>
                <a:lnTo>
                  <a:pt x="1649" y="925"/>
                </a:lnTo>
                <a:lnTo>
                  <a:pt x="1642" y="919"/>
                </a:lnTo>
                <a:lnTo>
                  <a:pt x="1637" y="912"/>
                </a:lnTo>
                <a:lnTo>
                  <a:pt x="1633" y="902"/>
                </a:lnTo>
                <a:lnTo>
                  <a:pt x="1629" y="892"/>
                </a:lnTo>
                <a:lnTo>
                  <a:pt x="1626" y="881"/>
                </a:lnTo>
                <a:lnTo>
                  <a:pt x="1626" y="881"/>
                </a:lnTo>
                <a:lnTo>
                  <a:pt x="1624" y="871"/>
                </a:lnTo>
                <a:lnTo>
                  <a:pt x="1623" y="860"/>
                </a:lnTo>
                <a:lnTo>
                  <a:pt x="1623" y="851"/>
                </a:lnTo>
                <a:lnTo>
                  <a:pt x="1623" y="842"/>
                </a:lnTo>
                <a:lnTo>
                  <a:pt x="1625" y="826"/>
                </a:lnTo>
                <a:lnTo>
                  <a:pt x="1629" y="811"/>
                </a:lnTo>
                <a:lnTo>
                  <a:pt x="1633" y="800"/>
                </a:lnTo>
                <a:lnTo>
                  <a:pt x="1636" y="792"/>
                </a:lnTo>
                <a:lnTo>
                  <a:pt x="1640" y="784"/>
                </a:lnTo>
                <a:lnTo>
                  <a:pt x="1640" y="784"/>
                </a:lnTo>
                <a:lnTo>
                  <a:pt x="1636" y="785"/>
                </a:lnTo>
                <a:lnTo>
                  <a:pt x="1626" y="788"/>
                </a:lnTo>
                <a:lnTo>
                  <a:pt x="1610" y="794"/>
                </a:lnTo>
                <a:lnTo>
                  <a:pt x="1601" y="797"/>
                </a:lnTo>
                <a:lnTo>
                  <a:pt x="1592" y="802"/>
                </a:lnTo>
                <a:lnTo>
                  <a:pt x="1582" y="808"/>
                </a:lnTo>
                <a:lnTo>
                  <a:pt x="1573" y="814"/>
                </a:lnTo>
                <a:lnTo>
                  <a:pt x="1563" y="823"/>
                </a:lnTo>
                <a:lnTo>
                  <a:pt x="1554" y="832"/>
                </a:lnTo>
                <a:lnTo>
                  <a:pt x="1546" y="842"/>
                </a:lnTo>
                <a:lnTo>
                  <a:pt x="1539" y="853"/>
                </a:lnTo>
                <a:lnTo>
                  <a:pt x="1533" y="867"/>
                </a:lnTo>
                <a:lnTo>
                  <a:pt x="1528" y="881"/>
                </a:lnTo>
                <a:lnTo>
                  <a:pt x="1528" y="881"/>
                </a:lnTo>
                <a:lnTo>
                  <a:pt x="1525" y="896"/>
                </a:lnTo>
                <a:lnTo>
                  <a:pt x="1523" y="912"/>
                </a:lnTo>
                <a:lnTo>
                  <a:pt x="1523" y="927"/>
                </a:lnTo>
                <a:lnTo>
                  <a:pt x="1523" y="941"/>
                </a:lnTo>
                <a:lnTo>
                  <a:pt x="1524" y="954"/>
                </a:lnTo>
                <a:lnTo>
                  <a:pt x="1527" y="969"/>
                </a:lnTo>
                <a:lnTo>
                  <a:pt x="1531" y="981"/>
                </a:lnTo>
                <a:lnTo>
                  <a:pt x="1536" y="993"/>
                </a:lnTo>
                <a:lnTo>
                  <a:pt x="1542" y="1006"/>
                </a:lnTo>
                <a:lnTo>
                  <a:pt x="1549" y="1016"/>
                </a:lnTo>
                <a:lnTo>
                  <a:pt x="1557" y="1026"/>
                </a:lnTo>
                <a:lnTo>
                  <a:pt x="1568" y="1034"/>
                </a:lnTo>
                <a:lnTo>
                  <a:pt x="1578" y="1042"/>
                </a:lnTo>
                <a:lnTo>
                  <a:pt x="1590" y="1049"/>
                </a:lnTo>
                <a:lnTo>
                  <a:pt x="1602" y="1055"/>
                </a:lnTo>
                <a:lnTo>
                  <a:pt x="1617" y="1059"/>
                </a:lnTo>
                <a:lnTo>
                  <a:pt x="1617" y="1059"/>
                </a:lnTo>
                <a:lnTo>
                  <a:pt x="1630" y="1062"/>
                </a:lnTo>
                <a:lnTo>
                  <a:pt x="1644" y="1063"/>
                </a:lnTo>
                <a:lnTo>
                  <a:pt x="1660" y="1062"/>
                </a:lnTo>
                <a:lnTo>
                  <a:pt x="1676" y="1060"/>
                </a:lnTo>
                <a:lnTo>
                  <a:pt x="1692" y="1058"/>
                </a:lnTo>
                <a:lnTo>
                  <a:pt x="1710" y="1054"/>
                </a:lnTo>
                <a:lnTo>
                  <a:pt x="1727" y="1049"/>
                </a:lnTo>
                <a:lnTo>
                  <a:pt x="1744" y="1043"/>
                </a:lnTo>
                <a:lnTo>
                  <a:pt x="1779" y="1029"/>
                </a:lnTo>
                <a:lnTo>
                  <a:pt x="1815" y="1014"/>
                </a:lnTo>
                <a:lnTo>
                  <a:pt x="1849" y="997"/>
                </a:lnTo>
                <a:lnTo>
                  <a:pt x="1880" y="981"/>
                </a:lnTo>
                <a:lnTo>
                  <a:pt x="1880" y="981"/>
                </a:lnTo>
                <a:lnTo>
                  <a:pt x="1942" y="949"/>
                </a:lnTo>
                <a:lnTo>
                  <a:pt x="1979" y="931"/>
                </a:lnTo>
                <a:lnTo>
                  <a:pt x="2013" y="915"/>
                </a:lnTo>
                <a:lnTo>
                  <a:pt x="2013" y="915"/>
                </a:lnTo>
                <a:lnTo>
                  <a:pt x="2041" y="903"/>
                </a:lnTo>
                <a:lnTo>
                  <a:pt x="2054" y="899"/>
                </a:lnTo>
                <a:lnTo>
                  <a:pt x="2068" y="895"/>
                </a:lnTo>
                <a:lnTo>
                  <a:pt x="2081" y="892"/>
                </a:lnTo>
                <a:lnTo>
                  <a:pt x="2093" y="890"/>
                </a:lnTo>
                <a:lnTo>
                  <a:pt x="2105" y="888"/>
                </a:lnTo>
                <a:lnTo>
                  <a:pt x="2119" y="888"/>
                </a:lnTo>
                <a:lnTo>
                  <a:pt x="2131" y="888"/>
                </a:lnTo>
                <a:lnTo>
                  <a:pt x="2143" y="889"/>
                </a:lnTo>
                <a:lnTo>
                  <a:pt x="2156" y="891"/>
                </a:lnTo>
                <a:lnTo>
                  <a:pt x="2170" y="893"/>
                </a:lnTo>
                <a:lnTo>
                  <a:pt x="2183" y="897"/>
                </a:lnTo>
                <a:lnTo>
                  <a:pt x="2196" y="901"/>
                </a:lnTo>
                <a:lnTo>
                  <a:pt x="2211" y="907"/>
                </a:lnTo>
                <a:lnTo>
                  <a:pt x="2226" y="914"/>
                </a:lnTo>
                <a:lnTo>
                  <a:pt x="2226" y="914"/>
                </a:lnTo>
                <a:lnTo>
                  <a:pt x="2246" y="924"/>
                </a:lnTo>
                <a:lnTo>
                  <a:pt x="2265" y="934"/>
                </a:lnTo>
                <a:lnTo>
                  <a:pt x="2281" y="945"/>
                </a:lnTo>
                <a:lnTo>
                  <a:pt x="2295" y="954"/>
                </a:lnTo>
                <a:lnTo>
                  <a:pt x="2305" y="964"/>
                </a:lnTo>
                <a:lnTo>
                  <a:pt x="2312" y="971"/>
                </a:lnTo>
                <a:lnTo>
                  <a:pt x="2319" y="977"/>
                </a:lnTo>
                <a:lnTo>
                  <a:pt x="2319" y="977"/>
                </a:lnTo>
                <a:lnTo>
                  <a:pt x="2317" y="980"/>
                </a:lnTo>
                <a:lnTo>
                  <a:pt x="2313" y="987"/>
                </a:lnTo>
                <a:lnTo>
                  <a:pt x="2305" y="998"/>
                </a:lnTo>
                <a:lnTo>
                  <a:pt x="2300" y="1005"/>
                </a:lnTo>
                <a:lnTo>
                  <a:pt x="2293" y="1012"/>
                </a:lnTo>
                <a:lnTo>
                  <a:pt x="2285" y="1018"/>
                </a:lnTo>
                <a:lnTo>
                  <a:pt x="2276" y="1025"/>
                </a:lnTo>
                <a:lnTo>
                  <a:pt x="2267" y="1031"/>
                </a:lnTo>
                <a:lnTo>
                  <a:pt x="2255" y="1036"/>
                </a:lnTo>
                <a:lnTo>
                  <a:pt x="2242" y="1041"/>
                </a:lnTo>
                <a:lnTo>
                  <a:pt x="2228" y="1045"/>
                </a:lnTo>
                <a:lnTo>
                  <a:pt x="2212" y="1049"/>
                </a:lnTo>
                <a:lnTo>
                  <a:pt x="2194" y="1050"/>
                </a:lnTo>
                <a:lnTo>
                  <a:pt x="2194" y="1050"/>
                </a:lnTo>
                <a:lnTo>
                  <a:pt x="2180" y="1051"/>
                </a:lnTo>
                <a:lnTo>
                  <a:pt x="2166" y="1050"/>
                </a:lnTo>
                <a:lnTo>
                  <a:pt x="2152" y="1048"/>
                </a:lnTo>
                <a:lnTo>
                  <a:pt x="2139" y="1044"/>
                </a:lnTo>
                <a:lnTo>
                  <a:pt x="2127" y="1041"/>
                </a:lnTo>
                <a:lnTo>
                  <a:pt x="2115" y="1037"/>
                </a:lnTo>
                <a:lnTo>
                  <a:pt x="2103" y="1033"/>
                </a:lnTo>
                <a:lnTo>
                  <a:pt x="2092" y="1027"/>
                </a:lnTo>
                <a:lnTo>
                  <a:pt x="2082" y="1022"/>
                </a:lnTo>
                <a:lnTo>
                  <a:pt x="2073" y="1016"/>
                </a:lnTo>
                <a:lnTo>
                  <a:pt x="2064" y="1010"/>
                </a:lnTo>
                <a:lnTo>
                  <a:pt x="2056" y="1003"/>
                </a:lnTo>
                <a:lnTo>
                  <a:pt x="2048" y="995"/>
                </a:lnTo>
                <a:lnTo>
                  <a:pt x="2042" y="988"/>
                </a:lnTo>
                <a:lnTo>
                  <a:pt x="2036" y="981"/>
                </a:lnTo>
                <a:lnTo>
                  <a:pt x="2031" y="974"/>
                </a:lnTo>
                <a:lnTo>
                  <a:pt x="2031" y="974"/>
                </a:lnTo>
                <a:lnTo>
                  <a:pt x="2022" y="996"/>
                </a:lnTo>
                <a:lnTo>
                  <a:pt x="2013" y="1014"/>
                </a:lnTo>
                <a:lnTo>
                  <a:pt x="2007" y="1027"/>
                </a:lnTo>
                <a:lnTo>
                  <a:pt x="2007" y="1027"/>
                </a:lnTo>
                <a:lnTo>
                  <a:pt x="2003" y="1035"/>
                </a:lnTo>
                <a:lnTo>
                  <a:pt x="2000" y="1042"/>
                </a:lnTo>
                <a:lnTo>
                  <a:pt x="1998" y="1051"/>
                </a:lnTo>
                <a:lnTo>
                  <a:pt x="1997" y="1057"/>
                </a:lnTo>
                <a:lnTo>
                  <a:pt x="1997" y="1064"/>
                </a:lnTo>
                <a:lnTo>
                  <a:pt x="1997" y="1070"/>
                </a:lnTo>
                <a:lnTo>
                  <a:pt x="1999" y="1082"/>
                </a:lnTo>
                <a:lnTo>
                  <a:pt x="2001" y="1094"/>
                </a:lnTo>
                <a:lnTo>
                  <a:pt x="2003" y="1104"/>
                </a:lnTo>
                <a:lnTo>
                  <a:pt x="2004" y="1115"/>
                </a:lnTo>
                <a:lnTo>
                  <a:pt x="2003" y="1121"/>
                </a:lnTo>
                <a:lnTo>
                  <a:pt x="2001" y="1126"/>
                </a:lnTo>
                <a:lnTo>
                  <a:pt x="2001" y="1126"/>
                </a:lnTo>
                <a:lnTo>
                  <a:pt x="1999" y="1132"/>
                </a:lnTo>
                <a:lnTo>
                  <a:pt x="1995" y="1138"/>
                </a:lnTo>
                <a:lnTo>
                  <a:pt x="1986" y="1151"/>
                </a:lnTo>
                <a:lnTo>
                  <a:pt x="1973" y="1163"/>
                </a:lnTo>
                <a:lnTo>
                  <a:pt x="1960" y="1175"/>
                </a:lnTo>
                <a:lnTo>
                  <a:pt x="1945" y="1187"/>
                </a:lnTo>
                <a:lnTo>
                  <a:pt x="1931" y="1198"/>
                </a:lnTo>
                <a:lnTo>
                  <a:pt x="1904" y="1216"/>
                </a:lnTo>
                <a:lnTo>
                  <a:pt x="1904" y="1216"/>
                </a:lnTo>
                <a:lnTo>
                  <a:pt x="1886" y="1227"/>
                </a:lnTo>
                <a:lnTo>
                  <a:pt x="1864" y="1239"/>
                </a:lnTo>
                <a:lnTo>
                  <a:pt x="1842" y="1249"/>
                </a:lnTo>
                <a:lnTo>
                  <a:pt x="1819" y="1257"/>
                </a:lnTo>
                <a:lnTo>
                  <a:pt x="1798" y="1264"/>
                </a:lnTo>
                <a:lnTo>
                  <a:pt x="1779" y="1270"/>
                </a:lnTo>
                <a:lnTo>
                  <a:pt x="1754" y="1278"/>
                </a:lnTo>
                <a:lnTo>
                  <a:pt x="1754" y="1278"/>
                </a:lnTo>
                <a:lnTo>
                  <a:pt x="1779" y="1336"/>
                </a:lnTo>
                <a:lnTo>
                  <a:pt x="1811" y="1404"/>
                </a:lnTo>
                <a:lnTo>
                  <a:pt x="1811" y="1404"/>
                </a:lnTo>
                <a:lnTo>
                  <a:pt x="1833" y="1449"/>
                </a:lnTo>
                <a:lnTo>
                  <a:pt x="1862" y="1504"/>
                </a:lnTo>
                <a:lnTo>
                  <a:pt x="1877" y="1531"/>
                </a:lnTo>
                <a:lnTo>
                  <a:pt x="1893" y="1557"/>
                </a:lnTo>
                <a:lnTo>
                  <a:pt x="1909" y="1578"/>
                </a:lnTo>
                <a:lnTo>
                  <a:pt x="1916" y="1588"/>
                </a:lnTo>
                <a:lnTo>
                  <a:pt x="1924" y="1597"/>
                </a:lnTo>
                <a:lnTo>
                  <a:pt x="1924" y="1597"/>
                </a:lnTo>
                <a:lnTo>
                  <a:pt x="1940" y="1592"/>
                </a:lnTo>
                <a:lnTo>
                  <a:pt x="1957" y="1587"/>
                </a:lnTo>
                <a:lnTo>
                  <a:pt x="1980" y="1581"/>
                </a:lnTo>
                <a:lnTo>
                  <a:pt x="2004" y="1573"/>
                </a:lnTo>
                <a:lnTo>
                  <a:pt x="2031" y="1563"/>
                </a:lnTo>
                <a:lnTo>
                  <a:pt x="2057" y="1551"/>
                </a:lnTo>
                <a:lnTo>
                  <a:pt x="2071" y="1544"/>
                </a:lnTo>
                <a:lnTo>
                  <a:pt x="2083" y="1537"/>
                </a:lnTo>
                <a:lnTo>
                  <a:pt x="2083" y="1537"/>
                </a:lnTo>
                <a:lnTo>
                  <a:pt x="2105" y="1524"/>
                </a:lnTo>
                <a:lnTo>
                  <a:pt x="2126" y="1510"/>
                </a:lnTo>
                <a:lnTo>
                  <a:pt x="2145" y="1495"/>
                </a:lnTo>
                <a:lnTo>
                  <a:pt x="2162" y="1480"/>
                </a:lnTo>
                <a:lnTo>
                  <a:pt x="2177" y="1466"/>
                </a:lnTo>
                <a:lnTo>
                  <a:pt x="2189" y="1451"/>
                </a:lnTo>
                <a:lnTo>
                  <a:pt x="2199" y="1437"/>
                </a:lnTo>
                <a:lnTo>
                  <a:pt x="2207" y="1424"/>
                </a:lnTo>
                <a:lnTo>
                  <a:pt x="2207" y="1424"/>
                </a:lnTo>
                <a:lnTo>
                  <a:pt x="2190" y="1460"/>
                </a:lnTo>
                <a:lnTo>
                  <a:pt x="2175" y="1493"/>
                </a:lnTo>
                <a:lnTo>
                  <a:pt x="2161" y="1523"/>
                </a:lnTo>
                <a:lnTo>
                  <a:pt x="2146" y="1551"/>
                </a:lnTo>
                <a:lnTo>
                  <a:pt x="2132" y="1576"/>
                </a:lnTo>
                <a:lnTo>
                  <a:pt x="2119" y="1599"/>
                </a:lnTo>
                <a:lnTo>
                  <a:pt x="2105" y="1619"/>
                </a:lnTo>
                <a:lnTo>
                  <a:pt x="2092" y="1637"/>
                </a:lnTo>
                <a:lnTo>
                  <a:pt x="2080" y="1655"/>
                </a:lnTo>
                <a:lnTo>
                  <a:pt x="2068" y="1669"/>
                </a:lnTo>
                <a:lnTo>
                  <a:pt x="2055" y="1682"/>
                </a:lnTo>
                <a:lnTo>
                  <a:pt x="2044" y="1694"/>
                </a:lnTo>
                <a:lnTo>
                  <a:pt x="2033" y="1705"/>
                </a:lnTo>
                <a:lnTo>
                  <a:pt x="2022" y="1714"/>
                </a:lnTo>
                <a:lnTo>
                  <a:pt x="2011" y="1721"/>
                </a:lnTo>
                <a:lnTo>
                  <a:pt x="2000" y="1729"/>
                </a:lnTo>
                <a:lnTo>
                  <a:pt x="2000" y="1729"/>
                </a:lnTo>
                <a:lnTo>
                  <a:pt x="1907" y="1790"/>
                </a:lnTo>
                <a:lnTo>
                  <a:pt x="1797" y="1862"/>
                </a:lnTo>
                <a:lnTo>
                  <a:pt x="1735" y="1901"/>
                </a:lnTo>
                <a:lnTo>
                  <a:pt x="1671" y="1940"/>
                </a:lnTo>
                <a:lnTo>
                  <a:pt x="1602" y="1980"/>
                </a:lnTo>
                <a:lnTo>
                  <a:pt x="1532" y="2020"/>
                </a:lnTo>
                <a:lnTo>
                  <a:pt x="1459" y="2058"/>
                </a:lnTo>
                <a:lnTo>
                  <a:pt x="1422" y="2077"/>
                </a:lnTo>
                <a:lnTo>
                  <a:pt x="1384" y="2094"/>
                </a:lnTo>
                <a:lnTo>
                  <a:pt x="1347" y="2112"/>
                </a:lnTo>
                <a:lnTo>
                  <a:pt x="1308" y="2129"/>
                </a:lnTo>
                <a:lnTo>
                  <a:pt x="1269" y="2146"/>
                </a:lnTo>
                <a:lnTo>
                  <a:pt x="1230" y="2161"/>
                </a:lnTo>
                <a:lnTo>
                  <a:pt x="1190" y="2175"/>
                </a:lnTo>
                <a:lnTo>
                  <a:pt x="1151" y="2189"/>
                </a:lnTo>
                <a:lnTo>
                  <a:pt x="1111" y="2202"/>
                </a:lnTo>
                <a:lnTo>
                  <a:pt x="1072" y="2213"/>
                </a:lnTo>
                <a:lnTo>
                  <a:pt x="1032" y="2223"/>
                </a:lnTo>
                <a:lnTo>
                  <a:pt x="992" y="2231"/>
                </a:lnTo>
                <a:lnTo>
                  <a:pt x="952" y="2240"/>
                </a:lnTo>
                <a:lnTo>
                  <a:pt x="913" y="2246"/>
                </a:lnTo>
                <a:lnTo>
                  <a:pt x="913" y="2246"/>
                </a:lnTo>
                <a:lnTo>
                  <a:pt x="901" y="2246"/>
                </a:lnTo>
                <a:lnTo>
                  <a:pt x="889" y="2245"/>
                </a:lnTo>
                <a:lnTo>
                  <a:pt x="876" y="2242"/>
                </a:lnTo>
                <a:lnTo>
                  <a:pt x="863" y="2239"/>
                </a:lnTo>
                <a:lnTo>
                  <a:pt x="850" y="2236"/>
                </a:lnTo>
                <a:lnTo>
                  <a:pt x="836" y="2230"/>
                </a:lnTo>
                <a:lnTo>
                  <a:pt x="809" y="2218"/>
                </a:lnTo>
                <a:lnTo>
                  <a:pt x="781" y="2204"/>
                </a:lnTo>
                <a:lnTo>
                  <a:pt x="754" y="2188"/>
                </a:lnTo>
                <a:lnTo>
                  <a:pt x="726" y="2170"/>
                </a:lnTo>
                <a:lnTo>
                  <a:pt x="698" y="2151"/>
                </a:lnTo>
                <a:lnTo>
                  <a:pt x="672" y="2130"/>
                </a:lnTo>
                <a:lnTo>
                  <a:pt x="646" y="2110"/>
                </a:lnTo>
                <a:lnTo>
                  <a:pt x="623" y="2089"/>
                </a:lnTo>
                <a:lnTo>
                  <a:pt x="600" y="2069"/>
                </a:lnTo>
                <a:lnTo>
                  <a:pt x="581" y="2049"/>
                </a:lnTo>
                <a:lnTo>
                  <a:pt x="563" y="2032"/>
                </a:lnTo>
                <a:lnTo>
                  <a:pt x="548" y="2017"/>
                </a:lnTo>
                <a:lnTo>
                  <a:pt x="537" y="2003"/>
                </a:lnTo>
                <a:lnTo>
                  <a:pt x="537" y="2003"/>
                </a:lnTo>
                <a:lnTo>
                  <a:pt x="533" y="1999"/>
                </a:lnTo>
                <a:lnTo>
                  <a:pt x="530" y="1995"/>
                </a:lnTo>
                <a:lnTo>
                  <a:pt x="520" y="1990"/>
                </a:lnTo>
                <a:lnTo>
                  <a:pt x="512" y="1988"/>
                </a:lnTo>
                <a:lnTo>
                  <a:pt x="502" y="1987"/>
                </a:lnTo>
                <a:lnTo>
                  <a:pt x="493" y="1987"/>
                </a:lnTo>
                <a:lnTo>
                  <a:pt x="483" y="1989"/>
                </a:lnTo>
                <a:lnTo>
                  <a:pt x="473" y="1992"/>
                </a:lnTo>
                <a:lnTo>
                  <a:pt x="464" y="1996"/>
                </a:lnTo>
                <a:lnTo>
                  <a:pt x="447" y="2004"/>
                </a:lnTo>
                <a:lnTo>
                  <a:pt x="433" y="2014"/>
                </a:lnTo>
                <a:lnTo>
                  <a:pt x="419" y="2024"/>
                </a:lnTo>
                <a:lnTo>
                  <a:pt x="419" y="2024"/>
                </a:lnTo>
                <a:lnTo>
                  <a:pt x="412" y="2023"/>
                </a:lnTo>
                <a:lnTo>
                  <a:pt x="393" y="2021"/>
                </a:lnTo>
                <a:lnTo>
                  <a:pt x="379" y="2021"/>
                </a:lnTo>
                <a:lnTo>
                  <a:pt x="364" y="2021"/>
                </a:lnTo>
                <a:lnTo>
                  <a:pt x="348" y="2022"/>
                </a:lnTo>
                <a:lnTo>
                  <a:pt x="329" y="2024"/>
                </a:lnTo>
                <a:lnTo>
                  <a:pt x="310" y="2027"/>
                </a:lnTo>
                <a:lnTo>
                  <a:pt x="290" y="2032"/>
                </a:lnTo>
                <a:lnTo>
                  <a:pt x="271" y="2038"/>
                </a:lnTo>
                <a:lnTo>
                  <a:pt x="252" y="2047"/>
                </a:lnTo>
                <a:lnTo>
                  <a:pt x="242" y="2053"/>
                </a:lnTo>
                <a:lnTo>
                  <a:pt x="233" y="2058"/>
                </a:lnTo>
                <a:lnTo>
                  <a:pt x="224" y="2064"/>
                </a:lnTo>
                <a:lnTo>
                  <a:pt x="216" y="2071"/>
                </a:lnTo>
                <a:lnTo>
                  <a:pt x="207" y="2079"/>
                </a:lnTo>
                <a:lnTo>
                  <a:pt x="199" y="2087"/>
                </a:lnTo>
                <a:lnTo>
                  <a:pt x="191" y="2097"/>
                </a:lnTo>
                <a:lnTo>
                  <a:pt x="184" y="2106"/>
                </a:lnTo>
                <a:lnTo>
                  <a:pt x="184" y="2106"/>
                </a:lnTo>
                <a:lnTo>
                  <a:pt x="183" y="2109"/>
                </a:lnTo>
                <a:lnTo>
                  <a:pt x="185" y="2111"/>
                </a:lnTo>
                <a:lnTo>
                  <a:pt x="188" y="2112"/>
                </a:lnTo>
                <a:lnTo>
                  <a:pt x="193" y="2112"/>
                </a:lnTo>
                <a:lnTo>
                  <a:pt x="210" y="2110"/>
                </a:lnTo>
                <a:lnTo>
                  <a:pt x="230" y="2108"/>
                </a:lnTo>
                <a:lnTo>
                  <a:pt x="255" y="2106"/>
                </a:lnTo>
                <a:lnTo>
                  <a:pt x="280" y="2105"/>
                </a:lnTo>
                <a:lnTo>
                  <a:pt x="293" y="2106"/>
                </a:lnTo>
                <a:lnTo>
                  <a:pt x="307" y="2107"/>
                </a:lnTo>
                <a:lnTo>
                  <a:pt x="319" y="2109"/>
                </a:lnTo>
                <a:lnTo>
                  <a:pt x="331" y="2112"/>
                </a:lnTo>
                <a:lnTo>
                  <a:pt x="331" y="2112"/>
                </a:lnTo>
                <a:lnTo>
                  <a:pt x="338" y="2115"/>
                </a:lnTo>
                <a:lnTo>
                  <a:pt x="343" y="2118"/>
                </a:lnTo>
                <a:lnTo>
                  <a:pt x="346" y="2121"/>
                </a:lnTo>
                <a:lnTo>
                  <a:pt x="347" y="2124"/>
                </a:lnTo>
                <a:lnTo>
                  <a:pt x="347" y="2127"/>
                </a:lnTo>
                <a:lnTo>
                  <a:pt x="345" y="2131"/>
                </a:lnTo>
                <a:lnTo>
                  <a:pt x="339" y="2139"/>
                </a:lnTo>
                <a:lnTo>
                  <a:pt x="332" y="2149"/>
                </a:lnTo>
                <a:lnTo>
                  <a:pt x="325" y="2160"/>
                </a:lnTo>
                <a:lnTo>
                  <a:pt x="321" y="2166"/>
                </a:lnTo>
                <a:lnTo>
                  <a:pt x="319" y="2172"/>
                </a:lnTo>
                <a:lnTo>
                  <a:pt x="317" y="2178"/>
                </a:lnTo>
                <a:lnTo>
                  <a:pt x="317" y="2185"/>
                </a:lnTo>
                <a:lnTo>
                  <a:pt x="317" y="2185"/>
                </a:lnTo>
                <a:lnTo>
                  <a:pt x="317" y="2191"/>
                </a:lnTo>
                <a:lnTo>
                  <a:pt x="319" y="2197"/>
                </a:lnTo>
                <a:lnTo>
                  <a:pt x="321" y="2202"/>
                </a:lnTo>
                <a:lnTo>
                  <a:pt x="324" y="2207"/>
                </a:lnTo>
                <a:lnTo>
                  <a:pt x="328" y="2212"/>
                </a:lnTo>
                <a:lnTo>
                  <a:pt x="333" y="2217"/>
                </a:lnTo>
                <a:lnTo>
                  <a:pt x="346" y="2227"/>
                </a:lnTo>
                <a:lnTo>
                  <a:pt x="361" y="2237"/>
                </a:lnTo>
                <a:lnTo>
                  <a:pt x="377" y="2246"/>
                </a:lnTo>
                <a:lnTo>
                  <a:pt x="397" y="2255"/>
                </a:lnTo>
                <a:lnTo>
                  <a:pt x="416" y="2263"/>
                </a:lnTo>
                <a:lnTo>
                  <a:pt x="458" y="2279"/>
                </a:lnTo>
                <a:lnTo>
                  <a:pt x="500" y="2293"/>
                </a:lnTo>
                <a:lnTo>
                  <a:pt x="571" y="2314"/>
                </a:lnTo>
                <a:lnTo>
                  <a:pt x="571" y="2314"/>
                </a:lnTo>
                <a:lnTo>
                  <a:pt x="579" y="2318"/>
                </a:lnTo>
                <a:lnTo>
                  <a:pt x="585" y="2322"/>
                </a:lnTo>
                <a:lnTo>
                  <a:pt x="588" y="2328"/>
                </a:lnTo>
                <a:lnTo>
                  <a:pt x="590" y="2333"/>
                </a:lnTo>
                <a:lnTo>
                  <a:pt x="590" y="2337"/>
                </a:lnTo>
                <a:lnTo>
                  <a:pt x="588" y="2341"/>
                </a:lnTo>
                <a:lnTo>
                  <a:pt x="585" y="2343"/>
                </a:lnTo>
                <a:lnTo>
                  <a:pt x="581" y="2344"/>
                </a:lnTo>
                <a:lnTo>
                  <a:pt x="581" y="2344"/>
                </a:lnTo>
                <a:lnTo>
                  <a:pt x="556" y="2343"/>
                </a:lnTo>
                <a:lnTo>
                  <a:pt x="532" y="2340"/>
                </a:lnTo>
                <a:lnTo>
                  <a:pt x="509" y="2337"/>
                </a:lnTo>
                <a:lnTo>
                  <a:pt x="488" y="2332"/>
                </a:lnTo>
                <a:lnTo>
                  <a:pt x="467" y="2327"/>
                </a:lnTo>
                <a:lnTo>
                  <a:pt x="448" y="2320"/>
                </a:lnTo>
                <a:lnTo>
                  <a:pt x="429" y="2314"/>
                </a:lnTo>
                <a:lnTo>
                  <a:pt x="412" y="2308"/>
                </a:lnTo>
                <a:lnTo>
                  <a:pt x="380" y="2295"/>
                </a:lnTo>
                <a:lnTo>
                  <a:pt x="352" y="2283"/>
                </a:lnTo>
                <a:lnTo>
                  <a:pt x="327" y="2271"/>
                </a:lnTo>
                <a:lnTo>
                  <a:pt x="316" y="2267"/>
                </a:lnTo>
                <a:lnTo>
                  <a:pt x="305" y="2263"/>
                </a:lnTo>
                <a:lnTo>
                  <a:pt x="305" y="2263"/>
                </a:lnTo>
                <a:lnTo>
                  <a:pt x="286" y="2258"/>
                </a:lnTo>
                <a:lnTo>
                  <a:pt x="268" y="2254"/>
                </a:lnTo>
                <a:lnTo>
                  <a:pt x="253" y="2251"/>
                </a:lnTo>
                <a:lnTo>
                  <a:pt x="237" y="2249"/>
                </a:lnTo>
                <a:lnTo>
                  <a:pt x="224" y="2248"/>
                </a:lnTo>
                <a:lnTo>
                  <a:pt x="213" y="2249"/>
                </a:lnTo>
                <a:lnTo>
                  <a:pt x="202" y="2250"/>
                </a:lnTo>
                <a:lnTo>
                  <a:pt x="192" y="2252"/>
                </a:lnTo>
                <a:lnTo>
                  <a:pt x="185" y="2256"/>
                </a:lnTo>
                <a:lnTo>
                  <a:pt x="178" y="2260"/>
                </a:lnTo>
                <a:lnTo>
                  <a:pt x="172" y="2265"/>
                </a:lnTo>
                <a:lnTo>
                  <a:pt x="167" y="2271"/>
                </a:lnTo>
                <a:lnTo>
                  <a:pt x="163" y="2277"/>
                </a:lnTo>
                <a:lnTo>
                  <a:pt x="160" y="2286"/>
                </a:lnTo>
                <a:lnTo>
                  <a:pt x="156" y="2294"/>
                </a:lnTo>
                <a:lnTo>
                  <a:pt x="155" y="2303"/>
                </a:lnTo>
                <a:lnTo>
                  <a:pt x="155" y="2303"/>
                </a:lnTo>
                <a:lnTo>
                  <a:pt x="154" y="2306"/>
                </a:lnTo>
                <a:lnTo>
                  <a:pt x="152" y="2309"/>
                </a:lnTo>
                <a:lnTo>
                  <a:pt x="150" y="2312"/>
                </a:lnTo>
                <a:lnTo>
                  <a:pt x="147" y="2314"/>
                </a:lnTo>
                <a:lnTo>
                  <a:pt x="140" y="2318"/>
                </a:lnTo>
                <a:lnTo>
                  <a:pt x="132" y="2323"/>
                </a:lnTo>
                <a:lnTo>
                  <a:pt x="109" y="2333"/>
                </a:lnTo>
                <a:lnTo>
                  <a:pt x="97" y="2339"/>
                </a:lnTo>
                <a:lnTo>
                  <a:pt x="84" y="2347"/>
                </a:lnTo>
                <a:lnTo>
                  <a:pt x="71" y="2357"/>
                </a:lnTo>
                <a:lnTo>
                  <a:pt x="57" y="2371"/>
                </a:lnTo>
                <a:lnTo>
                  <a:pt x="51" y="2378"/>
                </a:lnTo>
                <a:lnTo>
                  <a:pt x="45" y="2386"/>
                </a:lnTo>
                <a:lnTo>
                  <a:pt x="39" y="2396"/>
                </a:lnTo>
                <a:lnTo>
                  <a:pt x="33" y="2406"/>
                </a:lnTo>
                <a:lnTo>
                  <a:pt x="28" y="2418"/>
                </a:lnTo>
                <a:lnTo>
                  <a:pt x="22" y="2430"/>
                </a:lnTo>
                <a:lnTo>
                  <a:pt x="17" y="2444"/>
                </a:lnTo>
                <a:lnTo>
                  <a:pt x="13" y="2458"/>
                </a:lnTo>
                <a:lnTo>
                  <a:pt x="9" y="2475"/>
                </a:lnTo>
                <a:lnTo>
                  <a:pt x="6" y="2492"/>
                </a:lnTo>
                <a:lnTo>
                  <a:pt x="3" y="2512"/>
                </a:lnTo>
                <a:lnTo>
                  <a:pt x="0" y="2532"/>
                </a:lnTo>
                <a:lnTo>
                  <a:pt x="0" y="2532"/>
                </a:lnTo>
                <a:lnTo>
                  <a:pt x="1" y="2533"/>
                </a:lnTo>
                <a:lnTo>
                  <a:pt x="2" y="2534"/>
                </a:lnTo>
                <a:lnTo>
                  <a:pt x="6" y="2532"/>
                </a:lnTo>
                <a:lnTo>
                  <a:pt x="12" y="2527"/>
                </a:lnTo>
                <a:lnTo>
                  <a:pt x="20" y="2519"/>
                </a:lnTo>
                <a:lnTo>
                  <a:pt x="43" y="2496"/>
                </a:lnTo>
                <a:lnTo>
                  <a:pt x="69" y="2472"/>
                </a:lnTo>
                <a:lnTo>
                  <a:pt x="82" y="2459"/>
                </a:lnTo>
                <a:lnTo>
                  <a:pt x="95" y="2448"/>
                </a:lnTo>
                <a:lnTo>
                  <a:pt x="107" y="2439"/>
                </a:lnTo>
                <a:lnTo>
                  <a:pt x="119" y="2432"/>
                </a:lnTo>
                <a:lnTo>
                  <a:pt x="124" y="2429"/>
                </a:lnTo>
                <a:lnTo>
                  <a:pt x="129" y="2428"/>
                </a:lnTo>
                <a:lnTo>
                  <a:pt x="133" y="2427"/>
                </a:lnTo>
                <a:lnTo>
                  <a:pt x="137" y="2427"/>
                </a:lnTo>
                <a:lnTo>
                  <a:pt x="140" y="2429"/>
                </a:lnTo>
                <a:lnTo>
                  <a:pt x="143" y="2431"/>
                </a:lnTo>
                <a:lnTo>
                  <a:pt x="144" y="2435"/>
                </a:lnTo>
                <a:lnTo>
                  <a:pt x="146" y="2439"/>
                </a:lnTo>
                <a:lnTo>
                  <a:pt x="146" y="2439"/>
                </a:lnTo>
                <a:lnTo>
                  <a:pt x="149" y="2455"/>
                </a:lnTo>
                <a:lnTo>
                  <a:pt x="154" y="2470"/>
                </a:lnTo>
                <a:lnTo>
                  <a:pt x="162" y="2483"/>
                </a:lnTo>
                <a:lnTo>
                  <a:pt x="170" y="2493"/>
                </a:lnTo>
                <a:lnTo>
                  <a:pt x="179" y="2503"/>
                </a:lnTo>
                <a:lnTo>
                  <a:pt x="189" y="2511"/>
                </a:lnTo>
                <a:lnTo>
                  <a:pt x="200" y="2518"/>
                </a:lnTo>
                <a:lnTo>
                  <a:pt x="214" y="2523"/>
                </a:lnTo>
                <a:lnTo>
                  <a:pt x="227" y="2527"/>
                </a:lnTo>
                <a:lnTo>
                  <a:pt x="241" y="2529"/>
                </a:lnTo>
                <a:lnTo>
                  <a:pt x="256" y="2531"/>
                </a:lnTo>
                <a:lnTo>
                  <a:pt x="271" y="2532"/>
                </a:lnTo>
                <a:lnTo>
                  <a:pt x="287" y="2533"/>
                </a:lnTo>
                <a:lnTo>
                  <a:pt x="304" y="2532"/>
                </a:lnTo>
                <a:lnTo>
                  <a:pt x="337" y="2530"/>
                </a:lnTo>
                <a:lnTo>
                  <a:pt x="371" y="2526"/>
                </a:lnTo>
                <a:lnTo>
                  <a:pt x="405" y="2521"/>
                </a:lnTo>
                <a:lnTo>
                  <a:pt x="438" y="2516"/>
                </a:lnTo>
                <a:lnTo>
                  <a:pt x="468" y="2512"/>
                </a:lnTo>
                <a:lnTo>
                  <a:pt x="496" y="2510"/>
                </a:lnTo>
                <a:lnTo>
                  <a:pt x="509" y="2509"/>
                </a:lnTo>
                <a:lnTo>
                  <a:pt x="520" y="2509"/>
                </a:lnTo>
                <a:lnTo>
                  <a:pt x="531" y="2510"/>
                </a:lnTo>
                <a:lnTo>
                  <a:pt x="541" y="2512"/>
                </a:lnTo>
                <a:lnTo>
                  <a:pt x="549" y="2515"/>
                </a:lnTo>
                <a:lnTo>
                  <a:pt x="555" y="2519"/>
                </a:lnTo>
                <a:lnTo>
                  <a:pt x="555" y="2519"/>
                </a:lnTo>
                <a:lnTo>
                  <a:pt x="558" y="2522"/>
                </a:lnTo>
                <a:lnTo>
                  <a:pt x="559" y="2524"/>
                </a:lnTo>
                <a:lnTo>
                  <a:pt x="557" y="2527"/>
                </a:lnTo>
                <a:lnTo>
                  <a:pt x="554" y="2529"/>
                </a:lnTo>
                <a:lnTo>
                  <a:pt x="549" y="2532"/>
                </a:lnTo>
                <a:lnTo>
                  <a:pt x="542" y="2534"/>
                </a:lnTo>
                <a:lnTo>
                  <a:pt x="525" y="2538"/>
                </a:lnTo>
                <a:lnTo>
                  <a:pt x="475" y="2547"/>
                </a:lnTo>
                <a:lnTo>
                  <a:pt x="447" y="2553"/>
                </a:lnTo>
                <a:lnTo>
                  <a:pt x="417" y="2559"/>
                </a:lnTo>
                <a:lnTo>
                  <a:pt x="388" y="2566"/>
                </a:lnTo>
                <a:lnTo>
                  <a:pt x="359" y="2574"/>
                </a:lnTo>
                <a:lnTo>
                  <a:pt x="346" y="2578"/>
                </a:lnTo>
                <a:lnTo>
                  <a:pt x="333" y="2583"/>
                </a:lnTo>
                <a:lnTo>
                  <a:pt x="322" y="2588"/>
                </a:lnTo>
                <a:lnTo>
                  <a:pt x="312" y="2594"/>
                </a:lnTo>
                <a:lnTo>
                  <a:pt x="303" y="2601"/>
                </a:lnTo>
                <a:lnTo>
                  <a:pt x="294" y="2607"/>
                </a:lnTo>
                <a:lnTo>
                  <a:pt x="288" y="2614"/>
                </a:lnTo>
                <a:lnTo>
                  <a:pt x="284" y="2622"/>
                </a:lnTo>
                <a:lnTo>
                  <a:pt x="282" y="2630"/>
                </a:lnTo>
                <a:lnTo>
                  <a:pt x="281" y="2638"/>
                </a:lnTo>
                <a:lnTo>
                  <a:pt x="283" y="2649"/>
                </a:lnTo>
                <a:lnTo>
                  <a:pt x="287" y="2659"/>
                </a:lnTo>
                <a:lnTo>
                  <a:pt x="287" y="2659"/>
                </a:lnTo>
                <a:lnTo>
                  <a:pt x="287" y="2660"/>
                </a:lnTo>
                <a:lnTo>
                  <a:pt x="286" y="2663"/>
                </a:lnTo>
                <a:lnTo>
                  <a:pt x="283" y="2669"/>
                </a:lnTo>
                <a:lnTo>
                  <a:pt x="268" y="2686"/>
                </a:lnTo>
                <a:lnTo>
                  <a:pt x="258" y="2699"/>
                </a:lnTo>
                <a:lnTo>
                  <a:pt x="247" y="2712"/>
                </a:lnTo>
                <a:lnTo>
                  <a:pt x="237" y="2727"/>
                </a:lnTo>
                <a:lnTo>
                  <a:pt x="228" y="2744"/>
                </a:lnTo>
                <a:lnTo>
                  <a:pt x="220" y="2761"/>
                </a:lnTo>
                <a:lnTo>
                  <a:pt x="217" y="2770"/>
                </a:lnTo>
                <a:lnTo>
                  <a:pt x="214" y="2781"/>
                </a:lnTo>
                <a:lnTo>
                  <a:pt x="213" y="2790"/>
                </a:lnTo>
                <a:lnTo>
                  <a:pt x="212" y="2801"/>
                </a:lnTo>
                <a:lnTo>
                  <a:pt x="212" y="2811"/>
                </a:lnTo>
                <a:lnTo>
                  <a:pt x="213" y="2821"/>
                </a:lnTo>
                <a:lnTo>
                  <a:pt x="215" y="2833"/>
                </a:lnTo>
                <a:lnTo>
                  <a:pt x="219" y="2844"/>
                </a:lnTo>
                <a:lnTo>
                  <a:pt x="223" y="2856"/>
                </a:lnTo>
                <a:lnTo>
                  <a:pt x="229" y="2867"/>
                </a:lnTo>
                <a:lnTo>
                  <a:pt x="237" y="2880"/>
                </a:lnTo>
                <a:lnTo>
                  <a:pt x="246" y="2892"/>
                </a:lnTo>
                <a:lnTo>
                  <a:pt x="257" y="2904"/>
                </a:lnTo>
                <a:lnTo>
                  <a:pt x="270" y="2917"/>
                </a:lnTo>
                <a:lnTo>
                  <a:pt x="270" y="2917"/>
                </a:lnTo>
                <a:lnTo>
                  <a:pt x="270" y="2910"/>
                </a:lnTo>
                <a:lnTo>
                  <a:pt x="272" y="2893"/>
                </a:lnTo>
                <a:lnTo>
                  <a:pt x="277" y="2868"/>
                </a:lnTo>
                <a:lnTo>
                  <a:pt x="281" y="2855"/>
                </a:lnTo>
                <a:lnTo>
                  <a:pt x="285" y="2841"/>
                </a:lnTo>
                <a:lnTo>
                  <a:pt x="291" y="2828"/>
                </a:lnTo>
                <a:lnTo>
                  <a:pt x="298" y="2814"/>
                </a:lnTo>
                <a:lnTo>
                  <a:pt x="306" y="2801"/>
                </a:lnTo>
                <a:lnTo>
                  <a:pt x="315" y="2791"/>
                </a:lnTo>
                <a:lnTo>
                  <a:pt x="321" y="2786"/>
                </a:lnTo>
                <a:lnTo>
                  <a:pt x="326" y="2782"/>
                </a:lnTo>
                <a:lnTo>
                  <a:pt x="332" y="2777"/>
                </a:lnTo>
                <a:lnTo>
                  <a:pt x="339" y="2774"/>
                </a:lnTo>
                <a:lnTo>
                  <a:pt x="346" y="2772"/>
                </a:lnTo>
                <a:lnTo>
                  <a:pt x="354" y="2770"/>
                </a:lnTo>
                <a:lnTo>
                  <a:pt x="361" y="2770"/>
                </a:lnTo>
                <a:lnTo>
                  <a:pt x="369" y="2770"/>
                </a:lnTo>
                <a:lnTo>
                  <a:pt x="369" y="2770"/>
                </a:lnTo>
                <a:lnTo>
                  <a:pt x="383" y="2771"/>
                </a:lnTo>
                <a:lnTo>
                  <a:pt x="396" y="2774"/>
                </a:lnTo>
                <a:lnTo>
                  <a:pt x="408" y="2778"/>
                </a:lnTo>
                <a:lnTo>
                  <a:pt x="420" y="2783"/>
                </a:lnTo>
                <a:lnTo>
                  <a:pt x="443" y="2793"/>
                </a:lnTo>
                <a:lnTo>
                  <a:pt x="454" y="2797"/>
                </a:lnTo>
                <a:lnTo>
                  <a:pt x="465" y="2801"/>
                </a:lnTo>
                <a:lnTo>
                  <a:pt x="476" y="2804"/>
                </a:lnTo>
                <a:lnTo>
                  <a:pt x="489" y="2806"/>
                </a:lnTo>
                <a:lnTo>
                  <a:pt x="501" y="2807"/>
                </a:lnTo>
                <a:lnTo>
                  <a:pt x="514" y="2805"/>
                </a:lnTo>
                <a:lnTo>
                  <a:pt x="528" y="2802"/>
                </a:lnTo>
                <a:lnTo>
                  <a:pt x="542" y="2796"/>
                </a:lnTo>
                <a:lnTo>
                  <a:pt x="558" y="2788"/>
                </a:lnTo>
                <a:lnTo>
                  <a:pt x="575" y="2775"/>
                </a:lnTo>
                <a:lnTo>
                  <a:pt x="575" y="2775"/>
                </a:lnTo>
                <a:lnTo>
                  <a:pt x="588" y="2766"/>
                </a:lnTo>
                <a:lnTo>
                  <a:pt x="600" y="2755"/>
                </a:lnTo>
                <a:lnTo>
                  <a:pt x="614" y="2743"/>
                </a:lnTo>
                <a:lnTo>
                  <a:pt x="630" y="2730"/>
                </a:lnTo>
                <a:lnTo>
                  <a:pt x="651" y="2718"/>
                </a:lnTo>
                <a:lnTo>
                  <a:pt x="664" y="2711"/>
                </a:lnTo>
                <a:lnTo>
                  <a:pt x="678" y="2705"/>
                </a:lnTo>
                <a:lnTo>
                  <a:pt x="693" y="2698"/>
                </a:lnTo>
                <a:lnTo>
                  <a:pt x="712" y="2692"/>
                </a:lnTo>
                <a:lnTo>
                  <a:pt x="732" y="2684"/>
                </a:lnTo>
                <a:lnTo>
                  <a:pt x="754" y="2677"/>
                </a:lnTo>
                <a:lnTo>
                  <a:pt x="754" y="2677"/>
                </a:lnTo>
                <a:lnTo>
                  <a:pt x="756" y="2677"/>
                </a:lnTo>
                <a:lnTo>
                  <a:pt x="757" y="2678"/>
                </a:lnTo>
                <a:lnTo>
                  <a:pt x="760" y="2683"/>
                </a:lnTo>
                <a:lnTo>
                  <a:pt x="762" y="2692"/>
                </a:lnTo>
                <a:lnTo>
                  <a:pt x="765" y="2701"/>
                </a:lnTo>
                <a:lnTo>
                  <a:pt x="768" y="2713"/>
                </a:lnTo>
                <a:lnTo>
                  <a:pt x="772" y="2725"/>
                </a:lnTo>
                <a:lnTo>
                  <a:pt x="777" y="2738"/>
                </a:lnTo>
                <a:lnTo>
                  <a:pt x="783" y="2750"/>
                </a:lnTo>
                <a:lnTo>
                  <a:pt x="783" y="2750"/>
                </a:lnTo>
                <a:lnTo>
                  <a:pt x="786" y="2753"/>
                </a:lnTo>
                <a:lnTo>
                  <a:pt x="789" y="2755"/>
                </a:lnTo>
                <a:lnTo>
                  <a:pt x="797" y="2760"/>
                </a:lnTo>
                <a:lnTo>
                  <a:pt x="805" y="2763"/>
                </a:lnTo>
                <a:lnTo>
                  <a:pt x="813" y="2767"/>
                </a:lnTo>
                <a:lnTo>
                  <a:pt x="821" y="2770"/>
                </a:lnTo>
                <a:lnTo>
                  <a:pt x="827" y="2773"/>
                </a:lnTo>
                <a:lnTo>
                  <a:pt x="830" y="2775"/>
                </a:lnTo>
                <a:lnTo>
                  <a:pt x="831" y="2777"/>
                </a:lnTo>
                <a:lnTo>
                  <a:pt x="833" y="2781"/>
                </a:lnTo>
                <a:lnTo>
                  <a:pt x="833" y="2784"/>
                </a:lnTo>
                <a:lnTo>
                  <a:pt x="833" y="2784"/>
                </a:lnTo>
                <a:lnTo>
                  <a:pt x="832" y="2794"/>
                </a:lnTo>
                <a:lnTo>
                  <a:pt x="830" y="2805"/>
                </a:lnTo>
                <a:lnTo>
                  <a:pt x="826" y="2815"/>
                </a:lnTo>
                <a:lnTo>
                  <a:pt x="822" y="2824"/>
                </a:lnTo>
                <a:lnTo>
                  <a:pt x="817" y="2834"/>
                </a:lnTo>
                <a:lnTo>
                  <a:pt x="811" y="2843"/>
                </a:lnTo>
                <a:lnTo>
                  <a:pt x="798" y="2859"/>
                </a:lnTo>
                <a:lnTo>
                  <a:pt x="784" y="2873"/>
                </a:lnTo>
                <a:lnTo>
                  <a:pt x="773" y="2884"/>
                </a:lnTo>
                <a:lnTo>
                  <a:pt x="765" y="2890"/>
                </a:lnTo>
                <a:lnTo>
                  <a:pt x="763" y="2893"/>
                </a:lnTo>
                <a:lnTo>
                  <a:pt x="763" y="2893"/>
                </a:lnTo>
                <a:lnTo>
                  <a:pt x="767" y="2896"/>
                </a:lnTo>
                <a:lnTo>
                  <a:pt x="778" y="2899"/>
                </a:lnTo>
                <a:lnTo>
                  <a:pt x="785" y="2900"/>
                </a:lnTo>
                <a:lnTo>
                  <a:pt x="794" y="2901"/>
                </a:lnTo>
                <a:lnTo>
                  <a:pt x="804" y="2901"/>
                </a:lnTo>
                <a:lnTo>
                  <a:pt x="815" y="2899"/>
                </a:lnTo>
                <a:lnTo>
                  <a:pt x="826" y="2896"/>
                </a:lnTo>
                <a:lnTo>
                  <a:pt x="839" y="2891"/>
                </a:lnTo>
                <a:lnTo>
                  <a:pt x="852" y="2884"/>
                </a:lnTo>
                <a:lnTo>
                  <a:pt x="865" y="2874"/>
                </a:lnTo>
                <a:lnTo>
                  <a:pt x="879" y="2860"/>
                </a:lnTo>
                <a:lnTo>
                  <a:pt x="894" y="2844"/>
                </a:lnTo>
                <a:lnTo>
                  <a:pt x="907" y="2824"/>
                </a:lnTo>
                <a:lnTo>
                  <a:pt x="921" y="2801"/>
                </a:lnTo>
                <a:lnTo>
                  <a:pt x="921" y="2801"/>
                </a:lnTo>
                <a:lnTo>
                  <a:pt x="924" y="2797"/>
                </a:lnTo>
                <a:lnTo>
                  <a:pt x="927" y="2793"/>
                </a:lnTo>
                <a:lnTo>
                  <a:pt x="930" y="2791"/>
                </a:lnTo>
                <a:lnTo>
                  <a:pt x="935" y="2789"/>
                </a:lnTo>
                <a:lnTo>
                  <a:pt x="939" y="2788"/>
                </a:lnTo>
                <a:lnTo>
                  <a:pt x="943" y="2788"/>
                </a:lnTo>
                <a:lnTo>
                  <a:pt x="951" y="2788"/>
                </a:lnTo>
                <a:lnTo>
                  <a:pt x="970" y="2790"/>
                </a:lnTo>
                <a:lnTo>
                  <a:pt x="982" y="2790"/>
                </a:lnTo>
                <a:lnTo>
                  <a:pt x="987" y="2789"/>
                </a:lnTo>
                <a:lnTo>
                  <a:pt x="992" y="2788"/>
                </a:lnTo>
                <a:lnTo>
                  <a:pt x="992" y="2788"/>
                </a:lnTo>
                <a:lnTo>
                  <a:pt x="1010" y="2782"/>
                </a:lnTo>
                <a:lnTo>
                  <a:pt x="1017" y="2777"/>
                </a:lnTo>
                <a:lnTo>
                  <a:pt x="1024" y="2773"/>
                </a:lnTo>
                <a:lnTo>
                  <a:pt x="1029" y="2770"/>
                </a:lnTo>
                <a:lnTo>
                  <a:pt x="1033" y="2766"/>
                </a:lnTo>
                <a:lnTo>
                  <a:pt x="1036" y="2762"/>
                </a:lnTo>
                <a:lnTo>
                  <a:pt x="1039" y="2757"/>
                </a:lnTo>
                <a:lnTo>
                  <a:pt x="1041" y="2753"/>
                </a:lnTo>
                <a:lnTo>
                  <a:pt x="1042" y="2748"/>
                </a:lnTo>
                <a:lnTo>
                  <a:pt x="1043" y="2739"/>
                </a:lnTo>
                <a:lnTo>
                  <a:pt x="1042" y="2728"/>
                </a:lnTo>
                <a:lnTo>
                  <a:pt x="1040" y="2718"/>
                </a:lnTo>
                <a:lnTo>
                  <a:pt x="1035" y="2696"/>
                </a:lnTo>
                <a:lnTo>
                  <a:pt x="1034" y="2685"/>
                </a:lnTo>
                <a:lnTo>
                  <a:pt x="1033" y="2673"/>
                </a:lnTo>
                <a:lnTo>
                  <a:pt x="1034" y="2662"/>
                </a:lnTo>
                <a:lnTo>
                  <a:pt x="1036" y="2657"/>
                </a:lnTo>
                <a:lnTo>
                  <a:pt x="1038" y="2651"/>
                </a:lnTo>
                <a:lnTo>
                  <a:pt x="1040" y="2646"/>
                </a:lnTo>
                <a:lnTo>
                  <a:pt x="1044" y="2640"/>
                </a:lnTo>
                <a:lnTo>
                  <a:pt x="1048" y="2634"/>
                </a:lnTo>
                <a:lnTo>
                  <a:pt x="1054" y="2629"/>
                </a:lnTo>
                <a:lnTo>
                  <a:pt x="1054" y="2629"/>
                </a:lnTo>
                <a:lnTo>
                  <a:pt x="1069" y="2616"/>
                </a:lnTo>
                <a:lnTo>
                  <a:pt x="1084" y="2603"/>
                </a:lnTo>
                <a:lnTo>
                  <a:pt x="1099" y="2591"/>
                </a:lnTo>
                <a:lnTo>
                  <a:pt x="1115" y="2579"/>
                </a:lnTo>
                <a:lnTo>
                  <a:pt x="1146" y="2559"/>
                </a:lnTo>
                <a:lnTo>
                  <a:pt x="1178" y="2540"/>
                </a:lnTo>
                <a:lnTo>
                  <a:pt x="1210" y="2524"/>
                </a:lnTo>
                <a:lnTo>
                  <a:pt x="1241" y="2509"/>
                </a:lnTo>
                <a:lnTo>
                  <a:pt x="1273" y="2494"/>
                </a:lnTo>
                <a:lnTo>
                  <a:pt x="1304" y="2482"/>
                </a:lnTo>
                <a:lnTo>
                  <a:pt x="1304" y="2482"/>
                </a:lnTo>
                <a:lnTo>
                  <a:pt x="1303" y="2486"/>
                </a:lnTo>
                <a:lnTo>
                  <a:pt x="1299" y="2498"/>
                </a:lnTo>
                <a:lnTo>
                  <a:pt x="1294" y="2518"/>
                </a:lnTo>
                <a:lnTo>
                  <a:pt x="1291" y="2541"/>
                </a:lnTo>
                <a:lnTo>
                  <a:pt x="1290" y="2556"/>
                </a:lnTo>
                <a:lnTo>
                  <a:pt x="1290" y="2570"/>
                </a:lnTo>
                <a:lnTo>
                  <a:pt x="1291" y="2585"/>
                </a:lnTo>
                <a:lnTo>
                  <a:pt x="1292" y="2602"/>
                </a:lnTo>
                <a:lnTo>
                  <a:pt x="1296" y="2618"/>
                </a:lnTo>
                <a:lnTo>
                  <a:pt x="1301" y="2634"/>
                </a:lnTo>
                <a:lnTo>
                  <a:pt x="1306" y="2652"/>
                </a:lnTo>
                <a:lnTo>
                  <a:pt x="1314" y="2669"/>
                </a:lnTo>
                <a:lnTo>
                  <a:pt x="1640" y="2585"/>
                </a:lnTo>
                <a:lnTo>
                  <a:pt x="1640" y="2585"/>
                </a:lnTo>
                <a:lnTo>
                  <a:pt x="1634" y="2569"/>
                </a:lnTo>
                <a:lnTo>
                  <a:pt x="1631" y="2553"/>
                </a:lnTo>
                <a:lnTo>
                  <a:pt x="1629" y="2535"/>
                </a:lnTo>
                <a:lnTo>
                  <a:pt x="1629" y="2518"/>
                </a:lnTo>
                <a:lnTo>
                  <a:pt x="1631" y="2500"/>
                </a:lnTo>
                <a:lnTo>
                  <a:pt x="1634" y="2483"/>
                </a:lnTo>
                <a:lnTo>
                  <a:pt x="1638" y="2466"/>
                </a:lnTo>
                <a:lnTo>
                  <a:pt x="1644" y="2447"/>
                </a:lnTo>
                <a:lnTo>
                  <a:pt x="1651" y="2430"/>
                </a:lnTo>
                <a:lnTo>
                  <a:pt x="1660" y="2411"/>
                </a:lnTo>
                <a:lnTo>
                  <a:pt x="1669" y="2394"/>
                </a:lnTo>
                <a:lnTo>
                  <a:pt x="1679" y="2377"/>
                </a:lnTo>
                <a:lnTo>
                  <a:pt x="1689" y="2359"/>
                </a:lnTo>
                <a:lnTo>
                  <a:pt x="1701" y="2342"/>
                </a:lnTo>
                <a:lnTo>
                  <a:pt x="1725" y="2310"/>
                </a:lnTo>
                <a:lnTo>
                  <a:pt x="1725" y="2310"/>
                </a:lnTo>
                <a:lnTo>
                  <a:pt x="1726" y="2309"/>
                </a:lnTo>
                <a:lnTo>
                  <a:pt x="1727" y="2309"/>
                </a:lnTo>
                <a:lnTo>
                  <a:pt x="1728" y="2313"/>
                </a:lnTo>
                <a:lnTo>
                  <a:pt x="1725" y="2335"/>
                </a:lnTo>
                <a:lnTo>
                  <a:pt x="1721" y="2368"/>
                </a:lnTo>
                <a:lnTo>
                  <a:pt x="1715" y="2410"/>
                </a:lnTo>
                <a:lnTo>
                  <a:pt x="1713" y="2433"/>
                </a:lnTo>
                <a:lnTo>
                  <a:pt x="1711" y="2456"/>
                </a:lnTo>
                <a:lnTo>
                  <a:pt x="1711" y="2478"/>
                </a:lnTo>
                <a:lnTo>
                  <a:pt x="1711" y="2499"/>
                </a:lnTo>
                <a:lnTo>
                  <a:pt x="1713" y="2519"/>
                </a:lnTo>
                <a:lnTo>
                  <a:pt x="1716" y="2536"/>
                </a:lnTo>
                <a:lnTo>
                  <a:pt x="1719" y="2544"/>
                </a:lnTo>
                <a:lnTo>
                  <a:pt x="1722" y="2551"/>
                </a:lnTo>
                <a:lnTo>
                  <a:pt x="1726" y="2557"/>
                </a:lnTo>
                <a:lnTo>
                  <a:pt x="1730" y="2562"/>
                </a:lnTo>
                <a:lnTo>
                  <a:pt x="2050" y="2479"/>
                </a:lnTo>
                <a:lnTo>
                  <a:pt x="2050" y="2479"/>
                </a:lnTo>
                <a:lnTo>
                  <a:pt x="2046" y="2469"/>
                </a:lnTo>
                <a:lnTo>
                  <a:pt x="2043" y="2457"/>
                </a:lnTo>
                <a:lnTo>
                  <a:pt x="2041" y="2446"/>
                </a:lnTo>
                <a:lnTo>
                  <a:pt x="2039" y="2434"/>
                </a:lnTo>
                <a:lnTo>
                  <a:pt x="2038" y="2422"/>
                </a:lnTo>
                <a:lnTo>
                  <a:pt x="2038" y="2409"/>
                </a:lnTo>
                <a:lnTo>
                  <a:pt x="2039" y="2383"/>
                </a:lnTo>
                <a:lnTo>
                  <a:pt x="2043" y="2356"/>
                </a:lnTo>
                <a:lnTo>
                  <a:pt x="2048" y="2330"/>
                </a:lnTo>
                <a:lnTo>
                  <a:pt x="2055" y="2303"/>
                </a:lnTo>
                <a:lnTo>
                  <a:pt x="2064" y="2279"/>
                </a:lnTo>
                <a:lnTo>
                  <a:pt x="2064" y="2279"/>
                </a:lnTo>
                <a:lnTo>
                  <a:pt x="2072" y="2306"/>
                </a:lnTo>
                <a:lnTo>
                  <a:pt x="2079" y="2335"/>
                </a:lnTo>
                <a:lnTo>
                  <a:pt x="2088" y="2362"/>
                </a:lnTo>
                <a:lnTo>
                  <a:pt x="2098" y="2390"/>
                </a:lnTo>
                <a:lnTo>
                  <a:pt x="2108" y="2417"/>
                </a:lnTo>
                <a:lnTo>
                  <a:pt x="2121" y="2443"/>
                </a:lnTo>
                <a:lnTo>
                  <a:pt x="2135" y="2469"/>
                </a:lnTo>
                <a:lnTo>
                  <a:pt x="2149" y="2494"/>
                </a:lnTo>
                <a:lnTo>
                  <a:pt x="2166" y="2519"/>
                </a:lnTo>
                <a:lnTo>
                  <a:pt x="2183" y="2541"/>
                </a:lnTo>
                <a:lnTo>
                  <a:pt x="2201" y="2563"/>
                </a:lnTo>
                <a:lnTo>
                  <a:pt x="2222" y="2583"/>
                </a:lnTo>
                <a:lnTo>
                  <a:pt x="2244" y="2603"/>
                </a:lnTo>
                <a:lnTo>
                  <a:pt x="2268" y="2619"/>
                </a:lnTo>
                <a:lnTo>
                  <a:pt x="2280" y="2627"/>
                </a:lnTo>
                <a:lnTo>
                  <a:pt x="2292" y="2634"/>
                </a:lnTo>
                <a:lnTo>
                  <a:pt x="2306" y="2641"/>
                </a:lnTo>
                <a:lnTo>
                  <a:pt x="2320" y="2648"/>
                </a:lnTo>
                <a:lnTo>
                  <a:pt x="2320" y="2648"/>
                </a:lnTo>
                <a:lnTo>
                  <a:pt x="2365" y="2667"/>
                </a:lnTo>
                <a:lnTo>
                  <a:pt x="2410" y="2685"/>
                </a:lnTo>
                <a:lnTo>
                  <a:pt x="2454" y="2702"/>
                </a:lnTo>
                <a:lnTo>
                  <a:pt x="2499" y="2718"/>
                </a:lnTo>
                <a:lnTo>
                  <a:pt x="2544" y="2733"/>
                </a:lnTo>
                <a:lnTo>
                  <a:pt x="2589" y="2749"/>
                </a:lnTo>
                <a:lnTo>
                  <a:pt x="2683" y="2778"/>
                </a:lnTo>
                <a:lnTo>
                  <a:pt x="2782" y="2807"/>
                </a:lnTo>
                <a:lnTo>
                  <a:pt x="2889" y="2838"/>
                </a:lnTo>
                <a:lnTo>
                  <a:pt x="3005" y="2872"/>
                </a:lnTo>
                <a:lnTo>
                  <a:pt x="3133" y="2908"/>
                </a:lnTo>
                <a:lnTo>
                  <a:pt x="3133" y="2908"/>
                </a:lnTo>
                <a:lnTo>
                  <a:pt x="3205" y="2931"/>
                </a:lnTo>
                <a:lnTo>
                  <a:pt x="3273" y="2954"/>
                </a:lnTo>
                <a:lnTo>
                  <a:pt x="3305" y="2966"/>
                </a:lnTo>
                <a:lnTo>
                  <a:pt x="3333" y="2977"/>
                </a:lnTo>
                <a:lnTo>
                  <a:pt x="3358" y="2987"/>
                </a:lnTo>
                <a:lnTo>
                  <a:pt x="3377" y="2996"/>
                </a:lnTo>
                <a:lnTo>
                  <a:pt x="3377" y="2996"/>
                </a:lnTo>
                <a:lnTo>
                  <a:pt x="3383" y="2999"/>
                </a:lnTo>
                <a:lnTo>
                  <a:pt x="3389" y="3003"/>
                </a:lnTo>
                <a:lnTo>
                  <a:pt x="3393" y="3006"/>
                </a:lnTo>
                <a:lnTo>
                  <a:pt x="3397" y="3011"/>
                </a:lnTo>
                <a:lnTo>
                  <a:pt x="3399" y="3015"/>
                </a:lnTo>
                <a:lnTo>
                  <a:pt x="3401" y="3020"/>
                </a:lnTo>
                <a:lnTo>
                  <a:pt x="3402" y="3024"/>
                </a:lnTo>
                <a:lnTo>
                  <a:pt x="3402" y="3028"/>
                </a:lnTo>
                <a:lnTo>
                  <a:pt x="3401" y="3037"/>
                </a:lnTo>
                <a:lnTo>
                  <a:pt x="3397" y="3046"/>
                </a:lnTo>
                <a:lnTo>
                  <a:pt x="3392" y="3055"/>
                </a:lnTo>
                <a:lnTo>
                  <a:pt x="3386" y="3064"/>
                </a:lnTo>
                <a:lnTo>
                  <a:pt x="3378" y="3072"/>
                </a:lnTo>
                <a:lnTo>
                  <a:pt x="3371" y="3080"/>
                </a:lnTo>
                <a:lnTo>
                  <a:pt x="3357" y="3092"/>
                </a:lnTo>
                <a:lnTo>
                  <a:pt x="3346" y="3102"/>
                </a:lnTo>
                <a:lnTo>
                  <a:pt x="3341" y="3105"/>
                </a:lnTo>
                <a:lnTo>
                  <a:pt x="3341" y="3105"/>
                </a:lnTo>
                <a:lnTo>
                  <a:pt x="3355" y="3113"/>
                </a:lnTo>
                <a:lnTo>
                  <a:pt x="3371" y="3121"/>
                </a:lnTo>
                <a:lnTo>
                  <a:pt x="3411" y="3139"/>
                </a:lnTo>
                <a:lnTo>
                  <a:pt x="3435" y="3152"/>
                </a:lnTo>
                <a:lnTo>
                  <a:pt x="3461" y="3167"/>
                </a:lnTo>
                <a:lnTo>
                  <a:pt x="3492" y="3186"/>
                </a:lnTo>
                <a:lnTo>
                  <a:pt x="3527" y="3211"/>
                </a:lnTo>
                <a:lnTo>
                  <a:pt x="3527" y="3211"/>
                </a:lnTo>
                <a:lnTo>
                  <a:pt x="3545" y="3226"/>
                </a:lnTo>
                <a:lnTo>
                  <a:pt x="3563" y="3244"/>
                </a:lnTo>
                <a:lnTo>
                  <a:pt x="3580" y="3263"/>
                </a:lnTo>
                <a:lnTo>
                  <a:pt x="3595" y="3284"/>
                </a:lnTo>
                <a:lnTo>
                  <a:pt x="3608" y="3305"/>
                </a:lnTo>
                <a:lnTo>
                  <a:pt x="3622" y="3329"/>
                </a:lnTo>
                <a:lnTo>
                  <a:pt x="3634" y="3352"/>
                </a:lnTo>
                <a:lnTo>
                  <a:pt x="3645" y="3378"/>
                </a:lnTo>
                <a:lnTo>
                  <a:pt x="3655" y="3404"/>
                </a:lnTo>
                <a:lnTo>
                  <a:pt x="3665" y="3432"/>
                </a:lnTo>
                <a:lnTo>
                  <a:pt x="3674" y="3460"/>
                </a:lnTo>
                <a:lnTo>
                  <a:pt x="3682" y="3489"/>
                </a:lnTo>
                <a:lnTo>
                  <a:pt x="3698" y="3549"/>
                </a:lnTo>
                <a:lnTo>
                  <a:pt x="3714" y="3612"/>
                </a:lnTo>
                <a:lnTo>
                  <a:pt x="3714" y="3612"/>
                </a:lnTo>
                <a:lnTo>
                  <a:pt x="3725" y="3662"/>
                </a:lnTo>
                <a:lnTo>
                  <a:pt x="3734" y="3715"/>
                </a:lnTo>
                <a:lnTo>
                  <a:pt x="3742" y="3768"/>
                </a:lnTo>
                <a:lnTo>
                  <a:pt x="3744" y="3795"/>
                </a:lnTo>
                <a:lnTo>
                  <a:pt x="3746" y="3819"/>
                </a:lnTo>
                <a:lnTo>
                  <a:pt x="3748" y="3844"/>
                </a:lnTo>
                <a:lnTo>
                  <a:pt x="3749" y="3867"/>
                </a:lnTo>
                <a:lnTo>
                  <a:pt x="3748" y="3889"/>
                </a:lnTo>
                <a:lnTo>
                  <a:pt x="3745" y="3909"/>
                </a:lnTo>
                <a:lnTo>
                  <a:pt x="3742" y="3928"/>
                </a:lnTo>
                <a:lnTo>
                  <a:pt x="3737" y="3944"/>
                </a:lnTo>
                <a:lnTo>
                  <a:pt x="3731" y="3957"/>
                </a:lnTo>
                <a:lnTo>
                  <a:pt x="3728" y="3963"/>
                </a:lnTo>
                <a:lnTo>
                  <a:pt x="3724" y="3969"/>
                </a:lnTo>
                <a:lnTo>
                  <a:pt x="3724" y="3969"/>
                </a:lnTo>
                <a:lnTo>
                  <a:pt x="3715" y="3979"/>
                </a:lnTo>
                <a:lnTo>
                  <a:pt x="3705" y="3989"/>
                </a:lnTo>
                <a:lnTo>
                  <a:pt x="3691" y="3998"/>
                </a:lnTo>
                <a:lnTo>
                  <a:pt x="3683" y="4003"/>
                </a:lnTo>
                <a:lnTo>
                  <a:pt x="3673" y="4008"/>
                </a:lnTo>
                <a:lnTo>
                  <a:pt x="3663" y="4014"/>
                </a:lnTo>
                <a:lnTo>
                  <a:pt x="3650" y="4019"/>
                </a:lnTo>
                <a:lnTo>
                  <a:pt x="3621" y="4028"/>
                </a:lnTo>
                <a:lnTo>
                  <a:pt x="3582" y="4038"/>
                </a:lnTo>
                <a:lnTo>
                  <a:pt x="3535" y="4048"/>
                </a:lnTo>
                <a:lnTo>
                  <a:pt x="3560" y="4171"/>
                </a:lnTo>
                <a:lnTo>
                  <a:pt x="3560" y="4171"/>
                </a:lnTo>
                <a:lnTo>
                  <a:pt x="3579" y="4172"/>
                </a:lnTo>
                <a:lnTo>
                  <a:pt x="3597" y="4172"/>
                </a:lnTo>
                <a:lnTo>
                  <a:pt x="3615" y="4171"/>
                </a:lnTo>
                <a:lnTo>
                  <a:pt x="3631" y="4169"/>
                </a:lnTo>
                <a:lnTo>
                  <a:pt x="3646" y="4167"/>
                </a:lnTo>
                <a:lnTo>
                  <a:pt x="3662" y="4164"/>
                </a:lnTo>
                <a:lnTo>
                  <a:pt x="3688" y="4157"/>
                </a:lnTo>
                <a:lnTo>
                  <a:pt x="3711" y="4150"/>
                </a:lnTo>
                <a:lnTo>
                  <a:pt x="3728" y="4143"/>
                </a:lnTo>
                <a:lnTo>
                  <a:pt x="3742" y="4137"/>
                </a:lnTo>
                <a:lnTo>
                  <a:pt x="3742" y="4137"/>
                </a:lnTo>
                <a:lnTo>
                  <a:pt x="3736" y="4143"/>
                </a:lnTo>
                <a:lnTo>
                  <a:pt x="3730" y="4151"/>
                </a:lnTo>
                <a:lnTo>
                  <a:pt x="3722" y="4161"/>
                </a:lnTo>
                <a:lnTo>
                  <a:pt x="3722" y="4161"/>
                </a:lnTo>
                <a:lnTo>
                  <a:pt x="3711" y="4177"/>
                </a:lnTo>
                <a:lnTo>
                  <a:pt x="3700" y="4194"/>
                </a:lnTo>
                <a:lnTo>
                  <a:pt x="3692" y="4209"/>
                </a:lnTo>
                <a:lnTo>
                  <a:pt x="3685" y="4224"/>
                </a:lnTo>
                <a:lnTo>
                  <a:pt x="3680" y="4240"/>
                </a:lnTo>
                <a:lnTo>
                  <a:pt x="3675" y="4257"/>
                </a:lnTo>
                <a:lnTo>
                  <a:pt x="3672" y="4274"/>
                </a:lnTo>
                <a:lnTo>
                  <a:pt x="3669" y="4295"/>
                </a:lnTo>
                <a:lnTo>
                  <a:pt x="3799" y="4379"/>
                </a:lnTo>
                <a:lnTo>
                  <a:pt x="3799" y="4379"/>
                </a:lnTo>
                <a:lnTo>
                  <a:pt x="3812" y="4338"/>
                </a:lnTo>
                <a:lnTo>
                  <a:pt x="3826" y="4298"/>
                </a:lnTo>
                <a:lnTo>
                  <a:pt x="3841" y="4262"/>
                </a:lnTo>
                <a:lnTo>
                  <a:pt x="3855" y="4229"/>
                </a:lnTo>
                <a:lnTo>
                  <a:pt x="3870" y="4202"/>
                </a:lnTo>
                <a:lnTo>
                  <a:pt x="3877" y="4189"/>
                </a:lnTo>
                <a:lnTo>
                  <a:pt x="3885" y="4179"/>
                </a:lnTo>
                <a:lnTo>
                  <a:pt x="3892" y="4170"/>
                </a:lnTo>
                <a:lnTo>
                  <a:pt x="3899" y="4163"/>
                </a:lnTo>
                <a:lnTo>
                  <a:pt x="3906" y="4158"/>
                </a:lnTo>
                <a:lnTo>
                  <a:pt x="3913" y="4154"/>
                </a:lnTo>
                <a:lnTo>
                  <a:pt x="3913" y="4154"/>
                </a:lnTo>
                <a:lnTo>
                  <a:pt x="3919" y="4152"/>
                </a:lnTo>
                <a:lnTo>
                  <a:pt x="3926" y="4152"/>
                </a:lnTo>
                <a:lnTo>
                  <a:pt x="3935" y="4152"/>
                </a:lnTo>
                <a:lnTo>
                  <a:pt x="3944" y="4153"/>
                </a:lnTo>
                <a:lnTo>
                  <a:pt x="3954" y="4155"/>
                </a:lnTo>
                <a:lnTo>
                  <a:pt x="3965" y="4157"/>
                </a:lnTo>
                <a:lnTo>
                  <a:pt x="3990" y="4166"/>
                </a:lnTo>
                <a:lnTo>
                  <a:pt x="4017" y="4177"/>
                </a:lnTo>
                <a:lnTo>
                  <a:pt x="4047" y="4192"/>
                </a:lnTo>
                <a:lnTo>
                  <a:pt x="4078" y="4212"/>
                </a:lnTo>
                <a:lnTo>
                  <a:pt x="4110" y="4233"/>
                </a:lnTo>
                <a:lnTo>
                  <a:pt x="4127" y="4246"/>
                </a:lnTo>
                <a:lnTo>
                  <a:pt x="4143" y="4259"/>
                </a:lnTo>
                <a:lnTo>
                  <a:pt x="4160" y="4273"/>
                </a:lnTo>
                <a:lnTo>
                  <a:pt x="4176" y="4288"/>
                </a:lnTo>
                <a:lnTo>
                  <a:pt x="4192" y="4303"/>
                </a:lnTo>
                <a:lnTo>
                  <a:pt x="4208" y="4319"/>
                </a:lnTo>
                <a:lnTo>
                  <a:pt x="4224" y="4337"/>
                </a:lnTo>
                <a:lnTo>
                  <a:pt x="4239" y="4355"/>
                </a:lnTo>
                <a:lnTo>
                  <a:pt x="4254" y="4373"/>
                </a:lnTo>
                <a:lnTo>
                  <a:pt x="4268" y="4393"/>
                </a:lnTo>
                <a:lnTo>
                  <a:pt x="4282" y="4413"/>
                </a:lnTo>
                <a:lnTo>
                  <a:pt x="4296" y="4435"/>
                </a:lnTo>
                <a:lnTo>
                  <a:pt x="4308" y="4456"/>
                </a:lnTo>
                <a:lnTo>
                  <a:pt x="4320" y="4479"/>
                </a:lnTo>
                <a:lnTo>
                  <a:pt x="4331" y="4502"/>
                </a:lnTo>
                <a:lnTo>
                  <a:pt x="4342" y="4527"/>
                </a:lnTo>
                <a:lnTo>
                  <a:pt x="4342" y="4527"/>
                </a:lnTo>
                <a:lnTo>
                  <a:pt x="4347" y="4541"/>
                </a:lnTo>
                <a:lnTo>
                  <a:pt x="4352" y="4558"/>
                </a:lnTo>
                <a:lnTo>
                  <a:pt x="4356" y="4574"/>
                </a:lnTo>
                <a:lnTo>
                  <a:pt x="4360" y="4591"/>
                </a:lnTo>
                <a:lnTo>
                  <a:pt x="4363" y="4610"/>
                </a:lnTo>
                <a:lnTo>
                  <a:pt x="4366" y="4628"/>
                </a:lnTo>
                <a:lnTo>
                  <a:pt x="4370" y="4667"/>
                </a:lnTo>
                <a:lnTo>
                  <a:pt x="4372" y="4706"/>
                </a:lnTo>
                <a:lnTo>
                  <a:pt x="4371" y="4747"/>
                </a:lnTo>
                <a:lnTo>
                  <a:pt x="4370" y="4767"/>
                </a:lnTo>
                <a:lnTo>
                  <a:pt x="4369" y="4787"/>
                </a:lnTo>
                <a:lnTo>
                  <a:pt x="4366" y="4807"/>
                </a:lnTo>
                <a:lnTo>
                  <a:pt x="4363" y="4826"/>
                </a:lnTo>
                <a:lnTo>
                  <a:pt x="4360" y="4846"/>
                </a:lnTo>
                <a:lnTo>
                  <a:pt x="4356" y="4864"/>
                </a:lnTo>
                <a:lnTo>
                  <a:pt x="4351" y="4883"/>
                </a:lnTo>
                <a:lnTo>
                  <a:pt x="4345" y="4900"/>
                </a:lnTo>
                <a:lnTo>
                  <a:pt x="4339" y="4917"/>
                </a:lnTo>
                <a:lnTo>
                  <a:pt x="4332" y="4933"/>
                </a:lnTo>
                <a:lnTo>
                  <a:pt x="4324" y="4948"/>
                </a:lnTo>
                <a:lnTo>
                  <a:pt x="4316" y="4962"/>
                </a:lnTo>
                <a:lnTo>
                  <a:pt x="4307" y="4976"/>
                </a:lnTo>
                <a:lnTo>
                  <a:pt x="4298" y="4988"/>
                </a:lnTo>
                <a:lnTo>
                  <a:pt x="4287" y="4999"/>
                </a:lnTo>
                <a:lnTo>
                  <a:pt x="4276" y="5008"/>
                </a:lnTo>
                <a:lnTo>
                  <a:pt x="4264" y="5017"/>
                </a:lnTo>
                <a:lnTo>
                  <a:pt x="4252" y="5024"/>
                </a:lnTo>
                <a:lnTo>
                  <a:pt x="4238" y="5029"/>
                </a:lnTo>
                <a:lnTo>
                  <a:pt x="4224" y="5032"/>
                </a:lnTo>
                <a:lnTo>
                  <a:pt x="4224" y="5032"/>
                </a:lnTo>
                <a:lnTo>
                  <a:pt x="4216" y="5033"/>
                </a:lnTo>
                <a:lnTo>
                  <a:pt x="4208" y="5033"/>
                </a:lnTo>
                <a:lnTo>
                  <a:pt x="4198" y="5032"/>
                </a:lnTo>
                <a:lnTo>
                  <a:pt x="4188" y="5030"/>
                </a:lnTo>
                <a:lnTo>
                  <a:pt x="4168" y="5025"/>
                </a:lnTo>
                <a:lnTo>
                  <a:pt x="4145" y="5017"/>
                </a:lnTo>
                <a:lnTo>
                  <a:pt x="4123" y="5006"/>
                </a:lnTo>
                <a:lnTo>
                  <a:pt x="4099" y="4995"/>
                </a:lnTo>
                <a:lnTo>
                  <a:pt x="4051" y="4973"/>
                </a:lnTo>
                <a:lnTo>
                  <a:pt x="4028" y="4961"/>
                </a:lnTo>
                <a:lnTo>
                  <a:pt x="4005" y="4952"/>
                </a:lnTo>
                <a:lnTo>
                  <a:pt x="3984" y="4945"/>
                </a:lnTo>
                <a:lnTo>
                  <a:pt x="3964" y="4940"/>
                </a:lnTo>
                <a:lnTo>
                  <a:pt x="3955" y="4939"/>
                </a:lnTo>
                <a:lnTo>
                  <a:pt x="3947" y="4938"/>
                </a:lnTo>
                <a:lnTo>
                  <a:pt x="3939" y="4939"/>
                </a:lnTo>
                <a:lnTo>
                  <a:pt x="3932" y="4940"/>
                </a:lnTo>
                <a:lnTo>
                  <a:pt x="3924" y="4943"/>
                </a:lnTo>
                <a:lnTo>
                  <a:pt x="3919" y="4947"/>
                </a:lnTo>
                <a:lnTo>
                  <a:pt x="3914" y="4952"/>
                </a:lnTo>
                <a:lnTo>
                  <a:pt x="3909" y="4958"/>
                </a:lnTo>
                <a:lnTo>
                  <a:pt x="3909" y="4958"/>
                </a:lnTo>
                <a:lnTo>
                  <a:pt x="3905" y="4965"/>
                </a:lnTo>
                <a:lnTo>
                  <a:pt x="3900" y="4973"/>
                </a:lnTo>
                <a:lnTo>
                  <a:pt x="3893" y="4979"/>
                </a:lnTo>
                <a:lnTo>
                  <a:pt x="3886" y="4985"/>
                </a:lnTo>
                <a:lnTo>
                  <a:pt x="3869" y="4996"/>
                </a:lnTo>
                <a:lnTo>
                  <a:pt x="3851" y="5006"/>
                </a:lnTo>
                <a:lnTo>
                  <a:pt x="3810" y="5028"/>
                </a:lnTo>
                <a:lnTo>
                  <a:pt x="3789" y="5039"/>
                </a:lnTo>
                <a:lnTo>
                  <a:pt x="3770" y="5052"/>
                </a:lnTo>
                <a:lnTo>
                  <a:pt x="3761" y="5058"/>
                </a:lnTo>
                <a:lnTo>
                  <a:pt x="3752" y="5067"/>
                </a:lnTo>
                <a:lnTo>
                  <a:pt x="3743" y="5074"/>
                </a:lnTo>
                <a:lnTo>
                  <a:pt x="3735" y="5083"/>
                </a:lnTo>
                <a:lnTo>
                  <a:pt x="3728" y="5092"/>
                </a:lnTo>
                <a:lnTo>
                  <a:pt x="3722" y="5102"/>
                </a:lnTo>
                <a:lnTo>
                  <a:pt x="3717" y="5113"/>
                </a:lnTo>
                <a:lnTo>
                  <a:pt x="3713" y="5125"/>
                </a:lnTo>
                <a:lnTo>
                  <a:pt x="3710" y="5137"/>
                </a:lnTo>
                <a:lnTo>
                  <a:pt x="3708" y="5151"/>
                </a:lnTo>
                <a:lnTo>
                  <a:pt x="3707" y="5165"/>
                </a:lnTo>
                <a:lnTo>
                  <a:pt x="3707" y="5181"/>
                </a:lnTo>
                <a:lnTo>
                  <a:pt x="3709" y="5198"/>
                </a:lnTo>
                <a:lnTo>
                  <a:pt x="3713" y="5215"/>
                </a:lnTo>
                <a:lnTo>
                  <a:pt x="3718" y="5234"/>
                </a:lnTo>
                <a:lnTo>
                  <a:pt x="3724" y="5255"/>
                </a:lnTo>
                <a:lnTo>
                  <a:pt x="3724" y="5255"/>
                </a:lnTo>
                <a:lnTo>
                  <a:pt x="3741" y="5234"/>
                </a:lnTo>
                <a:lnTo>
                  <a:pt x="3759" y="5213"/>
                </a:lnTo>
                <a:lnTo>
                  <a:pt x="3776" y="5194"/>
                </a:lnTo>
                <a:lnTo>
                  <a:pt x="3794" y="5178"/>
                </a:lnTo>
                <a:lnTo>
                  <a:pt x="3802" y="5171"/>
                </a:lnTo>
                <a:lnTo>
                  <a:pt x="3811" y="5165"/>
                </a:lnTo>
                <a:lnTo>
                  <a:pt x="3819" y="5159"/>
                </a:lnTo>
                <a:lnTo>
                  <a:pt x="3827" y="5155"/>
                </a:lnTo>
                <a:lnTo>
                  <a:pt x="3835" y="5153"/>
                </a:lnTo>
                <a:lnTo>
                  <a:pt x="3843" y="5151"/>
                </a:lnTo>
                <a:lnTo>
                  <a:pt x="3850" y="5151"/>
                </a:lnTo>
                <a:lnTo>
                  <a:pt x="3857" y="5153"/>
                </a:lnTo>
                <a:lnTo>
                  <a:pt x="3857" y="5153"/>
                </a:lnTo>
                <a:lnTo>
                  <a:pt x="3861" y="5155"/>
                </a:lnTo>
                <a:lnTo>
                  <a:pt x="3864" y="5157"/>
                </a:lnTo>
                <a:lnTo>
                  <a:pt x="3870" y="5163"/>
                </a:lnTo>
                <a:lnTo>
                  <a:pt x="3875" y="5171"/>
                </a:lnTo>
                <a:lnTo>
                  <a:pt x="3879" y="5179"/>
                </a:lnTo>
                <a:lnTo>
                  <a:pt x="3888" y="5200"/>
                </a:lnTo>
                <a:lnTo>
                  <a:pt x="3894" y="5210"/>
                </a:lnTo>
                <a:lnTo>
                  <a:pt x="3901" y="5220"/>
                </a:lnTo>
                <a:lnTo>
                  <a:pt x="3901" y="5220"/>
                </a:lnTo>
                <a:lnTo>
                  <a:pt x="3904" y="5223"/>
                </a:lnTo>
                <a:lnTo>
                  <a:pt x="3908" y="5225"/>
                </a:lnTo>
                <a:lnTo>
                  <a:pt x="3913" y="5227"/>
                </a:lnTo>
                <a:lnTo>
                  <a:pt x="3919" y="5228"/>
                </a:lnTo>
                <a:lnTo>
                  <a:pt x="3934" y="5230"/>
                </a:lnTo>
                <a:lnTo>
                  <a:pt x="3950" y="5230"/>
                </a:lnTo>
                <a:lnTo>
                  <a:pt x="3968" y="5229"/>
                </a:lnTo>
                <a:lnTo>
                  <a:pt x="3989" y="5227"/>
                </a:lnTo>
                <a:lnTo>
                  <a:pt x="4032" y="5223"/>
                </a:lnTo>
                <a:lnTo>
                  <a:pt x="4074" y="5219"/>
                </a:lnTo>
                <a:lnTo>
                  <a:pt x="4093" y="5217"/>
                </a:lnTo>
                <a:lnTo>
                  <a:pt x="4110" y="5217"/>
                </a:lnTo>
                <a:lnTo>
                  <a:pt x="4126" y="5217"/>
                </a:lnTo>
                <a:lnTo>
                  <a:pt x="4137" y="5219"/>
                </a:lnTo>
                <a:lnTo>
                  <a:pt x="4142" y="5221"/>
                </a:lnTo>
                <a:lnTo>
                  <a:pt x="4146" y="5223"/>
                </a:lnTo>
                <a:lnTo>
                  <a:pt x="4148" y="5225"/>
                </a:lnTo>
                <a:lnTo>
                  <a:pt x="4150" y="5228"/>
                </a:lnTo>
                <a:lnTo>
                  <a:pt x="4150" y="5228"/>
                </a:lnTo>
                <a:lnTo>
                  <a:pt x="4151" y="5231"/>
                </a:lnTo>
                <a:lnTo>
                  <a:pt x="4150" y="5234"/>
                </a:lnTo>
                <a:lnTo>
                  <a:pt x="4149" y="5236"/>
                </a:lnTo>
                <a:lnTo>
                  <a:pt x="4148" y="5238"/>
                </a:lnTo>
                <a:lnTo>
                  <a:pt x="4143" y="5242"/>
                </a:lnTo>
                <a:lnTo>
                  <a:pt x="4136" y="5243"/>
                </a:lnTo>
                <a:lnTo>
                  <a:pt x="4118" y="5246"/>
                </a:lnTo>
                <a:lnTo>
                  <a:pt x="4100" y="5248"/>
                </a:lnTo>
                <a:lnTo>
                  <a:pt x="4100" y="5248"/>
                </a:lnTo>
                <a:lnTo>
                  <a:pt x="4021" y="5262"/>
                </a:lnTo>
                <a:lnTo>
                  <a:pt x="3981" y="5269"/>
                </a:lnTo>
                <a:lnTo>
                  <a:pt x="3943" y="5277"/>
                </a:lnTo>
                <a:lnTo>
                  <a:pt x="3925" y="5282"/>
                </a:lnTo>
                <a:lnTo>
                  <a:pt x="3909" y="5288"/>
                </a:lnTo>
                <a:lnTo>
                  <a:pt x="3894" y="5294"/>
                </a:lnTo>
                <a:lnTo>
                  <a:pt x="3881" y="5300"/>
                </a:lnTo>
                <a:lnTo>
                  <a:pt x="3869" y="5306"/>
                </a:lnTo>
                <a:lnTo>
                  <a:pt x="3860" y="5314"/>
                </a:lnTo>
                <a:lnTo>
                  <a:pt x="3853" y="5322"/>
                </a:lnTo>
                <a:lnTo>
                  <a:pt x="3850" y="5326"/>
                </a:lnTo>
                <a:lnTo>
                  <a:pt x="3848" y="5331"/>
                </a:lnTo>
                <a:lnTo>
                  <a:pt x="3848" y="5331"/>
                </a:lnTo>
                <a:lnTo>
                  <a:pt x="3846" y="5338"/>
                </a:lnTo>
                <a:lnTo>
                  <a:pt x="3846" y="5342"/>
                </a:lnTo>
                <a:lnTo>
                  <a:pt x="3847" y="5352"/>
                </a:lnTo>
                <a:lnTo>
                  <a:pt x="3847" y="5357"/>
                </a:lnTo>
                <a:lnTo>
                  <a:pt x="3846" y="5363"/>
                </a:lnTo>
                <a:lnTo>
                  <a:pt x="3845" y="5371"/>
                </a:lnTo>
                <a:lnTo>
                  <a:pt x="3842" y="5382"/>
                </a:lnTo>
                <a:lnTo>
                  <a:pt x="3842" y="5382"/>
                </a:lnTo>
                <a:lnTo>
                  <a:pt x="3837" y="5393"/>
                </a:lnTo>
                <a:lnTo>
                  <a:pt x="3831" y="5402"/>
                </a:lnTo>
                <a:lnTo>
                  <a:pt x="3823" y="5410"/>
                </a:lnTo>
                <a:lnTo>
                  <a:pt x="3815" y="5418"/>
                </a:lnTo>
                <a:lnTo>
                  <a:pt x="3796" y="5434"/>
                </a:lnTo>
                <a:lnTo>
                  <a:pt x="3786" y="5442"/>
                </a:lnTo>
                <a:lnTo>
                  <a:pt x="3776" y="5451"/>
                </a:lnTo>
                <a:lnTo>
                  <a:pt x="3767" y="5460"/>
                </a:lnTo>
                <a:lnTo>
                  <a:pt x="3758" y="5472"/>
                </a:lnTo>
                <a:lnTo>
                  <a:pt x="3750" y="5485"/>
                </a:lnTo>
                <a:lnTo>
                  <a:pt x="3742" y="5499"/>
                </a:lnTo>
                <a:lnTo>
                  <a:pt x="3736" y="5517"/>
                </a:lnTo>
                <a:lnTo>
                  <a:pt x="3732" y="5536"/>
                </a:lnTo>
                <a:lnTo>
                  <a:pt x="3730" y="5558"/>
                </a:lnTo>
                <a:lnTo>
                  <a:pt x="3730" y="5584"/>
                </a:lnTo>
                <a:lnTo>
                  <a:pt x="3730" y="5584"/>
                </a:lnTo>
                <a:lnTo>
                  <a:pt x="3732" y="5597"/>
                </a:lnTo>
                <a:lnTo>
                  <a:pt x="3735" y="5610"/>
                </a:lnTo>
                <a:lnTo>
                  <a:pt x="3739" y="5622"/>
                </a:lnTo>
                <a:lnTo>
                  <a:pt x="3744" y="5634"/>
                </a:lnTo>
                <a:lnTo>
                  <a:pt x="3751" y="5644"/>
                </a:lnTo>
                <a:lnTo>
                  <a:pt x="3757" y="5656"/>
                </a:lnTo>
                <a:lnTo>
                  <a:pt x="3763" y="5665"/>
                </a:lnTo>
                <a:lnTo>
                  <a:pt x="3770" y="5674"/>
                </a:lnTo>
                <a:lnTo>
                  <a:pt x="3784" y="5689"/>
                </a:lnTo>
                <a:lnTo>
                  <a:pt x="3797" y="5701"/>
                </a:lnTo>
                <a:lnTo>
                  <a:pt x="3807" y="5708"/>
                </a:lnTo>
                <a:lnTo>
                  <a:pt x="3810" y="5710"/>
                </a:lnTo>
                <a:lnTo>
                  <a:pt x="3813" y="5711"/>
                </a:lnTo>
                <a:lnTo>
                  <a:pt x="3813" y="5711"/>
                </a:lnTo>
                <a:lnTo>
                  <a:pt x="3814" y="5710"/>
                </a:lnTo>
                <a:lnTo>
                  <a:pt x="3815" y="5709"/>
                </a:lnTo>
                <a:lnTo>
                  <a:pt x="3816" y="5704"/>
                </a:lnTo>
                <a:lnTo>
                  <a:pt x="3818" y="5696"/>
                </a:lnTo>
                <a:lnTo>
                  <a:pt x="3818" y="5686"/>
                </a:lnTo>
                <a:lnTo>
                  <a:pt x="3820" y="5662"/>
                </a:lnTo>
                <a:lnTo>
                  <a:pt x="3823" y="5633"/>
                </a:lnTo>
                <a:lnTo>
                  <a:pt x="3825" y="5619"/>
                </a:lnTo>
                <a:lnTo>
                  <a:pt x="3828" y="5603"/>
                </a:lnTo>
                <a:lnTo>
                  <a:pt x="3831" y="5590"/>
                </a:lnTo>
                <a:lnTo>
                  <a:pt x="3836" y="5577"/>
                </a:lnTo>
                <a:lnTo>
                  <a:pt x="3843" y="5566"/>
                </a:lnTo>
                <a:lnTo>
                  <a:pt x="3847" y="5562"/>
                </a:lnTo>
                <a:lnTo>
                  <a:pt x="3851" y="5556"/>
                </a:lnTo>
                <a:lnTo>
                  <a:pt x="3855" y="5553"/>
                </a:lnTo>
                <a:lnTo>
                  <a:pt x="3860" y="5550"/>
                </a:lnTo>
                <a:lnTo>
                  <a:pt x="3865" y="5547"/>
                </a:lnTo>
                <a:lnTo>
                  <a:pt x="3871" y="5546"/>
                </a:lnTo>
                <a:lnTo>
                  <a:pt x="3871" y="5546"/>
                </a:lnTo>
                <a:lnTo>
                  <a:pt x="3877" y="5545"/>
                </a:lnTo>
                <a:lnTo>
                  <a:pt x="3882" y="5546"/>
                </a:lnTo>
                <a:lnTo>
                  <a:pt x="3888" y="5548"/>
                </a:lnTo>
                <a:lnTo>
                  <a:pt x="3892" y="5552"/>
                </a:lnTo>
                <a:lnTo>
                  <a:pt x="3902" y="5561"/>
                </a:lnTo>
                <a:lnTo>
                  <a:pt x="3911" y="5571"/>
                </a:lnTo>
                <a:lnTo>
                  <a:pt x="3921" y="5581"/>
                </a:lnTo>
                <a:lnTo>
                  <a:pt x="3926" y="5586"/>
                </a:lnTo>
                <a:lnTo>
                  <a:pt x="3933" y="5590"/>
                </a:lnTo>
                <a:lnTo>
                  <a:pt x="3940" y="5594"/>
                </a:lnTo>
                <a:lnTo>
                  <a:pt x="3946" y="5597"/>
                </a:lnTo>
                <a:lnTo>
                  <a:pt x="3954" y="5598"/>
                </a:lnTo>
                <a:lnTo>
                  <a:pt x="3962" y="5599"/>
                </a:lnTo>
                <a:lnTo>
                  <a:pt x="3962" y="5599"/>
                </a:lnTo>
                <a:lnTo>
                  <a:pt x="3970" y="5598"/>
                </a:lnTo>
                <a:lnTo>
                  <a:pt x="3979" y="5595"/>
                </a:lnTo>
                <a:lnTo>
                  <a:pt x="3987" y="5592"/>
                </a:lnTo>
                <a:lnTo>
                  <a:pt x="3996" y="5588"/>
                </a:lnTo>
                <a:lnTo>
                  <a:pt x="4005" y="5582"/>
                </a:lnTo>
                <a:lnTo>
                  <a:pt x="4014" y="5576"/>
                </a:lnTo>
                <a:lnTo>
                  <a:pt x="4035" y="5559"/>
                </a:lnTo>
                <a:lnTo>
                  <a:pt x="4055" y="5542"/>
                </a:lnTo>
                <a:lnTo>
                  <a:pt x="4077" y="5522"/>
                </a:lnTo>
                <a:lnTo>
                  <a:pt x="4122" y="5479"/>
                </a:lnTo>
                <a:lnTo>
                  <a:pt x="4144" y="5457"/>
                </a:lnTo>
                <a:lnTo>
                  <a:pt x="4166" y="5437"/>
                </a:lnTo>
                <a:lnTo>
                  <a:pt x="4187" y="5417"/>
                </a:lnTo>
                <a:lnTo>
                  <a:pt x="4208" y="5402"/>
                </a:lnTo>
                <a:lnTo>
                  <a:pt x="4227" y="5389"/>
                </a:lnTo>
                <a:lnTo>
                  <a:pt x="4236" y="5384"/>
                </a:lnTo>
                <a:lnTo>
                  <a:pt x="4245" y="5380"/>
                </a:lnTo>
                <a:lnTo>
                  <a:pt x="4254" y="5376"/>
                </a:lnTo>
                <a:lnTo>
                  <a:pt x="4262" y="5374"/>
                </a:lnTo>
                <a:lnTo>
                  <a:pt x="4270" y="5374"/>
                </a:lnTo>
                <a:lnTo>
                  <a:pt x="4277" y="5375"/>
                </a:lnTo>
                <a:lnTo>
                  <a:pt x="4277" y="5375"/>
                </a:lnTo>
                <a:lnTo>
                  <a:pt x="4278" y="5376"/>
                </a:lnTo>
                <a:lnTo>
                  <a:pt x="4279" y="5379"/>
                </a:lnTo>
                <a:lnTo>
                  <a:pt x="4278" y="5382"/>
                </a:lnTo>
                <a:lnTo>
                  <a:pt x="4277" y="5384"/>
                </a:lnTo>
                <a:lnTo>
                  <a:pt x="4272" y="5391"/>
                </a:lnTo>
                <a:lnTo>
                  <a:pt x="4264" y="5399"/>
                </a:lnTo>
                <a:lnTo>
                  <a:pt x="4241" y="5420"/>
                </a:lnTo>
                <a:lnTo>
                  <a:pt x="4212" y="5447"/>
                </a:lnTo>
                <a:lnTo>
                  <a:pt x="4181" y="5477"/>
                </a:lnTo>
                <a:lnTo>
                  <a:pt x="4167" y="5492"/>
                </a:lnTo>
                <a:lnTo>
                  <a:pt x="4152" y="5508"/>
                </a:lnTo>
                <a:lnTo>
                  <a:pt x="4140" y="5525"/>
                </a:lnTo>
                <a:lnTo>
                  <a:pt x="4129" y="5542"/>
                </a:lnTo>
                <a:lnTo>
                  <a:pt x="4121" y="5558"/>
                </a:lnTo>
                <a:lnTo>
                  <a:pt x="4118" y="5567"/>
                </a:lnTo>
                <a:lnTo>
                  <a:pt x="4116" y="5576"/>
                </a:lnTo>
                <a:lnTo>
                  <a:pt x="4116" y="5576"/>
                </a:lnTo>
                <a:lnTo>
                  <a:pt x="4114" y="5588"/>
                </a:lnTo>
                <a:lnTo>
                  <a:pt x="4114" y="5599"/>
                </a:lnTo>
                <a:lnTo>
                  <a:pt x="4115" y="5611"/>
                </a:lnTo>
                <a:lnTo>
                  <a:pt x="4119" y="5620"/>
                </a:lnTo>
                <a:lnTo>
                  <a:pt x="4123" y="5628"/>
                </a:lnTo>
                <a:lnTo>
                  <a:pt x="4129" y="5636"/>
                </a:lnTo>
                <a:lnTo>
                  <a:pt x="4135" y="5643"/>
                </a:lnTo>
                <a:lnTo>
                  <a:pt x="4142" y="5649"/>
                </a:lnTo>
                <a:lnTo>
                  <a:pt x="4157" y="5663"/>
                </a:lnTo>
                <a:lnTo>
                  <a:pt x="4163" y="5669"/>
                </a:lnTo>
                <a:lnTo>
                  <a:pt x="4169" y="5676"/>
                </a:lnTo>
                <a:lnTo>
                  <a:pt x="4175" y="5683"/>
                </a:lnTo>
                <a:lnTo>
                  <a:pt x="4179" y="5690"/>
                </a:lnTo>
                <a:lnTo>
                  <a:pt x="4182" y="5699"/>
                </a:lnTo>
                <a:lnTo>
                  <a:pt x="4183" y="5708"/>
                </a:lnTo>
                <a:lnTo>
                  <a:pt x="4183" y="5708"/>
                </a:lnTo>
                <a:lnTo>
                  <a:pt x="4184" y="5718"/>
                </a:lnTo>
                <a:lnTo>
                  <a:pt x="4186" y="5729"/>
                </a:lnTo>
                <a:lnTo>
                  <a:pt x="4189" y="5738"/>
                </a:lnTo>
                <a:lnTo>
                  <a:pt x="4193" y="5749"/>
                </a:lnTo>
                <a:lnTo>
                  <a:pt x="4198" y="5758"/>
                </a:lnTo>
                <a:lnTo>
                  <a:pt x="4205" y="5767"/>
                </a:lnTo>
                <a:lnTo>
                  <a:pt x="4212" y="5775"/>
                </a:lnTo>
                <a:lnTo>
                  <a:pt x="4220" y="5783"/>
                </a:lnTo>
                <a:lnTo>
                  <a:pt x="4228" y="5792"/>
                </a:lnTo>
                <a:lnTo>
                  <a:pt x="4237" y="5799"/>
                </a:lnTo>
                <a:lnTo>
                  <a:pt x="4257" y="5812"/>
                </a:lnTo>
                <a:lnTo>
                  <a:pt x="4278" y="5824"/>
                </a:lnTo>
                <a:lnTo>
                  <a:pt x="4300" y="5835"/>
                </a:lnTo>
                <a:lnTo>
                  <a:pt x="4322" y="5844"/>
                </a:lnTo>
                <a:lnTo>
                  <a:pt x="4344" y="5852"/>
                </a:lnTo>
                <a:lnTo>
                  <a:pt x="4364" y="5857"/>
                </a:lnTo>
                <a:lnTo>
                  <a:pt x="4382" y="5862"/>
                </a:lnTo>
                <a:lnTo>
                  <a:pt x="4399" y="5864"/>
                </a:lnTo>
                <a:lnTo>
                  <a:pt x="4412" y="5865"/>
                </a:lnTo>
                <a:lnTo>
                  <a:pt x="4421" y="5865"/>
                </a:lnTo>
                <a:lnTo>
                  <a:pt x="4424" y="5864"/>
                </a:lnTo>
                <a:lnTo>
                  <a:pt x="4426" y="5863"/>
                </a:lnTo>
                <a:lnTo>
                  <a:pt x="4426" y="5863"/>
                </a:lnTo>
                <a:lnTo>
                  <a:pt x="4427" y="5861"/>
                </a:lnTo>
                <a:lnTo>
                  <a:pt x="4427" y="5859"/>
                </a:lnTo>
                <a:lnTo>
                  <a:pt x="4425" y="5853"/>
                </a:lnTo>
                <a:lnTo>
                  <a:pt x="4420" y="5846"/>
                </a:lnTo>
                <a:lnTo>
                  <a:pt x="4412" y="5836"/>
                </a:lnTo>
                <a:lnTo>
                  <a:pt x="4393" y="5813"/>
                </a:lnTo>
                <a:lnTo>
                  <a:pt x="4369" y="5786"/>
                </a:lnTo>
                <a:lnTo>
                  <a:pt x="4358" y="5773"/>
                </a:lnTo>
                <a:lnTo>
                  <a:pt x="4348" y="5759"/>
                </a:lnTo>
                <a:lnTo>
                  <a:pt x="4339" y="5745"/>
                </a:lnTo>
                <a:lnTo>
                  <a:pt x="4330" y="5731"/>
                </a:lnTo>
                <a:lnTo>
                  <a:pt x="4325" y="5718"/>
                </a:lnTo>
                <a:lnTo>
                  <a:pt x="4324" y="5712"/>
                </a:lnTo>
                <a:lnTo>
                  <a:pt x="4323" y="5706"/>
                </a:lnTo>
                <a:lnTo>
                  <a:pt x="4323" y="5700"/>
                </a:lnTo>
                <a:lnTo>
                  <a:pt x="4324" y="5694"/>
                </a:lnTo>
                <a:lnTo>
                  <a:pt x="4326" y="5689"/>
                </a:lnTo>
                <a:lnTo>
                  <a:pt x="4329" y="5684"/>
                </a:lnTo>
                <a:lnTo>
                  <a:pt x="4329" y="5684"/>
                </a:lnTo>
                <a:lnTo>
                  <a:pt x="4333" y="5680"/>
                </a:lnTo>
                <a:lnTo>
                  <a:pt x="4337" y="5677"/>
                </a:lnTo>
                <a:lnTo>
                  <a:pt x="4343" y="5676"/>
                </a:lnTo>
                <a:lnTo>
                  <a:pt x="4347" y="5675"/>
                </a:lnTo>
                <a:lnTo>
                  <a:pt x="4352" y="5675"/>
                </a:lnTo>
                <a:lnTo>
                  <a:pt x="4358" y="5676"/>
                </a:lnTo>
                <a:lnTo>
                  <a:pt x="4370" y="5678"/>
                </a:lnTo>
                <a:lnTo>
                  <a:pt x="4384" y="5681"/>
                </a:lnTo>
                <a:lnTo>
                  <a:pt x="4392" y="5682"/>
                </a:lnTo>
                <a:lnTo>
                  <a:pt x="4399" y="5682"/>
                </a:lnTo>
                <a:lnTo>
                  <a:pt x="4408" y="5682"/>
                </a:lnTo>
                <a:lnTo>
                  <a:pt x="4416" y="5681"/>
                </a:lnTo>
                <a:lnTo>
                  <a:pt x="4425" y="5679"/>
                </a:lnTo>
                <a:lnTo>
                  <a:pt x="4436" y="5675"/>
                </a:lnTo>
                <a:lnTo>
                  <a:pt x="4436" y="5675"/>
                </a:lnTo>
                <a:lnTo>
                  <a:pt x="4437" y="5673"/>
                </a:lnTo>
                <a:lnTo>
                  <a:pt x="4438" y="5670"/>
                </a:lnTo>
                <a:lnTo>
                  <a:pt x="4438" y="5663"/>
                </a:lnTo>
                <a:lnTo>
                  <a:pt x="4436" y="5652"/>
                </a:lnTo>
                <a:lnTo>
                  <a:pt x="4434" y="5637"/>
                </a:lnTo>
                <a:lnTo>
                  <a:pt x="4431" y="5621"/>
                </a:lnTo>
                <a:lnTo>
                  <a:pt x="4428" y="5602"/>
                </a:lnTo>
                <a:lnTo>
                  <a:pt x="4426" y="5581"/>
                </a:lnTo>
                <a:lnTo>
                  <a:pt x="4426" y="5557"/>
                </a:lnTo>
                <a:lnTo>
                  <a:pt x="4428" y="5533"/>
                </a:lnTo>
                <a:lnTo>
                  <a:pt x="4431" y="5520"/>
                </a:lnTo>
                <a:lnTo>
                  <a:pt x="4434" y="5505"/>
                </a:lnTo>
                <a:lnTo>
                  <a:pt x="4437" y="5492"/>
                </a:lnTo>
                <a:lnTo>
                  <a:pt x="4441" y="5477"/>
                </a:lnTo>
                <a:lnTo>
                  <a:pt x="4446" y="5462"/>
                </a:lnTo>
                <a:lnTo>
                  <a:pt x="4453" y="5447"/>
                </a:lnTo>
                <a:lnTo>
                  <a:pt x="4460" y="5432"/>
                </a:lnTo>
                <a:lnTo>
                  <a:pt x="4469" y="5416"/>
                </a:lnTo>
                <a:lnTo>
                  <a:pt x="4479" y="5400"/>
                </a:lnTo>
                <a:lnTo>
                  <a:pt x="4490" y="5384"/>
                </a:lnTo>
                <a:lnTo>
                  <a:pt x="4503" y="5367"/>
                </a:lnTo>
                <a:lnTo>
                  <a:pt x="4516" y="5351"/>
                </a:lnTo>
                <a:lnTo>
                  <a:pt x="4533" y="5334"/>
                </a:lnTo>
                <a:lnTo>
                  <a:pt x="4550" y="5317"/>
                </a:lnTo>
                <a:lnTo>
                  <a:pt x="4550" y="5317"/>
                </a:lnTo>
                <a:lnTo>
                  <a:pt x="4557" y="5328"/>
                </a:lnTo>
                <a:lnTo>
                  <a:pt x="4566" y="5340"/>
                </a:lnTo>
                <a:lnTo>
                  <a:pt x="4578" y="5353"/>
                </a:lnTo>
                <a:lnTo>
                  <a:pt x="4586" y="5360"/>
                </a:lnTo>
                <a:lnTo>
                  <a:pt x="4594" y="5367"/>
                </a:lnTo>
                <a:lnTo>
                  <a:pt x="4603" y="5373"/>
                </a:lnTo>
                <a:lnTo>
                  <a:pt x="4614" y="5381"/>
                </a:lnTo>
                <a:lnTo>
                  <a:pt x="4624" y="5386"/>
                </a:lnTo>
                <a:lnTo>
                  <a:pt x="4636" y="5390"/>
                </a:lnTo>
                <a:lnTo>
                  <a:pt x="4648" y="5394"/>
                </a:lnTo>
                <a:lnTo>
                  <a:pt x="4662" y="5396"/>
                </a:lnTo>
                <a:lnTo>
                  <a:pt x="4662" y="5396"/>
                </a:lnTo>
                <a:lnTo>
                  <a:pt x="4668" y="5397"/>
                </a:lnTo>
                <a:lnTo>
                  <a:pt x="4673" y="5399"/>
                </a:lnTo>
                <a:lnTo>
                  <a:pt x="4677" y="5402"/>
                </a:lnTo>
                <a:lnTo>
                  <a:pt x="4681" y="5405"/>
                </a:lnTo>
                <a:lnTo>
                  <a:pt x="4685" y="5409"/>
                </a:lnTo>
                <a:lnTo>
                  <a:pt x="4688" y="5413"/>
                </a:lnTo>
                <a:lnTo>
                  <a:pt x="4692" y="5425"/>
                </a:lnTo>
                <a:lnTo>
                  <a:pt x="4696" y="5437"/>
                </a:lnTo>
                <a:lnTo>
                  <a:pt x="4698" y="5450"/>
                </a:lnTo>
                <a:lnTo>
                  <a:pt x="4698" y="5463"/>
                </a:lnTo>
                <a:lnTo>
                  <a:pt x="4698" y="5478"/>
                </a:lnTo>
                <a:lnTo>
                  <a:pt x="4696" y="5506"/>
                </a:lnTo>
                <a:lnTo>
                  <a:pt x="4694" y="5531"/>
                </a:lnTo>
                <a:lnTo>
                  <a:pt x="4692" y="5548"/>
                </a:lnTo>
                <a:lnTo>
                  <a:pt x="4692" y="5553"/>
                </a:lnTo>
                <a:lnTo>
                  <a:pt x="4693" y="5554"/>
                </a:lnTo>
                <a:lnTo>
                  <a:pt x="4694" y="5554"/>
                </a:lnTo>
                <a:lnTo>
                  <a:pt x="4694" y="5554"/>
                </a:lnTo>
                <a:lnTo>
                  <a:pt x="4697" y="5553"/>
                </a:lnTo>
                <a:lnTo>
                  <a:pt x="4702" y="5550"/>
                </a:lnTo>
                <a:lnTo>
                  <a:pt x="4708" y="5545"/>
                </a:lnTo>
                <a:lnTo>
                  <a:pt x="4714" y="5538"/>
                </a:lnTo>
                <a:lnTo>
                  <a:pt x="4721" y="5529"/>
                </a:lnTo>
                <a:lnTo>
                  <a:pt x="4729" y="5519"/>
                </a:lnTo>
                <a:lnTo>
                  <a:pt x="4736" y="5505"/>
                </a:lnTo>
                <a:lnTo>
                  <a:pt x="4743" y="5492"/>
                </a:lnTo>
                <a:lnTo>
                  <a:pt x="4751" y="5477"/>
                </a:lnTo>
                <a:lnTo>
                  <a:pt x="4758" y="5459"/>
                </a:lnTo>
                <a:lnTo>
                  <a:pt x="4763" y="5442"/>
                </a:lnTo>
                <a:lnTo>
                  <a:pt x="4768" y="5422"/>
                </a:lnTo>
                <a:lnTo>
                  <a:pt x="4771" y="5402"/>
                </a:lnTo>
                <a:lnTo>
                  <a:pt x="4773" y="5382"/>
                </a:lnTo>
                <a:lnTo>
                  <a:pt x="4772" y="5360"/>
                </a:lnTo>
                <a:lnTo>
                  <a:pt x="4770" y="5338"/>
                </a:lnTo>
                <a:lnTo>
                  <a:pt x="4770" y="5338"/>
                </a:lnTo>
                <a:lnTo>
                  <a:pt x="4778" y="5330"/>
                </a:lnTo>
                <a:lnTo>
                  <a:pt x="4798" y="5313"/>
                </a:lnTo>
                <a:lnTo>
                  <a:pt x="4809" y="5302"/>
                </a:lnTo>
                <a:lnTo>
                  <a:pt x="4819" y="5290"/>
                </a:lnTo>
                <a:lnTo>
                  <a:pt x="4827" y="5276"/>
                </a:lnTo>
                <a:lnTo>
                  <a:pt x="4830" y="5270"/>
                </a:lnTo>
                <a:lnTo>
                  <a:pt x="4832" y="5264"/>
                </a:lnTo>
                <a:lnTo>
                  <a:pt x="4832" y="5264"/>
                </a:lnTo>
                <a:lnTo>
                  <a:pt x="4834" y="5255"/>
                </a:lnTo>
                <a:lnTo>
                  <a:pt x="4835" y="5246"/>
                </a:lnTo>
                <a:lnTo>
                  <a:pt x="4836" y="5237"/>
                </a:lnTo>
                <a:lnTo>
                  <a:pt x="4835" y="5230"/>
                </a:lnTo>
                <a:lnTo>
                  <a:pt x="4834" y="5224"/>
                </a:lnTo>
                <a:lnTo>
                  <a:pt x="4832" y="5218"/>
                </a:lnTo>
                <a:lnTo>
                  <a:pt x="4830" y="5213"/>
                </a:lnTo>
                <a:lnTo>
                  <a:pt x="4827" y="5208"/>
                </a:lnTo>
                <a:lnTo>
                  <a:pt x="4819" y="5199"/>
                </a:lnTo>
                <a:lnTo>
                  <a:pt x="4810" y="5189"/>
                </a:lnTo>
                <a:lnTo>
                  <a:pt x="4800" y="5180"/>
                </a:lnTo>
                <a:lnTo>
                  <a:pt x="4789" y="5169"/>
                </a:lnTo>
                <a:lnTo>
                  <a:pt x="4778" y="5156"/>
                </a:lnTo>
                <a:lnTo>
                  <a:pt x="4772" y="5148"/>
                </a:lnTo>
                <a:lnTo>
                  <a:pt x="4767" y="5139"/>
                </a:lnTo>
                <a:lnTo>
                  <a:pt x="4762" y="5130"/>
                </a:lnTo>
                <a:lnTo>
                  <a:pt x="4757" y="5120"/>
                </a:lnTo>
                <a:lnTo>
                  <a:pt x="4753" y="5108"/>
                </a:lnTo>
                <a:lnTo>
                  <a:pt x="4749" y="5095"/>
                </a:lnTo>
                <a:lnTo>
                  <a:pt x="4744" y="5081"/>
                </a:lnTo>
                <a:lnTo>
                  <a:pt x="4741" y="5065"/>
                </a:lnTo>
                <a:lnTo>
                  <a:pt x="4738" y="5048"/>
                </a:lnTo>
                <a:lnTo>
                  <a:pt x="4736" y="5029"/>
                </a:lnTo>
                <a:lnTo>
                  <a:pt x="4735" y="5008"/>
                </a:lnTo>
                <a:lnTo>
                  <a:pt x="4734" y="4986"/>
                </a:lnTo>
                <a:lnTo>
                  <a:pt x="4734" y="4961"/>
                </a:lnTo>
                <a:lnTo>
                  <a:pt x="4735" y="4935"/>
                </a:lnTo>
                <a:lnTo>
                  <a:pt x="4735" y="4935"/>
                </a:lnTo>
                <a:lnTo>
                  <a:pt x="4735" y="4917"/>
                </a:lnTo>
                <a:lnTo>
                  <a:pt x="4734" y="4911"/>
                </a:lnTo>
                <a:lnTo>
                  <a:pt x="4733" y="4906"/>
                </a:lnTo>
                <a:lnTo>
                  <a:pt x="4731" y="4901"/>
                </a:lnTo>
                <a:lnTo>
                  <a:pt x="4729" y="4897"/>
                </a:lnTo>
                <a:lnTo>
                  <a:pt x="4727" y="4894"/>
                </a:lnTo>
                <a:lnTo>
                  <a:pt x="4724" y="4891"/>
                </a:lnTo>
                <a:lnTo>
                  <a:pt x="4716" y="4885"/>
                </a:lnTo>
                <a:lnTo>
                  <a:pt x="4706" y="4878"/>
                </a:lnTo>
                <a:lnTo>
                  <a:pt x="4693" y="4868"/>
                </a:lnTo>
                <a:lnTo>
                  <a:pt x="4679" y="4856"/>
                </a:lnTo>
                <a:lnTo>
                  <a:pt x="4679" y="4856"/>
                </a:lnTo>
                <a:lnTo>
                  <a:pt x="4671" y="4846"/>
                </a:lnTo>
                <a:lnTo>
                  <a:pt x="4664" y="4836"/>
                </a:lnTo>
                <a:lnTo>
                  <a:pt x="4659" y="4825"/>
                </a:lnTo>
                <a:lnTo>
                  <a:pt x="4655" y="4815"/>
                </a:lnTo>
                <a:lnTo>
                  <a:pt x="4654" y="4807"/>
                </a:lnTo>
                <a:lnTo>
                  <a:pt x="4654" y="4804"/>
                </a:lnTo>
                <a:lnTo>
                  <a:pt x="4654" y="4802"/>
                </a:lnTo>
                <a:lnTo>
                  <a:pt x="4657" y="4800"/>
                </a:lnTo>
                <a:lnTo>
                  <a:pt x="4659" y="4799"/>
                </a:lnTo>
                <a:lnTo>
                  <a:pt x="4661" y="4799"/>
                </a:lnTo>
                <a:lnTo>
                  <a:pt x="4665" y="4800"/>
                </a:lnTo>
                <a:lnTo>
                  <a:pt x="4665" y="4800"/>
                </a:lnTo>
                <a:lnTo>
                  <a:pt x="4679" y="4806"/>
                </a:lnTo>
                <a:lnTo>
                  <a:pt x="4693" y="4810"/>
                </a:lnTo>
                <a:lnTo>
                  <a:pt x="4708" y="4813"/>
                </a:lnTo>
                <a:lnTo>
                  <a:pt x="4723" y="4814"/>
                </a:lnTo>
                <a:lnTo>
                  <a:pt x="4737" y="4815"/>
                </a:lnTo>
                <a:lnTo>
                  <a:pt x="4752" y="4816"/>
                </a:lnTo>
                <a:lnTo>
                  <a:pt x="4765" y="4815"/>
                </a:lnTo>
                <a:lnTo>
                  <a:pt x="4778" y="4814"/>
                </a:lnTo>
                <a:lnTo>
                  <a:pt x="4802" y="4811"/>
                </a:lnTo>
                <a:lnTo>
                  <a:pt x="4819" y="4807"/>
                </a:lnTo>
                <a:lnTo>
                  <a:pt x="4835" y="4803"/>
                </a:lnTo>
                <a:lnTo>
                  <a:pt x="4835" y="4803"/>
                </a:lnTo>
                <a:lnTo>
                  <a:pt x="4844" y="4707"/>
                </a:lnTo>
                <a:lnTo>
                  <a:pt x="4849" y="4632"/>
                </a:lnTo>
                <a:lnTo>
                  <a:pt x="4851" y="4577"/>
                </a:lnTo>
                <a:lnTo>
                  <a:pt x="4851" y="4539"/>
                </a:lnTo>
                <a:lnTo>
                  <a:pt x="4849" y="4514"/>
                </a:lnTo>
                <a:lnTo>
                  <a:pt x="4847" y="4499"/>
                </a:lnTo>
                <a:lnTo>
                  <a:pt x="4845" y="4493"/>
                </a:lnTo>
                <a:lnTo>
                  <a:pt x="4844" y="4491"/>
                </a:lnTo>
                <a:lnTo>
                  <a:pt x="4844" y="4491"/>
                </a:lnTo>
                <a:lnTo>
                  <a:pt x="4825" y="4492"/>
                </a:lnTo>
                <a:lnTo>
                  <a:pt x="4808" y="4491"/>
                </a:lnTo>
                <a:lnTo>
                  <a:pt x="4791" y="4490"/>
                </a:lnTo>
                <a:lnTo>
                  <a:pt x="4776" y="4489"/>
                </a:lnTo>
                <a:lnTo>
                  <a:pt x="4763" y="4487"/>
                </a:lnTo>
                <a:lnTo>
                  <a:pt x="4750" y="4484"/>
                </a:lnTo>
                <a:lnTo>
                  <a:pt x="4737" y="4481"/>
                </a:lnTo>
                <a:lnTo>
                  <a:pt x="4726" y="4477"/>
                </a:lnTo>
                <a:lnTo>
                  <a:pt x="4716" y="4473"/>
                </a:lnTo>
                <a:lnTo>
                  <a:pt x="4707" y="4469"/>
                </a:lnTo>
                <a:lnTo>
                  <a:pt x="4698" y="4463"/>
                </a:lnTo>
                <a:lnTo>
                  <a:pt x="4690" y="4458"/>
                </a:lnTo>
                <a:lnTo>
                  <a:pt x="4683" y="4452"/>
                </a:lnTo>
                <a:lnTo>
                  <a:pt x="4676" y="4447"/>
                </a:lnTo>
                <a:lnTo>
                  <a:pt x="4665" y="4434"/>
                </a:lnTo>
                <a:lnTo>
                  <a:pt x="4665" y="4434"/>
                </a:lnTo>
                <a:lnTo>
                  <a:pt x="4677" y="4437"/>
                </a:lnTo>
                <a:lnTo>
                  <a:pt x="4690" y="4439"/>
                </a:lnTo>
                <a:lnTo>
                  <a:pt x="4717" y="4441"/>
                </a:lnTo>
                <a:lnTo>
                  <a:pt x="4742" y="4441"/>
                </a:lnTo>
                <a:lnTo>
                  <a:pt x="4768" y="4439"/>
                </a:lnTo>
                <a:lnTo>
                  <a:pt x="4790" y="4435"/>
                </a:lnTo>
                <a:lnTo>
                  <a:pt x="4812" y="4429"/>
                </a:lnTo>
                <a:lnTo>
                  <a:pt x="4821" y="4426"/>
                </a:lnTo>
                <a:lnTo>
                  <a:pt x="4829" y="4422"/>
                </a:lnTo>
                <a:lnTo>
                  <a:pt x="4838" y="4416"/>
                </a:lnTo>
                <a:lnTo>
                  <a:pt x="4844" y="4412"/>
                </a:lnTo>
                <a:lnTo>
                  <a:pt x="4844" y="4412"/>
                </a:lnTo>
                <a:lnTo>
                  <a:pt x="4843" y="4364"/>
                </a:lnTo>
                <a:lnTo>
                  <a:pt x="4841" y="4316"/>
                </a:lnTo>
                <a:lnTo>
                  <a:pt x="4838" y="4261"/>
                </a:lnTo>
                <a:lnTo>
                  <a:pt x="4833" y="4206"/>
                </a:lnTo>
                <a:lnTo>
                  <a:pt x="4831" y="4181"/>
                </a:lnTo>
                <a:lnTo>
                  <a:pt x="4828" y="4159"/>
                </a:lnTo>
                <a:lnTo>
                  <a:pt x="4825" y="4140"/>
                </a:lnTo>
                <a:lnTo>
                  <a:pt x="4822" y="4126"/>
                </a:lnTo>
                <a:lnTo>
                  <a:pt x="4820" y="4121"/>
                </a:lnTo>
                <a:lnTo>
                  <a:pt x="4818" y="4118"/>
                </a:lnTo>
                <a:lnTo>
                  <a:pt x="4816" y="4116"/>
                </a:lnTo>
                <a:lnTo>
                  <a:pt x="4814" y="4116"/>
                </a:lnTo>
                <a:lnTo>
                  <a:pt x="4814" y="4116"/>
                </a:lnTo>
                <a:lnTo>
                  <a:pt x="4786" y="4123"/>
                </a:lnTo>
                <a:lnTo>
                  <a:pt x="4760" y="4128"/>
                </a:lnTo>
                <a:lnTo>
                  <a:pt x="4746" y="4129"/>
                </a:lnTo>
                <a:lnTo>
                  <a:pt x="4734" y="4130"/>
                </a:lnTo>
                <a:lnTo>
                  <a:pt x="4722" y="4130"/>
                </a:lnTo>
                <a:lnTo>
                  <a:pt x="4711" y="4129"/>
                </a:lnTo>
                <a:lnTo>
                  <a:pt x="4698" y="4127"/>
                </a:lnTo>
                <a:lnTo>
                  <a:pt x="4687" y="4125"/>
                </a:lnTo>
                <a:lnTo>
                  <a:pt x="4675" y="4122"/>
                </a:lnTo>
                <a:lnTo>
                  <a:pt x="4664" y="4118"/>
                </a:lnTo>
                <a:lnTo>
                  <a:pt x="4652" y="4113"/>
                </a:lnTo>
                <a:lnTo>
                  <a:pt x="4640" y="4108"/>
                </a:lnTo>
                <a:lnTo>
                  <a:pt x="4629" y="4100"/>
                </a:lnTo>
                <a:lnTo>
                  <a:pt x="4618" y="4093"/>
                </a:lnTo>
                <a:lnTo>
                  <a:pt x="4618" y="4093"/>
                </a:lnTo>
                <a:lnTo>
                  <a:pt x="4613" y="4090"/>
                </a:lnTo>
                <a:lnTo>
                  <a:pt x="4608" y="4086"/>
                </a:lnTo>
                <a:lnTo>
                  <a:pt x="4602" y="4078"/>
                </a:lnTo>
                <a:lnTo>
                  <a:pt x="4597" y="4069"/>
                </a:lnTo>
                <a:lnTo>
                  <a:pt x="4594" y="4059"/>
                </a:lnTo>
                <a:lnTo>
                  <a:pt x="4592" y="4047"/>
                </a:lnTo>
                <a:lnTo>
                  <a:pt x="4591" y="4037"/>
                </a:lnTo>
                <a:lnTo>
                  <a:pt x="4590" y="4015"/>
                </a:lnTo>
                <a:lnTo>
                  <a:pt x="4589" y="3993"/>
                </a:lnTo>
                <a:lnTo>
                  <a:pt x="4587" y="3984"/>
                </a:lnTo>
                <a:lnTo>
                  <a:pt x="4585" y="3976"/>
                </a:lnTo>
                <a:lnTo>
                  <a:pt x="4581" y="3969"/>
                </a:lnTo>
                <a:lnTo>
                  <a:pt x="4575" y="3962"/>
                </a:lnTo>
                <a:lnTo>
                  <a:pt x="4571" y="3959"/>
                </a:lnTo>
                <a:lnTo>
                  <a:pt x="4567" y="3957"/>
                </a:lnTo>
                <a:lnTo>
                  <a:pt x="4561" y="3956"/>
                </a:lnTo>
                <a:lnTo>
                  <a:pt x="4556" y="3955"/>
                </a:lnTo>
                <a:lnTo>
                  <a:pt x="4556" y="3955"/>
                </a:lnTo>
                <a:lnTo>
                  <a:pt x="4534" y="3948"/>
                </a:lnTo>
                <a:lnTo>
                  <a:pt x="4511" y="3941"/>
                </a:lnTo>
                <a:lnTo>
                  <a:pt x="4489" y="3933"/>
                </a:lnTo>
                <a:lnTo>
                  <a:pt x="4468" y="3923"/>
                </a:lnTo>
                <a:lnTo>
                  <a:pt x="4448" y="3913"/>
                </a:lnTo>
                <a:lnTo>
                  <a:pt x="4428" y="3902"/>
                </a:lnTo>
                <a:lnTo>
                  <a:pt x="4410" y="3892"/>
                </a:lnTo>
                <a:lnTo>
                  <a:pt x="4394" y="3881"/>
                </a:lnTo>
                <a:lnTo>
                  <a:pt x="4377" y="3869"/>
                </a:lnTo>
                <a:lnTo>
                  <a:pt x="4363" y="3859"/>
                </a:lnTo>
                <a:lnTo>
                  <a:pt x="4337" y="3839"/>
                </a:lnTo>
                <a:lnTo>
                  <a:pt x="4318" y="3820"/>
                </a:lnTo>
                <a:lnTo>
                  <a:pt x="4306" y="3805"/>
                </a:lnTo>
                <a:lnTo>
                  <a:pt x="4306" y="3805"/>
                </a:lnTo>
                <a:lnTo>
                  <a:pt x="4297" y="3793"/>
                </a:lnTo>
                <a:lnTo>
                  <a:pt x="4288" y="3780"/>
                </a:lnTo>
                <a:lnTo>
                  <a:pt x="4282" y="3769"/>
                </a:lnTo>
                <a:lnTo>
                  <a:pt x="4277" y="3758"/>
                </a:lnTo>
                <a:lnTo>
                  <a:pt x="4273" y="3748"/>
                </a:lnTo>
                <a:lnTo>
                  <a:pt x="4270" y="3739"/>
                </a:lnTo>
                <a:lnTo>
                  <a:pt x="4266" y="3722"/>
                </a:lnTo>
                <a:lnTo>
                  <a:pt x="4265" y="3709"/>
                </a:lnTo>
                <a:lnTo>
                  <a:pt x="4265" y="3699"/>
                </a:lnTo>
                <a:lnTo>
                  <a:pt x="4266" y="3690"/>
                </a:lnTo>
                <a:lnTo>
                  <a:pt x="4266" y="3690"/>
                </a:lnTo>
                <a:lnTo>
                  <a:pt x="4284" y="3700"/>
                </a:lnTo>
                <a:lnTo>
                  <a:pt x="4302" y="3706"/>
                </a:lnTo>
                <a:lnTo>
                  <a:pt x="4321" y="3711"/>
                </a:lnTo>
                <a:lnTo>
                  <a:pt x="4340" y="3714"/>
                </a:lnTo>
                <a:lnTo>
                  <a:pt x="4358" y="3716"/>
                </a:lnTo>
                <a:lnTo>
                  <a:pt x="4377" y="3715"/>
                </a:lnTo>
                <a:lnTo>
                  <a:pt x="4396" y="3712"/>
                </a:lnTo>
                <a:lnTo>
                  <a:pt x="4414" y="3708"/>
                </a:lnTo>
                <a:lnTo>
                  <a:pt x="4434" y="3468"/>
                </a:lnTo>
                <a:lnTo>
                  <a:pt x="4434" y="3468"/>
                </a:lnTo>
                <a:lnTo>
                  <a:pt x="4425" y="3467"/>
                </a:lnTo>
                <a:lnTo>
                  <a:pt x="4405" y="3464"/>
                </a:lnTo>
                <a:lnTo>
                  <a:pt x="4392" y="3461"/>
                </a:lnTo>
                <a:lnTo>
                  <a:pt x="4377" y="3457"/>
                </a:lnTo>
                <a:lnTo>
                  <a:pt x="4362" y="3453"/>
                </a:lnTo>
                <a:lnTo>
                  <a:pt x="4348" y="3447"/>
                </a:lnTo>
                <a:lnTo>
                  <a:pt x="4348" y="3447"/>
                </a:lnTo>
                <a:lnTo>
                  <a:pt x="4339" y="3443"/>
                </a:lnTo>
                <a:lnTo>
                  <a:pt x="4331" y="3438"/>
                </a:lnTo>
                <a:lnTo>
                  <a:pt x="4323" y="3432"/>
                </a:lnTo>
                <a:lnTo>
                  <a:pt x="4316" y="3426"/>
                </a:lnTo>
                <a:lnTo>
                  <a:pt x="4302" y="3412"/>
                </a:lnTo>
                <a:lnTo>
                  <a:pt x="4289" y="3399"/>
                </a:lnTo>
                <a:lnTo>
                  <a:pt x="4280" y="3386"/>
                </a:lnTo>
                <a:lnTo>
                  <a:pt x="4273" y="3376"/>
                </a:lnTo>
                <a:lnTo>
                  <a:pt x="4267" y="3366"/>
                </a:lnTo>
                <a:lnTo>
                  <a:pt x="4267" y="3366"/>
                </a:lnTo>
                <a:lnTo>
                  <a:pt x="4274" y="3369"/>
                </a:lnTo>
                <a:lnTo>
                  <a:pt x="4293" y="3377"/>
                </a:lnTo>
                <a:lnTo>
                  <a:pt x="4321" y="3385"/>
                </a:lnTo>
                <a:lnTo>
                  <a:pt x="4339" y="3389"/>
                </a:lnTo>
                <a:lnTo>
                  <a:pt x="4356" y="3392"/>
                </a:lnTo>
                <a:lnTo>
                  <a:pt x="4356" y="3392"/>
                </a:lnTo>
                <a:lnTo>
                  <a:pt x="4375" y="3394"/>
                </a:lnTo>
                <a:lnTo>
                  <a:pt x="4392" y="3395"/>
                </a:lnTo>
                <a:lnTo>
                  <a:pt x="4407" y="3393"/>
                </a:lnTo>
                <a:lnTo>
                  <a:pt x="4419" y="3391"/>
                </a:lnTo>
                <a:lnTo>
                  <a:pt x="4430" y="3389"/>
                </a:lnTo>
                <a:lnTo>
                  <a:pt x="4438" y="3387"/>
                </a:lnTo>
                <a:lnTo>
                  <a:pt x="4444" y="3384"/>
                </a:lnTo>
                <a:lnTo>
                  <a:pt x="4477" y="3113"/>
                </a:lnTo>
                <a:lnTo>
                  <a:pt x="4477" y="3113"/>
                </a:lnTo>
                <a:lnTo>
                  <a:pt x="4451" y="3114"/>
                </a:lnTo>
                <a:lnTo>
                  <a:pt x="4427" y="3113"/>
                </a:lnTo>
                <a:lnTo>
                  <a:pt x="4408" y="3111"/>
                </a:lnTo>
                <a:lnTo>
                  <a:pt x="4392" y="3106"/>
                </a:lnTo>
                <a:lnTo>
                  <a:pt x="4377" y="3100"/>
                </a:lnTo>
                <a:lnTo>
                  <a:pt x="4365" y="3093"/>
                </a:lnTo>
                <a:lnTo>
                  <a:pt x="4356" y="3085"/>
                </a:lnTo>
                <a:lnTo>
                  <a:pt x="4348" y="3077"/>
                </a:lnTo>
                <a:lnTo>
                  <a:pt x="4343" y="3069"/>
                </a:lnTo>
                <a:lnTo>
                  <a:pt x="4337" y="3060"/>
                </a:lnTo>
                <a:lnTo>
                  <a:pt x="4335" y="3051"/>
                </a:lnTo>
                <a:lnTo>
                  <a:pt x="4333" y="3043"/>
                </a:lnTo>
                <a:lnTo>
                  <a:pt x="4332" y="3035"/>
                </a:lnTo>
                <a:lnTo>
                  <a:pt x="4331" y="3029"/>
                </a:lnTo>
                <a:lnTo>
                  <a:pt x="4332" y="3020"/>
                </a:lnTo>
                <a:lnTo>
                  <a:pt x="4332" y="3020"/>
                </a:lnTo>
                <a:lnTo>
                  <a:pt x="4357" y="3015"/>
                </a:lnTo>
                <a:lnTo>
                  <a:pt x="4381" y="3009"/>
                </a:lnTo>
                <a:lnTo>
                  <a:pt x="4405" y="3001"/>
                </a:lnTo>
                <a:lnTo>
                  <a:pt x="4428" y="2994"/>
                </a:lnTo>
                <a:lnTo>
                  <a:pt x="4451" y="2985"/>
                </a:lnTo>
                <a:lnTo>
                  <a:pt x="4473" y="2975"/>
                </a:lnTo>
                <a:lnTo>
                  <a:pt x="4495" y="2964"/>
                </a:lnTo>
                <a:lnTo>
                  <a:pt x="4515" y="2951"/>
                </a:lnTo>
                <a:lnTo>
                  <a:pt x="4536" y="2939"/>
                </a:lnTo>
                <a:lnTo>
                  <a:pt x="4555" y="2926"/>
                </a:lnTo>
                <a:lnTo>
                  <a:pt x="4574" y="2911"/>
                </a:lnTo>
                <a:lnTo>
                  <a:pt x="4592" y="2896"/>
                </a:lnTo>
                <a:lnTo>
                  <a:pt x="4609" y="2881"/>
                </a:lnTo>
                <a:lnTo>
                  <a:pt x="4627" y="2864"/>
                </a:lnTo>
                <a:lnTo>
                  <a:pt x="4642" y="2848"/>
                </a:lnTo>
                <a:lnTo>
                  <a:pt x="4659" y="2831"/>
                </a:lnTo>
                <a:lnTo>
                  <a:pt x="4673" y="2812"/>
                </a:lnTo>
                <a:lnTo>
                  <a:pt x="4688" y="2794"/>
                </a:lnTo>
                <a:lnTo>
                  <a:pt x="4702" y="2775"/>
                </a:lnTo>
                <a:lnTo>
                  <a:pt x="4715" y="2756"/>
                </a:lnTo>
                <a:lnTo>
                  <a:pt x="4727" y="2737"/>
                </a:lnTo>
                <a:lnTo>
                  <a:pt x="4738" y="2717"/>
                </a:lnTo>
                <a:lnTo>
                  <a:pt x="4750" y="2698"/>
                </a:lnTo>
                <a:lnTo>
                  <a:pt x="4760" y="2677"/>
                </a:lnTo>
                <a:lnTo>
                  <a:pt x="4770" y="2657"/>
                </a:lnTo>
                <a:lnTo>
                  <a:pt x="4779" y="2636"/>
                </a:lnTo>
                <a:lnTo>
                  <a:pt x="4787" y="2616"/>
                </a:lnTo>
                <a:lnTo>
                  <a:pt x="4796" y="2595"/>
                </a:lnTo>
                <a:lnTo>
                  <a:pt x="4803" y="2575"/>
                </a:lnTo>
                <a:lnTo>
                  <a:pt x="4809" y="2555"/>
                </a:lnTo>
                <a:lnTo>
                  <a:pt x="4815" y="2534"/>
                </a:lnTo>
                <a:lnTo>
                  <a:pt x="4820" y="2515"/>
                </a:lnTo>
                <a:lnTo>
                  <a:pt x="4820" y="2515"/>
                </a:lnTo>
                <a:lnTo>
                  <a:pt x="4831" y="2521"/>
                </a:lnTo>
                <a:lnTo>
                  <a:pt x="4847" y="2527"/>
                </a:lnTo>
                <a:lnTo>
                  <a:pt x="4864" y="2533"/>
                </a:lnTo>
                <a:lnTo>
                  <a:pt x="4882" y="2538"/>
                </a:lnTo>
                <a:lnTo>
                  <a:pt x="4903" y="2541"/>
                </a:lnTo>
                <a:lnTo>
                  <a:pt x="4913" y="2542"/>
                </a:lnTo>
                <a:lnTo>
                  <a:pt x="4923" y="2543"/>
                </a:lnTo>
                <a:lnTo>
                  <a:pt x="4935" y="2542"/>
                </a:lnTo>
                <a:lnTo>
                  <a:pt x="4945" y="2541"/>
                </a:lnTo>
                <a:lnTo>
                  <a:pt x="4955" y="2539"/>
                </a:lnTo>
                <a:lnTo>
                  <a:pt x="4965" y="2536"/>
                </a:lnTo>
                <a:lnTo>
                  <a:pt x="4965" y="2536"/>
                </a:lnTo>
                <a:lnTo>
                  <a:pt x="4967" y="2508"/>
                </a:lnTo>
                <a:lnTo>
                  <a:pt x="4970" y="2441"/>
                </a:lnTo>
                <a:lnTo>
                  <a:pt x="4972" y="2405"/>
                </a:lnTo>
                <a:lnTo>
                  <a:pt x="4973" y="2371"/>
                </a:lnTo>
                <a:lnTo>
                  <a:pt x="4972" y="2343"/>
                </a:lnTo>
                <a:lnTo>
                  <a:pt x="4972" y="2333"/>
                </a:lnTo>
                <a:lnTo>
                  <a:pt x="4970" y="2327"/>
                </a:lnTo>
                <a:lnTo>
                  <a:pt x="4970" y="2327"/>
                </a:lnTo>
                <a:lnTo>
                  <a:pt x="4955" y="2325"/>
                </a:lnTo>
                <a:lnTo>
                  <a:pt x="4938" y="2322"/>
                </a:lnTo>
                <a:lnTo>
                  <a:pt x="4919" y="2317"/>
                </a:lnTo>
                <a:lnTo>
                  <a:pt x="4911" y="2314"/>
                </a:lnTo>
                <a:lnTo>
                  <a:pt x="4902" y="2311"/>
                </a:lnTo>
                <a:lnTo>
                  <a:pt x="4893" y="2306"/>
                </a:lnTo>
                <a:lnTo>
                  <a:pt x="4885" y="2302"/>
                </a:lnTo>
                <a:lnTo>
                  <a:pt x="4876" y="2296"/>
                </a:lnTo>
                <a:lnTo>
                  <a:pt x="4868" y="2289"/>
                </a:lnTo>
                <a:lnTo>
                  <a:pt x="4861" y="2282"/>
                </a:lnTo>
                <a:lnTo>
                  <a:pt x="4854" y="2273"/>
                </a:lnTo>
                <a:lnTo>
                  <a:pt x="4848" y="2264"/>
                </a:lnTo>
                <a:lnTo>
                  <a:pt x="4842" y="225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86" name="Freeform 37"/>
          <p:cNvSpPr>
            <a:spLocks/>
          </p:cNvSpPr>
          <p:nvPr userDrawn="1"/>
        </p:nvSpPr>
        <p:spPr bwMode="auto">
          <a:xfrm>
            <a:off x="8332788" y="-385340"/>
            <a:ext cx="276225" cy="73025"/>
          </a:xfrm>
          <a:custGeom>
            <a:avLst/>
            <a:gdLst>
              <a:gd name="T0" fmla="*/ 0 w 349"/>
              <a:gd name="T1" fmla="*/ 34 h 91"/>
              <a:gd name="T2" fmla="*/ 0 w 349"/>
              <a:gd name="T3" fmla="*/ 34 h 91"/>
              <a:gd name="T4" fmla="*/ 20 w 349"/>
              <a:gd name="T5" fmla="*/ 49 h 91"/>
              <a:gd name="T6" fmla="*/ 38 w 349"/>
              <a:gd name="T7" fmla="*/ 60 h 91"/>
              <a:gd name="T8" fmla="*/ 38 w 349"/>
              <a:gd name="T9" fmla="*/ 60 h 91"/>
              <a:gd name="T10" fmla="*/ 69 w 349"/>
              <a:gd name="T11" fmla="*/ 71 h 91"/>
              <a:gd name="T12" fmla="*/ 89 w 349"/>
              <a:gd name="T13" fmla="*/ 78 h 91"/>
              <a:gd name="T14" fmla="*/ 111 w 349"/>
              <a:gd name="T15" fmla="*/ 84 h 91"/>
              <a:gd name="T16" fmla="*/ 137 w 349"/>
              <a:gd name="T17" fmla="*/ 87 h 91"/>
              <a:gd name="T18" fmla="*/ 164 w 349"/>
              <a:gd name="T19" fmla="*/ 91 h 91"/>
              <a:gd name="T20" fmla="*/ 194 w 349"/>
              <a:gd name="T21" fmla="*/ 91 h 91"/>
              <a:gd name="T22" fmla="*/ 226 w 349"/>
              <a:gd name="T23" fmla="*/ 89 h 91"/>
              <a:gd name="T24" fmla="*/ 226 w 349"/>
              <a:gd name="T25" fmla="*/ 89 h 91"/>
              <a:gd name="T26" fmla="*/ 256 w 349"/>
              <a:gd name="T27" fmla="*/ 86 h 91"/>
              <a:gd name="T28" fmla="*/ 279 w 349"/>
              <a:gd name="T29" fmla="*/ 80 h 91"/>
              <a:gd name="T30" fmla="*/ 301 w 349"/>
              <a:gd name="T31" fmla="*/ 75 h 91"/>
              <a:gd name="T32" fmla="*/ 318 w 349"/>
              <a:gd name="T33" fmla="*/ 69 h 91"/>
              <a:gd name="T34" fmla="*/ 342 w 349"/>
              <a:gd name="T35" fmla="*/ 56 h 91"/>
              <a:gd name="T36" fmla="*/ 349 w 349"/>
              <a:gd name="T37" fmla="*/ 53 h 91"/>
              <a:gd name="T38" fmla="*/ 349 w 349"/>
              <a:gd name="T39" fmla="*/ 53 h 91"/>
              <a:gd name="T40" fmla="*/ 338 w 349"/>
              <a:gd name="T41" fmla="*/ 49 h 91"/>
              <a:gd name="T42" fmla="*/ 329 w 349"/>
              <a:gd name="T43" fmla="*/ 44 h 91"/>
              <a:gd name="T44" fmla="*/ 314 w 349"/>
              <a:gd name="T45" fmla="*/ 31 h 91"/>
              <a:gd name="T46" fmla="*/ 314 w 349"/>
              <a:gd name="T47" fmla="*/ 31 h 91"/>
              <a:gd name="T48" fmla="*/ 312 w 349"/>
              <a:gd name="T49" fmla="*/ 38 h 91"/>
              <a:gd name="T50" fmla="*/ 312 w 349"/>
              <a:gd name="T51" fmla="*/ 38 h 91"/>
              <a:gd name="T52" fmla="*/ 311 w 349"/>
              <a:gd name="T53" fmla="*/ 51 h 91"/>
              <a:gd name="T54" fmla="*/ 311 w 349"/>
              <a:gd name="T55" fmla="*/ 51 h 91"/>
              <a:gd name="T56" fmla="*/ 303 w 349"/>
              <a:gd name="T57" fmla="*/ 49 h 91"/>
              <a:gd name="T58" fmla="*/ 303 w 349"/>
              <a:gd name="T59" fmla="*/ 49 h 91"/>
              <a:gd name="T60" fmla="*/ 298 w 349"/>
              <a:gd name="T61" fmla="*/ 45 h 91"/>
              <a:gd name="T62" fmla="*/ 292 w 349"/>
              <a:gd name="T63" fmla="*/ 40 h 91"/>
              <a:gd name="T64" fmla="*/ 289 w 349"/>
              <a:gd name="T65" fmla="*/ 33 h 91"/>
              <a:gd name="T66" fmla="*/ 287 w 349"/>
              <a:gd name="T67" fmla="*/ 23 h 91"/>
              <a:gd name="T68" fmla="*/ 287 w 349"/>
              <a:gd name="T69" fmla="*/ 23 h 91"/>
              <a:gd name="T70" fmla="*/ 287 w 349"/>
              <a:gd name="T71" fmla="*/ 22 h 91"/>
              <a:gd name="T72" fmla="*/ 287 w 349"/>
              <a:gd name="T73" fmla="*/ 22 h 91"/>
              <a:gd name="T74" fmla="*/ 272 w 349"/>
              <a:gd name="T75" fmla="*/ 27 h 91"/>
              <a:gd name="T76" fmla="*/ 252 w 349"/>
              <a:gd name="T77" fmla="*/ 33 h 91"/>
              <a:gd name="T78" fmla="*/ 228 w 349"/>
              <a:gd name="T79" fmla="*/ 38 h 91"/>
              <a:gd name="T80" fmla="*/ 205 w 349"/>
              <a:gd name="T81" fmla="*/ 40 h 91"/>
              <a:gd name="T82" fmla="*/ 205 w 349"/>
              <a:gd name="T83" fmla="*/ 40 h 91"/>
              <a:gd name="T84" fmla="*/ 161 w 349"/>
              <a:gd name="T85" fmla="*/ 38 h 91"/>
              <a:gd name="T86" fmla="*/ 139 w 349"/>
              <a:gd name="T87" fmla="*/ 36 h 91"/>
              <a:gd name="T88" fmla="*/ 117 w 349"/>
              <a:gd name="T89" fmla="*/ 33 h 91"/>
              <a:gd name="T90" fmla="*/ 95 w 349"/>
              <a:gd name="T91" fmla="*/ 29 h 91"/>
              <a:gd name="T92" fmla="*/ 73 w 349"/>
              <a:gd name="T93" fmla="*/ 22 h 91"/>
              <a:gd name="T94" fmla="*/ 51 w 349"/>
              <a:gd name="T95" fmla="*/ 14 h 91"/>
              <a:gd name="T96" fmla="*/ 31 w 349"/>
              <a:gd name="T97" fmla="*/ 7 h 91"/>
              <a:gd name="T98" fmla="*/ 31 w 349"/>
              <a:gd name="T99" fmla="*/ 7 h 91"/>
              <a:gd name="T100" fmla="*/ 15 w 349"/>
              <a:gd name="T101" fmla="*/ 0 h 91"/>
              <a:gd name="T102" fmla="*/ 15 w 349"/>
              <a:gd name="T103" fmla="*/ 0 h 91"/>
              <a:gd name="T104" fmla="*/ 15 w 349"/>
              <a:gd name="T105" fmla="*/ 1 h 91"/>
              <a:gd name="T106" fmla="*/ 15 w 349"/>
              <a:gd name="T107" fmla="*/ 5 h 91"/>
              <a:gd name="T108" fmla="*/ 18 w 349"/>
              <a:gd name="T109" fmla="*/ 14 h 91"/>
              <a:gd name="T110" fmla="*/ 25 w 349"/>
              <a:gd name="T111" fmla="*/ 25 h 91"/>
              <a:gd name="T112" fmla="*/ 25 w 349"/>
              <a:gd name="T113" fmla="*/ 25 h 91"/>
              <a:gd name="T114" fmla="*/ 16 w 349"/>
              <a:gd name="T115" fmla="*/ 23 h 91"/>
              <a:gd name="T116" fmla="*/ 7 w 349"/>
              <a:gd name="T117" fmla="*/ 27 h 91"/>
              <a:gd name="T118" fmla="*/ 7 w 349"/>
              <a:gd name="T119" fmla="*/ 27 h 91"/>
              <a:gd name="T120" fmla="*/ 2 w 349"/>
              <a:gd name="T121" fmla="*/ 31 h 91"/>
              <a:gd name="T122" fmla="*/ 0 w 349"/>
              <a:gd name="T123" fmla="*/ 3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9" h="91">
                <a:moveTo>
                  <a:pt x="0" y="34"/>
                </a:moveTo>
                <a:lnTo>
                  <a:pt x="0" y="34"/>
                </a:lnTo>
                <a:lnTo>
                  <a:pt x="20" y="49"/>
                </a:lnTo>
                <a:lnTo>
                  <a:pt x="38" y="60"/>
                </a:lnTo>
                <a:lnTo>
                  <a:pt x="38" y="60"/>
                </a:lnTo>
                <a:lnTo>
                  <a:pt x="69" y="71"/>
                </a:lnTo>
                <a:lnTo>
                  <a:pt x="89" y="78"/>
                </a:lnTo>
                <a:lnTo>
                  <a:pt x="111" y="84"/>
                </a:lnTo>
                <a:lnTo>
                  <a:pt x="137" y="87"/>
                </a:lnTo>
                <a:lnTo>
                  <a:pt x="164" y="91"/>
                </a:lnTo>
                <a:lnTo>
                  <a:pt x="194" y="91"/>
                </a:lnTo>
                <a:lnTo>
                  <a:pt x="226" y="89"/>
                </a:lnTo>
                <a:lnTo>
                  <a:pt x="226" y="89"/>
                </a:lnTo>
                <a:lnTo>
                  <a:pt x="256" y="86"/>
                </a:lnTo>
                <a:lnTo>
                  <a:pt x="279" y="80"/>
                </a:lnTo>
                <a:lnTo>
                  <a:pt x="301" y="75"/>
                </a:lnTo>
                <a:lnTo>
                  <a:pt x="318" y="69"/>
                </a:lnTo>
                <a:lnTo>
                  <a:pt x="342" y="56"/>
                </a:lnTo>
                <a:lnTo>
                  <a:pt x="349" y="53"/>
                </a:lnTo>
                <a:lnTo>
                  <a:pt x="349" y="53"/>
                </a:lnTo>
                <a:lnTo>
                  <a:pt x="338" y="49"/>
                </a:lnTo>
                <a:lnTo>
                  <a:pt x="329" y="44"/>
                </a:lnTo>
                <a:lnTo>
                  <a:pt x="314" y="31"/>
                </a:lnTo>
                <a:lnTo>
                  <a:pt x="314" y="31"/>
                </a:lnTo>
                <a:lnTo>
                  <a:pt x="312" y="38"/>
                </a:lnTo>
                <a:lnTo>
                  <a:pt x="312" y="38"/>
                </a:lnTo>
                <a:lnTo>
                  <a:pt x="311" y="51"/>
                </a:lnTo>
                <a:lnTo>
                  <a:pt x="311" y="51"/>
                </a:lnTo>
                <a:lnTo>
                  <a:pt x="303" y="49"/>
                </a:lnTo>
                <a:lnTo>
                  <a:pt x="303" y="49"/>
                </a:lnTo>
                <a:lnTo>
                  <a:pt x="298" y="45"/>
                </a:lnTo>
                <a:lnTo>
                  <a:pt x="292" y="40"/>
                </a:lnTo>
                <a:lnTo>
                  <a:pt x="289" y="33"/>
                </a:lnTo>
                <a:lnTo>
                  <a:pt x="287" y="23"/>
                </a:lnTo>
                <a:lnTo>
                  <a:pt x="287" y="23"/>
                </a:lnTo>
                <a:lnTo>
                  <a:pt x="287" y="22"/>
                </a:lnTo>
                <a:lnTo>
                  <a:pt x="287" y="22"/>
                </a:lnTo>
                <a:lnTo>
                  <a:pt x="272" y="27"/>
                </a:lnTo>
                <a:lnTo>
                  <a:pt x="252" y="33"/>
                </a:lnTo>
                <a:lnTo>
                  <a:pt x="228" y="38"/>
                </a:lnTo>
                <a:lnTo>
                  <a:pt x="205" y="40"/>
                </a:lnTo>
                <a:lnTo>
                  <a:pt x="205" y="40"/>
                </a:lnTo>
                <a:lnTo>
                  <a:pt x="161" y="38"/>
                </a:lnTo>
                <a:lnTo>
                  <a:pt x="139" y="36"/>
                </a:lnTo>
                <a:lnTo>
                  <a:pt x="117" y="33"/>
                </a:lnTo>
                <a:lnTo>
                  <a:pt x="95" y="29"/>
                </a:lnTo>
                <a:lnTo>
                  <a:pt x="73" y="22"/>
                </a:lnTo>
                <a:lnTo>
                  <a:pt x="51" y="14"/>
                </a:lnTo>
                <a:lnTo>
                  <a:pt x="31" y="7"/>
                </a:lnTo>
                <a:lnTo>
                  <a:pt x="31" y="7"/>
                </a:lnTo>
                <a:lnTo>
                  <a:pt x="15" y="0"/>
                </a:lnTo>
                <a:lnTo>
                  <a:pt x="15" y="0"/>
                </a:lnTo>
                <a:lnTo>
                  <a:pt x="15" y="1"/>
                </a:lnTo>
                <a:lnTo>
                  <a:pt x="15" y="5"/>
                </a:lnTo>
                <a:lnTo>
                  <a:pt x="18" y="14"/>
                </a:lnTo>
                <a:lnTo>
                  <a:pt x="25" y="25"/>
                </a:lnTo>
                <a:lnTo>
                  <a:pt x="25" y="25"/>
                </a:lnTo>
                <a:lnTo>
                  <a:pt x="16" y="23"/>
                </a:lnTo>
                <a:lnTo>
                  <a:pt x="7" y="27"/>
                </a:lnTo>
                <a:lnTo>
                  <a:pt x="7" y="27"/>
                </a:lnTo>
                <a:lnTo>
                  <a:pt x="2" y="31"/>
                </a:lnTo>
                <a:lnTo>
                  <a:pt x="0" y="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87" name="Freeform 38"/>
          <p:cNvSpPr>
            <a:spLocks/>
          </p:cNvSpPr>
          <p:nvPr userDrawn="1"/>
        </p:nvSpPr>
        <p:spPr bwMode="auto">
          <a:xfrm>
            <a:off x="8270875" y="-618703"/>
            <a:ext cx="282575" cy="201613"/>
          </a:xfrm>
          <a:custGeom>
            <a:avLst/>
            <a:gdLst>
              <a:gd name="T0" fmla="*/ 326 w 357"/>
              <a:gd name="T1" fmla="*/ 20 h 253"/>
              <a:gd name="T2" fmla="*/ 320 w 357"/>
              <a:gd name="T3" fmla="*/ 3 h 253"/>
              <a:gd name="T4" fmla="*/ 311 w 357"/>
              <a:gd name="T5" fmla="*/ 0 h 253"/>
              <a:gd name="T6" fmla="*/ 227 w 357"/>
              <a:gd name="T7" fmla="*/ 40 h 253"/>
              <a:gd name="T8" fmla="*/ 207 w 357"/>
              <a:gd name="T9" fmla="*/ 53 h 253"/>
              <a:gd name="T10" fmla="*/ 176 w 357"/>
              <a:gd name="T11" fmla="*/ 53 h 253"/>
              <a:gd name="T12" fmla="*/ 181 w 357"/>
              <a:gd name="T13" fmla="*/ 71 h 253"/>
              <a:gd name="T14" fmla="*/ 172 w 357"/>
              <a:gd name="T15" fmla="*/ 78 h 253"/>
              <a:gd name="T16" fmla="*/ 181 w 357"/>
              <a:gd name="T17" fmla="*/ 93 h 253"/>
              <a:gd name="T18" fmla="*/ 198 w 357"/>
              <a:gd name="T19" fmla="*/ 91 h 253"/>
              <a:gd name="T20" fmla="*/ 189 w 357"/>
              <a:gd name="T21" fmla="*/ 115 h 253"/>
              <a:gd name="T22" fmla="*/ 147 w 357"/>
              <a:gd name="T23" fmla="*/ 146 h 253"/>
              <a:gd name="T24" fmla="*/ 101 w 357"/>
              <a:gd name="T25" fmla="*/ 155 h 253"/>
              <a:gd name="T26" fmla="*/ 79 w 357"/>
              <a:gd name="T27" fmla="*/ 137 h 253"/>
              <a:gd name="T28" fmla="*/ 68 w 357"/>
              <a:gd name="T29" fmla="*/ 126 h 253"/>
              <a:gd name="T30" fmla="*/ 50 w 357"/>
              <a:gd name="T31" fmla="*/ 126 h 253"/>
              <a:gd name="T32" fmla="*/ 28 w 357"/>
              <a:gd name="T33" fmla="*/ 137 h 253"/>
              <a:gd name="T34" fmla="*/ 48 w 357"/>
              <a:gd name="T35" fmla="*/ 140 h 253"/>
              <a:gd name="T36" fmla="*/ 44 w 357"/>
              <a:gd name="T37" fmla="*/ 149 h 253"/>
              <a:gd name="T38" fmla="*/ 75 w 357"/>
              <a:gd name="T39" fmla="*/ 169 h 253"/>
              <a:gd name="T40" fmla="*/ 75 w 357"/>
              <a:gd name="T41" fmla="*/ 171 h 253"/>
              <a:gd name="T42" fmla="*/ 39 w 357"/>
              <a:gd name="T43" fmla="*/ 160 h 253"/>
              <a:gd name="T44" fmla="*/ 28 w 357"/>
              <a:gd name="T45" fmla="*/ 164 h 253"/>
              <a:gd name="T46" fmla="*/ 8 w 357"/>
              <a:gd name="T47" fmla="*/ 171 h 253"/>
              <a:gd name="T48" fmla="*/ 2 w 357"/>
              <a:gd name="T49" fmla="*/ 193 h 253"/>
              <a:gd name="T50" fmla="*/ 17 w 357"/>
              <a:gd name="T51" fmla="*/ 180 h 253"/>
              <a:gd name="T52" fmla="*/ 22 w 357"/>
              <a:gd name="T53" fmla="*/ 188 h 253"/>
              <a:gd name="T54" fmla="*/ 26 w 357"/>
              <a:gd name="T55" fmla="*/ 197 h 253"/>
              <a:gd name="T56" fmla="*/ 66 w 357"/>
              <a:gd name="T57" fmla="*/ 195 h 253"/>
              <a:gd name="T58" fmla="*/ 75 w 357"/>
              <a:gd name="T59" fmla="*/ 197 h 253"/>
              <a:gd name="T60" fmla="*/ 39 w 357"/>
              <a:gd name="T61" fmla="*/ 206 h 253"/>
              <a:gd name="T62" fmla="*/ 37 w 357"/>
              <a:gd name="T63" fmla="*/ 213 h 253"/>
              <a:gd name="T64" fmla="*/ 28 w 357"/>
              <a:gd name="T65" fmla="*/ 233 h 253"/>
              <a:gd name="T66" fmla="*/ 35 w 357"/>
              <a:gd name="T67" fmla="*/ 248 h 253"/>
              <a:gd name="T68" fmla="*/ 41 w 357"/>
              <a:gd name="T69" fmla="*/ 244 h 253"/>
              <a:gd name="T70" fmla="*/ 42 w 357"/>
              <a:gd name="T71" fmla="*/ 235 h 253"/>
              <a:gd name="T72" fmla="*/ 55 w 357"/>
              <a:gd name="T73" fmla="*/ 243 h 253"/>
              <a:gd name="T74" fmla="*/ 72 w 357"/>
              <a:gd name="T75" fmla="*/ 232 h 253"/>
              <a:gd name="T76" fmla="*/ 94 w 357"/>
              <a:gd name="T77" fmla="*/ 213 h 253"/>
              <a:gd name="T78" fmla="*/ 108 w 357"/>
              <a:gd name="T79" fmla="*/ 211 h 253"/>
              <a:gd name="T80" fmla="*/ 110 w 357"/>
              <a:gd name="T81" fmla="*/ 222 h 253"/>
              <a:gd name="T82" fmla="*/ 115 w 357"/>
              <a:gd name="T83" fmla="*/ 233 h 253"/>
              <a:gd name="T84" fmla="*/ 114 w 357"/>
              <a:gd name="T85" fmla="*/ 243 h 253"/>
              <a:gd name="T86" fmla="*/ 136 w 357"/>
              <a:gd name="T87" fmla="*/ 224 h 253"/>
              <a:gd name="T88" fmla="*/ 141 w 357"/>
              <a:gd name="T89" fmla="*/ 219 h 253"/>
              <a:gd name="T90" fmla="*/ 145 w 357"/>
              <a:gd name="T91" fmla="*/ 211 h 253"/>
              <a:gd name="T92" fmla="*/ 147 w 357"/>
              <a:gd name="T93" fmla="*/ 200 h 253"/>
              <a:gd name="T94" fmla="*/ 167 w 357"/>
              <a:gd name="T95" fmla="*/ 193 h 253"/>
              <a:gd name="T96" fmla="*/ 170 w 357"/>
              <a:gd name="T97" fmla="*/ 180 h 253"/>
              <a:gd name="T98" fmla="*/ 181 w 357"/>
              <a:gd name="T99" fmla="*/ 179 h 253"/>
              <a:gd name="T100" fmla="*/ 199 w 357"/>
              <a:gd name="T101" fmla="*/ 197 h 253"/>
              <a:gd name="T102" fmla="*/ 231 w 357"/>
              <a:gd name="T103" fmla="*/ 182 h 253"/>
              <a:gd name="T104" fmla="*/ 227 w 357"/>
              <a:gd name="T105" fmla="*/ 169 h 253"/>
              <a:gd name="T106" fmla="*/ 223 w 357"/>
              <a:gd name="T107" fmla="*/ 155 h 253"/>
              <a:gd name="T108" fmla="*/ 245 w 357"/>
              <a:gd name="T109" fmla="*/ 173 h 253"/>
              <a:gd name="T110" fmla="*/ 276 w 357"/>
              <a:gd name="T111" fmla="*/ 155 h 253"/>
              <a:gd name="T112" fmla="*/ 273 w 357"/>
              <a:gd name="T113" fmla="*/ 149 h 253"/>
              <a:gd name="T114" fmla="*/ 263 w 357"/>
              <a:gd name="T115" fmla="*/ 131 h 253"/>
              <a:gd name="T116" fmla="*/ 262 w 357"/>
              <a:gd name="T117" fmla="*/ 115 h 253"/>
              <a:gd name="T118" fmla="*/ 262 w 357"/>
              <a:gd name="T119" fmla="*/ 98 h 253"/>
              <a:gd name="T120" fmla="*/ 353 w 357"/>
              <a:gd name="T121" fmla="*/ 45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7" h="253">
                <a:moveTo>
                  <a:pt x="344" y="31"/>
                </a:moveTo>
                <a:lnTo>
                  <a:pt x="344" y="31"/>
                </a:lnTo>
                <a:lnTo>
                  <a:pt x="335" y="23"/>
                </a:lnTo>
                <a:lnTo>
                  <a:pt x="326" y="20"/>
                </a:lnTo>
                <a:lnTo>
                  <a:pt x="309" y="12"/>
                </a:lnTo>
                <a:lnTo>
                  <a:pt x="309" y="12"/>
                </a:lnTo>
                <a:lnTo>
                  <a:pt x="316" y="7"/>
                </a:lnTo>
                <a:lnTo>
                  <a:pt x="320" y="3"/>
                </a:lnTo>
                <a:lnTo>
                  <a:pt x="320" y="1"/>
                </a:lnTo>
                <a:lnTo>
                  <a:pt x="320" y="1"/>
                </a:lnTo>
                <a:lnTo>
                  <a:pt x="315" y="0"/>
                </a:lnTo>
                <a:lnTo>
                  <a:pt x="311" y="0"/>
                </a:lnTo>
                <a:lnTo>
                  <a:pt x="311" y="0"/>
                </a:lnTo>
                <a:lnTo>
                  <a:pt x="280" y="12"/>
                </a:lnTo>
                <a:lnTo>
                  <a:pt x="252" y="25"/>
                </a:lnTo>
                <a:lnTo>
                  <a:pt x="227" y="40"/>
                </a:lnTo>
                <a:lnTo>
                  <a:pt x="209" y="53"/>
                </a:lnTo>
                <a:lnTo>
                  <a:pt x="209" y="53"/>
                </a:lnTo>
                <a:lnTo>
                  <a:pt x="207" y="53"/>
                </a:lnTo>
                <a:lnTo>
                  <a:pt x="207" y="53"/>
                </a:lnTo>
                <a:lnTo>
                  <a:pt x="201" y="56"/>
                </a:lnTo>
                <a:lnTo>
                  <a:pt x="196" y="56"/>
                </a:lnTo>
                <a:lnTo>
                  <a:pt x="185" y="54"/>
                </a:lnTo>
                <a:lnTo>
                  <a:pt x="176" y="53"/>
                </a:lnTo>
                <a:lnTo>
                  <a:pt x="174" y="51"/>
                </a:lnTo>
                <a:lnTo>
                  <a:pt x="170" y="67"/>
                </a:lnTo>
                <a:lnTo>
                  <a:pt x="170" y="67"/>
                </a:lnTo>
                <a:lnTo>
                  <a:pt x="181" y="71"/>
                </a:lnTo>
                <a:lnTo>
                  <a:pt x="189" y="74"/>
                </a:lnTo>
                <a:lnTo>
                  <a:pt x="189" y="74"/>
                </a:lnTo>
                <a:lnTo>
                  <a:pt x="178" y="76"/>
                </a:lnTo>
                <a:lnTo>
                  <a:pt x="172" y="78"/>
                </a:lnTo>
                <a:lnTo>
                  <a:pt x="168" y="82"/>
                </a:lnTo>
                <a:lnTo>
                  <a:pt x="174" y="96"/>
                </a:lnTo>
                <a:lnTo>
                  <a:pt x="174" y="96"/>
                </a:lnTo>
                <a:lnTo>
                  <a:pt x="181" y="93"/>
                </a:lnTo>
                <a:lnTo>
                  <a:pt x="189" y="91"/>
                </a:lnTo>
                <a:lnTo>
                  <a:pt x="198" y="89"/>
                </a:lnTo>
                <a:lnTo>
                  <a:pt x="198" y="89"/>
                </a:lnTo>
                <a:lnTo>
                  <a:pt x="198" y="91"/>
                </a:lnTo>
                <a:lnTo>
                  <a:pt x="198" y="91"/>
                </a:lnTo>
                <a:lnTo>
                  <a:pt x="198" y="98"/>
                </a:lnTo>
                <a:lnTo>
                  <a:pt x="194" y="105"/>
                </a:lnTo>
                <a:lnTo>
                  <a:pt x="189" y="115"/>
                </a:lnTo>
                <a:lnTo>
                  <a:pt x="181" y="122"/>
                </a:lnTo>
                <a:lnTo>
                  <a:pt x="165" y="137"/>
                </a:lnTo>
                <a:lnTo>
                  <a:pt x="156" y="142"/>
                </a:lnTo>
                <a:lnTo>
                  <a:pt x="147" y="146"/>
                </a:lnTo>
                <a:lnTo>
                  <a:pt x="147" y="146"/>
                </a:lnTo>
                <a:lnTo>
                  <a:pt x="128" y="151"/>
                </a:lnTo>
                <a:lnTo>
                  <a:pt x="112" y="155"/>
                </a:lnTo>
                <a:lnTo>
                  <a:pt x="101" y="155"/>
                </a:lnTo>
                <a:lnTo>
                  <a:pt x="95" y="153"/>
                </a:lnTo>
                <a:lnTo>
                  <a:pt x="95" y="153"/>
                </a:lnTo>
                <a:lnTo>
                  <a:pt x="84" y="144"/>
                </a:lnTo>
                <a:lnTo>
                  <a:pt x="79" y="137"/>
                </a:lnTo>
                <a:lnTo>
                  <a:pt x="73" y="129"/>
                </a:lnTo>
                <a:lnTo>
                  <a:pt x="72" y="126"/>
                </a:lnTo>
                <a:lnTo>
                  <a:pt x="68" y="126"/>
                </a:lnTo>
                <a:lnTo>
                  <a:pt x="68" y="126"/>
                </a:lnTo>
                <a:lnTo>
                  <a:pt x="64" y="126"/>
                </a:lnTo>
                <a:lnTo>
                  <a:pt x="61" y="127"/>
                </a:lnTo>
                <a:lnTo>
                  <a:pt x="61" y="127"/>
                </a:lnTo>
                <a:lnTo>
                  <a:pt x="50" y="126"/>
                </a:lnTo>
                <a:lnTo>
                  <a:pt x="41" y="127"/>
                </a:lnTo>
                <a:lnTo>
                  <a:pt x="33" y="131"/>
                </a:lnTo>
                <a:lnTo>
                  <a:pt x="30" y="133"/>
                </a:lnTo>
                <a:lnTo>
                  <a:pt x="28" y="137"/>
                </a:lnTo>
                <a:lnTo>
                  <a:pt x="28" y="137"/>
                </a:lnTo>
                <a:lnTo>
                  <a:pt x="41" y="137"/>
                </a:lnTo>
                <a:lnTo>
                  <a:pt x="48" y="138"/>
                </a:lnTo>
                <a:lnTo>
                  <a:pt x="48" y="140"/>
                </a:lnTo>
                <a:lnTo>
                  <a:pt x="46" y="142"/>
                </a:lnTo>
                <a:lnTo>
                  <a:pt x="46" y="142"/>
                </a:lnTo>
                <a:lnTo>
                  <a:pt x="42" y="146"/>
                </a:lnTo>
                <a:lnTo>
                  <a:pt x="44" y="149"/>
                </a:lnTo>
                <a:lnTo>
                  <a:pt x="46" y="153"/>
                </a:lnTo>
                <a:lnTo>
                  <a:pt x="52" y="157"/>
                </a:lnTo>
                <a:lnTo>
                  <a:pt x="75" y="169"/>
                </a:lnTo>
                <a:lnTo>
                  <a:pt x="75" y="169"/>
                </a:lnTo>
                <a:lnTo>
                  <a:pt x="75" y="169"/>
                </a:lnTo>
                <a:lnTo>
                  <a:pt x="75" y="171"/>
                </a:lnTo>
                <a:lnTo>
                  <a:pt x="75" y="171"/>
                </a:lnTo>
                <a:lnTo>
                  <a:pt x="75" y="171"/>
                </a:lnTo>
                <a:lnTo>
                  <a:pt x="68" y="171"/>
                </a:lnTo>
                <a:lnTo>
                  <a:pt x="59" y="168"/>
                </a:lnTo>
                <a:lnTo>
                  <a:pt x="39" y="160"/>
                </a:lnTo>
                <a:lnTo>
                  <a:pt x="39" y="160"/>
                </a:lnTo>
                <a:lnTo>
                  <a:pt x="35" y="160"/>
                </a:lnTo>
                <a:lnTo>
                  <a:pt x="31" y="160"/>
                </a:lnTo>
                <a:lnTo>
                  <a:pt x="28" y="164"/>
                </a:lnTo>
                <a:lnTo>
                  <a:pt x="28" y="164"/>
                </a:lnTo>
                <a:lnTo>
                  <a:pt x="24" y="164"/>
                </a:lnTo>
                <a:lnTo>
                  <a:pt x="19" y="164"/>
                </a:lnTo>
                <a:lnTo>
                  <a:pt x="11" y="168"/>
                </a:lnTo>
                <a:lnTo>
                  <a:pt x="8" y="171"/>
                </a:lnTo>
                <a:lnTo>
                  <a:pt x="2" y="175"/>
                </a:lnTo>
                <a:lnTo>
                  <a:pt x="0" y="180"/>
                </a:lnTo>
                <a:lnTo>
                  <a:pt x="0" y="186"/>
                </a:lnTo>
                <a:lnTo>
                  <a:pt x="2" y="193"/>
                </a:lnTo>
                <a:lnTo>
                  <a:pt x="2" y="193"/>
                </a:lnTo>
                <a:lnTo>
                  <a:pt x="8" y="186"/>
                </a:lnTo>
                <a:lnTo>
                  <a:pt x="13" y="180"/>
                </a:lnTo>
                <a:lnTo>
                  <a:pt x="17" y="180"/>
                </a:lnTo>
                <a:lnTo>
                  <a:pt x="20" y="180"/>
                </a:lnTo>
                <a:lnTo>
                  <a:pt x="20" y="180"/>
                </a:lnTo>
                <a:lnTo>
                  <a:pt x="22" y="182"/>
                </a:lnTo>
                <a:lnTo>
                  <a:pt x="22" y="188"/>
                </a:lnTo>
                <a:lnTo>
                  <a:pt x="22" y="191"/>
                </a:lnTo>
                <a:lnTo>
                  <a:pt x="24" y="195"/>
                </a:lnTo>
                <a:lnTo>
                  <a:pt x="26" y="197"/>
                </a:lnTo>
                <a:lnTo>
                  <a:pt x="26" y="197"/>
                </a:lnTo>
                <a:lnTo>
                  <a:pt x="30" y="199"/>
                </a:lnTo>
                <a:lnTo>
                  <a:pt x="37" y="199"/>
                </a:lnTo>
                <a:lnTo>
                  <a:pt x="52" y="197"/>
                </a:lnTo>
                <a:lnTo>
                  <a:pt x="66" y="195"/>
                </a:lnTo>
                <a:lnTo>
                  <a:pt x="73" y="195"/>
                </a:lnTo>
                <a:lnTo>
                  <a:pt x="75" y="195"/>
                </a:lnTo>
                <a:lnTo>
                  <a:pt x="75" y="195"/>
                </a:lnTo>
                <a:lnTo>
                  <a:pt x="75" y="197"/>
                </a:lnTo>
                <a:lnTo>
                  <a:pt x="72" y="199"/>
                </a:lnTo>
                <a:lnTo>
                  <a:pt x="59" y="200"/>
                </a:lnTo>
                <a:lnTo>
                  <a:pt x="44" y="202"/>
                </a:lnTo>
                <a:lnTo>
                  <a:pt x="39" y="206"/>
                </a:lnTo>
                <a:lnTo>
                  <a:pt x="37" y="208"/>
                </a:lnTo>
                <a:lnTo>
                  <a:pt x="37" y="208"/>
                </a:lnTo>
                <a:lnTo>
                  <a:pt x="37" y="213"/>
                </a:lnTo>
                <a:lnTo>
                  <a:pt x="37" y="213"/>
                </a:lnTo>
                <a:lnTo>
                  <a:pt x="37" y="215"/>
                </a:lnTo>
                <a:lnTo>
                  <a:pt x="33" y="219"/>
                </a:lnTo>
                <a:lnTo>
                  <a:pt x="30" y="226"/>
                </a:lnTo>
                <a:lnTo>
                  <a:pt x="28" y="233"/>
                </a:lnTo>
                <a:lnTo>
                  <a:pt x="28" y="233"/>
                </a:lnTo>
                <a:lnTo>
                  <a:pt x="28" y="237"/>
                </a:lnTo>
                <a:lnTo>
                  <a:pt x="30" y="243"/>
                </a:lnTo>
                <a:lnTo>
                  <a:pt x="35" y="248"/>
                </a:lnTo>
                <a:lnTo>
                  <a:pt x="41" y="253"/>
                </a:lnTo>
                <a:lnTo>
                  <a:pt x="41" y="253"/>
                </a:lnTo>
                <a:lnTo>
                  <a:pt x="42" y="252"/>
                </a:lnTo>
                <a:lnTo>
                  <a:pt x="41" y="244"/>
                </a:lnTo>
                <a:lnTo>
                  <a:pt x="41" y="239"/>
                </a:lnTo>
                <a:lnTo>
                  <a:pt x="42" y="237"/>
                </a:lnTo>
                <a:lnTo>
                  <a:pt x="42" y="235"/>
                </a:lnTo>
                <a:lnTo>
                  <a:pt x="42" y="235"/>
                </a:lnTo>
                <a:lnTo>
                  <a:pt x="46" y="235"/>
                </a:lnTo>
                <a:lnTo>
                  <a:pt x="48" y="237"/>
                </a:lnTo>
                <a:lnTo>
                  <a:pt x="52" y="241"/>
                </a:lnTo>
                <a:lnTo>
                  <a:pt x="55" y="243"/>
                </a:lnTo>
                <a:lnTo>
                  <a:pt x="55" y="243"/>
                </a:lnTo>
                <a:lnTo>
                  <a:pt x="59" y="241"/>
                </a:lnTo>
                <a:lnTo>
                  <a:pt x="62" y="239"/>
                </a:lnTo>
                <a:lnTo>
                  <a:pt x="72" y="232"/>
                </a:lnTo>
                <a:lnTo>
                  <a:pt x="81" y="222"/>
                </a:lnTo>
                <a:lnTo>
                  <a:pt x="86" y="217"/>
                </a:lnTo>
                <a:lnTo>
                  <a:pt x="94" y="213"/>
                </a:lnTo>
                <a:lnTo>
                  <a:pt x="94" y="213"/>
                </a:lnTo>
                <a:lnTo>
                  <a:pt x="103" y="210"/>
                </a:lnTo>
                <a:lnTo>
                  <a:pt x="106" y="208"/>
                </a:lnTo>
                <a:lnTo>
                  <a:pt x="108" y="210"/>
                </a:lnTo>
                <a:lnTo>
                  <a:pt x="108" y="211"/>
                </a:lnTo>
                <a:lnTo>
                  <a:pt x="108" y="217"/>
                </a:lnTo>
                <a:lnTo>
                  <a:pt x="108" y="221"/>
                </a:lnTo>
                <a:lnTo>
                  <a:pt x="110" y="222"/>
                </a:lnTo>
                <a:lnTo>
                  <a:pt x="110" y="222"/>
                </a:lnTo>
                <a:lnTo>
                  <a:pt x="115" y="224"/>
                </a:lnTo>
                <a:lnTo>
                  <a:pt x="117" y="226"/>
                </a:lnTo>
                <a:lnTo>
                  <a:pt x="117" y="230"/>
                </a:lnTo>
                <a:lnTo>
                  <a:pt x="115" y="233"/>
                </a:lnTo>
                <a:lnTo>
                  <a:pt x="112" y="239"/>
                </a:lnTo>
                <a:lnTo>
                  <a:pt x="108" y="243"/>
                </a:lnTo>
                <a:lnTo>
                  <a:pt x="108" y="243"/>
                </a:lnTo>
                <a:lnTo>
                  <a:pt x="114" y="243"/>
                </a:lnTo>
                <a:lnTo>
                  <a:pt x="121" y="241"/>
                </a:lnTo>
                <a:lnTo>
                  <a:pt x="128" y="233"/>
                </a:lnTo>
                <a:lnTo>
                  <a:pt x="132" y="230"/>
                </a:lnTo>
                <a:lnTo>
                  <a:pt x="136" y="224"/>
                </a:lnTo>
                <a:lnTo>
                  <a:pt x="136" y="224"/>
                </a:lnTo>
                <a:lnTo>
                  <a:pt x="136" y="221"/>
                </a:lnTo>
                <a:lnTo>
                  <a:pt x="137" y="221"/>
                </a:lnTo>
                <a:lnTo>
                  <a:pt x="141" y="219"/>
                </a:lnTo>
                <a:lnTo>
                  <a:pt x="143" y="217"/>
                </a:lnTo>
                <a:lnTo>
                  <a:pt x="143" y="217"/>
                </a:lnTo>
                <a:lnTo>
                  <a:pt x="145" y="215"/>
                </a:lnTo>
                <a:lnTo>
                  <a:pt x="145" y="211"/>
                </a:lnTo>
                <a:lnTo>
                  <a:pt x="145" y="208"/>
                </a:lnTo>
                <a:lnTo>
                  <a:pt x="145" y="204"/>
                </a:lnTo>
                <a:lnTo>
                  <a:pt x="145" y="204"/>
                </a:lnTo>
                <a:lnTo>
                  <a:pt x="147" y="200"/>
                </a:lnTo>
                <a:lnTo>
                  <a:pt x="150" y="199"/>
                </a:lnTo>
                <a:lnTo>
                  <a:pt x="157" y="197"/>
                </a:lnTo>
                <a:lnTo>
                  <a:pt x="165" y="195"/>
                </a:lnTo>
                <a:lnTo>
                  <a:pt x="167" y="193"/>
                </a:lnTo>
                <a:lnTo>
                  <a:pt x="167" y="191"/>
                </a:lnTo>
                <a:lnTo>
                  <a:pt x="167" y="191"/>
                </a:lnTo>
                <a:lnTo>
                  <a:pt x="167" y="186"/>
                </a:lnTo>
                <a:lnTo>
                  <a:pt x="170" y="180"/>
                </a:lnTo>
                <a:lnTo>
                  <a:pt x="176" y="179"/>
                </a:lnTo>
                <a:lnTo>
                  <a:pt x="179" y="177"/>
                </a:lnTo>
                <a:lnTo>
                  <a:pt x="179" y="177"/>
                </a:lnTo>
                <a:lnTo>
                  <a:pt x="181" y="179"/>
                </a:lnTo>
                <a:lnTo>
                  <a:pt x="183" y="184"/>
                </a:lnTo>
                <a:lnTo>
                  <a:pt x="189" y="190"/>
                </a:lnTo>
                <a:lnTo>
                  <a:pt x="194" y="193"/>
                </a:lnTo>
                <a:lnTo>
                  <a:pt x="199" y="197"/>
                </a:lnTo>
                <a:lnTo>
                  <a:pt x="199" y="197"/>
                </a:lnTo>
                <a:lnTo>
                  <a:pt x="221" y="186"/>
                </a:lnTo>
                <a:lnTo>
                  <a:pt x="221" y="186"/>
                </a:lnTo>
                <a:lnTo>
                  <a:pt x="231" y="182"/>
                </a:lnTo>
                <a:lnTo>
                  <a:pt x="234" y="179"/>
                </a:lnTo>
                <a:lnTo>
                  <a:pt x="234" y="179"/>
                </a:lnTo>
                <a:lnTo>
                  <a:pt x="231" y="173"/>
                </a:lnTo>
                <a:lnTo>
                  <a:pt x="227" y="169"/>
                </a:lnTo>
                <a:lnTo>
                  <a:pt x="225" y="164"/>
                </a:lnTo>
                <a:lnTo>
                  <a:pt x="225" y="164"/>
                </a:lnTo>
                <a:lnTo>
                  <a:pt x="223" y="158"/>
                </a:lnTo>
                <a:lnTo>
                  <a:pt x="223" y="155"/>
                </a:lnTo>
                <a:lnTo>
                  <a:pt x="223" y="155"/>
                </a:lnTo>
                <a:lnTo>
                  <a:pt x="229" y="162"/>
                </a:lnTo>
                <a:lnTo>
                  <a:pt x="236" y="168"/>
                </a:lnTo>
                <a:lnTo>
                  <a:pt x="245" y="173"/>
                </a:lnTo>
                <a:lnTo>
                  <a:pt x="245" y="173"/>
                </a:lnTo>
                <a:lnTo>
                  <a:pt x="271" y="157"/>
                </a:lnTo>
                <a:lnTo>
                  <a:pt x="271" y="157"/>
                </a:lnTo>
                <a:lnTo>
                  <a:pt x="276" y="155"/>
                </a:lnTo>
                <a:lnTo>
                  <a:pt x="276" y="155"/>
                </a:lnTo>
                <a:lnTo>
                  <a:pt x="276" y="155"/>
                </a:lnTo>
                <a:lnTo>
                  <a:pt x="276" y="155"/>
                </a:lnTo>
                <a:lnTo>
                  <a:pt x="273" y="149"/>
                </a:lnTo>
                <a:lnTo>
                  <a:pt x="267" y="144"/>
                </a:lnTo>
                <a:lnTo>
                  <a:pt x="262" y="137"/>
                </a:lnTo>
                <a:lnTo>
                  <a:pt x="262" y="133"/>
                </a:lnTo>
                <a:lnTo>
                  <a:pt x="263" y="131"/>
                </a:lnTo>
                <a:lnTo>
                  <a:pt x="263" y="131"/>
                </a:lnTo>
                <a:lnTo>
                  <a:pt x="265" y="129"/>
                </a:lnTo>
                <a:lnTo>
                  <a:pt x="265" y="126"/>
                </a:lnTo>
                <a:lnTo>
                  <a:pt x="262" y="115"/>
                </a:lnTo>
                <a:lnTo>
                  <a:pt x="258" y="105"/>
                </a:lnTo>
                <a:lnTo>
                  <a:pt x="258" y="100"/>
                </a:lnTo>
                <a:lnTo>
                  <a:pt x="262" y="98"/>
                </a:lnTo>
                <a:lnTo>
                  <a:pt x="262" y="98"/>
                </a:lnTo>
                <a:lnTo>
                  <a:pt x="313" y="73"/>
                </a:lnTo>
                <a:lnTo>
                  <a:pt x="357" y="51"/>
                </a:lnTo>
                <a:lnTo>
                  <a:pt x="357" y="51"/>
                </a:lnTo>
                <a:lnTo>
                  <a:pt x="353" y="45"/>
                </a:lnTo>
                <a:lnTo>
                  <a:pt x="349" y="38"/>
                </a:lnTo>
                <a:lnTo>
                  <a:pt x="344" y="3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88" name="Freeform 39"/>
          <p:cNvSpPr>
            <a:spLocks/>
          </p:cNvSpPr>
          <p:nvPr userDrawn="1"/>
        </p:nvSpPr>
        <p:spPr bwMode="auto">
          <a:xfrm>
            <a:off x="8229600" y="-437728"/>
            <a:ext cx="120650" cy="115888"/>
          </a:xfrm>
          <a:custGeom>
            <a:avLst/>
            <a:gdLst>
              <a:gd name="T0" fmla="*/ 0 w 152"/>
              <a:gd name="T1" fmla="*/ 42 h 144"/>
              <a:gd name="T2" fmla="*/ 2 w 152"/>
              <a:gd name="T3" fmla="*/ 51 h 144"/>
              <a:gd name="T4" fmla="*/ 4 w 152"/>
              <a:gd name="T5" fmla="*/ 57 h 144"/>
              <a:gd name="T6" fmla="*/ 15 w 152"/>
              <a:gd name="T7" fmla="*/ 60 h 144"/>
              <a:gd name="T8" fmla="*/ 18 w 152"/>
              <a:gd name="T9" fmla="*/ 58 h 144"/>
              <a:gd name="T10" fmla="*/ 20 w 152"/>
              <a:gd name="T11" fmla="*/ 51 h 144"/>
              <a:gd name="T12" fmla="*/ 22 w 152"/>
              <a:gd name="T13" fmla="*/ 44 h 144"/>
              <a:gd name="T14" fmla="*/ 24 w 152"/>
              <a:gd name="T15" fmla="*/ 42 h 144"/>
              <a:gd name="T16" fmla="*/ 26 w 152"/>
              <a:gd name="T17" fmla="*/ 42 h 144"/>
              <a:gd name="T18" fmla="*/ 28 w 152"/>
              <a:gd name="T19" fmla="*/ 40 h 144"/>
              <a:gd name="T20" fmla="*/ 68 w 152"/>
              <a:gd name="T21" fmla="*/ 60 h 144"/>
              <a:gd name="T22" fmla="*/ 106 w 152"/>
              <a:gd name="T23" fmla="*/ 86 h 144"/>
              <a:gd name="T24" fmla="*/ 112 w 152"/>
              <a:gd name="T25" fmla="*/ 89 h 144"/>
              <a:gd name="T26" fmla="*/ 106 w 152"/>
              <a:gd name="T27" fmla="*/ 100 h 144"/>
              <a:gd name="T28" fmla="*/ 95 w 152"/>
              <a:gd name="T29" fmla="*/ 128 h 144"/>
              <a:gd name="T30" fmla="*/ 93 w 152"/>
              <a:gd name="T31" fmla="*/ 135 h 144"/>
              <a:gd name="T32" fmla="*/ 97 w 152"/>
              <a:gd name="T33" fmla="*/ 142 h 144"/>
              <a:gd name="T34" fmla="*/ 104 w 152"/>
              <a:gd name="T35" fmla="*/ 144 h 144"/>
              <a:gd name="T36" fmla="*/ 110 w 152"/>
              <a:gd name="T37" fmla="*/ 144 h 144"/>
              <a:gd name="T38" fmla="*/ 117 w 152"/>
              <a:gd name="T39" fmla="*/ 139 h 144"/>
              <a:gd name="T40" fmla="*/ 119 w 152"/>
              <a:gd name="T41" fmla="*/ 135 h 144"/>
              <a:gd name="T42" fmla="*/ 119 w 152"/>
              <a:gd name="T43" fmla="*/ 130 h 144"/>
              <a:gd name="T44" fmla="*/ 112 w 152"/>
              <a:gd name="T45" fmla="*/ 122 h 144"/>
              <a:gd name="T46" fmla="*/ 110 w 152"/>
              <a:gd name="T47" fmla="*/ 122 h 144"/>
              <a:gd name="T48" fmla="*/ 115 w 152"/>
              <a:gd name="T49" fmla="*/ 110 h 144"/>
              <a:gd name="T50" fmla="*/ 123 w 152"/>
              <a:gd name="T51" fmla="*/ 93 h 144"/>
              <a:gd name="T52" fmla="*/ 132 w 152"/>
              <a:gd name="T53" fmla="*/ 86 h 144"/>
              <a:gd name="T54" fmla="*/ 141 w 152"/>
              <a:gd name="T55" fmla="*/ 84 h 144"/>
              <a:gd name="T56" fmla="*/ 139 w 152"/>
              <a:gd name="T57" fmla="*/ 80 h 144"/>
              <a:gd name="T58" fmla="*/ 135 w 152"/>
              <a:gd name="T59" fmla="*/ 69 h 144"/>
              <a:gd name="T60" fmla="*/ 137 w 152"/>
              <a:gd name="T61" fmla="*/ 57 h 144"/>
              <a:gd name="T62" fmla="*/ 141 w 152"/>
              <a:gd name="T63" fmla="*/ 49 h 144"/>
              <a:gd name="T64" fmla="*/ 152 w 152"/>
              <a:gd name="T65" fmla="*/ 18 h 144"/>
              <a:gd name="T66" fmla="*/ 152 w 152"/>
              <a:gd name="T67" fmla="*/ 13 h 144"/>
              <a:gd name="T68" fmla="*/ 146 w 152"/>
              <a:gd name="T69" fmla="*/ 5 h 144"/>
              <a:gd name="T70" fmla="*/ 141 w 152"/>
              <a:gd name="T71" fmla="*/ 4 h 144"/>
              <a:gd name="T72" fmla="*/ 132 w 152"/>
              <a:gd name="T73" fmla="*/ 7 h 144"/>
              <a:gd name="T74" fmla="*/ 128 w 152"/>
              <a:gd name="T75" fmla="*/ 15 h 144"/>
              <a:gd name="T76" fmla="*/ 128 w 152"/>
              <a:gd name="T77" fmla="*/ 20 h 144"/>
              <a:gd name="T78" fmla="*/ 134 w 152"/>
              <a:gd name="T79" fmla="*/ 27 h 144"/>
              <a:gd name="T80" fmla="*/ 137 w 152"/>
              <a:gd name="T81" fmla="*/ 29 h 144"/>
              <a:gd name="T82" fmla="*/ 132 w 152"/>
              <a:gd name="T83" fmla="*/ 46 h 144"/>
              <a:gd name="T84" fmla="*/ 124 w 152"/>
              <a:gd name="T85" fmla="*/ 55 h 144"/>
              <a:gd name="T86" fmla="*/ 117 w 152"/>
              <a:gd name="T87" fmla="*/ 51 h 144"/>
              <a:gd name="T88" fmla="*/ 60 w 152"/>
              <a:gd name="T89" fmla="*/ 24 h 144"/>
              <a:gd name="T90" fmla="*/ 40 w 152"/>
              <a:gd name="T91" fmla="*/ 18 h 144"/>
              <a:gd name="T92" fmla="*/ 42 w 152"/>
              <a:gd name="T93" fmla="*/ 13 h 144"/>
              <a:gd name="T94" fmla="*/ 50 w 152"/>
              <a:gd name="T95" fmla="*/ 0 h 144"/>
              <a:gd name="T96" fmla="*/ 46 w 152"/>
              <a:gd name="T97" fmla="*/ 2 h 144"/>
              <a:gd name="T98" fmla="*/ 39 w 152"/>
              <a:gd name="T99" fmla="*/ 5 h 144"/>
              <a:gd name="T100" fmla="*/ 24 w 152"/>
              <a:gd name="T101" fmla="*/ 11 h 144"/>
              <a:gd name="T102" fmla="*/ 18 w 152"/>
              <a:gd name="T103" fmla="*/ 11 h 144"/>
              <a:gd name="T104" fmla="*/ 15 w 152"/>
              <a:gd name="T105" fmla="*/ 11 h 144"/>
              <a:gd name="T106" fmla="*/ 9 w 152"/>
              <a:gd name="T107" fmla="*/ 22 h 144"/>
              <a:gd name="T108" fmla="*/ 6 w 152"/>
              <a:gd name="T109" fmla="*/ 33 h 144"/>
              <a:gd name="T110" fmla="*/ 2 w 152"/>
              <a:gd name="T111" fmla="*/ 3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2" h="144">
                <a:moveTo>
                  <a:pt x="0" y="42"/>
                </a:moveTo>
                <a:lnTo>
                  <a:pt x="0" y="42"/>
                </a:lnTo>
                <a:lnTo>
                  <a:pt x="0" y="47"/>
                </a:lnTo>
                <a:lnTo>
                  <a:pt x="2" y="51"/>
                </a:lnTo>
                <a:lnTo>
                  <a:pt x="4" y="57"/>
                </a:lnTo>
                <a:lnTo>
                  <a:pt x="4" y="57"/>
                </a:lnTo>
                <a:lnTo>
                  <a:pt x="11" y="58"/>
                </a:lnTo>
                <a:lnTo>
                  <a:pt x="15" y="60"/>
                </a:lnTo>
                <a:lnTo>
                  <a:pt x="18" y="58"/>
                </a:lnTo>
                <a:lnTo>
                  <a:pt x="18" y="58"/>
                </a:lnTo>
                <a:lnTo>
                  <a:pt x="20" y="55"/>
                </a:lnTo>
                <a:lnTo>
                  <a:pt x="20" y="51"/>
                </a:lnTo>
                <a:lnTo>
                  <a:pt x="20" y="47"/>
                </a:lnTo>
                <a:lnTo>
                  <a:pt x="22" y="44"/>
                </a:lnTo>
                <a:lnTo>
                  <a:pt x="22" y="44"/>
                </a:lnTo>
                <a:lnTo>
                  <a:pt x="24" y="42"/>
                </a:lnTo>
                <a:lnTo>
                  <a:pt x="26" y="42"/>
                </a:lnTo>
                <a:lnTo>
                  <a:pt x="26" y="42"/>
                </a:lnTo>
                <a:lnTo>
                  <a:pt x="28" y="40"/>
                </a:lnTo>
                <a:lnTo>
                  <a:pt x="28" y="40"/>
                </a:lnTo>
                <a:lnTo>
                  <a:pt x="48" y="49"/>
                </a:lnTo>
                <a:lnTo>
                  <a:pt x="68" y="60"/>
                </a:lnTo>
                <a:lnTo>
                  <a:pt x="106" y="86"/>
                </a:lnTo>
                <a:lnTo>
                  <a:pt x="106" y="86"/>
                </a:lnTo>
                <a:lnTo>
                  <a:pt x="112" y="89"/>
                </a:lnTo>
                <a:lnTo>
                  <a:pt x="112" y="89"/>
                </a:lnTo>
                <a:lnTo>
                  <a:pt x="106" y="100"/>
                </a:lnTo>
                <a:lnTo>
                  <a:pt x="106" y="100"/>
                </a:lnTo>
                <a:lnTo>
                  <a:pt x="97" y="119"/>
                </a:lnTo>
                <a:lnTo>
                  <a:pt x="95" y="128"/>
                </a:lnTo>
                <a:lnTo>
                  <a:pt x="93" y="135"/>
                </a:lnTo>
                <a:lnTo>
                  <a:pt x="93" y="135"/>
                </a:lnTo>
                <a:lnTo>
                  <a:pt x="95" y="139"/>
                </a:lnTo>
                <a:lnTo>
                  <a:pt x="97" y="142"/>
                </a:lnTo>
                <a:lnTo>
                  <a:pt x="101" y="144"/>
                </a:lnTo>
                <a:lnTo>
                  <a:pt x="104" y="144"/>
                </a:lnTo>
                <a:lnTo>
                  <a:pt x="104" y="144"/>
                </a:lnTo>
                <a:lnTo>
                  <a:pt x="110" y="144"/>
                </a:lnTo>
                <a:lnTo>
                  <a:pt x="113" y="142"/>
                </a:lnTo>
                <a:lnTo>
                  <a:pt x="117" y="139"/>
                </a:lnTo>
                <a:lnTo>
                  <a:pt x="119" y="135"/>
                </a:lnTo>
                <a:lnTo>
                  <a:pt x="119" y="135"/>
                </a:lnTo>
                <a:lnTo>
                  <a:pt x="119" y="131"/>
                </a:lnTo>
                <a:lnTo>
                  <a:pt x="119" y="130"/>
                </a:lnTo>
                <a:lnTo>
                  <a:pt x="115" y="124"/>
                </a:lnTo>
                <a:lnTo>
                  <a:pt x="112" y="122"/>
                </a:lnTo>
                <a:lnTo>
                  <a:pt x="110" y="122"/>
                </a:lnTo>
                <a:lnTo>
                  <a:pt x="110" y="122"/>
                </a:lnTo>
                <a:lnTo>
                  <a:pt x="115" y="110"/>
                </a:lnTo>
                <a:lnTo>
                  <a:pt x="115" y="110"/>
                </a:lnTo>
                <a:lnTo>
                  <a:pt x="119" y="100"/>
                </a:lnTo>
                <a:lnTo>
                  <a:pt x="123" y="93"/>
                </a:lnTo>
                <a:lnTo>
                  <a:pt x="128" y="89"/>
                </a:lnTo>
                <a:lnTo>
                  <a:pt x="132" y="86"/>
                </a:lnTo>
                <a:lnTo>
                  <a:pt x="137" y="84"/>
                </a:lnTo>
                <a:lnTo>
                  <a:pt x="141" y="84"/>
                </a:lnTo>
                <a:lnTo>
                  <a:pt x="141" y="84"/>
                </a:lnTo>
                <a:lnTo>
                  <a:pt x="139" y="80"/>
                </a:lnTo>
                <a:lnTo>
                  <a:pt x="135" y="75"/>
                </a:lnTo>
                <a:lnTo>
                  <a:pt x="135" y="69"/>
                </a:lnTo>
                <a:lnTo>
                  <a:pt x="135" y="64"/>
                </a:lnTo>
                <a:lnTo>
                  <a:pt x="137" y="57"/>
                </a:lnTo>
                <a:lnTo>
                  <a:pt x="141" y="49"/>
                </a:lnTo>
                <a:lnTo>
                  <a:pt x="141" y="49"/>
                </a:lnTo>
                <a:lnTo>
                  <a:pt x="148" y="31"/>
                </a:lnTo>
                <a:lnTo>
                  <a:pt x="152" y="18"/>
                </a:lnTo>
                <a:lnTo>
                  <a:pt x="152" y="18"/>
                </a:lnTo>
                <a:lnTo>
                  <a:pt x="152" y="13"/>
                </a:lnTo>
                <a:lnTo>
                  <a:pt x="150" y="9"/>
                </a:lnTo>
                <a:lnTo>
                  <a:pt x="146" y="5"/>
                </a:lnTo>
                <a:lnTo>
                  <a:pt x="141" y="4"/>
                </a:lnTo>
                <a:lnTo>
                  <a:pt x="141" y="4"/>
                </a:lnTo>
                <a:lnTo>
                  <a:pt x="137" y="5"/>
                </a:lnTo>
                <a:lnTo>
                  <a:pt x="132" y="7"/>
                </a:lnTo>
                <a:lnTo>
                  <a:pt x="130" y="11"/>
                </a:lnTo>
                <a:lnTo>
                  <a:pt x="128" y="15"/>
                </a:lnTo>
                <a:lnTo>
                  <a:pt x="128" y="15"/>
                </a:lnTo>
                <a:lnTo>
                  <a:pt x="128" y="20"/>
                </a:lnTo>
                <a:lnTo>
                  <a:pt x="130" y="24"/>
                </a:lnTo>
                <a:lnTo>
                  <a:pt x="134" y="27"/>
                </a:lnTo>
                <a:lnTo>
                  <a:pt x="137" y="29"/>
                </a:lnTo>
                <a:lnTo>
                  <a:pt x="137" y="29"/>
                </a:lnTo>
                <a:lnTo>
                  <a:pt x="137" y="29"/>
                </a:lnTo>
                <a:lnTo>
                  <a:pt x="132" y="46"/>
                </a:lnTo>
                <a:lnTo>
                  <a:pt x="124" y="55"/>
                </a:lnTo>
                <a:lnTo>
                  <a:pt x="124" y="55"/>
                </a:lnTo>
                <a:lnTo>
                  <a:pt x="117" y="51"/>
                </a:lnTo>
                <a:lnTo>
                  <a:pt x="117" y="51"/>
                </a:lnTo>
                <a:lnTo>
                  <a:pt x="81" y="31"/>
                </a:lnTo>
                <a:lnTo>
                  <a:pt x="60" y="24"/>
                </a:lnTo>
                <a:lnTo>
                  <a:pt x="40" y="18"/>
                </a:lnTo>
                <a:lnTo>
                  <a:pt x="40" y="18"/>
                </a:lnTo>
                <a:lnTo>
                  <a:pt x="42" y="13"/>
                </a:lnTo>
                <a:lnTo>
                  <a:pt x="42" y="13"/>
                </a:lnTo>
                <a:lnTo>
                  <a:pt x="48" y="4"/>
                </a:lnTo>
                <a:lnTo>
                  <a:pt x="50" y="0"/>
                </a:lnTo>
                <a:lnTo>
                  <a:pt x="50" y="0"/>
                </a:lnTo>
                <a:lnTo>
                  <a:pt x="46" y="2"/>
                </a:lnTo>
                <a:lnTo>
                  <a:pt x="39" y="5"/>
                </a:lnTo>
                <a:lnTo>
                  <a:pt x="39" y="5"/>
                </a:lnTo>
                <a:lnTo>
                  <a:pt x="29" y="9"/>
                </a:lnTo>
                <a:lnTo>
                  <a:pt x="24" y="11"/>
                </a:lnTo>
                <a:lnTo>
                  <a:pt x="24" y="11"/>
                </a:lnTo>
                <a:lnTo>
                  <a:pt x="18" y="11"/>
                </a:lnTo>
                <a:lnTo>
                  <a:pt x="15" y="11"/>
                </a:lnTo>
                <a:lnTo>
                  <a:pt x="15" y="11"/>
                </a:lnTo>
                <a:lnTo>
                  <a:pt x="13" y="13"/>
                </a:lnTo>
                <a:lnTo>
                  <a:pt x="9" y="22"/>
                </a:lnTo>
                <a:lnTo>
                  <a:pt x="9" y="22"/>
                </a:lnTo>
                <a:lnTo>
                  <a:pt x="6" y="33"/>
                </a:lnTo>
                <a:lnTo>
                  <a:pt x="6" y="33"/>
                </a:lnTo>
                <a:lnTo>
                  <a:pt x="2" y="38"/>
                </a:lnTo>
                <a:lnTo>
                  <a:pt x="0" y="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89" name="Freeform 40"/>
          <p:cNvSpPr>
            <a:spLocks/>
          </p:cNvSpPr>
          <p:nvPr userDrawn="1"/>
        </p:nvSpPr>
        <p:spPr bwMode="auto">
          <a:xfrm>
            <a:off x="8226425" y="-921915"/>
            <a:ext cx="30163" cy="34925"/>
          </a:xfrm>
          <a:custGeom>
            <a:avLst/>
            <a:gdLst>
              <a:gd name="T0" fmla="*/ 12 w 36"/>
              <a:gd name="T1" fmla="*/ 44 h 44"/>
              <a:gd name="T2" fmla="*/ 12 w 36"/>
              <a:gd name="T3" fmla="*/ 44 h 44"/>
              <a:gd name="T4" fmla="*/ 27 w 36"/>
              <a:gd name="T5" fmla="*/ 42 h 44"/>
              <a:gd name="T6" fmla="*/ 36 w 36"/>
              <a:gd name="T7" fmla="*/ 40 h 44"/>
              <a:gd name="T8" fmla="*/ 36 w 36"/>
              <a:gd name="T9" fmla="*/ 3 h 44"/>
              <a:gd name="T10" fmla="*/ 36 w 36"/>
              <a:gd name="T11" fmla="*/ 3 h 44"/>
              <a:gd name="T12" fmla="*/ 16 w 36"/>
              <a:gd name="T13" fmla="*/ 0 h 44"/>
              <a:gd name="T14" fmla="*/ 16 w 36"/>
              <a:gd name="T15" fmla="*/ 0 h 44"/>
              <a:gd name="T16" fmla="*/ 11 w 36"/>
              <a:gd name="T17" fmla="*/ 0 h 44"/>
              <a:gd name="T18" fmla="*/ 7 w 36"/>
              <a:gd name="T19" fmla="*/ 2 h 44"/>
              <a:gd name="T20" fmla="*/ 3 w 36"/>
              <a:gd name="T21" fmla="*/ 3 h 44"/>
              <a:gd name="T22" fmla="*/ 1 w 36"/>
              <a:gd name="T23" fmla="*/ 7 h 44"/>
              <a:gd name="T24" fmla="*/ 0 w 36"/>
              <a:gd name="T25" fmla="*/ 13 h 44"/>
              <a:gd name="T26" fmla="*/ 0 w 36"/>
              <a:gd name="T27" fmla="*/ 16 h 44"/>
              <a:gd name="T28" fmla="*/ 0 w 36"/>
              <a:gd name="T29" fmla="*/ 27 h 44"/>
              <a:gd name="T30" fmla="*/ 0 w 36"/>
              <a:gd name="T31" fmla="*/ 27 h 44"/>
              <a:gd name="T32" fmla="*/ 1 w 36"/>
              <a:gd name="T33" fmla="*/ 34 h 44"/>
              <a:gd name="T34" fmla="*/ 5 w 36"/>
              <a:gd name="T35" fmla="*/ 40 h 44"/>
              <a:gd name="T36" fmla="*/ 9 w 36"/>
              <a:gd name="T37" fmla="*/ 42 h 44"/>
              <a:gd name="T38" fmla="*/ 12 w 36"/>
              <a:gd name="T3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 h="44">
                <a:moveTo>
                  <a:pt x="12" y="44"/>
                </a:moveTo>
                <a:lnTo>
                  <a:pt x="12" y="44"/>
                </a:lnTo>
                <a:lnTo>
                  <a:pt x="27" y="42"/>
                </a:lnTo>
                <a:lnTo>
                  <a:pt x="36" y="40"/>
                </a:lnTo>
                <a:lnTo>
                  <a:pt x="36" y="3"/>
                </a:lnTo>
                <a:lnTo>
                  <a:pt x="36" y="3"/>
                </a:lnTo>
                <a:lnTo>
                  <a:pt x="16" y="0"/>
                </a:lnTo>
                <a:lnTo>
                  <a:pt x="16" y="0"/>
                </a:lnTo>
                <a:lnTo>
                  <a:pt x="11" y="0"/>
                </a:lnTo>
                <a:lnTo>
                  <a:pt x="7" y="2"/>
                </a:lnTo>
                <a:lnTo>
                  <a:pt x="3" y="3"/>
                </a:lnTo>
                <a:lnTo>
                  <a:pt x="1" y="7"/>
                </a:lnTo>
                <a:lnTo>
                  <a:pt x="0" y="13"/>
                </a:lnTo>
                <a:lnTo>
                  <a:pt x="0" y="16"/>
                </a:lnTo>
                <a:lnTo>
                  <a:pt x="0" y="27"/>
                </a:lnTo>
                <a:lnTo>
                  <a:pt x="0" y="27"/>
                </a:lnTo>
                <a:lnTo>
                  <a:pt x="1" y="34"/>
                </a:lnTo>
                <a:lnTo>
                  <a:pt x="5" y="40"/>
                </a:lnTo>
                <a:lnTo>
                  <a:pt x="9" y="42"/>
                </a:lnTo>
                <a:lnTo>
                  <a:pt x="12" y="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0" name="Freeform 41"/>
          <p:cNvSpPr>
            <a:spLocks/>
          </p:cNvSpPr>
          <p:nvPr userDrawn="1"/>
        </p:nvSpPr>
        <p:spPr bwMode="auto">
          <a:xfrm>
            <a:off x="8262938" y="-928265"/>
            <a:ext cx="44450" cy="41275"/>
          </a:xfrm>
          <a:custGeom>
            <a:avLst/>
            <a:gdLst>
              <a:gd name="T0" fmla="*/ 55 w 55"/>
              <a:gd name="T1" fmla="*/ 38 h 53"/>
              <a:gd name="T2" fmla="*/ 55 w 55"/>
              <a:gd name="T3" fmla="*/ 27 h 53"/>
              <a:gd name="T4" fmla="*/ 55 w 55"/>
              <a:gd name="T5" fmla="*/ 7 h 53"/>
              <a:gd name="T6" fmla="*/ 55 w 55"/>
              <a:gd name="T7" fmla="*/ 1 h 53"/>
              <a:gd name="T8" fmla="*/ 53 w 55"/>
              <a:gd name="T9" fmla="*/ 0 h 53"/>
              <a:gd name="T10" fmla="*/ 46 w 55"/>
              <a:gd name="T11" fmla="*/ 0 h 53"/>
              <a:gd name="T12" fmla="*/ 40 w 55"/>
              <a:gd name="T13" fmla="*/ 0 h 53"/>
              <a:gd name="T14" fmla="*/ 29 w 55"/>
              <a:gd name="T15" fmla="*/ 0 h 53"/>
              <a:gd name="T16" fmla="*/ 28 w 55"/>
              <a:gd name="T17" fmla="*/ 7 h 53"/>
              <a:gd name="T18" fmla="*/ 26 w 55"/>
              <a:gd name="T19" fmla="*/ 0 h 53"/>
              <a:gd name="T20" fmla="*/ 17 w 55"/>
              <a:gd name="T21" fmla="*/ 0 h 53"/>
              <a:gd name="T22" fmla="*/ 11 w 55"/>
              <a:gd name="T23" fmla="*/ 0 h 53"/>
              <a:gd name="T24" fmla="*/ 4 w 55"/>
              <a:gd name="T25" fmla="*/ 0 h 53"/>
              <a:gd name="T26" fmla="*/ 2 w 55"/>
              <a:gd name="T27" fmla="*/ 1 h 53"/>
              <a:gd name="T28" fmla="*/ 0 w 55"/>
              <a:gd name="T29" fmla="*/ 7 h 53"/>
              <a:gd name="T30" fmla="*/ 0 w 55"/>
              <a:gd name="T31" fmla="*/ 27 h 53"/>
              <a:gd name="T32" fmla="*/ 0 w 55"/>
              <a:gd name="T33" fmla="*/ 49 h 53"/>
              <a:gd name="T34" fmla="*/ 6 w 55"/>
              <a:gd name="T35" fmla="*/ 49 h 53"/>
              <a:gd name="T36" fmla="*/ 9 w 55"/>
              <a:gd name="T37" fmla="*/ 47 h 53"/>
              <a:gd name="T38" fmla="*/ 13 w 55"/>
              <a:gd name="T39" fmla="*/ 40 h 53"/>
              <a:gd name="T40" fmla="*/ 13 w 55"/>
              <a:gd name="T41" fmla="*/ 53 h 53"/>
              <a:gd name="T42" fmla="*/ 17 w 55"/>
              <a:gd name="T43" fmla="*/ 53 h 53"/>
              <a:gd name="T44" fmla="*/ 24 w 55"/>
              <a:gd name="T45" fmla="*/ 49 h 53"/>
              <a:gd name="T46" fmla="*/ 26 w 55"/>
              <a:gd name="T47" fmla="*/ 43 h 53"/>
              <a:gd name="T48" fmla="*/ 28 w 55"/>
              <a:gd name="T49" fmla="*/ 40 h 53"/>
              <a:gd name="T50" fmla="*/ 28 w 55"/>
              <a:gd name="T51" fmla="*/ 53 h 53"/>
              <a:gd name="T52" fmla="*/ 39 w 55"/>
              <a:gd name="T53" fmla="*/ 49 h 53"/>
              <a:gd name="T54" fmla="*/ 42 w 55"/>
              <a:gd name="T55" fmla="*/ 43 h 53"/>
              <a:gd name="T56" fmla="*/ 42 w 55"/>
              <a:gd name="T57" fmla="*/ 40 h 53"/>
              <a:gd name="T58" fmla="*/ 42 w 55"/>
              <a:gd name="T59" fmla="*/ 49 h 53"/>
              <a:gd name="T60" fmla="*/ 46 w 55"/>
              <a:gd name="T61" fmla="*/ 47 h 53"/>
              <a:gd name="T62" fmla="*/ 51 w 55"/>
              <a:gd name="T63" fmla="*/ 45 h 53"/>
              <a:gd name="T64" fmla="*/ 55 w 55"/>
              <a:gd name="T65" fmla="*/ 38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5" h="53">
                <a:moveTo>
                  <a:pt x="55" y="38"/>
                </a:moveTo>
                <a:lnTo>
                  <a:pt x="55" y="38"/>
                </a:lnTo>
                <a:lnTo>
                  <a:pt x="55" y="27"/>
                </a:lnTo>
                <a:lnTo>
                  <a:pt x="55" y="27"/>
                </a:lnTo>
                <a:lnTo>
                  <a:pt x="55" y="7"/>
                </a:lnTo>
                <a:lnTo>
                  <a:pt x="55" y="7"/>
                </a:lnTo>
                <a:lnTo>
                  <a:pt x="55" y="3"/>
                </a:lnTo>
                <a:lnTo>
                  <a:pt x="55" y="1"/>
                </a:lnTo>
                <a:lnTo>
                  <a:pt x="53" y="0"/>
                </a:lnTo>
                <a:lnTo>
                  <a:pt x="53" y="0"/>
                </a:lnTo>
                <a:lnTo>
                  <a:pt x="46" y="0"/>
                </a:lnTo>
                <a:lnTo>
                  <a:pt x="46" y="0"/>
                </a:lnTo>
                <a:lnTo>
                  <a:pt x="42" y="7"/>
                </a:lnTo>
                <a:lnTo>
                  <a:pt x="40" y="0"/>
                </a:lnTo>
                <a:lnTo>
                  <a:pt x="40" y="0"/>
                </a:lnTo>
                <a:lnTo>
                  <a:pt x="29" y="0"/>
                </a:lnTo>
                <a:lnTo>
                  <a:pt x="29" y="0"/>
                </a:lnTo>
                <a:lnTo>
                  <a:pt x="28" y="7"/>
                </a:lnTo>
                <a:lnTo>
                  <a:pt x="26" y="0"/>
                </a:lnTo>
                <a:lnTo>
                  <a:pt x="26" y="0"/>
                </a:lnTo>
                <a:lnTo>
                  <a:pt x="17" y="0"/>
                </a:lnTo>
                <a:lnTo>
                  <a:pt x="17" y="0"/>
                </a:lnTo>
                <a:lnTo>
                  <a:pt x="13" y="7"/>
                </a:lnTo>
                <a:lnTo>
                  <a:pt x="11" y="0"/>
                </a:lnTo>
                <a:lnTo>
                  <a:pt x="11" y="0"/>
                </a:lnTo>
                <a:lnTo>
                  <a:pt x="4" y="0"/>
                </a:lnTo>
                <a:lnTo>
                  <a:pt x="4" y="0"/>
                </a:lnTo>
                <a:lnTo>
                  <a:pt x="2" y="1"/>
                </a:lnTo>
                <a:lnTo>
                  <a:pt x="0" y="3"/>
                </a:lnTo>
                <a:lnTo>
                  <a:pt x="0" y="7"/>
                </a:lnTo>
                <a:lnTo>
                  <a:pt x="0" y="7"/>
                </a:lnTo>
                <a:lnTo>
                  <a:pt x="0" y="27"/>
                </a:lnTo>
                <a:lnTo>
                  <a:pt x="0" y="27"/>
                </a:lnTo>
                <a:lnTo>
                  <a:pt x="0" y="49"/>
                </a:lnTo>
                <a:lnTo>
                  <a:pt x="0" y="49"/>
                </a:lnTo>
                <a:lnTo>
                  <a:pt x="6" y="49"/>
                </a:lnTo>
                <a:lnTo>
                  <a:pt x="9" y="47"/>
                </a:lnTo>
                <a:lnTo>
                  <a:pt x="9" y="47"/>
                </a:lnTo>
                <a:lnTo>
                  <a:pt x="11" y="42"/>
                </a:lnTo>
                <a:lnTo>
                  <a:pt x="13" y="40"/>
                </a:lnTo>
                <a:lnTo>
                  <a:pt x="13" y="40"/>
                </a:lnTo>
                <a:lnTo>
                  <a:pt x="13" y="53"/>
                </a:lnTo>
                <a:lnTo>
                  <a:pt x="13" y="53"/>
                </a:lnTo>
                <a:lnTo>
                  <a:pt x="17" y="53"/>
                </a:lnTo>
                <a:lnTo>
                  <a:pt x="20" y="51"/>
                </a:lnTo>
                <a:lnTo>
                  <a:pt x="24" y="49"/>
                </a:lnTo>
                <a:lnTo>
                  <a:pt x="24" y="49"/>
                </a:lnTo>
                <a:lnTo>
                  <a:pt x="26" y="43"/>
                </a:lnTo>
                <a:lnTo>
                  <a:pt x="28" y="40"/>
                </a:lnTo>
                <a:lnTo>
                  <a:pt x="28" y="40"/>
                </a:lnTo>
                <a:lnTo>
                  <a:pt x="28" y="53"/>
                </a:lnTo>
                <a:lnTo>
                  <a:pt x="28" y="53"/>
                </a:lnTo>
                <a:lnTo>
                  <a:pt x="33" y="51"/>
                </a:lnTo>
                <a:lnTo>
                  <a:pt x="39" y="49"/>
                </a:lnTo>
                <a:lnTo>
                  <a:pt x="39" y="49"/>
                </a:lnTo>
                <a:lnTo>
                  <a:pt x="42" y="43"/>
                </a:lnTo>
                <a:lnTo>
                  <a:pt x="42" y="40"/>
                </a:lnTo>
                <a:lnTo>
                  <a:pt x="42" y="40"/>
                </a:lnTo>
                <a:lnTo>
                  <a:pt x="42" y="49"/>
                </a:lnTo>
                <a:lnTo>
                  <a:pt x="42" y="49"/>
                </a:lnTo>
                <a:lnTo>
                  <a:pt x="46" y="47"/>
                </a:lnTo>
                <a:lnTo>
                  <a:pt x="46" y="47"/>
                </a:lnTo>
                <a:lnTo>
                  <a:pt x="51" y="45"/>
                </a:lnTo>
                <a:lnTo>
                  <a:pt x="51" y="45"/>
                </a:lnTo>
                <a:lnTo>
                  <a:pt x="53" y="43"/>
                </a:lnTo>
                <a:lnTo>
                  <a:pt x="55" y="3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1" name="Freeform 42"/>
          <p:cNvSpPr>
            <a:spLocks/>
          </p:cNvSpPr>
          <p:nvPr userDrawn="1"/>
        </p:nvSpPr>
        <p:spPr bwMode="auto">
          <a:xfrm>
            <a:off x="8269288" y="-926678"/>
            <a:ext cx="53975" cy="60325"/>
          </a:xfrm>
          <a:custGeom>
            <a:avLst/>
            <a:gdLst>
              <a:gd name="T0" fmla="*/ 67 w 67"/>
              <a:gd name="T1" fmla="*/ 57 h 77"/>
              <a:gd name="T2" fmla="*/ 67 w 67"/>
              <a:gd name="T3" fmla="*/ 44 h 77"/>
              <a:gd name="T4" fmla="*/ 67 w 67"/>
              <a:gd name="T5" fmla="*/ 44 h 77"/>
              <a:gd name="T6" fmla="*/ 65 w 67"/>
              <a:gd name="T7" fmla="*/ 42 h 77"/>
              <a:gd name="T8" fmla="*/ 63 w 67"/>
              <a:gd name="T9" fmla="*/ 37 h 77"/>
              <a:gd name="T10" fmla="*/ 63 w 67"/>
              <a:gd name="T11" fmla="*/ 30 h 77"/>
              <a:gd name="T12" fmla="*/ 63 w 67"/>
              <a:gd name="T13" fmla="*/ 30 h 77"/>
              <a:gd name="T14" fmla="*/ 63 w 67"/>
              <a:gd name="T15" fmla="*/ 26 h 77"/>
              <a:gd name="T16" fmla="*/ 65 w 67"/>
              <a:gd name="T17" fmla="*/ 21 h 77"/>
              <a:gd name="T18" fmla="*/ 67 w 67"/>
              <a:gd name="T19" fmla="*/ 17 h 77"/>
              <a:gd name="T20" fmla="*/ 67 w 67"/>
              <a:gd name="T21" fmla="*/ 6 h 77"/>
              <a:gd name="T22" fmla="*/ 67 w 67"/>
              <a:gd name="T23" fmla="*/ 6 h 77"/>
              <a:gd name="T24" fmla="*/ 63 w 67"/>
              <a:gd name="T25" fmla="*/ 2 h 77"/>
              <a:gd name="T26" fmla="*/ 60 w 67"/>
              <a:gd name="T27" fmla="*/ 0 h 77"/>
              <a:gd name="T28" fmla="*/ 56 w 67"/>
              <a:gd name="T29" fmla="*/ 0 h 77"/>
              <a:gd name="T30" fmla="*/ 56 w 67"/>
              <a:gd name="T31" fmla="*/ 41 h 77"/>
              <a:gd name="T32" fmla="*/ 56 w 67"/>
              <a:gd name="T33" fmla="*/ 41 h 77"/>
              <a:gd name="T34" fmla="*/ 54 w 67"/>
              <a:gd name="T35" fmla="*/ 46 h 77"/>
              <a:gd name="T36" fmla="*/ 51 w 67"/>
              <a:gd name="T37" fmla="*/ 52 h 77"/>
              <a:gd name="T38" fmla="*/ 45 w 67"/>
              <a:gd name="T39" fmla="*/ 55 h 77"/>
              <a:gd name="T40" fmla="*/ 38 w 67"/>
              <a:gd name="T41" fmla="*/ 57 h 77"/>
              <a:gd name="T42" fmla="*/ 38 w 67"/>
              <a:gd name="T43" fmla="*/ 57 h 77"/>
              <a:gd name="T44" fmla="*/ 23 w 67"/>
              <a:gd name="T45" fmla="*/ 59 h 77"/>
              <a:gd name="T46" fmla="*/ 10 w 67"/>
              <a:gd name="T47" fmla="*/ 61 h 77"/>
              <a:gd name="T48" fmla="*/ 0 w 67"/>
              <a:gd name="T49" fmla="*/ 61 h 77"/>
              <a:gd name="T50" fmla="*/ 0 w 67"/>
              <a:gd name="T51" fmla="*/ 61 h 77"/>
              <a:gd name="T52" fmla="*/ 1 w 67"/>
              <a:gd name="T53" fmla="*/ 70 h 77"/>
              <a:gd name="T54" fmla="*/ 1 w 67"/>
              <a:gd name="T55" fmla="*/ 70 h 77"/>
              <a:gd name="T56" fmla="*/ 5 w 67"/>
              <a:gd name="T57" fmla="*/ 75 h 77"/>
              <a:gd name="T58" fmla="*/ 7 w 67"/>
              <a:gd name="T59" fmla="*/ 77 h 77"/>
              <a:gd name="T60" fmla="*/ 54 w 67"/>
              <a:gd name="T61" fmla="*/ 77 h 77"/>
              <a:gd name="T62" fmla="*/ 67 w 67"/>
              <a:gd name="T63" fmla="*/ 5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7" h="77">
                <a:moveTo>
                  <a:pt x="67" y="57"/>
                </a:moveTo>
                <a:lnTo>
                  <a:pt x="67" y="44"/>
                </a:lnTo>
                <a:lnTo>
                  <a:pt x="67" y="44"/>
                </a:lnTo>
                <a:lnTo>
                  <a:pt x="65" y="42"/>
                </a:lnTo>
                <a:lnTo>
                  <a:pt x="63" y="37"/>
                </a:lnTo>
                <a:lnTo>
                  <a:pt x="63" y="30"/>
                </a:lnTo>
                <a:lnTo>
                  <a:pt x="63" y="30"/>
                </a:lnTo>
                <a:lnTo>
                  <a:pt x="63" y="26"/>
                </a:lnTo>
                <a:lnTo>
                  <a:pt x="65" y="21"/>
                </a:lnTo>
                <a:lnTo>
                  <a:pt x="67" y="17"/>
                </a:lnTo>
                <a:lnTo>
                  <a:pt x="67" y="6"/>
                </a:lnTo>
                <a:lnTo>
                  <a:pt x="67" y="6"/>
                </a:lnTo>
                <a:lnTo>
                  <a:pt x="63" y="2"/>
                </a:lnTo>
                <a:lnTo>
                  <a:pt x="60" y="0"/>
                </a:lnTo>
                <a:lnTo>
                  <a:pt x="56" y="0"/>
                </a:lnTo>
                <a:lnTo>
                  <a:pt x="56" y="41"/>
                </a:lnTo>
                <a:lnTo>
                  <a:pt x="56" y="41"/>
                </a:lnTo>
                <a:lnTo>
                  <a:pt x="54" y="46"/>
                </a:lnTo>
                <a:lnTo>
                  <a:pt x="51" y="52"/>
                </a:lnTo>
                <a:lnTo>
                  <a:pt x="45" y="55"/>
                </a:lnTo>
                <a:lnTo>
                  <a:pt x="38" y="57"/>
                </a:lnTo>
                <a:lnTo>
                  <a:pt x="38" y="57"/>
                </a:lnTo>
                <a:lnTo>
                  <a:pt x="23" y="59"/>
                </a:lnTo>
                <a:lnTo>
                  <a:pt x="10" y="61"/>
                </a:lnTo>
                <a:lnTo>
                  <a:pt x="0" y="61"/>
                </a:lnTo>
                <a:lnTo>
                  <a:pt x="0" y="61"/>
                </a:lnTo>
                <a:lnTo>
                  <a:pt x="1" y="70"/>
                </a:lnTo>
                <a:lnTo>
                  <a:pt x="1" y="70"/>
                </a:lnTo>
                <a:lnTo>
                  <a:pt x="5" y="75"/>
                </a:lnTo>
                <a:lnTo>
                  <a:pt x="7" y="77"/>
                </a:lnTo>
                <a:lnTo>
                  <a:pt x="54" y="77"/>
                </a:lnTo>
                <a:lnTo>
                  <a:pt x="67" y="5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2" name="Freeform 43"/>
          <p:cNvSpPr>
            <a:spLocks/>
          </p:cNvSpPr>
          <p:nvPr userDrawn="1"/>
        </p:nvSpPr>
        <p:spPr bwMode="auto">
          <a:xfrm>
            <a:off x="8272463" y="-858415"/>
            <a:ext cx="42863" cy="14288"/>
          </a:xfrm>
          <a:custGeom>
            <a:avLst/>
            <a:gdLst>
              <a:gd name="T0" fmla="*/ 4 w 55"/>
              <a:gd name="T1" fmla="*/ 19 h 19"/>
              <a:gd name="T2" fmla="*/ 51 w 55"/>
              <a:gd name="T3" fmla="*/ 19 h 19"/>
              <a:gd name="T4" fmla="*/ 51 w 55"/>
              <a:gd name="T5" fmla="*/ 19 h 19"/>
              <a:gd name="T6" fmla="*/ 55 w 55"/>
              <a:gd name="T7" fmla="*/ 9 h 19"/>
              <a:gd name="T8" fmla="*/ 53 w 55"/>
              <a:gd name="T9" fmla="*/ 0 h 19"/>
              <a:gd name="T10" fmla="*/ 4 w 55"/>
              <a:gd name="T11" fmla="*/ 0 h 19"/>
              <a:gd name="T12" fmla="*/ 0 w 55"/>
              <a:gd name="T13" fmla="*/ 9 h 19"/>
              <a:gd name="T14" fmla="*/ 4 w 55"/>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19">
                <a:moveTo>
                  <a:pt x="4" y="19"/>
                </a:moveTo>
                <a:lnTo>
                  <a:pt x="51" y="19"/>
                </a:lnTo>
                <a:lnTo>
                  <a:pt x="51" y="19"/>
                </a:lnTo>
                <a:lnTo>
                  <a:pt x="55" y="9"/>
                </a:lnTo>
                <a:lnTo>
                  <a:pt x="53" y="0"/>
                </a:lnTo>
                <a:lnTo>
                  <a:pt x="4" y="0"/>
                </a:lnTo>
                <a:lnTo>
                  <a:pt x="0" y="9"/>
                </a:lnTo>
                <a:lnTo>
                  <a:pt x="4" y="1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3" name="Freeform 44"/>
          <p:cNvSpPr>
            <a:spLocks/>
          </p:cNvSpPr>
          <p:nvPr userDrawn="1"/>
        </p:nvSpPr>
        <p:spPr bwMode="auto">
          <a:xfrm>
            <a:off x="8274050" y="-837778"/>
            <a:ext cx="44450" cy="50800"/>
          </a:xfrm>
          <a:custGeom>
            <a:avLst/>
            <a:gdLst>
              <a:gd name="T0" fmla="*/ 47 w 55"/>
              <a:gd name="T1" fmla="*/ 0 h 64"/>
              <a:gd name="T2" fmla="*/ 0 w 55"/>
              <a:gd name="T3" fmla="*/ 0 h 64"/>
              <a:gd name="T4" fmla="*/ 0 w 55"/>
              <a:gd name="T5" fmla="*/ 62 h 64"/>
              <a:gd name="T6" fmla="*/ 42 w 55"/>
              <a:gd name="T7" fmla="*/ 64 h 64"/>
              <a:gd name="T8" fmla="*/ 55 w 55"/>
              <a:gd name="T9" fmla="*/ 53 h 64"/>
              <a:gd name="T10" fmla="*/ 47 w 55"/>
              <a:gd name="T11" fmla="*/ 0 h 64"/>
            </a:gdLst>
            <a:ahLst/>
            <a:cxnLst>
              <a:cxn ang="0">
                <a:pos x="T0" y="T1"/>
              </a:cxn>
              <a:cxn ang="0">
                <a:pos x="T2" y="T3"/>
              </a:cxn>
              <a:cxn ang="0">
                <a:pos x="T4" y="T5"/>
              </a:cxn>
              <a:cxn ang="0">
                <a:pos x="T6" y="T7"/>
              </a:cxn>
              <a:cxn ang="0">
                <a:pos x="T8" y="T9"/>
              </a:cxn>
              <a:cxn ang="0">
                <a:pos x="T10" y="T11"/>
              </a:cxn>
            </a:cxnLst>
            <a:rect l="0" t="0" r="r" b="b"/>
            <a:pathLst>
              <a:path w="55" h="64">
                <a:moveTo>
                  <a:pt x="47" y="0"/>
                </a:moveTo>
                <a:lnTo>
                  <a:pt x="0" y="0"/>
                </a:lnTo>
                <a:lnTo>
                  <a:pt x="0" y="62"/>
                </a:lnTo>
                <a:lnTo>
                  <a:pt x="42" y="64"/>
                </a:lnTo>
                <a:lnTo>
                  <a:pt x="55" y="53"/>
                </a:lnTo>
                <a:lnTo>
                  <a:pt x="4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4" name="Freeform 45"/>
          <p:cNvSpPr>
            <a:spLocks/>
          </p:cNvSpPr>
          <p:nvPr userDrawn="1"/>
        </p:nvSpPr>
        <p:spPr bwMode="auto">
          <a:xfrm>
            <a:off x="8274050" y="-788565"/>
            <a:ext cx="57150" cy="50800"/>
          </a:xfrm>
          <a:custGeom>
            <a:avLst/>
            <a:gdLst>
              <a:gd name="T0" fmla="*/ 73 w 73"/>
              <a:gd name="T1" fmla="*/ 16 h 64"/>
              <a:gd name="T2" fmla="*/ 73 w 73"/>
              <a:gd name="T3" fmla="*/ 16 h 64"/>
              <a:gd name="T4" fmla="*/ 64 w 73"/>
              <a:gd name="T5" fmla="*/ 9 h 64"/>
              <a:gd name="T6" fmla="*/ 64 w 73"/>
              <a:gd name="T7" fmla="*/ 9 h 64"/>
              <a:gd name="T8" fmla="*/ 62 w 73"/>
              <a:gd name="T9" fmla="*/ 0 h 64"/>
              <a:gd name="T10" fmla="*/ 48 w 73"/>
              <a:gd name="T11" fmla="*/ 11 h 64"/>
              <a:gd name="T12" fmla="*/ 0 w 73"/>
              <a:gd name="T13" fmla="*/ 11 h 64"/>
              <a:gd name="T14" fmla="*/ 0 w 73"/>
              <a:gd name="T15" fmla="*/ 11 h 64"/>
              <a:gd name="T16" fmla="*/ 0 w 73"/>
              <a:gd name="T17" fmla="*/ 27 h 64"/>
              <a:gd name="T18" fmla="*/ 0 w 73"/>
              <a:gd name="T19" fmla="*/ 45 h 64"/>
              <a:gd name="T20" fmla="*/ 0 w 73"/>
              <a:gd name="T21" fmla="*/ 45 h 64"/>
              <a:gd name="T22" fmla="*/ 11 w 73"/>
              <a:gd name="T23" fmla="*/ 55 h 64"/>
              <a:gd name="T24" fmla="*/ 24 w 73"/>
              <a:gd name="T25" fmla="*/ 64 h 64"/>
              <a:gd name="T26" fmla="*/ 55 w 73"/>
              <a:gd name="T27" fmla="*/ 25 h 64"/>
              <a:gd name="T28" fmla="*/ 73 w 73"/>
              <a:gd name="T29"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64">
                <a:moveTo>
                  <a:pt x="73" y="16"/>
                </a:moveTo>
                <a:lnTo>
                  <a:pt x="73" y="16"/>
                </a:lnTo>
                <a:lnTo>
                  <a:pt x="64" y="9"/>
                </a:lnTo>
                <a:lnTo>
                  <a:pt x="64" y="9"/>
                </a:lnTo>
                <a:lnTo>
                  <a:pt x="62" y="0"/>
                </a:lnTo>
                <a:lnTo>
                  <a:pt x="48" y="11"/>
                </a:lnTo>
                <a:lnTo>
                  <a:pt x="0" y="11"/>
                </a:lnTo>
                <a:lnTo>
                  <a:pt x="0" y="11"/>
                </a:lnTo>
                <a:lnTo>
                  <a:pt x="0" y="27"/>
                </a:lnTo>
                <a:lnTo>
                  <a:pt x="0" y="45"/>
                </a:lnTo>
                <a:lnTo>
                  <a:pt x="0" y="45"/>
                </a:lnTo>
                <a:lnTo>
                  <a:pt x="11" y="55"/>
                </a:lnTo>
                <a:lnTo>
                  <a:pt x="24" y="64"/>
                </a:lnTo>
                <a:lnTo>
                  <a:pt x="55" y="25"/>
                </a:lnTo>
                <a:lnTo>
                  <a:pt x="73"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5" name="Freeform 46"/>
          <p:cNvSpPr>
            <a:spLocks/>
          </p:cNvSpPr>
          <p:nvPr userDrawn="1"/>
        </p:nvSpPr>
        <p:spPr bwMode="auto">
          <a:xfrm>
            <a:off x="8301038" y="-769515"/>
            <a:ext cx="85725" cy="50800"/>
          </a:xfrm>
          <a:custGeom>
            <a:avLst/>
            <a:gdLst>
              <a:gd name="T0" fmla="*/ 27 w 108"/>
              <a:gd name="T1" fmla="*/ 7 h 63"/>
              <a:gd name="T2" fmla="*/ 0 w 108"/>
              <a:gd name="T3" fmla="*/ 43 h 63"/>
              <a:gd name="T4" fmla="*/ 45 w 108"/>
              <a:gd name="T5" fmla="*/ 63 h 63"/>
              <a:gd name="T6" fmla="*/ 45 w 108"/>
              <a:gd name="T7" fmla="*/ 63 h 63"/>
              <a:gd name="T8" fmla="*/ 65 w 108"/>
              <a:gd name="T9" fmla="*/ 51 h 63"/>
              <a:gd name="T10" fmla="*/ 86 w 108"/>
              <a:gd name="T11" fmla="*/ 38 h 63"/>
              <a:gd name="T12" fmla="*/ 108 w 108"/>
              <a:gd name="T13" fmla="*/ 23 h 63"/>
              <a:gd name="T14" fmla="*/ 44 w 108"/>
              <a:gd name="T15" fmla="*/ 0 h 63"/>
              <a:gd name="T16" fmla="*/ 27 w 108"/>
              <a:gd name="T17" fmla="*/ 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63">
                <a:moveTo>
                  <a:pt x="27" y="7"/>
                </a:moveTo>
                <a:lnTo>
                  <a:pt x="0" y="43"/>
                </a:lnTo>
                <a:lnTo>
                  <a:pt x="45" y="63"/>
                </a:lnTo>
                <a:lnTo>
                  <a:pt x="45" y="63"/>
                </a:lnTo>
                <a:lnTo>
                  <a:pt x="65" y="51"/>
                </a:lnTo>
                <a:lnTo>
                  <a:pt x="86" y="38"/>
                </a:lnTo>
                <a:lnTo>
                  <a:pt x="108" y="23"/>
                </a:lnTo>
                <a:lnTo>
                  <a:pt x="44" y="0"/>
                </a:lnTo>
                <a:lnTo>
                  <a:pt x="2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6" name="Freeform 47"/>
          <p:cNvSpPr>
            <a:spLocks/>
          </p:cNvSpPr>
          <p:nvPr userDrawn="1"/>
        </p:nvSpPr>
        <p:spPr bwMode="auto">
          <a:xfrm>
            <a:off x="8324850" y="-952078"/>
            <a:ext cx="22225" cy="93663"/>
          </a:xfrm>
          <a:custGeom>
            <a:avLst/>
            <a:gdLst>
              <a:gd name="T0" fmla="*/ 22 w 27"/>
              <a:gd name="T1" fmla="*/ 50 h 117"/>
              <a:gd name="T2" fmla="*/ 22 w 27"/>
              <a:gd name="T3" fmla="*/ 50 h 117"/>
              <a:gd name="T4" fmla="*/ 22 w 27"/>
              <a:gd name="T5" fmla="*/ 11 h 117"/>
              <a:gd name="T6" fmla="*/ 22 w 27"/>
              <a:gd name="T7" fmla="*/ 11 h 117"/>
              <a:gd name="T8" fmla="*/ 24 w 27"/>
              <a:gd name="T9" fmla="*/ 8 h 117"/>
              <a:gd name="T10" fmla="*/ 24 w 27"/>
              <a:gd name="T11" fmla="*/ 8 h 117"/>
              <a:gd name="T12" fmla="*/ 24 w 27"/>
              <a:gd name="T13" fmla="*/ 4 h 117"/>
              <a:gd name="T14" fmla="*/ 24 w 27"/>
              <a:gd name="T15" fmla="*/ 0 h 117"/>
              <a:gd name="T16" fmla="*/ 2 w 27"/>
              <a:gd name="T17" fmla="*/ 0 h 117"/>
              <a:gd name="T18" fmla="*/ 2 w 27"/>
              <a:gd name="T19" fmla="*/ 0 h 117"/>
              <a:gd name="T20" fmla="*/ 2 w 27"/>
              <a:gd name="T21" fmla="*/ 6 h 117"/>
              <a:gd name="T22" fmla="*/ 2 w 27"/>
              <a:gd name="T23" fmla="*/ 6 h 117"/>
              <a:gd name="T24" fmla="*/ 2 w 27"/>
              <a:gd name="T25" fmla="*/ 9 h 117"/>
              <a:gd name="T26" fmla="*/ 3 w 27"/>
              <a:gd name="T27" fmla="*/ 11 h 117"/>
              <a:gd name="T28" fmla="*/ 3 w 27"/>
              <a:gd name="T29" fmla="*/ 50 h 117"/>
              <a:gd name="T30" fmla="*/ 3 w 27"/>
              <a:gd name="T31" fmla="*/ 50 h 117"/>
              <a:gd name="T32" fmla="*/ 2 w 27"/>
              <a:gd name="T33" fmla="*/ 52 h 117"/>
              <a:gd name="T34" fmla="*/ 0 w 27"/>
              <a:gd name="T35" fmla="*/ 61 h 117"/>
              <a:gd name="T36" fmla="*/ 0 w 27"/>
              <a:gd name="T37" fmla="*/ 61 h 117"/>
              <a:gd name="T38" fmla="*/ 0 w 27"/>
              <a:gd name="T39" fmla="*/ 66 h 117"/>
              <a:gd name="T40" fmla="*/ 2 w 27"/>
              <a:gd name="T41" fmla="*/ 72 h 117"/>
              <a:gd name="T42" fmla="*/ 5 w 27"/>
              <a:gd name="T43" fmla="*/ 75 h 117"/>
              <a:gd name="T44" fmla="*/ 3 w 27"/>
              <a:gd name="T45" fmla="*/ 106 h 117"/>
              <a:gd name="T46" fmla="*/ 3 w 27"/>
              <a:gd name="T47" fmla="*/ 106 h 117"/>
              <a:gd name="T48" fmla="*/ 3 w 27"/>
              <a:gd name="T49" fmla="*/ 108 h 117"/>
              <a:gd name="T50" fmla="*/ 2 w 27"/>
              <a:gd name="T51" fmla="*/ 112 h 117"/>
              <a:gd name="T52" fmla="*/ 2 w 27"/>
              <a:gd name="T53" fmla="*/ 112 h 117"/>
              <a:gd name="T54" fmla="*/ 2 w 27"/>
              <a:gd name="T55" fmla="*/ 117 h 117"/>
              <a:gd name="T56" fmla="*/ 24 w 27"/>
              <a:gd name="T57" fmla="*/ 117 h 117"/>
              <a:gd name="T58" fmla="*/ 24 w 27"/>
              <a:gd name="T59" fmla="*/ 117 h 117"/>
              <a:gd name="T60" fmla="*/ 24 w 27"/>
              <a:gd name="T61" fmla="*/ 110 h 117"/>
              <a:gd name="T62" fmla="*/ 24 w 27"/>
              <a:gd name="T63" fmla="*/ 110 h 117"/>
              <a:gd name="T64" fmla="*/ 22 w 27"/>
              <a:gd name="T65" fmla="*/ 106 h 117"/>
              <a:gd name="T66" fmla="*/ 22 w 27"/>
              <a:gd name="T67" fmla="*/ 75 h 117"/>
              <a:gd name="T68" fmla="*/ 22 w 27"/>
              <a:gd name="T69" fmla="*/ 75 h 117"/>
              <a:gd name="T70" fmla="*/ 25 w 27"/>
              <a:gd name="T71" fmla="*/ 70 h 117"/>
              <a:gd name="T72" fmla="*/ 25 w 27"/>
              <a:gd name="T73" fmla="*/ 66 h 117"/>
              <a:gd name="T74" fmla="*/ 27 w 27"/>
              <a:gd name="T75" fmla="*/ 62 h 117"/>
              <a:gd name="T76" fmla="*/ 27 w 27"/>
              <a:gd name="T77" fmla="*/ 62 h 117"/>
              <a:gd name="T78" fmla="*/ 24 w 27"/>
              <a:gd name="T79" fmla="*/ 53 h 117"/>
              <a:gd name="T80" fmla="*/ 22 w 27"/>
              <a:gd name="T81" fmla="*/ 5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7" h="117">
                <a:moveTo>
                  <a:pt x="22" y="50"/>
                </a:moveTo>
                <a:lnTo>
                  <a:pt x="22" y="50"/>
                </a:lnTo>
                <a:lnTo>
                  <a:pt x="22" y="11"/>
                </a:lnTo>
                <a:lnTo>
                  <a:pt x="22" y="11"/>
                </a:lnTo>
                <a:lnTo>
                  <a:pt x="24" y="8"/>
                </a:lnTo>
                <a:lnTo>
                  <a:pt x="24" y="8"/>
                </a:lnTo>
                <a:lnTo>
                  <a:pt x="24" y="4"/>
                </a:lnTo>
                <a:lnTo>
                  <a:pt x="24" y="0"/>
                </a:lnTo>
                <a:lnTo>
                  <a:pt x="2" y="0"/>
                </a:lnTo>
                <a:lnTo>
                  <a:pt x="2" y="0"/>
                </a:lnTo>
                <a:lnTo>
                  <a:pt x="2" y="6"/>
                </a:lnTo>
                <a:lnTo>
                  <a:pt x="2" y="6"/>
                </a:lnTo>
                <a:lnTo>
                  <a:pt x="2" y="9"/>
                </a:lnTo>
                <a:lnTo>
                  <a:pt x="3" y="11"/>
                </a:lnTo>
                <a:lnTo>
                  <a:pt x="3" y="50"/>
                </a:lnTo>
                <a:lnTo>
                  <a:pt x="3" y="50"/>
                </a:lnTo>
                <a:lnTo>
                  <a:pt x="2" y="52"/>
                </a:lnTo>
                <a:lnTo>
                  <a:pt x="0" y="61"/>
                </a:lnTo>
                <a:lnTo>
                  <a:pt x="0" y="61"/>
                </a:lnTo>
                <a:lnTo>
                  <a:pt x="0" y="66"/>
                </a:lnTo>
                <a:lnTo>
                  <a:pt x="2" y="72"/>
                </a:lnTo>
                <a:lnTo>
                  <a:pt x="5" y="75"/>
                </a:lnTo>
                <a:lnTo>
                  <a:pt x="3" y="106"/>
                </a:lnTo>
                <a:lnTo>
                  <a:pt x="3" y="106"/>
                </a:lnTo>
                <a:lnTo>
                  <a:pt x="3" y="108"/>
                </a:lnTo>
                <a:lnTo>
                  <a:pt x="2" y="112"/>
                </a:lnTo>
                <a:lnTo>
                  <a:pt x="2" y="112"/>
                </a:lnTo>
                <a:lnTo>
                  <a:pt x="2" y="117"/>
                </a:lnTo>
                <a:lnTo>
                  <a:pt x="24" y="117"/>
                </a:lnTo>
                <a:lnTo>
                  <a:pt x="24" y="117"/>
                </a:lnTo>
                <a:lnTo>
                  <a:pt x="24" y="110"/>
                </a:lnTo>
                <a:lnTo>
                  <a:pt x="24" y="110"/>
                </a:lnTo>
                <a:lnTo>
                  <a:pt x="22" y="106"/>
                </a:lnTo>
                <a:lnTo>
                  <a:pt x="22" y="75"/>
                </a:lnTo>
                <a:lnTo>
                  <a:pt x="22" y="75"/>
                </a:lnTo>
                <a:lnTo>
                  <a:pt x="25" y="70"/>
                </a:lnTo>
                <a:lnTo>
                  <a:pt x="25" y="66"/>
                </a:lnTo>
                <a:lnTo>
                  <a:pt x="27" y="62"/>
                </a:lnTo>
                <a:lnTo>
                  <a:pt x="27" y="62"/>
                </a:lnTo>
                <a:lnTo>
                  <a:pt x="24" y="53"/>
                </a:lnTo>
                <a:lnTo>
                  <a:pt x="22" y="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7" name="Freeform 48"/>
          <p:cNvSpPr>
            <a:spLocks/>
          </p:cNvSpPr>
          <p:nvPr userDrawn="1"/>
        </p:nvSpPr>
        <p:spPr bwMode="auto">
          <a:xfrm>
            <a:off x="8347075" y="-923503"/>
            <a:ext cx="60325" cy="42863"/>
          </a:xfrm>
          <a:custGeom>
            <a:avLst/>
            <a:gdLst>
              <a:gd name="T0" fmla="*/ 42 w 77"/>
              <a:gd name="T1" fmla="*/ 46 h 55"/>
              <a:gd name="T2" fmla="*/ 77 w 77"/>
              <a:gd name="T3" fmla="*/ 9 h 55"/>
              <a:gd name="T4" fmla="*/ 77 w 77"/>
              <a:gd name="T5" fmla="*/ 9 h 55"/>
              <a:gd name="T6" fmla="*/ 26 w 77"/>
              <a:gd name="T7" fmla="*/ 9 h 55"/>
              <a:gd name="T8" fmla="*/ 26 w 77"/>
              <a:gd name="T9" fmla="*/ 9 h 55"/>
              <a:gd name="T10" fmla="*/ 20 w 77"/>
              <a:gd name="T11" fmla="*/ 7 h 55"/>
              <a:gd name="T12" fmla="*/ 15 w 77"/>
              <a:gd name="T13" fmla="*/ 4 h 55"/>
              <a:gd name="T14" fmla="*/ 7 w 77"/>
              <a:gd name="T15" fmla="*/ 0 h 55"/>
              <a:gd name="T16" fmla="*/ 6 w 77"/>
              <a:gd name="T17" fmla="*/ 0 h 55"/>
              <a:gd name="T18" fmla="*/ 6 w 77"/>
              <a:gd name="T19" fmla="*/ 0 h 55"/>
              <a:gd name="T20" fmla="*/ 0 w 77"/>
              <a:gd name="T21" fmla="*/ 11 h 55"/>
              <a:gd name="T22" fmla="*/ 0 w 77"/>
              <a:gd name="T23" fmla="*/ 11 h 55"/>
              <a:gd name="T24" fmla="*/ 4 w 77"/>
              <a:gd name="T25" fmla="*/ 17 h 55"/>
              <a:gd name="T26" fmla="*/ 6 w 77"/>
              <a:gd name="T27" fmla="*/ 20 h 55"/>
              <a:gd name="T28" fmla="*/ 7 w 77"/>
              <a:gd name="T29" fmla="*/ 27 h 55"/>
              <a:gd name="T30" fmla="*/ 7 w 77"/>
              <a:gd name="T31" fmla="*/ 27 h 55"/>
              <a:gd name="T32" fmla="*/ 7 w 77"/>
              <a:gd name="T33" fmla="*/ 33 h 55"/>
              <a:gd name="T34" fmla="*/ 4 w 77"/>
              <a:gd name="T35" fmla="*/ 38 h 55"/>
              <a:gd name="T36" fmla="*/ 0 w 77"/>
              <a:gd name="T37" fmla="*/ 42 h 55"/>
              <a:gd name="T38" fmla="*/ 0 w 77"/>
              <a:gd name="T39" fmla="*/ 42 h 55"/>
              <a:gd name="T40" fmla="*/ 7 w 77"/>
              <a:gd name="T41" fmla="*/ 55 h 55"/>
              <a:gd name="T42" fmla="*/ 7 w 77"/>
              <a:gd name="T43" fmla="*/ 55 h 55"/>
              <a:gd name="T44" fmla="*/ 13 w 77"/>
              <a:gd name="T45" fmla="*/ 51 h 55"/>
              <a:gd name="T46" fmla="*/ 28 w 77"/>
              <a:gd name="T47" fmla="*/ 46 h 55"/>
              <a:gd name="T48" fmla="*/ 28 w 77"/>
              <a:gd name="T49" fmla="*/ 46 h 55"/>
              <a:gd name="T50" fmla="*/ 42 w 77"/>
              <a:gd name="T51" fmla="*/ 4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7" h="55">
                <a:moveTo>
                  <a:pt x="42" y="46"/>
                </a:moveTo>
                <a:lnTo>
                  <a:pt x="77" y="9"/>
                </a:lnTo>
                <a:lnTo>
                  <a:pt x="77" y="9"/>
                </a:lnTo>
                <a:lnTo>
                  <a:pt x="26" y="9"/>
                </a:lnTo>
                <a:lnTo>
                  <a:pt x="26" y="9"/>
                </a:lnTo>
                <a:lnTo>
                  <a:pt x="20" y="7"/>
                </a:lnTo>
                <a:lnTo>
                  <a:pt x="15" y="4"/>
                </a:lnTo>
                <a:lnTo>
                  <a:pt x="7" y="0"/>
                </a:lnTo>
                <a:lnTo>
                  <a:pt x="6" y="0"/>
                </a:lnTo>
                <a:lnTo>
                  <a:pt x="6" y="0"/>
                </a:lnTo>
                <a:lnTo>
                  <a:pt x="0" y="11"/>
                </a:lnTo>
                <a:lnTo>
                  <a:pt x="0" y="11"/>
                </a:lnTo>
                <a:lnTo>
                  <a:pt x="4" y="17"/>
                </a:lnTo>
                <a:lnTo>
                  <a:pt x="6" y="20"/>
                </a:lnTo>
                <a:lnTo>
                  <a:pt x="7" y="27"/>
                </a:lnTo>
                <a:lnTo>
                  <a:pt x="7" y="27"/>
                </a:lnTo>
                <a:lnTo>
                  <a:pt x="7" y="33"/>
                </a:lnTo>
                <a:lnTo>
                  <a:pt x="4" y="38"/>
                </a:lnTo>
                <a:lnTo>
                  <a:pt x="0" y="42"/>
                </a:lnTo>
                <a:lnTo>
                  <a:pt x="0" y="42"/>
                </a:lnTo>
                <a:lnTo>
                  <a:pt x="7" y="55"/>
                </a:lnTo>
                <a:lnTo>
                  <a:pt x="7" y="55"/>
                </a:lnTo>
                <a:lnTo>
                  <a:pt x="13" y="51"/>
                </a:lnTo>
                <a:lnTo>
                  <a:pt x="28" y="46"/>
                </a:lnTo>
                <a:lnTo>
                  <a:pt x="28" y="46"/>
                </a:lnTo>
                <a:lnTo>
                  <a:pt x="42" y="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8" name="Freeform 49"/>
          <p:cNvSpPr>
            <a:spLocks/>
          </p:cNvSpPr>
          <p:nvPr userDrawn="1"/>
        </p:nvSpPr>
        <p:spPr bwMode="auto">
          <a:xfrm>
            <a:off x="8423275" y="-982240"/>
            <a:ext cx="119063" cy="93663"/>
          </a:xfrm>
          <a:custGeom>
            <a:avLst/>
            <a:gdLst>
              <a:gd name="T0" fmla="*/ 152 w 152"/>
              <a:gd name="T1" fmla="*/ 60 h 119"/>
              <a:gd name="T2" fmla="*/ 148 w 152"/>
              <a:gd name="T3" fmla="*/ 58 h 119"/>
              <a:gd name="T4" fmla="*/ 139 w 152"/>
              <a:gd name="T5" fmla="*/ 62 h 119"/>
              <a:gd name="T6" fmla="*/ 135 w 152"/>
              <a:gd name="T7" fmla="*/ 64 h 119"/>
              <a:gd name="T8" fmla="*/ 134 w 152"/>
              <a:gd name="T9" fmla="*/ 75 h 119"/>
              <a:gd name="T10" fmla="*/ 130 w 152"/>
              <a:gd name="T11" fmla="*/ 71 h 119"/>
              <a:gd name="T12" fmla="*/ 121 w 152"/>
              <a:gd name="T13" fmla="*/ 69 h 119"/>
              <a:gd name="T14" fmla="*/ 113 w 152"/>
              <a:gd name="T15" fmla="*/ 71 h 119"/>
              <a:gd name="T16" fmla="*/ 117 w 152"/>
              <a:gd name="T17" fmla="*/ 80 h 119"/>
              <a:gd name="T18" fmla="*/ 113 w 152"/>
              <a:gd name="T19" fmla="*/ 90 h 119"/>
              <a:gd name="T20" fmla="*/ 110 w 152"/>
              <a:gd name="T21" fmla="*/ 90 h 119"/>
              <a:gd name="T22" fmla="*/ 103 w 152"/>
              <a:gd name="T23" fmla="*/ 84 h 119"/>
              <a:gd name="T24" fmla="*/ 103 w 152"/>
              <a:gd name="T25" fmla="*/ 79 h 119"/>
              <a:gd name="T26" fmla="*/ 93 w 152"/>
              <a:gd name="T27" fmla="*/ 82 h 119"/>
              <a:gd name="T28" fmla="*/ 88 w 152"/>
              <a:gd name="T29" fmla="*/ 79 h 119"/>
              <a:gd name="T30" fmla="*/ 90 w 152"/>
              <a:gd name="T31" fmla="*/ 69 h 119"/>
              <a:gd name="T32" fmla="*/ 104 w 152"/>
              <a:gd name="T33" fmla="*/ 66 h 119"/>
              <a:gd name="T34" fmla="*/ 103 w 152"/>
              <a:gd name="T35" fmla="*/ 60 h 119"/>
              <a:gd name="T36" fmla="*/ 97 w 152"/>
              <a:gd name="T37" fmla="*/ 53 h 119"/>
              <a:gd name="T38" fmla="*/ 92 w 152"/>
              <a:gd name="T39" fmla="*/ 51 h 119"/>
              <a:gd name="T40" fmla="*/ 82 w 152"/>
              <a:gd name="T41" fmla="*/ 53 h 119"/>
              <a:gd name="T42" fmla="*/ 86 w 152"/>
              <a:gd name="T43" fmla="*/ 51 h 119"/>
              <a:gd name="T44" fmla="*/ 90 w 152"/>
              <a:gd name="T45" fmla="*/ 44 h 119"/>
              <a:gd name="T46" fmla="*/ 90 w 152"/>
              <a:gd name="T47" fmla="*/ 35 h 119"/>
              <a:gd name="T48" fmla="*/ 84 w 152"/>
              <a:gd name="T49" fmla="*/ 26 h 119"/>
              <a:gd name="T50" fmla="*/ 84 w 152"/>
              <a:gd name="T51" fmla="*/ 26 h 119"/>
              <a:gd name="T52" fmla="*/ 79 w 152"/>
              <a:gd name="T53" fmla="*/ 27 h 119"/>
              <a:gd name="T54" fmla="*/ 68 w 152"/>
              <a:gd name="T55" fmla="*/ 33 h 119"/>
              <a:gd name="T56" fmla="*/ 66 w 152"/>
              <a:gd name="T57" fmla="*/ 38 h 119"/>
              <a:gd name="T58" fmla="*/ 66 w 152"/>
              <a:gd name="T59" fmla="*/ 46 h 119"/>
              <a:gd name="T60" fmla="*/ 62 w 152"/>
              <a:gd name="T61" fmla="*/ 40 h 119"/>
              <a:gd name="T62" fmla="*/ 55 w 152"/>
              <a:gd name="T63" fmla="*/ 35 h 119"/>
              <a:gd name="T64" fmla="*/ 50 w 152"/>
              <a:gd name="T65" fmla="*/ 35 h 119"/>
              <a:gd name="T66" fmla="*/ 42 w 152"/>
              <a:gd name="T67" fmla="*/ 38 h 119"/>
              <a:gd name="T68" fmla="*/ 48 w 152"/>
              <a:gd name="T69" fmla="*/ 46 h 119"/>
              <a:gd name="T70" fmla="*/ 48 w 152"/>
              <a:gd name="T71" fmla="*/ 57 h 119"/>
              <a:gd name="T72" fmla="*/ 42 w 152"/>
              <a:gd name="T73" fmla="*/ 58 h 119"/>
              <a:gd name="T74" fmla="*/ 35 w 152"/>
              <a:gd name="T75" fmla="*/ 53 h 119"/>
              <a:gd name="T76" fmla="*/ 33 w 152"/>
              <a:gd name="T77" fmla="*/ 47 h 119"/>
              <a:gd name="T78" fmla="*/ 26 w 152"/>
              <a:gd name="T79" fmla="*/ 53 h 119"/>
              <a:gd name="T80" fmla="*/ 20 w 152"/>
              <a:gd name="T81" fmla="*/ 51 h 119"/>
              <a:gd name="T82" fmla="*/ 17 w 152"/>
              <a:gd name="T83" fmla="*/ 42 h 119"/>
              <a:gd name="T84" fmla="*/ 31 w 152"/>
              <a:gd name="T85" fmla="*/ 35 h 119"/>
              <a:gd name="T86" fmla="*/ 29 w 152"/>
              <a:gd name="T87" fmla="*/ 33 h 119"/>
              <a:gd name="T88" fmla="*/ 22 w 152"/>
              <a:gd name="T89" fmla="*/ 24 h 119"/>
              <a:gd name="T90" fmla="*/ 15 w 152"/>
              <a:gd name="T91" fmla="*/ 24 h 119"/>
              <a:gd name="T92" fmla="*/ 18 w 152"/>
              <a:gd name="T93" fmla="*/ 18 h 119"/>
              <a:gd name="T94" fmla="*/ 20 w 152"/>
              <a:gd name="T95" fmla="*/ 9 h 119"/>
              <a:gd name="T96" fmla="*/ 18 w 152"/>
              <a:gd name="T97" fmla="*/ 5 h 119"/>
              <a:gd name="T98" fmla="*/ 13 w 152"/>
              <a:gd name="T99" fmla="*/ 0 h 119"/>
              <a:gd name="T100" fmla="*/ 35 w 152"/>
              <a:gd name="T101" fmla="*/ 88 h 119"/>
              <a:gd name="T102" fmla="*/ 46 w 152"/>
              <a:gd name="T103" fmla="*/ 82 h 119"/>
              <a:gd name="T104" fmla="*/ 51 w 152"/>
              <a:gd name="T105" fmla="*/ 79 h 119"/>
              <a:gd name="T106" fmla="*/ 66 w 152"/>
              <a:gd name="T107" fmla="*/ 80 h 119"/>
              <a:gd name="T108" fmla="*/ 71 w 152"/>
              <a:gd name="T109" fmla="*/ 82 h 119"/>
              <a:gd name="T110" fmla="*/ 82 w 152"/>
              <a:gd name="T111" fmla="*/ 90 h 119"/>
              <a:gd name="T112" fmla="*/ 84 w 152"/>
              <a:gd name="T113" fmla="*/ 99 h 119"/>
              <a:gd name="T114" fmla="*/ 84 w 152"/>
              <a:gd name="T115" fmla="*/ 104 h 119"/>
              <a:gd name="T116" fmla="*/ 106 w 152"/>
              <a:gd name="T117"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2" h="119">
                <a:moveTo>
                  <a:pt x="106" y="119"/>
                </a:moveTo>
                <a:lnTo>
                  <a:pt x="152" y="60"/>
                </a:lnTo>
                <a:lnTo>
                  <a:pt x="152" y="60"/>
                </a:lnTo>
                <a:lnTo>
                  <a:pt x="148" y="58"/>
                </a:lnTo>
                <a:lnTo>
                  <a:pt x="145" y="60"/>
                </a:lnTo>
                <a:lnTo>
                  <a:pt x="139" y="62"/>
                </a:lnTo>
                <a:lnTo>
                  <a:pt x="139" y="62"/>
                </a:lnTo>
                <a:lnTo>
                  <a:pt x="135" y="64"/>
                </a:lnTo>
                <a:lnTo>
                  <a:pt x="134" y="69"/>
                </a:lnTo>
                <a:lnTo>
                  <a:pt x="134" y="75"/>
                </a:lnTo>
                <a:lnTo>
                  <a:pt x="134" y="75"/>
                </a:lnTo>
                <a:lnTo>
                  <a:pt x="130" y="71"/>
                </a:lnTo>
                <a:lnTo>
                  <a:pt x="128" y="69"/>
                </a:lnTo>
                <a:lnTo>
                  <a:pt x="121" y="69"/>
                </a:lnTo>
                <a:lnTo>
                  <a:pt x="115" y="69"/>
                </a:lnTo>
                <a:lnTo>
                  <a:pt x="113" y="71"/>
                </a:lnTo>
                <a:lnTo>
                  <a:pt x="113" y="71"/>
                </a:lnTo>
                <a:lnTo>
                  <a:pt x="117" y="80"/>
                </a:lnTo>
                <a:lnTo>
                  <a:pt x="117" y="86"/>
                </a:lnTo>
                <a:lnTo>
                  <a:pt x="113" y="90"/>
                </a:lnTo>
                <a:lnTo>
                  <a:pt x="110" y="90"/>
                </a:lnTo>
                <a:lnTo>
                  <a:pt x="110" y="90"/>
                </a:lnTo>
                <a:lnTo>
                  <a:pt x="104" y="88"/>
                </a:lnTo>
                <a:lnTo>
                  <a:pt x="103" y="84"/>
                </a:lnTo>
                <a:lnTo>
                  <a:pt x="103" y="79"/>
                </a:lnTo>
                <a:lnTo>
                  <a:pt x="103" y="79"/>
                </a:lnTo>
                <a:lnTo>
                  <a:pt x="97" y="82"/>
                </a:lnTo>
                <a:lnTo>
                  <a:pt x="93" y="82"/>
                </a:lnTo>
                <a:lnTo>
                  <a:pt x="88" y="79"/>
                </a:lnTo>
                <a:lnTo>
                  <a:pt x="88" y="79"/>
                </a:lnTo>
                <a:lnTo>
                  <a:pt x="86" y="75"/>
                </a:lnTo>
                <a:lnTo>
                  <a:pt x="90" y="69"/>
                </a:lnTo>
                <a:lnTo>
                  <a:pt x="95" y="68"/>
                </a:lnTo>
                <a:lnTo>
                  <a:pt x="104" y="66"/>
                </a:lnTo>
                <a:lnTo>
                  <a:pt x="104" y="66"/>
                </a:lnTo>
                <a:lnTo>
                  <a:pt x="103" y="60"/>
                </a:lnTo>
                <a:lnTo>
                  <a:pt x="101" y="57"/>
                </a:lnTo>
                <a:lnTo>
                  <a:pt x="97" y="53"/>
                </a:lnTo>
                <a:lnTo>
                  <a:pt x="97" y="53"/>
                </a:lnTo>
                <a:lnTo>
                  <a:pt x="92" y="51"/>
                </a:lnTo>
                <a:lnTo>
                  <a:pt x="88" y="51"/>
                </a:lnTo>
                <a:lnTo>
                  <a:pt x="82" y="53"/>
                </a:lnTo>
                <a:lnTo>
                  <a:pt x="82" y="53"/>
                </a:lnTo>
                <a:lnTo>
                  <a:pt x="86" y="51"/>
                </a:lnTo>
                <a:lnTo>
                  <a:pt x="88" y="47"/>
                </a:lnTo>
                <a:lnTo>
                  <a:pt x="90" y="44"/>
                </a:lnTo>
                <a:lnTo>
                  <a:pt x="90" y="44"/>
                </a:lnTo>
                <a:lnTo>
                  <a:pt x="90" y="35"/>
                </a:lnTo>
                <a:lnTo>
                  <a:pt x="88" y="31"/>
                </a:lnTo>
                <a:lnTo>
                  <a:pt x="84" y="26"/>
                </a:lnTo>
                <a:lnTo>
                  <a:pt x="84" y="26"/>
                </a:lnTo>
                <a:lnTo>
                  <a:pt x="84" y="26"/>
                </a:lnTo>
                <a:lnTo>
                  <a:pt x="84" y="26"/>
                </a:lnTo>
                <a:lnTo>
                  <a:pt x="79" y="27"/>
                </a:lnTo>
                <a:lnTo>
                  <a:pt x="73" y="29"/>
                </a:lnTo>
                <a:lnTo>
                  <a:pt x="68" y="33"/>
                </a:lnTo>
                <a:lnTo>
                  <a:pt x="68" y="33"/>
                </a:lnTo>
                <a:lnTo>
                  <a:pt x="66" y="38"/>
                </a:lnTo>
                <a:lnTo>
                  <a:pt x="66" y="42"/>
                </a:lnTo>
                <a:lnTo>
                  <a:pt x="66" y="46"/>
                </a:lnTo>
                <a:lnTo>
                  <a:pt x="66" y="46"/>
                </a:lnTo>
                <a:lnTo>
                  <a:pt x="62" y="40"/>
                </a:lnTo>
                <a:lnTo>
                  <a:pt x="60" y="37"/>
                </a:lnTo>
                <a:lnTo>
                  <a:pt x="55" y="35"/>
                </a:lnTo>
                <a:lnTo>
                  <a:pt x="55" y="35"/>
                </a:lnTo>
                <a:lnTo>
                  <a:pt x="50" y="35"/>
                </a:lnTo>
                <a:lnTo>
                  <a:pt x="46" y="37"/>
                </a:lnTo>
                <a:lnTo>
                  <a:pt x="42" y="38"/>
                </a:lnTo>
                <a:lnTo>
                  <a:pt x="42" y="38"/>
                </a:lnTo>
                <a:lnTo>
                  <a:pt x="48" y="46"/>
                </a:lnTo>
                <a:lnTo>
                  <a:pt x="48" y="53"/>
                </a:lnTo>
                <a:lnTo>
                  <a:pt x="48" y="57"/>
                </a:lnTo>
                <a:lnTo>
                  <a:pt x="42" y="58"/>
                </a:lnTo>
                <a:lnTo>
                  <a:pt x="42" y="58"/>
                </a:lnTo>
                <a:lnTo>
                  <a:pt x="37" y="57"/>
                </a:lnTo>
                <a:lnTo>
                  <a:pt x="35" y="53"/>
                </a:lnTo>
                <a:lnTo>
                  <a:pt x="33" y="47"/>
                </a:lnTo>
                <a:lnTo>
                  <a:pt x="33" y="47"/>
                </a:lnTo>
                <a:lnTo>
                  <a:pt x="29" y="51"/>
                </a:lnTo>
                <a:lnTo>
                  <a:pt x="26" y="53"/>
                </a:lnTo>
                <a:lnTo>
                  <a:pt x="20" y="51"/>
                </a:lnTo>
                <a:lnTo>
                  <a:pt x="20" y="51"/>
                </a:lnTo>
                <a:lnTo>
                  <a:pt x="17" y="47"/>
                </a:lnTo>
                <a:lnTo>
                  <a:pt x="17" y="42"/>
                </a:lnTo>
                <a:lnTo>
                  <a:pt x="22" y="38"/>
                </a:lnTo>
                <a:lnTo>
                  <a:pt x="31" y="35"/>
                </a:lnTo>
                <a:lnTo>
                  <a:pt x="31" y="35"/>
                </a:lnTo>
                <a:lnTo>
                  <a:pt x="29" y="33"/>
                </a:lnTo>
                <a:lnTo>
                  <a:pt x="28" y="27"/>
                </a:lnTo>
                <a:lnTo>
                  <a:pt x="22" y="24"/>
                </a:lnTo>
                <a:lnTo>
                  <a:pt x="18" y="22"/>
                </a:lnTo>
                <a:lnTo>
                  <a:pt x="15" y="24"/>
                </a:lnTo>
                <a:lnTo>
                  <a:pt x="15" y="24"/>
                </a:lnTo>
                <a:lnTo>
                  <a:pt x="18" y="18"/>
                </a:lnTo>
                <a:lnTo>
                  <a:pt x="20" y="15"/>
                </a:lnTo>
                <a:lnTo>
                  <a:pt x="20" y="9"/>
                </a:lnTo>
                <a:lnTo>
                  <a:pt x="20" y="9"/>
                </a:lnTo>
                <a:lnTo>
                  <a:pt x="18" y="5"/>
                </a:lnTo>
                <a:lnTo>
                  <a:pt x="17" y="2"/>
                </a:lnTo>
                <a:lnTo>
                  <a:pt x="13" y="0"/>
                </a:lnTo>
                <a:lnTo>
                  <a:pt x="0" y="73"/>
                </a:lnTo>
                <a:lnTo>
                  <a:pt x="35" y="88"/>
                </a:lnTo>
                <a:lnTo>
                  <a:pt x="35" y="88"/>
                </a:lnTo>
                <a:lnTo>
                  <a:pt x="46" y="82"/>
                </a:lnTo>
                <a:lnTo>
                  <a:pt x="46" y="82"/>
                </a:lnTo>
                <a:lnTo>
                  <a:pt x="51" y="79"/>
                </a:lnTo>
                <a:lnTo>
                  <a:pt x="59" y="79"/>
                </a:lnTo>
                <a:lnTo>
                  <a:pt x="66" y="80"/>
                </a:lnTo>
                <a:lnTo>
                  <a:pt x="71" y="82"/>
                </a:lnTo>
                <a:lnTo>
                  <a:pt x="71" y="82"/>
                </a:lnTo>
                <a:lnTo>
                  <a:pt x="79" y="86"/>
                </a:lnTo>
                <a:lnTo>
                  <a:pt x="82" y="90"/>
                </a:lnTo>
                <a:lnTo>
                  <a:pt x="84" y="95"/>
                </a:lnTo>
                <a:lnTo>
                  <a:pt x="84" y="99"/>
                </a:lnTo>
                <a:lnTo>
                  <a:pt x="84" y="99"/>
                </a:lnTo>
                <a:lnTo>
                  <a:pt x="84" y="104"/>
                </a:lnTo>
                <a:lnTo>
                  <a:pt x="81" y="110"/>
                </a:lnTo>
                <a:lnTo>
                  <a:pt x="106" y="11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9" name="Freeform 50"/>
          <p:cNvSpPr>
            <a:spLocks/>
          </p:cNvSpPr>
          <p:nvPr userDrawn="1"/>
        </p:nvSpPr>
        <p:spPr bwMode="auto">
          <a:xfrm>
            <a:off x="8520113" y="-917153"/>
            <a:ext cx="142875" cy="25400"/>
          </a:xfrm>
          <a:custGeom>
            <a:avLst/>
            <a:gdLst>
              <a:gd name="T0" fmla="*/ 151 w 180"/>
              <a:gd name="T1" fmla="*/ 28 h 31"/>
              <a:gd name="T2" fmla="*/ 180 w 180"/>
              <a:gd name="T3" fmla="*/ 15 h 31"/>
              <a:gd name="T4" fmla="*/ 151 w 180"/>
              <a:gd name="T5" fmla="*/ 2 h 31"/>
              <a:gd name="T6" fmla="*/ 151 w 180"/>
              <a:gd name="T7" fmla="*/ 2 h 31"/>
              <a:gd name="T8" fmla="*/ 102 w 180"/>
              <a:gd name="T9" fmla="*/ 2 h 31"/>
              <a:gd name="T10" fmla="*/ 23 w 180"/>
              <a:gd name="T11" fmla="*/ 0 h 31"/>
              <a:gd name="T12" fmla="*/ 0 w 180"/>
              <a:gd name="T13" fmla="*/ 31 h 31"/>
              <a:gd name="T14" fmla="*/ 0 w 180"/>
              <a:gd name="T15" fmla="*/ 31 h 31"/>
              <a:gd name="T16" fmla="*/ 151 w 180"/>
              <a:gd name="T17"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31">
                <a:moveTo>
                  <a:pt x="151" y="28"/>
                </a:moveTo>
                <a:lnTo>
                  <a:pt x="180" y="15"/>
                </a:lnTo>
                <a:lnTo>
                  <a:pt x="151" y="2"/>
                </a:lnTo>
                <a:lnTo>
                  <a:pt x="151" y="2"/>
                </a:lnTo>
                <a:lnTo>
                  <a:pt x="102" y="2"/>
                </a:lnTo>
                <a:lnTo>
                  <a:pt x="23" y="0"/>
                </a:lnTo>
                <a:lnTo>
                  <a:pt x="0" y="31"/>
                </a:lnTo>
                <a:lnTo>
                  <a:pt x="0" y="31"/>
                </a:lnTo>
                <a:lnTo>
                  <a:pt x="151"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00" name="Freeform 51"/>
          <p:cNvSpPr>
            <a:spLocks/>
          </p:cNvSpPr>
          <p:nvPr userDrawn="1"/>
        </p:nvSpPr>
        <p:spPr bwMode="auto">
          <a:xfrm>
            <a:off x="8566150" y="-855240"/>
            <a:ext cx="85725" cy="84138"/>
          </a:xfrm>
          <a:custGeom>
            <a:avLst/>
            <a:gdLst>
              <a:gd name="T0" fmla="*/ 55 w 108"/>
              <a:gd name="T1" fmla="*/ 106 h 106"/>
              <a:gd name="T2" fmla="*/ 55 w 108"/>
              <a:gd name="T3" fmla="*/ 106 h 106"/>
              <a:gd name="T4" fmla="*/ 38 w 108"/>
              <a:gd name="T5" fmla="*/ 97 h 106"/>
              <a:gd name="T6" fmla="*/ 26 w 108"/>
              <a:gd name="T7" fmla="*/ 89 h 106"/>
              <a:gd name="T8" fmla="*/ 13 w 108"/>
              <a:gd name="T9" fmla="*/ 80 h 106"/>
              <a:gd name="T10" fmla="*/ 4 w 108"/>
              <a:gd name="T11" fmla="*/ 69 h 106"/>
              <a:gd name="T12" fmla="*/ 4 w 108"/>
              <a:gd name="T13" fmla="*/ 69 h 106"/>
              <a:gd name="T14" fmla="*/ 0 w 108"/>
              <a:gd name="T15" fmla="*/ 62 h 106"/>
              <a:gd name="T16" fmla="*/ 0 w 108"/>
              <a:gd name="T17" fmla="*/ 53 h 106"/>
              <a:gd name="T18" fmla="*/ 0 w 108"/>
              <a:gd name="T19" fmla="*/ 45 h 106"/>
              <a:gd name="T20" fmla="*/ 0 w 108"/>
              <a:gd name="T21" fmla="*/ 36 h 106"/>
              <a:gd name="T22" fmla="*/ 4 w 108"/>
              <a:gd name="T23" fmla="*/ 27 h 106"/>
              <a:gd name="T24" fmla="*/ 7 w 108"/>
              <a:gd name="T25" fmla="*/ 20 h 106"/>
              <a:gd name="T26" fmla="*/ 15 w 108"/>
              <a:gd name="T27" fmla="*/ 13 h 106"/>
              <a:gd name="T28" fmla="*/ 22 w 108"/>
              <a:gd name="T29" fmla="*/ 7 h 106"/>
              <a:gd name="T30" fmla="*/ 22 w 108"/>
              <a:gd name="T31" fmla="*/ 7 h 106"/>
              <a:gd name="T32" fmla="*/ 26 w 108"/>
              <a:gd name="T33" fmla="*/ 11 h 106"/>
              <a:gd name="T34" fmla="*/ 27 w 108"/>
              <a:gd name="T35" fmla="*/ 14 h 106"/>
              <a:gd name="T36" fmla="*/ 27 w 108"/>
              <a:gd name="T37" fmla="*/ 18 h 106"/>
              <a:gd name="T38" fmla="*/ 27 w 108"/>
              <a:gd name="T39" fmla="*/ 18 h 106"/>
              <a:gd name="T40" fmla="*/ 51 w 108"/>
              <a:gd name="T41" fmla="*/ 16 h 106"/>
              <a:gd name="T42" fmla="*/ 51 w 108"/>
              <a:gd name="T43" fmla="*/ 16 h 106"/>
              <a:gd name="T44" fmla="*/ 51 w 108"/>
              <a:gd name="T45" fmla="*/ 9 h 106"/>
              <a:gd name="T46" fmla="*/ 51 w 108"/>
              <a:gd name="T47" fmla="*/ 3 h 106"/>
              <a:gd name="T48" fmla="*/ 49 w 108"/>
              <a:gd name="T49" fmla="*/ 0 h 106"/>
              <a:gd name="T50" fmla="*/ 49 w 108"/>
              <a:gd name="T51" fmla="*/ 0 h 106"/>
              <a:gd name="T52" fmla="*/ 57 w 108"/>
              <a:gd name="T53" fmla="*/ 5 h 106"/>
              <a:gd name="T54" fmla="*/ 59 w 108"/>
              <a:gd name="T55" fmla="*/ 11 h 106"/>
              <a:gd name="T56" fmla="*/ 60 w 108"/>
              <a:gd name="T57" fmla="*/ 16 h 106"/>
              <a:gd name="T58" fmla="*/ 60 w 108"/>
              <a:gd name="T59" fmla="*/ 16 h 106"/>
              <a:gd name="T60" fmla="*/ 82 w 108"/>
              <a:gd name="T61" fmla="*/ 18 h 106"/>
              <a:gd name="T62" fmla="*/ 82 w 108"/>
              <a:gd name="T63" fmla="*/ 18 h 106"/>
              <a:gd name="T64" fmla="*/ 82 w 108"/>
              <a:gd name="T65" fmla="*/ 11 h 106"/>
              <a:gd name="T66" fmla="*/ 79 w 108"/>
              <a:gd name="T67" fmla="*/ 3 h 106"/>
              <a:gd name="T68" fmla="*/ 79 w 108"/>
              <a:gd name="T69" fmla="*/ 3 h 106"/>
              <a:gd name="T70" fmla="*/ 86 w 108"/>
              <a:gd name="T71" fmla="*/ 9 h 106"/>
              <a:gd name="T72" fmla="*/ 93 w 108"/>
              <a:gd name="T73" fmla="*/ 13 h 106"/>
              <a:gd name="T74" fmla="*/ 99 w 108"/>
              <a:gd name="T75" fmla="*/ 20 h 106"/>
              <a:gd name="T76" fmla="*/ 102 w 108"/>
              <a:gd name="T77" fmla="*/ 25 h 106"/>
              <a:gd name="T78" fmla="*/ 106 w 108"/>
              <a:gd name="T79" fmla="*/ 38 h 106"/>
              <a:gd name="T80" fmla="*/ 108 w 108"/>
              <a:gd name="T81" fmla="*/ 49 h 106"/>
              <a:gd name="T82" fmla="*/ 108 w 108"/>
              <a:gd name="T83" fmla="*/ 49 h 106"/>
              <a:gd name="T84" fmla="*/ 106 w 108"/>
              <a:gd name="T85" fmla="*/ 62 h 106"/>
              <a:gd name="T86" fmla="*/ 102 w 108"/>
              <a:gd name="T87" fmla="*/ 73 h 106"/>
              <a:gd name="T88" fmla="*/ 95 w 108"/>
              <a:gd name="T89" fmla="*/ 82 h 106"/>
              <a:gd name="T90" fmla="*/ 86 w 108"/>
              <a:gd name="T91" fmla="*/ 89 h 106"/>
              <a:gd name="T92" fmla="*/ 86 w 108"/>
              <a:gd name="T93" fmla="*/ 89 h 106"/>
              <a:gd name="T94" fmla="*/ 69 w 108"/>
              <a:gd name="T95" fmla="*/ 98 h 106"/>
              <a:gd name="T96" fmla="*/ 55 w 108"/>
              <a:gd name="T97"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 h="106">
                <a:moveTo>
                  <a:pt x="55" y="106"/>
                </a:moveTo>
                <a:lnTo>
                  <a:pt x="55" y="106"/>
                </a:lnTo>
                <a:lnTo>
                  <a:pt x="38" y="97"/>
                </a:lnTo>
                <a:lnTo>
                  <a:pt x="26" y="89"/>
                </a:lnTo>
                <a:lnTo>
                  <a:pt x="13" y="80"/>
                </a:lnTo>
                <a:lnTo>
                  <a:pt x="4" y="69"/>
                </a:lnTo>
                <a:lnTo>
                  <a:pt x="4" y="69"/>
                </a:lnTo>
                <a:lnTo>
                  <a:pt x="0" y="62"/>
                </a:lnTo>
                <a:lnTo>
                  <a:pt x="0" y="53"/>
                </a:lnTo>
                <a:lnTo>
                  <a:pt x="0" y="45"/>
                </a:lnTo>
                <a:lnTo>
                  <a:pt x="0" y="36"/>
                </a:lnTo>
                <a:lnTo>
                  <a:pt x="4" y="27"/>
                </a:lnTo>
                <a:lnTo>
                  <a:pt x="7" y="20"/>
                </a:lnTo>
                <a:lnTo>
                  <a:pt x="15" y="13"/>
                </a:lnTo>
                <a:lnTo>
                  <a:pt x="22" y="7"/>
                </a:lnTo>
                <a:lnTo>
                  <a:pt x="22" y="7"/>
                </a:lnTo>
                <a:lnTo>
                  <a:pt x="26" y="11"/>
                </a:lnTo>
                <a:lnTo>
                  <a:pt x="27" y="14"/>
                </a:lnTo>
                <a:lnTo>
                  <a:pt x="27" y="18"/>
                </a:lnTo>
                <a:lnTo>
                  <a:pt x="27" y="18"/>
                </a:lnTo>
                <a:lnTo>
                  <a:pt x="51" y="16"/>
                </a:lnTo>
                <a:lnTo>
                  <a:pt x="51" y="16"/>
                </a:lnTo>
                <a:lnTo>
                  <a:pt x="51" y="9"/>
                </a:lnTo>
                <a:lnTo>
                  <a:pt x="51" y="3"/>
                </a:lnTo>
                <a:lnTo>
                  <a:pt x="49" y="0"/>
                </a:lnTo>
                <a:lnTo>
                  <a:pt x="49" y="0"/>
                </a:lnTo>
                <a:lnTo>
                  <a:pt x="57" y="5"/>
                </a:lnTo>
                <a:lnTo>
                  <a:pt x="59" y="11"/>
                </a:lnTo>
                <a:lnTo>
                  <a:pt x="60" y="16"/>
                </a:lnTo>
                <a:lnTo>
                  <a:pt x="60" y="16"/>
                </a:lnTo>
                <a:lnTo>
                  <a:pt x="82" y="18"/>
                </a:lnTo>
                <a:lnTo>
                  <a:pt x="82" y="18"/>
                </a:lnTo>
                <a:lnTo>
                  <a:pt x="82" y="11"/>
                </a:lnTo>
                <a:lnTo>
                  <a:pt x="79" y="3"/>
                </a:lnTo>
                <a:lnTo>
                  <a:pt x="79" y="3"/>
                </a:lnTo>
                <a:lnTo>
                  <a:pt x="86" y="9"/>
                </a:lnTo>
                <a:lnTo>
                  <a:pt x="93" y="13"/>
                </a:lnTo>
                <a:lnTo>
                  <a:pt x="99" y="20"/>
                </a:lnTo>
                <a:lnTo>
                  <a:pt x="102" y="25"/>
                </a:lnTo>
                <a:lnTo>
                  <a:pt x="106" y="38"/>
                </a:lnTo>
                <a:lnTo>
                  <a:pt x="108" y="49"/>
                </a:lnTo>
                <a:lnTo>
                  <a:pt x="108" y="49"/>
                </a:lnTo>
                <a:lnTo>
                  <a:pt x="106" y="62"/>
                </a:lnTo>
                <a:lnTo>
                  <a:pt x="102" y="73"/>
                </a:lnTo>
                <a:lnTo>
                  <a:pt x="95" y="82"/>
                </a:lnTo>
                <a:lnTo>
                  <a:pt x="86" y="89"/>
                </a:lnTo>
                <a:lnTo>
                  <a:pt x="86" y="89"/>
                </a:lnTo>
                <a:lnTo>
                  <a:pt x="69" y="98"/>
                </a:lnTo>
                <a:lnTo>
                  <a:pt x="55" y="1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01" name="Freeform 52"/>
          <p:cNvSpPr>
            <a:spLocks/>
          </p:cNvSpPr>
          <p:nvPr userDrawn="1"/>
        </p:nvSpPr>
        <p:spPr bwMode="auto">
          <a:xfrm>
            <a:off x="8589963" y="-648865"/>
            <a:ext cx="1588" cy="1588"/>
          </a:xfrm>
          <a:custGeom>
            <a:avLst/>
            <a:gdLst>
              <a:gd name="T0" fmla="*/ 4 w 4"/>
              <a:gd name="T1" fmla="*/ 2 h 2"/>
              <a:gd name="T2" fmla="*/ 4 w 4"/>
              <a:gd name="T3" fmla="*/ 2 h 2"/>
              <a:gd name="T4" fmla="*/ 2 w 4"/>
              <a:gd name="T5" fmla="*/ 0 h 2"/>
              <a:gd name="T6" fmla="*/ 2 w 4"/>
              <a:gd name="T7" fmla="*/ 0 h 2"/>
              <a:gd name="T8" fmla="*/ 0 w 4"/>
              <a:gd name="T9" fmla="*/ 0 h 2"/>
              <a:gd name="T10" fmla="*/ 0 w 4"/>
              <a:gd name="T11" fmla="*/ 0 h 2"/>
              <a:gd name="T12" fmla="*/ 4 w 4"/>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2"/>
                </a:moveTo>
                <a:lnTo>
                  <a:pt x="4" y="2"/>
                </a:lnTo>
                <a:lnTo>
                  <a:pt x="2" y="0"/>
                </a:lnTo>
                <a:lnTo>
                  <a:pt x="2" y="0"/>
                </a:lnTo>
                <a:lnTo>
                  <a:pt x="0" y="0"/>
                </a:lnTo>
                <a:lnTo>
                  <a:pt x="0" y="0"/>
                </a:lnTo>
                <a:lnTo>
                  <a:pt x="4"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02" name="Freeform 53"/>
          <p:cNvSpPr>
            <a:spLocks/>
          </p:cNvSpPr>
          <p:nvPr userDrawn="1"/>
        </p:nvSpPr>
        <p:spPr bwMode="auto">
          <a:xfrm>
            <a:off x="8405813" y="-885403"/>
            <a:ext cx="15875" cy="9525"/>
          </a:xfrm>
          <a:custGeom>
            <a:avLst/>
            <a:gdLst>
              <a:gd name="T0" fmla="*/ 20 w 20"/>
              <a:gd name="T1" fmla="*/ 10 h 11"/>
              <a:gd name="T2" fmla="*/ 20 w 20"/>
              <a:gd name="T3" fmla="*/ 10 h 11"/>
              <a:gd name="T4" fmla="*/ 19 w 20"/>
              <a:gd name="T5" fmla="*/ 10 h 11"/>
              <a:gd name="T6" fmla="*/ 11 w 20"/>
              <a:gd name="T7" fmla="*/ 11 h 11"/>
              <a:gd name="T8" fmla="*/ 2 w 20"/>
              <a:gd name="T9" fmla="*/ 11 h 11"/>
              <a:gd name="T10" fmla="*/ 2 w 20"/>
              <a:gd name="T11" fmla="*/ 11 h 11"/>
              <a:gd name="T12" fmla="*/ 0 w 20"/>
              <a:gd name="T13" fmla="*/ 8 h 11"/>
              <a:gd name="T14" fmla="*/ 0 w 20"/>
              <a:gd name="T15" fmla="*/ 0 h 11"/>
              <a:gd name="T16" fmla="*/ 0 w 20"/>
              <a:gd name="T17" fmla="*/ 0 h 11"/>
              <a:gd name="T18" fmla="*/ 4 w 20"/>
              <a:gd name="T19" fmla="*/ 0 h 11"/>
              <a:gd name="T20" fmla="*/ 11 w 20"/>
              <a:gd name="T21" fmla="*/ 2 h 11"/>
              <a:gd name="T22" fmla="*/ 17 w 20"/>
              <a:gd name="T23" fmla="*/ 4 h 11"/>
              <a:gd name="T24" fmla="*/ 20 w 20"/>
              <a:gd name="T25"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1">
                <a:moveTo>
                  <a:pt x="20" y="10"/>
                </a:moveTo>
                <a:lnTo>
                  <a:pt x="20" y="10"/>
                </a:lnTo>
                <a:lnTo>
                  <a:pt x="19" y="10"/>
                </a:lnTo>
                <a:lnTo>
                  <a:pt x="11" y="11"/>
                </a:lnTo>
                <a:lnTo>
                  <a:pt x="2" y="11"/>
                </a:lnTo>
                <a:lnTo>
                  <a:pt x="2" y="11"/>
                </a:lnTo>
                <a:lnTo>
                  <a:pt x="0" y="8"/>
                </a:lnTo>
                <a:lnTo>
                  <a:pt x="0" y="0"/>
                </a:lnTo>
                <a:lnTo>
                  <a:pt x="0" y="0"/>
                </a:lnTo>
                <a:lnTo>
                  <a:pt x="4" y="0"/>
                </a:lnTo>
                <a:lnTo>
                  <a:pt x="11" y="2"/>
                </a:lnTo>
                <a:lnTo>
                  <a:pt x="17" y="4"/>
                </a:lnTo>
                <a:lnTo>
                  <a:pt x="20"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03" name="Freeform 54"/>
          <p:cNvSpPr>
            <a:spLocks/>
          </p:cNvSpPr>
          <p:nvPr userDrawn="1"/>
        </p:nvSpPr>
        <p:spPr bwMode="auto">
          <a:xfrm>
            <a:off x="8197850" y="-917153"/>
            <a:ext cx="492125" cy="579438"/>
          </a:xfrm>
          <a:custGeom>
            <a:avLst/>
            <a:gdLst>
              <a:gd name="T0" fmla="*/ 592 w 619"/>
              <a:gd name="T1" fmla="*/ 245 h 729"/>
              <a:gd name="T2" fmla="*/ 588 w 619"/>
              <a:gd name="T3" fmla="*/ 150 h 729"/>
              <a:gd name="T4" fmla="*/ 513 w 619"/>
              <a:gd name="T5" fmla="*/ 57 h 729"/>
              <a:gd name="T6" fmla="*/ 446 w 619"/>
              <a:gd name="T7" fmla="*/ 150 h 729"/>
              <a:gd name="T8" fmla="*/ 460 w 619"/>
              <a:gd name="T9" fmla="*/ 243 h 729"/>
              <a:gd name="T10" fmla="*/ 490 w 619"/>
              <a:gd name="T11" fmla="*/ 256 h 729"/>
              <a:gd name="T12" fmla="*/ 506 w 619"/>
              <a:gd name="T13" fmla="*/ 240 h 729"/>
              <a:gd name="T14" fmla="*/ 568 w 619"/>
              <a:gd name="T15" fmla="*/ 250 h 729"/>
              <a:gd name="T16" fmla="*/ 533 w 619"/>
              <a:gd name="T17" fmla="*/ 345 h 729"/>
              <a:gd name="T18" fmla="*/ 429 w 619"/>
              <a:gd name="T19" fmla="*/ 291 h 729"/>
              <a:gd name="T20" fmla="*/ 417 w 619"/>
              <a:gd name="T21" fmla="*/ 198 h 729"/>
              <a:gd name="T22" fmla="*/ 418 w 619"/>
              <a:gd name="T23" fmla="*/ 183 h 729"/>
              <a:gd name="T24" fmla="*/ 375 w 619"/>
              <a:gd name="T25" fmla="*/ 121 h 729"/>
              <a:gd name="T26" fmla="*/ 424 w 619"/>
              <a:gd name="T27" fmla="*/ 77 h 729"/>
              <a:gd name="T28" fmla="*/ 353 w 619"/>
              <a:gd name="T29" fmla="*/ 28 h 729"/>
              <a:gd name="T30" fmla="*/ 247 w 619"/>
              <a:gd name="T31" fmla="*/ 33 h 729"/>
              <a:gd name="T32" fmla="*/ 225 w 619"/>
              <a:gd name="T33" fmla="*/ 73 h 729"/>
              <a:gd name="T34" fmla="*/ 243 w 619"/>
              <a:gd name="T35" fmla="*/ 104 h 729"/>
              <a:gd name="T36" fmla="*/ 292 w 619"/>
              <a:gd name="T37" fmla="*/ 88 h 729"/>
              <a:gd name="T38" fmla="*/ 219 w 619"/>
              <a:gd name="T39" fmla="*/ 115 h 729"/>
              <a:gd name="T40" fmla="*/ 190 w 619"/>
              <a:gd name="T41" fmla="*/ 110 h 729"/>
              <a:gd name="T42" fmla="*/ 258 w 619"/>
              <a:gd name="T43" fmla="*/ 112 h 729"/>
              <a:gd name="T44" fmla="*/ 261 w 619"/>
              <a:gd name="T45" fmla="*/ 128 h 729"/>
              <a:gd name="T46" fmla="*/ 238 w 619"/>
              <a:gd name="T47" fmla="*/ 152 h 729"/>
              <a:gd name="T48" fmla="*/ 259 w 619"/>
              <a:gd name="T49" fmla="*/ 192 h 729"/>
              <a:gd name="T50" fmla="*/ 133 w 619"/>
              <a:gd name="T51" fmla="*/ 276 h 729"/>
              <a:gd name="T52" fmla="*/ 53 w 619"/>
              <a:gd name="T53" fmla="*/ 252 h 729"/>
              <a:gd name="T54" fmla="*/ 42 w 619"/>
              <a:gd name="T55" fmla="*/ 267 h 729"/>
              <a:gd name="T56" fmla="*/ 51 w 619"/>
              <a:gd name="T57" fmla="*/ 287 h 729"/>
              <a:gd name="T58" fmla="*/ 2 w 619"/>
              <a:gd name="T59" fmla="*/ 305 h 729"/>
              <a:gd name="T60" fmla="*/ 58 w 619"/>
              <a:gd name="T61" fmla="*/ 313 h 729"/>
              <a:gd name="T62" fmla="*/ 37 w 619"/>
              <a:gd name="T63" fmla="*/ 331 h 729"/>
              <a:gd name="T64" fmla="*/ 53 w 619"/>
              <a:gd name="T65" fmla="*/ 345 h 729"/>
              <a:gd name="T66" fmla="*/ 104 w 619"/>
              <a:gd name="T67" fmla="*/ 345 h 729"/>
              <a:gd name="T68" fmla="*/ 117 w 619"/>
              <a:gd name="T69" fmla="*/ 347 h 729"/>
              <a:gd name="T70" fmla="*/ 163 w 619"/>
              <a:gd name="T71" fmla="*/ 309 h 729"/>
              <a:gd name="T72" fmla="*/ 214 w 619"/>
              <a:gd name="T73" fmla="*/ 300 h 729"/>
              <a:gd name="T74" fmla="*/ 283 w 619"/>
              <a:gd name="T75" fmla="*/ 325 h 729"/>
              <a:gd name="T76" fmla="*/ 417 w 619"/>
              <a:gd name="T77" fmla="*/ 386 h 729"/>
              <a:gd name="T78" fmla="*/ 466 w 619"/>
              <a:gd name="T79" fmla="*/ 492 h 729"/>
              <a:gd name="T80" fmla="*/ 464 w 619"/>
              <a:gd name="T81" fmla="*/ 517 h 729"/>
              <a:gd name="T82" fmla="*/ 512 w 619"/>
              <a:gd name="T83" fmla="*/ 526 h 729"/>
              <a:gd name="T84" fmla="*/ 526 w 619"/>
              <a:gd name="T85" fmla="*/ 627 h 729"/>
              <a:gd name="T86" fmla="*/ 462 w 619"/>
              <a:gd name="T87" fmla="*/ 638 h 729"/>
              <a:gd name="T88" fmla="*/ 491 w 619"/>
              <a:gd name="T89" fmla="*/ 651 h 729"/>
              <a:gd name="T90" fmla="*/ 479 w 619"/>
              <a:gd name="T91" fmla="*/ 663 h 729"/>
              <a:gd name="T92" fmla="*/ 475 w 619"/>
              <a:gd name="T93" fmla="*/ 711 h 729"/>
              <a:gd name="T94" fmla="*/ 502 w 619"/>
              <a:gd name="T95" fmla="*/ 693 h 729"/>
              <a:gd name="T96" fmla="*/ 513 w 619"/>
              <a:gd name="T97" fmla="*/ 700 h 729"/>
              <a:gd name="T98" fmla="*/ 544 w 619"/>
              <a:gd name="T99" fmla="*/ 720 h 729"/>
              <a:gd name="T100" fmla="*/ 554 w 619"/>
              <a:gd name="T101" fmla="*/ 678 h 729"/>
              <a:gd name="T102" fmla="*/ 586 w 619"/>
              <a:gd name="T103" fmla="*/ 689 h 729"/>
              <a:gd name="T104" fmla="*/ 590 w 619"/>
              <a:gd name="T105" fmla="*/ 625 h 729"/>
              <a:gd name="T106" fmla="*/ 603 w 619"/>
              <a:gd name="T107" fmla="*/ 598 h 729"/>
              <a:gd name="T108" fmla="*/ 599 w 619"/>
              <a:gd name="T109" fmla="*/ 552 h 729"/>
              <a:gd name="T110" fmla="*/ 574 w 619"/>
              <a:gd name="T111" fmla="*/ 508 h 729"/>
              <a:gd name="T112" fmla="*/ 532 w 619"/>
              <a:gd name="T113" fmla="*/ 462 h 729"/>
              <a:gd name="T114" fmla="*/ 532 w 619"/>
              <a:gd name="T115" fmla="*/ 419 h 729"/>
              <a:gd name="T116" fmla="*/ 539 w 619"/>
              <a:gd name="T117" fmla="*/ 377 h 729"/>
              <a:gd name="T118" fmla="*/ 618 w 619"/>
              <a:gd name="T119" fmla="*/ 316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9" h="729">
                <a:moveTo>
                  <a:pt x="603" y="280"/>
                </a:moveTo>
                <a:lnTo>
                  <a:pt x="603" y="280"/>
                </a:lnTo>
                <a:lnTo>
                  <a:pt x="612" y="282"/>
                </a:lnTo>
                <a:lnTo>
                  <a:pt x="619" y="280"/>
                </a:lnTo>
                <a:lnTo>
                  <a:pt x="619" y="280"/>
                </a:lnTo>
                <a:lnTo>
                  <a:pt x="618" y="269"/>
                </a:lnTo>
                <a:lnTo>
                  <a:pt x="616" y="252"/>
                </a:lnTo>
                <a:lnTo>
                  <a:pt x="616" y="252"/>
                </a:lnTo>
                <a:lnTo>
                  <a:pt x="610" y="252"/>
                </a:lnTo>
                <a:lnTo>
                  <a:pt x="605" y="252"/>
                </a:lnTo>
                <a:lnTo>
                  <a:pt x="599" y="250"/>
                </a:lnTo>
                <a:lnTo>
                  <a:pt x="592" y="245"/>
                </a:lnTo>
                <a:lnTo>
                  <a:pt x="592" y="245"/>
                </a:lnTo>
                <a:lnTo>
                  <a:pt x="588" y="238"/>
                </a:lnTo>
                <a:lnTo>
                  <a:pt x="588" y="238"/>
                </a:lnTo>
                <a:lnTo>
                  <a:pt x="577" y="223"/>
                </a:lnTo>
                <a:lnTo>
                  <a:pt x="565" y="212"/>
                </a:lnTo>
                <a:lnTo>
                  <a:pt x="552" y="203"/>
                </a:lnTo>
                <a:lnTo>
                  <a:pt x="541" y="196"/>
                </a:lnTo>
                <a:lnTo>
                  <a:pt x="541" y="196"/>
                </a:lnTo>
                <a:lnTo>
                  <a:pt x="559" y="185"/>
                </a:lnTo>
                <a:lnTo>
                  <a:pt x="572" y="174"/>
                </a:lnTo>
                <a:lnTo>
                  <a:pt x="581" y="165"/>
                </a:lnTo>
                <a:lnTo>
                  <a:pt x="585" y="157"/>
                </a:lnTo>
                <a:lnTo>
                  <a:pt x="585" y="157"/>
                </a:lnTo>
                <a:lnTo>
                  <a:pt x="588" y="150"/>
                </a:lnTo>
                <a:lnTo>
                  <a:pt x="592" y="139"/>
                </a:lnTo>
                <a:lnTo>
                  <a:pt x="592" y="128"/>
                </a:lnTo>
                <a:lnTo>
                  <a:pt x="592" y="115"/>
                </a:lnTo>
                <a:lnTo>
                  <a:pt x="588" y="103"/>
                </a:lnTo>
                <a:lnTo>
                  <a:pt x="583" y="90"/>
                </a:lnTo>
                <a:lnTo>
                  <a:pt x="574" y="79"/>
                </a:lnTo>
                <a:lnTo>
                  <a:pt x="566" y="73"/>
                </a:lnTo>
                <a:lnTo>
                  <a:pt x="559" y="68"/>
                </a:lnTo>
                <a:lnTo>
                  <a:pt x="559" y="68"/>
                </a:lnTo>
                <a:lnTo>
                  <a:pt x="548" y="62"/>
                </a:lnTo>
                <a:lnTo>
                  <a:pt x="535" y="59"/>
                </a:lnTo>
                <a:lnTo>
                  <a:pt x="524" y="57"/>
                </a:lnTo>
                <a:lnTo>
                  <a:pt x="513" y="57"/>
                </a:lnTo>
                <a:lnTo>
                  <a:pt x="495" y="60"/>
                </a:lnTo>
                <a:lnTo>
                  <a:pt x="481" y="64"/>
                </a:lnTo>
                <a:lnTo>
                  <a:pt x="481" y="64"/>
                </a:lnTo>
                <a:lnTo>
                  <a:pt x="471" y="70"/>
                </a:lnTo>
                <a:lnTo>
                  <a:pt x="462" y="77"/>
                </a:lnTo>
                <a:lnTo>
                  <a:pt x="455" y="84"/>
                </a:lnTo>
                <a:lnTo>
                  <a:pt x="449" y="93"/>
                </a:lnTo>
                <a:lnTo>
                  <a:pt x="446" y="104"/>
                </a:lnTo>
                <a:lnTo>
                  <a:pt x="442" y="115"/>
                </a:lnTo>
                <a:lnTo>
                  <a:pt x="442" y="126"/>
                </a:lnTo>
                <a:lnTo>
                  <a:pt x="442" y="141"/>
                </a:lnTo>
                <a:lnTo>
                  <a:pt x="442" y="141"/>
                </a:lnTo>
                <a:lnTo>
                  <a:pt x="446" y="150"/>
                </a:lnTo>
                <a:lnTo>
                  <a:pt x="449" y="159"/>
                </a:lnTo>
                <a:lnTo>
                  <a:pt x="455" y="168"/>
                </a:lnTo>
                <a:lnTo>
                  <a:pt x="460" y="174"/>
                </a:lnTo>
                <a:lnTo>
                  <a:pt x="477" y="185"/>
                </a:lnTo>
                <a:lnTo>
                  <a:pt x="495" y="196"/>
                </a:lnTo>
                <a:lnTo>
                  <a:pt x="495" y="196"/>
                </a:lnTo>
                <a:lnTo>
                  <a:pt x="481" y="203"/>
                </a:lnTo>
                <a:lnTo>
                  <a:pt x="470" y="214"/>
                </a:lnTo>
                <a:lnTo>
                  <a:pt x="466" y="219"/>
                </a:lnTo>
                <a:lnTo>
                  <a:pt x="464" y="227"/>
                </a:lnTo>
                <a:lnTo>
                  <a:pt x="462" y="234"/>
                </a:lnTo>
                <a:lnTo>
                  <a:pt x="460" y="243"/>
                </a:lnTo>
                <a:lnTo>
                  <a:pt x="460" y="243"/>
                </a:lnTo>
                <a:lnTo>
                  <a:pt x="462" y="254"/>
                </a:lnTo>
                <a:lnTo>
                  <a:pt x="466" y="267"/>
                </a:lnTo>
                <a:lnTo>
                  <a:pt x="468" y="282"/>
                </a:lnTo>
                <a:lnTo>
                  <a:pt x="468" y="291"/>
                </a:lnTo>
                <a:lnTo>
                  <a:pt x="466" y="300"/>
                </a:lnTo>
                <a:lnTo>
                  <a:pt x="466" y="300"/>
                </a:lnTo>
                <a:lnTo>
                  <a:pt x="468" y="300"/>
                </a:lnTo>
                <a:lnTo>
                  <a:pt x="475" y="298"/>
                </a:lnTo>
                <a:lnTo>
                  <a:pt x="484" y="291"/>
                </a:lnTo>
                <a:lnTo>
                  <a:pt x="484" y="291"/>
                </a:lnTo>
                <a:lnTo>
                  <a:pt x="488" y="280"/>
                </a:lnTo>
                <a:lnTo>
                  <a:pt x="490" y="269"/>
                </a:lnTo>
                <a:lnTo>
                  <a:pt x="490" y="256"/>
                </a:lnTo>
                <a:lnTo>
                  <a:pt x="490" y="256"/>
                </a:lnTo>
                <a:lnTo>
                  <a:pt x="493" y="261"/>
                </a:lnTo>
                <a:lnTo>
                  <a:pt x="495" y="271"/>
                </a:lnTo>
                <a:lnTo>
                  <a:pt x="495" y="278"/>
                </a:lnTo>
                <a:lnTo>
                  <a:pt x="493" y="285"/>
                </a:lnTo>
                <a:lnTo>
                  <a:pt x="493" y="285"/>
                </a:lnTo>
                <a:lnTo>
                  <a:pt x="501" y="282"/>
                </a:lnTo>
                <a:lnTo>
                  <a:pt x="504" y="278"/>
                </a:lnTo>
                <a:lnTo>
                  <a:pt x="508" y="274"/>
                </a:lnTo>
                <a:lnTo>
                  <a:pt x="508" y="274"/>
                </a:lnTo>
                <a:lnTo>
                  <a:pt x="510" y="261"/>
                </a:lnTo>
                <a:lnTo>
                  <a:pt x="510" y="249"/>
                </a:lnTo>
                <a:lnTo>
                  <a:pt x="506" y="240"/>
                </a:lnTo>
                <a:lnTo>
                  <a:pt x="504" y="232"/>
                </a:lnTo>
                <a:lnTo>
                  <a:pt x="504" y="232"/>
                </a:lnTo>
                <a:lnTo>
                  <a:pt x="502" y="225"/>
                </a:lnTo>
                <a:lnTo>
                  <a:pt x="504" y="218"/>
                </a:lnTo>
                <a:lnTo>
                  <a:pt x="510" y="210"/>
                </a:lnTo>
                <a:lnTo>
                  <a:pt x="515" y="207"/>
                </a:lnTo>
                <a:lnTo>
                  <a:pt x="515" y="207"/>
                </a:lnTo>
                <a:lnTo>
                  <a:pt x="533" y="216"/>
                </a:lnTo>
                <a:lnTo>
                  <a:pt x="533" y="216"/>
                </a:lnTo>
                <a:lnTo>
                  <a:pt x="541" y="221"/>
                </a:lnTo>
                <a:lnTo>
                  <a:pt x="552" y="230"/>
                </a:lnTo>
                <a:lnTo>
                  <a:pt x="563" y="243"/>
                </a:lnTo>
                <a:lnTo>
                  <a:pt x="568" y="250"/>
                </a:lnTo>
                <a:lnTo>
                  <a:pt x="572" y="260"/>
                </a:lnTo>
                <a:lnTo>
                  <a:pt x="572" y="260"/>
                </a:lnTo>
                <a:lnTo>
                  <a:pt x="577" y="271"/>
                </a:lnTo>
                <a:lnTo>
                  <a:pt x="579" y="282"/>
                </a:lnTo>
                <a:lnTo>
                  <a:pt x="579" y="291"/>
                </a:lnTo>
                <a:lnTo>
                  <a:pt x="579" y="300"/>
                </a:lnTo>
                <a:lnTo>
                  <a:pt x="576" y="313"/>
                </a:lnTo>
                <a:lnTo>
                  <a:pt x="572" y="320"/>
                </a:lnTo>
                <a:lnTo>
                  <a:pt x="572" y="320"/>
                </a:lnTo>
                <a:lnTo>
                  <a:pt x="565" y="329"/>
                </a:lnTo>
                <a:lnTo>
                  <a:pt x="557" y="338"/>
                </a:lnTo>
                <a:lnTo>
                  <a:pt x="546" y="344"/>
                </a:lnTo>
                <a:lnTo>
                  <a:pt x="533" y="345"/>
                </a:lnTo>
                <a:lnTo>
                  <a:pt x="533" y="345"/>
                </a:lnTo>
                <a:lnTo>
                  <a:pt x="532" y="345"/>
                </a:lnTo>
                <a:lnTo>
                  <a:pt x="532" y="345"/>
                </a:lnTo>
                <a:lnTo>
                  <a:pt x="517" y="345"/>
                </a:lnTo>
                <a:lnTo>
                  <a:pt x="517" y="345"/>
                </a:lnTo>
                <a:lnTo>
                  <a:pt x="504" y="342"/>
                </a:lnTo>
                <a:lnTo>
                  <a:pt x="504" y="342"/>
                </a:lnTo>
                <a:lnTo>
                  <a:pt x="493" y="338"/>
                </a:lnTo>
                <a:lnTo>
                  <a:pt x="493" y="338"/>
                </a:lnTo>
                <a:lnTo>
                  <a:pt x="482" y="333"/>
                </a:lnTo>
                <a:lnTo>
                  <a:pt x="466" y="322"/>
                </a:lnTo>
                <a:lnTo>
                  <a:pt x="448" y="309"/>
                </a:lnTo>
                <a:lnTo>
                  <a:pt x="429" y="291"/>
                </a:lnTo>
                <a:lnTo>
                  <a:pt x="429" y="291"/>
                </a:lnTo>
                <a:lnTo>
                  <a:pt x="406" y="261"/>
                </a:lnTo>
                <a:lnTo>
                  <a:pt x="389" y="241"/>
                </a:lnTo>
                <a:lnTo>
                  <a:pt x="389" y="241"/>
                </a:lnTo>
                <a:lnTo>
                  <a:pt x="398" y="245"/>
                </a:lnTo>
                <a:lnTo>
                  <a:pt x="406" y="245"/>
                </a:lnTo>
                <a:lnTo>
                  <a:pt x="415" y="245"/>
                </a:lnTo>
                <a:lnTo>
                  <a:pt x="415" y="245"/>
                </a:lnTo>
                <a:lnTo>
                  <a:pt x="417" y="229"/>
                </a:lnTo>
                <a:lnTo>
                  <a:pt x="417" y="212"/>
                </a:lnTo>
                <a:lnTo>
                  <a:pt x="417" y="212"/>
                </a:lnTo>
                <a:lnTo>
                  <a:pt x="417" y="198"/>
                </a:lnTo>
                <a:lnTo>
                  <a:pt x="417" y="198"/>
                </a:lnTo>
                <a:lnTo>
                  <a:pt x="411" y="198"/>
                </a:lnTo>
                <a:lnTo>
                  <a:pt x="398" y="194"/>
                </a:lnTo>
                <a:lnTo>
                  <a:pt x="393" y="192"/>
                </a:lnTo>
                <a:lnTo>
                  <a:pt x="386" y="188"/>
                </a:lnTo>
                <a:lnTo>
                  <a:pt x="380" y="185"/>
                </a:lnTo>
                <a:lnTo>
                  <a:pt x="376" y="179"/>
                </a:lnTo>
                <a:lnTo>
                  <a:pt x="376" y="179"/>
                </a:lnTo>
                <a:lnTo>
                  <a:pt x="382" y="181"/>
                </a:lnTo>
                <a:lnTo>
                  <a:pt x="387" y="183"/>
                </a:lnTo>
                <a:lnTo>
                  <a:pt x="395" y="185"/>
                </a:lnTo>
                <a:lnTo>
                  <a:pt x="395" y="185"/>
                </a:lnTo>
                <a:lnTo>
                  <a:pt x="411" y="183"/>
                </a:lnTo>
                <a:lnTo>
                  <a:pt x="418" y="183"/>
                </a:lnTo>
                <a:lnTo>
                  <a:pt x="418" y="183"/>
                </a:lnTo>
                <a:lnTo>
                  <a:pt x="420" y="166"/>
                </a:lnTo>
                <a:lnTo>
                  <a:pt x="420" y="152"/>
                </a:lnTo>
                <a:lnTo>
                  <a:pt x="420" y="152"/>
                </a:lnTo>
                <a:lnTo>
                  <a:pt x="420" y="137"/>
                </a:lnTo>
                <a:lnTo>
                  <a:pt x="420" y="137"/>
                </a:lnTo>
                <a:lnTo>
                  <a:pt x="409" y="137"/>
                </a:lnTo>
                <a:lnTo>
                  <a:pt x="396" y="135"/>
                </a:lnTo>
                <a:lnTo>
                  <a:pt x="396" y="135"/>
                </a:lnTo>
                <a:lnTo>
                  <a:pt x="384" y="130"/>
                </a:lnTo>
                <a:lnTo>
                  <a:pt x="378" y="126"/>
                </a:lnTo>
                <a:lnTo>
                  <a:pt x="375" y="121"/>
                </a:lnTo>
                <a:lnTo>
                  <a:pt x="375" y="121"/>
                </a:lnTo>
                <a:lnTo>
                  <a:pt x="380" y="123"/>
                </a:lnTo>
                <a:lnTo>
                  <a:pt x="395" y="126"/>
                </a:lnTo>
                <a:lnTo>
                  <a:pt x="395" y="126"/>
                </a:lnTo>
                <a:lnTo>
                  <a:pt x="404" y="126"/>
                </a:lnTo>
                <a:lnTo>
                  <a:pt x="413" y="124"/>
                </a:lnTo>
                <a:lnTo>
                  <a:pt x="420" y="124"/>
                </a:lnTo>
                <a:lnTo>
                  <a:pt x="422" y="123"/>
                </a:lnTo>
                <a:lnTo>
                  <a:pt x="422" y="123"/>
                </a:lnTo>
                <a:lnTo>
                  <a:pt x="422" y="93"/>
                </a:lnTo>
                <a:lnTo>
                  <a:pt x="422" y="93"/>
                </a:lnTo>
                <a:lnTo>
                  <a:pt x="424" y="86"/>
                </a:lnTo>
                <a:lnTo>
                  <a:pt x="424" y="77"/>
                </a:lnTo>
                <a:lnTo>
                  <a:pt x="424" y="77"/>
                </a:lnTo>
                <a:lnTo>
                  <a:pt x="418" y="77"/>
                </a:lnTo>
                <a:lnTo>
                  <a:pt x="407" y="75"/>
                </a:lnTo>
                <a:lnTo>
                  <a:pt x="395" y="70"/>
                </a:lnTo>
                <a:lnTo>
                  <a:pt x="389" y="66"/>
                </a:lnTo>
                <a:lnTo>
                  <a:pt x="382" y="60"/>
                </a:lnTo>
                <a:lnTo>
                  <a:pt x="382" y="60"/>
                </a:lnTo>
                <a:lnTo>
                  <a:pt x="380" y="57"/>
                </a:lnTo>
                <a:lnTo>
                  <a:pt x="380" y="53"/>
                </a:lnTo>
                <a:lnTo>
                  <a:pt x="382" y="46"/>
                </a:lnTo>
                <a:lnTo>
                  <a:pt x="382" y="46"/>
                </a:lnTo>
                <a:lnTo>
                  <a:pt x="349" y="31"/>
                </a:lnTo>
                <a:lnTo>
                  <a:pt x="349" y="31"/>
                </a:lnTo>
                <a:lnTo>
                  <a:pt x="353" y="28"/>
                </a:lnTo>
                <a:lnTo>
                  <a:pt x="356" y="22"/>
                </a:lnTo>
                <a:lnTo>
                  <a:pt x="356" y="18"/>
                </a:lnTo>
                <a:lnTo>
                  <a:pt x="356" y="18"/>
                </a:lnTo>
                <a:lnTo>
                  <a:pt x="354" y="13"/>
                </a:lnTo>
                <a:lnTo>
                  <a:pt x="349" y="9"/>
                </a:lnTo>
                <a:lnTo>
                  <a:pt x="343" y="8"/>
                </a:lnTo>
                <a:lnTo>
                  <a:pt x="336" y="8"/>
                </a:lnTo>
                <a:lnTo>
                  <a:pt x="336" y="8"/>
                </a:lnTo>
                <a:lnTo>
                  <a:pt x="329" y="9"/>
                </a:lnTo>
                <a:lnTo>
                  <a:pt x="325" y="13"/>
                </a:lnTo>
                <a:lnTo>
                  <a:pt x="320" y="18"/>
                </a:lnTo>
                <a:lnTo>
                  <a:pt x="280" y="0"/>
                </a:lnTo>
                <a:lnTo>
                  <a:pt x="247" y="33"/>
                </a:lnTo>
                <a:lnTo>
                  <a:pt x="247" y="33"/>
                </a:lnTo>
                <a:lnTo>
                  <a:pt x="245" y="35"/>
                </a:lnTo>
                <a:lnTo>
                  <a:pt x="245" y="39"/>
                </a:lnTo>
                <a:lnTo>
                  <a:pt x="245" y="42"/>
                </a:lnTo>
                <a:lnTo>
                  <a:pt x="245" y="42"/>
                </a:lnTo>
                <a:lnTo>
                  <a:pt x="245" y="44"/>
                </a:lnTo>
                <a:lnTo>
                  <a:pt x="243" y="46"/>
                </a:lnTo>
                <a:lnTo>
                  <a:pt x="243" y="46"/>
                </a:lnTo>
                <a:lnTo>
                  <a:pt x="234" y="57"/>
                </a:lnTo>
                <a:lnTo>
                  <a:pt x="234" y="57"/>
                </a:lnTo>
                <a:lnTo>
                  <a:pt x="228" y="66"/>
                </a:lnTo>
                <a:lnTo>
                  <a:pt x="228" y="66"/>
                </a:lnTo>
                <a:lnTo>
                  <a:pt x="225" y="73"/>
                </a:lnTo>
                <a:lnTo>
                  <a:pt x="223" y="79"/>
                </a:lnTo>
                <a:lnTo>
                  <a:pt x="223" y="79"/>
                </a:lnTo>
                <a:lnTo>
                  <a:pt x="221" y="81"/>
                </a:lnTo>
                <a:lnTo>
                  <a:pt x="221" y="84"/>
                </a:lnTo>
                <a:lnTo>
                  <a:pt x="225" y="92"/>
                </a:lnTo>
                <a:lnTo>
                  <a:pt x="234" y="99"/>
                </a:lnTo>
                <a:lnTo>
                  <a:pt x="234" y="101"/>
                </a:lnTo>
                <a:lnTo>
                  <a:pt x="234" y="101"/>
                </a:lnTo>
                <a:lnTo>
                  <a:pt x="236" y="99"/>
                </a:lnTo>
                <a:lnTo>
                  <a:pt x="238" y="99"/>
                </a:lnTo>
                <a:lnTo>
                  <a:pt x="238" y="99"/>
                </a:lnTo>
                <a:lnTo>
                  <a:pt x="243" y="104"/>
                </a:lnTo>
                <a:lnTo>
                  <a:pt x="243" y="104"/>
                </a:lnTo>
                <a:lnTo>
                  <a:pt x="245" y="101"/>
                </a:lnTo>
                <a:lnTo>
                  <a:pt x="248" y="95"/>
                </a:lnTo>
                <a:lnTo>
                  <a:pt x="248" y="95"/>
                </a:lnTo>
                <a:lnTo>
                  <a:pt x="254" y="88"/>
                </a:lnTo>
                <a:lnTo>
                  <a:pt x="261" y="82"/>
                </a:lnTo>
                <a:lnTo>
                  <a:pt x="261" y="82"/>
                </a:lnTo>
                <a:lnTo>
                  <a:pt x="269" y="79"/>
                </a:lnTo>
                <a:lnTo>
                  <a:pt x="276" y="79"/>
                </a:lnTo>
                <a:lnTo>
                  <a:pt x="276" y="79"/>
                </a:lnTo>
                <a:lnTo>
                  <a:pt x="283" y="79"/>
                </a:lnTo>
                <a:lnTo>
                  <a:pt x="289" y="82"/>
                </a:lnTo>
                <a:lnTo>
                  <a:pt x="289" y="82"/>
                </a:lnTo>
                <a:lnTo>
                  <a:pt x="292" y="88"/>
                </a:lnTo>
                <a:lnTo>
                  <a:pt x="294" y="95"/>
                </a:lnTo>
                <a:lnTo>
                  <a:pt x="294" y="103"/>
                </a:lnTo>
                <a:lnTo>
                  <a:pt x="294" y="108"/>
                </a:lnTo>
                <a:lnTo>
                  <a:pt x="294" y="108"/>
                </a:lnTo>
                <a:lnTo>
                  <a:pt x="290" y="104"/>
                </a:lnTo>
                <a:lnTo>
                  <a:pt x="290" y="104"/>
                </a:lnTo>
                <a:lnTo>
                  <a:pt x="285" y="103"/>
                </a:lnTo>
                <a:lnTo>
                  <a:pt x="276" y="101"/>
                </a:lnTo>
                <a:lnTo>
                  <a:pt x="265" y="101"/>
                </a:lnTo>
                <a:lnTo>
                  <a:pt x="254" y="103"/>
                </a:lnTo>
                <a:lnTo>
                  <a:pt x="254" y="103"/>
                </a:lnTo>
                <a:lnTo>
                  <a:pt x="241" y="108"/>
                </a:lnTo>
                <a:lnTo>
                  <a:pt x="219" y="115"/>
                </a:lnTo>
                <a:lnTo>
                  <a:pt x="219" y="115"/>
                </a:lnTo>
                <a:lnTo>
                  <a:pt x="214" y="117"/>
                </a:lnTo>
                <a:lnTo>
                  <a:pt x="208" y="117"/>
                </a:lnTo>
                <a:lnTo>
                  <a:pt x="205" y="113"/>
                </a:lnTo>
                <a:lnTo>
                  <a:pt x="203" y="110"/>
                </a:lnTo>
                <a:lnTo>
                  <a:pt x="203" y="110"/>
                </a:lnTo>
                <a:lnTo>
                  <a:pt x="203" y="104"/>
                </a:lnTo>
                <a:lnTo>
                  <a:pt x="203" y="101"/>
                </a:lnTo>
                <a:lnTo>
                  <a:pt x="205" y="97"/>
                </a:lnTo>
                <a:lnTo>
                  <a:pt x="205" y="97"/>
                </a:lnTo>
                <a:lnTo>
                  <a:pt x="199" y="101"/>
                </a:lnTo>
                <a:lnTo>
                  <a:pt x="194" y="104"/>
                </a:lnTo>
                <a:lnTo>
                  <a:pt x="190" y="110"/>
                </a:lnTo>
                <a:lnTo>
                  <a:pt x="190" y="110"/>
                </a:lnTo>
                <a:lnTo>
                  <a:pt x="190" y="117"/>
                </a:lnTo>
                <a:lnTo>
                  <a:pt x="192" y="124"/>
                </a:lnTo>
                <a:lnTo>
                  <a:pt x="195" y="128"/>
                </a:lnTo>
                <a:lnTo>
                  <a:pt x="201" y="132"/>
                </a:lnTo>
                <a:lnTo>
                  <a:pt x="201" y="132"/>
                </a:lnTo>
                <a:lnTo>
                  <a:pt x="208" y="132"/>
                </a:lnTo>
                <a:lnTo>
                  <a:pt x="217" y="130"/>
                </a:lnTo>
                <a:lnTo>
                  <a:pt x="234" y="123"/>
                </a:lnTo>
                <a:lnTo>
                  <a:pt x="234" y="123"/>
                </a:lnTo>
                <a:lnTo>
                  <a:pt x="250" y="113"/>
                </a:lnTo>
                <a:lnTo>
                  <a:pt x="250" y="113"/>
                </a:lnTo>
                <a:lnTo>
                  <a:pt x="258" y="112"/>
                </a:lnTo>
                <a:lnTo>
                  <a:pt x="263" y="110"/>
                </a:lnTo>
                <a:lnTo>
                  <a:pt x="270" y="112"/>
                </a:lnTo>
                <a:lnTo>
                  <a:pt x="278" y="113"/>
                </a:lnTo>
                <a:lnTo>
                  <a:pt x="278" y="113"/>
                </a:lnTo>
                <a:lnTo>
                  <a:pt x="285" y="119"/>
                </a:lnTo>
                <a:lnTo>
                  <a:pt x="289" y="121"/>
                </a:lnTo>
                <a:lnTo>
                  <a:pt x="289" y="121"/>
                </a:lnTo>
                <a:lnTo>
                  <a:pt x="285" y="126"/>
                </a:lnTo>
                <a:lnTo>
                  <a:pt x="281" y="130"/>
                </a:lnTo>
                <a:lnTo>
                  <a:pt x="274" y="130"/>
                </a:lnTo>
                <a:lnTo>
                  <a:pt x="274" y="130"/>
                </a:lnTo>
                <a:lnTo>
                  <a:pt x="267" y="130"/>
                </a:lnTo>
                <a:lnTo>
                  <a:pt x="261" y="128"/>
                </a:lnTo>
                <a:lnTo>
                  <a:pt x="256" y="124"/>
                </a:lnTo>
                <a:lnTo>
                  <a:pt x="254" y="121"/>
                </a:lnTo>
                <a:lnTo>
                  <a:pt x="254" y="121"/>
                </a:lnTo>
                <a:lnTo>
                  <a:pt x="250" y="128"/>
                </a:lnTo>
                <a:lnTo>
                  <a:pt x="250" y="128"/>
                </a:lnTo>
                <a:lnTo>
                  <a:pt x="248" y="132"/>
                </a:lnTo>
                <a:lnTo>
                  <a:pt x="248" y="135"/>
                </a:lnTo>
                <a:lnTo>
                  <a:pt x="250" y="137"/>
                </a:lnTo>
                <a:lnTo>
                  <a:pt x="248" y="141"/>
                </a:lnTo>
                <a:lnTo>
                  <a:pt x="248" y="141"/>
                </a:lnTo>
                <a:lnTo>
                  <a:pt x="247" y="143"/>
                </a:lnTo>
                <a:lnTo>
                  <a:pt x="245" y="146"/>
                </a:lnTo>
                <a:lnTo>
                  <a:pt x="238" y="152"/>
                </a:lnTo>
                <a:lnTo>
                  <a:pt x="238" y="152"/>
                </a:lnTo>
                <a:lnTo>
                  <a:pt x="227" y="157"/>
                </a:lnTo>
                <a:lnTo>
                  <a:pt x="219" y="159"/>
                </a:lnTo>
                <a:lnTo>
                  <a:pt x="219" y="159"/>
                </a:lnTo>
                <a:lnTo>
                  <a:pt x="227" y="176"/>
                </a:lnTo>
                <a:lnTo>
                  <a:pt x="227" y="176"/>
                </a:lnTo>
                <a:lnTo>
                  <a:pt x="232" y="187"/>
                </a:lnTo>
                <a:lnTo>
                  <a:pt x="236" y="194"/>
                </a:lnTo>
                <a:lnTo>
                  <a:pt x="239" y="199"/>
                </a:lnTo>
                <a:lnTo>
                  <a:pt x="239" y="199"/>
                </a:lnTo>
                <a:lnTo>
                  <a:pt x="247" y="198"/>
                </a:lnTo>
                <a:lnTo>
                  <a:pt x="259" y="192"/>
                </a:lnTo>
                <a:lnTo>
                  <a:pt x="259" y="192"/>
                </a:lnTo>
                <a:lnTo>
                  <a:pt x="269" y="185"/>
                </a:lnTo>
                <a:lnTo>
                  <a:pt x="274" y="177"/>
                </a:lnTo>
                <a:lnTo>
                  <a:pt x="274" y="177"/>
                </a:lnTo>
                <a:lnTo>
                  <a:pt x="267" y="194"/>
                </a:lnTo>
                <a:lnTo>
                  <a:pt x="261" y="203"/>
                </a:lnTo>
                <a:lnTo>
                  <a:pt x="254" y="210"/>
                </a:lnTo>
                <a:lnTo>
                  <a:pt x="248" y="216"/>
                </a:lnTo>
                <a:lnTo>
                  <a:pt x="248" y="216"/>
                </a:lnTo>
                <a:lnTo>
                  <a:pt x="225" y="232"/>
                </a:lnTo>
                <a:lnTo>
                  <a:pt x="192" y="250"/>
                </a:lnTo>
                <a:lnTo>
                  <a:pt x="172" y="261"/>
                </a:lnTo>
                <a:lnTo>
                  <a:pt x="153" y="269"/>
                </a:lnTo>
                <a:lnTo>
                  <a:pt x="133" y="276"/>
                </a:lnTo>
                <a:lnTo>
                  <a:pt x="113" y="280"/>
                </a:lnTo>
                <a:lnTo>
                  <a:pt x="113" y="280"/>
                </a:lnTo>
                <a:lnTo>
                  <a:pt x="108" y="278"/>
                </a:lnTo>
                <a:lnTo>
                  <a:pt x="100" y="276"/>
                </a:lnTo>
                <a:lnTo>
                  <a:pt x="88" y="267"/>
                </a:lnTo>
                <a:lnTo>
                  <a:pt x="75" y="258"/>
                </a:lnTo>
                <a:lnTo>
                  <a:pt x="68" y="249"/>
                </a:lnTo>
                <a:lnTo>
                  <a:pt x="68" y="249"/>
                </a:lnTo>
                <a:lnTo>
                  <a:pt x="66" y="249"/>
                </a:lnTo>
                <a:lnTo>
                  <a:pt x="62" y="247"/>
                </a:lnTo>
                <a:lnTo>
                  <a:pt x="58" y="249"/>
                </a:lnTo>
                <a:lnTo>
                  <a:pt x="53" y="252"/>
                </a:lnTo>
                <a:lnTo>
                  <a:pt x="53" y="252"/>
                </a:lnTo>
                <a:lnTo>
                  <a:pt x="49" y="252"/>
                </a:lnTo>
                <a:lnTo>
                  <a:pt x="42" y="252"/>
                </a:lnTo>
                <a:lnTo>
                  <a:pt x="31" y="254"/>
                </a:lnTo>
                <a:lnTo>
                  <a:pt x="27" y="258"/>
                </a:lnTo>
                <a:lnTo>
                  <a:pt x="24" y="261"/>
                </a:lnTo>
                <a:lnTo>
                  <a:pt x="24" y="261"/>
                </a:lnTo>
                <a:lnTo>
                  <a:pt x="24" y="263"/>
                </a:lnTo>
                <a:lnTo>
                  <a:pt x="29" y="263"/>
                </a:lnTo>
                <a:lnTo>
                  <a:pt x="35" y="261"/>
                </a:lnTo>
                <a:lnTo>
                  <a:pt x="42" y="263"/>
                </a:lnTo>
                <a:lnTo>
                  <a:pt x="42" y="263"/>
                </a:lnTo>
                <a:lnTo>
                  <a:pt x="44" y="265"/>
                </a:lnTo>
                <a:lnTo>
                  <a:pt x="42" y="267"/>
                </a:lnTo>
                <a:lnTo>
                  <a:pt x="40" y="269"/>
                </a:lnTo>
                <a:lnTo>
                  <a:pt x="40" y="272"/>
                </a:lnTo>
                <a:lnTo>
                  <a:pt x="40" y="272"/>
                </a:lnTo>
                <a:lnTo>
                  <a:pt x="40" y="274"/>
                </a:lnTo>
                <a:lnTo>
                  <a:pt x="44" y="278"/>
                </a:lnTo>
                <a:lnTo>
                  <a:pt x="53" y="282"/>
                </a:lnTo>
                <a:lnTo>
                  <a:pt x="71" y="289"/>
                </a:lnTo>
                <a:lnTo>
                  <a:pt x="71" y="289"/>
                </a:lnTo>
                <a:lnTo>
                  <a:pt x="73" y="291"/>
                </a:lnTo>
                <a:lnTo>
                  <a:pt x="73" y="293"/>
                </a:lnTo>
                <a:lnTo>
                  <a:pt x="73" y="293"/>
                </a:lnTo>
                <a:lnTo>
                  <a:pt x="60" y="291"/>
                </a:lnTo>
                <a:lnTo>
                  <a:pt x="51" y="287"/>
                </a:lnTo>
                <a:lnTo>
                  <a:pt x="38" y="282"/>
                </a:lnTo>
                <a:lnTo>
                  <a:pt x="38" y="282"/>
                </a:lnTo>
                <a:lnTo>
                  <a:pt x="29" y="280"/>
                </a:lnTo>
                <a:lnTo>
                  <a:pt x="24" y="280"/>
                </a:lnTo>
                <a:lnTo>
                  <a:pt x="22" y="283"/>
                </a:lnTo>
                <a:lnTo>
                  <a:pt x="20" y="287"/>
                </a:lnTo>
                <a:lnTo>
                  <a:pt x="20" y="287"/>
                </a:lnTo>
                <a:lnTo>
                  <a:pt x="18" y="289"/>
                </a:lnTo>
                <a:lnTo>
                  <a:pt x="16" y="289"/>
                </a:lnTo>
                <a:lnTo>
                  <a:pt x="11" y="293"/>
                </a:lnTo>
                <a:lnTo>
                  <a:pt x="7" y="294"/>
                </a:lnTo>
                <a:lnTo>
                  <a:pt x="4" y="300"/>
                </a:lnTo>
                <a:lnTo>
                  <a:pt x="2" y="305"/>
                </a:lnTo>
                <a:lnTo>
                  <a:pt x="0" y="314"/>
                </a:lnTo>
                <a:lnTo>
                  <a:pt x="0" y="314"/>
                </a:lnTo>
                <a:lnTo>
                  <a:pt x="4" y="313"/>
                </a:lnTo>
                <a:lnTo>
                  <a:pt x="9" y="307"/>
                </a:lnTo>
                <a:lnTo>
                  <a:pt x="15" y="303"/>
                </a:lnTo>
                <a:lnTo>
                  <a:pt x="18" y="302"/>
                </a:lnTo>
                <a:lnTo>
                  <a:pt x="18" y="303"/>
                </a:lnTo>
                <a:lnTo>
                  <a:pt x="18" y="303"/>
                </a:lnTo>
                <a:lnTo>
                  <a:pt x="22" y="311"/>
                </a:lnTo>
                <a:lnTo>
                  <a:pt x="27" y="314"/>
                </a:lnTo>
                <a:lnTo>
                  <a:pt x="35" y="314"/>
                </a:lnTo>
                <a:lnTo>
                  <a:pt x="42" y="314"/>
                </a:lnTo>
                <a:lnTo>
                  <a:pt x="58" y="313"/>
                </a:lnTo>
                <a:lnTo>
                  <a:pt x="66" y="313"/>
                </a:lnTo>
                <a:lnTo>
                  <a:pt x="69" y="313"/>
                </a:lnTo>
                <a:lnTo>
                  <a:pt x="69" y="313"/>
                </a:lnTo>
                <a:lnTo>
                  <a:pt x="69" y="314"/>
                </a:lnTo>
                <a:lnTo>
                  <a:pt x="69" y="314"/>
                </a:lnTo>
                <a:lnTo>
                  <a:pt x="66" y="316"/>
                </a:lnTo>
                <a:lnTo>
                  <a:pt x="53" y="318"/>
                </a:lnTo>
                <a:lnTo>
                  <a:pt x="46" y="320"/>
                </a:lnTo>
                <a:lnTo>
                  <a:pt x="38" y="324"/>
                </a:lnTo>
                <a:lnTo>
                  <a:pt x="37" y="325"/>
                </a:lnTo>
                <a:lnTo>
                  <a:pt x="35" y="329"/>
                </a:lnTo>
                <a:lnTo>
                  <a:pt x="37" y="331"/>
                </a:lnTo>
                <a:lnTo>
                  <a:pt x="37" y="331"/>
                </a:lnTo>
                <a:lnTo>
                  <a:pt x="33" y="335"/>
                </a:lnTo>
                <a:lnTo>
                  <a:pt x="29" y="342"/>
                </a:lnTo>
                <a:lnTo>
                  <a:pt x="27" y="345"/>
                </a:lnTo>
                <a:lnTo>
                  <a:pt x="27" y="351"/>
                </a:lnTo>
                <a:lnTo>
                  <a:pt x="29" y="356"/>
                </a:lnTo>
                <a:lnTo>
                  <a:pt x="35" y="364"/>
                </a:lnTo>
                <a:lnTo>
                  <a:pt x="35" y="364"/>
                </a:lnTo>
                <a:lnTo>
                  <a:pt x="37" y="353"/>
                </a:lnTo>
                <a:lnTo>
                  <a:pt x="40" y="347"/>
                </a:lnTo>
                <a:lnTo>
                  <a:pt x="42" y="345"/>
                </a:lnTo>
                <a:lnTo>
                  <a:pt x="46" y="345"/>
                </a:lnTo>
                <a:lnTo>
                  <a:pt x="46" y="345"/>
                </a:lnTo>
                <a:lnTo>
                  <a:pt x="53" y="345"/>
                </a:lnTo>
                <a:lnTo>
                  <a:pt x="58" y="349"/>
                </a:lnTo>
                <a:lnTo>
                  <a:pt x="64" y="349"/>
                </a:lnTo>
                <a:lnTo>
                  <a:pt x="71" y="345"/>
                </a:lnTo>
                <a:lnTo>
                  <a:pt x="71" y="345"/>
                </a:lnTo>
                <a:lnTo>
                  <a:pt x="79" y="340"/>
                </a:lnTo>
                <a:lnTo>
                  <a:pt x="84" y="336"/>
                </a:lnTo>
                <a:lnTo>
                  <a:pt x="95" y="333"/>
                </a:lnTo>
                <a:lnTo>
                  <a:pt x="95" y="333"/>
                </a:lnTo>
                <a:lnTo>
                  <a:pt x="95" y="336"/>
                </a:lnTo>
                <a:lnTo>
                  <a:pt x="99" y="342"/>
                </a:lnTo>
                <a:lnTo>
                  <a:pt x="99" y="342"/>
                </a:lnTo>
                <a:lnTo>
                  <a:pt x="102" y="344"/>
                </a:lnTo>
                <a:lnTo>
                  <a:pt x="104" y="345"/>
                </a:lnTo>
                <a:lnTo>
                  <a:pt x="104" y="345"/>
                </a:lnTo>
                <a:lnTo>
                  <a:pt x="104" y="345"/>
                </a:lnTo>
                <a:lnTo>
                  <a:pt x="102" y="351"/>
                </a:lnTo>
                <a:lnTo>
                  <a:pt x="99" y="356"/>
                </a:lnTo>
                <a:lnTo>
                  <a:pt x="95" y="360"/>
                </a:lnTo>
                <a:lnTo>
                  <a:pt x="95" y="360"/>
                </a:lnTo>
                <a:lnTo>
                  <a:pt x="97" y="360"/>
                </a:lnTo>
                <a:lnTo>
                  <a:pt x="102" y="360"/>
                </a:lnTo>
                <a:lnTo>
                  <a:pt x="108" y="358"/>
                </a:lnTo>
                <a:lnTo>
                  <a:pt x="111" y="355"/>
                </a:lnTo>
                <a:lnTo>
                  <a:pt x="115" y="349"/>
                </a:lnTo>
                <a:lnTo>
                  <a:pt x="115" y="349"/>
                </a:lnTo>
                <a:lnTo>
                  <a:pt x="117" y="347"/>
                </a:lnTo>
                <a:lnTo>
                  <a:pt x="119" y="347"/>
                </a:lnTo>
                <a:lnTo>
                  <a:pt x="124" y="347"/>
                </a:lnTo>
                <a:lnTo>
                  <a:pt x="124" y="347"/>
                </a:lnTo>
                <a:lnTo>
                  <a:pt x="128" y="345"/>
                </a:lnTo>
                <a:lnTo>
                  <a:pt x="130" y="344"/>
                </a:lnTo>
                <a:lnTo>
                  <a:pt x="130" y="338"/>
                </a:lnTo>
                <a:lnTo>
                  <a:pt x="130" y="333"/>
                </a:lnTo>
                <a:lnTo>
                  <a:pt x="130" y="329"/>
                </a:lnTo>
                <a:lnTo>
                  <a:pt x="132" y="327"/>
                </a:lnTo>
                <a:lnTo>
                  <a:pt x="132" y="327"/>
                </a:lnTo>
                <a:lnTo>
                  <a:pt x="139" y="322"/>
                </a:lnTo>
                <a:lnTo>
                  <a:pt x="146" y="316"/>
                </a:lnTo>
                <a:lnTo>
                  <a:pt x="163" y="309"/>
                </a:lnTo>
                <a:lnTo>
                  <a:pt x="163" y="309"/>
                </a:lnTo>
                <a:lnTo>
                  <a:pt x="161" y="316"/>
                </a:lnTo>
                <a:lnTo>
                  <a:pt x="161" y="324"/>
                </a:lnTo>
                <a:lnTo>
                  <a:pt x="164" y="333"/>
                </a:lnTo>
                <a:lnTo>
                  <a:pt x="205" y="322"/>
                </a:lnTo>
                <a:lnTo>
                  <a:pt x="205" y="322"/>
                </a:lnTo>
                <a:lnTo>
                  <a:pt x="203" y="313"/>
                </a:lnTo>
                <a:lnTo>
                  <a:pt x="205" y="305"/>
                </a:lnTo>
                <a:lnTo>
                  <a:pt x="210" y="296"/>
                </a:lnTo>
                <a:lnTo>
                  <a:pt x="216" y="287"/>
                </a:lnTo>
                <a:lnTo>
                  <a:pt x="216" y="287"/>
                </a:lnTo>
                <a:lnTo>
                  <a:pt x="216" y="291"/>
                </a:lnTo>
                <a:lnTo>
                  <a:pt x="214" y="300"/>
                </a:lnTo>
                <a:lnTo>
                  <a:pt x="214" y="311"/>
                </a:lnTo>
                <a:lnTo>
                  <a:pt x="214" y="316"/>
                </a:lnTo>
                <a:lnTo>
                  <a:pt x="216" y="318"/>
                </a:lnTo>
                <a:lnTo>
                  <a:pt x="256" y="309"/>
                </a:lnTo>
                <a:lnTo>
                  <a:pt x="256" y="309"/>
                </a:lnTo>
                <a:lnTo>
                  <a:pt x="254" y="303"/>
                </a:lnTo>
                <a:lnTo>
                  <a:pt x="254" y="296"/>
                </a:lnTo>
                <a:lnTo>
                  <a:pt x="258" y="283"/>
                </a:lnTo>
                <a:lnTo>
                  <a:pt x="258" y="283"/>
                </a:lnTo>
                <a:lnTo>
                  <a:pt x="261" y="298"/>
                </a:lnTo>
                <a:lnTo>
                  <a:pt x="269" y="311"/>
                </a:lnTo>
                <a:lnTo>
                  <a:pt x="278" y="322"/>
                </a:lnTo>
                <a:lnTo>
                  <a:pt x="283" y="325"/>
                </a:lnTo>
                <a:lnTo>
                  <a:pt x="289" y="329"/>
                </a:lnTo>
                <a:lnTo>
                  <a:pt x="289" y="329"/>
                </a:lnTo>
                <a:lnTo>
                  <a:pt x="311" y="338"/>
                </a:lnTo>
                <a:lnTo>
                  <a:pt x="334" y="345"/>
                </a:lnTo>
                <a:lnTo>
                  <a:pt x="391" y="362"/>
                </a:lnTo>
                <a:lnTo>
                  <a:pt x="391" y="362"/>
                </a:lnTo>
                <a:lnTo>
                  <a:pt x="407" y="367"/>
                </a:lnTo>
                <a:lnTo>
                  <a:pt x="420" y="373"/>
                </a:lnTo>
                <a:lnTo>
                  <a:pt x="420" y="373"/>
                </a:lnTo>
                <a:lnTo>
                  <a:pt x="424" y="375"/>
                </a:lnTo>
                <a:lnTo>
                  <a:pt x="424" y="377"/>
                </a:lnTo>
                <a:lnTo>
                  <a:pt x="422" y="382"/>
                </a:lnTo>
                <a:lnTo>
                  <a:pt x="417" y="386"/>
                </a:lnTo>
                <a:lnTo>
                  <a:pt x="417" y="386"/>
                </a:lnTo>
                <a:lnTo>
                  <a:pt x="424" y="391"/>
                </a:lnTo>
                <a:lnTo>
                  <a:pt x="438" y="400"/>
                </a:lnTo>
                <a:lnTo>
                  <a:pt x="438" y="400"/>
                </a:lnTo>
                <a:lnTo>
                  <a:pt x="448" y="409"/>
                </a:lnTo>
                <a:lnTo>
                  <a:pt x="453" y="420"/>
                </a:lnTo>
                <a:lnTo>
                  <a:pt x="459" y="435"/>
                </a:lnTo>
                <a:lnTo>
                  <a:pt x="462" y="450"/>
                </a:lnTo>
                <a:lnTo>
                  <a:pt x="462" y="450"/>
                </a:lnTo>
                <a:lnTo>
                  <a:pt x="466" y="462"/>
                </a:lnTo>
                <a:lnTo>
                  <a:pt x="466" y="475"/>
                </a:lnTo>
                <a:lnTo>
                  <a:pt x="466" y="486"/>
                </a:lnTo>
                <a:lnTo>
                  <a:pt x="466" y="492"/>
                </a:lnTo>
                <a:lnTo>
                  <a:pt x="464" y="493"/>
                </a:lnTo>
                <a:lnTo>
                  <a:pt x="464" y="493"/>
                </a:lnTo>
                <a:lnTo>
                  <a:pt x="460" y="497"/>
                </a:lnTo>
                <a:lnTo>
                  <a:pt x="457" y="499"/>
                </a:lnTo>
                <a:lnTo>
                  <a:pt x="451" y="501"/>
                </a:lnTo>
                <a:lnTo>
                  <a:pt x="440" y="504"/>
                </a:lnTo>
                <a:lnTo>
                  <a:pt x="444" y="519"/>
                </a:lnTo>
                <a:lnTo>
                  <a:pt x="444" y="519"/>
                </a:lnTo>
                <a:lnTo>
                  <a:pt x="451" y="519"/>
                </a:lnTo>
                <a:lnTo>
                  <a:pt x="459" y="517"/>
                </a:lnTo>
                <a:lnTo>
                  <a:pt x="466" y="515"/>
                </a:lnTo>
                <a:lnTo>
                  <a:pt x="466" y="515"/>
                </a:lnTo>
                <a:lnTo>
                  <a:pt x="464" y="517"/>
                </a:lnTo>
                <a:lnTo>
                  <a:pt x="464" y="517"/>
                </a:lnTo>
                <a:lnTo>
                  <a:pt x="459" y="526"/>
                </a:lnTo>
                <a:lnTo>
                  <a:pt x="457" y="534"/>
                </a:lnTo>
                <a:lnTo>
                  <a:pt x="473" y="545"/>
                </a:lnTo>
                <a:lnTo>
                  <a:pt x="473" y="545"/>
                </a:lnTo>
                <a:lnTo>
                  <a:pt x="481" y="526"/>
                </a:lnTo>
                <a:lnTo>
                  <a:pt x="484" y="521"/>
                </a:lnTo>
                <a:lnTo>
                  <a:pt x="488" y="517"/>
                </a:lnTo>
                <a:lnTo>
                  <a:pt x="488" y="517"/>
                </a:lnTo>
                <a:lnTo>
                  <a:pt x="491" y="517"/>
                </a:lnTo>
                <a:lnTo>
                  <a:pt x="497" y="519"/>
                </a:lnTo>
                <a:lnTo>
                  <a:pt x="504" y="523"/>
                </a:lnTo>
                <a:lnTo>
                  <a:pt x="512" y="526"/>
                </a:lnTo>
                <a:lnTo>
                  <a:pt x="521" y="534"/>
                </a:lnTo>
                <a:lnTo>
                  <a:pt x="528" y="543"/>
                </a:lnTo>
                <a:lnTo>
                  <a:pt x="535" y="552"/>
                </a:lnTo>
                <a:lnTo>
                  <a:pt x="541" y="563"/>
                </a:lnTo>
                <a:lnTo>
                  <a:pt x="541" y="563"/>
                </a:lnTo>
                <a:lnTo>
                  <a:pt x="543" y="572"/>
                </a:lnTo>
                <a:lnTo>
                  <a:pt x="544" y="581"/>
                </a:lnTo>
                <a:lnTo>
                  <a:pt x="544" y="590"/>
                </a:lnTo>
                <a:lnTo>
                  <a:pt x="543" y="601"/>
                </a:lnTo>
                <a:lnTo>
                  <a:pt x="541" y="610"/>
                </a:lnTo>
                <a:lnTo>
                  <a:pt x="537" y="618"/>
                </a:lnTo>
                <a:lnTo>
                  <a:pt x="532" y="623"/>
                </a:lnTo>
                <a:lnTo>
                  <a:pt x="526" y="627"/>
                </a:lnTo>
                <a:lnTo>
                  <a:pt x="526" y="627"/>
                </a:lnTo>
                <a:lnTo>
                  <a:pt x="521" y="627"/>
                </a:lnTo>
                <a:lnTo>
                  <a:pt x="517" y="625"/>
                </a:lnTo>
                <a:lnTo>
                  <a:pt x="504" y="620"/>
                </a:lnTo>
                <a:lnTo>
                  <a:pt x="493" y="614"/>
                </a:lnTo>
                <a:lnTo>
                  <a:pt x="490" y="614"/>
                </a:lnTo>
                <a:lnTo>
                  <a:pt x="486" y="618"/>
                </a:lnTo>
                <a:lnTo>
                  <a:pt x="486" y="618"/>
                </a:lnTo>
                <a:lnTo>
                  <a:pt x="484" y="620"/>
                </a:lnTo>
                <a:lnTo>
                  <a:pt x="479" y="623"/>
                </a:lnTo>
                <a:lnTo>
                  <a:pt x="470" y="629"/>
                </a:lnTo>
                <a:lnTo>
                  <a:pt x="466" y="632"/>
                </a:lnTo>
                <a:lnTo>
                  <a:pt x="462" y="638"/>
                </a:lnTo>
                <a:lnTo>
                  <a:pt x="462" y="645"/>
                </a:lnTo>
                <a:lnTo>
                  <a:pt x="464" y="654"/>
                </a:lnTo>
                <a:lnTo>
                  <a:pt x="464" y="654"/>
                </a:lnTo>
                <a:lnTo>
                  <a:pt x="473" y="645"/>
                </a:lnTo>
                <a:lnTo>
                  <a:pt x="477" y="641"/>
                </a:lnTo>
                <a:lnTo>
                  <a:pt x="481" y="641"/>
                </a:lnTo>
                <a:lnTo>
                  <a:pt x="481" y="641"/>
                </a:lnTo>
                <a:lnTo>
                  <a:pt x="482" y="643"/>
                </a:lnTo>
                <a:lnTo>
                  <a:pt x="482" y="645"/>
                </a:lnTo>
                <a:lnTo>
                  <a:pt x="486" y="649"/>
                </a:lnTo>
                <a:lnTo>
                  <a:pt x="486" y="649"/>
                </a:lnTo>
                <a:lnTo>
                  <a:pt x="488" y="651"/>
                </a:lnTo>
                <a:lnTo>
                  <a:pt x="491" y="651"/>
                </a:lnTo>
                <a:lnTo>
                  <a:pt x="502" y="651"/>
                </a:lnTo>
                <a:lnTo>
                  <a:pt x="512" y="649"/>
                </a:lnTo>
                <a:lnTo>
                  <a:pt x="515" y="649"/>
                </a:lnTo>
                <a:lnTo>
                  <a:pt x="517" y="651"/>
                </a:lnTo>
                <a:lnTo>
                  <a:pt x="517" y="651"/>
                </a:lnTo>
                <a:lnTo>
                  <a:pt x="517" y="652"/>
                </a:lnTo>
                <a:lnTo>
                  <a:pt x="515" y="652"/>
                </a:lnTo>
                <a:lnTo>
                  <a:pt x="510" y="652"/>
                </a:lnTo>
                <a:lnTo>
                  <a:pt x="510" y="652"/>
                </a:lnTo>
                <a:lnTo>
                  <a:pt x="491" y="656"/>
                </a:lnTo>
                <a:lnTo>
                  <a:pt x="484" y="660"/>
                </a:lnTo>
                <a:lnTo>
                  <a:pt x="479" y="663"/>
                </a:lnTo>
                <a:lnTo>
                  <a:pt x="479" y="663"/>
                </a:lnTo>
                <a:lnTo>
                  <a:pt x="479" y="665"/>
                </a:lnTo>
                <a:lnTo>
                  <a:pt x="479" y="669"/>
                </a:lnTo>
                <a:lnTo>
                  <a:pt x="479" y="669"/>
                </a:lnTo>
                <a:lnTo>
                  <a:pt x="475" y="674"/>
                </a:lnTo>
                <a:lnTo>
                  <a:pt x="470" y="678"/>
                </a:lnTo>
                <a:lnTo>
                  <a:pt x="466" y="683"/>
                </a:lnTo>
                <a:lnTo>
                  <a:pt x="464" y="689"/>
                </a:lnTo>
                <a:lnTo>
                  <a:pt x="464" y="694"/>
                </a:lnTo>
                <a:lnTo>
                  <a:pt x="464" y="694"/>
                </a:lnTo>
                <a:lnTo>
                  <a:pt x="466" y="702"/>
                </a:lnTo>
                <a:lnTo>
                  <a:pt x="470" y="705"/>
                </a:lnTo>
                <a:lnTo>
                  <a:pt x="475" y="711"/>
                </a:lnTo>
                <a:lnTo>
                  <a:pt x="475" y="711"/>
                </a:lnTo>
                <a:lnTo>
                  <a:pt x="475" y="707"/>
                </a:lnTo>
                <a:lnTo>
                  <a:pt x="477" y="702"/>
                </a:lnTo>
                <a:lnTo>
                  <a:pt x="479" y="694"/>
                </a:lnTo>
                <a:lnTo>
                  <a:pt x="479" y="691"/>
                </a:lnTo>
                <a:lnTo>
                  <a:pt x="482" y="691"/>
                </a:lnTo>
                <a:lnTo>
                  <a:pt x="482" y="691"/>
                </a:lnTo>
                <a:lnTo>
                  <a:pt x="484" y="691"/>
                </a:lnTo>
                <a:lnTo>
                  <a:pt x="488" y="693"/>
                </a:lnTo>
                <a:lnTo>
                  <a:pt x="490" y="696"/>
                </a:lnTo>
                <a:lnTo>
                  <a:pt x="493" y="696"/>
                </a:lnTo>
                <a:lnTo>
                  <a:pt x="493" y="696"/>
                </a:lnTo>
                <a:lnTo>
                  <a:pt x="497" y="696"/>
                </a:lnTo>
                <a:lnTo>
                  <a:pt x="502" y="693"/>
                </a:lnTo>
                <a:lnTo>
                  <a:pt x="513" y="682"/>
                </a:lnTo>
                <a:lnTo>
                  <a:pt x="524" y="672"/>
                </a:lnTo>
                <a:lnTo>
                  <a:pt x="528" y="669"/>
                </a:lnTo>
                <a:lnTo>
                  <a:pt x="532" y="669"/>
                </a:lnTo>
                <a:lnTo>
                  <a:pt x="532" y="669"/>
                </a:lnTo>
                <a:lnTo>
                  <a:pt x="533" y="671"/>
                </a:lnTo>
                <a:lnTo>
                  <a:pt x="532" y="672"/>
                </a:lnTo>
                <a:lnTo>
                  <a:pt x="524" y="678"/>
                </a:lnTo>
                <a:lnTo>
                  <a:pt x="517" y="685"/>
                </a:lnTo>
                <a:lnTo>
                  <a:pt x="513" y="689"/>
                </a:lnTo>
                <a:lnTo>
                  <a:pt x="512" y="694"/>
                </a:lnTo>
                <a:lnTo>
                  <a:pt x="512" y="694"/>
                </a:lnTo>
                <a:lnTo>
                  <a:pt x="513" y="700"/>
                </a:lnTo>
                <a:lnTo>
                  <a:pt x="515" y="704"/>
                </a:lnTo>
                <a:lnTo>
                  <a:pt x="519" y="707"/>
                </a:lnTo>
                <a:lnTo>
                  <a:pt x="521" y="711"/>
                </a:lnTo>
                <a:lnTo>
                  <a:pt x="521" y="711"/>
                </a:lnTo>
                <a:lnTo>
                  <a:pt x="523" y="715"/>
                </a:lnTo>
                <a:lnTo>
                  <a:pt x="526" y="720"/>
                </a:lnTo>
                <a:lnTo>
                  <a:pt x="530" y="724"/>
                </a:lnTo>
                <a:lnTo>
                  <a:pt x="535" y="725"/>
                </a:lnTo>
                <a:lnTo>
                  <a:pt x="546" y="729"/>
                </a:lnTo>
                <a:lnTo>
                  <a:pt x="552" y="729"/>
                </a:lnTo>
                <a:lnTo>
                  <a:pt x="552" y="729"/>
                </a:lnTo>
                <a:lnTo>
                  <a:pt x="550" y="725"/>
                </a:lnTo>
                <a:lnTo>
                  <a:pt x="544" y="720"/>
                </a:lnTo>
                <a:lnTo>
                  <a:pt x="539" y="713"/>
                </a:lnTo>
                <a:lnTo>
                  <a:pt x="539" y="711"/>
                </a:lnTo>
                <a:lnTo>
                  <a:pt x="539" y="707"/>
                </a:lnTo>
                <a:lnTo>
                  <a:pt x="539" y="707"/>
                </a:lnTo>
                <a:lnTo>
                  <a:pt x="541" y="705"/>
                </a:lnTo>
                <a:lnTo>
                  <a:pt x="544" y="707"/>
                </a:lnTo>
                <a:lnTo>
                  <a:pt x="548" y="707"/>
                </a:lnTo>
                <a:lnTo>
                  <a:pt x="552" y="705"/>
                </a:lnTo>
                <a:lnTo>
                  <a:pt x="552" y="705"/>
                </a:lnTo>
                <a:lnTo>
                  <a:pt x="552" y="702"/>
                </a:lnTo>
                <a:lnTo>
                  <a:pt x="552" y="691"/>
                </a:lnTo>
                <a:lnTo>
                  <a:pt x="552" y="685"/>
                </a:lnTo>
                <a:lnTo>
                  <a:pt x="554" y="678"/>
                </a:lnTo>
                <a:lnTo>
                  <a:pt x="559" y="671"/>
                </a:lnTo>
                <a:lnTo>
                  <a:pt x="566" y="662"/>
                </a:lnTo>
                <a:lnTo>
                  <a:pt x="566" y="662"/>
                </a:lnTo>
                <a:lnTo>
                  <a:pt x="570" y="667"/>
                </a:lnTo>
                <a:lnTo>
                  <a:pt x="574" y="669"/>
                </a:lnTo>
                <a:lnTo>
                  <a:pt x="581" y="671"/>
                </a:lnTo>
                <a:lnTo>
                  <a:pt x="581" y="671"/>
                </a:lnTo>
                <a:lnTo>
                  <a:pt x="583" y="672"/>
                </a:lnTo>
                <a:lnTo>
                  <a:pt x="585" y="674"/>
                </a:lnTo>
                <a:lnTo>
                  <a:pt x="585" y="682"/>
                </a:lnTo>
                <a:lnTo>
                  <a:pt x="585" y="691"/>
                </a:lnTo>
                <a:lnTo>
                  <a:pt x="585" y="691"/>
                </a:lnTo>
                <a:lnTo>
                  <a:pt x="586" y="689"/>
                </a:lnTo>
                <a:lnTo>
                  <a:pt x="590" y="683"/>
                </a:lnTo>
                <a:lnTo>
                  <a:pt x="594" y="674"/>
                </a:lnTo>
                <a:lnTo>
                  <a:pt x="594" y="663"/>
                </a:lnTo>
                <a:lnTo>
                  <a:pt x="594" y="663"/>
                </a:lnTo>
                <a:lnTo>
                  <a:pt x="597" y="662"/>
                </a:lnTo>
                <a:lnTo>
                  <a:pt x="601" y="654"/>
                </a:lnTo>
                <a:lnTo>
                  <a:pt x="601" y="654"/>
                </a:lnTo>
                <a:lnTo>
                  <a:pt x="603" y="651"/>
                </a:lnTo>
                <a:lnTo>
                  <a:pt x="601" y="649"/>
                </a:lnTo>
                <a:lnTo>
                  <a:pt x="596" y="643"/>
                </a:lnTo>
                <a:lnTo>
                  <a:pt x="594" y="640"/>
                </a:lnTo>
                <a:lnTo>
                  <a:pt x="592" y="634"/>
                </a:lnTo>
                <a:lnTo>
                  <a:pt x="590" y="625"/>
                </a:lnTo>
                <a:lnTo>
                  <a:pt x="590" y="614"/>
                </a:lnTo>
                <a:lnTo>
                  <a:pt x="590" y="614"/>
                </a:lnTo>
                <a:lnTo>
                  <a:pt x="590" y="610"/>
                </a:lnTo>
                <a:lnTo>
                  <a:pt x="588" y="609"/>
                </a:lnTo>
                <a:lnTo>
                  <a:pt x="583" y="605"/>
                </a:lnTo>
                <a:lnTo>
                  <a:pt x="583" y="605"/>
                </a:lnTo>
                <a:lnTo>
                  <a:pt x="579" y="599"/>
                </a:lnTo>
                <a:lnTo>
                  <a:pt x="579" y="598"/>
                </a:lnTo>
                <a:lnTo>
                  <a:pt x="581" y="598"/>
                </a:lnTo>
                <a:lnTo>
                  <a:pt x="581" y="598"/>
                </a:lnTo>
                <a:lnTo>
                  <a:pt x="588" y="599"/>
                </a:lnTo>
                <a:lnTo>
                  <a:pt x="596" y="599"/>
                </a:lnTo>
                <a:lnTo>
                  <a:pt x="603" y="598"/>
                </a:lnTo>
                <a:lnTo>
                  <a:pt x="603" y="598"/>
                </a:lnTo>
                <a:lnTo>
                  <a:pt x="603" y="576"/>
                </a:lnTo>
                <a:lnTo>
                  <a:pt x="605" y="565"/>
                </a:lnTo>
                <a:lnTo>
                  <a:pt x="603" y="559"/>
                </a:lnTo>
                <a:lnTo>
                  <a:pt x="603" y="559"/>
                </a:lnTo>
                <a:lnTo>
                  <a:pt x="596" y="559"/>
                </a:lnTo>
                <a:lnTo>
                  <a:pt x="588" y="557"/>
                </a:lnTo>
                <a:lnTo>
                  <a:pt x="585" y="556"/>
                </a:lnTo>
                <a:lnTo>
                  <a:pt x="581" y="552"/>
                </a:lnTo>
                <a:lnTo>
                  <a:pt x="581" y="552"/>
                </a:lnTo>
                <a:lnTo>
                  <a:pt x="586" y="552"/>
                </a:lnTo>
                <a:lnTo>
                  <a:pt x="594" y="552"/>
                </a:lnTo>
                <a:lnTo>
                  <a:pt x="599" y="552"/>
                </a:lnTo>
                <a:lnTo>
                  <a:pt x="603" y="548"/>
                </a:lnTo>
                <a:lnTo>
                  <a:pt x="603" y="548"/>
                </a:lnTo>
                <a:lnTo>
                  <a:pt x="603" y="530"/>
                </a:lnTo>
                <a:lnTo>
                  <a:pt x="601" y="517"/>
                </a:lnTo>
                <a:lnTo>
                  <a:pt x="601" y="514"/>
                </a:lnTo>
                <a:lnTo>
                  <a:pt x="599" y="512"/>
                </a:lnTo>
                <a:lnTo>
                  <a:pt x="599" y="512"/>
                </a:lnTo>
                <a:lnTo>
                  <a:pt x="592" y="514"/>
                </a:lnTo>
                <a:lnTo>
                  <a:pt x="586" y="514"/>
                </a:lnTo>
                <a:lnTo>
                  <a:pt x="581" y="512"/>
                </a:lnTo>
                <a:lnTo>
                  <a:pt x="576" y="510"/>
                </a:lnTo>
                <a:lnTo>
                  <a:pt x="576" y="510"/>
                </a:lnTo>
                <a:lnTo>
                  <a:pt x="574" y="508"/>
                </a:lnTo>
                <a:lnTo>
                  <a:pt x="572" y="504"/>
                </a:lnTo>
                <a:lnTo>
                  <a:pt x="572" y="499"/>
                </a:lnTo>
                <a:lnTo>
                  <a:pt x="570" y="495"/>
                </a:lnTo>
                <a:lnTo>
                  <a:pt x="570" y="493"/>
                </a:lnTo>
                <a:lnTo>
                  <a:pt x="568" y="492"/>
                </a:lnTo>
                <a:lnTo>
                  <a:pt x="568" y="492"/>
                </a:lnTo>
                <a:lnTo>
                  <a:pt x="557" y="488"/>
                </a:lnTo>
                <a:lnTo>
                  <a:pt x="546" y="482"/>
                </a:lnTo>
                <a:lnTo>
                  <a:pt x="541" y="477"/>
                </a:lnTo>
                <a:lnTo>
                  <a:pt x="535" y="473"/>
                </a:lnTo>
                <a:lnTo>
                  <a:pt x="535" y="473"/>
                </a:lnTo>
                <a:lnTo>
                  <a:pt x="532" y="468"/>
                </a:lnTo>
                <a:lnTo>
                  <a:pt x="532" y="462"/>
                </a:lnTo>
                <a:lnTo>
                  <a:pt x="532" y="459"/>
                </a:lnTo>
                <a:lnTo>
                  <a:pt x="532" y="459"/>
                </a:lnTo>
                <a:lnTo>
                  <a:pt x="541" y="462"/>
                </a:lnTo>
                <a:lnTo>
                  <a:pt x="544" y="462"/>
                </a:lnTo>
                <a:lnTo>
                  <a:pt x="550" y="461"/>
                </a:lnTo>
                <a:lnTo>
                  <a:pt x="552" y="431"/>
                </a:lnTo>
                <a:lnTo>
                  <a:pt x="552" y="431"/>
                </a:lnTo>
                <a:lnTo>
                  <a:pt x="548" y="431"/>
                </a:lnTo>
                <a:lnTo>
                  <a:pt x="541" y="430"/>
                </a:lnTo>
                <a:lnTo>
                  <a:pt x="541" y="430"/>
                </a:lnTo>
                <a:lnTo>
                  <a:pt x="537" y="426"/>
                </a:lnTo>
                <a:lnTo>
                  <a:pt x="533" y="422"/>
                </a:lnTo>
                <a:lnTo>
                  <a:pt x="532" y="419"/>
                </a:lnTo>
                <a:lnTo>
                  <a:pt x="532" y="419"/>
                </a:lnTo>
                <a:lnTo>
                  <a:pt x="535" y="420"/>
                </a:lnTo>
                <a:lnTo>
                  <a:pt x="543" y="422"/>
                </a:lnTo>
                <a:lnTo>
                  <a:pt x="543" y="422"/>
                </a:lnTo>
                <a:lnTo>
                  <a:pt x="550" y="422"/>
                </a:lnTo>
                <a:lnTo>
                  <a:pt x="554" y="420"/>
                </a:lnTo>
                <a:lnTo>
                  <a:pt x="557" y="387"/>
                </a:lnTo>
                <a:lnTo>
                  <a:pt x="557" y="387"/>
                </a:lnTo>
                <a:lnTo>
                  <a:pt x="552" y="387"/>
                </a:lnTo>
                <a:lnTo>
                  <a:pt x="546" y="386"/>
                </a:lnTo>
                <a:lnTo>
                  <a:pt x="541" y="384"/>
                </a:lnTo>
                <a:lnTo>
                  <a:pt x="539" y="378"/>
                </a:lnTo>
                <a:lnTo>
                  <a:pt x="539" y="377"/>
                </a:lnTo>
                <a:lnTo>
                  <a:pt x="539" y="377"/>
                </a:lnTo>
                <a:lnTo>
                  <a:pt x="552" y="373"/>
                </a:lnTo>
                <a:lnTo>
                  <a:pt x="563" y="367"/>
                </a:lnTo>
                <a:lnTo>
                  <a:pt x="572" y="360"/>
                </a:lnTo>
                <a:lnTo>
                  <a:pt x="579" y="353"/>
                </a:lnTo>
                <a:lnTo>
                  <a:pt x="586" y="344"/>
                </a:lnTo>
                <a:lnTo>
                  <a:pt x="592" y="333"/>
                </a:lnTo>
                <a:lnTo>
                  <a:pt x="597" y="324"/>
                </a:lnTo>
                <a:lnTo>
                  <a:pt x="599" y="313"/>
                </a:lnTo>
                <a:lnTo>
                  <a:pt x="599" y="313"/>
                </a:lnTo>
                <a:lnTo>
                  <a:pt x="608" y="316"/>
                </a:lnTo>
                <a:lnTo>
                  <a:pt x="614" y="316"/>
                </a:lnTo>
                <a:lnTo>
                  <a:pt x="618" y="316"/>
                </a:lnTo>
                <a:lnTo>
                  <a:pt x="618" y="316"/>
                </a:lnTo>
                <a:lnTo>
                  <a:pt x="619" y="303"/>
                </a:lnTo>
                <a:lnTo>
                  <a:pt x="619" y="289"/>
                </a:lnTo>
                <a:lnTo>
                  <a:pt x="619" y="289"/>
                </a:lnTo>
                <a:lnTo>
                  <a:pt x="610" y="287"/>
                </a:lnTo>
                <a:lnTo>
                  <a:pt x="607" y="285"/>
                </a:lnTo>
                <a:lnTo>
                  <a:pt x="603" y="28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pic>
        <p:nvPicPr>
          <p:cNvPr id="53" name="Picture 3">
            <a:extLst>
              <a:ext uri="{FF2B5EF4-FFF2-40B4-BE49-F238E27FC236}">
                <a16:creationId xmlns:a16="http://schemas.microsoft.com/office/drawing/2014/main" id="{F1689B57-8BAA-BF42-B648-10782572357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804248" y="4443958"/>
            <a:ext cx="2088034" cy="397877"/>
          </a:xfrm>
          <a:prstGeom prst="rect">
            <a:avLst/>
          </a:prstGeom>
        </p:spPr>
      </p:pic>
      <p:pic>
        <p:nvPicPr>
          <p:cNvPr id="55" name="Picture 5">
            <a:extLst>
              <a:ext uri="{FF2B5EF4-FFF2-40B4-BE49-F238E27FC236}">
                <a16:creationId xmlns:a16="http://schemas.microsoft.com/office/drawing/2014/main" id="{4F591584-9FCE-5A4F-A985-77C337C3AB8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04448" y="235340"/>
            <a:ext cx="305495" cy="419486"/>
          </a:xfrm>
          <a:prstGeom prst="rect">
            <a:avLst/>
          </a:prstGeom>
        </p:spPr>
      </p:pic>
    </p:spTree>
    <p:extLst>
      <p:ext uri="{BB962C8B-B14F-4D97-AF65-F5344CB8AC3E}">
        <p14:creationId xmlns:p14="http://schemas.microsoft.com/office/powerpoint/2010/main" val="177282793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1_Väliotsikko">
    <p:spTree>
      <p:nvGrpSpPr>
        <p:cNvPr id="1" name=""/>
        <p:cNvGrpSpPr/>
        <p:nvPr/>
      </p:nvGrpSpPr>
      <p:grpSpPr>
        <a:xfrm>
          <a:off x="0" y="0"/>
          <a:ext cx="0" cy="0"/>
          <a:chOff x="0" y="0"/>
          <a:chExt cx="0" cy="0"/>
        </a:xfrm>
      </p:grpSpPr>
      <p:pic>
        <p:nvPicPr>
          <p:cNvPr id="3" name="Kuva 2"/>
          <p:cNvPicPr>
            <a:picLocks noChangeAspect="1"/>
          </p:cNvPicPr>
          <p:nvPr userDrawn="1"/>
        </p:nvPicPr>
        <p:blipFill rotWithShape="1">
          <a:blip r:embed="rId2" cstate="print">
            <a:extLst>
              <a:ext uri="{28A0092B-C50C-407E-A947-70E740481C1C}">
                <a14:useLocalDpi xmlns:a14="http://schemas.microsoft.com/office/drawing/2010/main" val="0"/>
              </a:ext>
            </a:extLst>
          </a:blip>
          <a:srcRect t="1388" r="13103"/>
          <a:stretch/>
        </p:blipFill>
        <p:spPr>
          <a:xfrm>
            <a:off x="2280666" y="-20538"/>
            <a:ext cx="6899845" cy="5164037"/>
          </a:xfrm>
          <a:prstGeom prst="rect">
            <a:avLst/>
          </a:prstGeom>
        </p:spPr>
      </p:pic>
      <p:sp>
        <p:nvSpPr>
          <p:cNvPr id="51" name="Rectangle 50"/>
          <p:cNvSpPr/>
          <p:nvPr userDrawn="1"/>
        </p:nvSpPr>
        <p:spPr>
          <a:xfrm rot="10800000" flipV="1">
            <a:off x="-10667" y="-21804"/>
            <a:ext cx="4582667" cy="5165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58" name="Rectangle 57"/>
          <p:cNvSpPr/>
          <p:nvPr userDrawn="1"/>
        </p:nvSpPr>
        <p:spPr>
          <a:xfrm rot="10800000" flipV="1">
            <a:off x="4499988" y="-21803"/>
            <a:ext cx="4680522" cy="5165304"/>
          </a:xfrm>
          <a:prstGeom prst="rect">
            <a:avLst/>
          </a:pr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54" name="Freeform 7"/>
          <p:cNvSpPr>
            <a:spLocks/>
          </p:cNvSpPr>
          <p:nvPr userDrawn="1"/>
        </p:nvSpPr>
        <p:spPr bwMode="auto">
          <a:xfrm rot="10800000" flipV="1">
            <a:off x="3392894" y="-21803"/>
            <a:ext cx="4279900" cy="5165302"/>
          </a:xfrm>
          <a:custGeom>
            <a:avLst/>
            <a:gdLst>
              <a:gd name="T0" fmla="*/ 2425 w 2696"/>
              <a:gd name="T1" fmla="*/ 3240 h 3240"/>
              <a:gd name="T2" fmla="*/ 2398 w 2696"/>
              <a:gd name="T3" fmla="*/ 3171 h 3240"/>
              <a:gd name="T4" fmla="*/ 2372 w 2696"/>
              <a:gd name="T5" fmla="*/ 3103 h 3240"/>
              <a:gd name="T6" fmla="*/ 2325 w 2696"/>
              <a:gd name="T7" fmla="*/ 2966 h 3240"/>
              <a:gd name="T8" fmla="*/ 2283 w 2696"/>
              <a:gd name="T9" fmla="*/ 2828 h 3240"/>
              <a:gd name="T10" fmla="*/ 2248 w 2696"/>
              <a:gd name="T11" fmla="*/ 2689 h 3240"/>
              <a:gd name="T12" fmla="*/ 2219 w 2696"/>
              <a:gd name="T13" fmla="*/ 2550 h 3240"/>
              <a:gd name="T14" fmla="*/ 2196 w 2696"/>
              <a:gd name="T15" fmla="*/ 2411 h 3240"/>
              <a:gd name="T16" fmla="*/ 2178 w 2696"/>
              <a:gd name="T17" fmla="*/ 2273 h 3240"/>
              <a:gd name="T18" fmla="*/ 2164 w 2696"/>
              <a:gd name="T19" fmla="*/ 2133 h 3240"/>
              <a:gd name="T20" fmla="*/ 2157 w 2696"/>
              <a:gd name="T21" fmla="*/ 1995 h 3240"/>
              <a:gd name="T22" fmla="*/ 2156 w 2696"/>
              <a:gd name="T23" fmla="*/ 1856 h 3240"/>
              <a:gd name="T24" fmla="*/ 2160 w 2696"/>
              <a:gd name="T25" fmla="*/ 1718 h 3240"/>
              <a:gd name="T26" fmla="*/ 2170 w 2696"/>
              <a:gd name="T27" fmla="*/ 1581 h 3240"/>
              <a:gd name="T28" fmla="*/ 2183 w 2696"/>
              <a:gd name="T29" fmla="*/ 1445 h 3240"/>
              <a:gd name="T30" fmla="*/ 2203 w 2696"/>
              <a:gd name="T31" fmla="*/ 1310 h 3240"/>
              <a:gd name="T32" fmla="*/ 2228 w 2696"/>
              <a:gd name="T33" fmla="*/ 1175 h 3240"/>
              <a:gd name="T34" fmla="*/ 2259 w 2696"/>
              <a:gd name="T35" fmla="*/ 1042 h 3240"/>
              <a:gd name="T36" fmla="*/ 2274 w 2696"/>
              <a:gd name="T37" fmla="*/ 977 h 3240"/>
              <a:gd name="T38" fmla="*/ 2313 w 2696"/>
              <a:gd name="T39" fmla="*/ 845 h 3240"/>
              <a:gd name="T40" fmla="*/ 2354 w 2696"/>
              <a:gd name="T41" fmla="*/ 716 h 3240"/>
              <a:gd name="T42" fmla="*/ 2400 w 2696"/>
              <a:gd name="T43" fmla="*/ 590 h 3240"/>
              <a:gd name="T44" fmla="*/ 2452 w 2696"/>
              <a:gd name="T45" fmla="*/ 466 h 3240"/>
              <a:gd name="T46" fmla="*/ 2507 w 2696"/>
              <a:gd name="T47" fmla="*/ 345 h 3240"/>
              <a:gd name="T48" fmla="*/ 2566 w 2696"/>
              <a:gd name="T49" fmla="*/ 227 h 3240"/>
              <a:gd name="T50" fmla="*/ 2630 w 2696"/>
              <a:gd name="T51" fmla="*/ 113 h 3240"/>
              <a:gd name="T52" fmla="*/ 2696 w 2696"/>
              <a:gd name="T53" fmla="*/ 0 h 3240"/>
              <a:gd name="T54" fmla="*/ 0 w 2696"/>
              <a:gd name="T55" fmla="*/ 0 h 3240"/>
              <a:gd name="T56" fmla="*/ 72 w 2696"/>
              <a:gd name="T57" fmla="*/ 207 h 3240"/>
              <a:gd name="T58" fmla="*/ 150 w 2696"/>
              <a:gd name="T59" fmla="*/ 414 h 3240"/>
              <a:gd name="T60" fmla="*/ 187 w 2696"/>
              <a:gd name="T61" fmla="*/ 510 h 3240"/>
              <a:gd name="T62" fmla="*/ 266 w 2696"/>
              <a:gd name="T63" fmla="*/ 701 h 3240"/>
              <a:gd name="T64" fmla="*/ 349 w 2696"/>
              <a:gd name="T65" fmla="*/ 890 h 3240"/>
              <a:gd name="T66" fmla="*/ 436 w 2696"/>
              <a:gd name="T67" fmla="*/ 1077 h 3240"/>
              <a:gd name="T68" fmla="*/ 527 w 2696"/>
              <a:gd name="T69" fmla="*/ 1262 h 3240"/>
              <a:gd name="T70" fmla="*/ 622 w 2696"/>
              <a:gd name="T71" fmla="*/ 1446 h 3240"/>
              <a:gd name="T72" fmla="*/ 722 w 2696"/>
              <a:gd name="T73" fmla="*/ 1627 h 3240"/>
              <a:gd name="T74" fmla="*/ 826 w 2696"/>
              <a:gd name="T75" fmla="*/ 1807 h 3240"/>
              <a:gd name="T76" fmla="*/ 934 w 2696"/>
              <a:gd name="T77" fmla="*/ 1983 h 3240"/>
              <a:gd name="T78" fmla="*/ 1046 w 2696"/>
              <a:gd name="T79" fmla="*/ 2159 h 3240"/>
              <a:gd name="T80" fmla="*/ 1162 w 2696"/>
              <a:gd name="T81" fmla="*/ 2332 h 3240"/>
              <a:gd name="T82" fmla="*/ 1282 w 2696"/>
              <a:gd name="T83" fmla="*/ 2503 h 3240"/>
              <a:gd name="T84" fmla="*/ 1406 w 2696"/>
              <a:gd name="T85" fmla="*/ 2671 h 3240"/>
              <a:gd name="T86" fmla="*/ 1535 w 2696"/>
              <a:gd name="T87" fmla="*/ 2837 h 3240"/>
              <a:gd name="T88" fmla="*/ 1667 w 2696"/>
              <a:gd name="T89" fmla="*/ 3000 h 3240"/>
              <a:gd name="T90" fmla="*/ 1804 w 2696"/>
              <a:gd name="T91" fmla="*/ 3160 h 3240"/>
              <a:gd name="T92" fmla="*/ 1874 w 2696"/>
              <a:gd name="T93" fmla="*/ 3240 h 3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96" h="3240">
                <a:moveTo>
                  <a:pt x="1874" y="3240"/>
                </a:moveTo>
                <a:lnTo>
                  <a:pt x="2425" y="3240"/>
                </a:lnTo>
                <a:lnTo>
                  <a:pt x="2425" y="3240"/>
                </a:lnTo>
                <a:lnTo>
                  <a:pt x="2398" y="3171"/>
                </a:lnTo>
                <a:lnTo>
                  <a:pt x="2398" y="3171"/>
                </a:lnTo>
                <a:lnTo>
                  <a:pt x="2372" y="3103"/>
                </a:lnTo>
                <a:lnTo>
                  <a:pt x="2347" y="3034"/>
                </a:lnTo>
                <a:lnTo>
                  <a:pt x="2325" y="2966"/>
                </a:lnTo>
                <a:lnTo>
                  <a:pt x="2304" y="2897"/>
                </a:lnTo>
                <a:lnTo>
                  <a:pt x="2283" y="2828"/>
                </a:lnTo>
                <a:lnTo>
                  <a:pt x="2265" y="2759"/>
                </a:lnTo>
                <a:lnTo>
                  <a:pt x="2248" y="2689"/>
                </a:lnTo>
                <a:lnTo>
                  <a:pt x="2233" y="2620"/>
                </a:lnTo>
                <a:lnTo>
                  <a:pt x="2219" y="2550"/>
                </a:lnTo>
                <a:lnTo>
                  <a:pt x="2207" y="2481"/>
                </a:lnTo>
                <a:lnTo>
                  <a:pt x="2196" y="2411"/>
                </a:lnTo>
                <a:lnTo>
                  <a:pt x="2185" y="2342"/>
                </a:lnTo>
                <a:lnTo>
                  <a:pt x="2178" y="2273"/>
                </a:lnTo>
                <a:lnTo>
                  <a:pt x="2170" y="2203"/>
                </a:lnTo>
                <a:lnTo>
                  <a:pt x="2164" y="2133"/>
                </a:lnTo>
                <a:lnTo>
                  <a:pt x="2161" y="2063"/>
                </a:lnTo>
                <a:lnTo>
                  <a:pt x="2157" y="1995"/>
                </a:lnTo>
                <a:lnTo>
                  <a:pt x="2156" y="1925"/>
                </a:lnTo>
                <a:lnTo>
                  <a:pt x="2156" y="1856"/>
                </a:lnTo>
                <a:lnTo>
                  <a:pt x="2157" y="1787"/>
                </a:lnTo>
                <a:lnTo>
                  <a:pt x="2160" y="1718"/>
                </a:lnTo>
                <a:lnTo>
                  <a:pt x="2164" y="1649"/>
                </a:lnTo>
                <a:lnTo>
                  <a:pt x="2170" y="1581"/>
                </a:lnTo>
                <a:lnTo>
                  <a:pt x="2175" y="1513"/>
                </a:lnTo>
                <a:lnTo>
                  <a:pt x="2183" y="1445"/>
                </a:lnTo>
                <a:lnTo>
                  <a:pt x="2193" y="1377"/>
                </a:lnTo>
                <a:lnTo>
                  <a:pt x="2203" y="1310"/>
                </a:lnTo>
                <a:lnTo>
                  <a:pt x="2215" y="1242"/>
                </a:lnTo>
                <a:lnTo>
                  <a:pt x="2228" y="1175"/>
                </a:lnTo>
                <a:lnTo>
                  <a:pt x="2243" y="1108"/>
                </a:lnTo>
                <a:lnTo>
                  <a:pt x="2259" y="1042"/>
                </a:lnTo>
                <a:lnTo>
                  <a:pt x="2274" y="977"/>
                </a:lnTo>
                <a:lnTo>
                  <a:pt x="2274" y="977"/>
                </a:lnTo>
                <a:lnTo>
                  <a:pt x="2293" y="910"/>
                </a:lnTo>
                <a:lnTo>
                  <a:pt x="2313" y="845"/>
                </a:lnTo>
                <a:lnTo>
                  <a:pt x="2333" y="780"/>
                </a:lnTo>
                <a:lnTo>
                  <a:pt x="2354" y="716"/>
                </a:lnTo>
                <a:lnTo>
                  <a:pt x="2377" y="653"/>
                </a:lnTo>
                <a:lnTo>
                  <a:pt x="2400" y="590"/>
                </a:lnTo>
                <a:lnTo>
                  <a:pt x="2426" y="528"/>
                </a:lnTo>
                <a:lnTo>
                  <a:pt x="2452" y="466"/>
                </a:lnTo>
                <a:lnTo>
                  <a:pt x="2479" y="405"/>
                </a:lnTo>
                <a:lnTo>
                  <a:pt x="2507" y="345"/>
                </a:lnTo>
                <a:lnTo>
                  <a:pt x="2536" y="286"/>
                </a:lnTo>
                <a:lnTo>
                  <a:pt x="2566" y="227"/>
                </a:lnTo>
                <a:lnTo>
                  <a:pt x="2597" y="169"/>
                </a:lnTo>
                <a:lnTo>
                  <a:pt x="2630" y="113"/>
                </a:lnTo>
                <a:lnTo>
                  <a:pt x="2662" y="55"/>
                </a:lnTo>
                <a:lnTo>
                  <a:pt x="2696" y="0"/>
                </a:lnTo>
                <a:lnTo>
                  <a:pt x="0" y="0"/>
                </a:lnTo>
                <a:lnTo>
                  <a:pt x="0" y="0"/>
                </a:lnTo>
                <a:lnTo>
                  <a:pt x="35" y="104"/>
                </a:lnTo>
                <a:lnTo>
                  <a:pt x="72" y="207"/>
                </a:lnTo>
                <a:lnTo>
                  <a:pt x="111" y="311"/>
                </a:lnTo>
                <a:lnTo>
                  <a:pt x="150" y="414"/>
                </a:lnTo>
                <a:lnTo>
                  <a:pt x="150" y="414"/>
                </a:lnTo>
                <a:lnTo>
                  <a:pt x="187" y="510"/>
                </a:lnTo>
                <a:lnTo>
                  <a:pt x="226" y="605"/>
                </a:lnTo>
                <a:lnTo>
                  <a:pt x="266" y="701"/>
                </a:lnTo>
                <a:lnTo>
                  <a:pt x="306" y="795"/>
                </a:lnTo>
                <a:lnTo>
                  <a:pt x="349" y="890"/>
                </a:lnTo>
                <a:lnTo>
                  <a:pt x="392" y="983"/>
                </a:lnTo>
                <a:lnTo>
                  <a:pt x="436" y="1077"/>
                </a:lnTo>
                <a:lnTo>
                  <a:pt x="481" y="1169"/>
                </a:lnTo>
                <a:lnTo>
                  <a:pt x="527" y="1262"/>
                </a:lnTo>
                <a:lnTo>
                  <a:pt x="574" y="1353"/>
                </a:lnTo>
                <a:lnTo>
                  <a:pt x="622" y="1446"/>
                </a:lnTo>
                <a:lnTo>
                  <a:pt x="672" y="1537"/>
                </a:lnTo>
                <a:lnTo>
                  <a:pt x="722" y="1627"/>
                </a:lnTo>
                <a:lnTo>
                  <a:pt x="773" y="1717"/>
                </a:lnTo>
                <a:lnTo>
                  <a:pt x="826" y="1807"/>
                </a:lnTo>
                <a:lnTo>
                  <a:pt x="879" y="1896"/>
                </a:lnTo>
                <a:lnTo>
                  <a:pt x="934" y="1983"/>
                </a:lnTo>
                <a:lnTo>
                  <a:pt x="989" y="2072"/>
                </a:lnTo>
                <a:lnTo>
                  <a:pt x="1046" y="2159"/>
                </a:lnTo>
                <a:lnTo>
                  <a:pt x="1104" y="2246"/>
                </a:lnTo>
                <a:lnTo>
                  <a:pt x="1162" y="2332"/>
                </a:lnTo>
                <a:lnTo>
                  <a:pt x="1222" y="2418"/>
                </a:lnTo>
                <a:lnTo>
                  <a:pt x="1282" y="2503"/>
                </a:lnTo>
                <a:lnTo>
                  <a:pt x="1344" y="2588"/>
                </a:lnTo>
                <a:lnTo>
                  <a:pt x="1406" y="2671"/>
                </a:lnTo>
                <a:lnTo>
                  <a:pt x="1470" y="2754"/>
                </a:lnTo>
                <a:lnTo>
                  <a:pt x="1535" y="2837"/>
                </a:lnTo>
                <a:lnTo>
                  <a:pt x="1601" y="2918"/>
                </a:lnTo>
                <a:lnTo>
                  <a:pt x="1667" y="3000"/>
                </a:lnTo>
                <a:lnTo>
                  <a:pt x="1736" y="3080"/>
                </a:lnTo>
                <a:lnTo>
                  <a:pt x="1804" y="3160"/>
                </a:lnTo>
                <a:lnTo>
                  <a:pt x="1874" y="3240"/>
                </a:lnTo>
                <a:lnTo>
                  <a:pt x="1874" y="3240"/>
                </a:lnTo>
                <a:close/>
              </a:path>
            </a:pathLst>
          </a:custGeom>
          <a:solidFill>
            <a:srgbClr val="EA006F"/>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10" name="Otsikko 1"/>
          <p:cNvSpPr>
            <a:spLocks noGrp="1"/>
          </p:cNvSpPr>
          <p:nvPr userDrawn="1">
            <p:ph type="ctrTitle"/>
          </p:nvPr>
        </p:nvSpPr>
        <p:spPr>
          <a:xfrm>
            <a:off x="366651" y="411510"/>
            <a:ext cx="3485269" cy="2967062"/>
          </a:xfrm>
        </p:spPr>
        <p:txBody>
          <a:bodyPr anchor="b" anchorCtr="0">
            <a:noAutofit/>
          </a:bodyPr>
          <a:lstStyle>
            <a:lvl1pPr algn="l">
              <a:defRPr sz="4000">
                <a:solidFill>
                  <a:schemeClr val="accent4"/>
                </a:solidFill>
              </a:defRPr>
            </a:lvl1pPr>
          </a:lstStyle>
          <a:p>
            <a:r>
              <a:rPr lang="en-US" dirty="0"/>
              <a:t>Click to edit Master title style</a:t>
            </a:r>
            <a:endParaRPr lang="fi-FI" dirty="0"/>
          </a:p>
        </p:txBody>
      </p:sp>
      <p:sp>
        <p:nvSpPr>
          <p:cNvPr id="11" name="Alaotsikko 2"/>
          <p:cNvSpPr>
            <a:spLocks noGrp="1"/>
          </p:cNvSpPr>
          <p:nvPr userDrawn="1">
            <p:ph type="subTitle" idx="1"/>
          </p:nvPr>
        </p:nvSpPr>
        <p:spPr>
          <a:xfrm>
            <a:off x="366651" y="3507854"/>
            <a:ext cx="3485270" cy="1512168"/>
          </a:xfrm>
        </p:spPr>
        <p:txBody>
          <a:bodyPr>
            <a:normAutofit/>
          </a:bodyPr>
          <a:lstStyle>
            <a:lvl1pPr marL="0" indent="0" algn="l">
              <a:spcBef>
                <a:spcPts val="0"/>
              </a:spcBef>
              <a:buNone/>
              <a:defRPr sz="1800">
                <a:solidFill>
                  <a:srgbClr val="59596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fi-FI" dirty="0"/>
          </a:p>
        </p:txBody>
      </p:sp>
      <p:sp>
        <p:nvSpPr>
          <p:cNvPr id="32" name="Freeform 30"/>
          <p:cNvSpPr>
            <a:spLocks/>
          </p:cNvSpPr>
          <p:nvPr userDrawn="1"/>
        </p:nvSpPr>
        <p:spPr bwMode="auto">
          <a:xfrm>
            <a:off x="7331075" y="1931690"/>
            <a:ext cx="371475" cy="98425"/>
          </a:xfrm>
          <a:custGeom>
            <a:avLst/>
            <a:gdLst>
              <a:gd name="T0" fmla="*/ 87 w 2807"/>
              <a:gd name="T1" fmla="*/ 343 h 743"/>
              <a:gd name="T2" fmla="*/ 203 w 2807"/>
              <a:gd name="T3" fmla="*/ 417 h 743"/>
              <a:gd name="T4" fmla="*/ 319 w 2807"/>
              <a:gd name="T5" fmla="*/ 479 h 743"/>
              <a:gd name="T6" fmla="*/ 430 w 2807"/>
              <a:gd name="T7" fmla="*/ 529 h 743"/>
              <a:gd name="T8" fmla="*/ 603 w 2807"/>
              <a:gd name="T9" fmla="*/ 595 h 743"/>
              <a:gd name="T10" fmla="*/ 724 w 2807"/>
              <a:gd name="T11" fmla="*/ 633 h 743"/>
              <a:gd name="T12" fmla="*/ 857 w 2807"/>
              <a:gd name="T13" fmla="*/ 666 h 743"/>
              <a:gd name="T14" fmla="*/ 1001 w 2807"/>
              <a:gd name="T15" fmla="*/ 696 h 743"/>
              <a:gd name="T16" fmla="*/ 1157 w 2807"/>
              <a:gd name="T17" fmla="*/ 719 h 743"/>
              <a:gd name="T18" fmla="*/ 1324 w 2807"/>
              <a:gd name="T19" fmla="*/ 736 h 743"/>
              <a:gd name="T20" fmla="*/ 1502 w 2807"/>
              <a:gd name="T21" fmla="*/ 743 h 743"/>
              <a:gd name="T22" fmla="*/ 1689 w 2807"/>
              <a:gd name="T23" fmla="*/ 738 h 743"/>
              <a:gd name="T24" fmla="*/ 1819 w 2807"/>
              <a:gd name="T25" fmla="*/ 729 h 743"/>
              <a:gd name="T26" fmla="*/ 1999 w 2807"/>
              <a:gd name="T27" fmla="*/ 706 h 743"/>
              <a:gd name="T28" fmla="*/ 2159 w 2807"/>
              <a:gd name="T29" fmla="*/ 678 h 743"/>
              <a:gd name="T30" fmla="*/ 2302 w 2807"/>
              <a:gd name="T31" fmla="*/ 643 h 743"/>
              <a:gd name="T32" fmla="*/ 2426 w 2807"/>
              <a:gd name="T33" fmla="*/ 605 h 743"/>
              <a:gd name="T34" fmla="*/ 2533 w 2807"/>
              <a:gd name="T35" fmla="*/ 566 h 743"/>
              <a:gd name="T36" fmla="*/ 2672 w 2807"/>
              <a:gd name="T37" fmla="*/ 505 h 743"/>
              <a:gd name="T38" fmla="*/ 2773 w 2807"/>
              <a:gd name="T39" fmla="*/ 449 h 743"/>
              <a:gd name="T40" fmla="*/ 2807 w 2807"/>
              <a:gd name="T41" fmla="*/ 426 h 743"/>
              <a:gd name="T42" fmla="*/ 2745 w 2807"/>
              <a:gd name="T43" fmla="*/ 402 h 743"/>
              <a:gd name="T44" fmla="*/ 2688 w 2807"/>
              <a:gd name="T45" fmla="*/ 372 h 743"/>
              <a:gd name="T46" fmla="*/ 2586 w 2807"/>
              <a:gd name="T47" fmla="*/ 303 h 743"/>
              <a:gd name="T48" fmla="*/ 2529 w 2807"/>
              <a:gd name="T49" fmla="*/ 256 h 743"/>
              <a:gd name="T50" fmla="*/ 2518 w 2807"/>
              <a:gd name="T51" fmla="*/ 294 h 743"/>
              <a:gd name="T52" fmla="*/ 2507 w 2807"/>
              <a:gd name="T53" fmla="*/ 381 h 743"/>
              <a:gd name="T54" fmla="*/ 2499 w 2807"/>
              <a:gd name="T55" fmla="*/ 413 h 743"/>
              <a:gd name="T56" fmla="*/ 2443 w 2807"/>
              <a:gd name="T57" fmla="*/ 391 h 743"/>
              <a:gd name="T58" fmla="*/ 2423 w 2807"/>
              <a:gd name="T59" fmla="*/ 381 h 743"/>
              <a:gd name="T60" fmla="*/ 2392 w 2807"/>
              <a:gd name="T61" fmla="*/ 357 h 743"/>
              <a:gd name="T62" fmla="*/ 2361 w 2807"/>
              <a:gd name="T63" fmla="*/ 324 h 743"/>
              <a:gd name="T64" fmla="*/ 2334 w 2807"/>
              <a:gd name="T65" fmla="*/ 283 h 743"/>
              <a:gd name="T66" fmla="*/ 2316 w 2807"/>
              <a:gd name="T67" fmla="*/ 235 h 743"/>
              <a:gd name="T68" fmla="*/ 2310 w 2807"/>
              <a:gd name="T69" fmla="*/ 199 h 743"/>
              <a:gd name="T70" fmla="*/ 2252 w 2807"/>
              <a:gd name="T71" fmla="*/ 195 h 743"/>
              <a:gd name="T72" fmla="*/ 2110 w 2807"/>
              <a:gd name="T73" fmla="*/ 243 h 743"/>
              <a:gd name="T74" fmla="*/ 1984 w 2807"/>
              <a:gd name="T75" fmla="*/ 277 h 743"/>
              <a:gd name="T76" fmla="*/ 1843 w 2807"/>
              <a:gd name="T77" fmla="*/ 303 h 743"/>
              <a:gd name="T78" fmla="*/ 1697 w 2807"/>
              <a:gd name="T79" fmla="*/ 319 h 743"/>
              <a:gd name="T80" fmla="*/ 1558 w 2807"/>
              <a:gd name="T81" fmla="*/ 322 h 743"/>
              <a:gd name="T82" fmla="*/ 1293 w 2807"/>
              <a:gd name="T83" fmla="*/ 312 h 743"/>
              <a:gd name="T84" fmla="*/ 1030 w 2807"/>
              <a:gd name="T85" fmla="*/ 282 h 743"/>
              <a:gd name="T86" fmla="*/ 855 w 2807"/>
              <a:gd name="T87" fmla="*/ 251 h 743"/>
              <a:gd name="T88" fmla="*/ 725 w 2807"/>
              <a:gd name="T89" fmla="*/ 221 h 743"/>
              <a:gd name="T90" fmla="*/ 594 w 2807"/>
              <a:gd name="T91" fmla="*/ 185 h 743"/>
              <a:gd name="T92" fmla="*/ 465 w 2807"/>
              <a:gd name="T93" fmla="*/ 143 h 743"/>
              <a:gd name="T94" fmla="*/ 336 w 2807"/>
              <a:gd name="T95" fmla="*/ 94 h 743"/>
              <a:gd name="T96" fmla="*/ 251 w 2807"/>
              <a:gd name="T97" fmla="*/ 58 h 743"/>
              <a:gd name="T98" fmla="*/ 122 w 2807"/>
              <a:gd name="T99" fmla="*/ 0 h 743"/>
              <a:gd name="T100" fmla="*/ 119 w 2807"/>
              <a:gd name="T101" fmla="*/ 19 h 743"/>
              <a:gd name="T102" fmla="*/ 121 w 2807"/>
              <a:gd name="T103" fmla="*/ 51 h 743"/>
              <a:gd name="T104" fmla="*/ 136 w 2807"/>
              <a:gd name="T105" fmla="*/ 96 h 743"/>
              <a:gd name="T106" fmla="*/ 171 w 2807"/>
              <a:gd name="T107" fmla="*/ 156 h 743"/>
              <a:gd name="T108" fmla="*/ 207 w 2807"/>
              <a:gd name="T109" fmla="*/ 204 h 743"/>
              <a:gd name="T110" fmla="*/ 151 w 2807"/>
              <a:gd name="T111" fmla="*/ 199 h 743"/>
              <a:gd name="T112" fmla="*/ 98 w 2807"/>
              <a:gd name="T113" fmla="*/ 204 h 743"/>
              <a:gd name="T114" fmla="*/ 69 w 2807"/>
              <a:gd name="T115" fmla="*/ 215 h 743"/>
              <a:gd name="T116" fmla="*/ 32 w 2807"/>
              <a:gd name="T117" fmla="*/ 244 h 743"/>
              <a:gd name="T118" fmla="*/ 7 w 2807"/>
              <a:gd name="T119" fmla="*/ 272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07" h="743">
                <a:moveTo>
                  <a:pt x="0" y="284"/>
                </a:moveTo>
                <a:lnTo>
                  <a:pt x="0" y="284"/>
                </a:lnTo>
                <a:lnTo>
                  <a:pt x="87" y="343"/>
                </a:lnTo>
                <a:lnTo>
                  <a:pt x="127" y="369"/>
                </a:lnTo>
                <a:lnTo>
                  <a:pt x="166" y="394"/>
                </a:lnTo>
                <a:lnTo>
                  <a:pt x="203" y="417"/>
                </a:lnTo>
                <a:lnTo>
                  <a:pt x="241" y="438"/>
                </a:lnTo>
                <a:lnTo>
                  <a:pt x="280" y="460"/>
                </a:lnTo>
                <a:lnTo>
                  <a:pt x="319" y="479"/>
                </a:lnTo>
                <a:lnTo>
                  <a:pt x="319" y="479"/>
                </a:lnTo>
                <a:lnTo>
                  <a:pt x="372" y="504"/>
                </a:lnTo>
                <a:lnTo>
                  <a:pt x="430" y="529"/>
                </a:lnTo>
                <a:lnTo>
                  <a:pt x="495" y="556"/>
                </a:lnTo>
                <a:lnTo>
                  <a:pt x="565" y="581"/>
                </a:lnTo>
                <a:lnTo>
                  <a:pt x="603" y="595"/>
                </a:lnTo>
                <a:lnTo>
                  <a:pt x="642" y="607"/>
                </a:lnTo>
                <a:lnTo>
                  <a:pt x="682" y="620"/>
                </a:lnTo>
                <a:lnTo>
                  <a:pt x="724" y="633"/>
                </a:lnTo>
                <a:lnTo>
                  <a:pt x="767" y="644"/>
                </a:lnTo>
                <a:lnTo>
                  <a:pt x="811" y="655"/>
                </a:lnTo>
                <a:lnTo>
                  <a:pt x="857" y="666"/>
                </a:lnTo>
                <a:lnTo>
                  <a:pt x="903" y="677"/>
                </a:lnTo>
                <a:lnTo>
                  <a:pt x="952" y="687"/>
                </a:lnTo>
                <a:lnTo>
                  <a:pt x="1001" y="696"/>
                </a:lnTo>
                <a:lnTo>
                  <a:pt x="1052" y="705"/>
                </a:lnTo>
                <a:lnTo>
                  <a:pt x="1104" y="713"/>
                </a:lnTo>
                <a:lnTo>
                  <a:pt x="1157" y="719"/>
                </a:lnTo>
                <a:lnTo>
                  <a:pt x="1212" y="727"/>
                </a:lnTo>
                <a:lnTo>
                  <a:pt x="1267" y="732"/>
                </a:lnTo>
                <a:lnTo>
                  <a:pt x="1324" y="736"/>
                </a:lnTo>
                <a:lnTo>
                  <a:pt x="1382" y="739"/>
                </a:lnTo>
                <a:lnTo>
                  <a:pt x="1442" y="741"/>
                </a:lnTo>
                <a:lnTo>
                  <a:pt x="1502" y="743"/>
                </a:lnTo>
                <a:lnTo>
                  <a:pt x="1563" y="742"/>
                </a:lnTo>
                <a:lnTo>
                  <a:pt x="1626" y="741"/>
                </a:lnTo>
                <a:lnTo>
                  <a:pt x="1689" y="738"/>
                </a:lnTo>
                <a:lnTo>
                  <a:pt x="1754" y="734"/>
                </a:lnTo>
                <a:lnTo>
                  <a:pt x="1819" y="729"/>
                </a:lnTo>
                <a:lnTo>
                  <a:pt x="1819" y="729"/>
                </a:lnTo>
                <a:lnTo>
                  <a:pt x="1881" y="723"/>
                </a:lnTo>
                <a:lnTo>
                  <a:pt x="1941" y="714"/>
                </a:lnTo>
                <a:lnTo>
                  <a:pt x="1999" y="706"/>
                </a:lnTo>
                <a:lnTo>
                  <a:pt x="2054" y="697"/>
                </a:lnTo>
                <a:lnTo>
                  <a:pt x="2108" y="688"/>
                </a:lnTo>
                <a:lnTo>
                  <a:pt x="2159" y="678"/>
                </a:lnTo>
                <a:lnTo>
                  <a:pt x="2209" y="666"/>
                </a:lnTo>
                <a:lnTo>
                  <a:pt x="2257" y="655"/>
                </a:lnTo>
                <a:lnTo>
                  <a:pt x="2302" y="643"/>
                </a:lnTo>
                <a:lnTo>
                  <a:pt x="2346" y="631"/>
                </a:lnTo>
                <a:lnTo>
                  <a:pt x="2387" y="618"/>
                </a:lnTo>
                <a:lnTo>
                  <a:pt x="2426" y="605"/>
                </a:lnTo>
                <a:lnTo>
                  <a:pt x="2464" y="593"/>
                </a:lnTo>
                <a:lnTo>
                  <a:pt x="2500" y="579"/>
                </a:lnTo>
                <a:lnTo>
                  <a:pt x="2533" y="566"/>
                </a:lnTo>
                <a:lnTo>
                  <a:pt x="2564" y="554"/>
                </a:lnTo>
                <a:lnTo>
                  <a:pt x="2622" y="528"/>
                </a:lnTo>
                <a:lnTo>
                  <a:pt x="2672" y="505"/>
                </a:lnTo>
                <a:lnTo>
                  <a:pt x="2713" y="483"/>
                </a:lnTo>
                <a:lnTo>
                  <a:pt x="2747" y="465"/>
                </a:lnTo>
                <a:lnTo>
                  <a:pt x="2773" y="449"/>
                </a:lnTo>
                <a:lnTo>
                  <a:pt x="2792" y="436"/>
                </a:lnTo>
                <a:lnTo>
                  <a:pt x="2807" y="426"/>
                </a:lnTo>
                <a:lnTo>
                  <a:pt x="2807" y="426"/>
                </a:lnTo>
                <a:lnTo>
                  <a:pt x="2786" y="419"/>
                </a:lnTo>
                <a:lnTo>
                  <a:pt x="2766" y="410"/>
                </a:lnTo>
                <a:lnTo>
                  <a:pt x="2745" y="402"/>
                </a:lnTo>
                <a:lnTo>
                  <a:pt x="2726" y="391"/>
                </a:lnTo>
                <a:lnTo>
                  <a:pt x="2706" y="382"/>
                </a:lnTo>
                <a:lnTo>
                  <a:pt x="2688" y="372"/>
                </a:lnTo>
                <a:lnTo>
                  <a:pt x="2651" y="349"/>
                </a:lnTo>
                <a:lnTo>
                  <a:pt x="2618" y="327"/>
                </a:lnTo>
                <a:lnTo>
                  <a:pt x="2586" y="303"/>
                </a:lnTo>
                <a:lnTo>
                  <a:pt x="2556" y="280"/>
                </a:lnTo>
                <a:lnTo>
                  <a:pt x="2529" y="256"/>
                </a:lnTo>
                <a:lnTo>
                  <a:pt x="2529" y="256"/>
                </a:lnTo>
                <a:lnTo>
                  <a:pt x="2524" y="266"/>
                </a:lnTo>
                <a:lnTo>
                  <a:pt x="2521" y="279"/>
                </a:lnTo>
                <a:lnTo>
                  <a:pt x="2518" y="294"/>
                </a:lnTo>
                <a:lnTo>
                  <a:pt x="2515" y="312"/>
                </a:lnTo>
                <a:lnTo>
                  <a:pt x="2515" y="312"/>
                </a:lnTo>
                <a:lnTo>
                  <a:pt x="2507" y="381"/>
                </a:lnTo>
                <a:lnTo>
                  <a:pt x="2503" y="414"/>
                </a:lnTo>
                <a:lnTo>
                  <a:pt x="2503" y="414"/>
                </a:lnTo>
                <a:lnTo>
                  <a:pt x="2499" y="413"/>
                </a:lnTo>
                <a:lnTo>
                  <a:pt x="2489" y="410"/>
                </a:lnTo>
                <a:lnTo>
                  <a:pt x="2470" y="403"/>
                </a:lnTo>
                <a:lnTo>
                  <a:pt x="2443" y="391"/>
                </a:lnTo>
                <a:lnTo>
                  <a:pt x="2443" y="391"/>
                </a:lnTo>
                <a:lnTo>
                  <a:pt x="2433" y="387"/>
                </a:lnTo>
                <a:lnTo>
                  <a:pt x="2423" y="381"/>
                </a:lnTo>
                <a:lnTo>
                  <a:pt x="2413" y="374"/>
                </a:lnTo>
                <a:lnTo>
                  <a:pt x="2403" y="366"/>
                </a:lnTo>
                <a:lnTo>
                  <a:pt x="2392" y="357"/>
                </a:lnTo>
                <a:lnTo>
                  <a:pt x="2381" y="347"/>
                </a:lnTo>
                <a:lnTo>
                  <a:pt x="2371" y="336"/>
                </a:lnTo>
                <a:lnTo>
                  <a:pt x="2361" y="324"/>
                </a:lnTo>
                <a:lnTo>
                  <a:pt x="2351" y="312"/>
                </a:lnTo>
                <a:lnTo>
                  <a:pt x="2342" y="297"/>
                </a:lnTo>
                <a:lnTo>
                  <a:pt x="2334" y="283"/>
                </a:lnTo>
                <a:lnTo>
                  <a:pt x="2326" y="268"/>
                </a:lnTo>
                <a:lnTo>
                  <a:pt x="2320" y="251"/>
                </a:lnTo>
                <a:lnTo>
                  <a:pt x="2316" y="235"/>
                </a:lnTo>
                <a:lnTo>
                  <a:pt x="2312" y="216"/>
                </a:lnTo>
                <a:lnTo>
                  <a:pt x="2310" y="199"/>
                </a:lnTo>
                <a:lnTo>
                  <a:pt x="2310" y="199"/>
                </a:lnTo>
                <a:lnTo>
                  <a:pt x="2309" y="174"/>
                </a:lnTo>
                <a:lnTo>
                  <a:pt x="2309" y="174"/>
                </a:lnTo>
                <a:lnTo>
                  <a:pt x="2252" y="195"/>
                </a:lnTo>
                <a:lnTo>
                  <a:pt x="2186" y="218"/>
                </a:lnTo>
                <a:lnTo>
                  <a:pt x="2149" y="231"/>
                </a:lnTo>
                <a:lnTo>
                  <a:pt x="2110" y="243"/>
                </a:lnTo>
                <a:lnTo>
                  <a:pt x="2069" y="254"/>
                </a:lnTo>
                <a:lnTo>
                  <a:pt x="2028" y="266"/>
                </a:lnTo>
                <a:lnTo>
                  <a:pt x="1984" y="277"/>
                </a:lnTo>
                <a:lnTo>
                  <a:pt x="1938" y="286"/>
                </a:lnTo>
                <a:lnTo>
                  <a:pt x="1892" y="295"/>
                </a:lnTo>
                <a:lnTo>
                  <a:pt x="1843" y="303"/>
                </a:lnTo>
                <a:lnTo>
                  <a:pt x="1795" y="311"/>
                </a:lnTo>
                <a:lnTo>
                  <a:pt x="1746" y="316"/>
                </a:lnTo>
                <a:lnTo>
                  <a:pt x="1697" y="319"/>
                </a:lnTo>
                <a:lnTo>
                  <a:pt x="1647" y="321"/>
                </a:lnTo>
                <a:lnTo>
                  <a:pt x="1647" y="321"/>
                </a:lnTo>
                <a:lnTo>
                  <a:pt x="1558" y="322"/>
                </a:lnTo>
                <a:lnTo>
                  <a:pt x="1470" y="321"/>
                </a:lnTo>
                <a:lnTo>
                  <a:pt x="1382" y="317"/>
                </a:lnTo>
                <a:lnTo>
                  <a:pt x="1293" y="312"/>
                </a:lnTo>
                <a:lnTo>
                  <a:pt x="1205" y="304"/>
                </a:lnTo>
                <a:lnTo>
                  <a:pt x="1118" y="294"/>
                </a:lnTo>
                <a:lnTo>
                  <a:pt x="1030" y="282"/>
                </a:lnTo>
                <a:lnTo>
                  <a:pt x="943" y="268"/>
                </a:lnTo>
                <a:lnTo>
                  <a:pt x="899" y="259"/>
                </a:lnTo>
                <a:lnTo>
                  <a:pt x="855" y="251"/>
                </a:lnTo>
                <a:lnTo>
                  <a:pt x="812" y="241"/>
                </a:lnTo>
                <a:lnTo>
                  <a:pt x="768" y="231"/>
                </a:lnTo>
                <a:lnTo>
                  <a:pt x="725" y="221"/>
                </a:lnTo>
                <a:lnTo>
                  <a:pt x="681" y="209"/>
                </a:lnTo>
                <a:lnTo>
                  <a:pt x="638" y="197"/>
                </a:lnTo>
                <a:lnTo>
                  <a:pt x="594" y="185"/>
                </a:lnTo>
                <a:lnTo>
                  <a:pt x="551" y="171"/>
                </a:lnTo>
                <a:lnTo>
                  <a:pt x="508" y="157"/>
                </a:lnTo>
                <a:lnTo>
                  <a:pt x="465" y="143"/>
                </a:lnTo>
                <a:lnTo>
                  <a:pt x="422" y="127"/>
                </a:lnTo>
                <a:lnTo>
                  <a:pt x="379" y="111"/>
                </a:lnTo>
                <a:lnTo>
                  <a:pt x="336" y="94"/>
                </a:lnTo>
                <a:lnTo>
                  <a:pt x="294" y="76"/>
                </a:lnTo>
                <a:lnTo>
                  <a:pt x="251" y="58"/>
                </a:lnTo>
                <a:lnTo>
                  <a:pt x="251" y="58"/>
                </a:lnTo>
                <a:lnTo>
                  <a:pt x="165" y="19"/>
                </a:lnTo>
                <a:lnTo>
                  <a:pt x="122" y="0"/>
                </a:lnTo>
                <a:lnTo>
                  <a:pt x="122" y="0"/>
                </a:lnTo>
                <a:lnTo>
                  <a:pt x="121" y="3"/>
                </a:lnTo>
                <a:lnTo>
                  <a:pt x="119" y="12"/>
                </a:lnTo>
                <a:lnTo>
                  <a:pt x="119" y="19"/>
                </a:lnTo>
                <a:lnTo>
                  <a:pt x="119" y="28"/>
                </a:lnTo>
                <a:lnTo>
                  <a:pt x="119" y="39"/>
                </a:lnTo>
                <a:lnTo>
                  <a:pt x="121" y="51"/>
                </a:lnTo>
                <a:lnTo>
                  <a:pt x="125" y="64"/>
                </a:lnTo>
                <a:lnTo>
                  <a:pt x="129" y="79"/>
                </a:lnTo>
                <a:lnTo>
                  <a:pt x="136" y="96"/>
                </a:lnTo>
                <a:lnTo>
                  <a:pt x="145" y="114"/>
                </a:lnTo>
                <a:lnTo>
                  <a:pt x="156" y="135"/>
                </a:lnTo>
                <a:lnTo>
                  <a:pt x="171" y="156"/>
                </a:lnTo>
                <a:lnTo>
                  <a:pt x="187" y="180"/>
                </a:lnTo>
                <a:lnTo>
                  <a:pt x="207" y="204"/>
                </a:lnTo>
                <a:lnTo>
                  <a:pt x="207" y="204"/>
                </a:lnTo>
                <a:lnTo>
                  <a:pt x="189" y="201"/>
                </a:lnTo>
                <a:lnTo>
                  <a:pt x="170" y="199"/>
                </a:lnTo>
                <a:lnTo>
                  <a:pt x="151" y="199"/>
                </a:lnTo>
                <a:lnTo>
                  <a:pt x="132" y="199"/>
                </a:lnTo>
                <a:lnTo>
                  <a:pt x="114" y="201"/>
                </a:lnTo>
                <a:lnTo>
                  <a:pt x="98" y="204"/>
                </a:lnTo>
                <a:lnTo>
                  <a:pt x="83" y="209"/>
                </a:lnTo>
                <a:lnTo>
                  <a:pt x="69" y="215"/>
                </a:lnTo>
                <a:lnTo>
                  <a:pt x="69" y="215"/>
                </a:lnTo>
                <a:lnTo>
                  <a:pt x="55" y="224"/>
                </a:lnTo>
                <a:lnTo>
                  <a:pt x="42" y="234"/>
                </a:lnTo>
                <a:lnTo>
                  <a:pt x="32" y="244"/>
                </a:lnTo>
                <a:lnTo>
                  <a:pt x="21" y="253"/>
                </a:lnTo>
                <a:lnTo>
                  <a:pt x="13" y="262"/>
                </a:lnTo>
                <a:lnTo>
                  <a:pt x="7" y="272"/>
                </a:lnTo>
                <a:lnTo>
                  <a:pt x="0" y="28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3" name="Freeform 31"/>
          <p:cNvSpPr>
            <a:spLocks/>
          </p:cNvSpPr>
          <p:nvPr userDrawn="1"/>
        </p:nvSpPr>
        <p:spPr bwMode="auto">
          <a:xfrm>
            <a:off x="7248525" y="1618953"/>
            <a:ext cx="377825" cy="271463"/>
          </a:xfrm>
          <a:custGeom>
            <a:avLst/>
            <a:gdLst>
              <a:gd name="T0" fmla="*/ 2491 w 2863"/>
              <a:gd name="T1" fmla="*/ 103 h 2054"/>
              <a:gd name="T2" fmla="*/ 2575 w 2863"/>
              <a:gd name="T3" fmla="*/ 23 h 2054"/>
              <a:gd name="T4" fmla="*/ 2196 w 2863"/>
              <a:gd name="T5" fmla="*/ 132 h 2054"/>
              <a:gd name="T6" fmla="*/ 1671 w 2863"/>
              <a:gd name="T7" fmla="*/ 429 h 2054"/>
              <a:gd name="T8" fmla="*/ 1528 w 2863"/>
              <a:gd name="T9" fmla="*/ 462 h 2054"/>
              <a:gd name="T10" fmla="*/ 1416 w 2863"/>
              <a:gd name="T11" fmla="*/ 568 h 2054"/>
              <a:gd name="T12" fmla="*/ 1409 w 2863"/>
              <a:gd name="T13" fmla="*/ 634 h 2054"/>
              <a:gd name="T14" fmla="*/ 1479 w 2863"/>
              <a:gd name="T15" fmla="*/ 748 h 2054"/>
              <a:gd name="T16" fmla="*/ 1586 w 2863"/>
              <a:gd name="T17" fmla="*/ 787 h 2054"/>
              <a:gd name="T18" fmla="*/ 1476 w 2863"/>
              <a:gd name="T19" fmla="*/ 974 h 2054"/>
              <a:gd name="T20" fmla="*/ 1133 w 2863"/>
              <a:gd name="T21" fmla="*/ 1199 h 2054"/>
              <a:gd name="T22" fmla="*/ 799 w 2863"/>
              <a:gd name="T23" fmla="*/ 1254 h 2054"/>
              <a:gd name="T24" fmla="*/ 634 w 2863"/>
              <a:gd name="T25" fmla="*/ 1102 h 2054"/>
              <a:gd name="T26" fmla="*/ 539 w 2863"/>
              <a:gd name="T27" fmla="*/ 1015 h 2054"/>
              <a:gd name="T28" fmla="*/ 406 w 2863"/>
              <a:gd name="T29" fmla="*/ 1023 h 2054"/>
              <a:gd name="T30" fmla="*/ 231 w 2863"/>
              <a:gd name="T31" fmla="*/ 1090 h 2054"/>
              <a:gd name="T32" fmla="*/ 382 w 2863"/>
              <a:gd name="T33" fmla="*/ 1121 h 2054"/>
              <a:gd name="T34" fmla="*/ 351 w 2863"/>
              <a:gd name="T35" fmla="*/ 1168 h 2054"/>
              <a:gd name="T36" fmla="*/ 418 w 2863"/>
              <a:gd name="T37" fmla="*/ 1270 h 2054"/>
              <a:gd name="T38" fmla="*/ 608 w 2863"/>
              <a:gd name="T39" fmla="*/ 1387 h 2054"/>
              <a:gd name="T40" fmla="*/ 314 w 2863"/>
              <a:gd name="T41" fmla="*/ 1296 h 2054"/>
              <a:gd name="T42" fmla="*/ 234 w 2863"/>
              <a:gd name="T43" fmla="*/ 1324 h 2054"/>
              <a:gd name="T44" fmla="*/ 77 w 2863"/>
              <a:gd name="T45" fmla="*/ 1367 h 2054"/>
              <a:gd name="T46" fmla="*/ 0 w 2863"/>
              <a:gd name="T47" fmla="*/ 1480 h 2054"/>
              <a:gd name="T48" fmla="*/ 63 w 2863"/>
              <a:gd name="T49" fmla="*/ 1501 h 2054"/>
              <a:gd name="T50" fmla="*/ 166 w 2863"/>
              <a:gd name="T51" fmla="*/ 1461 h 2054"/>
              <a:gd name="T52" fmla="*/ 187 w 2863"/>
              <a:gd name="T53" fmla="*/ 1573 h 2054"/>
              <a:gd name="T54" fmla="*/ 354 w 2863"/>
              <a:gd name="T55" fmla="*/ 1597 h 2054"/>
              <a:gd name="T56" fmla="*/ 616 w 2863"/>
              <a:gd name="T57" fmla="*/ 1588 h 2054"/>
              <a:gd name="T58" fmla="*/ 382 w 2863"/>
              <a:gd name="T59" fmla="*/ 1636 h 2054"/>
              <a:gd name="T60" fmla="*/ 295 w 2863"/>
              <a:gd name="T61" fmla="*/ 1696 h 2054"/>
              <a:gd name="T62" fmla="*/ 254 w 2863"/>
              <a:gd name="T63" fmla="*/ 1795 h 2054"/>
              <a:gd name="T64" fmla="*/ 239 w 2863"/>
              <a:gd name="T65" fmla="*/ 1953 h 2054"/>
              <a:gd name="T66" fmla="*/ 335 w 2863"/>
              <a:gd name="T67" fmla="*/ 2045 h 2054"/>
              <a:gd name="T68" fmla="*/ 341 w 2863"/>
              <a:gd name="T69" fmla="*/ 1906 h 2054"/>
              <a:gd name="T70" fmla="*/ 417 w 2863"/>
              <a:gd name="T71" fmla="*/ 1946 h 2054"/>
              <a:gd name="T72" fmla="*/ 509 w 2863"/>
              <a:gd name="T73" fmla="*/ 1935 h 2054"/>
              <a:gd name="T74" fmla="*/ 732 w 2863"/>
              <a:gd name="T75" fmla="*/ 1733 h 2054"/>
              <a:gd name="T76" fmla="*/ 874 w 2863"/>
              <a:gd name="T77" fmla="*/ 1691 h 2054"/>
              <a:gd name="T78" fmla="*/ 870 w 2863"/>
              <a:gd name="T79" fmla="*/ 1786 h 2054"/>
              <a:gd name="T80" fmla="*/ 945 w 2863"/>
              <a:gd name="T81" fmla="*/ 1834 h 2054"/>
              <a:gd name="T82" fmla="*/ 875 w 2863"/>
              <a:gd name="T83" fmla="*/ 1948 h 2054"/>
              <a:gd name="T84" fmla="*/ 1004 w 2863"/>
              <a:gd name="T85" fmla="*/ 1919 h 2054"/>
              <a:gd name="T86" fmla="*/ 1100 w 2863"/>
              <a:gd name="T87" fmla="*/ 1787 h 2054"/>
              <a:gd name="T88" fmla="*/ 1159 w 2863"/>
              <a:gd name="T89" fmla="*/ 1734 h 2054"/>
              <a:gd name="T90" fmla="*/ 1183 w 2863"/>
              <a:gd name="T91" fmla="*/ 1628 h 2054"/>
              <a:gd name="T92" fmla="*/ 1338 w 2863"/>
              <a:gd name="T93" fmla="*/ 1564 h 2054"/>
              <a:gd name="T94" fmla="*/ 1370 w 2863"/>
              <a:gd name="T95" fmla="*/ 1465 h 2054"/>
              <a:gd name="T96" fmla="*/ 1461 w 2863"/>
              <a:gd name="T97" fmla="*/ 1462 h 2054"/>
              <a:gd name="T98" fmla="*/ 1684 w 2863"/>
              <a:gd name="T99" fmla="*/ 1556 h 2054"/>
              <a:gd name="T100" fmla="*/ 1888 w 2863"/>
              <a:gd name="T101" fmla="*/ 1440 h 2054"/>
              <a:gd name="T102" fmla="*/ 1799 w 2863"/>
              <a:gd name="T103" fmla="*/ 1308 h 2054"/>
              <a:gd name="T104" fmla="*/ 1857 w 2863"/>
              <a:gd name="T105" fmla="*/ 1327 h 2054"/>
              <a:gd name="T106" fmla="*/ 2183 w 2863"/>
              <a:gd name="T107" fmla="*/ 1273 h 2054"/>
              <a:gd name="T108" fmla="*/ 2142 w 2863"/>
              <a:gd name="T109" fmla="*/ 1164 h 2054"/>
              <a:gd name="T110" fmla="*/ 2112 w 2863"/>
              <a:gd name="T111" fmla="*/ 1069 h 2054"/>
              <a:gd name="T112" fmla="*/ 2121 w 2863"/>
              <a:gd name="T113" fmla="*/ 977 h 2054"/>
              <a:gd name="T114" fmla="*/ 2085 w 2863"/>
              <a:gd name="T115" fmla="*/ 807 h 2054"/>
              <a:gd name="T116" fmla="*/ 2859 w 2863"/>
              <a:gd name="T117" fmla="*/ 408 h 2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63" h="2054">
                <a:moveTo>
                  <a:pt x="2759" y="252"/>
                </a:moveTo>
                <a:lnTo>
                  <a:pt x="2759" y="252"/>
                </a:lnTo>
                <a:lnTo>
                  <a:pt x="2742" y="239"/>
                </a:lnTo>
                <a:lnTo>
                  <a:pt x="2725" y="227"/>
                </a:lnTo>
                <a:lnTo>
                  <a:pt x="2708" y="214"/>
                </a:lnTo>
                <a:lnTo>
                  <a:pt x="2690" y="203"/>
                </a:lnTo>
                <a:lnTo>
                  <a:pt x="2655" y="184"/>
                </a:lnTo>
                <a:lnTo>
                  <a:pt x="2621" y="165"/>
                </a:lnTo>
                <a:lnTo>
                  <a:pt x="2586" y="148"/>
                </a:lnTo>
                <a:lnTo>
                  <a:pt x="2553" y="133"/>
                </a:lnTo>
                <a:lnTo>
                  <a:pt x="2522" y="118"/>
                </a:lnTo>
                <a:lnTo>
                  <a:pt x="2491" y="103"/>
                </a:lnTo>
                <a:lnTo>
                  <a:pt x="2491" y="103"/>
                </a:lnTo>
                <a:lnTo>
                  <a:pt x="2507" y="93"/>
                </a:lnTo>
                <a:lnTo>
                  <a:pt x="2523" y="82"/>
                </a:lnTo>
                <a:lnTo>
                  <a:pt x="2540" y="68"/>
                </a:lnTo>
                <a:lnTo>
                  <a:pt x="2556" y="54"/>
                </a:lnTo>
                <a:lnTo>
                  <a:pt x="2570" y="41"/>
                </a:lnTo>
                <a:lnTo>
                  <a:pt x="2574" y="35"/>
                </a:lnTo>
                <a:lnTo>
                  <a:pt x="2577" y="30"/>
                </a:lnTo>
                <a:lnTo>
                  <a:pt x="2577" y="26"/>
                </a:lnTo>
                <a:lnTo>
                  <a:pt x="2577" y="24"/>
                </a:lnTo>
                <a:lnTo>
                  <a:pt x="2575" y="23"/>
                </a:lnTo>
                <a:lnTo>
                  <a:pt x="2575" y="23"/>
                </a:lnTo>
                <a:lnTo>
                  <a:pt x="2562" y="16"/>
                </a:lnTo>
                <a:lnTo>
                  <a:pt x="2550" y="10"/>
                </a:lnTo>
                <a:lnTo>
                  <a:pt x="2538" y="6"/>
                </a:lnTo>
                <a:lnTo>
                  <a:pt x="2527" y="4"/>
                </a:lnTo>
                <a:lnTo>
                  <a:pt x="2508" y="1"/>
                </a:lnTo>
                <a:lnTo>
                  <a:pt x="2501" y="0"/>
                </a:lnTo>
                <a:lnTo>
                  <a:pt x="2501" y="0"/>
                </a:lnTo>
                <a:lnTo>
                  <a:pt x="2440" y="24"/>
                </a:lnTo>
                <a:lnTo>
                  <a:pt x="2377" y="50"/>
                </a:lnTo>
                <a:lnTo>
                  <a:pt x="2317" y="76"/>
                </a:lnTo>
                <a:lnTo>
                  <a:pt x="2256" y="103"/>
                </a:lnTo>
                <a:lnTo>
                  <a:pt x="2196" y="132"/>
                </a:lnTo>
                <a:lnTo>
                  <a:pt x="2138" y="160"/>
                </a:lnTo>
                <a:lnTo>
                  <a:pt x="2081" y="189"/>
                </a:lnTo>
                <a:lnTo>
                  <a:pt x="2026" y="219"/>
                </a:lnTo>
                <a:lnTo>
                  <a:pt x="1972" y="247"/>
                </a:lnTo>
                <a:lnTo>
                  <a:pt x="1921" y="276"/>
                </a:lnTo>
                <a:lnTo>
                  <a:pt x="1872" y="303"/>
                </a:lnTo>
                <a:lnTo>
                  <a:pt x="1825" y="331"/>
                </a:lnTo>
                <a:lnTo>
                  <a:pt x="1782" y="358"/>
                </a:lnTo>
                <a:lnTo>
                  <a:pt x="1741" y="383"/>
                </a:lnTo>
                <a:lnTo>
                  <a:pt x="1705" y="407"/>
                </a:lnTo>
                <a:lnTo>
                  <a:pt x="1671" y="429"/>
                </a:lnTo>
                <a:lnTo>
                  <a:pt x="1671" y="429"/>
                </a:lnTo>
                <a:lnTo>
                  <a:pt x="1666" y="432"/>
                </a:lnTo>
                <a:lnTo>
                  <a:pt x="1666" y="432"/>
                </a:lnTo>
                <a:lnTo>
                  <a:pt x="1654" y="439"/>
                </a:lnTo>
                <a:lnTo>
                  <a:pt x="1643" y="446"/>
                </a:lnTo>
                <a:lnTo>
                  <a:pt x="1632" y="451"/>
                </a:lnTo>
                <a:lnTo>
                  <a:pt x="1620" y="455"/>
                </a:lnTo>
                <a:lnTo>
                  <a:pt x="1608" y="458"/>
                </a:lnTo>
                <a:lnTo>
                  <a:pt x="1597" y="461"/>
                </a:lnTo>
                <a:lnTo>
                  <a:pt x="1585" y="462"/>
                </a:lnTo>
                <a:lnTo>
                  <a:pt x="1574" y="463"/>
                </a:lnTo>
                <a:lnTo>
                  <a:pt x="1550" y="464"/>
                </a:lnTo>
                <a:lnTo>
                  <a:pt x="1528" y="462"/>
                </a:lnTo>
                <a:lnTo>
                  <a:pt x="1505" y="459"/>
                </a:lnTo>
                <a:lnTo>
                  <a:pt x="1485" y="454"/>
                </a:lnTo>
                <a:lnTo>
                  <a:pt x="1465" y="449"/>
                </a:lnTo>
                <a:lnTo>
                  <a:pt x="1448" y="442"/>
                </a:lnTo>
                <a:lnTo>
                  <a:pt x="1433" y="436"/>
                </a:lnTo>
                <a:lnTo>
                  <a:pt x="1418" y="430"/>
                </a:lnTo>
                <a:lnTo>
                  <a:pt x="1399" y="420"/>
                </a:lnTo>
                <a:lnTo>
                  <a:pt x="1393" y="416"/>
                </a:lnTo>
                <a:lnTo>
                  <a:pt x="1372" y="544"/>
                </a:lnTo>
                <a:lnTo>
                  <a:pt x="1372" y="544"/>
                </a:lnTo>
                <a:lnTo>
                  <a:pt x="1395" y="557"/>
                </a:lnTo>
                <a:lnTo>
                  <a:pt x="1416" y="568"/>
                </a:lnTo>
                <a:lnTo>
                  <a:pt x="1437" y="577"/>
                </a:lnTo>
                <a:lnTo>
                  <a:pt x="1454" y="586"/>
                </a:lnTo>
                <a:lnTo>
                  <a:pt x="1470" y="592"/>
                </a:lnTo>
                <a:lnTo>
                  <a:pt x="1486" y="596"/>
                </a:lnTo>
                <a:lnTo>
                  <a:pt x="1499" y="600"/>
                </a:lnTo>
                <a:lnTo>
                  <a:pt x="1510" y="602"/>
                </a:lnTo>
                <a:lnTo>
                  <a:pt x="1510" y="602"/>
                </a:lnTo>
                <a:lnTo>
                  <a:pt x="1491" y="606"/>
                </a:lnTo>
                <a:lnTo>
                  <a:pt x="1470" y="611"/>
                </a:lnTo>
                <a:lnTo>
                  <a:pt x="1450" y="617"/>
                </a:lnTo>
                <a:lnTo>
                  <a:pt x="1428" y="625"/>
                </a:lnTo>
                <a:lnTo>
                  <a:pt x="1409" y="634"/>
                </a:lnTo>
                <a:lnTo>
                  <a:pt x="1391" y="645"/>
                </a:lnTo>
                <a:lnTo>
                  <a:pt x="1381" y="650"/>
                </a:lnTo>
                <a:lnTo>
                  <a:pt x="1373" y="656"/>
                </a:lnTo>
                <a:lnTo>
                  <a:pt x="1366" y="663"/>
                </a:lnTo>
                <a:lnTo>
                  <a:pt x="1360" y="670"/>
                </a:lnTo>
                <a:lnTo>
                  <a:pt x="1404" y="788"/>
                </a:lnTo>
                <a:lnTo>
                  <a:pt x="1404" y="788"/>
                </a:lnTo>
                <a:lnTo>
                  <a:pt x="1416" y="779"/>
                </a:lnTo>
                <a:lnTo>
                  <a:pt x="1432" y="770"/>
                </a:lnTo>
                <a:lnTo>
                  <a:pt x="1453" y="758"/>
                </a:lnTo>
                <a:lnTo>
                  <a:pt x="1465" y="753"/>
                </a:lnTo>
                <a:lnTo>
                  <a:pt x="1479" y="748"/>
                </a:lnTo>
                <a:lnTo>
                  <a:pt x="1494" y="743"/>
                </a:lnTo>
                <a:lnTo>
                  <a:pt x="1509" y="738"/>
                </a:lnTo>
                <a:lnTo>
                  <a:pt x="1527" y="734"/>
                </a:lnTo>
                <a:lnTo>
                  <a:pt x="1545" y="731"/>
                </a:lnTo>
                <a:lnTo>
                  <a:pt x="1564" y="729"/>
                </a:lnTo>
                <a:lnTo>
                  <a:pt x="1585" y="728"/>
                </a:lnTo>
                <a:lnTo>
                  <a:pt x="1585" y="728"/>
                </a:lnTo>
                <a:lnTo>
                  <a:pt x="1588" y="744"/>
                </a:lnTo>
                <a:lnTo>
                  <a:pt x="1588" y="744"/>
                </a:lnTo>
                <a:lnTo>
                  <a:pt x="1588" y="758"/>
                </a:lnTo>
                <a:lnTo>
                  <a:pt x="1588" y="773"/>
                </a:lnTo>
                <a:lnTo>
                  <a:pt x="1586" y="787"/>
                </a:lnTo>
                <a:lnTo>
                  <a:pt x="1583" y="802"/>
                </a:lnTo>
                <a:lnTo>
                  <a:pt x="1578" y="818"/>
                </a:lnTo>
                <a:lnTo>
                  <a:pt x="1573" y="833"/>
                </a:lnTo>
                <a:lnTo>
                  <a:pt x="1565" y="848"/>
                </a:lnTo>
                <a:lnTo>
                  <a:pt x="1557" y="864"/>
                </a:lnTo>
                <a:lnTo>
                  <a:pt x="1549" y="880"/>
                </a:lnTo>
                <a:lnTo>
                  <a:pt x="1539" y="895"/>
                </a:lnTo>
                <a:lnTo>
                  <a:pt x="1528" y="912"/>
                </a:lnTo>
                <a:lnTo>
                  <a:pt x="1516" y="927"/>
                </a:lnTo>
                <a:lnTo>
                  <a:pt x="1503" y="943"/>
                </a:lnTo>
                <a:lnTo>
                  <a:pt x="1490" y="959"/>
                </a:lnTo>
                <a:lnTo>
                  <a:pt x="1476" y="974"/>
                </a:lnTo>
                <a:lnTo>
                  <a:pt x="1461" y="989"/>
                </a:lnTo>
                <a:lnTo>
                  <a:pt x="1429" y="1020"/>
                </a:lnTo>
                <a:lnTo>
                  <a:pt x="1396" y="1049"/>
                </a:lnTo>
                <a:lnTo>
                  <a:pt x="1360" y="1076"/>
                </a:lnTo>
                <a:lnTo>
                  <a:pt x="1323" y="1102"/>
                </a:lnTo>
                <a:lnTo>
                  <a:pt x="1285" y="1126"/>
                </a:lnTo>
                <a:lnTo>
                  <a:pt x="1247" y="1148"/>
                </a:lnTo>
                <a:lnTo>
                  <a:pt x="1209" y="1167"/>
                </a:lnTo>
                <a:lnTo>
                  <a:pt x="1189" y="1177"/>
                </a:lnTo>
                <a:lnTo>
                  <a:pt x="1171" y="1185"/>
                </a:lnTo>
                <a:lnTo>
                  <a:pt x="1171" y="1185"/>
                </a:lnTo>
                <a:lnTo>
                  <a:pt x="1133" y="1199"/>
                </a:lnTo>
                <a:lnTo>
                  <a:pt x="1095" y="1211"/>
                </a:lnTo>
                <a:lnTo>
                  <a:pt x="1060" y="1223"/>
                </a:lnTo>
                <a:lnTo>
                  <a:pt x="1026" y="1232"/>
                </a:lnTo>
                <a:lnTo>
                  <a:pt x="993" y="1240"/>
                </a:lnTo>
                <a:lnTo>
                  <a:pt x="962" y="1246"/>
                </a:lnTo>
                <a:lnTo>
                  <a:pt x="933" y="1250"/>
                </a:lnTo>
                <a:lnTo>
                  <a:pt x="905" y="1254"/>
                </a:lnTo>
                <a:lnTo>
                  <a:pt x="879" y="1256"/>
                </a:lnTo>
                <a:lnTo>
                  <a:pt x="856" y="1257"/>
                </a:lnTo>
                <a:lnTo>
                  <a:pt x="834" y="1257"/>
                </a:lnTo>
                <a:lnTo>
                  <a:pt x="815" y="1256"/>
                </a:lnTo>
                <a:lnTo>
                  <a:pt x="799" y="1254"/>
                </a:lnTo>
                <a:lnTo>
                  <a:pt x="785" y="1251"/>
                </a:lnTo>
                <a:lnTo>
                  <a:pt x="774" y="1247"/>
                </a:lnTo>
                <a:lnTo>
                  <a:pt x="765" y="1243"/>
                </a:lnTo>
                <a:lnTo>
                  <a:pt x="765" y="1243"/>
                </a:lnTo>
                <a:lnTo>
                  <a:pt x="741" y="1227"/>
                </a:lnTo>
                <a:lnTo>
                  <a:pt x="720" y="1209"/>
                </a:lnTo>
                <a:lnTo>
                  <a:pt x="701" y="1191"/>
                </a:lnTo>
                <a:lnTo>
                  <a:pt x="685" y="1172"/>
                </a:lnTo>
                <a:lnTo>
                  <a:pt x="670" y="1155"/>
                </a:lnTo>
                <a:lnTo>
                  <a:pt x="656" y="1137"/>
                </a:lnTo>
                <a:lnTo>
                  <a:pt x="645" y="1119"/>
                </a:lnTo>
                <a:lnTo>
                  <a:pt x="634" y="1102"/>
                </a:lnTo>
                <a:lnTo>
                  <a:pt x="615" y="1071"/>
                </a:lnTo>
                <a:lnTo>
                  <a:pt x="605" y="1057"/>
                </a:lnTo>
                <a:lnTo>
                  <a:pt x="596" y="1045"/>
                </a:lnTo>
                <a:lnTo>
                  <a:pt x="587" y="1033"/>
                </a:lnTo>
                <a:lnTo>
                  <a:pt x="577" y="1025"/>
                </a:lnTo>
                <a:lnTo>
                  <a:pt x="565" y="1018"/>
                </a:lnTo>
                <a:lnTo>
                  <a:pt x="559" y="1015"/>
                </a:lnTo>
                <a:lnTo>
                  <a:pt x="553" y="1013"/>
                </a:lnTo>
                <a:lnTo>
                  <a:pt x="553" y="1013"/>
                </a:lnTo>
                <a:lnTo>
                  <a:pt x="549" y="1013"/>
                </a:lnTo>
                <a:lnTo>
                  <a:pt x="546" y="1013"/>
                </a:lnTo>
                <a:lnTo>
                  <a:pt x="539" y="1015"/>
                </a:lnTo>
                <a:lnTo>
                  <a:pt x="532" y="1018"/>
                </a:lnTo>
                <a:lnTo>
                  <a:pt x="524" y="1022"/>
                </a:lnTo>
                <a:lnTo>
                  <a:pt x="516" y="1026"/>
                </a:lnTo>
                <a:lnTo>
                  <a:pt x="507" y="1029"/>
                </a:lnTo>
                <a:lnTo>
                  <a:pt x="499" y="1031"/>
                </a:lnTo>
                <a:lnTo>
                  <a:pt x="494" y="1031"/>
                </a:lnTo>
                <a:lnTo>
                  <a:pt x="489" y="1031"/>
                </a:lnTo>
                <a:lnTo>
                  <a:pt x="489" y="1031"/>
                </a:lnTo>
                <a:lnTo>
                  <a:pt x="468" y="1028"/>
                </a:lnTo>
                <a:lnTo>
                  <a:pt x="448" y="1025"/>
                </a:lnTo>
                <a:lnTo>
                  <a:pt x="427" y="1024"/>
                </a:lnTo>
                <a:lnTo>
                  <a:pt x="406" y="1023"/>
                </a:lnTo>
                <a:lnTo>
                  <a:pt x="386" y="1023"/>
                </a:lnTo>
                <a:lnTo>
                  <a:pt x="366" y="1025"/>
                </a:lnTo>
                <a:lnTo>
                  <a:pt x="347" y="1027"/>
                </a:lnTo>
                <a:lnTo>
                  <a:pt x="327" y="1031"/>
                </a:lnTo>
                <a:lnTo>
                  <a:pt x="309" y="1035"/>
                </a:lnTo>
                <a:lnTo>
                  <a:pt x="292" y="1043"/>
                </a:lnTo>
                <a:lnTo>
                  <a:pt x="276" y="1050"/>
                </a:lnTo>
                <a:lnTo>
                  <a:pt x="262" y="1059"/>
                </a:lnTo>
                <a:lnTo>
                  <a:pt x="248" y="1070"/>
                </a:lnTo>
                <a:lnTo>
                  <a:pt x="242" y="1076"/>
                </a:lnTo>
                <a:lnTo>
                  <a:pt x="236" y="1082"/>
                </a:lnTo>
                <a:lnTo>
                  <a:pt x="231" y="1090"/>
                </a:lnTo>
                <a:lnTo>
                  <a:pt x="227" y="1098"/>
                </a:lnTo>
                <a:lnTo>
                  <a:pt x="223" y="1105"/>
                </a:lnTo>
                <a:lnTo>
                  <a:pt x="219" y="1114"/>
                </a:lnTo>
                <a:lnTo>
                  <a:pt x="219" y="1114"/>
                </a:lnTo>
                <a:lnTo>
                  <a:pt x="257" y="1112"/>
                </a:lnTo>
                <a:lnTo>
                  <a:pt x="292" y="1111"/>
                </a:lnTo>
                <a:lnTo>
                  <a:pt x="312" y="1111"/>
                </a:lnTo>
                <a:lnTo>
                  <a:pt x="331" y="1112"/>
                </a:lnTo>
                <a:lnTo>
                  <a:pt x="349" y="1113"/>
                </a:lnTo>
                <a:lnTo>
                  <a:pt x="364" y="1116"/>
                </a:lnTo>
                <a:lnTo>
                  <a:pt x="377" y="1119"/>
                </a:lnTo>
                <a:lnTo>
                  <a:pt x="382" y="1121"/>
                </a:lnTo>
                <a:lnTo>
                  <a:pt x="387" y="1123"/>
                </a:lnTo>
                <a:lnTo>
                  <a:pt x="389" y="1126"/>
                </a:lnTo>
                <a:lnTo>
                  <a:pt x="391" y="1130"/>
                </a:lnTo>
                <a:lnTo>
                  <a:pt x="391" y="1133"/>
                </a:lnTo>
                <a:lnTo>
                  <a:pt x="389" y="1137"/>
                </a:lnTo>
                <a:lnTo>
                  <a:pt x="386" y="1141"/>
                </a:lnTo>
                <a:lnTo>
                  <a:pt x="381" y="1146"/>
                </a:lnTo>
                <a:lnTo>
                  <a:pt x="374" y="1151"/>
                </a:lnTo>
                <a:lnTo>
                  <a:pt x="366" y="1156"/>
                </a:lnTo>
                <a:lnTo>
                  <a:pt x="366" y="1156"/>
                </a:lnTo>
                <a:lnTo>
                  <a:pt x="357" y="1162"/>
                </a:lnTo>
                <a:lnTo>
                  <a:pt x="351" y="1168"/>
                </a:lnTo>
                <a:lnTo>
                  <a:pt x="346" y="1175"/>
                </a:lnTo>
                <a:lnTo>
                  <a:pt x="344" y="1182"/>
                </a:lnTo>
                <a:lnTo>
                  <a:pt x="343" y="1189"/>
                </a:lnTo>
                <a:lnTo>
                  <a:pt x="344" y="1195"/>
                </a:lnTo>
                <a:lnTo>
                  <a:pt x="346" y="1202"/>
                </a:lnTo>
                <a:lnTo>
                  <a:pt x="349" y="1209"/>
                </a:lnTo>
                <a:lnTo>
                  <a:pt x="354" y="1217"/>
                </a:lnTo>
                <a:lnTo>
                  <a:pt x="360" y="1225"/>
                </a:lnTo>
                <a:lnTo>
                  <a:pt x="368" y="1232"/>
                </a:lnTo>
                <a:lnTo>
                  <a:pt x="376" y="1239"/>
                </a:lnTo>
                <a:lnTo>
                  <a:pt x="396" y="1254"/>
                </a:lnTo>
                <a:lnTo>
                  <a:pt x="418" y="1270"/>
                </a:lnTo>
                <a:lnTo>
                  <a:pt x="442" y="1285"/>
                </a:lnTo>
                <a:lnTo>
                  <a:pt x="467" y="1299"/>
                </a:lnTo>
                <a:lnTo>
                  <a:pt x="519" y="1327"/>
                </a:lnTo>
                <a:lnTo>
                  <a:pt x="565" y="1350"/>
                </a:lnTo>
                <a:lnTo>
                  <a:pt x="585" y="1361"/>
                </a:lnTo>
                <a:lnTo>
                  <a:pt x="601" y="1370"/>
                </a:lnTo>
                <a:lnTo>
                  <a:pt x="601" y="1370"/>
                </a:lnTo>
                <a:lnTo>
                  <a:pt x="608" y="1375"/>
                </a:lnTo>
                <a:lnTo>
                  <a:pt x="611" y="1379"/>
                </a:lnTo>
                <a:lnTo>
                  <a:pt x="613" y="1382"/>
                </a:lnTo>
                <a:lnTo>
                  <a:pt x="611" y="1385"/>
                </a:lnTo>
                <a:lnTo>
                  <a:pt x="608" y="1387"/>
                </a:lnTo>
                <a:lnTo>
                  <a:pt x="604" y="1389"/>
                </a:lnTo>
                <a:lnTo>
                  <a:pt x="598" y="1390"/>
                </a:lnTo>
                <a:lnTo>
                  <a:pt x="598" y="1390"/>
                </a:lnTo>
                <a:lnTo>
                  <a:pt x="588" y="1390"/>
                </a:lnTo>
                <a:lnTo>
                  <a:pt x="576" y="1388"/>
                </a:lnTo>
                <a:lnTo>
                  <a:pt x="561" y="1385"/>
                </a:lnTo>
                <a:lnTo>
                  <a:pt x="545" y="1380"/>
                </a:lnTo>
                <a:lnTo>
                  <a:pt x="509" y="1369"/>
                </a:lnTo>
                <a:lnTo>
                  <a:pt x="469" y="1354"/>
                </a:lnTo>
                <a:lnTo>
                  <a:pt x="387" y="1323"/>
                </a:lnTo>
                <a:lnTo>
                  <a:pt x="349" y="1307"/>
                </a:lnTo>
                <a:lnTo>
                  <a:pt x="314" y="1296"/>
                </a:lnTo>
                <a:lnTo>
                  <a:pt x="314" y="1296"/>
                </a:lnTo>
                <a:lnTo>
                  <a:pt x="303" y="1293"/>
                </a:lnTo>
                <a:lnTo>
                  <a:pt x="292" y="1291"/>
                </a:lnTo>
                <a:lnTo>
                  <a:pt x="283" y="1291"/>
                </a:lnTo>
                <a:lnTo>
                  <a:pt x="275" y="1292"/>
                </a:lnTo>
                <a:lnTo>
                  <a:pt x="268" y="1294"/>
                </a:lnTo>
                <a:lnTo>
                  <a:pt x="262" y="1297"/>
                </a:lnTo>
                <a:lnTo>
                  <a:pt x="257" y="1300"/>
                </a:lnTo>
                <a:lnTo>
                  <a:pt x="253" y="1303"/>
                </a:lnTo>
                <a:lnTo>
                  <a:pt x="244" y="1312"/>
                </a:lnTo>
                <a:lnTo>
                  <a:pt x="238" y="1319"/>
                </a:lnTo>
                <a:lnTo>
                  <a:pt x="234" y="1324"/>
                </a:lnTo>
                <a:lnTo>
                  <a:pt x="231" y="1325"/>
                </a:lnTo>
                <a:lnTo>
                  <a:pt x="229" y="1326"/>
                </a:lnTo>
                <a:lnTo>
                  <a:pt x="229" y="1326"/>
                </a:lnTo>
                <a:lnTo>
                  <a:pt x="220" y="1325"/>
                </a:lnTo>
                <a:lnTo>
                  <a:pt x="210" y="1324"/>
                </a:lnTo>
                <a:lnTo>
                  <a:pt x="198" y="1325"/>
                </a:lnTo>
                <a:lnTo>
                  <a:pt x="188" y="1325"/>
                </a:lnTo>
                <a:lnTo>
                  <a:pt x="166" y="1329"/>
                </a:lnTo>
                <a:lnTo>
                  <a:pt x="143" y="1335"/>
                </a:lnTo>
                <a:lnTo>
                  <a:pt x="121" y="1343"/>
                </a:lnTo>
                <a:lnTo>
                  <a:pt x="98" y="1353"/>
                </a:lnTo>
                <a:lnTo>
                  <a:pt x="77" y="1367"/>
                </a:lnTo>
                <a:lnTo>
                  <a:pt x="66" y="1374"/>
                </a:lnTo>
                <a:lnTo>
                  <a:pt x="57" y="1381"/>
                </a:lnTo>
                <a:lnTo>
                  <a:pt x="48" y="1389"/>
                </a:lnTo>
                <a:lnTo>
                  <a:pt x="40" y="1397"/>
                </a:lnTo>
                <a:lnTo>
                  <a:pt x="32" y="1407"/>
                </a:lnTo>
                <a:lnTo>
                  <a:pt x="25" y="1416"/>
                </a:lnTo>
                <a:lnTo>
                  <a:pt x="18" y="1426"/>
                </a:lnTo>
                <a:lnTo>
                  <a:pt x="12" y="1435"/>
                </a:lnTo>
                <a:lnTo>
                  <a:pt x="8" y="1446"/>
                </a:lnTo>
                <a:lnTo>
                  <a:pt x="4" y="1458"/>
                </a:lnTo>
                <a:lnTo>
                  <a:pt x="2" y="1469"/>
                </a:lnTo>
                <a:lnTo>
                  <a:pt x="0" y="1480"/>
                </a:lnTo>
                <a:lnTo>
                  <a:pt x="0" y="1492"/>
                </a:lnTo>
                <a:lnTo>
                  <a:pt x="0" y="1505"/>
                </a:lnTo>
                <a:lnTo>
                  <a:pt x="3" y="1518"/>
                </a:lnTo>
                <a:lnTo>
                  <a:pt x="6" y="1530"/>
                </a:lnTo>
                <a:lnTo>
                  <a:pt x="11" y="1544"/>
                </a:lnTo>
                <a:lnTo>
                  <a:pt x="17" y="1558"/>
                </a:lnTo>
                <a:lnTo>
                  <a:pt x="17" y="1558"/>
                </a:lnTo>
                <a:lnTo>
                  <a:pt x="20" y="1553"/>
                </a:lnTo>
                <a:lnTo>
                  <a:pt x="30" y="1540"/>
                </a:lnTo>
                <a:lnTo>
                  <a:pt x="45" y="1521"/>
                </a:lnTo>
                <a:lnTo>
                  <a:pt x="53" y="1511"/>
                </a:lnTo>
                <a:lnTo>
                  <a:pt x="63" y="1501"/>
                </a:lnTo>
                <a:lnTo>
                  <a:pt x="75" y="1490"/>
                </a:lnTo>
                <a:lnTo>
                  <a:pt x="86" y="1481"/>
                </a:lnTo>
                <a:lnTo>
                  <a:pt x="98" y="1473"/>
                </a:lnTo>
                <a:lnTo>
                  <a:pt x="111" y="1466"/>
                </a:lnTo>
                <a:lnTo>
                  <a:pt x="125" y="1461"/>
                </a:lnTo>
                <a:lnTo>
                  <a:pt x="131" y="1459"/>
                </a:lnTo>
                <a:lnTo>
                  <a:pt x="138" y="1458"/>
                </a:lnTo>
                <a:lnTo>
                  <a:pt x="145" y="1458"/>
                </a:lnTo>
                <a:lnTo>
                  <a:pt x="151" y="1458"/>
                </a:lnTo>
                <a:lnTo>
                  <a:pt x="159" y="1459"/>
                </a:lnTo>
                <a:lnTo>
                  <a:pt x="166" y="1461"/>
                </a:lnTo>
                <a:lnTo>
                  <a:pt x="166" y="1461"/>
                </a:lnTo>
                <a:lnTo>
                  <a:pt x="171" y="1463"/>
                </a:lnTo>
                <a:lnTo>
                  <a:pt x="174" y="1467"/>
                </a:lnTo>
                <a:lnTo>
                  <a:pt x="175" y="1473"/>
                </a:lnTo>
                <a:lnTo>
                  <a:pt x="176" y="1479"/>
                </a:lnTo>
                <a:lnTo>
                  <a:pt x="176" y="1496"/>
                </a:lnTo>
                <a:lnTo>
                  <a:pt x="174" y="1514"/>
                </a:lnTo>
                <a:lnTo>
                  <a:pt x="174" y="1524"/>
                </a:lnTo>
                <a:lnTo>
                  <a:pt x="174" y="1534"/>
                </a:lnTo>
                <a:lnTo>
                  <a:pt x="176" y="1545"/>
                </a:lnTo>
                <a:lnTo>
                  <a:pt x="178" y="1554"/>
                </a:lnTo>
                <a:lnTo>
                  <a:pt x="182" y="1564"/>
                </a:lnTo>
                <a:lnTo>
                  <a:pt x="187" y="1573"/>
                </a:lnTo>
                <a:lnTo>
                  <a:pt x="195" y="1581"/>
                </a:lnTo>
                <a:lnTo>
                  <a:pt x="205" y="1589"/>
                </a:lnTo>
                <a:lnTo>
                  <a:pt x="205" y="1589"/>
                </a:lnTo>
                <a:lnTo>
                  <a:pt x="213" y="1593"/>
                </a:lnTo>
                <a:lnTo>
                  <a:pt x="221" y="1596"/>
                </a:lnTo>
                <a:lnTo>
                  <a:pt x="231" y="1599"/>
                </a:lnTo>
                <a:lnTo>
                  <a:pt x="242" y="1600"/>
                </a:lnTo>
                <a:lnTo>
                  <a:pt x="254" y="1602"/>
                </a:lnTo>
                <a:lnTo>
                  <a:pt x="267" y="1602"/>
                </a:lnTo>
                <a:lnTo>
                  <a:pt x="293" y="1602"/>
                </a:lnTo>
                <a:lnTo>
                  <a:pt x="323" y="1600"/>
                </a:lnTo>
                <a:lnTo>
                  <a:pt x="354" y="1597"/>
                </a:lnTo>
                <a:lnTo>
                  <a:pt x="418" y="1589"/>
                </a:lnTo>
                <a:lnTo>
                  <a:pt x="481" y="1580"/>
                </a:lnTo>
                <a:lnTo>
                  <a:pt x="510" y="1576"/>
                </a:lnTo>
                <a:lnTo>
                  <a:pt x="538" y="1574"/>
                </a:lnTo>
                <a:lnTo>
                  <a:pt x="562" y="1573"/>
                </a:lnTo>
                <a:lnTo>
                  <a:pt x="583" y="1574"/>
                </a:lnTo>
                <a:lnTo>
                  <a:pt x="592" y="1575"/>
                </a:lnTo>
                <a:lnTo>
                  <a:pt x="600" y="1577"/>
                </a:lnTo>
                <a:lnTo>
                  <a:pt x="607" y="1580"/>
                </a:lnTo>
                <a:lnTo>
                  <a:pt x="613" y="1585"/>
                </a:lnTo>
                <a:lnTo>
                  <a:pt x="613" y="1585"/>
                </a:lnTo>
                <a:lnTo>
                  <a:pt x="616" y="1588"/>
                </a:lnTo>
                <a:lnTo>
                  <a:pt x="617" y="1591"/>
                </a:lnTo>
                <a:lnTo>
                  <a:pt x="616" y="1593"/>
                </a:lnTo>
                <a:lnTo>
                  <a:pt x="611" y="1596"/>
                </a:lnTo>
                <a:lnTo>
                  <a:pt x="607" y="1598"/>
                </a:lnTo>
                <a:lnTo>
                  <a:pt x="600" y="1601"/>
                </a:lnTo>
                <a:lnTo>
                  <a:pt x="583" y="1605"/>
                </a:lnTo>
                <a:lnTo>
                  <a:pt x="560" y="1609"/>
                </a:lnTo>
                <a:lnTo>
                  <a:pt x="535" y="1612"/>
                </a:lnTo>
                <a:lnTo>
                  <a:pt x="474" y="1620"/>
                </a:lnTo>
                <a:lnTo>
                  <a:pt x="443" y="1624"/>
                </a:lnTo>
                <a:lnTo>
                  <a:pt x="412" y="1629"/>
                </a:lnTo>
                <a:lnTo>
                  <a:pt x="382" y="1636"/>
                </a:lnTo>
                <a:lnTo>
                  <a:pt x="356" y="1642"/>
                </a:lnTo>
                <a:lnTo>
                  <a:pt x="344" y="1646"/>
                </a:lnTo>
                <a:lnTo>
                  <a:pt x="332" y="1650"/>
                </a:lnTo>
                <a:lnTo>
                  <a:pt x="322" y="1654"/>
                </a:lnTo>
                <a:lnTo>
                  <a:pt x="314" y="1659"/>
                </a:lnTo>
                <a:lnTo>
                  <a:pt x="307" y="1664"/>
                </a:lnTo>
                <a:lnTo>
                  <a:pt x="302" y="1669"/>
                </a:lnTo>
                <a:lnTo>
                  <a:pt x="298" y="1676"/>
                </a:lnTo>
                <a:lnTo>
                  <a:pt x="296" y="1682"/>
                </a:lnTo>
                <a:lnTo>
                  <a:pt x="296" y="1682"/>
                </a:lnTo>
                <a:lnTo>
                  <a:pt x="295" y="1687"/>
                </a:lnTo>
                <a:lnTo>
                  <a:pt x="295" y="1696"/>
                </a:lnTo>
                <a:lnTo>
                  <a:pt x="296" y="1707"/>
                </a:lnTo>
                <a:lnTo>
                  <a:pt x="298" y="1713"/>
                </a:lnTo>
                <a:lnTo>
                  <a:pt x="300" y="1718"/>
                </a:lnTo>
                <a:lnTo>
                  <a:pt x="300" y="1718"/>
                </a:lnTo>
                <a:lnTo>
                  <a:pt x="301" y="1725"/>
                </a:lnTo>
                <a:lnTo>
                  <a:pt x="301" y="1731"/>
                </a:lnTo>
                <a:lnTo>
                  <a:pt x="298" y="1737"/>
                </a:lnTo>
                <a:lnTo>
                  <a:pt x="293" y="1743"/>
                </a:lnTo>
                <a:lnTo>
                  <a:pt x="283" y="1757"/>
                </a:lnTo>
                <a:lnTo>
                  <a:pt x="269" y="1775"/>
                </a:lnTo>
                <a:lnTo>
                  <a:pt x="261" y="1785"/>
                </a:lnTo>
                <a:lnTo>
                  <a:pt x="254" y="1795"/>
                </a:lnTo>
                <a:lnTo>
                  <a:pt x="246" y="1807"/>
                </a:lnTo>
                <a:lnTo>
                  <a:pt x="240" y="1820"/>
                </a:lnTo>
                <a:lnTo>
                  <a:pt x="234" y="1834"/>
                </a:lnTo>
                <a:lnTo>
                  <a:pt x="230" y="1849"/>
                </a:lnTo>
                <a:lnTo>
                  <a:pt x="226" y="1866"/>
                </a:lnTo>
                <a:lnTo>
                  <a:pt x="225" y="1884"/>
                </a:lnTo>
                <a:lnTo>
                  <a:pt x="225" y="1884"/>
                </a:lnTo>
                <a:lnTo>
                  <a:pt x="225" y="1893"/>
                </a:lnTo>
                <a:lnTo>
                  <a:pt x="225" y="1902"/>
                </a:lnTo>
                <a:lnTo>
                  <a:pt x="228" y="1920"/>
                </a:lnTo>
                <a:lnTo>
                  <a:pt x="233" y="1937"/>
                </a:lnTo>
                <a:lnTo>
                  <a:pt x="239" y="1953"/>
                </a:lnTo>
                <a:lnTo>
                  <a:pt x="247" y="1968"/>
                </a:lnTo>
                <a:lnTo>
                  <a:pt x="257" y="1982"/>
                </a:lnTo>
                <a:lnTo>
                  <a:pt x="267" y="1995"/>
                </a:lnTo>
                <a:lnTo>
                  <a:pt x="277" y="2007"/>
                </a:lnTo>
                <a:lnTo>
                  <a:pt x="287" y="2017"/>
                </a:lnTo>
                <a:lnTo>
                  <a:pt x="298" y="2026"/>
                </a:lnTo>
                <a:lnTo>
                  <a:pt x="315" y="2042"/>
                </a:lnTo>
                <a:lnTo>
                  <a:pt x="327" y="2050"/>
                </a:lnTo>
                <a:lnTo>
                  <a:pt x="332" y="2054"/>
                </a:lnTo>
                <a:lnTo>
                  <a:pt x="332" y="2054"/>
                </a:lnTo>
                <a:lnTo>
                  <a:pt x="334" y="2050"/>
                </a:lnTo>
                <a:lnTo>
                  <a:pt x="335" y="2045"/>
                </a:lnTo>
                <a:lnTo>
                  <a:pt x="335" y="2036"/>
                </a:lnTo>
                <a:lnTo>
                  <a:pt x="334" y="2027"/>
                </a:lnTo>
                <a:lnTo>
                  <a:pt x="331" y="2006"/>
                </a:lnTo>
                <a:lnTo>
                  <a:pt x="328" y="1980"/>
                </a:lnTo>
                <a:lnTo>
                  <a:pt x="327" y="1968"/>
                </a:lnTo>
                <a:lnTo>
                  <a:pt x="326" y="1955"/>
                </a:lnTo>
                <a:lnTo>
                  <a:pt x="326" y="1943"/>
                </a:lnTo>
                <a:lnTo>
                  <a:pt x="328" y="1932"/>
                </a:lnTo>
                <a:lnTo>
                  <a:pt x="330" y="1922"/>
                </a:lnTo>
                <a:lnTo>
                  <a:pt x="334" y="1913"/>
                </a:lnTo>
                <a:lnTo>
                  <a:pt x="337" y="1910"/>
                </a:lnTo>
                <a:lnTo>
                  <a:pt x="341" y="1906"/>
                </a:lnTo>
                <a:lnTo>
                  <a:pt x="344" y="1904"/>
                </a:lnTo>
                <a:lnTo>
                  <a:pt x="348" y="1901"/>
                </a:lnTo>
                <a:lnTo>
                  <a:pt x="348" y="1901"/>
                </a:lnTo>
                <a:lnTo>
                  <a:pt x="353" y="1900"/>
                </a:lnTo>
                <a:lnTo>
                  <a:pt x="357" y="1900"/>
                </a:lnTo>
                <a:lnTo>
                  <a:pt x="362" y="1901"/>
                </a:lnTo>
                <a:lnTo>
                  <a:pt x="366" y="1905"/>
                </a:lnTo>
                <a:lnTo>
                  <a:pt x="375" y="1912"/>
                </a:lnTo>
                <a:lnTo>
                  <a:pt x="386" y="1921"/>
                </a:lnTo>
                <a:lnTo>
                  <a:pt x="397" y="1932"/>
                </a:lnTo>
                <a:lnTo>
                  <a:pt x="410" y="1941"/>
                </a:lnTo>
                <a:lnTo>
                  <a:pt x="417" y="1946"/>
                </a:lnTo>
                <a:lnTo>
                  <a:pt x="424" y="1950"/>
                </a:lnTo>
                <a:lnTo>
                  <a:pt x="434" y="1953"/>
                </a:lnTo>
                <a:lnTo>
                  <a:pt x="442" y="1955"/>
                </a:lnTo>
                <a:lnTo>
                  <a:pt x="442" y="1955"/>
                </a:lnTo>
                <a:lnTo>
                  <a:pt x="451" y="1955"/>
                </a:lnTo>
                <a:lnTo>
                  <a:pt x="460" y="1955"/>
                </a:lnTo>
                <a:lnTo>
                  <a:pt x="468" y="1954"/>
                </a:lnTo>
                <a:lnTo>
                  <a:pt x="478" y="1952"/>
                </a:lnTo>
                <a:lnTo>
                  <a:pt x="486" y="1948"/>
                </a:lnTo>
                <a:lnTo>
                  <a:pt x="494" y="1944"/>
                </a:lnTo>
                <a:lnTo>
                  <a:pt x="501" y="1940"/>
                </a:lnTo>
                <a:lnTo>
                  <a:pt x="509" y="1935"/>
                </a:lnTo>
                <a:lnTo>
                  <a:pt x="525" y="1923"/>
                </a:lnTo>
                <a:lnTo>
                  <a:pt x="539" y="1909"/>
                </a:lnTo>
                <a:lnTo>
                  <a:pt x="554" y="1892"/>
                </a:lnTo>
                <a:lnTo>
                  <a:pt x="571" y="1875"/>
                </a:lnTo>
                <a:lnTo>
                  <a:pt x="604" y="1836"/>
                </a:lnTo>
                <a:lnTo>
                  <a:pt x="624" y="1817"/>
                </a:lnTo>
                <a:lnTo>
                  <a:pt x="644" y="1797"/>
                </a:lnTo>
                <a:lnTo>
                  <a:pt x="667" y="1777"/>
                </a:lnTo>
                <a:lnTo>
                  <a:pt x="691" y="1758"/>
                </a:lnTo>
                <a:lnTo>
                  <a:pt x="705" y="1749"/>
                </a:lnTo>
                <a:lnTo>
                  <a:pt x="718" y="1741"/>
                </a:lnTo>
                <a:lnTo>
                  <a:pt x="732" y="1733"/>
                </a:lnTo>
                <a:lnTo>
                  <a:pt x="747" y="1725"/>
                </a:lnTo>
                <a:lnTo>
                  <a:pt x="747" y="1725"/>
                </a:lnTo>
                <a:lnTo>
                  <a:pt x="787" y="1706"/>
                </a:lnTo>
                <a:lnTo>
                  <a:pt x="819" y="1694"/>
                </a:lnTo>
                <a:lnTo>
                  <a:pt x="831" y="1689"/>
                </a:lnTo>
                <a:lnTo>
                  <a:pt x="843" y="1686"/>
                </a:lnTo>
                <a:lnTo>
                  <a:pt x="852" y="1685"/>
                </a:lnTo>
                <a:lnTo>
                  <a:pt x="859" y="1684"/>
                </a:lnTo>
                <a:lnTo>
                  <a:pt x="865" y="1684"/>
                </a:lnTo>
                <a:lnTo>
                  <a:pt x="869" y="1686"/>
                </a:lnTo>
                <a:lnTo>
                  <a:pt x="872" y="1688"/>
                </a:lnTo>
                <a:lnTo>
                  <a:pt x="874" y="1691"/>
                </a:lnTo>
                <a:lnTo>
                  <a:pt x="876" y="1694"/>
                </a:lnTo>
                <a:lnTo>
                  <a:pt x="876" y="1698"/>
                </a:lnTo>
                <a:lnTo>
                  <a:pt x="875" y="1708"/>
                </a:lnTo>
                <a:lnTo>
                  <a:pt x="872" y="1720"/>
                </a:lnTo>
                <a:lnTo>
                  <a:pt x="868" y="1734"/>
                </a:lnTo>
                <a:lnTo>
                  <a:pt x="865" y="1747"/>
                </a:lnTo>
                <a:lnTo>
                  <a:pt x="863" y="1759"/>
                </a:lnTo>
                <a:lnTo>
                  <a:pt x="863" y="1765"/>
                </a:lnTo>
                <a:lnTo>
                  <a:pt x="863" y="1772"/>
                </a:lnTo>
                <a:lnTo>
                  <a:pt x="865" y="1777"/>
                </a:lnTo>
                <a:lnTo>
                  <a:pt x="867" y="1782"/>
                </a:lnTo>
                <a:lnTo>
                  <a:pt x="870" y="1786"/>
                </a:lnTo>
                <a:lnTo>
                  <a:pt x="875" y="1790"/>
                </a:lnTo>
                <a:lnTo>
                  <a:pt x="881" y="1793"/>
                </a:lnTo>
                <a:lnTo>
                  <a:pt x="889" y="1795"/>
                </a:lnTo>
                <a:lnTo>
                  <a:pt x="889" y="1795"/>
                </a:lnTo>
                <a:lnTo>
                  <a:pt x="901" y="1799"/>
                </a:lnTo>
                <a:lnTo>
                  <a:pt x="912" y="1802"/>
                </a:lnTo>
                <a:lnTo>
                  <a:pt x="921" y="1807"/>
                </a:lnTo>
                <a:lnTo>
                  <a:pt x="928" y="1811"/>
                </a:lnTo>
                <a:lnTo>
                  <a:pt x="935" y="1817"/>
                </a:lnTo>
                <a:lnTo>
                  <a:pt x="940" y="1822"/>
                </a:lnTo>
                <a:lnTo>
                  <a:pt x="943" y="1828"/>
                </a:lnTo>
                <a:lnTo>
                  <a:pt x="945" y="1834"/>
                </a:lnTo>
                <a:lnTo>
                  <a:pt x="947" y="1840"/>
                </a:lnTo>
                <a:lnTo>
                  <a:pt x="947" y="1846"/>
                </a:lnTo>
                <a:lnTo>
                  <a:pt x="946" y="1853"/>
                </a:lnTo>
                <a:lnTo>
                  <a:pt x="945" y="1860"/>
                </a:lnTo>
                <a:lnTo>
                  <a:pt x="943" y="1867"/>
                </a:lnTo>
                <a:lnTo>
                  <a:pt x="940" y="1874"/>
                </a:lnTo>
                <a:lnTo>
                  <a:pt x="932" y="1887"/>
                </a:lnTo>
                <a:lnTo>
                  <a:pt x="922" y="1900"/>
                </a:lnTo>
                <a:lnTo>
                  <a:pt x="912" y="1913"/>
                </a:lnTo>
                <a:lnTo>
                  <a:pt x="902" y="1924"/>
                </a:lnTo>
                <a:lnTo>
                  <a:pt x="892" y="1934"/>
                </a:lnTo>
                <a:lnTo>
                  <a:pt x="875" y="1948"/>
                </a:lnTo>
                <a:lnTo>
                  <a:pt x="869" y="1955"/>
                </a:lnTo>
                <a:lnTo>
                  <a:pt x="869" y="1955"/>
                </a:lnTo>
                <a:lnTo>
                  <a:pt x="877" y="1959"/>
                </a:lnTo>
                <a:lnTo>
                  <a:pt x="888" y="1961"/>
                </a:lnTo>
                <a:lnTo>
                  <a:pt x="899" y="1962"/>
                </a:lnTo>
                <a:lnTo>
                  <a:pt x="912" y="1961"/>
                </a:lnTo>
                <a:lnTo>
                  <a:pt x="926" y="1958"/>
                </a:lnTo>
                <a:lnTo>
                  <a:pt x="941" y="1954"/>
                </a:lnTo>
                <a:lnTo>
                  <a:pt x="957" y="1947"/>
                </a:lnTo>
                <a:lnTo>
                  <a:pt x="972" y="1939"/>
                </a:lnTo>
                <a:lnTo>
                  <a:pt x="989" y="1930"/>
                </a:lnTo>
                <a:lnTo>
                  <a:pt x="1004" y="1919"/>
                </a:lnTo>
                <a:lnTo>
                  <a:pt x="1019" y="1906"/>
                </a:lnTo>
                <a:lnTo>
                  <a:pt x="1035" y="1891"/>
                </a:lnTo>
                <a:lnTo>
                  <a:pt x="1048" y="1874"/>
                </a:lnTo>
                <a:lnTo>
                  <a:pt x="1061" y="1855"/>
                </a:lnTo>
                <a:lnTo>
                  <a:pt x="1073" y="1835"/>
                </a:lnTo>
                <a:lnTo>
                  <a:pt x="1083" y="1814"/>
                </a:lnTo>
                <a:lnTo>
                  <a:pt x="1083" y="1814"/>
                </a:lnTo>
                <a:lnTo>
                  <a:pt x="1086" y="1805"/>
                </a:lnTo>
                <a:lnTo>
                  <a:pt x="1089" y="1799"/>
                </a:lnTo>
                <a:lnTo>
                  <a:pt x="1092" y="1794"/>
                </a:lnTo>
                <a:lnTo>
                  <a:pt x="1096" y="1790"/>
                </a:lnTo>
                <a:lnTo>
                  <a:pt x="1100" y="1787"/>
                </a:lnTo>
                <a:lnTo>
                  <a:pt x="1103" y="1784"/>
                </a:lnTo>
                <a:lnTo>
                  <a:pt x="1111" y="1781"/>
                </a:lnTo>
                <a:lnTo>
                  <a:pt x="1120" y="1778"/>
                </a:lnTo>
                <a:lnTo>
                  <a:pt x="1129" y="1774"/>
                </a:lnTo>
                <a:lnTo>
                  <a:pt x="1138" y="1768"/>
                </a:lnTo>
                <a:lnTo>
                  <a:pt x="1143" y="1763"/>
                </a:lnTo>
                <a:lnTo>
                  <a:pt x="1148" y="1758"/>
                </a:lnTo>
                <a:lnTo>
                  <a:pt x="1148" y="1758"/>
                </a:lnTo>
                <a:lnTo>
                  <a:pt x="1151" y="1752"/>
                </a:lnTo>
                <a:lnTo>
                  <a:pt x="1154" y="1746"/>
                </a:lnTo>
                <a:lnTo>
                  <a:pt x="1158" y="1740"/>
                </a:lnTo>
                <a:lnTo>
                  <a:pt x="1159" y="1734"/>
                </a:lnTo>
                <a:lnTo>
                  <a:pt x="1160" y="1719"/>
                </a:lnTo>
                <a:lnTo>
                  <a:pt x="1160" y="1705"/>
                </a:lnTo>
                <a:lnTo>
                  <a:pt x="1160" y="1690"/>
                </a:lnTo>
                <a:lnTo>
                  <a:pt x="1160" y="1676"/>
                </a:lnTo>
                <a:lnTo>
                  <a:pt x="1162" y="1661"/>
                </a:lnTo>
                <a:lnTo>
                  <a:pt x="1164" y="1655"/>
                </a:lnTo>
                <a:lnTo>
                  <a:pt x="1166" y="1649"/>
                </a:lnTo>
                <a:lnTo>
                  <a:pt x="1166" y="1649"/>
                </a:lnTo>
                <a:lnTo>
                  <a:pt x="1170" y="1643"/>
                </a:lnTo>
                <a:lnTo>
                  <a:pt x="1174" y="1638"/>
                </a:lnTo>
                <a:lnTo>
                  <a:pt x="1178" y="1633"/>
                </a:lnTo>
                <a:lnTo>
                  <a:pt x="1183" y="1628"/>
                </a:lnTo>
                <a:lnTo>
                  <a:pt x="1195" y="1620"/>
                </a:lnTo>
                <a:lnTo>
                  <a:pt x="1209" y="1614"/>
                </a:lnTo>
                <a:lnTo>
                  <a:pt x="1223" y="1609"/>
                </a:lnTo>
                <a:lnTo>
                  <a:pt x="1237" y="1605"/>
                </a:lnTo>
                <a:lnTo>
                  <a:pt x="1268" y="1597"/>
                </a:lnTo>
                <a:lnTo>
                  <a:pt x="1298" y="1591"/>
                </a:lnTo>
                <a:lnTo>
                  <a:pt x="1310" y="1587"/>
                </a:lnTo>
                <a:lnTo>
                  <a:pt x="1321" y="1581"/>
                </a:lnTo>
                <a:lnTo>
                  <a:pt x="1329" y="1575"/>
                </a:lnTo>
                <a:lnTo>
                  <a:pt x="1333" y="1572"/>
                </a:lnTo>
                <a:lnTo>
                  <a:pt x="1335" y="1568"/>
                </a:lnTo>
                <a:lnTo>
                  <a:pt x="1338" y="1564"/>
                </a:lnTo>
                <a:lnTo>
                  <a:pt x="1340" y="1559"/>
                </a:lnTo>
                <a:lnTo>
                  <a:pt x="1340" y="1554"/>
                </a:lnTo>
                <a:lnTo>
                  <a:pt x="1340" y="1549"/>
                </a:lnTo>
                <a:lnTo>
                  <a:pt x="1340" y="1549"/>
                </a:lnTo>
                <a:lnTo>
                  <a:pt x="1338" y="1534"/>
                </a:lnTo>
                <a:lnTo>
                  <a:pt x="1338" y="1521"/>
                </a:lnTo>
                <a:lnTo>
                  <a:pt x="1341" y="1509"/>
                </a:lnTo>
                <a:lnTo>
                  <a:pt x="1345" y="1499"/>
                </a:lnTo>
                <a:lnTo>
                  <a:pt x="1350" y="1488"/>
                </a:lnTo>
                <a:lnTo>
                  <a:pt x="1355" y="1480"/>
                </a:lnTo>
                <a:lnTo>
                  <a:pt x="1362" y="1472"/>
                </a:lnTo>
                <a:lnTo>
                  <a:pt x="1370" y="1465"/>
                </a:lnTo>
                <a:lnTo>
                  <a:pt x="1378" y="1459"/>
                </a:lnTo>
                <a:lnTo>
                  <a:pt x="1388" y="1453"/>
                </a:lnTo>
                <a:lnTo>
                  <a:pt x="1406" y="1443"/>
                </a:lnTo>
                <a:lnTo>
                  <a:pt x="1424" y="1435"/>
                </a:lnTo>
                <a:lnTo>
                  <a:pt x="1441" y="1428"/>
                </a:lnTo>
                <a:lnTo>
                  <a:pt x="1441" y="1428"/>
                </a:lnTo>
                <a:lnTo>
                  <a:pt x="1443" y="1428"/>
                </a:lnTo>
                <a:lnTo>
                  <a:pt x="1444" y="1429"/>
                </a:lnTo>
                <a:lnTo>
                  <a:pt x="1447" y="1431"/>
                </a:lnTo>
                <a:lnTo>
                  <a:pt x="1449" y="1436"/>
                </a:lnTo>
                <a:lnTo>
                  <a:pt x="1453" y="1443"/>
                </a:lnTo>
                <a:lnTo>
                  <a:pt x="1461" y="1462"/>
                </a:lnTo>
                <a:lnTo>
                  <a:pt x="1467" y="1473"/>
                </a:lnTo>
                <a:lnTo>
                  <a:pt x="1474" y="1485"/>
                </a:lnTo>
                <a:lnTo>
                  <a:pt x="1484" y="1498"/>
                </a:lnTo>
                <a:lnTo>
                  <a:pt x="1494" y="1511"/>
                </a:lnTo>
                <a:lnTo>
                  <a:pt x="1506" y="1525"/>
                </a:lnTo>
                <a:lnTo>
                  <a:pt x="1522" y="1539"/>
                </a:lnTo>
                <a:lnTo>
                  <a:pt x="1539" y="1552"/>
                </a:lnTo>
                <a:lnTo>
                  <a:pt x="1559" y="1564"/>
                </a:lnTo>
                <a:lnTo>
                  <a:pt x="1583" y="1576"/>
                </a:lnTo>
                <a:lnTo>
                  <a:pt x="1609" y="1587"/>
                </a:lnTo>
                <a:lnTo>
                  <a:pt x="1609" y="1587"/>
                </a:lnTo>
                <a:lnTo>
                  <a:pt x="1684" y="1556"/>
                </a:lnTo>
                <a:lnTo>
                  <a:pt x="1730" y="1534"/>
                </a:lnTo>
                <a:lnTo>
                  <a:pt x="1757" y="1521"/>
                </a:lnTo>
                <a:lnTo>
                  <a:pt x="1786" y="1506"/>
                </a:lnTo>
                <a:lnTo>
                  <a:pt x="1786" y="1506"/>
                </a:lnTo>
                <a:lnTo>
                  <a:pt x="1818" y="1489"/>
                </a:lnTo>
                <a:lnTo>
                  <a:pt x="1848" y="1472"/>
                </a:lnTo>
                <a:lnTo>
                  <a:pt x="1860" y="1464"/>
                </a:lnTo>
                <a:lnTo>
                  <a:pt x="1871" y="1457"/>
                </a:lnTo>
                <a:lnTo>
                  <a:pt x="1881" y="1449"/>
                </a:lnTo>
                <a:lnTo>
                  <a:pt x="1889" y="1442"/>
                </a:lnTo>
                <a:lnTo>
                  <a:pt x="1889" y="1442"/>
                </a:lnTo>
                <a:lnTo>
                  <a:pt x="1888" y="1440"/>
                </a:lnTo>
                <a:lnTo>
                  <a:pt x="1887" y="1438"/>
                </a:lnTo>
                <a:lnTo>
                  <a:pt x="1879" y="1431"/>
                </a:lnTo>
                <a:lnTo>
                  <a:pt x="1868" y="1420"/>
                </a:lnTo>
                <a:lnTo>
                  <a:pt x="1855" y="1406"/>
                </a:lnTo>
                <a:lnTo>
                  <a:pt x="1840" y="1388"/>
                </a:lnTo>
                <a:lnTo>
                  <a:pt x="1825" y="1369"/>
                </a:lnTo>
                <a:lnTo>
                  <a:pt x="1818" y="1358"/>
                </a:lnTo>
                <a:lnTo>
                  <a:pt x="1812" y="1345"/>
                </a:lnTo>
                <a:lnTo>
                  <a:pt x="1807" y="1334"/>
                </a:lnTo>
                <a:lnTo>
                  <a:pt x="1802" y="1321"/>
                </a:lnTo>
                <a:lnTo>
                  <a:pt x="1802" y="1321"/>
                </a:lnTo>
                <a:lnTo>
                  <a:pt x="1799" y="1308"/>
                </a:lnTo>
                <a:lnTo>
                  <a:pt x="1796" y="1297"/>
                </a:lnTo>
                <a:lnTo>
                  <a:pt x="1794" y="1288"/>
                </a:lnTo>
                <a:lnTo>
                  <a:pt x="1794" y="1279"/>
                </a:lnTo>
                <a:lnTo>
                  <a:pt x="1794" y="1272"/>
                </a:lnTo>
                <a:lnTo>
                  <a:pt x="1794" y="1267"/>
                </a:lnTo>
                <a:lnTo>
                  <a:pt x="1795" y="1263"/>
                </a:lnTo>
                <a:lnTo>
                  <a:pt x="1796" y="1261"/>
                </a:lnTo>
                <a:lnTo>
                  <a:pt x="1796" y="1261"/>
                </a:lnTo>
                <a:lnTo>
                  <a:pt x="1809" y="1278"/>
                </a:lnTo>
                <a:lnTo>
                  <a:pt x="1824" y="1295"/>
                </a:lnTo>
                <a:lnTo>
                  <a:pt x="1845" y="1316"/>
                </a:lnTo>
                <a:lnTo>
                  <a:pt x="1857" y="1327"/>
                </a:lnTo>
                <a:lnTo>
                  <a:pt x="1869" y="1338"/>
                </a:lnTo>
                <a:lnTo>
                  <a:pt x="1883" y="1349"/>
                </a:lnTo>
                <a:lnTo>
                  <a:pt x="1899" y="1361"/>
                </a:lnTo>
                <a:lnTo>
                  <a:pt x="1915" y="1372"/>
                </a:lnTo>
                <a:lnTo>
                  <a:pt x="1932" y="1381"/>
                </a:lnTo>
                <a:lnTo>
                  <a:pt x="1949" y="1390"/>
                </a:lnTo>
                <a:lnTo>
                  <a:pt x="1967" y="1398"/>
                </a:lnTo>
                <a:lnTo>
                  <a:pt x="1967" y="1398"/>
                </a:lnTo>
                <a:lnTo>
                  <a:pt x="2021" y="1370"/>
                </a:lnTo>
                <a:lnTo>
                  <a:pt x="2075" y="1340"/>
                </a:lnTo>
                <a:lnTo>
                  <a:pt x="2129" y="1307"/>
                </a:lnTo>
                <a:lnTo>
                  <a:pt x="2183" y="1273"/>
                </a:lnTo>
                <a:lnTo>
                  <a:pt x="2183" y="1273"/>
                </a:lnTo>
                <a:lnTo>
                  <a:pt x="2218" y="1249"/>
                </a:lnTo>
                <a:lnTo>
                  <a:pt x="2218" y="1249"/>
                </a:lnTo>
                <a:lnTo>
                  <a:pt x="2219" y="1248"/>
                </a:lnTo>
                <a:lnTo>
                  <a:pt x="2219" y="1248"/>
                </a:lnTo>
                <a:lnTo>
                  <a:pt x="2220" y="1246"/>
                </a:lnTo>
                <a:lnTo>
                  <a:pt x="2219" y="1244"/>
                </a:lnTo>
                <a:lnTo>
                  <a:pt x="2215" y="1237"/>
                </a:lnTo>
                <a:lnTo>
                  <a:pt x="2207" y="1228"/>
                </a:lnTo>
                <a:lnTo>
                  <a:pt x="2196" y="1217"/>
                </a:lnTo>
                <a:lnTo>
                  <a:pt x="2171" y="1193"/>
                </a:lnTo>
                <a:lnTo>
                  <a:pt x="2142" y="1164"/>
                </a:lnTo>
                <a:lnTo>
                  <a:pt x="2129" y="1150"/>
                </a:lnTo>
                <a:lnTo>
                  <a:pt x="2118" y="1136"/>
                </a:lnTo>
                <a:lnTo>
                  <a:pt x="2108" y="1121"/>
                </a:lnTo>
                <a:lnTo>
                  <a:pt x="2104" y="1114"/>
                </a:lnTo>
                <a:lnTo>
                  <a:pt x="2101" y="1108"/>
                </a:lnTo>
                <a:lnTo>
                  <a:pt x="2100" y="1101"/>
                </a:lnTo>
                <a:lnTo>
                  <a:pt x="2099" y="1095"/>
                </a:lnTo>
                <a:lnTo>
                  <a:pt x="2099" y="1089"/>
                </a:lnTo>
                <a:lnTo>
                  <a:pt x="2100" y="1084"/>
                </a:lnTo>
                <a:lnTo>
                  <a:pt x="2102" y="1078"/>
                </a:lnTo>
                <a:lnTo>
                  <a:pt x="2106" y="1073"/>
                </a:lnTo>
                <a:lnTo>
                  <a:pt x="2112" y="1069"/>
                </a:lnTo>
                <a:lnTo>
                  <a:pt x="2119" y="1065"/>
                </a:lnTo>
                <a:lnTo>
                  <a:pt x="2119" y="1065"/>
                </a:lnTo>
                <a:lnTo>
                  <a:pt x="2125" y="1061"/>
                </a:lnTo>
                <a:lnTo>
                  <a:pt x="2130" y="1056"/>
                </a:lnTo>
                <a:lnTo>
                  <a:pt x="2133" y="1051"/>
                </a:lnTo>
                <a:lnTo>
                  <a:pt x="2135" y="1045"/>
                </a:lnTo>
                <a:lnTo>
                  <a:pt x="2136" y="1039"/>
                </a:lnTo>
                <a:lnTo>
                  <a:pt x="2136" y="1030"/>
                </a:lnTo>
                <a:lnTo>
                  <a:pt x="2136" y="1023"/>
                </a:lnTo>
                <a:lnTo>
                  <a:pt x="2134" y="1014"/>
                </a:lnTo>
                <a:lnTo>
                  <a:pt x="2129" y="997"/>
                </a:lnTo>
                <a:lnTo>
                  <a:pt x="2121" y="977"/>
                </a:lnTo>
                <a:lnTo>
                  <a:pt x="2102" y="935"/>
                </a:lnTo>
                <a:lnTo>
                  <a:pt x="2093" y="914"/>
                </a:lnTo>
                <a:lnTo>
                  <a:pt x="2085" y="893"/>
                </a:lnTo>
                <a:lnTo>
                  <a:pt x="2078" y="873"/>
                </a:lnTo>
                <a:lnTo>
                  <a:pt x="2076" y="863"/>
                </a:lnTo>
                <a:lnTo>
                  <a:pt x="2074" y="853"/>
                </a:lnTo>
                <a:lnTo>
                  <a:pt x="2074" y="844"/>
                </a:lnTo>
                <a:lnTo>
                  <a:pt x="2074" y="836"/>
                </a:lnTo>
                <a:lnTo>
                  <a:pt x="2075" y="828"/>
                </a:lnTo>
                <a:lnTo>
                  <a:pt x="2077" y="821"/>
                </a:lnTo>
                <a:lnTo>
                  <a:pt x="2080" y="814"/>
                </a:lnTo>
                <a:lnTo>
                  <a:pt x="2085" y="807"/>
                </a:lnTo>
                <a:lnTo>
                  <a:pt x="2091" y="801"/>
                </a:lnTo>
                <a:lnTo>
                  <a:pt x="2099" y="797"/>
                </a:lnTo>
                <a:lnTo>
                  <a:pt x="2099" y="797"/>
                </a:lnTo>
                <a:lnTo>
                  <a:pt x="2200" y="744"/>
                </a:lnTo>
                <a:lnTo>
                  <a:pt x="2306" y="693"/>
                </a:lnTo>
                <a:lnTo>
                  <a:pt x="2410" y="642"/>
                </a:lnTo>
                <a:lnTo>
                  <a:pt x="2513" y="592"/>
                </a:lnTo>
                <a:lnTo>
                  <a:pt x="2705" y="501"/>
                </a:lnTo>
                <a:lnTo>
                  <a:pt x="2788" y="461"/>
                </a:lnTo>
                <a:lnTo>
                  <a:pt x="2863" y="424"/>
                </a:lnTo>
                <a:lnTo>
                  <a:pt x="2863" y="424"/>
                </a:lnTo>
                <a:lnTo>
                  <a:pt x="2859" y="408"/>
                </a:lnTo>
                <a:lnTo>
                  <a:pt x="2853" y="389"/>
                </a:lnTo>
                <a:lnTo>
                  <a:pt x="2843" y="366"/>
                </a:lnTo>
                <a:lnTo>
                  <a:pt x="2836" y="354"/>
                </a:lnTo>
                <a:lnTo>
                  <a:pt x="2829" y="339"/>
                </a:lnTo>
                <a:lnTo>
                  <a:pt x="2821" y="325"/>
                </a:lnTo>
                <a:lnTo>
                  <a:pt x="2812" y="311"/>
                </a:lnTo>
                <a:lnTo>
                  <a:pt x="2801" y="296"/>
                </a:lnTo>
                <a:lnTo>
                  <a:pt x="2788" y="281"/>
                </a:lnTo>
                <a:lnTo>
                  <a:pt x="2774" y="267"/>
                </a:lnTo>
                <a:lnTo>
                  <a:pt x="2759" y="25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5" name="Freeform 32"/>
          <p:cNvSpPr>
            <a:spLocks/>
          </p:cNvSpPr>
          <p:nvPr userDrawn="1"/>
        </p:nvSpPr>
        <p:spPr bwMode="auto">
          <a:xfrm>
            <a:off x="7194550" y="1861840"/>
            <a:ext cx="161925" cy="153988"/>
          </a:xfrm>
          <a:custGeom>
            <a:avLst/>
            <a:gdLst>
              <a:gd name="T0" fmla="*/ 2 w 1226"/>
              <a:gd name="T1" fmla="*/ 386 h 1168"/>
              <a:gd name="T2" fmla="*/ 22 w 1226"/>
              <a:gd name="T3" fmla="*/ 434 h 1168"/>
              <a:gd name="T4" fmla="*/ 61 w 1226"/>
              <a:gd name="T5" fmla="*/ 466 h 1168"/>
              <a:gd name="T6" fmla="*/ 120 w 1226"/>
              <a:gd name="T7" fmla="*/ 479 h 1168"/>
              <a:gd name="T8" fmla="*/ 142 w 1226"/>
              <a:gd name="T9" fmla="*/ 469 h 1168"/>
              <a:gd name="T10" fmla="*/ 160 w 1226"/>
              <a:gd name="T11" fmla="*/ 436 h 1168"/>
              <a:gd name="T12" fmla="*/ 164 w 1226"/>
              <a:gd name="T13" fmla="*/ 370 h 1168"/>
              <a:gd name="T14" fmla="*/ 174 w 1226"/>
              <a:gd name="T15" fmla="*/ 344 h 1168"/>
              <a:gd name="T16" fmla="*/ 198 w 1226"/>
              <a:gd name="T17" fmla="*/ 331 h 1168"/>
              <a:gd name="T18" fmla="*/ 223 w 1226"/>
              <a:gd name="T19" fmla="*/ 318 h 1168"/>
              <a:gd name="T20" fmla="*/ 427 w 1226"/>
              <a:gd name="T21" fmla="*/ 416 h 1168"/>
              <a:gd name="T22" fmla="*/ 628 w 1226"/>
              <a:gd name="T23" fmla="*/ 534 h 1168"/>
              <a:gd name="T24" fmla="*/ 876 w 1226"/>
              <a:gd name="T25" fmla="*/ 703 h 1168"/>
              <a:gd name="T26" fmla="*/ 868 w 1226"/>
              <a:gd name="T27" fmla="*/ 783 h 1168"/>
              <a:gd name="T28" fmla="*/ 779 w 1226"/>
              <a:gd name="T29" fmla="*/ 957 h 1168"/>
              <a:gd name="T30" fmla="*/ 753 w 1226"/>
              <a:gd name="T31" fmla="*/ 1040 h 1168"/>
              <a:gd name="T32" fmla="*/ 754 w 1226"/>
              <a:gd name="T33" fmla="*/ 1090 h 1168"/>
              <a:gd name="T34" fmla="*/ 771 w 1226"/>
              <a:gd name="T35" fmla="*/ 1130 h 1168"/>
              <a:gd name="T36" fmla="*/ 801 w 1226"/>
              <a:gd name="T37" fmla="*/ 1157 h 1168"/>
              <a:gd name="T38" fmla="*/ 842 w 1226"/>
              <a:gd name="T39" fmla="*/ 1168 h 1168"/>
              <a:gd name="T40" fmla="*/ 880 w 1226"/>
              <a:gd name="T41" fmla="*/ 1163 h 1168"/>
              <a:gd name="T42" fmla="*/ 919 w 1226"/>
              <a:gd name="T43" fmla="*/ 1140 h 1168"/>
              <a:gd name="T44" fmla="*/ 944 w 1226"/>
              <a:gd name="T45" fmla="*/ 1107 h 1168"/>
              <a:gd name="T46" fmla="*/ 952 w 1226"/>
              <a:gd name="T47" fmla="*/ 1060 h 1168"/>
              <a:gd name="T48" fmla="*/ 930 w 1226"/>
              <a:gd name="T49" fmla="*/ 1010 h 1168"/>
              <a:gd name="T50" fmla="*/ 885 w 1226"/>
              <a:gd name="T51" fmla="*/ 989 h 1168"/>
              <a:gd name="T52" fmla="*/ 919 w 1226"/>
              <a:gd name="T53" fmla="*/ 879 h 1168"/>
              <a:gd name="T54" fmla="*/ 954 w 1226"/>
              <a:gd name="T55" fmla="*/ 807 h 1168"/>
              <a:gd name="T56" fmla="*/ 1024 w 1226"/>
              <a:gd name="T57" fmla="*/ 715 h 1168"/>
              <a:gd name="T58" fmla="*/ 1095 w 1226"/>
              <a:gd name="T59" fmla="*/ 673 h 1168"/>
              <a:gd name="T60" fmla="*/ 1125 w 1226"/>
              <a:gd name="T61" fmla="*/ 670 h 1168"/>
              <a:gd name="T62" fmla="*/ 1099 w 1226"/>
              <a:gd name="T63" fmla="*/ 633 h 1168"/>
              <a:gd name="T64" fmla="*/ 1083 w 1226"/>
              <a:gd name="T65" fmla="*/ 543 h 1168"/>
              <a:gd name="T66" fmla="*/ 1096 w 1226"/>
              <a:gd name="T67" fmla="*/ 477 h 1168"/>
              <a:gd name="T68" fmla="*/ 1132 w 1226"/>
              <a:gd name="T69" fmla="*/ 395 h 1168"/>
              <a:gd name="T70" fmla="*/ 1195 w 1226"/>
              <a:gd name="T71" fmla="*/ 258 h 1168"/>
              <a:gd name="T72" fmla="*/ 1225 w 1226"/>
              <a:gd name="T73" fmla="*/ 141 h 1168"/>
              <a:gd name="T74" fmla="*/ 1217 w 1226"/>
              <a:gd name="T75" fmla="*/ 95 h 1168"/>
              <a:gd name="T76" fmla="*/ 1187 w 1226"/>
              <a:gd name="T77" fmla="*/ 55 h 1168"/>
              <a:gd name="T78" fmla="*/ 1144 w 1226"/>
              <a:gd name="T79" fmla="*/ 34 h 1168"/>
              <a:gd name="T80" fmla="*/ 1104 w 1226"/>
              <a:gd name="T81" fmla="*/ 35 h 1168"/>
              <a:gd name="T82" fmla="*/ 1061 w 1226"/>
              <a:gd name="T83" fmla="*/ 57 h 1168"/>
              <a:gd name="T84" fmla="*/ 1033 w 1226"/>
              <a:gd name="T85" fmla="*/ 94 h 1168"/>
              <a:gd name="T86" fmla="*/ 1025 w 1226"/>
              <a:gd name="T87" fmla="*/ 139 h 1168"/>
              <a:gd name="T88" fmla="*/ 1048 w 1226"/>
              <a:gd name="T89" fmla="*/ 205 h 1168"/>
              <a:gd name="T90" fmla="*/ 1095 w 1226"/>
              <a:gd name="T91" fmla="*/ 230 h 1168"/>
              <a:gd name="T92" fmla="*/ 1107 w 1226"/>
              <a:gd name="T93" fmla="*/ 240 h 1168"/>
              <a:gd name="T94" fmla="*/ 1044 w 1226"/>
              <a:gd name="T95" fmla="*/ 390 h 1168"/>
              <a:gd name="T96" fmla="*/ 975 w 1226"/>
              <a:gd name="T97" fmla="*/ 431 h 1168"/>
              <a:gd name="T98" fmla="*/ 717 w 1226"/>
              <a:gd name="T99" fmla="*/ 289 h 1168"/>
              <a:gd name="T100" fmla="*/ 529 w 1226"/>
              <a:gd name="T101" fmla="*/ 205 h 1168"/>
              <a:gd name="T102" fmla="*/ 317 w 1226"/>
              <a:gd name="T103" fmla="*/ 140 h 1168"/>
              <a:gd name="T104" fmla="*/ 378 w 1226"/>
              <a:gd name="T105" fmla="*/ 31 h 1168"/>
              <a:gd name="T106" fmla="*/ 389 w 1226"/>
              <a:gd name="T107" fmla="*/ 0 h 1168"/>
              <a:gd name="T108" fmla="*/ 367 w 1226"/>
              <a:gd name="T109" fmla="*/ 10 h 1168"/>
              <a:gd name="T110" fmla="*/ 285 w 1226"/>
              <a:gd name="T111" fmla="*/ 57 h 1168"/>
              <a:gd name="T112" fmla="*/ 211 w 1226"/>
              <a:gd name="T113" fmla="*/ 85 h 1168"/>
              <a:gd name="T114" fmla="*/ 147 w 1226"/>
              <a:gd name="T115" fmla="*/ 85 h 1168"/>
              <a:gd name="T116" fmla="*/ 114 w 1226"/>
              <a:gd name="T117" fmla="*/ 85 h 1168"/>
              <a:gd name="T118" fmla="*/ 87 w 1226"/>
              <a:gd name="T119" fmla="*/ 134 h 1168"/>
              <a:gd name="T120" fmla="*/ 42 w 1226"/>
              <a:gd name="T121" fmla="*/ 261 h 1168"/>
              <a:gd name="T122" fmla="*/ 6 w 1226"/>
              <a:gd name="T123" fmla="*/ 327 h 1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6" h="1168">
                <a:moveTo>
                  <a:pt x="1" y="345"/>
                </a:moveTo>
                <a:lnTo>
                  <a:pt x="1" y="345"/>
                </a:lnTo>
                <a:lnTo>
                  <a:pt x="0" y="359"/>
                </a:lnTo>
                <a:lnTo>
                  <a:pt x="0" y="370"/>
                </a:lnTo>
                <a:lnTo>
                  <a:pt x="2" y="386"/>
                </a:lnTo>
                <a:lnTo>
                  <a:pt x="5" y="401"/>
                </a:lnTo>
                <a:lnTo>
                  <a:pt x="8" y="409"/>
                </a:lnTo>
                <a:lnTo>
                  <a:pt x="11" y="417"/>
                </a:lnTo>
                <a:lnTo>
                  <a:pt x="16" y="425"/>
                </a:lnTo>
                <a:lnTo>
                  <a:pt x="22" y="434"/>
                </a:lnTo>
                <a:lnTo>
                  <a:pt x="28" y="442"/>
                </a:lnTo>
                <a:lnTo>
                  <a:pt x="36" y="449"/>
                </a:lnTo>
                <a:lnTo>
                  <a:pt x="36" y="449"/>
                </a:lnTo>
                <a:lnTo>
                  <a:pt x="48" y="458"/>
                </a:lnTo>
                <a:lnTo>
                  <a:pt x="61" y="466"/>
                </a:lnTo>
                <a:lnTo>
                  <a:pt x="76" y="473"/>
                </a:lnTo>
                <a:lnTo>
                  <a:pt x="91" y="478"/>
                </a:lnTo>
                <a:lnTo>
                  <a:pt x="105" y="480"/>
                </a:lnTo>
                <a:lnTo>
                  <a:pt x="113" y="480"/>
                </a:lnTo>
                <a:lnTo>
                  <a:pt x="120" y="479"/>
                </a:lnTo>
                <a:lnTo>
                  <a:pt x="126" y="478"/>
                </a:lnTo>
                <a:lnTo>
                  <a:pt x="132" y="476"/>
                </a:lnTo>
                <a:lnTo>
                  <a:pt x="137" y="473"/>
                </a:lnTo>
                <a:lnTo>
                  <a:pt x="142" y="469"/>
                </a:lnTo>
                <a:lnTo>
                  <a:pt x="142" y="469"/>
                </a:lnTo>
                <a:lnTo>
                  <a:pt x="147" y="464"/>
                </a:lnTo>
                <a:lnTo>
                  <a:pt x="152" y="457"/>
                </a:lnTo>
                <a:lnTo>
                  <a:pt x="155" y="451"/>
                </a:lnTo>
                <a:lnTo>
                  <a:pt x="158" y="444"/>
                </a:lnTo>
                <a:lnTo>
                  <a:pt x="160" y="436"/>
                </a:lnTo>
                <a:lnTo>
                  <a:pt x="161" y="428"/>
                </a:lnTo>
                <a:lnTo>
                  <a:pt x="162" y="411"/>
                </a:lnTo>
                <a:lnTo>
                  <a:pt x="162" y="395"/>
                </a:lnTo>
                <a:lnTo>
                  <a:pt x="163" y="378"/>
                </a:lnTo>
                <a:lnTo>
                  <a:pt x="164" y="370"/>
                </a:lnTo>
                <a:lnTo>
                  <a:pt x="166" y="362"/>
                </a:lnTo>
                <a:lnTo>
                  <a:pt x="168" y="355"/>
                </a:lnTo>
                <a:lnTo>
                  <a:pt x="172" y="347"/>
                </a:lnTo>
                <a:lnTo>
                  <a:pt x="172" y="347"/>
                </a:lnTo>
                <a:lnTo>
                  <a:pt x="174" y="344"/>
                </a:lnTo>
                <a:lnTo>
                  <a:pt x="178" y="341"/>
                </a:lnTo>
                <a:lnTo>
                  <a:pt x="187" y="335"/>
                </a:lnTo>
                <a:lnTo>
                  <a:pt x="195" y="332"/>
                </a:lnTo>
                <a:lnTo>
                  <a:pt x="198" y="331"/>
                </a:lnTo>
                <a:lnTo>
                  <a:pt x="198" y="331"/>
                </a:lnTo>
                <a:lnTo>
                  <a:pt x="205" y="329"/>
                </a:lnTo>
                <a:lnTo>
                  <a:pt x="211" y="326"/>
                </a:lnTo>
                <a:lnTo>
                  <a:pt x="217" y="323"/>
                </a:lnTo>
                <a:lnTo>
                  <a:pt x="223" y="318"/>
                </a:lnTo>
                <a:lnTo>
                  <a:pt x="223" y="318"/>
                </a:lnTo>
                <a:lnTo>
                  <a:pt x="264" y="337"/>
                </a:lnTo>
                <a:lnTo>
                  <a:pt x="305" y="355"/>
                </a:lnTo>
                <a:lnTo>
                  <a:pt x="347" y="374"/>
                </a:lnTo>
                <a:lnTo>
                  <a:pt x="388" y="395"/>
                </a:lnTo>
                <a:lnTo>
                  <a:pt x="427" y="416"/>
                </a:lnTo>
                <a:lnTo>
                  <a:pt x="468" y="439"/>
                </a:lnTo>
                <a:lnTo>
                  <a:pt x="509" y="461"/>
                </a:lnTo>
                <a:lnTo>
                  <a:pt x="549" y="485"/>
                </a:lnTo>
                <a:lnTo>
                  <a:pt x="589" y="509"/>
                </a:lnTo>
                <a:lnTo>
                  <a:pt x="628" y="534"/>
                </a:lnTo>
                <a:lnTo>
                  <a:pt x="706" y="584"/>
                </a:lnTo>
                <a:lnTo>
                  <a:pt x="782" y="636"/>
                </a:lnTo>
                <a:lnTo>
                  <a:pt x="857" y="689"/>
                </a:lnTo>
                <a:lnTo>
                  <a:pt x="857" y="689"/>
                </a:lnTo>
                <a:lnTo>
                  <a:pt x="876" y="703"/>
                </a:lnTo>
                <a:lnTo>
                  <a:pt x="894" y="714"/>
                </a:lnTo>
                <a:lnTo>
                  <a:pt x="894" y="714"/>
                </a:lnTo>
                <a:lnTo>
                  <a:pt x="887" y="736"/>
                </a:lnTo>
                <a:lnTo>
                  <a:pt x="878" y="759"/>
                </a:lnTo>
                <a:lnTo>
                  <a:pt x="868" y="783"/>
                </a:lnTo>
                <a:lnTo>
                  <a:pt x="856" y="809"/>
                </a:lnTo>
                <a:lnTo>
                  <a:pt x="856" y="809"/>
                </a:lnTo>
                <a:lnTo>
                  <a:pt x="816" y="885"/>
                </a:lnTo>
                <a:lnTo>
                  <a:pt x="797" y="921"/>
                </a:lnTo>
                <a:lnTo>
                  <a:pt x="779" y="957"/>
                </a:lnTo>
                <a:lnTo>
                  <a:pt x="772" y="975"/>
                </a:lnTo>
                <a:lnTo>
                  <a:pt x="766" y="992"/>
                </a:lnTo>
                <a:lnTo>
                  <a:pt x="760" y="1008"/>
                </a:lnTo>
                <a:lnTo>
                  <a:pt x="756" y="1025"/>
                </a:lnTo>
                <a:lnTo>
                  <a:pt x="753" y="1040"/>
                </a:lnTo>
                <a:lnTo>
                  <a:pt x="751" y="1054"/>
                </a:lnTo>
                <a:lnTo>
                  <a:pt x="751" y="1069"/>
                </a:lnTo>
                <a:lnTo>
                  <a:pt x="752" y="1081"/>
                </a:lnTo>
                <a:lnTo>
                  <a:pt x="752" y="1081"/>
                </a:lnTo>
                <a:lnTo>
                  <a:pt x="754" y="1090"/>
                </a:lnTo>
                <a:lnTo>
                  <a:pt x="756" y="1099"/>
                </a:lnTo>
                <a:lnTo>
                  <a:pt x="759" y="1107"/>
                </a:lnTo>
                <a:lnTo>
                  <a:pt x="762" y="1116"/>
                </a:lnTo>
                <a:lnTo>
                  <a:pt x="766" y="1123"/>
                </a:lnTo>
                <a:lnTo>
                  <a:pt x="771" y="1130"/>
                </a:lnTo>
                <a:lnTo>
                  <a:pt x="776" y="1136"/>
                </a:lnTo>
                <a:lnTo>
                  <a:pt x="781" y="1142"/>
                </a:lnTo>
                <a:lnTo>
                  <a:pt x="787" y="1147"/>
                </a:lnTo>
                <a:lnTo>
                  <a:pt x="794" y="1152"/>
                </a:lnTo>
                <a:lnTo>
                  <a:pt x="801" y="1157"/>
                </a:lnTo>
                <a:lnTo>
                  <a:pt x="808" y="1160"/>
                </a:lnTo>
                <a:lnTo>
                  <a:pt x="816" y="1163"/>
                </a:lnTo>
                <a:lnTo>
                  <a:pt x="824" y="1165"/>
                </a:lnTo>
                <a:lnTo>
                  <a:pt x="833" y="1167"/>
                </a:lnTo>
                <a:lnTo>
                  <a:pt x="842" y="1168"/>
                </a:lnTo>
                <a:lnTo>
                  <a:pt x="842" y="1168"/>
                </a:lnTo>
                <a:lnTo>
                  <a:pt x="852" y="1168"/>
                </a:lnTo>
                <a:lnTo>
                  <a:pt x="862" y="1167"/>
                </a:lnTo>
                <a:lnTo>
                  <a:pt x="871" y="1165"/>
                </a:lnTo>
                <a:lnTo>
                  <a:pt x="880" y="1163"/>
                </a:lnTo>
                <a:lnTo>
                  <a:pt x="889" y="1160"/>
                </a:lnTo>
                <a:lnTo>
                  <a:pt x="897" y="1155"/>
                </a:lnTo>
                <a:lnTo>
                  <a:pt x="905" y="1151"/>
                </a:lnTo>
                <a:lnTo>
                  <a:pt x="912" y="1146"/>
                </a:lnTo>
                <a:lnTo>
                  <a:pt x="919" y="1140"/>
                </a:lnTo>
                <a:lnTo>
                  <a:pt x="925" y="1135"/>
                </a:lnTo>
                <a:lnTo>
                  <a:pt x="931" y="1129"/>
                </a:lnTo>
                <a:lnTo>
                  <a:pt x="936" y="1122"/>
                </a:lnTo>
                <a:lnTo>
                  <a:pt x="940" y="1115"/>
                </a:lnTo>
                <a:lnTo>
                  <a:pt x="944" y="1107"/>
                </a:lnTo>
                <a:lnTo>
                  <a:pt x="947" y="1100"/>
                </a:lnTo>
                <a:lnTo>
                  <a:pt x="949" y="1092"/>
                </a:lnTo>
                <a:lnTo>
                  <a:pt x="949" y="1092"/>
                </a:lnTo>
                <a:lnTo>
                  <a:pt x="951" y="1076"/>
                </a:lnTo>
                <a:lnTo>
                  <a:pt x="952" y="1060"/>
                </a:lnTo>
                <a:lnTo>
                  <a:pt x="950" y="1048"/>
                </a:lnTo>
                <a:lnTo>
                  <a:pt x="947" y="1036"/>
                </a:lnTo>
                <a:lnTo>
                  <a:pt x="942" y="1027"/>
                </a:lnTo>
                <a:lnTo>
                  <a:pt x="937" y="1017"/>
                </a:lnTo>
                <a:lnTo>
                  <a:pt x="930" y="1010"/>
                </a:lnTo>
                <a:lnTo>
                  <a:pt x="922" y="1005"/>
                </a:lnTo>
                <a:lnTo>
                  <a:pt x="915" y="1000"/>
                </a:lnTo>
                <a:lnTo>
                  <a:pt x="908" y="996"/>
                </a:lnTo>
                <a:lnTo>
                  <a:pt x="894" y="991"/>
                </a:lnTo>
                <a:lnTo>
                  <a:pt x="885" y="989"/>
                </a:lnTo>
                <a:lnTo>
                  <a:pt x="880" y="989"/>
                </a:lnTo>
                <a:lnTo>
                  <a:pt x="880" y="989"/>
                </a:lnTo>
                <a:lnTo>
                  <a:pt x="896" y="944"/>
                </a:lnTo>
                <a:lnTo>
                  <a:pt x="908" y="908"/>
                </a:lnTo>
                <a:lnTo>
                  <a:pt x="919" y="879"/>
                </a:lnTo>
                <a:lnTo>
                  <a:pt x="919" y="879"/>
                </a:lnTo>
                <a:lnTo>
                  <a:pt x="927" y="859"/>
                </a:lnTo>
                <a:lnTo>
                  <a:pt x="937" y="841"/>
                </a:lnTo>
                <a:lnTo>
                  <a:pt x="945" y="823"/>
                </a:lnTo>
                <a:lnTo>
                  <a:pt x="954" y="807"/>
                </a:lnTo>
                <a:lnTo>
                  <a:pt x="962" y="792"/>
                </a:lnTo>
                <a:lnTo>
                  <a:pt x="971" y="777"/>
                </a:lnTo>
                <a:lnTo>
                  <a:pt x="989" y="753"/>
                </a:lnTo>
                <a:lnTo>
                  <a:pt x="1006" y="732"/>
                </a:lnTo>
                <a:lnTo>
                  <a:pt x="1024" y="715"/>
                </a:lnTo>
                <a:lnTo>
                  <a:pt x="1040" y="702"/>
                </a:lnTo>
                <a:lnTo>
                  <a:pt x="1055" y="690"/>
                </a:lnTo>
                <a:lnTo>
                  <a:pt x="1070" y="683"/>
                </a:lnTo>
                <a:lnTo>
                  <a:pt x="1083" y="677"/>
                </a:lnTo>
                <a:lnTo>
                  <a:pt x="1095" y="673"/>
                </a:lnTo>
                <a:lnTo>
                  <a:pt x="1105" y="671"/>
                </a:lnTo>
                <a:lnTo>
                  <a:pt x="1114" y="670"/>
                </a:lnTo>
                <a:lnTo>
                  <a:pt x="1120" y="670"/>
                </a:lnTo>
                <a:lnTo>
                  <a:pt x="1125" y="670"/>
                </a:lnTo>
                <a:lnTo>
                  <a:pt x="1125" y="670"/>
                </a:lnTo>
                <a:lnTo>
                  <a:pt x="1121" y="666"/>
                </a:lnTo>
                <a:lnTo>
                  <a:pt x="1116" y="661"/>
                </a:lnTo>
                <a:lnTo>
                  <a:pt x="1111" y="653"/>
                </a:lnTo>
                <a:lnTo>
                  <a:pt x="1104" y="644"/>
                </a:lnTo>
                <a:lnTo>
                  <a:pt x="1099" y="633"/>
                </a:lnTo>
                <a:lnTo>
                  <a:pt x="1093" y="620"/>
                </a:lnTo>
                <a:lnTo>
                  <a:pt x="1088" y="603"/>
                </a:lnTo>
                <a:lnTo>
                  <a:pt x="1085" y="586"/>
                </a:lnTo>
                <a:lnTo>
                  <a:pt x="1083" y="566"/>
                </a:lnTo>
                <a:lnTo>
                  <a:pt x="1083" y="543"/>
                </a:lnTo>
                <a:lnTo>
                  <a:pt x="1084" y="531"/>
                </a:lnTo>
                <a:lnTo>
                  <a:pt x="1086" y="519"/>
                </a:lnTo>
                <a:lnTo>
                  <a:pt x="1088" y="505"/>
                </a:lnTo>
                <a:lnTo>
                  <a:pt x="1092" y="491"/>
                </a:lnTo>
                <a:lnTo>
                  <a:pt x="1096" y="477"/>
                </a:lnTo>
                <a:lnTo>
                  <a:pt x="1101" y="461"/>
                </a:lnTo>
                <a:lnTo>
                  <a:pt x="1107" y="446"/>
                </a:lnTo>
                <a:lnTo>
                  <a:pt x="1115" y="430"/>
                </a:lnTo>
                <a:lnTo>
                  <a:pt x="1123" y="412"/>
                </a:lnTo>
                <a:lnTo>
                  <a:pt x="1132" y="395"/>
                </a:lnTo>
                <a:lnTo>
                  <a:pt x="1132" y="395"/>
                </a:lnTo>
                <a:lnTo>
                  <a:pt x="1152" y="358"/>
                </a:lnTo>
                <a:lnTo>
                  <a:pt x="1169" y="322"/>
                </a:lnTo>
                <a:lnTo>
                  <a:pt x="1184" y="289"/>
                </a:lnTo>
                <a:lnTo>
                  <a:pt x="1195" y="258"/>
                </a:lnTo>
                <a:lnTo>
                  <a:pt x="1206" y="227"/>
                </a:lnTo>
                <a:lnTo>
                  <a:pt x="1214" y="197"/>
                </a:lnTo>
                <a:lnTo>
                  <a:pt x="1220" y="169"/>
                </a:lnTo>
                <a:lnTo>
                  <a:pt x="1225" y="141"/>
                </a:lnTo>
                <a:lnTo>
                  <a:pt x="1225" y="141"/>
                </a:lnTo>
                <a:lnTo>
                  <a:pt x="1226" y="132"/>
                </a:lnTo>
                <a:lnTo>
                  <a:pt x="1225" y="123"/>
                </a:lnTo>
                <a:lnTo>
                  <a:pt x="1224" y="114"/>
                </a:lnTo>
                <a:lnTo>
                  <a:pt x="1221" y="104"/>
                </a:lnTo>
                <a:lnTo>
                  <a:pt x="1217" y="95"/>
                </a:lnTo>
                <a:lnTo>
                  <a:pt x="1213" y="87"/>
                </a:lnTo>
                <a:lnTo>
                  <a:pt x="1208" y="78"/>
                </a:lnTo>
                <a:lnTo>
                  <a:pt x="1202" y="70"/>
                </a:lnTo>
                <a:lnTo>
                  <a:pt x="1194" y="63"/>
                </a:lnTo>
                <a:lnTo>
                  <a:pt x="1187" y="55"/>
                </a:lnTo>
                <a:lnTo>
                  <a:pt x="1179" y="49"/>
                </a:lnTo>
                <a:lnTo>
                  <a:pt x="1171" y="44"/>
                </a:lnTo>
                <a:lnTo>
                  <a:pt x="1163" y="39"/>
                </a:lnTo>
                <a:lnTo>
                  <a:pt x="1153" y="36"/>
                </a:lnTo>
                <a:lnTo>
                  <a:pt x="1144" y="34"/>
                </a:lnTo>
                <a:lnTo>
                  <a:pt x="1134" y="32"/>
                </a:lnTo>
                <a:lnTo>
                  <a:pt x="1134" y="32"/>
                </a:lnTo>
                <a:lnTo>
                  <a:pt x="1124" y="32"/>
                </a:lnTo>
                <a:lnTo>
                  <a:pt x="1115" y="33"/>
                </a:lnTo>
                <a:lnTo>
                  <a:pt x="1104" y="35"/>
                </a:lnTo>
                <a:lnTo>
                  <a:pt x="1095" y="38"/>
                </a:lnTo>
                <a:lnTo>
                  <a:pt x="1086" y="42"/>
                </a:lnTo>
                <a:lnTo>
                  <a:pt x="1078" y="46"/>
                </a:lnTo>
                <a:lnTo>
                  <a:pt x="1070" y="52"/>
                </a:lnTo>
                <a:lnTo>
                  <a:pt x="1061" y="57"/>
                </a:lnTo>
                <a:lnTo>
                  <a:pt x="1054" y="65"/>
                </a:lnTo>
                <a:lnTo>
                  <a:pt x="1048" y="71"/>
                </a:lnTo>
                <a:lnTo>
                  <a:pt x="1042" y="78"/>
                </a:lnTo>
                <a:lnTo>
                  <a:pt x="1037" y="86"/>
                </a:lnTo>
                <a:lnTo>
                  <a:pt x="1033" y="94"/>
                </a:lnTo>
                <a:lnTo>
                  <a:pt x="1029" y="102"/>
                </a:lnTo>
                <a:lnTo>
                  <a:pt x="1027" y="111"/>
                </a:lnTo>
                <a:lnTo>
                  <a:pt x="1026" y="119"/>
                </a:lnTo>
                <a:lnTo>
                  <a:pt x="1026" y="119"/>
                </a:lnTo>
                <a:lnTo>
                  <a:pt x="1025" y="139"/>
                </a:lnTo>
                <a:lnTo>
                  <a:pt x="1026" y="158"/>
                </a:lnTo>
                <a:lnTo>
                  <a:pt x="1030" y="173"/>
                </a:lnTo>
                <a:lnTo>
                  <a:pt x="1035" y="185"/>
                </a:lnTo>
                <a:lnTo>
                  <a:pt x="1041" y="195"/>
                </a:lnTo>
                <a:lnTo>
                  <a:pt x="1048" y="205"/>
                </a:lnTo>
                <a:lnTo>
                  <a:pt x="1056" y="212"/>
                </a:lnTo>
                <a:lnTo>
                  <a:pt x="1065" y="217"/>
                </a:lnTo>
                <a:lnTo>
                  <a:pt x="1073" y="221"/>
                </a:lnTo>
                <a:lnTo>
                  <a:pt x="1081" y="225"/>
                </a:lnTo>
                <a:lnTo>
                  <a:pt x="1095" y="230"/>
                </a:lnTo>
                <a:lnTo>
                  <a:pt x="1101" y="232"/>
                </a:lnTo>
                <a:lnTo>
                  <a:pt x="1104" y="234"/>
                </a:lnTo>
                <a:lnTo>
                  <a:pt x="1107" y="237"/>
                </a:lnTo>
                <a:lnTo>
                  <a:pt x="1107" y="240"/>
                </a:lnTo>
                <a:lnTo>
                  <a:pt x="1107" y="240"/>
                </a:lnTo>
                <a:lnTo>
                  <a:pt x="1096" y="276"/>
                </a:lnTo>
                <a:lnTo>
                  <a:pt x="1084" y="309"/>
                </a:lnTo>
                <a:lnTo>
                  <a:pt x="1071" y="339"/>
                </a:lnTo>
                <a:lnTo>
                  <a:pt x="1057" y="365"/>
                </a:lnTo>
                <a:lnTo>
                  <a:pt x="1044" y="390"/>
                </a:lnTo>
                <a:lnTo>
                  <a:pt x="1031" y="411"/>
                </a:lnTo>
                <a:lnTo>
                  <a:pt x="1016" y="431"/>
                </a:lnTo>
                <a:lnTo>
                  <a:pt x="1002" y="447"/>
                </a:lnTo>
                <a:lnTo>
                  <a:pt x="1002" y="447"/>
                </a:lnTo>
                <a:lnTo>
                  <a:pt x="975" y="431"/>
                </a:lnTo>
                <a:lnTo>
                  <a:pt x="942" y="411"/>
                </a:lnTo>
                <a:lnTo>
                  <a:pt x="942" y="411"/>
                </a:lnTo>
                <a:lnTo>
                  <a:pt x="865" y="369"/>
                </a:lnTo>
                <a:lnTo>
                  <a:pt x="790" y="328"/>
                </a:lnTo>
                <a:lnTo>
                  <a:pt x="717" y="289"/>
                </a:lnTo>
                <a:lnTo>
                  <a:pt x="680" y="271"/>
                </a:lnTo>
                <a:lnTo>
                  <a:pt x="643" y="254"/>
                </a:lnTo>
                <a:lnTo>
                  <a:pt x="606" y="236"/>
                </a:lnTo>
                <a:lnTo>
                  <a:pt x="568" y="221"/>
                </a:lnTo>
                <a:lnTo>
                  <a:pt x="529" y="205"/>
                </a:lnTo>
                <a:lnTo>
                  <a:pt x="489" y="190"/>
                </a:lnTo>
                <a:lnTo>
                  <a:pt x="448" y="176"/>
                </a:lnTo>
                <a:lnTo>
                  <a:pt x="406" y="164"/>
                </a:lnTo>
                <a:lnTo>
                  <a:pt x="362" y="151"/>
                </a:lnTo>
                <a:lnTo>
                  <a:pt x="317" y="140"/>
                </a:lnTo>
                <a:lnTo>
                  <a:pt x="317" y="140"/>
                </a:lnTo>
                <a:lnTo>
                  <a:pt x="334" y="107"/>
                </a:lnTo>
                <a:lnTo>
                  <a:pt x="334" y="107"/>
                </a:lnTo>
                <a:lnTo>
                  <a:pt x="360" y="63"/>
                </a:lnTo>
                <a:lnTo>
                  <a:pt x="378" y="31"/>
                </a:lnTo>
                <a:lnTo>
                  <a:pt x="385" y="20"/>
                </a:lnTo>
                <a:lnTo>
                  <a:pt x="389" y="10"/>
                </a:lnTo>
                <a:lnTo>
                  <a:pt x="391" y="4"/>
                </a:lnTo>
                <a:lnTo>
                  <a:pt x="390" y="2"/>
                </a:lnTo>
                <a:lnTo>
                  <a:pt x="389" y="0"/>
                </a:lnTo>
                <a:lnTo>
                  <a:pt x="389" y="0"/>
                </a:lnTo>
                <a:lnTo>
                  <a:pt x="388" y="0"/>
                </a:lnTo>
                <a:lnTo>
                  <a:pt x="387" y="0"/>
                </a:lnTo>
                <a:lnTo>
                  <a:pt x="381" y="1"/>
                </a:lnTo>
                <a:lnTo>
                  <a:pt x="367" y="10"/>
                </a:lnTo>
                <a:lnTo>
                  <a:pt x="343" y="26"/>
                </a:lnTo>
                <a:lnTo>
                  <a:pt x="326" y="35"/>
                </a:lnTo>
                <a:lnTo>
                  <a:pt x="307" y="46"/>
                </a:lnTo>
                <a:lnTo>
                  <a:pt x="307" y="46"/>
                </a:lnTo>
                <a:lnTo>
                  <a:pt x="285" y="57"/>
                </a:lnTo>
                <a:lnTo>
                  <a:pt x="267" y="67"/>
                </a:lnTo>
                <a:lnTo>
                  <a:pt x="252" y="73"/>
                </a:lnTo>
                <a:lnTo>
                  <a:pt x="237" y="78"/>
                </a:lnTo>
                <a:lnTo>
                  <a:pt x="224" y="82"/>
                </a:lnTo>
                <a:lnTo>
                  <a:pt x="211" y="85"/>
                </a:lnTo>
                <a:lnTo>
                  <a:pt x="183" y="89"/>
                </a:lnTo>
                <a:lnTo>
                  <a:pt x="183" y="89"/>
                </a:lnTo>
                <a:lnTo>
                  <a:pt x="174" y="89"/>
                </a:lnTo>
                <a:lnTo>
                  <a:pt x="165" y="88"/>
                </a:lnTo>
                <a:lnTo>
                  <a:pt x="147" y="85"/>
                </a:lnTo>
                <a:lnTo>
                  <a:pt x="132" y="81"/>
                </a:lnTo>
                <a:lnTo>
                  <a:pt x="125" y="81"/>
                </a:lnTo>
                <a:lnTo>
                  <a:pt x="120" y="82"/>
                </a:lnTo>
                <a:lnTo>
                  <a:pt x="120" y="82"/>
                </a:lnTo>
                <a:lnTo>
                  <a:pt x="114" y="85"/>
                </a:lnTo>
                <a:lnTo>
                  <a:pt x="107" y="91"/>
                </a:lnTo>
                <a:lnTo>
                  <a:pt x="102" y="98"/>
                </a:lnTo>
                <a:lnTo>
                  <a:pt x="97" y="107"/>
                </a:lnTo>
                <a:lnTo>
                  <a:pt x="92" y="120"/>
                </a:lnTo>
                <a:lnTo>
                  <a:pt x="87" y="134"/>
                </a:lnTo>
                <a:lnTo>
                  <a:pt x="74" y="171"/>
                </a:lnTo>
                <a:lnTo>
                  <a:pt x="74" y="171"/>
                </a:lnTo>
                <a:lnTo>
                  <a:pt x="49" y="242"/>
                </a:lnTo>
                <a:lnTo>
                  <a:pt x="42" y="261"/>
                </a:lnTo>
                <a:lnTo>
                  <a:pt x="42" y="261"/>
                </a:lnTo>
                <a:lnTo>
                  <a:pt x="34" y="279"/>
                </a:lnTo>
                <a:lnTo>
                  <a:pt x="27" y="293"/>
                </a:lnTo>
                <a:lnTo>
                  <a:pt x="14" y="312"/>
                </a:lnTo>
                <a:lnTo>
                  <a:pt x="10" y="320"/>
                </a:lnTo>
                <a:lnTo>
                  <a:pt x="6" y="327"/>
                </a:lnTo>
                <a:lnTo>
                  <a:pt x="3" y="335"/>
                </a:lnTo>
                <a:lnTo>
                  <a:pt x="1" y="34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6" name="Freeform 33"/>
          <p:cNvSpPr>
            <a:spLocks/>
          </p:cNvSpPr>
          <p:nvPr userDrawn="1"/>
        </p:nvSpPr>
        <p:spPr bwMode="auto">
          <a:xfrm>
            <a:off x="7189787" y="1214140"/>
            <a:ext cx="39688" cy="46038"/>
          </a:xfrm>
          <a:custGeom>
            <a:avLst/>
            <a:gdLst>
              <a:gd name="T0" fmla="*/ 103 w 296"/>
              <a:gd name="T1" fmla="*/ 350 h 350"/>
              <a:gd name="T2" fmla="*/ 103 w 296"/>
              <a:gd name="T3" fmla="*/ 350 h 350"/>
              <a:gd name="T4" fmla="*/ 132 w 296"/>
              <a:gd name="T5" fmla="*/ 349 h 350"/>
              <a:gd name="T6" fmla="*/ 164 w 296"/>
              <a:gd name="T7" fmla="*/ 346 h 350"/>
              <a:gd name="T8" fmla="*/ 196 w 296"/>
              <a:gd name="T9" fmla="*/ 343 h 350"/>
              <a:gd name="T10" fmla="*/ 226 w 296"/>
              <a:gd name="T11" fmla="*/ 339 h 350"/>
              <a:gd name="T12" fmla="*/ 276 w 296"/>
              <a:gd name="T13" fmla="*/ 333 h 350"/>
              <a:gd name="T14" fmla="*/ 296 w 296"/>
              <a:gd name="T15" fmla="*/ 329 h 350"/>
              <a:gd name="T16" fmla="*/ 293 w 296"/>
              <a:gd name="T17" fmla="*/ 25 h 350"/>
              <a:gd name="T18" fmla="*/ 293 w 296"/>
              <a:gd name="T19" fmla="*/ 25 h 350"/>
              <a:gd name="T20" fmla="*/ 244 w 296"/>
              <a:gd name="T21" fmla="*/ 18 h 350"/>
              <a:gd name="T22" fmla="*/ 142 w 296"/>
              <a:gd name="T23" fmla="*/ 2 h 350"/>
              <a:gd name="T24" fmla="*/ 142 w 296"/>
              <a:gd name="T25" fmla="*/ 2 h 350"/>
              <a:gd name="T26" fmla="*/ 129 w 296"/>
              <a:gd name="T27" fmla="*/ 1 h 350"/>
              <a:gd name="T28" fmla="*/ 117 w 296"/>
              <a:gd name="T29" fmla="*/ 0 h 350"/>
              <a:gd name="T30" fmla="*/ 105 w 296"/>
              <a:gd name="T31" fmla="*/ 0 h 350"/>
              <a:gd name="T32" fmla="*/ 94 w 296"/>
              <a:gd name="T33" fmla="*/ 1 h 350"/>
              <a:gd name="T34" fmla="*/ 84 w 296"/>
              <a:gd name="T35" fmla="*/ 3 h 350"/>
              <a:gd name="T36" fmla="*/ 75 w 296"/>
              <a:gd name="T37" fmla="*/ 6 h 350"/>
              <a:gd name="T38" fmla="*/ 66 w 296"/>
              <a:gd name="T39" fmla="*/ 9 h 350"/>
              <a:gd name="T40" fmla="*/ 59 w 296"/>
              <a:gd name="T41" fmla="*/ 13 h 350"/>
              <a:gd name="T42" fmla="*/ 51 w 296"/>
              <a:gd name="T43" fmla="*/ 17 h 350"/>
              <a:gd name="T44" fmla="*/ 44 w 296"/>
              <a:gd name="T45" fmla="*/ 22 h 350"/>
              <a:gd name="T46" fmla="*/ 38 w 296"/>
              <a:gd name="T47" fmla="*/ 27 h 350"/>
              <a:gd name="T48" fmla="*/ 33 w 296"/>
              <a:gd name="T49" fmla="*/ 32 h 350"/>
              <a:gd name="T50" fmla="*/ 24 w 296"/>
              <a:gd name="T51" fmla="*/ 45 h 350"/>
              <a:gd name="T52" fmla="*/ 17 w 296"/>
              <a:gd name="T53" fmla="*/ 57 h 350"/>
              <a:gd name="T54" fmla="*/ 11 w 296"/>
              <a:gd name="T55" fmla="*/ 70 h 350"/>
              <a:gd name="T56" fmla="*/ 6 w 296"/>
              <a:gd name="T57" fmla="*/ 83 h 350"/>
              <a:gd name="T58" fmla="*/ 3 w 296"/>
              <a:gd name="T59" fmla="*/ 96 h 350"/>
              <a:gd name="T60" fmla="*/ 1 w 296"/>
              <a:gd name="T61" fmla="*/ 106 h 350"/>
              <a:gd name="T62" fmla="*/ 0 w 296"/>
              <a:gd name="T63" fmla="*/ 123 h 350"/>
              <a:gd name="T64" fmla="*/ 0 w 296"/>
              <a:gd name="T65" fmla="*/ 129 h 350"/>
              <a:gd name="T66" fmla="*/ 4 w 296"/>
              <a:gd name="T67" fmla="*/ 213 h 350"/>
              <a:gd name="T68" fmla="*/ 4 w 296"/>
              <a:gd name="T69" fmla="*/ 213 h 350"/>
              <a:gd name="T70" fmla="*/ 4 w 296"/>
              <a:gd name="T71" fmla="*/ 219 h 350"/>
              <a:gd name="T72" fmla="*/ 6 w 296"/>
              <a:gd name="T73" fmla="*/ 235 h 350"/>
              <a:gd name="T74" fmla="*/ 11 w 296"/>
              <a:gd name="T75" fmla="*/ 256 h 350"/>
              <a:gd name="T76" fmla="*/ 15 w 296"/>
              <a:gd name="T77" fmla="*/ 268 h 350"/>
              <a:gd name="T78" fmla="*/ 19 w 296"/>
              <a:gd name="T79" fmla="*/ 282 h 350"/>
              <a:gd name="T80" fmla="*/ 24 w 296"/>
              <a:gd name="T81" fmla="*/ 294 h 350"/>
              <a:gd name="T82" fmla="*/ 31 w 296"/>
              <a:gd name="T83" fmla="*/ 306 h 350"/>
              <a:gd name="T84" fmla="*/ 39 w 296"/>
              <a:gd name="T85" fmla="*/ 319 h 350"/>
              <a:gd name="T86" fmla="*/ 48 w 296"/>
              <a:gd name="T87" fmla="*/ 329 h 350"/>
              <a:gd name="T88" fmla="*/ 53 w 296"/>
              <a:gd name="T89" fmla="*/ 333 h 350"/>
              <a:gd name="T90" fmla="*/ 60 w 296"/>
              <a:gd name="T91" fmla="*/ 337 h 350"/>
              <a:gd name="T92" fmla="*/ 66 w 296"/>
              <a:gd name="T93" fmla="*/ 341 h 350"/>
              <a:gd name="T94" fmla="*/ 72 w 296"/>
              <a:gd name="T95" fmla="*/ 344 h 350"/>
              <a:gd name="T96" fmla="*/ 79 w 296"/>
              <a:gd name="T97" fmla="*/ 346 h 350"/>
              <a:gd name="T98" fmla="*/ 86 w 296"/>
              <a:gd name="T99" fmla="*/ 348 h 350"/>
              <a:gd name="T100" fmla="*/ 94 w 296"/>
              <a:gd name="T101" fmla="*/ 349 h 350"/>
              <a:gd name="T102" fmla="*/ 103 w 296"/>
              <a:gd name="T103" fmla="*/ 35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6" h="350">
                <a:moveTo>
                  <a:pt x="103" y="350"/>
                </a:moveTo>
                <a:lnTo>
                  <a:pt x="103" y="350"/>
                </a:lnTo>
                <a:lnTo>
                  <a:pt x="132" y="349"/>
                </a:lnTo>
                <a:lnTo>
                  <a:pt x="164" y="346"/>
                </a:lnTo>
                <a:lnTo>
                  <a:pt x="196" y="343"/>
                </a:lnTo>
                <a:lnTo>
                  <a:pt x="226" y="339"/>
                </a:lnTo>
                <a:lnTo>
                  <a:pt x="276" y="333"/>
                </a:lnTo>
                <a:lnTo>
                  <a:pt x="296" y="329"/>
                </a:lnTo>
                <a:lnTo>
                  <a:pt x="293" y="25"/>
                </a:lnTo>
                <a:lnTo>
                  <a:pt x="293" y="25"/>
                </a:lnTo>
                <a:lnTo>
                  <a:pt x="244" y="18"/>
                </a:lnTo>
                <a:lnTo>
                  <a:pt x="142" y="2"/>
                </a:lnTo>
                <a:lnTo>
                  <a:pt x="142" y="2"/>
                </a:lnTo>
                <a:lnTo>
                  <a:pt x="129" y="1"/>
                </a:lnTo>
                <a:lnTo>
                  <a:pt x="117" y="0"/>
                </a:lnTo>
                <a:lnTo>
                  <a:pt x="105" y="0"/>
                </a:lnTo>
                <a:lnTo>
                  <a:pt x="94" y="1"/>
                </a:lnTo>
                <a:lnTo>
                  <a:pt x="84" y="3"/>
                </a:lnTo>
                <a:lnTo>
                  <a:pt x="75" y="6"/>
                </a:lnTo>
                <a:lnTo>
                  <a:pt x="66" y="9"/>
                </a:lnTo>
                <a:lnTo>
                  <a:pt x="59" y="13"/>
                </a:lnTo>
                <a:lnTo>
                  <a:pt x="51" y="17"/>
                </a:lnTo>
                <a:lnTo>
                  <a:pt x="44" y="22"/>
                </a:lnTo>
                <a:lnTo>
                  <a:pt x="38" y="27"/>
                </a:lnTo>
                <a:lnTo>
                  <a:pt x="33" y="32"/>
                </a:lnTo>
                <a:lnTo>
                  <a:pt x="24" y="45"/>
                </a:lnTo>
                <a:lnTo>
                  <a:pt x="17" y="57"/>
                </a:lnTo>
                <a:lnTo>
                  <a:pt x="11" y="70"/>
                </a:lnTo>
                <a:lnTo>
                  <a:pt x="6" y="83"/>
                </a:lnTo>
                <a:lnTo>
                  <a:pt x="3" y="96"/>
                </a:lnTo>
                <a:lnTo>
                  <a:pt x="1" y="106"/>
                </a:lnTo>
                <a:lnTo>
                  <a:pt x="0" y="123"/>
                </a:lnTo>
                <a:lnTo>
                  <a:pt x="0" y="129"/>
                </a:lnTo>
                <a:lnTo>
                  <a:pt x="4" y="213"/>
                </a:lnTo>
                <a:lnTo>
                  <a:pt x="4" y="213"/>
                </a:lnTo>
                <a:lnTo>
                  <a:pt x="4" y="219"/>
                </a:lnTo>
                <a:lnTo>
                  <a:pt x="6" y="235"/>
                </a:lnTo>
                <a:lnTo>
                  <a:pt x="11" y="256"/>
                </a:lnTo>
                <a:lnTo>
                  <a:pt x="15" y="268"/>
                </a:lnTo>
                <a:lnTo>
                  <a:pt x="19" y="282"/>
                </a:lnTo>
                <a:lnTo>
                  <a:pt x="24" y="294"/>
                </a:lnTo>
                <a:lnTo>
                  <a:pt x="31" y="306"/>
                </a:lnTo>
                <a:lnTo>
                  <a:pt x="39" y="319"/>
                </a:lnTo>
                <a:lnTo>
                  <a:pt x="48" y="329"/>
                </a:lnTo>
                <a:lnTo>
                  <a:pt x="53" y="333"/>
                </a:lnTo>
                <a:lnTo>
                  <a:pt x="60" y="337"/>
                </a:lnTo>
                <a:lnTo>
                  <a:pt x="66" y="341"/>
                </a:lnTo>
                <a:lnTo>
                  <a:pt x="72" y="344"/>
                </a:lnTo>
                <a:lnTo>
                  <a:pt x="79" y="346"/>
                </a:lnTo>
                <a:lnTo>
                  <a:pt x="86" y="348"/>
                </a:lnTo>
                <a:lnTo>
                  <a:pt x="94" y="349"/>
                </a:lnTo>
                <a:lnTo>
                  <a:pt x="103" y="3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7" name="Freeform 34"/>
          <p:cNvSpPr>
            <a:spLocks/>
          </p:cNvSpPr>
          <p:nvPr userDrawn="1"/>
        </p:nvSpPr>
        <p:spPr bwMode="auto">
          <a:xfrm>
            <a:off x="7237412" y="1203028"/>
            <a:ext cx="60325" cy="57150"/>
          </a:xfrm>
          <a:custGeom>
            <a:avLst/>
            <a:gdLst>
              <a:gd name="T0" fmla="*/ 450 w 450"/>
              <a:gd name="T1" fmla="*/ 290 h 425"/>
              <a:gd name="T2" fmla="*/ 450 w 450"/>
              <a:gd name="T3" fmla="*/ 225 h 425"/>
              <a:gd name="T4" fmla="*/ 449 w 450"/>
              <a:gd name="T5" fmla="*/ 54 h 425"/>
              <a:gd name="T6" fmla="*/ 444 w 450"/>
              <a:gd name="T7" fmla="*/ 20 h 425"/>
              <a:gd name="T8" fmla="*/ 436 w 450"/>
              <a:gd name="T9" fmla="*/ 3 h 425"/>
              <a:gd name="T10" fmla="*/ 429 w 450"/>
              <a:gd name="T11" fmla="*/ 0 h 425"/>
              <a:gd name="T12" fmla="*/ 367 w 450"/>
              <a:gd name="T13" fmla="*/ 2 h 425"/>
              <a:gd name="T14" fmla="*/ 362 w 450"/>
              <a:gd name="T15" fmla="*/ 14 h 425"/>
              <a:gd name="T16" fmla="*/ 347 w 450"/>
              <a:gd name="T17" fmla="*/ 59 h 425"/>
              <a:gd name="T18" fmla="*/ 325 w 450"/>
              <a:gd name="T19" fmla="*/ 2 h 425"/>
              <a:gd name="T20" fmla="*/ 261 w 450"/>
              <a:gd name="T21" fmla="*/ 2 h 425"/>
              <a:gd name="T22" fmla="*/ 242 w 450"/>
              <a:gd name="T23" fmla="*/ 16 h 425"/>
              <a:gd name="T24" fmla="*/ 224 w 450"/>
              <a:gd name="T25" fmla="*/ 64 h 425"/>
              <a:gd name="T26" fmla="*/ 192 w 450"/>
              <a:gd name="T27" fmla="*/ 4 h 425"/>
              <a:gd name="T28" fmla="*/ 135 w 450"/>
              <a:gd name="T29" fmla="*/ 6 h 425"/>
              <a:gd name="T30" fmla="*/ 127 w 450"/>
              <a:gd name="T31" fmla="*/ 11 h 425"/>
              <a:gd name="T32" fmla="*/ 110 w 450"/>
              <a:gd name="T33" fmla="*/ 53 h 425"/>
              <a:gd name="T34" fmla="*/ 86 w 450"/>
              <a:gd name="T35" fmla="*/ 6 h 425"/>
              <a:gd name="T36" fmla="*/ 38 w 450"/>
              <a:gd name="T37" fmla="*/ 6 h 425"/>
              <a:gd name="T38" fmla="*/ 25 w 450"/>
              <a:gd name="T39" fmla="*/ 10 h 425"/>
              <a:gd name="T40" fmla="*/ 10 w 450"/>
              <a:gd name="T41" fmla="*/ 28 h 425"/>
              <a:gd name="T42" fmla="*/ 1 w 450"/>
              <a:gd name="T43" fmla="*/ 55 h 425"/>
              <a:gd name="T44" fmla="*/ 1 w 450"/>
              <a:gd name="T45" fmla="*/ 141 h 425"/>
              <a:gd name="T46" fmla="*/ 5 w 450"/>
              <a:gd name="T47" fmla="*/ 324 h 425"/>
              <a:gd name="T48" fmla="*/ 27 w 450"/>
              <a:gd name="T49" fmla="*/ 401 h 425"/>
              <a:gd name="T50" fmla="*/ 54 w 450"/>
              <a:gd name="T51" fmla="*/ 396 h 425"/>
              <a:gd name="T52" fmla="*/ 74 w 450"/>
              <a:gd name="T53" fmla="*/ 384 h 425"/>
              <a:gd name="T54" fmla="*/ 83 w 450"/>
              <a:gd name="T55" fmla="*/ 374 h 425"/>
              <a:gd name="T56" fmla="*/ 100 w 450"/>
              <a:gd name="T57" fmla="*/ 341 h 425"/>
              <a:gd name="T58" fmla="*/ 105 w 450"/>
              <a:gd name="T59" fmla="*/ 317 h 425"/>
              <a:gd name="T60" fmla="*/ 105 w 450"/>
              <a:gd name="T61" fmla="*/ 367 h 425"/>
              <a:gd name="T62" fmla="*/ 108 w 450"/>
              <a:gd name="T63" fmla="*/ 420 h 425"/>
              <a:gd name="T64" fmla="*/ 116 w 450"/>
              <a:gd name="T65" fmla="*/ 424 h 425"/>
              <a:gd name="T66" fmla="*/ 150 w 450"/>
              <a:gd name="T67" fmla="*/ 423 h 425"/>
              <a:gd name="T68" fmla="*/ 176 w 450"/>
              <a:gd name="T69" fmla="*/ 412 h 425"/>
              <a:gd name="T70" fmla="*/ 189 w 450"/>
              <a:gd name="T71" fmla="*/ 402 h 425"/>
              <a:gd name="T72" fmla="*/ 209 w 450"/>
              <a:gd name="T73" fmla="*/ 368 h 425"/>
              <a:gd name="T74" fmla="*/ 224 w 450"/>
              <a:gd name="T75" fmla="*/ 317 h 425"/>
              <a:gd name="T76" fmla="*/ 225 w 450"/>
              <a:gd name="T77" fmla="*/ 381 h 425"/>
              <a:gd name="T78" fmla="*/ 229 w 450"/>
              <a:gd name="T79" fmla="*/ 419 h 425"/>
              <a:gd name="T80" fmla="*/ 237 w 450"/>
              <a:gd name="T81" fmla="*/ 421 h 425"/>
              <a:gd name="T82" fmla="*/ 266 w 450"/>
              <a:gd name="T83" fmla="*/ 418 h 425"/>
              <a:gd name="T84" fmla="*/ 300 w 450"/>
              <a:gd name="T85" fmla="*/ 405 h 425"/>
              <a:gd name="T86" fmla="*/ 309 w 450"/>
              <a:gd name="T87" fmla="*/ 397 h 425"/>
              <a:gd name="T88" fmla="*/ 331 w 450"/>
              <a:gd name="T89" fmla="*/ 367 h 425"/>
              <a:gd name="T90" fmla="*/ 342 w 450"/>
              <a:gd name="T91" fmla="*/ 334 h 425"/>
              <a:gd name="T92" fmla="*/ 345 w 450"/>
              <a:gd name="T93" fmla="*/ 346 h 425"/>
              <a:gd name="T94" fmla="*/ 348 w 450"/>
              <a:gd name="T95" fmla="*/ 391 h 425"/>
              <a:gd name="T96" fmla="*/ 379 w 450"/>
              <a:gd name="T97" fmla="*/ 386 h 425"/>
              <a:gd name="T98" fmla="*/ 404 w 450"/>
              <a:gd name="T99" fmla="*/ 375 h 425"/>
              <a:gd name="T100" fmla="*/ 425 w 450"/>
              <a:gd name="T101" fmla="*/ 360 h 425"/>
              <a:gd name="T102" fmla="*/ 439 w 450"/>
              <a:gd name="T103" fmla="*/ 342 h 425"/>
              <a:gd name="T104" fmla="*/ 448 w 450"/>
              <a:gd name="T105" fmla="*/ 311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0" h="425">
                <a:moveTo>
                  <a:pt x="448" y="311"/>
                </a:moveTo>
                <a:lnTo>
                  <a:pt x="448" y="311"/>
                </a:lnTo>
                <a:lnTo>
                  <a:pt x="450" y="290"/>
                </a:lnTo>
                <a:lnTo>
                  <a:pt x="450" y="268"/>
                </a:lnTo>
                <a:lnTo>
                  <a:pt x="450" y="225"/>
                </a:lnTo>
                <a:lnTo>
                  <a:pt x="450" y="225"/>
                </a:lnTo>
                <a:lnTo>
                  <a:pt x="449" y="64"/>
                </a:lnTo>
                <a:lnTo>
                  <a:pt x="449" y="64"/>
                </a:lnTo>
                <a:lnTo>
                  <a:pt x="449" y="54"/>
                </a:lnTo>
                <a:lnTo>
                  <a:pt x="448" y="44"/>
                </a:lnTo>
                <a:lnTo>
                  <a:pt x="447" y="33"/>
                </a:lnTo>
                <a:lnTo>
                  <a:pt x="444" y="20"/>
                </a:lnTo>
                <a:lnTo>
                  <a:pt x="441" y="10"/>
                </a:lnTo>
                <a:lnTo>
                  <a:pt x="439" y="6"/>
                </a:lnTo>
                <a:lnTo>
                  <a:pt x="436" y="3"/>
                </a:lnTo>
                <a:lnTo>
                  <a:pt x="433" y="1"/>
                </a:lnTo>
                <a:lnTo>
                  <a:pt x="429" y="0"/>
                </a:lnTo>
                <a:lnTo>
                  <a:pt x="429" y="0"/>
                </a:lnTo>
                <a:lnTo>
                  <a:pt x="396" y="0"/>
                </a:lnTo>
                <a:lnTo>
                  <a:pt x="378" y="1"/>
                </a:lnTo>
                <a:lnTo>
                  <a:pt x="367" y="2"/>
                </a:lnTo>
                <a:lnTo>
                  <a:pt x="367" y="2"/>
                </a:lnTo>
                <a:lnTo>
                  <a:pt x="364" y="7"/>
                </a:lnTo>
                <a:lnTo>
                  <a:pt x="362" y="14"/>
                </a:lnTo>
                <a:lnTo>
                  <a:pt x="356" y="33"/>
                </a:lnTo>
                <a:lnTo>
                  <a:pt x="350" y="52"/>
                </a:lnTo>
                <a:lnTo>
                  <a:pt x="347" y="59"/>
                </a:lnTo>
                <a:lnTo>
                  <a:pt x="345" y="64"/>
                </a:lnTo>
                <a:lnTo>
                  <a:pt x="325" y="2"/>
                </a:lnTo>
                <a:lnTo>
                  <a:pt x="325" y="2"/>
                </a:lnTo>
                <a:lnTo>
                  <a:pt x="309" y="1"/>
                </a:lnTo>
                <a:lnTo>
                  <a:pt x="286" y="1"/>
                </a:lnTo>
                <a:lnTo>
                  <a:pt x="261" y="2"/>
                </a:lnTo>
                <a:lnTo>
                  <a:pt x="247" y="4"/>
                </a:lnTo>
                <a:lnTo>
                  <a:pt x="247" y="4"/>
                </a:lnTo>
                <a:lnTo>
                  <a:pt x="242" y="16"/>
                </a:lnTo>
                <a:lnTo>
                  <a:pt x="236" y="34"/>
                </a:lnTo>
                <a:lnTo>
                  <a:pt x="229" y="52"/>
                </a:lnTo>
                <a:lnTo>
                  <a:pt x="224" y="64"/>
                </a:lnTo>
                <a:lnTo>
                  <a:pt x="205" y="5"/>
                </a:lnTo>
                <a:lnTo>
                  <a:pt x="205" y="5"/>
                </a:lnTo>
                <a:lnTo>
                  <a:pt x="192" y="4"/>
                </a:lnTo>
                <a:lnTo>
                  <a:pt x="168" y="4"/>
                </a:lnTo>
                <a:lnTo>
                  <a:pt x="144" y="5"/>
                </a:lnTo>
                <a:lnTo>
                  <a:pt x="135" y="6"/>
                </a:lnTo>
                <a:lnTo>
                  <a:pt x="131" y="6"/>
                </a:lnTo>
                <a:lnTo>
                  <a:pt x="131" y="6"/>
                </a:lnTo>
                <a:lnTo>
                  <a:pt x="127" y="11"/>
                </a:lnTo>
                <a:lnTo>
                  <a:pt x="124" y="18"/>
                </a:lnTo>
                <a:lnTo>
                  <a:pt x="117" y="36"/>
                </a:lnTo>
                <a:lnTo>
                  <a:pt x="110" y="53"/>
                </a:lnTo>
                <a:lnTo>
                  <a:pt x="105" y="64"/>
                </a:lnTo>
                <a:lnTo>
                  <a:pt x="86" y="6"/>
                </a:lnTo>
                <a:lnTo>
                  <a:pt x="86" y="6"/>
                </a:lnTo>
                <a:lnTo>
                  <a:pt x="69" y="6"/>
                </a:lnTo>
                <a:lnTo>
                  <a:pt x="38" y="6"/>
                </a:lnTo>
                <a:lnTo>
                  <a:pt x="38" y="6"/>
                </a:lnTo>
                <a:lnTo>
                  <a:pt x="33" y="7"/>
                </a:lnTo>
                <a:lnTo>
                  <a:pt x="29" y="8"/>
                </a:lnTo>
                <a:lnTo>
                  <a:pt x="25" y="10"/>
                </a:lnTo>
                <a:lnTo>
                  <a:pt x="21" y="12"/>
                </a:lnTo>
                <a:lnTo>
                  <a:pt x="15" y="19"/>
                </a:lnTo>
                <a:lnTo>
                  <a:pt x="10" y="28"/>
                </a:lnTo>
                <a:lnTo>
                  <a:pt x="5" y="36"/>
                </a:lnTo>
                <a:lnTo>
                  <a:pt x="2" y="46"/>
                </a:lnTo>
                <a:lnTo>
                  <a:pt x="1" y="55"/>
                </a:lnTo>
                <a:lnTo>
                  <a:pt x="0" y="63"/>
                </a:lnTo>
                <a:lnTo>
                  <a:pt x="0" y="63"/>
                </a:lnTo>
                <a:lnTo>
                  <a:pt x="1" y="141"/>
                </a:lnTo>
                <a:lnTo>
                  <a:pt x="2" y="220"/>
                </a:lnTo>
                <a:lnTo>
                  <a:pt x="2" y="220"/>
                </a:lnTo>
                <a:lnTo>
                  <a:pt x="5" y="324"/>
                </a:lnTo>
                <a:lnTo>
                  <a:pt x="8" y="402"/>
                </a:lnTo>
                <a:lnTo>
                  <a:pt x="8" y="402"/>
                </a:lnTo>
                <a:lnTo>
                  <a:pt x="27" y="401"/>
                </a:lnTo>
                <a:lnTo>
                  <a:pt x="37" y="399"/>
                </a:lnTo>
                <a:lnTo>
                  <a:pt x="45" y="398"/>
                </a:lnTo>
                <a:lnTo>
                  <a:pt x="54" y="396"/>
                </a:lnTo>
                <a:lnTo>
                  <a:pt x="62" y="393"/>
                </a:lnTo>
                <a:lnTo>
                  <a:pt x="68" y="388"/>
                </a:lnTo>
                <a:lnTo>
                  <a:pt x="74" y="384"/>
                </a:lnTo>
                <a:lnTo>
                  <a:pt x="74" y="384"/>
                </a:lnTo>
                <a:lnTo>
                  <a:pt x="79" y="379"/>
                </a:lnTo>
                <a:lnTo>
                  <a:pt x="83" y="374"/>
                </a:lnTo>
                <a:lnTo>
                  <a:pt x="90" y="363"/>
                </a:lnTo>
                <a:lnTo>
                  <a:pt x="95" y="352"/>
                </a:lnTo>
                <a:lnTo>
                  <a:pt x="100" y="341"/>
                </a:lnTo>
                <a:lnTo>
                  <a:pt x="103" y="331"/>
                </a:lnTo>
                <a:lnTo>
                  <a:pt x="104" y="324"/>
                </a:lnTo>
                <a:lnTo>
                  <a:pt x="105" y="317"/>
                </a:lnTo>
                <a:lnTo>
                  <a:pt x="105" y="317"/>
                </a:lnTo>
                <a:lnTo>
                  <a:pt x="105" y="337"/>
                </a:lnTo>
                <a:lnTo>
                  <a:pt x="105" y="367"/>
                </a:lnTo>
                <a:lnTo>
                  <a:pt x="106" y="397"/>
                </a:lnTo>
                <a:lnTo>
                  <a:pt x="108" y="420"/>
                </a:lnTo>
                <a:lnTo>
                  <a:pt x="108" y="420"/>
                </a:lnTo>
                <a:lnTo>
                  <a:pt x="108" y="421"/>
                </a:lnTo>
                <a:lnTo>
                  <a:pt x="110" y="422"/>
                </a:lnTo>
                <a:lnTo>
                  <a:pt x="116" y="424"/>
                </a:lnTo>
                <a:lnTo>
                  <a:pt x="125" y="425"/>
                </a:lnTo>
                <a:lnTo>
                  <a:pt x="136" y="425"/>
                </a:lnTo>
                <a:lnTo>
                  <a:pt x="150" y="423"/>
                </a:lnTo>
                <a:lnTo>
                  <a:pt x="163" y="418"/>
                </a:lnTo>
                <a:lnTo>
                  <a:pt x="169" y="415"/>
                </a:lnTo>
                <a:lnTo>
                  <a:pt x="176" y="412"/>
                </a:lnTo>
                <a:lnTo>
                  <a:pt x="182" y="407"/>
                </a:lnTo>
                <a:lnTo>
                  <a:pt x="189" y="402"/>
                </a:lnTo>
                <a:lnTo>
                  <a:pt x="189" y="402"/>
                </a:lnTo>
                <a:lnTo>
                  <a:pt x="197" y="392"/>
                </a:lnTo>
                <a:lnTo>
                  <a:pt x="204" y="380"/>
                </a:lnTo>
                <a:lnTo>
                  <a:pt x="209" y="368"/>
                </a:lnTo>
                <a:lnTo>
                  <a:pt x="213" y="356"/>
                </a:lnTo>
                <a:lnTo>
                  <a:pt x="220" y="333"/>
                </a:lnTo>
                <a:lnTo>
                  <a:pt x="224" y="317"/>
                </a:lnTo>
                <a:lnTo>
                  <a:pt x="224" y="317"/>
                </a:lnTo>
                <a:lnTo>
                  <a:pt x="224" y="348"/>
                </a:lnTo>
                <a:lnTo>
                  <a:pt x="225" y="381"/>
                </a:lnTo>
                <a:lnTo>
                  <a:pt x="227" y="408"/>
                </a:lnTo>
                <a:lnTo>
                  <a:pt x="228" y="417"/>
                </a:lnTo>
                <a:lnTo>
                  <a:pt x="229" y="419"/>
                </a:lnTo>
                <a:lnTo>
                  <a:pt x="230" y="420"/>
                </a:lnTo>
                <a:lnTo>
                  <a:pt x="230" y="420"/>
                </a:lnTo>
                <a:lnTo>
                  <a:pt x="237" y="421"/>
                </a:lnTo>
                <a:lnTo>
                  <a:pt x="245" y="421"/>
                </a:lnTo>
                <a:lnTo>
                  <a:pt x="255" y="420"/>
                </a:lnTo>
                <a:lnTo>
                  <a:pt x="266" y="418"/>
                </a:lnTo>
                <a:lnTo>
                  <a:pt x="277" y="415"/>
                </a:lnTo>
                <a:lnTo>
                  <a:pt x="289" y="411"/>
                </a:lnTo>
                <a:lnTo>
                  <a:pt x="300" y="405"/>
                </a:lnTo>
                <a:lnTo>
                  <a:pt x="305" y="401"/>
                </a:lnTo>
                <a:lnTo>
                  <a:pt x="309" y="397"/>
                </a:lnTo>
                <a:lnTo>
                  <a:pt x="309" y="397"/>
                </a:lnTo>
                <a:lnTo>
                  <a:pt x="317" y="387"/>
                </a:lnTo>
                <a:lnTo>
                  <a:pt x="325" y="377"/>
                </a:lnTo>
                <a:lnTo>
                  <a:pt x="331" y="367"/>
                </a:lnTo>
                <a:lnTo>
                  <a:pt x="336" y="356"/>
                </a:lnTo>
                <a:lnTo>
                  <a:pt x="339" y="345"/>
                </a:lnTo>
                <a:lnTo>
                  <a:pt x="342" y="334"/>
                </a:lnTo>
                <a:lnTo>
                  <a:pt x="345" y="317"/>
                </a:lnTo>
                <a:lnTo>
                  <a:pt x="345" y="317"/>
                </a:lnTo>
                <a:lnTo>
                  <a:pt x="345" y="346"/>
                </a:lnTo>
                <a:lnTo>
                  <a:pt x="346" y="370"/>
                </a:lnTo>
                <a:lnTo>
                  <a:pt x="348" y="391"/>
                </a:lnTo>
                <a:lnTo>
                  <a:pt x="348" y="391"/>
                </a:lnTo>
                <a:lnTo>
                  <a:pt x="362" y="390"/>
                </a:lnTo>
                <a:lnTo>
                  <a:pt x="371" y="388"/>
                </a:lnTo>
                <a:lnTo>
                  <a:pt x="379" y="386"/>
                </a:lnTo>
                <a:lnTo>
                  <a:pt x="379" y="386"/>
                </a:lnTo>
                <a:lnTo>
                  <a:pt x="393" y="380"/>
                </a:lnTo>
                <a:lnTo>
                  <a:pt x="404" y="375"/>
                </a:lnTo>
                <a:lnTo>
                  <a:pt x="415" y="368"/>
                </a:lnTo>
                <a:lnTo>
                  <a:pt x="415" y="368"/>
                </a:lnTo>
                <a:lnTo>
                  <a:pt x="425" y="360"/>
                </a:lnTo>
                <a:lnTo>
                  <a:pt x="430" y="355"/>
                </a:lnTo>
                <a:lnTo>
                  <a:pt x="435" y="349"/>
                </a:lnTo>
                <a:lnTo>
                  <a:pt x="439" y="342"/>
                </a:lnTo>
                <a:lnTo>
                  <a:pt x="443" y="333"/>
                </a:lnTo>
                <a:lnTo>
                  <a:pt x="446" y="323"/>
                </a:lnTo>
                <a:lnTo>
                  <a:pt x="448" y="3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8" name="Freeform 35"/>
          <p:cNvSpPr>
            <a:spLocks/>
          </p:cNvSpPr>
          <p:nvPr userDrawn="1"/>
        </p:nvSpPr>
        <p:spPr bwMode="auto">
          <a:xfrm>
            <a:off x="7245350" y="1206203"/>
            <a:ext cx="73025" cy="80963"/>
          </a:xfrm>
          <a:custGeom>
            <a:avLst/>
            <a:gdLst>
              <a:gd name="T0" fmla="*/ 554 w 554"/>
              <a:gd name="T1" fmla="*/ 356 h 620"/>
              <a:gd name="T2" fmla="*/ 549 w 554"/>
              <a:gd name="T3" fmla="*/ 350 h 620"/>
              <a:gd name="T4" fmla="*/ 535 w 554"/>
              <a:gd name="T5" fmla="*/ 331 h 620"/>
              <a:gd name="T6" fmla="*/ 525 w 554"/>
              <a:gd name="T7" fmla="*/ 306 h 620"/>
              <a:gd name="T8" fmla="*/ 520 w 554"/>
              <a:gd name="T9" fmla="*/ 285 h 620"/>
              <a:gd name="T10" fmla="*/ 516 w 554"/>
              <a:gd name="T11" fmla="*/ 258 h 620"/>
              <a:gd name="T12" fmla="*/ 515 w 554"/>
              <a:gd name="T13" fmla="*/ 243 h 620"/>
              <a:gd name="T14" fmla="*/ 516 w 554"/>
              <a:gd name="T15" fmla="*/ 222 h 620"/>
              <a:gd name="T16" fmla="*/ 520 w 554"/>
              <a:gd name="T17" fmla="*/ 202 h 620"/>
              <a:gd name="T18" fmla="*/ 532 w 554"/>
              <a:gd name="T19" fmla="*/ 167 h 620"/>
              <a:gd name="T20" fmla="*/ 546 w 554"/>
              <a:gd name="T21" fmla="*/ 142 h 620"/>
              <a:gd name="T22" fmla="*/ 551 w 554"/>
              <a:gd name="T23" fmla="*/ 43 h 620"/>
              <a:gd name="T24" fmla="*/ 542 w 554"/>
              <a:gd name="T25" fmla="*/ 36 h 620"/>
              <a:gd name="T26" fmla="*/ 504 w 554"/>
              <a:gd name="T27" fmla="*/ 13 h 620"/>
              <a:gd name="T28" fmla="*/ 482 w 554"/>
              <a:gd name="T29" fmla="*/ 2 h 620"/>
              <a:gd name="T30" fmla="*/ 470 w 554"/>
              <a:gd name="T31" fmla="*/ 0 h 620"/>
              <a:gd name="T32" fmla="*/ 465 w 554"/>
              <a:gd name="T33" fmla="*/ 327 h 620"/>
              <a:gd name="T34" fmla="*/ 465 w 554"/>
              <a:gd name="T35" fmla="*/ 339 h 620"/>
              <a:gd name="T36" fmla="*/ 458 w 554"/>
              <a:gd name="T37" fmla="*/ 360 h 620"/>
              <a:gd name="T38" fmla="*/ 444 w 554"/>
              <a:gd name="T39" fmla="*/ 382 h 620"/>
              <a:gd name="T40" fmla="*/ 426 w 554"/>
              <a:gd name="T41" fmla="*/ 402 h 620"/>
              <a:gd name="T42" fmla="*/ 405 w 554"/>
              <a:gd name="T43" fmla="*/ 421 h 620"/>
              <a:gd name="T44" fmla="*/ 380 w 554"/>
              <a:gd name="T45" fmla="*/ 437 h 620"/>
              <a:gd name="T46" fmla="*/ 353 w 554"/>
              <a:gd name="T47" fmla="*/ 449 h 620"/>
              <a:gd name="T48" fmla="*/ 327 w 554"/>
              <a:gd name="T49" fmla="*/ 458 h 620"/>
              <a:gd name="T50" fmla="*/ 314 w 554"/>
              <a:gd name="T51" fmla="*/ 461 h 620"/>
              <a:gd name="T52" fmla="*/ 255 w 554"/>
              <a:gd name="T53" fmla="*/ 471 h 620"/>
              <a:gd name="T54" fmla="*/ 199 w 554"/>
              <a:gd name="T55" fmla="*/ 477 h 620"/>
              <a:gd name="T56" fmla="*/ 98 w 554"/>
              <a:gd name="T57" fmla="*/ 482 h 620"/>
              <a:gd name="T58" fmla="*/ 27 w 554"/>
              <a:gd name="T59" fmla="*/ 482 h 620"/>
              <a:gd name="T60" fmla="*/ 0 w 554"/>
              <a:gd name="T61" fmla="*/ 481 h 620"/>
              <a:gd name="T62" fmla="*/ 4 w 554"/>
              <a:gd name="T63" fmla="*/ 508 h 620"/>
              <a:gd name="T64" fmla="*/ 13 w 554"/>
              <a:gd name="T65" fmla="*/ 550 h 620"/>
              <a:gd name="T66" fmla="*/ 18 w 554"/>
              <a:gd name="T67" fmla="*/ 566 h 620"/>
              <a:gd name="T68" fmla="*/ 29 w 554"/>
              <a:gd name="T69" fmla="*/ 586 h 620"/>
              <a:gd name="T70" fmla="*/ 44 w 554"/>
              <a:gd name="T71" fmla="*/ 604 h 620"/>
              <a:gd name="T72" fmla="*/ 62 w 554"/>
              <a:gd name="T73" fmla="*/ 620 h 620"/>
              <a:gd name="T74" fmla="*/ 554 w 554"/>
              <a:gd name="T75" fmla="*/ 450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4" h="620">
                <a:moveTo>
                  <a:pt x="554" y="450"/>
                </a:moveTo>
                <a:lnTo>
                  <a:pt x="554" y="356"/>
                </a:lnTo>
                <a:lnTo>
                  <a:pt x="554" y="356"/>
                </a:lnTo>
                <a:lnTo>
                  <a:pt x="549" y="350"/>
                </a:lnTo>
                <a:lnTo>
                  <a:pt x="543" y="342"/>
                </a:lnTo>
                <a:lnTo>
                  <a:pt x="535" y="331"/>
                </a:lnTo>
                <a:lnTo>
                  <a:pt x="528" y="315"/>
                </a:lnTo>
                <a:lnTo>
                  <a:pt x="525" y="306"/>
                </a:lnTo>
                <a:lnTo>
                  <a:pt x="522" y="296"/>
                </a:lnTo>
                <a:lnTo>
                  <a:pt x="520" y="285"/>
                </a:lnTo>
                <a:lnTo>
                  <a:pt x="517" y="271"/>
                </a:lnTo>
                <a:lnTo>
                  <a:pt x="516" y="258"/>
                </a:lnTo>
                <a:lnTo>
                  <a:pt x="515" y="243"/>
                </a:lnTo>
                <a:lnTo>
                  <a:pt x="515" y="243"/>
                </a:lnTo>
                <a:lnTo>
                  <a:pt x="515" y="232"/>
                </a:lnTo>
                <a:lnTo>
                  <a:pt x="516" y="222"/>
                </a:lnTo>
                <a:lnTo>
                  <a:pt x="517" y="212"/>
                </a:lnTo>
                <a:lnTo>
                  <a:pt x="520" y="202"/>
                </a:lnTo>
                <a:lnTo>
                  <a:pt x="526" y="183"/>
                </a:lnTo>
                <a:lnTo>
                  <a:pt x="532" y="167"/>
                </a:lnTo>
                <a:lnTo>
                  <a:pt x="540" y="154"/>
                </a:lnTo>
                <a:lnTo>
                  <a:pt x="546" y="142"/>
                </a:lnTo>
                <a:lnTo>
                  <a:pt x="552" y="133"/>
                </a:lnTo>
                <a:lnTo>
                  <a:pt x="551" y="43"/>
                </a:lnTo>
                <a:lnTo>
                  <a:pt x="551" y="43"/>
                </a:lnTo>
                <a:lnTo>
                  <a:pt x="542" y="36"/>
                </a:lnTo>
                <a:lnTo>
                  <a:pt x="518" y="21"/>
                </a:lnTo>
                <a:lnTo>
                  <a:pt x="504" y="13"/>
                </a:lnTo>
                <a:lnTo>
                  <a:pt x="489" y="5"/>
                </a:lnTo>
                <a:lnTo>
                  <a:pt x="482" y="2"/>
                </a:lnTo>
                <a:lnTo>
                  <a:pt x="476" y="1"/>
                </a:lnTo>
                <a:lnTo>
                  <a:pt x="470" y="0"/>
                </a:lnTo>
                <a:lnTo>
                  <a:pt x="464" y="0"/>
                </a:lnTo>
                <a:lnTo>
                  <a:pt x="465" y="327"/>
                </a:lnTo>
                <a:lnTo>
                  <a:pt x="465" y="327"/>
                </a:lnTo>
                <a:lnTo>
                  <a:pt x="465" y="339"/>
                </a:lnTo>
                <a:lnTo>
                  <a:pt x="462" y="349"/>
                </a:lnTo>
                <a:lnTo>
                  <a:pt x="458" y="360"/>
                </a:lnTo>
                <a:lnTo>
                  <a:pt x="452" y="370"/>
                </a:lnTo>
                <a:lnTo>
                  <a:pt x="444" y="382"/>
                </a:lnTo>
                <a:lnTo>
                  <a:pt x="436" y="392"/>
                </a:lnTo>
                <a:lnTo>
                  <a:pt x="426" y="402"/>
                </a:lnTo>
                <a:lnTo>
                  <a:pt x="416" y="411"/>
                </a:lnTo>
                <a:lnTo>
                  <a:pt x="405" y="421"/>
                </a:lnTo>
                <a:lnTo>
                  <a:pt x="392" y="429"/>
                </a:lnTo>
                <a:lnTo>
                  <a:pt x="380" y="437"/>
                </a:lnTo>
                <a:lnTo>
                  <a:pt x="367" y="443"/>
                </a:lnTo>
                <a:lnTo>
                  <a:pt x="353" y="449"/>
                </a:lnTo>
                <a:lnTo>
                  <a:pt x="340" y="454"/>
                </a:lnTo>
                <a:lnTo>
                  <a:pt x="327" y="458"/>
                </a:lnTo>
                <a:lnTo>
                  <a:pt x="314" y="461"/>
                </a:lnTo>
                <a:lnTo>
                  <a:pt x="314" y="461"/>
                </a:lnTo>
                <a:lnTo>
                  <a:pt x="284" y="467"/>
                </a:lnTo>
                <a:lnTo>
                  <a:pt x="255" y="471"/>
                </a:lnTo>
                <a:lnTo>
                  <a:pt x="227" y="474"/>
                </a:lnTo>
                <a:lnTo>
                  <a:pt x="199" y="477"/>
                </a:lnTo>
                <a:lnTo>
                  <a:pt x="146" y="480"/>
                </a:lnTo>
                <a:lnTo>
                  <a:pt x="98" y="482"/>
                </a:lnTo>
                <a:lnTo>
                  <a:pt x="58" y="482"/>
                </a:lnTo>
                <a:lnTo>
                  <a:pt x="27" y="482"/>
                </a:lnTo>
                <a:lnTo>
                  <a:pt x="0" y="481"/>
                </a:lnTo>
                <a:lnTo>
                  <a:pt x="0" y="481"/>
                </a:lnTo>
                <a:lnTo>
                  <a:pt x="1" y="488"/>
                </a:lnTo>
                <a:lnTo>
                  <a:pt x="4" y="508"/>
                </a:lnTo>
                <a:lnTo>
                  <a:pt x="10" y="535"/>
                </a:lnTo>
                <a:lnTo>
                  <a:pt x="13" y="550"/>
                </a:lnTo>
                <a:lnTo>
                  <a:pt x="18" y="566"/>
                </a:lnTo>
                <a:lnTo>
                  <a:pt x="18" y="566"/>
                </a:lnTo>
                <a:lnTo>
                  <a:pt x="23" y="576"/>
                </a:lnTo>
                <a:lnTo>
                  <a:pt x="29" y="586"/>
                </a:lnTo>
                <a:lnTo>
                  <a:pt x="36" y="595"/>
                </a:lnTo>
                <a:lnTo>
                  <a:pt x="44" y="604"/>
                </a:lnTo>
                <a:lnTo>
                  <a:pt x="57" y="616"/>
                </a:lnTo>
                <a:lnTo>
                  <a:pt x="62" y="620"/>
                </a:lnTo>
                <a:lnTo>
                  <a:pt x="451" y="620"/>
                </a:lnTo>
                <a:lnTo>
                  <a:pt x="554" y="4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9" name="Freeform 36"/>
          <p:cNvSpPr>
            <a:spLocks/>
          </p:cNvSpPr>
          <p:nvPr userDrawn="1"/>
        </p:nvSpPr>
        <p:spPr bwMode="auto">
          <a:xfrm>
            <a:off x="7251700" y="1298278"/>
            <a:ext cx="57150" cy="17463"/>
          </a:xfrm>
          <a:custGeom>
            <a:avLst/>
            <a:gdLst>
              <a:gd name="T0" fmla="*/ 20 w 435"/>
              <a:gd name="T1" fmla="*/ 142 h 142"/>
              <a:gd name="T2" fmla="*/ 411 w 435"/>
              <a:gd name="T3" fmla="*/ 142 h 142"/>
              <a:gd name="T4" fmla="*/ 411 w 435"/>
              <a:gd name="T5" fmla="*/ 142 h 142"/>
              <a:gd name="T6" fmla="*/ 422 w 435"/>
              <a:gd name="T7" fmla="*/ 109 h 142"/>
              <a:gd name="T8" fmla="*/ 430 w 435"/>
              <a:gd name="T9" fmla="*/ 83 h 142"/>
              <a:gd name="T10" fmla="*/ 433 w 435"/>
              <a:gd name="T11" fmla="*/ 72 h 142"/>
              <a:gd name="T12" fmla="*/ 435 w 435"/>
              <a:gd name="T13" fmla="*/ 63 h 142"/>
              <a:gd name="T14" fmla="*/ 417 w 435"/>
              <a:gd name="T15" fmla="*/ 0 h 142"/>
              <a:gd name="T16" fmla="*/ 22 w 435"/>
              <a:gd name="T17" fmla="*/ 0 h 142"/>
              <a:gd name="T18" fmla="*/ 0 w 435"/>
              <a:gd name="T19" fmla="*/ 65 h 142"/>
              <a:gd name="T20" fmla="*/ 20 w 435"/>
              <a:gd name="T2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5" h="142">
                <a:moveTo>
                  <a:pt x="20" y="142"/>
                </a:moveTo>
                <a:lnTo>
                  <a:pt x="411" y="142"/>
                </a:lnTo>
                <a:lnTo>
                  <a:pt x="411" y="142"/>
                </a:lnTo>
                <a:lnTo>
                  <a:pt x="422" y="109"/>
                </a:lnTo>
                <a:lnTo>
                  <a:pt x="430" y="83"/>
                </a:lnTo>
                <a:lnTo>
                  <a:pt x="433" y="72"/>
                </a:lnTo>
                <a:lnTo>
                  <a:pt x="435" y="63"/>
                </a:lnTo>
                <a:lnTo>
                  <a:pt x="417" y="0"/>
                </a:lnTo>
                <a:lnTo>
                  <a:pt x="22" y="0"/>
                </a:lnTo>
                <a:lnTo>
                  <a:pt x="0" y="65"/>
                </a:lnTo>
                <a:lnTo>
                  <a:pt x="20" y="1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0" name="Freeform 37"/>
          <p:cNvSpPr>
            <a:spLocks/>
          </p:cNvSpPr>
          <p:nvPr userDrawn="1"/>
        </p:nvSpPr>
        <p:spPr bwMode="auto">
          <a:xfrm>
            <a:off x="7254875" y="1326853"/>
            <a:ext cx="57150" cy="66675"/>
          </a:xfrm>
          <a:custGeom>
            <a:avLst/>
            <a:gdLst>
              <a:gd name="T0" fmla="*/ 384 w 436"/>
              <a:gd name="T1" fmla="*/ 0 h 514"/>
              <a:gd name="T2" fmla="*/ 2 w 436"/>
              <a:gd name="T3" fmla="*/ 0 h 514"/>
              <a:gd name="T4" fmla="*/ 0 w 436"/>
              <a:gd name="T5" fmla="*/ 505 h 514"/>
              <a:gd name="T6" fmla="*/ 331 w 436"/>
              <a:gd name="T7" fmla="*/ 514 h 514"/>
              <a:gd name="T8" fmla="*/ 436 w 436"/>
              <a:gd name="T9" fmla="*/ 431 h 514"/>
              <a:gd name="T10" fmla="*/ 384 w 436"/>
              <a:gd name="T11" fmla="*/ 0 h 514"/>
            </a:gdLst>
            <a:ahLst/>
            <a:cxnLst>
              <a:cxn ang="0">
                <a:pos x="T0" y="T1"/>
              </a:cxn>
              <a:cxn ang="0">
                <a:pos x="T2" y="T3"/>
              </a:cxn>
              <a:cxn ang="0">
                <a:pos x="T4" y="T5"/>
              </a:cxn>
              <a:cxn ang="0">
                <a:pos x="T6" y="T7"/>
              </a:cxn>
              <a:cxn ang="0">
                <a:pos x="T8" y="T9"/>
              </a:cxn>
              <a:cxn ang="0">
                <a:pos x="T10" y="T11"/>
              </a:cxn>
            </a:cxnLst>
            <a:rect l="0" t="0" r="r" b="b"/>
            <a:pathLst>
              <a:path w="436" h="514">
                <a:moveTo>
                  <a:pt x="384" y="0"/>
                </a:moveTo>
                <a:lnTo>
                  <a:pt x="2" y="0"/>
                </a:lnTo>
                <a:lnTo>
                  <a:pt x="0" y="505"/>
                </a:lnTo>
                <a:lnTo>
                  <a:pt x="331" y="514"/>
                </a:lnTo>
                <a:lnTo>
                  <a:pt x="436" y="431"/>
                </a:lnTo>
                <a:lnTo>
                  <a:pt x="3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1" name="Freeform 38"/>
          <p:cNvSpPr>
            <a:spLocks/>
          </p:cNvSpPr>
          <p:nvPr userDrawn="1"/>
        </p:nvSpPr>
        <p:spPr bwMode="auto">
          <a:xfrm>
            <a:off x="7251700" y="1391940"/>
            <a:ext cx="77788" cy="68263"/>
          </a:xfrm>
          <a:custGeom>
            <a:avLst/>
            <a:gdLst>
              <a:gd name="T0" fmla="*/ 586 w 586"/>
              <a:gd name="T1" fmla="*/ 139 h 523"/>
              <a:gd name="T2" fmla="*/ 586 w 586"/>
              <a:gd name="T3" fmla="*/ 139 h 523"/>
              <a:gd name="T4" fmla="*/ 552 w 586"/>
              <a:gd name="T5" fmla="*/ 115 h 523"/>
              <a:gd name="T6" fmla="*/ 527 w 586"/>
              <a:gd name="T7" fmla="*/ 97 h 523"/>
              <a:gd name="T8" fmla="*/ 519 w 586"/>
              <a:gd name="T9" fmla="*/ 90 h 523"/>
              <a:gd name="T10" fmla="*/ 514 w 586"/>
              <a:gd name="T11" fmla="*/ 85 h 523"/>
              <a:gd name="T12" fmla="*/ 514 w 586"/>
              <a:gd name="T13" fmla="*/ 85 h 523"/>
              <a:gd name="T14" fmla="*/ 512 w 586"/>
              <a:gd name="T15" fmla="*/ 79 h 523"/>
              <a:gd name="T16" fmla="*/ 510 w 586"/>
              <a:gd name="T17" fmla="*/ 69 h 523"/>
              <a:gd name="T18" fmla="*/ 506 w 586"/>
              <a:gd name="T19" fmla="*/ 40 h 523"/>
              <a:gd name="T20" fmla="*/ 503 w 586"/>
              <a:gd name="T21" fmla="*/ 0 h 523"/>
              <a:gd name="T22" fmla="*/ 381 w 586"/>
              <a:gd name="T23" fmla="*/ 98 h 523"/>
              <a:gd name="T24" fmla="*/ 8 w 586"/>
              <a:gd name="T25" fmla="*/ 97 h 523"/>
              <a:gd name="T26" fmla="*/ 8 w 586"/>
              <a:gd name="T27" fmla="*/ 97 h 523"/>
              <a:gd name="T28" fmla="*/ 8 w 586"/>
              <a:gd name="T29" fmla="*/ 98 h 523"/>
              <a:gd name="T30" fmla="*/ 7 w 586"/>
              <a:gd name="T31" fmla="*/ 100 h 523"/>
              <a:gd name="T32" fmla="*/ 5 w 586"/>
              <a:gd name="T33" fmla="*/ 108 h 523"/>
              <a:gd name="T34" fmla="*/ 3 w 586"/>
              <a:gd name="T35" fmla="*/ 139 h 523"/>
              <a:gd name="T36" fmla="*/ 2 w 586"/>
              <a:gd name="T37" fmla="*/ 183 h 523"/>
              <a:gd name="T38" fmla="*/ 1 w 586"/>
              <a:gd name="T39" fmla="*/ 233 h 523"/>
              <a:gd name="T40" fmla="*/ 0 w 586"/>
              <a:gd name="T41" fmla="*/ 327 h 523"/>
              <a:gd name="T42" fmla="*/ 0 w 586"/>
              <a:gd name="T43" fmla="*/ 369 h 523"/>
              <a:gd name="T44" fmla="*/ 0 w 586"/>
              <a:gd name="T45" fmla="*/ 369 h 523"/>
              <a:gd name="T46" fmla="*/ 29 w 586"/>
              <a:gd name="T47" fmla="*/ 395 h 523"/>
              <a:gd name="T48" fmla="*/ 95 w 586"/>
              <a:gd name="T49" fmla="*/ 448 h 523"/>
              <a:gd name="T50" fmla="*/ 131 w 586"/>
              <a:gd name="T51" fmla="*/ 477 h 523"/>
              <a:gd name="T52" fmla="*/ 162 w 586"/>
              <a:gd name="T53" fmla="*/ 501 h 523"/>
              <a:gd name="T54" fmla="*/ 186 w 586"/>
              <a:gd name="T55" fmla="*/ 517 h 523"/>
              <a:gd name="T56" fmla="*/ 193 w 586"/>
              <a:gd name="T57" fmla="*/ 522 h 523"/>
              <a:gd name="T58" fmla="*/ 195 w 586"/>
              <a:gd name="T59" fmla="*/ 523 h 523"/>
              <a:gd name="T60" fmla="*/ 197 w 586"/>
              <a:gd name="T61" fmla="*/ 523 h 523"/>
              <a:gd name="T62" fmla="*/ 448 w 586"/>
              <a:gd name="T63" fmla="*/ 206 h 523"/>
              <a:gd name="T64" fmla="*/ 586 w 586"/>
              <a:gd name="T65" fmla="*/ 139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86" h="523">
                <a:moveTo>
                  <a:pt x="586" y="139"/>
                </a:moveTo>
                <a:lnTo>
                  <a:pt x="586" y="139"/>
                </a:lnTo>
                <a:lnTo>
                  <a:pt x="552" y="115"/>
                </a:lnTo>
                <a:lnTo>
                  <a:pt x="527" y="97"/>
                </a:lnTo>
                <a:lnTo>
                  <a:pt x="519" y="90"/>
                </a:lnTo>
                <a:lnTo>
                  <a:pt x="514" y="85"/>
                </a:lnTo>
                <a:lnTo>
                  <a:pt x="514" y="85"/>
                </a:lnTo>
                <a:lnTo>
                  <a:pt x="512" y="79"/>
                </a:lnTo>
                <a:lnTo>
                  <a:pt x="510" y="69"/>
                </a:lnTo>
                <a:lnTo>
                  <a:pt x="506" y="40"/>
                </a:lnTo>
                <a:lnTo>
                  <a:pt x="503" y="0"/>
                </a:lnTo>
                <a:lnTo>
                  <a:pt x="381" y="98"/>
                </a:lnTo>
                <a:lnTo>
                  <a:pt x="8" y="97"/>
                </a:lnTo>
                <a:lnTo>
                  <a:pt x="8" y="97"/>
                </a:lnTo>
                <a:lnTo>
                  <a:pt x="8" y="98"/>
                </a:lnTo>
                <a:lnTo>
                  <a:pt x="7" y="100"/>
                </a:lnTo>
                <a:lnTo>
                  <a:pt x="5" y="108"/>
                </a:lnTo>
                <a:lnTo>
                  <a:pt x="3" y="139"/>
                </a:lnTo>
                <a:lnTo>
                  <a:pt x="2" y="183"/>
                </a:lnTo>
                <a:lnTo>
                  <a:pt x="1" y="233"/>
                </a:lnTo>
                <a:lnTo>
                  <a:pt x="0" y="327"/>
                </a:lnTo>
                <a:lnTo>
                  <a:pt x="0" y="369"/>
                </a:lnTo>
                <a:lnTo>
                  <a:pt x="0" y="369"/>
                </a:lnTo>
                <a:lnTo>
                  <a:pt x="29" y="395"/>
                </a:lnTo>
                <a:lnTo>
                  <a:pt x="95" y="448"/>
                </a:lnTo>
                <a:lnTo>
                  <a:pt x="131" y="477"/>
                </a:lnTo>
                <a:lnTo>
                  <a:pt x="162" y="501"/>
                </a:lnTo>
                <a:lnTo>
                  <a:pt x="186" y="517"/>
                </a:lnTo>
                <a:lnTo>
                  <a:pt x="193" y="522"/>
                </a:lnTo>
                <a:lnTo>
                  <a:pt x="195" y="523"/>
                </a:lnTo>
                <a:lnTo>
                  <a:pt x="197" y="523"/>
                </a:lnTo>
                <a:lnTo>
                  <a:pt x="448" y="206"/>
                </a:lnTo>
                <a:lnTo>
                  <a:pt x="586" y="13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2" name="Freeform 39"/>
          <p:cNvSpPr>
            <a:spLocks/>
          </p:cNvSpPr>
          <p:nvPr userDrawn="1"/>
        </p:nvSpPr>
        <p:spPr bwMode="auto">
          <a:xfrm>
            <a:off x="7288212" y="1417340"/>
            <a:ext cx="115888" cy="66675"/>
          </a:xfrm>
          <a:custGeom>
            <a:avLst/>
            <a:gdLst>
              <a:gd name="T0" fmla="*/ 226 w 879"/>
              <a:gd name="T1" fmla="*/ 65 h 509"/>
              <a:gd name="T2" fmla="*/ 0 w 879"/>
              <a:gd name="T3" fmla="*/ 355 h 509"/>
              <a:gd name="T4" fmla="*/ 369 w 879"/>
              <a:gd name="T5" fmla="*/ 509 h 509"/>
              <a:gd name="T6" fmla="*/ 369 w 879"/>
              <a:gd name="T7" fmla="*/ 509 h 509"/>
              <a:gd name="T8" fmla="*/ 409 w 879"/>
              <a:gd name="T9" fmla="*/ 487 h 509"/>
              <a:gd name="T10" fmla="*/ 452 w 879"/>
              <a:gd name="T11" fmla="*/ 464 h 509"/>
              <a:gd name="T12" fmla="*/ 495 w 879"/>
              <a:gd name="T13" fmla="*/ 439 h 509"/>
              <a:gd name="T14" fmla="*/ 538 w 879"/>
              <a:gd name="T15" fmla="*/ 413 h 509"/>
              <a:gd name="T16" fmla="*/ 623 w 879"/>
              <a:gd name="T17" fmla="*/ 361 h 509"/>
              <a:gd name="T18" fmla="*/ 703 w 879"/>
              <a:gd name="T19" fmla="*/ 311 h 509"/>
              <a:gd name="T20" fmla="*/ 773 w 879"/>
              <a:gd name="T21" fmla="*/ 266 h 509"/>
              <a:gd name="T22" fmla="*/ 829 w 879"/>
              <a:gd name="T23" fmla="*/ 229 h 509"/>
              <a:gd name="T24" fmla="*/ 879 w 879"/>
              <a:gd name="T25" fmla="*/ 196 h 509"/>
              <a:gd name="T26" fmla="*/ 359 w 879"/>
              <a:gd name="T27" fmla="*/ 0 h 509"/>
              <a:gd name="T28" fmla="*/ 226 w 879"/>
              <a:gd name="T29" fmla="*/ 65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9" h="509">
                <a:moveTo>
                  <a:pt x="226" y="65"/>
                </a:moveTo>
                <a:lnTo>
                  <a:pt x="0" y="355"/>
                </a:lnTo>
                <a:lnTo>
                  <a:pt x="369" y="509"/>
                </a:lnTo>
                <a:lnTo>
                  <a:pt x="369" y="509"/>
                </a:lnTo>
                <a:lnTo>
                  <a:pt x="409" y="487"/>
                </a:lnTo>
                <a:lnTo>
                  <a:pt x="452" y="464"/>
                </a:lnTo>
                <a:lnTo>
                  <a:pt x="495" y="439"/>
                </a:lnTo>
                <a:lnTo>
                  <a:pt x="538" y="413"/>
                </a:lnTo>
                <a:lnTo>
                  <a:pt x="623" y="361"/>
                </a:lnTo>
                <a:lnTo>
                  <a:pt x="703" y="311"/>
                </a:lnTo>
                <a:lnTo>
                  <a:pt x="773" y="266"/>
                </a:lnTo>
                <a:lnTo>
                  <a:pt x="829" y="229"/>
                </a:lnTo>
                <a:lnTo>
                  <a:pt x="879" y="196"/>
                </a:lnTo>
                <a:lnTo>
                  <a:pt x="359" y="0"/>
                </a:lnTo>
                <a:lnTo>
                  <a:pt x="226" y="6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3" name="Freeform 40"/>
          <p:cNvSpPr>
            <a:spLocks/>
          </p:cNvSpPr>
          <p:nvPr userDrawn="1"/>
        </p:nvSpPr>
        <p:spPr bwMode="auto">
          <a:xfrm>
            <a:off x="7323137" y="1172865"/>
            <a:ext cx="26988" cy="123825"/>
          </a:xfrm>
          <a:custGeom>
            <a:avLst/>
            <a:gdLst>
              <a:gd name="T0" fmla="*/ 170 w 211"/>
              <a:gd name="T1" fmla="*/ 388 h 928"/>
              <a:gd name="T2" fmla="*/ 169 w 211"/>
              <a:gd name="T3" fmla="*/ 133 h 928"/>
              <a:gd name="T4" fmla="*/ 171 w 211"/>
              <a:gd name="T5" fmla="*/ 84 h 928"/>
              <a:gd name="T6" fmla="*/ 172 w 211"/>
              <a:gd name="T7" fmla="*/ 79 h 928"/>
              <a:gd name="T8" fmla="*/ 182 w 211"/>
              <a:gd name="T9" fmla="*/ 64 h 928"/>
              <a:gd name="T10" fmla="*/ 188 w 211"/>
              <a:gd name="T11" fmla="*/ 53 h 928"/>
              <a:gd name="T12" fmla="*/ 192 w 211"/>
              <a:gd name="T13" fmla="*/ 36 h 928"/>
              <a:gd name="T14" fmla="*/ 191 w 211"/>
              <a:gd name="T15" fmla="*/ 18 h 928"/>
              <a:gd name="T16" fmla="*/ 188 w 211"/>
              <a:gd name="T17" fmla="*/ 0 h 928"/>
              <a:gd name="T18" fmla="*/ 6 w 211"/>
              <a:gd name="T19" fmla="*/ 0 h 928"/>
              <a:gd name="T20" fmla="*/ 4 w 211"/>
              <a:gd name="T21" fmla="*/ 8 h 928"/>
              <a:gd name="T22" fmla="*/ 5 w 211"/>
              <a:gd name="T23" fmla="*/ 33 h 928"/>
              <a:gd name="T24" fmla="*/ 7 w 211"/>
              <a:gd name="T25" fmla="*/ 43 h 928"/>
              <a:gd name="T26" fmla="*/ 17 w 211"/>
              <a:gd name="T27" fmla="*/ 65 h 928"/>
              <a:gd name="T28" fmla="*/ 28 w 211"/>
              <a:gd name="T29" fmla="*/ 80 h 928"/>
              <a:gd name="T30" fmla="*/ 33 w 211"/>
              <a:gd name="T31" fmla="*/ 388 h 928"/>
              <a:gd name="T32" fmla="*/ 29 w 211"/>
              <a:gd name="T33" fmla="*/ 395 h 928"/>
              <a:gd name="T34" fmla="*/ 19 w 211"/>
              <a:gd name="T35" fmla="*/ 412 h 928"/>
              <a:gd name="T36" fmla="*/ 9 w 211"/>
              <a:gd name="T37" fmla="*/ 443 h 928"/>
              <a:gd name="T38" fmla="*/ 0 w 211"/>
              <a:gd name="T39" fmla="*/ 487 h 928"/>
              <a:gd name="T40" fmla="*/ 0 w 211"/>
              <a:gd name="T41" fmla="*/ 498 h 928"/>
              <a:gd name="T42" fmla="*/ 1 w 211"/>
              <a:gd name="T43" fmla="*/ 518 h 928"/>
              <a:gd name="T44" fmla="*/ 10 w 211"/>
              <a:gd name="T45" fmla="*/ 546 h 928"/>
              <a:gd name="T46" fmla="*/ 23 w 211"/>
              <a:gd name="T47" fmla="*/ 576 h 928"/>
              <a:gd name="T48" fmla="*/ 35 w 211"/>
              <a:gd name="T49" fmla="*/ 594 h 928"/>
              <a:gd name="T50" fmla="*/ 31 w 211"/>
              <a:gd name="T51" fmla="*/ 850 h 928"/>
              <a:gd name="T52" fmla="*/ 23 w 211"/>
              <a:gd name="T53" fmla="*/ 859 h 928"/>
              <a:gd name="T54" fmla="*/ 18 w 211"/>
              <a:gd name="T55" fmla="*/ 871 h 928"/>
              <a:gd name="T56" fmla="*/ 14 w 211"/>
              <a:gd name="T57" fmla="*/ 888 h 928"/>
              <a:gd name="T58" fmla="*/ 14 w 211"/>
              <a:gd name="T59" fmla="*/ 898 h 928"/>
              <a:gd name="T60" fmla="*/ 15 w 211"/>
              <a:gd name="T61" fmla="*/ 919 h 928"/>
              <a:gd name="T62" fmla="*/ 18 w 211"/>
              <a:gd name="T63" fmla="*/ 928 h 928"/>
              <a:gd name="T64" fmla="*/ 188 w 211"/>
              <a:gd name="T65" fmla="*/ 928 h 928"/>
              <a:gd name="T66" fmla="*/ 191 w 211"/>
              <a:gd name="T67" fmla="*/ 906 h 928"/>
              <a:gd name="T68" fmla="*/ 190 w 211"/>
              <a:gd name="T69" fmla="*/ 881 h 928"/>
              <a:gd name="T70" fmla="*/ 188 w 211"/>
              <a:gd name="T71" fmla="*/ 873 h 928"/>
              <a:gd name="T72" fmla="*/ 179 w 211"/>
              <a:gd name="T73" fmla="*/ 857 h 928"/>
              <a:gd name="T74" fmla="*/ 169 w 211"/>
              <a:gd name="T75" fmla="*/ 846 h 928"/>
              <a:gd name="T76" fmla="*/ 168 w 211"/>
              <a:gd name="T77" fmla="*/ 594 h 928"/>
              <a:gd name="T78" fmla="*/ 190 w 211"/>
              <a:gd name="T79" fmla="*/ 561 h 928"/>
              <a:gd name="T80" fmla="*/ 202 w 211"/>
              <a:gd name="T81" fmla="*/ 537 h 928"/>
              <a:gd name="T82" fmla="*/ 210 w 211"/>
              <a:gd name="T83" fmla="*/ 507 h 928"/>
              <a:gd name="T84" fmla="*/ 211 w 211"/>
              <a:gd name="T85" fmla="*/ 491 h 928"/>
              <a:gd name="T86" fmla="*/ 211 w 211"/>
              <a:gd name="T87" fmla="*/ 482 h 928"/>
              <a:gd name="T88" fmla="*/ 206 w 211"/>
              <a:gd name="T89" fmla="*/ 458 h 928"/>
              <a:gd name="T90" fmla="*/ 195 w 211"/>
              <a:gd name="T91" fmla="*/ 428 h 928"/>
              <a:gd name="T92" fmla="*/ 181 w 211"/>
              <a:gd name="T93" fmla="*/ 405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1" h="928">
                <a:moveTo>
                  <a:pt x="170" y="388"/>
                </a:moveTo>
                <a:lnTo>
                  <a:pt x="170" y="388"/>
                </a:lnTo>
                <a:lnTo>
                  <a:pt x="169" y="238"/>
                </a:lnTo>
                <a:lnTo>
                  <a:pt x="169" y="133"/>
                </a:lnTo>
                <a:lnTo>
                  <a:pt x="170" y="96"/>
                </a:lnTo>
                <a:lnTo>
                  <a:pt x="171" y="84"/>
                </a:lnTo>
                <a:lnTo>
                  <a:pt x="172" y="79"/>
                </a:lnTo>
                <a:lnTo>
                  <a:pt x="172" y="79"/>
                </a:lnTo>
                <a:lnTo>
                  <a:pt x="177" y="71"/>
                </a:lnTo>
                <a:lnTo>
                  <a:pt x="182" y="64"/>
                </a:lnTo>
                <a:lnTo>
                  <a:pt x="188" y="53"/>
                </a:lnTo>
                <a:lnTo>
                  <a:pt x="188" y="53"/>
                </a:lnTo>
                <a:lnTo>
                  <a:pt x="191" y="45"/>
                </a:lnTo>
                <a:lnTo>
                  <a:pt x="192" y="36"/>
                </a:lnTo>
                <a:lnTo>
                  <a:pt x="192" y="28"/>
                </a:lnTo>
                <a:lnTo>
                  <a:pt x="191" y="18"/>
                </a:lnTo>
                <a:lnTo>
                  <a:pt x="189" y="5"/>
                </a:lnTo>
                <a:lnTo>
                  <a:pt x="188" y="0"/>
                </a:lnTo>
                <a:lnTo>
                  <a:pt x="6" y="0"/>
                </a:lnTo>
                <a:lnTo>
                  <a:pt x="6" y="0"/>
                </a:lnTo>
                <a:lnTo>
                  <a:pt x="5" y="4"/>
                </a:lnTo>
                <a:lnTo>
                  <a:pt x="4" y="8"/>
                </a:lnTo>
                <a:lnTo>
                  <a:pt x="4" y="20"/>
                </a:lnTo>
                <a:lnTo>
                  <a:pt x="5" y="33"/>
                </a:lnTo>
                <a:lnTo>
                  <a:pt x="7" y="43"/>
                </a:lnTo>
                <a:lnTo>
                  <a:pt x="7" y="43"/>
                </a:lnTo>
                <a:lnTo>
                  <a:pt x="11" y="54"/>
                </a:lnTo>
                <a:lnTo>
                  <a:pt x="17" y="65"/>
                </a:lnTo>
                <a:lnTo>
                  <a:pt x="24" y="76"/>
                </a:lnTo>
                <a:lnTo>
                  <a:pt x="28" y="80"/>
                </a:lnTo>
                <a:lnTo>
                  <a:pt x="33" y="83"/>
                </a:lnTo>
                <a:lnTo>
                  <a:pt x="33" y="388"/>
                </a:lnTo>
                <a:lnTo>
                  <a:pt x="33" y="388"/>
                </a:lnTo>
                <a:lnTo>
                  <a:pt x="29" y="395"/>
                </a:lnTo>
                <a:lnTo>
                  <a:pt x="24" y="402"/>
                </a:lnTo>
                <a:lnTo>
                  <a:pt x="19" y="412"/>
                </a:lnTo>
                <a:lnTo>
                  <a:pt x="14" y="426"/>
                </a:lnTo>
                <a:lnTo>
                  <a:pt x="9" y="443"/>
                </a:lnTo>
                <a:lnTo>
                  <a:pt x="4" y="463"/>
                </a:lnTo>
                <a:lnTo>
                  <a:pt x="0" y="487"/>
                </a:lnTo>
                <a:lnTo>
                  <a:pt x="0" y="487"/>
                </a:lnTo>
                <a:lnTo>
                  <a:pt x="0" y="498"/>
                </a:lnTo>
                <a:lnTo>
                  <a:pt x="0" y="508"/>
                </a:lnTo>
                <a:lnTo>
                  <a:pt x="1" y="518"/>
                </a:lnTo>
                <a:lnTo>
                  <a:pt x="4" y="529"/>
                </a:lnTo>
                <a:lnTo>
                  <a:pt x="10" y="546"/>
                </a:lnTo>
                <a:lnTo>
                  <a:pt x="16" y="562"/>
                </a:lnTo>
                <a:lnTo>
                  <a:pt x="23" y="576"/>
                </a:lnTo>
                <a:lnTo>
                  <a:pt x="29" y="585"/>
                </a:lnTo>
                <a:lnTo>
                  <a:pt x="35" y="594"/>
                </a:lnTo>
                <a:lnTo>
                  <a:pt x="31" y="850"/>
                </a:lnTo>
                <a:lnTo>
                  <a:pt x="31" y="850"/>
                </a:lnTo>
                <a:lnTo>
                  <a:pt x="29" y="852"/>
                </a:lnTo>
                <a:lnTo>
                  <a:pt x="23" y="859"/>
                </a:lnTo>
                <a:lnTo>
                  <a:pt x="20" y="864"/>
                </a:lnTo>
                <a:lnTo>
                  <a:pt x="18" y="871"/>
                </a:lnTo>
                <a:lnTo>
                  <a:pt x="15" y="879"/>
                </a:lnTo>
                <a:lnTo>
                  <a:pt x="14" y="888"/>
                </a:lnTo>
                <a:lnTo>
                  <a:pt x="14" y="888"/>
                </a:lnTo>
                <a:lnTo>
                  <a:pt x="14" y="898"/>
                </a:lnTo>
                <a:lnTo>
                  <a:pt x="14" y="906"/>
                </a:lnTo>
                <a:lnTo>
                  <a:pt x="15" y="919"/>
                </a:lnTo>
                <a:lnTo>
                  <a:pt x="17" y="926"/>
                </a:lnTo>
                <a:lnTo>
                  <a:pt x="18" y="928"/>
                </a:lnTo>
                <a:lnTo>
                  <a:pt x="188" y="928"/>
                </a:lnTo>
                <a:lnTo>
                  <a:pt x="188" y="928"/>
                </a:lnTo>
                <a:lnTo>
                  <a:pt x="190" y="920"/>
                </a:lnTo>
                <a:lnTo>
                  <a:pt x="191" y="906"/>
                </a:lnTo>
                <a:lnTo>
                  <a:pt x="190" y="889"/>
                </a:lnTo>
                <a:lnTo>
                  <a:pt x="190" y="881"/>
                </a:lnTo>
                <a:lnTo>
                  <a:pt x="188" y="873"/>
                </a:lnTo>
                <a:lnTo>
                  <a:pt x="188" y="873"/>
                </a:lnTo>
                <a:lnTo>
                  <a:pt x="185" y="864"/>
                </a:lnTo>
                <a:lnTo>
                  <a:pt x="179" y="857"/>
                </a:lnTo>
                <a:lnTo>
                  <a:pt x="174" y="851"/>
                </a:lnTo>
                <a:lnTo>
                  <a:pt x="169" y="846"/>
                </a:lnTo>
                <a:lnTo>
                  <a:pt x="168" y="594"/>
                </a:lnTo>
                <a:lnTo>
                  <a:pt x="168" y="594"/>
                </a:lnTo>
                <a:lnTo>
                  <a:pt x="181" y="573"/>
                </a:lnTo>
                <a:lnTo>
                  <a:pt x="190" y="561"/>
                </a:lnTo>
                <a:lnTo>
                  <a:pt x="196" y="550"/>
                </a:lnTo>
                <a:lnTo>
                  <a:pt x="202" y="537"/>
                </a:lnTo>
                <a:lnTo>
                  <a:pt x="207" y="522"/>
                </a:lnTo>
                <a:lnTo>
                  <a:pt x="210" y="507"/>
                </a:lnTo>
                <a:lnTo>
                  <a:pt x="211" y="499"/>
                </a:lnTo>
                <a:lnTo>
                  <a:pt x="211" y="491"/>
                </a:lnTo>
                <a:lnTo>
                  <a:pt x="211" y="491"/>
                </a:lnTo>
                <a:lnTo>
                  <a:pt x="211" y="482"/>
                </a:lnTo>
                <a:lnTo>
                  <a:pt x="210" y="473"/>
                </a:lnTo>
                <a:lnTo>
                  <a:pt x="206" y="458"/>
                </a:lnTo>
                <a:lnTo>
                  <a:pt x="201" y="443"/>
                </a:lnTo>
                <a:lnTo>
                  <a:pt x="195" y="428"/>
                </a:lnTo>
                <a:lnTo>
                  <a:pt x="189" y="416"/>
                </a:lnTo>
                <a:lnTo>
                  <a:pt x="181" y="405"/>
                </a:lnTo>
                <a:lnTo>
                  <a:pt x="170" y="3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4" name="Freeform 41"/>
          <p:cNvSpPr>
            <a:spLocks/>
          </p:cNvSpPr>
          <p:nvPr userDrawn="1"/>
        </p:nvSpPr>
        <p:spPr bwMode="auto">
          <a:xfrm>
            <a:off x="7351712" y="1209378"/>
            <a:ext cx="80963" cy="58738"/>
          </a:xfrm>
          <a:custGeom>
            <a:avLst/>
            <a:gdLst>
              <a:gd name="T0" fmla="*/ 617 w 617"/>
              <a:gd name="T1" fmla="*/ 73 h 442"/>
              <a:gd name="T2" fmla="*/ 433 w 617"/>
              <a:gd name="T3" fmla="*/ 70 h 442"/>
              <a:gd name="T4" fmla="*/ 202 w 617"/>
              <a:gd name="T5" fmla="*/ 68 h 442"/>
              <a:gd name="T6" fmla="*/ 195 w 617"/>
              <a:gd name="T7" fmla="*/ 67 h 442"/>
              <a:gd name="T8" fmla="*/ 174 w 617"/>
              <a:gd name="T9" fmla="*/ 61 h 442"/>
              <a:gd name="T10" fmla="*/ 137 w 617"/>
              <a:gd name="T11" fmla="*/ 44 h 442"/>
              <a:gd name="T12" fmla="*/ 84 w 617"/>
              <a:gd name="T13" fmla="*/ 16 h 442"/>
              <a:gd name="T14" fmla="*/ 53 w 617"/>
              <a:gd name="T15" fmla="*/ 2 h 442"/>
              <a:gd name="T16" fmla="*/ 40 w 617"/>
              <a:gd name="T17" fmla="*/ 0 h 442"/>
              <a:gd name="T18" fmla="*/ 37 w 617"/>
              <a:gd name="T19" fmla="*/ 2 h 442"/>
              <a:gd name="T20" fmla="*/ 22 w 617"/>
              <a:gd name="T21" fmla="*/ 38 h 442"/>
              <a:gd name="T22" fmla="*/ 1 w 617"/>
              <a:gd name="T23" fmla="*/ 91 h 442"/>
              <a:gd name="T24" fmla="*/ 19 w 617"/>
              <a:gd name="T25" fmla="*/ 113 h 442"/>
              <a:gd name="T26" fmla="*/ 38 w 617"/>
              <a:gd name="T27" fmla="*/ 147 h 442"/>
              <a:gd name="T28" fmla="*/ 47 w 617"/>
              <a:gd name="T29" fmla="*/ 169 h 442"/>
              <a:gd name="T30" fmla="*/ 52 w 617"/>
              <a:gd name="T31" fmla="*/ 191 h 442"/>
              <a:gd name="T32" fmla="*/ 55 w 617"/>
              <a:gd name="T33" fmla="*/ 216 h 442"/>
              <a:gd name="T34" fmla="*/ 53 w 617"/>
              <a:gd name="T35" fmla="*/ 235 h 442"/>
              <a:gd name="T36" fmla="*/ 48 w 617"/>
              <a:gd name="T37" fmla="*/ 265 h 442"/>
              <a:gd name="T38" fmla="*/ 42 w 617"/>
              <a:gd name="T39" fmla="*/ 283 h 442"/>
              <a:gd name="T40" fmla="*/ 32 w 617"/>
              <a:gd name="T41" fmla="*/ 304 h 442"/>
              <a:gd name="T42" fmla="*/ 19 w 617"/>
              <a:gd name="T43" fmla="*/ 324 h 442"/>
              <a:gd name="T44" fmla="*/ 0 w 617"/>
              <a:gd name="T45" fmla="*/ 345 h 442"/>
              <a:gd name="T46" fmla="*/ 23 w 617"/>
              <a:gd name="T47" fmla="*/ 391 h 442"/>
              <a:gd name="T48" fmla="*/ 47 w 617"/>
              <a:gd name="T49" fmla="*/ 435 h 442"/>
              <a:gd name="T50" fmla="*/ 52 w 617"/>
              <a:gd name="T51" fmla="*/ 442 h 442"/>
              <a:gd name="T52" fmla="*/ 84 w 617"/>
              <a:gd name="T53" fmla="*/ 423 h 442"/>
              <a:gd name="T54" fmla="*/ 129 w 617"/>
              <a:gd name="T55" fmla="*/ 400 h 442"/>
              <a:gd name="T56" fmla="*/ 183 w 617"/>
              <a:gd name="T57" fmla="*/ 378 h 442"/>
              <a:gd name="T58" fmla="*/ 211 w 617"/>
              <a:gd name="T59" fmla="*/ 371 h 442"/>
              <a:gd name="T60" fmla="*/ 224 w 617"/>
              <a:gd name="T61" fmla="*/ 369 h 442"/>
              <a:gd name="T62" fmla="*/ 330 w 617"/>
              <a:gd name="T63" fmla="*/ 363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17" h="442">
                <a:moveTo>
                  <a:pt x="330" y="363"/>
                </a:moveTo>
                <a:lnTo>
                  <a:pt x="617" y="73"/>
                </a:lnTo>
                <a:lnTo>
                  <a:pt x="617" y="73"/>
                </a:lnTo>
                <a:lnTo>
                  <a:pt x="433" y="70"/>
                </a:lnTo>
                <a:lnTo>
                  <a:pt x="324" y="69"/>
                </a:lnTo>
                <a:lnTo>
                  <a:pt x="202" y="68"/>
                </a:lnTo>
                <a:lnTo>
                  <a:pt x="202" y="68"/>
                </a:lnTo>
                <a:lnTo>
                  <a:pt x="195" y="67"/>
                </a:lnTo>
                <a:lnTo>
                  <a:pt x="185" y="65"/>
                </a:lnTo>
                <a:lnTo>
                  <a:pt x="174" y="61"/>
                </a:lnTo>
                <a:lnTo>
                  <a:pt x="163" y="56"/>
                </a:lnTo>
                <a:lnTo>
                  <a:pt x="137" y="44"/>
                </a:lnTo>
                <a:lnTo>
                  <a:pt x="110" y="30"/>
                </a:lnTo>
                <a:lnTo>
                  <a:pt x="84" y="16"/>
                </a:lnTo>
                <a:lnTo>
                  <a:pt x="63" y="6"/>
                </a:lnTo>
                <a:lnTo>
                  <a:pt x="53" y="2"/>
                </a:lnTo>
                <a:lnTo>
                  <a:pt x="45" y="1"/>
                </a:lnTo>
                <a:lnTo>
                  <a:pt x="40" y="0"/>
                </a:lnTo>
                <a:lnTo>
                  <a:pt x="38" y="1"/>
                </a:lnTo>
                <a:lnTo>
                  <a:pt x="37" y="2"/>
                </a:lnTo>
                <a:lnTo>
                  <a:pt x="37" y="2"/>
                </a:lnTo>
                <a:lnTo>
                  <a:pt x="22" y="38"/>
                </a:lnTo>
                <a:lnTo>
                  <a:pt x="1" y="91"/>
                </a:lnTo>
                <a:lnTo>
                  <a:pt x="1" y="91"/>
                </a:lnTo>
                <a:lnTo>
                  <a:pt x="10" y="101"/>
                </a:lnTo>
                <a:lnTo>
                  <a:pt x="19" y="113"/>
                </a:lnTo>
                <a:lnTo>
                  <a:pt x="29" y="129"/>
                </a:lnTo>
                <a:lnTo>
                  <a:pt x="38" y="147"/>
                </a:lnTo>
                <a:lnTo>
                  <a:pt x="43" y="157"/>
                </a:lnTo>
                <a:lnTo>
                  <a:pt x="47" y="169"/>
                </a:lnTo>
                <a:lnTo>
                  <a:pt x="50" y="180"/>
                </a:lnTo>
                <a:lnTo>
                  <a:pt x="52" y="191"/>
                </a:lnTo>
                <a:lnTo>
                  <a:pt x="55" y="203"/>
                </a:lnTo>
                <a:lnTo>
                  <a:pt x="55" y="216"/>
                </a:lnTo>
                <a:lnTo>
                  <a:pt x="55" y="216"/>
                </a:lnTo>
                <a:lnTo>
                  <a:pt x="53" y="235"/>
                </a:lnTo>
                <a:lnTo>
                  <a:pt x="51" y="248"/>
                </a:lnTo>
                <a:lnTo>
                  <a:pt x="48" y="265"/>
                </a:lnTo>
                <a:lnTo>
                  <a:pt x="45" y="274"/>
                </a:lnTo>
                <a:lnTo>
                  <a:pt x="42" y="283"/>
                </a:lnTo>
                <a:lnTo>
                  <a:pt x="38" y="293"/>
                </a:lnTo>
                <a:lnTo>
                  <a:pt x="32" y="304"/>
                </a:lnTo>
                <a:lnTo>
                  <a:pt x="26" y="313"/>
                </a:lnTo>
                <a:lnTo>
                  <a:pt x="19" y="324"/>
                </a:lnTo>
                <a:lnTo>
                  <a:pt x="11" y="334"/>
                </a:lnTo>
                <a:lnTo>
                  <a:pt x="0" y="345"/>
                </a:lnTo>
                <a:lnTo>
                  <a:pt x="0" y="345"/>
                </a:lnTo>
                <a:lnTo>
                  <a:pt x="23" y="391"/>
                </a:lnTo>
                <a:lnTo>
                  <a:pt x="40" y="423"/>
                </a:lnTo>
                <a:lnTo>
                  <a:pt x="47" y="435"/>
                </a:lnTo>
                <a:lnTo>
                  <a:pt x="52" y="442"/>
                </a:lnTo>
                <a:lnTo>
                  <a:pt x="52" y="442"/>
                </a:lnTo>
                <a:lnTo>
                  <a:pt x="67" y="433"/>
                </a:lnTo>
                <a:lnTo>
                  <a:pt x="84" y="423"/>
                </a:lnTo>
                <a:lnTo>
                  <a:pt x="105" y="412"/>
                </a:lnTo>
                <a:lnTo>
                  <a:pt x="129" y="400"/>
                </a:lnTo>
                <a:lnTo>
                  <a:pt x="156" y="388"/>
                </a:lnTo>
                <a:lnTo>
                  <a:pt x="183" y="378"/>
                </a:lnTo>
                <a:lnTo>
                  <a:pt x="198" y="374"/>
                </a:lnTo>
                <a:lnTo>
                  <a:pt x="211" y="371"/>
                </a:lnTo>
                <a:lnTo>
                  <a:pt x="211" y="371"/>
                </a:lnTo>
                <a:lnTo>
                  <a:pt x="224" y="369"/>
                </a:lnTo>
                <a:lnTo>
                  <a:pt x="248" y="367"/>
                </a:lnTo>
                <a:lnTo>
                  <a:pt x="330" y="36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5" name="Freeform 42"/>
          <p:cNvSpPr>
            <a:spLocks/>
          </p:cNvSpPr>
          <p:nvPr userDrawn="1"/>
        </p:nvSpPr>
        <p:spPr bwMode="auto">
          <a:xfrm>
            <a:off x="7453312" y="1131590"/>
            <a:ext cx="158750" cy="127000"/>
          </a:xfrm>
          <a:custGeom>
            <a:avLst/>
            <a:gdLst>
              <a:gd name="T0" fmla="*/ 1179 w 1207"/>
              <a:gd name="T1" fmla="*/ 480 h 962"/>
              <a:gd name="T2" fmla="*/ 1115 w 1207"/>
              <a:gd name="T3" fmla="*/ 496 h 962"/>
              <a:gd name="T4" fmla="*/ 1079 w 1207"/>
              <a:gd name="T5" fmla="*/ 532 h 962"/>
              <a:gd name="T6" fmla="*/ 1057 w 1207"/>
              <a:gd name="T7" fmla="*/ 600 h 962"/>
              <a:gd name="T8" fmla="*/ 1046 w 1207"/>
              <a:gd name="T9" fmla="*/ 585 h 962"/>
              <a:gd name="T10" fmla="*/ 1007 w 1207"/>
              <a:gd name="T11" fmla="*/ 556 h 962"/>
              <a:gd name="T12" fmla="*/ 935 w 1207"/>
              <a:gd name="T13" fmla="*/ 562 h 962"/>
              <a:gd name="T14" fmla="*/ 930 w 1207"/>
              <a:gd name="T15" fmla="*/ 613 h 962"/>
              <a:gd name="T16" fmla="*/ 935 w 1207"/>
              <a:gd name="T17" fmla="*/ 696 h 962"/>
              <a:gd name="T18" fmla="*/ 890 w 1207"/>
              <a:gd name="T19" fmla="*/ 725 h 962"/>
              <a:gd name="T20" fmla="*/ 842 w 1207"/>
              <a:gd name="T21" fmla="*/ 709 h 962"/>
              <a:gd name="T22" fmla="*/ 816 w 1207"/>
              <a:gd name="T23" fmla="*/ 658 h 962"/>
              <a:gd name="T24" fmla="*/ 805 w 1207"/>
              <a:gd name="T25" fmla="*/ 643 h 962"/>
              <a:gd name="T26" fmla="*/ 749 w 1207"/>
              <a:gd name="T27" fmla="*/ 659 h 962"/>
              <a:gd name="T28" fmla="*/ 701 w 1207"/>
              <a:gd name="T29" fmla="*/ 634 h 962"/>
              <a:gd name="T30" fmla="*/ 694 w 1207"/>
              <a:gd name="T31" fmla="*/ 581 h 962"/>
              <a:gd name="T32" fmla="*/ 754 w 1207"/>
              <a:gd name="T33" fmla="*/ 540 h 962"/>
              <a:gd name="T34" fmla="*/ 824 w 1207"/>
              <a:gd name="T35" fmla="*/ 520 h 962"/>
              <a:gd name="T36" fmla="*/ 805 w 1207"/>
              <a:gd name="T37" fmla="*/ 460 h 962"/>
              <a:gd name="T38" fmla="*/ 764 w 1207"/>
              <a:gd name="T39" fmla="*/ 421 h 962"/>
              <a:gd name="T40" fmla="*/ 698 w 1207"/>
              <a:gd name="T41" fmla="*/ 414 h 962"/>
              <a:gd name="T42" fmla="*/ 672 w 1207"/>
              <a:gd name="T43" fmla="*/ 415 h 962"/>
              <a:gd name="T44" fmla="*/ 712 w 1207"/>
              <a:gd name="T45" fmla="*/ 360 h 962"/>
              <a:gd name="T46" fmla="*/ 709 w 1207"/>
              <a:gd name="T47" fmla="*/ 285 h 962"/>
              <a:gd name="T48" fmla="*/ 668 w 1207"/>
              <a:gd name="T49" fmla="*/ 214 h 962"/>
              <a:gd name="T50" fmla="*/ 606 w 1207"/>
              <a:gd name="T51" fmla="*/ 224 h 962"/>
              <a:gd name="T52" fmla="*/ 535 w 1207"/>
              <a:gd name="T53" fmla="*/ 272 h 962"/>
              <a:gd name="T54" fmla="*/ 516 w 1207"/>
              <a:gd name="T55" fmla="*/ 334 h 962"/>
              <a:gd name="T56" fmla="*/ 508 w 1207"/>
              <a:gd name="T57" fmla="*/ 341 h 962"/>
              <a:gd name="T58" fmla="*/ 458 w 1207"/>
              <a:gd name="T59" fmla="*/ 287 h 962"/>
              <a:gd name="T60" fmla="*/ 404 w 1207"/>
              <a:gd name="T61" fmla="*/ 278 h 962"/>
              <a:gd name="T62" fmla="*/ 345 w 1207"/>
              <a:gd name="T63" fmla="*/ 300 h 962"/>
              <a:gd name="T64" fmla="*/ 362 w 1207"/>
              <a:gd name="T65" fmla="*/ 357 h 962"/>
              <a:gd name="T66" fmla="*/ 382 w 1207"/>
              <a:gd name="T67" fmla="*/ 432 h 962"/>
              <a:gd name="T68" fmla="*/ 347 w 1207"/>
              <a:gd name="T69" fmla="*/ 472 h 962"/>
              <a:gd name="T70" fmla="*/ 292 w 1207"/>
              <a:gd name="T71" fmla="*/ 462 h 962"/>
              <a:gd name="T72" fmla="*/ 262 w 1207"/>
              <a:gd name="T73" fmla="*/ 417 h 962"/>
              <a:gd name="T74" fmla="*/ 249 w 1207"/>
              <a:gd name="T75" fmla="*/ 398 h 962"/>
              <a:gd name="T76" fmla="*/ 194 w 1207"/>
              <a:gd name="T77" fmla="*/ 421 h 962"/>
              <a:gd name="T78" fmla="*/ 147 w 1207"/>
              <a:gd name="T79" fmla="*/ 404 h 962"/>
              <a:gd name="T80" fmla="*/ 128 w 1207"/>
              <a:gd name="T81" fmla="*/ 354 h 962"/>
              <a:gd name="T82" fmla="*/ 178 w 1207"/>
              <a:gd name="T83" fmla="*/ 300 h 962"/>
              <a:gd name="T84" fmla="*/ 233 w 1207"/>
              <a:gd name="T85" fmla="*/ 262 h 962"/>
              <a:gd name="T86" fmla="*/ 195 w 1207"/>
              <a:gd name="T87" fmla="*/ 203 h 962"/>
              <a:gd name="T88" fmla="*/ 145 w 1207"/>
              <a:gd name="T89" fmla="*/ 185 h 962"/>
              <a:gd name="T90" fmla="*/ 115 w 1207"/>
              <a:gd name="T91" fmla="*/ 191 h 962"/>
              <a:gd name="T92" fmla="*/ 153 w 1207"/>
              <a:gd name="T93" fmla="*/ 136 h 962"/>
              <a:gd name="T94" fmla="*/ 157 w 1207"/>
              <a:gd name="T95" fmla="*/ 76 h 962"/>
              <a:gd name="T96" fmla="*/ 134 w 1207"/>
              <a:gd name="T97" fmla="*/ 28 h 962"/>
              <a:gd name="T98" fmla="*/ 269 w 1207"/>
              <a:gd name="T99" fmla="*/ 712 h 962"/>
              <a:gd name="T100" fmla="*/ 354 w 1207"/>
              <a:gd name="T101" fmla="*/ 656 h 962"/>
              <a:gd name="T102" fmla="*/ 437 w 1207"/>
              <a:gd name="T103" fmla="*/ 636 h 962"/>
              <a:gd name="T104" fmla="*/ 517 w 1207"/>
              <a:gd name="T105" fmla="*/ 643 h 962"/>
              <a:gd name="T106" fmla="*/ 610 w 1207"/>
              <a:gd name="T107" fmla="*/ 683 h 962"/>
              <a:gd name="T108" fmla="*/ 658 w 1207"/>
              <a:gd name="T109" fmla="*/ 735 h 962"/>
              <a:gd name="T110" fmla="*/ 673 w 1207"/>
              <a:gd name="T111" fmla="*/ 793 h 962"/>
              <a:gd name="T112" fmla="*/ 646 w 1207"/>
              <a:gd name="T113" fmla="*/ 877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07" h="962">
                <a:moveTo>
                  <a:pt x="841" y="962"/>
                </a:moveTo>
                <a:lnTo>
                  <a:pt x="1207" y="484"/>
                </a:lnTo>
                <a:lnTo>
                  <a:pt x="1207" y="484"/>
                </a:lnTo>
                <a:lnTo>
                  <a:pt x="1200" y="482"/>
                </a:lnTo>
                <a:lnTo>
                  <a:pt x="1190" y="481"/>
                </a:lnTo>
                <a:lnTo>
                  <a:pt x="1179" y="480"/>
                </a:lnTo>
                <a:lnTo>
                  <a:pt x="1166" y="480"/>
                </a:lnTo>
                <a:lnTo>
                  <a:pt x="1149" y="483"/>
                </a:lnTo>
                <a:lnTo>
                  <a:pt x="1141" y="485"/>
                </a:lnTo>
                <a:lnTo>
                  <a:pt x="1133" y="488"/>
                </a:lnTo>
                <a:lnTo>
                  <a:pt x="1124" y="492"/>
                </a:lnTo>
                <a:lnTo>
                  <a:pt x="1115" y="496"/>
                </a:lnTo>
                <a:lnTo>
                  <a:pt x="1115" y="496"/>
                </a:lnTo>
                <a:lnTo>
                  <a:pt x="1106" y="502"/>
                </a:lnTo>
                <a:lnTo>
                  <a:pt x="1097" y="508"/>
                </a:lnTo>
                <a:lnTo>
                  <a:pt x="1090" y="515"/>
                </a:lnTo>
                <a:lnTo>
                  <a:pt x="1084" y="523"/>
                </a:lnTo>
                <a:lnTo>
                  <a:pt x="1079" y="532"/>
                </a:lnTo>
                <a:lnTo>
                  <a:pt x="1074" y="540"/>
                </a:lnTo>
                <a:lnTo>
                  <a:pt x="1070" y="548"/>
                </a:lnTo>
                <a:lnTo>
                  <a:pt x="1067" y="557"/>
                </a:lnTo>
                <a:lnTo>
                  <a:pt x="1062" y="574"/>
                </a:lnTo>
                <a:lnTo>
                  <a:pt x="1058" y="589"/>
                </a:lnTo>
                <a:lnTo>
                  <a:pt x="1057" y="600"/>
                </a:lnTo>
                <a:lnTo>
                  <a:pt x="1058" y="605"/>
                </a:lnTo>
                <a:lnTo>
                  <a:pt x="1059" y="608"/>
                </a:lnTo>
                <a:lnTo>
                  <a:pt x="1059" y="608"/>
                </a:lnTo>
                <a:lnTo>
                  <a:pt x="1055" y="599"/>
                </a:lnTo>
                <a:lnTo>
                  <a:pt x="1051" y="592"/>
                </a:lnTo>
                <a:lnTo>
                  <a:pt x="1046" y="585"/>
                </a:lnTo>
                <a:lnTo>
                  <a:pt x="1041" y="579"/>
                </a:lnTo>
                <a:lnTo>
                  <a:pt x="1036" y="574"/>
                </a:lnTo>
                <a:lnTo>
                  <a:pt x="1031" y="568"/>
                </a:lnTo>
                <a:lnTo>
                  <a:pt x="1025" y="564"/>
                </a:lnTo>
                <a:lnTo>
                  <a:pt x="1020" y="561"/>
                </a:lnTo>
                <a:lnTo>
                  <a:pt x="1007" y="556"/>
                </a:lnTo>
                <a:lnTo>
                  <a:pt x="994" y="554"/>
                </a:lnTo>
                <a:lnTo>
                  <a:pt x="982" y="553"/>
                </a:lnTo>
                <a:lnTo>
                  <a:pt x="970" y="554"/>
                </a:lnTo>
                <a:lnTo>
                  <a:pt x="957" y="556"/>
                </a:lnTo>
                <a:lnTo>
                  <a:pt x="946" y="558"/>
                </a:lnTo>
                <a:lnTo>
                  <a:pt x="935" y="562"/>
                </a:lnTo>
                <a:lnTo>
                  <a:pt x="927" y="565"/>
                </a:lnTo>
                <a:lnTo>
                  <a:pt x="913" y="572"/>
                </a:lnTo>
                <a:lnTo>
                  <a:pt x="908" y="574"/>
                </a:lnTo>
                <a:lnTo>
                  <a:pt x="908" y="574"/>
                </a:lnTo>
                <a:lnTo>
                  <a:pt x="920" y="594"/>
                </a:lnTo>
                <a:lnTo>
                  <a:pt x="930" y="613"/>
                </a:lnTo>
                <a:lnTo>
                  <a:pt x="936" y="632"/>
                </a:lnTo>
                <a:lnTo>
                  <a:pt x="940" y="647"/>
                </a:lnTo>
                <a:lnTo>
                  <a:pt x="941" y="663"/>
                </a:lnTo>
                <a:lnTo>
                  <a:pt x="941" y="675"/>
                </a:lnTo>
                <a:lnTo>
                  <a:pt x="939" y="687"/>
                </a:lnTo>
                <a:lnTo>
                  <a:pt x="935" y="696"/>
                </a:lnTo>
                <a:lnTo>
                  <a:pt x="930" y="705"/>
                </a:lnTo>
                <a:lnTo>
                  <a:pt x="924" y="712"/>
                </a:lnTo>
                <a:lnTo>
                  <a:pt x="915" y="718"/>
                </a:lnTo>
                <a:lnTo>
                  <a:pt x="907" y="722"/>
                </a:lnTo>
                <a:lnTo>
                  <a:pt x="899" y="724"/>
                </a:lnTo>
                <a:lnTo>
                  <a:pt x="890" y="725"/>
                </a:lnTo>
                <a:lnTo>
                  <a:pt x="881" y="725"/>
                </a:lnTo>
                <a:lnTo>
                  <a:pt x="871" y="724"/>
                </a:lnTo>
                <a:lnTo>
                  <a:pt x="871" y="724"/>
                </a:lnTo>
                <a:lnTo>
                  <a:pt x="859" y="720"/>
                </a:lnTo>
                <a:lnTo>
                  <a:pt x="850" y="715"/>
                </a:lnTo>
                <a:lnTo>
                  <a:pt x="842" y="709"/>
                </a:lnTo>
                <a:lnTo>
                  <a:pt x="835" y="702"/>
                </a:lnTo>
                <a:lnTo>
                  <a:pt x="829" y="695"/>
                </a:lnTo>
                <a:lnTo>
                  <a:pt x="825" y="688"/>
                </a:lnTo>
                <a:lnTo>
                  <a:pt x="821" y="680"/>
                </a:lnTo>
                <a:lnTo>
                  <a:pt x="819" y="673"/>
                </a:lnTo>
                <a:lnTo>
                  <a:pt x="816" y="658"/>
                </a:lnTo>
                <a:lnTo>
                  <a:pt x="816" y="646"/>
                </a:lnTo>
                <a:lnTo>
                  <a:pt x="816" y="638"/>
                </a:lnTo>
                <a:lnTo>
                  <a:pt x="816" y="635"/>
                </a:lnTo>
                <a:lnTo>
                  <a:pt x="816" y="635"/>
                </a:lnTo>
                <a:lnTo>
                  <a:pt x="813" y="637"/>
                </a:lnTo>
                <a:lnTo>
                  <a:pt x="805" y="643"/>
                </a:lnTo>
                <a:lnTo>
                  <a:pt x="793" y="650"/>
                </a:lnTo>
                <a:lnTo>
                  <a:pt x="785" y="653"/>
                </a:lnTo>
                <a:lnTo>
                  <a:pt x="777" y="656"/>
                </a:lnTo>
                <a:lnTo>
                  <a:pt x="768" y="658"/>
                </a:lnTo>
                <a:lnTo>
                  <a:pt x="759" y="659"/>
                </a:lnTo>
                <a:lnTo>
                  <a:pt x="749" y="659"/>
                </a:lnTo>
                <a:lnTo>
                  <a:pt x="739" y="658"/>
                </a:lnTo>
                <a:lnTo>
                  <a:pt x="729" y="655"/>
                </a:lnTo>
                <a:lnTo>
                  <a:pt x="720" y="650"/>
                </a:lnTo>
                <a:lnTo>
                  <a:pt x="710" y="643"/>
                </a:lnTo>
                <a:lnTo>
                  <a:pt x="701" y="634"/>
                </a:lnTo>
                <a:lnTo>
                  <a:pt x="701" y="634"/>
                </a:lnTo>
                <a:lnTo>
                  <a:pt x="694" y="625"/>
                </a:lnTo>
                <a:lnTo>
                  <a:pt x="690" y="616"/>
                </a:lnTo>
                <a:lnTo>
                  <a:pt x="688" y="607"/>
                </a:lnTo>
                <a:lnTo>
                  <a:pt x="689" y="598"/>
                </a:lnTo>
                <a:lnTo>
                  <a:pt x="690" y="589"/>
                </a:lnTo>
                <a:lnTo>
                  <a:pt x="694" y="581"/>
                </a:lnTo>
                <a:lnTo>
                  <a:pt x="701" y="572"/>
                </a:lnTo>
                <a:lnTo>
                  <a:pt x="708" y="564"/>
                </a:lnTo>
                <a:lnTo>
                  <a:pt x="717" y="557"/>
                </a:lnTo>
                <a:lnTo>
                  <a:pt x="727" y="550"/>
                </a:lnTo>
                <a:lnTo>
                  <a:pt x="740" y="544"/>
                </a:lnTo>
                <a:lnTo>
                  <a:pt x="754" y="540"/>
                </a:lnTo>
                <a:lnTo>
                  <a:pt x="769" y="536"/>
                </a:lnTo>
                <a:lnTo>
                  <a:pt x="786" y="533"/>
                </a:lnTo>
                <a:lnTo>
                  <a:pt x="804" y="532"/>
                </a:lnTo>
                <a:lnTo>
                  <a:pt x="823" y="531"/>
                </a:lnTo>
                <a:lnTo>
                  <a:pt x="823" y="531"/>
                </a:lnTo>
                <a:lnTo>
                  <a:pt x="824" y="520"/>
                </a:lnTo>
                <a:lnTo>
                  <a:pt x="823" y="509"/>
                </a:lnTo>
                <a:lnTo>
                  <a:pt x="820" y="494"/>
                </a:lnTo>
                <a:lnTo>
                  <a:pt x="817" y="486"/>
                </a:lnTo>
                <a:lnTo>
                  <a:pt x="814" y="477"/>
                </a:lnTo>
                <a:lnTo>
                  <a:pt x="810" y="469"/>
                </a:lnTo>
                <a:lnTo>
                  <a:pt x="805" y="460"/>
                </a:lnTo>
                <a:lnTo>
                  <a:pt x="799" y="451"/>
                </a:lnTo>
                <a:lnTo>
                  <a:pt x="792" y="443"/>
                </a:lnTo>
                <a:lnTo>
                  <a:pt x="782" y="435"/>
                </a:lnTo>
                <a:lnTo>
                  <a:pt x="772" y="426"/>
                </a:lnTo>
                <a:lnTo>
                  <a:pt x="772" y="426"/>
                </a:lnTo>
                <a:lnTo>
                  <a:pt x="764" y="421"/>
                </a:lnTo>
                <a:lnTo>
                  <a:pt x="755" y="417"/>
                </a:lnTo>
                <a:lnTo>
                  <a:pt x="745" y="415"/>
                </a:lnTo>
                <a:lnTo>
                  <a:pt x="735" y="413"/>
                </a:lnTo>
                <a:lnTo>
                  <a:pt x="725" y="412"/>
                </a:lnTo>
                <a:lnTo>
                  <a:pt x="716" y="412"/>
                </a:lnTo>
                <a:lnTo>
                  <a:pt x="698" y="414"/>
                </a:lnTo>
                <a:lnTo>
                  <a:pt x="681" y="418"/>
                </a:lnTo>
                <a:lnTo>
                  <a:pt x="668" y="421"/>
                </a:lnTo>
                <a:lnTo>
                  <a:pt x="657" y="425"/>
                </a:lnTo>
                <a:lnTo>
                  <a:pt x="657" y="425"/>
                </a:lnTo>
                <a:lnTo>
                  <a:pt x="664" y="421"/>
                </a:lnTo>
                <a:lnTo>
                  <a:pt x="672" y="415"/>
                </a:lnTo>
                <a:lnTo>
                  <a:pt x="681" y="408"/>
                </a:lnTo>
                <a:lnTo>
                  <a:pt x="691" y="397"/>
                </a:lnTo>
                <a:lnTo>
                  <a:pt x="701" y="384"/>
                </a:lnTo>
                <a:lnTo>
                  <a:pt x="705" y="376"/>
                </a:lnTo>
                <a:lnTo>
                  <a:pt x="709" y="369"/>
                </a:lnTo>
                <a:lnTo>
                  <a:pt x="712" y="360"/>
                </a:lnTo>
                <a:lnTo>
                  <a:pt x="714" y="351"/>
                </a:lnTo>
                <a:lnTo>
                  <a:pt x="714" y="351"/>
                </a:lnTo>
                <a:lnTo>
                  <a:pt x="716" y="336"/>
                </a:lnTo>
                <a:lnTo>
                  <a:pt x="715" y="320"/>
                </a:lnTo>
                <a:lnTo>
                  <a:pt x="713" y="303"/>
                </a:lnTo>
                <a:lnTo>
                  <a:pt x="709" y="285"/>
                </a:lnTo>
                <a:lnTo>
                  <a:pt x="702" y="267"/>
                </a:lnTo>
                <a:lnTo>
                  <a:pt x="693" y="249"/>
                </a:lnTo>
                <a:lnTo>
                  <a:pt x="682" y="232"/>
                </a:lnTo>
                <a:lnTo>
                  <a:pt x="676" y="223"/>
                </a:lnTo>
                <a:lnTo>
                  <a:pt x="669" y="216"/>
                </a:lnTo>
                <a:lnTo>
                  <a:pt x="668" y="214"/>
                </a:lnTo>
                <a:lnTo>
                  <a:pt x="665" y="214"/>
                </a:lnTo>
                <a:lnTo>
                  <a:pt x="665" y="214"/>
                </a:lnTo>
                <a:lnTo>
                  <a:pt x="655" y="214"/>
                </a:lnTo>
                <a:lnTo>
                  <a:pt x="644" y="215"/>
                </a:lnTo>
                <a:lnTo>
                  <a:pt x="624" y="219"/>
                </a:lnTo>
                <a:lnTo>
                  <a:pt x="606" y="224"/>
                </a:lnTo>
                <a:lnTo>
                  <a:pt x="587" y="232"/>
                </a:lnTo>
                <a:lnTo>
                  <a:pt x="572" y="240"/>
                </a:lnTo>
                <a:lnTo>
                  <a:pt x="557" y="250"/>
                </a:lnTo>
                <a:lnTo>
                  <a:pt x="545" y="261"/>
                </a:lnTo>
                <a:lnTo>
                  <a:pt x="535" y="272"/>
                </a:lnTo>
                <a:lnTo>
                  <a:pt x="535" y="272"/>
                </a:lnTo>
                <a:lnTo>
                  <a:pt x="530" y="280"/>
                </a:lnTo>
                <a:lnTo>
                  <a:pt x="526" y="288"/>
                </a:lnTo>
                <a:lnTo>
                  <a:pt x="523" y="297"/>
                </a:lnTo>
                <a:lnTo>
                  <a:pt x="520" y="305"/>
                </a:lnTo>
                <a:lnTo>
                  <a:pt x="517" y="320"/>
                </a:lnTo>
                <a:lnTo>
                  <a:pt x="516" y="334"/>
                </a:lnTo>
                <a:lnTo>
                  <a:pt x="516" y="347"/>
                </a:lnTo>
                <a:lnTo>
                  <a:pt x="517" y="357"/>
                </a:lnTo>
                <a:lnTo>
                  <a:pt x="519" y="365"/>
                </a:lnTo>
                <a:lnTo>
                  <a:pt x="519" y="365"/>
                </a:lnTo>
                <a:lnTo>
                  <a:pt x="513" y="354"/>
                </a:lnTo>
                <a:lnTo>
                  <a:pt x="508" y="341"/>
                </a:lnTo>
                <a:lnTo>
                  <a:pt x="499" y="327"/>
                </a:lnTo>
                <a:lnTo>
                  <a:pt x="488" y="313"/>
                </a:lnTo>
                <a:lnTo>
                  <a:pt x="482" y="306"/>
                </a:lnTo>
                <a:lnTo>
                  <a:pt x="475" y="299"/>
                </a:lnTo>
                <a:lnTo>
                  <a:pt x="467" y="292"/>
                </a:lnTo>
                <a:lnTo>
                  <a:pt x="458" y="287"/>
                </a:lnTo>
                <a:lnTo>
                  <a:pt x="450" y="283"/>
                </a:lnTo>
                <a:lnTo>
                  <a:pt x="440" y="281"/>
                </a:lnTo>
                <a:lnTo>
                  <a:pt x="440" y="281"/>
                </a:lnTo>
                <a:lnTo>
                  <a:pt x="428" y="278"/>
                </a:lnTo>
                <a:lnTo>
                  <a:pt x="415" y="278"/>
                </a:lnTo>
                <a:lnTo>
                  <a:pt x="404" y="278"/>
                </a:lnTo>
                <a:lnTo>
                  <a:pt x="393" y="279"/>
                </a:lnTo>
                <a:lnTo>
                  <a:pt x="384" y="281"/>
                </a:lnTo>
                <a:lnTo>
                  <a:pt x="374" y="284"/>
                </a:lnTo>
                <a:lnTo>
                  <a:pt x="365" y="287"/>
                </a:lnTo>
                <a:lnTo>
                  <a:pt x="358" y="291"/>
                </a:lnTo>
                <a:lnTo>
                  <a:pt x="345" y="300"/>
                </a:lnTo>
                <a:lnTo>
                  <a:pt x="336" y="307"/>
                </a:lnTo>
                <a:lnTo>
                  <a:pt x="328" y="314"/>
                </a:lnTo>
                <a:lnTo>
                  <a:pt x="328" y="314"/>
                </a:lnTo>
                <a:lnTo>
                  <a:pt x="342" y="328"/>
                </a:lnTo>
                <a:lnTo>
                  <a:pt x="353" y="343"/>
                </a:lnTo>
                <a:lnTo>
                  <a:pt x="362" y="357"/>
                </a:lnTo>
                <a:lnTo>
                  <a:pt x="369" y="371"/>
                </a:lnTo>
                <a:lnTo>
                  <a:pt x="375" y="384"/>
                </a:lnTo>
                <a:lnTo>
                  <a:pt x="380" y="398"/>
                </a:lnTo>
                <a:lnTo>
                  <a:pt x="382" y="410"/>
                </a:lnTo>
                <a:lnTo>
                  <a:pt x="383" y="421"/>
                </a:lnTo>
                <a:lnTo>
                  <a:pt x="382" y="432"/>
                </a:lnTo>
                <a:lnTo>
                  <a:pt x="380" y="442"/>
                </a:lnTo>
                <a:lnTo>
                  <a:pt x="375" y="451"/>
                </a:lnTo>
                <a:lnTo>
                  <a:pt x="370" y="458"/>
                </a:lnTo>
                <a:lnTo>
                  <a:pt x="363" y="464"/>
                </a:lnTo>
                <a:lnTo>
                  <a:pt x="356" y="469"/>
                </a:lnTo>
                <a:lnTo>
                  <a:pt x="347" y="472"/>
                </a:lnTo>
                <a:lnTo>
                  <a:pt x="337" y="473"/>
                </a:lnTo>
                <a:lnTo>
                  <a:pt x="337" y="473"/>
                </a:lnTo>
                <a:lnTo>
                  <a:pt x="322" y="473"/>
                </a:lnTo>
                <a:lnTo>
                  <a:pt x="311" y="471"/>
                </a:lnTo>
                <a:lnTo>
                  <a:pt x="301" y="467"/>
                </a:lnTo>
                <a:lnTo>
                  <a:pt x="292" y="462"/>
                </a:lnTo>
                <a:lnTo>
                  <a:pt x="283" y="456"/>
                </a:lnTo>
                <a:lnTo>
                  <a:pt x="277" y="449"/>
                </a:lnTo>
                <a:lnTo>
                  <a:pt x="272" y="441"/>
                </a:lnTo>
                <a:lnTo>
                  <a:pt x="268" y="432"/>
                </a:lnTo>
                <a:lnTo>
                  <a:pt x="264" y="424"/>
                </a:lnTo>
                <a:lnTo>
                  <a:pt x="262" y="417"/>
                </a:lnTo>
                <a:lnTo>
                  <a:pt x="259" y="403"/>
                </a:lnTo>
                <a:lnTo>
                  <a:pt x="257" y="393"/>
                </a:lnTo>
                <a:lnTo>
                  <a:pt x="257" y="390"/>
                </a:lnTo>
                <a:lnTo>
                  <a:pt x="257" y="390"/>
                </a:lnTo>
                <a:lnTo>
                  <a:pt x="255" y="392"/>
                </a:lnTo>
                <a:lnTo>
                  <a:pt x="249" y="398"/>
                </a:lnTo>
                <a:lnTo>
                  <a:pt x="239" y="405"/>
                </a:lnTo>
                <a:lnTo>
                  <a:pt x="227" y="413"/>
                </a:lnTo>
                <a:lnTo>
                  <a:pt x="220" y="416"/>
                </a:lnTo>
                <a:lnTo>
                  <a:pt x="212" y="419"/>
                </a:lnTo>
                <a:lnTo>
                  <a:pt x="204" y="420"/>
                </a:lnTo>
                <a:lnTo>
                  <a:pt x="194" y="421"/>
                </a:lnTo>
                <a:lnTo>
                  <a:pt x="185" y="421"/>
                </a:lnTo>
                <a:lnTo>
                  <a:pt x="175" y="419"/>
                </a:lnTo>
                <a:lnTo>
                  <a:pt x="165" y="415"/>
                </a:lnTo>
                <a:lnTo>
                  <a:pt x="155" y="409"/>
                </a:lnTo>
                <a:lnTo>
                  <a:pt x="155" y="409"/>
                </a:lnTo>
                <a:lnTo>
                  <a:pt x="147" y="404"/>
                </a:lnTo>
                <a:lnTo>
                  <a:pt x="140" y="397"/>
                </a:lnTo>
                <a:lnTo>
                  <a:pt x="135" y="390"/>
                </a:lnTo>
                <a:lnTo>
                  <a:pt x="131" y="381"/>
                </a:lnTo>
                <a:lnTo>
                  <a:pt x="129" y="372"/>
                </a:lnTo>
                <a:lnTo>
                  <a:pt x="128" y="363"/>
                </a:lnTo>
                <a:lnTo>
                  <a:pt x="128" y="354"/>
                </a:lnTo>
                <a:lnTo>
                  <a:pt x="131" y="345"/>
                </a:lnTo>
                <a:lnTo>
                  <a:pt x="136" y="334"/>
                </a:lnTo>
                <a:lnTo>
                  <a:pt x="142" y="325"/>
                </a:lnTo>
                <a:lnTo>
                  <a:pt x="153" y="316"/>
                </a:lnTo>
                <a:lnTo>
                  <a:pt x="164" y="308"/>
                </a:lnTo>
                <a:lnTo>
                  <a:pt x="178" y="300"/>
                </a:lnTo>
                <a:lnTo>
                  <a:pt x="195" y="292"/>
                </a:lnTo>
                <a:lnTo>
                  <a:pt x="216" y="286"/>
                </a:lnTo>
                <a:lnTo>
                  <a:pt x="239" y="280"/>
                </a:lnTo>
                <a:lnTo>
                  <a:pt x="239" y="280"/>
                </a:lnTo>
                <a:lnTo>
                  <a:pt x="238" y="275"/>
                </a:lnTo>
                <a:lnTo>
                  <a:pt x="233" y="262"/>
                </a:lnTo>
                <a:lnTo>
                  <a:pt x="230" y="253"/>
                </a:lnTo>
                <a:lnTo>
                  <a:pt x="225" y="242"/>
                </a:lnTo>
                <a:lnTo>
                  <a:pt x="220" y="232"/>
                </a:lnTo>
                <a:lnTo>
                  <a:pt x="213" y="222"/>
                </a:lnTo>
                <a:lnTo>
                  <a:pt x="205" y="213"/>
                </a:lnTo>
                <a:lnTo>
                  <a:pt x="195" y="203"/>
                </a:lnTo>
                <a:lnTo>
                  <a:pt x="185" y="196"/>
                </a:lnTo>
                <a:lnTo>
                  <a:pt x="173" y="190"/>
                </a:lnTo>
                <a:lnTo>
                  <a:pt x="167" y="188"/>
                </a:lnTo>
                <a:lnTo>
                  <a:pt x="161" y="187"/>
                </a:lnTo>
                <a:lnTo>
                  <a:pt x="154" y="186"/>
                </a:lnTo>
                <a:lnTo>
                  <a:pt x="145" y="185"/>
                </a:lnTo>
                <a:lnTo>
                  <a:pt x="138" y="186"/>
                </a:lnTo>
                <a:lnTo>
                  <a:pt x="129" y="187"/>
                </a:lnTo>
                <a:lnTo>
                  <a:pt x="121" y="190"/>
                </a:lnTo>
                <a:lnTo>
                  <a:pt x="112" y="193"/>
                </a:lnTo>
                <a:lnTo>
                  <a:pt x="112" y="193"/>
                </a:lnTo>
                <a:lnTo>
                  <a:pt x="115" y="191"/>
                </a:lnTo>
                <a:lnTo>
                  <a:pt x="119" y="188"/>
                </a:lnTo>
                <a:lnTo>
                  <a:pt x="127" y="180"/>
                </a:lnTo>
                <a:lnTo>
                  <a:pt x="136" y="168"/>
                </a:lnTo>
                <a:lnTo>
                  <a:pt x="144" y="153"/>
                </a:lnTo>
                <a:lnTo>
                  <a:pt x="148" y="144"/>
                </a:lnTo>
                <a:lnTo>
                  <a:pt x="153" y="136"/>
                </a:lnTo>
                <a:lnTo>
                  <a:pt x="156" y="127"/>
                </a:lnTo>
                <a:lnTo>
                  <a:pt x="158" y="117"/>
                </a:lnTo>
                <a:lnTo>
                  <a:pt x="159" y="106"/>
                </a:lnTo>
                <a:lnTo>
                  <a:pt x="160" y="97"/>
                </a:lnTo>
                <a:lnTo>
                  <a:pt x="159" y="86"/>
                </a:lnTo>
                <a:lnTo>
                  <a:pt x="157" y="76"/>
                </a:lnTo>
                <a:lnTo>
                  <a:pt x="157" y="76"/>
                </a:lnTo>
                <a:lnTo>
                  <a:pt x="155" y="66"/>
                </a:lnTo>
                <a:lnTo>
                  <a:pt x="150" y="57"/>
                </a:lnTo>
                <a:lnTo>
                  <a:pt x="147" y="49"/>
                </a:lnTo>
                <a:lnTo>
                  <a:pt x="143" y="41"/>
                </a:lnTo>
                <a:lnTo>
                  <a:pt x="134" y="28"/>
                </a:lnTo>
                <a:lnTo>
                  <a:pt x="125" y="17"/>
                </a:lnTo>
                <a:lnTo>
                  <a:pt x="117" y="9"/>
                </a:lnTo>
                <a:lnTo>
                  <a:pt x="110" y="4"/>
                </a:lnTo>
                <a:lnTo>
                  <a:pt x="103" y="0"/>
                </a:lnTo>
                <a:lnTo>
                  <a:pt x="0" y="593"/>
                </a:lnTo>
                <a:lnTo>
                  <a:pt x="269" y="712"/>
                </a:lnTo>
                <a:lnTo>
                  <a:pt x="269" y="712"/>
                </a:lnTo>
                <a:lnTo>
                  <a:pt x="293" y="693"/>
                </a:lnTo>
                <a:lnTo>
                  <a:pt x="315" y="677"/>
                </a:lnTo>
                <a:lnTo>
                  <a:pt x="336" y="665"/>
                </a:lnTo>
                <a:lnTo>
                  <a:pt x="354" y="656"/>
                </a:lnTo>
                <a:lnTo>
                  <a:pt x="354" y="656"/>
                </a:lnTo>
                <a:lnTo>
                  <a:pt x="367" y="650"/>
                </a:lnTo>
                <a:lnTo>
                  <a:pt x="382" y="646"/>
                </a:lnTo>
                <a:lnTo>
                  <a:pt x="396" y="642"/>
                </a:lnTo>
                <a:lnTo>
                  <a:pt x="409" y="639"/>
                </a:lnTo>
                <a:lnTo>
                  <a:pt x="423" y="637"/>
                </a:lnTo>
                <a:lnTo>
                  <a:pt x="437" y="636"/>
                </a:lnTo>
                <a:lnTo>
                  <a:pt x="450" y="635"/>
                </a:lnTo>
                <a:lnTo>
                  <a:pt x="464" y="635"/>
                </a:lnTo>
                <a:lnTo>
                  <a:pt x="478" y="636"/>
                </a:lnTo>
                <a:lnTo>
                  <a:pt x="491" y="638"/>
                </a:lnTo>
                <a:lnTo>
                  <a:pt x="504" y="640"/>
                </a:lnTo>
                <a:lnTo>
                  <a:pt x="517" y="643"/>
                </a:lnTo>
                <a:lnTo>
                  <a:pt x="542" y="650"/>
                </a:lnTo>
                <a:lnTo>
                  <a:pt x="566" y="658"/>
                </a:lnTo>
                <a:lnTo>
                  <a:pt x="566" y="658"/>
                </a:lnTo>
                <a:lnTo>
                  <a:pt x="582" y="667"/>
                </a:lnTo>
                <a:lnTo>
                  <a:pt x="596" y="675"/>
                </a:lnTo>
                <a:lnTo>
                  <a:pt x="610" y="683"/>
                </a:lnTo>
                <a:lnTo>
                  <a:pt x="621" y="691"/>
                </a:lnTo>
                <a:lnTo>
                  <a:pt x="631" y="699"/>
                </a:lnTo>
                <a:lnTo>
                  <a:pt x="639" y="709"/>
                </a:lnTo>
                <a:lnTo>
                  <a:pt x="646" y="717"/>
                </a:lnTo>
                <a:lnTo>
                  <a:pt x="653" y="726"/>
                </a:lnTo>
                <a:lnTo>
                  <a:pt x="658" y="735"/>
                </a:lnTo>
                <a:lnTo>
                  <a:pt x="662" y="743"/>
                </a:lnTo>
                <a:lnTo>
                  <a:pt x="665" y="753"/>
                </a:lnTo>
                <a:lnTo>
                  <a:pt x="668" y="761"/>
                </a:lnTo>
                <a:lnTo>
                  <a:pt x="671" y="778"/>
                </a:lnTo>
                <a:lnTo>
                  <a:pt x="673" y="793"/>
                </a:lnTo>
                <a:lnTo>
                  <a:pt x="673" y="793"/>
                </a:lnTo>
                <a:lnTo>
                  <a:pt x="672" y="804"/>
                </a:lnTo>
                <a:lnTo>
                  <a:pt x="670" y="815"/>
                </a:lnTo>
                <a:lnTo>
                  <a:pt x="667" y="827"/>
                </a:lnTo>
                <a:lnTo>
                  <a:pt x="663" y="839"/>
                </a:lnTo>
                <a:lnTo>
                  <a:pt x="654" y="863"/>
                </a:lnTo>
                <a:lnTo>
                  <a:pt x="646" y="877"/>
                </a:lnTo>
                <a:lnTo>
                  <a:pt x="841" y="96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6" name="Freeform 43"/>
          <p:cNvSpPr>
            <a:spLocks/>
          </p:cNvSpPr>
          <p:nvPr userDrawn="1"/>
        </p:nvSpPr>
        <p:spPr bwMode="auto">
          <a:xfrm>
            <a:off x="7581900" y="1218903"/>
            <a:ext cx="193675" cy="33338"/>
          </a:xfrm>
          <a:custGeom>
            <a:avLst/>
            <a:gdLst>
              <a:gd name="T0" fmla="*/ 1228 w 1463"/>
              <a:gd name="T1" fmla="*/ 227 h 256"/>
              <a:gd name="T2" fmla="*/ 1463 w 1463"/>
              <a:gd name="T3" fmla="*/ 113 h 256"/>
              <a:gd name="T4" fmla="*/ 1225 w 1463"/>
              <a:gd name="T5" fmla="*/ 14 h 256"/>
              <a:gd name="T6" fmla="*/ 1225 w 1463"/>
              <a:gd name="T7" fmla="*/ 14 h 256"/>
              <a:gd name="T8" fmla="*/ 1152 w 1463"/>
              <a:gd name="T9" fmla="*/ 15 h 256"/>
              <a:gd name="T10" fmla="*/ 1060 w 1463"/>
              <a:gd name="T11" fmla="*/ 16 h 256"/>
              <a:gd name="T12" fmla="*/ 949 w 1463"/>
              <a:gd name="T13" fmla="*/ 15 h 256"/>
              <a:gd name="T14" fmla="*/ 824 w 1463"/>
              <a:gd name="T15" fmla="*/ 13 h 256"/>
              <a:gd name="T16" fmla="*/ 531 w 1463"/>
              <a:gd name="T17" fmla="*/ 7 h 256"/>
              <a:gd name="T18" fmla="*/ 197 w 1463"/>
              <a:gd name="T19" fmla="*/ 0 h 256"/>
              <a:gd name="T20" fmla="*/ 0 w 1463"/>
              <a:gd name="T21" fmla="*/ 256 h 256"/>
              <a:gd name="T22" fmla="*/ 0 w 1463"/>
              <a:gd name="T23" fmla="*/ 256 h 256"/>
              <a:gd name="T24" fmla="*/ 734 w 1463"/>
              <a:gd name="T25" fmla="*/ 240 h 256"/>
              <a:gd name="T26" fmla="*/ 1024 w 1463"/>
              <a:gd name="T27" fmla="*/ 234 h 256"/>
              <a:gd name="T28" fmla="*/ 1228 w 1463"/>
              <a:gd name="T29" fmla="*/ 22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3" h="256">
                <a:moveTo>
                  <a:pt x="1228" y="227"/>
                </a:moveTo>
                <a:lnTo>
                  <a:pt x="1463" y="113"/>
                </a:lnTo>
                <a:lnTo>
                  <a:pt x="1225" y="14"/>
                </a:lnTo>
                <a:lnTo>
                  <a:pt x="1225" y="14"/>
                </a:lnTo>
                <a:lnTo>
                  <a:pt x="1152" y="15"/>
                </a:lnTo>
                <a:lnTo>
                  <a:pt x="1060" y="16"/>
                </a:lnTo>
                <a:lnTo>
                  <a:pt x="949" y="15"/>
                </a:lnTo>
                <a:lnTo>
                  <a:pt x="824" y="13"/>
                </a:lnTo>
                <a:lnTo>
                  <a:pt x="531" y="7"/>
                </a:lnTo>
                <a:lnTo>
                  <a:pt x="197" y="0"/>
                </a:lnTo>
                <a:lnTo>
                  <a:pt x="0" y="256"/>
                </a:lnTo>
                <a:lnTo>
                  <a:pt x="0" y="256"/>
                </a:lnTo>
                <a:lnTo>
                  <a:pt x="734" y="240"/>
                </a:lnTo>
                <a:lnTo>
                  <a:pt x="1024" y="234"/>
                </a:lnTo>
                <a:lnTo>
                  <a:pt x="1228" y="22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7" name="Freeform 44"/>
          <p:cNvSpPr>
            <a:spLocks/>
          </p:cNvSpPr>
          <p:nvPr userDrawn="1"/>
        </p:nvSpPr>
        <p:spPr bwMode="auto">
          <a:xfrm>
            <a:off x="7643812" y="1301453"/>
            <a:ext cx="114300" cy="112713"/>
          </a:xfrm>
          <a:custGeom>
            <a:avLst/>
            <a:gdLst>
              <a:gd name="T0" fmla="*/ 386 w 869"/>
              <a:gd name="T1" fmla="*/ 818 h 851"/>
              <a:gd name="T2" fmla="*/ 235 w 869"/>
              <a:gd name="T3" fmla="*/ 737 h 851"/>
              <a:gd name="T4" fmla="*/ 156 w 869"/>
              <a:gd name="T5" fmla="*/ 685 h 851"/>
              <a:gd name="T6" fmla="*/ 90 w 869"/>
              <a:gd name="T7" fmla="*/ 626 h 851"/>
              <a:gd name="T8" fmla="*/ 37 w 869"/>
              <a:gd name="T9" fmla="*/ 557 h 851"/>
              <a:gd name="T10" fmla="*/ 24 w 869"/>
              <a:gd name="T11" fmla="*/ 531 h 851"/>
              <a:gd name="T12" fmla="*/ 10 w 869"/>
              <a:gd name="T13" fmla="*/ 487 h 851"/>
              <a:gd name="T14" fmla="*/ 2 w 869"/>
              <a:gd name="T15" fmla="*/ 439 h 851"/>
              <a:gd name="T16" fmla="*/ 0 w 869"/>
              <a:gd name="T17" fmla="*/ 389 h 851"/>
              <a:gd name="T18" fmla="*/ 5 w 869"/>
              <a:gd name="T19" fmla="*/ 336 h 851"/>
              <a:gd name="T20" fmla="*/ 15 w 869"/>
              <a:gd name="T21" fmla="*/ 283 h 851"/>
              <a:gd name="T22" fmla="*/ 34 w 869"/>
              <a:gd name="T23" fmla="*/ 231 h 851"/>
              <a:gd name="T24" fmla="*/ 59 w 869"/>
              <a:gd name="T25" fmla="*/ 182 h 851"/>
              <a:gd name="T26" fmla="*/ 93 w 869"/>
              <a:gd name="T27" fmla="*/ 136 h 851"/>
              <a:gd name="T28" fmla="*/ 134 w 869"/>
              <a:gd name="T29" fmla="*/ 94 h 851"/>
              <a:gd name="T30" fmla="*/ 183 w 869"/>
              <a:gd name="T31" fmla="*/ 59 h 851"/>
              <a:gd name="T32" fmla="*/ 198 w 869"/>
              <a:gd name="T33" fmla="*/ 75 h 851"/>
              <a:gd name="T34" fmla="*/ 217 w 869"/>
              <a:gd name="T35" fmla="*/ 106 h 851"/>
              <a:gd name="T36" fmla="*/ 227 w 869"/>
              <a:gd name="T37" fmla="*/ 141 h 851"/>
              <a:gd name="T38" fmla="*/ 247 w 869"/>
              <a:gd name="T39" fmla="*/ 150 h 851"/>
              <a:gd name="T40" fmla="*/ 379 w 869"/>
              <a:gd name="T41" fmla="*/ 144 h 851"/>
              <a:gd name="T42" fmla="*/ 424 w 869"/>
              <a:gd name="T43" fmla="*/ 143 h 851"/>
              <a:gd name="T44" fmla="*/ 424 w 869"/>
              <a:gd name="T45" fmla="*/ 94 h 851"/>
              <a:gd name="T46" fmla="*/ 414 w 869"/>
              <a:gd name="T47" fmla="*/ 37 h 851"/>
              <a:gd name="T48" fmla="*/ 397 w 869"/>
              <a:gd name="T49" fmla="*/ 0 h 851"/>
              <a:gd name="T50" fmla="*/ 431 w 869"/>
              <a:gd name="T51" fmla="*/ 27 h 851"/>
              <a:gd name="T52" fmla="*/ 459 w 869"/>
              <a:gd name="T53" fmla="*/ 55 h 851"/>
              <a:gd name="T54" fmla="*/ 475 w 869"/>
              <a:gd name="T55" fmla="*/ 82 h 851"/>
              <a:gd name="T56" fmla="*/ 487 w 869"/>
              <a:gd name="T57" fmla="*/ 116 h 851"/>
              <a:gd name="T58" fmla="*/ 493 w 869"/>
              <a:gd name="T59" fmla="*/ 143 h 851"/>
              <a:gd name="T60" fmla="*/ 671 w 869"/>
              <a:gd name="T61" fmla="*/ 133 h 851"/>
              <a:gd name="T62" fmla="*/ 662 w 869"/>
              <a:gd name="T63" fmla="*/ 88 h 851"/>
              <a:gd name="T64" fmla="*/ 643 w 869"/>
              <a:gd name="T65" fmla="*/ 50 h 851"/>
              <a:gd name="T66" fmla="*/ 651 w 869"/>
              <a:gd name="T67" fmla="*/ 46 h 851"/>
              <a:gd name="T68" fmla="*/ 699 w 869"/>
              <a:gd name="T69" fmla="*/ 73 h 851"/>
              <a:gd name="T70" fmla="*/ 740 w 869"/>
              <a:gd name="T71" fmla="*/ 104 h 851"/>
              <a:gd name="T72" fmla="*/ 775 w 869"/>
              <a:gd name="T73" fmla="*/ 138 h 851"/>
              <a:gd name="T74" fmla="*/ 803 w 869"/>
              <a:gd name="T75" fmla="*/ 175 h 851"/>
              <a:gd name="T76" fmla="*/ 837 w 869"/>
              <a:gd name="T77" fmla="*/ 238 h 851"/>
              <a:gd name="T78" fmla="*/ 861 w 869"/>
              <a:gd name="T79" fmla="*/ 312 h 851"/>
              <a:gd name="T80" fmla="*/ 869 w 869"/>
              <a:gd name="T81" fmla="*/ 379 h 851"/>
              <a:gd name="T82" fmla="*/ 869 w 869"/>
              <a:gd name="T83" fmla="*/ 423 h 851"/>
              <a:gd name="T84" fmla="*/ 859 w 869"/>
              <a:gd name="T85" fmla="*/ 499 h 851"/>
              <a:gd name="T86" fmla="*/ 834 w 869"/>
              <a:gd name="T87" fmla="*/ 569 h 851"/>
              <a:gd name="T88" fmla="*/ 796 w 869"/>
              <a:gd name="T89" fmla="*/ 631 h 851"/>
              <a:gd name="T90" fmla="*/ 749 w 869"/>
              <a:gd name="T91" fmla="*/ 684 h 851"/>
              <a:gd name="T92" fmla="*/ 693 w 869"/>
              <a:gd name="T93" fmla="*/ 727 h 851"/>
              <a:gd name="T94" fmla="*/ 626 w 869"/>
              <a:gd name="T95" fmla="*/ 766 h 851"/>
              <a:gd name="T96" fmla="*/ 506 w 869"/>
              <a:gd name="T97" fmla="*/ 826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9" h="851">
                <a:moveTo>
                  <a:pt x="452" y="851"/>
                </a:moveTo>
                <a:lnTo>
                  <a:pt x="452" y="851"/>
                </a:lnTo>
                <a:lnTo>
                  <a:pt x="386" y="818"/>
                </a:lnTo>
                <a:lnTo>
                  <a:pt x="323" y="785"/>
                </a:lnTo>
                <a:lnTo>
                  <a:pt x="264" y="754"/>
                </a:lnTo>
                <a:lnTo>
                  <a:pt x="235" y="737"/>
                </a:lnTo>
                <a:lnTo>
                  <a:pt x="207" y="720"/>
                </a:lnTo>
                <a:lnTo>
                  <a:pt x="181" y="703"/>
                </a:lnTo>
                <a:lnTo>
                  <a:pt x="156" y="685"/>
                </a:lnTo>
                <a:lnTo>
                  <a:pt x="133" y="666"/>
                </a:lnTo>
                <a:lnTo>
                  <a:pt x="110" y="646"/>
                </a:lnTo>
                <a:lnTo>
                  <a:pt x="90" y="626"/>
                </a:lnTo>
                <a:lnTo>
                  <a:pt x="70" y="605"/>
                </a:lnTo>
                <a:lnTo>
                  <a:pt x="53" y="581"/>
                </a:lnTo>
                <a:lnTo>
                  <a:pt x="37" y="557"/>
                </a:lnTo>
                <a:lnTo>
                  <a:pt x="37" y="557"/>
                </a:lnTo>
                <a:lnTo>
                  <a:pt x="31" y="544"/>
                </a:lnTo>
                <a:lnTo>
                  <a:pt x="24" y="531"/>
                </a:lnTo>
                <a:lnTo>
                  <a:pt x="19" y="517"/>
                </a:lnTo>
                <a:lnTo>
                  <a:pt x="14" y="502"/>
                </a:lnTo>
                <a:lnTo>
                  <a:pt x="10" y="487"/>
                </a:lnTo>
                <a:lnTo>
                  <a:pt x="7" y="472"/>
                </a:lnTo>
                <a:lnTo>
                  <a:pt x="4" y="455"/>
                </a:lnTo>
                <a:lnTo>
                  <a:pt x="2" y="439"/>
                </a:lnTo>
                <a:lnTo>
                  <a:pt x="1" y="423"/>
                </a:lnTo>
                <a:lnTo>
                  <a:pt x="0" y="405"/>
                </a:lnTo>
                <a:lnTo>
                  <a:pt x="0" y="389"/>
                </a:lnTo>
                <a:lnTo>
                  <a:pt x="1" y="371"/>
                </a:lnTo>
                <a:lnTo>
                  <a:pt x="2" y="353"/>
                </a:lnTo>
                <a:lnTo>
                  <a:pt x="5" y="336"/>
                </a:lnTo>
                <a:lnTo>
                  <a:pt x="7" y="318"/>
                </a:lnTo>
                <a:lnTo>
                  <a:pt x="11" y="301"/>
                </a:lnTo>
                <a:lnTo>
                  <a:pt x="15" y="283"/>
                </a:lnTo>
                <a:lnTo>
                  <a:pt x="21" y="266"/>
                </a:lnTo>
                <a:lnTo>
                  <a:pt x="26" y="249"/>
                </a:lnTo>
                <a:lnTo>
                  <a:pt x="34" y="231"/>
                </a:lnTo>
                <a:lnTo>
                  <a:pt x="42" y="215"/>
                </a:lnTo>
                <a:lnTo>
                  <a:pt x="50" y="199"/>
                </a:lnTo>
                <a:lnTo>
                  <a:pt x="59" y="182"/>
                </a:lnTo>
                <a:lnTo>
                  <a:pt x="69" y="166"/>
                </a:lnTo>
                <a:lnTo>
                  <a:pt x="81" y="151"/>
                </a:lnTo>
                <a:lnTo>
                  <a:pt x="93" y="136"/>
                </a:lnTo>
                <a:lnTo>
                  <a:pt x="105" y="122"/>
                </a:lnTo>
                <a:lnTo>
                  <a:pt x="120" y="108"/>
                </a:lnTo>
                <a:lnTo>
                  <a:pt x="134" y="94"/>
                </a:lnTo>
                <a:lnTo>
                  <a:pt x="149" y="82"/>
                </a:lnTo>
                <a:lnTo>
                  <a:pt x="166" y="70"/>
                </a:lnTo>
                <a:lnTo>
                  <a:pt x="183" y="59"/>
                </a:lnTo>
                <a:lnTo>
                  <a:pt x="183" y="59"/>
                </a:lnTo>
                <a:lnTo>
                  <a:pt x="191" y="67"/>
                </a:lnTo>
                <a:lnTo>
                  <a:pt x="198" y="75"/>
                </a:lnTo>
                <a:lnTo>
                  <a:pt x="203" y="82"/>
                </a:lnTo>
                <a:lnTo>
                  <a:pt x="208" y="90"/>
                </a:lnTo>
                <a:lnTo>
                  <a:pt x="217" y="106"/>
                </a:lnTo>
                <a:lnTo>
                  <a:pt x="222" y="120"/>
                </a:lnTo>
                <a:lnTo>
                  <a:pt x="225" y="132"/>
                </a:lnTo>
                <a:lnTo>
                  <a:pt x="227" y="141"/>
                </a:lnTo>
                <a:lnTo>
                  <a:pt x="227" y="150"/>
                </a:lnTo>
                <a:lnTo>
                  <a:pt x="227" y="150"/>
                </a:lnTo>
                <a:lnTo>
                  <a:pt x="247" y="150"/>
                </a:lnTo>
                <a:lnTo>
                  <a:pt x="272" y="150"/>
                </a:lnTo>
                <a:lnTo>
                  <a:pt x="325" y="146"/>
                </a:lnTo>
                <a:lnTo>
                  <a:pt x="379" y="144"/>
                </a:lnTo>
                <a:lnTo>
                  <a:pt x="404" y="143"/>
                </a:lnTo>
                <a:lnTo>
                  <a:pt x="424" y="143"/>
                </a:lnTo>
                <a:lnTo>
                  <a:pt x="424" y="143"/>
                </a:lnTo>
                <a:lnTo>
                  <a:pt x="425" y="129"/>
                </a:lnTo>
                <a:lnTo>
                  <a:pt x="425" y="112"/>
                </a:lnTo>
                <a:lnTo>
                  <a:pt x="424" y="94"/>
                </a:lnTo>
                <a:lnTo>
                  <a:pt x="422" y="76"/>
                </a:lnTo>
                <a:lnTo>
                  <a:pt x="419" y="56"/>
                </a:lnTo>
                <a:lnTo>
                  <a:pt x="414" y="37"/>
                </a:lnTo>
                <a:lnTo>
                  <a:pt x="407" y="19"/>
                </a:lnTo>
                <a:lnTo>
                  <a:pt x="402" y="9"/>
                </a:lnTo>
                <a:lnTo>
                  <a:pt x="397" y="0"/>
                </a:lnTo>
                <a:lnTo>
                  <a:pt x="397" y="0"/>
                </a:lnTo>
                <a:lnTo>
                  <a:pt x="415" y="14"/>
                </a:lnTo>
                <a:lnTo>
                  <a:pt x="431" y="27"/>
                </a:lnTo>
                <a:lnTo>
                  <a:pt x="446" y="40"/>
                </a:lnTo>
                <a:lnTo>
                  <a:pt x="453" y="47"/>
                </a:lnTo>
                <a:lnTo>
                  <a:pt x="459" y="55"/>
                </a:lnTo>
                <a:lnTo>
                  <a:pt x="465" y="64"/>
                </a:lnTo>
                <a:lnTo>
                  <a:pt x="470" y="73"/>
                </a:lnTo>
                <a:lnTo>
                  <a:pt x="475" y="82"/>
                </a:lnTo>
                <a:lnTo>
                  <a:pt x="479" y="92"/>
                </a:lnTo>
                <a:lnTo>
                  <a:pt x="484" y="104"/>
                </a:lnTo>
                <a:lnTo>
                  <a:pt x="487" y="116"/>
                </a:lnTo>
                <a:lnTo>
                  <a:pt x="490" y="129"/>
                </a:lnTo>
                <a:lnTo>
                  <a:pt x="493" y="143"/>
                </a:lnTo>
                <a:lnTo>
                  <a:pt x="493" y="143"/>
                </a:lnTo>
                <a:lnTo>
                  <a:pt x="671" y="150"/>
                </a:lnTo>
                <a:lnTo>
                  <a:pt x="671" y="150"/>
                </a:lnTo>
                <a:lnTo>
                  <a:pt x="671" y="133"/>
                </a:lnTo>
                <a:lnTo>
                  <a:pt x="670" y="118"/>
                </a:lnTo>
                <a:lnTo>
                  <a:pt x="667" y="103"/>
                </a:lnTo>
                <a:lnTo>
                  <a:pt x="662" y="88"/>
                </a:lnTo>
                <a:lnTo>
                  <a:pt x="657" y="75"/>
                </a:lnTo>
                <a:lnTo>
                  <a:pt x="651" y="62"/>
                </a:lnTo>
                <a:lnTo>
                  <a:pt x="643" y="50"/>
                </a:lnTo>
                <a:lnTo>
                  <a:pt x="634" y="38"/>
                </a:lnTo>
                <a:lnTo>
                  <a:pt x="634" y="38"/>
                </a:lnTo>
                <a:lnTo>
                  <a:pt x="651" y="46"/>
                </a:lnTo>
                <a:lnTo>
                  <a:pt x="669" y="54"/>
                </a:lnTo>
                <a:lnTo>
                  <a:pt x="684" y="64"/>
                </a:lnTo>
                <a:lnTo>
                  <a:pt x="699" y="73"/>
                </a:lnTo>
                <a:lnTo>
                  <a:pt x="714" y="83"/>
                </a:lnTo>
                <a:lnTo>
                  <a:pt x="728" y="93"/>
                </a:lnTo>
                <a:lnTo>
                  <a:pt x="740" y="104"/>
                </a:lnTo>
                <a:lnTo>
                  <a:pt x="752" y="115"/>
                </a:lnTo>
                <a:lnTo>
                  <a:pt x="764" y="126"/>
                </a:lnTo>
                <a:lnTo>
                  <a:pt x="775" y="138"/>
                </a:lnTo>
                <a:lnTo>
                  <a:pt x="785" y="151"/>
                </a:lnTo>
                <a:lnTo>
                  <a:pt x="794" y="163"/>
                </a:lnTo>
                <a:lnTo>
                  <a:pt x="803" y="175"/>
                </a:lnTo>
                <a:lnTo>
                  <a:pt x="811" y="187"/>
                </a:lnTo>
                <a:lnTo>
                  <a:pt x="825" y="213"/>
                </a:lnTo>
                <a:lnTo>
                  <a:pt x="837" y="238"/>
                </a:lnTo>
                <a:lnTo>
                  <a:pt x="848" y="263"/>
                </a:lnTo>
                <a:lnTo>
                  <a:pt x="855" y="289"/>
                </a:lnTo>
                <a:lnTo>
                  <a:pt x="861" y="312"/>
                </a:lnTo>
                <a:lnTo>
                  <a:pt x="865" y="336"/>
                </a:lnTo>
                <a:lnTo>
                  <a:pt x="868" y="358"/>
                </a:lnTo>
                <a:lnTo>
                  <a:pt x="869" y="379"/>
                </a:lnTo>
                <a:lnTo>
                  <a:pt x="869" y="397"/>
                </a:lnTo>
                <a:lnTo>
                  <a:pt x="869" y="397"/>
                </a:lnTo>
                <a:lnTo>
                  <a:pt x="869" y="423"/>
                </a:lnTo>
                <a:lnTo>
                  <a:pt x="868" y="449"/>
                </a:lnTo>
                <a:lnTo>
                  <a:pt x="864" y="474"/>
                </a:lnTo>
                <a:lnTo>
                  <a:pt x="859" y="499"/>
                </a:lnTo>
                <a:lnTo>
                  <a:pt x="852" y="523"/>
                </a:lnTo>
                <a:lnTo>
                  <a:pt x="843" y="546"/>
                </a:lnTo>
                <a:lnTo>
                  <a:pt x="834" y="569"/>
                </a:lnTo>
                <a:lnTo>
                  <a:pt x="823" y="590"/>
                </a:lnTo>
                <a:lnTo>
                  <a:pt x="811" y="612"/>
                </a:lnTo>
                <a:lnTo>
                  <a:pt x="796" y="631"/>
                </a:lnTo>
                <a:lnTo>
                  <a:pt x="782" y="651"/>
                </a:lnTo>
                <a:lnTo>
                  <a:pt x="766" y="668"/>
                </a:lnTo>
                <a:lnTo>
                  <a:pt x="749" y="684"/>
                </a:lnTo>
                <a:lnTo>
                  <a:pt x="731" y="700"/>
                </a:lnTo>
                <a:lnTo>
                  <a:pt x="713" y="714"/>
                </a:lnTo>
                <a:lnTo>
                  <a:pt x="693" y="727"/>
                </a:lnTo>
                <a:lnTo>
                  <a:pt x="693" y="727"/>
                </a:lnTo>
                <a:lnTo>
                  <a:pt x="658" y="748"/>
                </a:lnTo>
                <a:lnTo>
                  <a:pt x="626" y="766"/>
                </a:lnTo>
                <a:lnTo>
                  <a:pt x="594" y="783"/>
                </a:lnTo>
                <a:lnTo>
                  <a:pt x="563" y="799"/>
                </a:lnTo>
                <a:lnTo>
                  <a:pt x="506" y="826"/>
                </a:lnTo>
                <a:lnTo>
                  <a:pt x="452" y="85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8" name="Freeform 45"/>
          <p:cNvSpPr>
            <a:spLocks/>
          </p:cNvSpPr>
          <p:nvPr userDrawn="1"/>
        </p:nvSpPr>
        <p:spPr bwMode="auto">
          <a:xfrm>
            <a:off x="7677150" y="1579265"/>
            <a:ext cx="1588" cy="0"/>
          </a:xfrm>
          <a:custGeom>
            <a:avLst/>
            <a:gdLst>
              <a:gd name="T0" fmla="*/ 22 w 22"/>
              <a:gd name="T1" fmla="*/ 9 h 9"/>
              <a:gd name="T2" fmla="*/ 22 w 22"/>
              <a:gd name="T3" fmla="*/ 9 h 9"/>
              <a:gd name="T4" fmla="*/ 3 w 22"/>
              <a:gd name="T5" fmla="*/ 2 h 9"/>
              <a:gd name="T6" fmla="*/ 3 w 22"/>
              <a:gd name="T7" fmla="*/ 2 h 9"/>
              <a:gd name="T8" fmla="*/ 0 w 22"/>
              <a:gd name="T9" fmla="*/ 0 h 9"/>
              <a:gd name="T10" fmla="*/ 0 w 22"/>
              <a:gd name="T11" fmla="*/ 0 h 9"/>
              <a:gd name="T12" fmla="*/ 22 w 22"/>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22" h="9">
                <a:moveTo>
                  <a:pt x="22" y="9"/>
                </a:moveTo>
                <a:lnTo>
                  <a:pt x="22" y="9"/>
                </a:lnTo>
                <a:lnTo>
                  <a:pt x="3" y="2"/>
                </a:lnTo>
                <a:lnTo>
                  <a:pt x="3" y="2"/>
                </a:lnTo>
                <a:lnTo>
                  <a:pt x="0" y="0"/>
                </a:lnTo>
                <a:lnTo>
                  <a:pt x="0" y="0"/>
                </a:lnTo>
                <a:lnTo>
                  <a:pt x="22"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9" name="Freeform 46"/>
          <p:cNvSpPr>
            <a:spLocks/>
          </p:cNvSpPr>
          <p:nvPr userDrawn="1"/>
        </p:nvSpPr>
        <p:spPr bwMode="auto">
          <a:xfrm>
            <a:off x="7429500" y="1261765"/>
            <a:ext cx="20638" cy="12700"/>
          </a:xfrm>
          <a:custGeom>
            <a:avLst/>
            <a:gdLst>
              <a:gd name="T0" fmla="*/ 166 w 166"/>
              <a:gd name="T1" fmla="*/ 69 h 96"/>
              <a:gd name="T2" fmla="*/ 166 w 166"/>
              <a:gd name="T3" fmla="*/ 69 h 96"/>
              <a:gd name="T4" fmla="*/ 166 w 166"/>
              <a:gd name="T5" fmla="*/ 70 h 96"/>
              <a:gd name="T6" fmla="*/ 165 w 166"/>
              <a:gd name="T7" fmla="*/ 72 h 96"/>
              <a:gd name="T8" fmla="*/ 161 w 166"/>
              <a:gd name="T9" fmla="*/ 74 h 96"/>
              <a:gd name="T10" fmla="*/ 155 w 166"/>
              <a:gd name="T11" fmla="*/ 77 h 96"/>
              <a:gd name="T12" fmla="*/ 145 w 166"/>
              <a:gd name="T13" fmla="*/ 79 h 96"/>
              <a:gd name="T14" fmla="*/ 123 w 166"/>
              <a:gd name="T15" fmla="*/ 85 h 96"/>
              <a:gd name="T16" fmla="*/ 95 w 166"/>
              <a:gd name="T17" fmla="*/ 90 h 96"/>
              <a:gd name="T18" fmla="*/ 68 w 166"/>
              <a:gd name="T19" fmla="*/ 94 h 96"/>
              <a:gd name="T20" fmla="*/ 42 w 166"/>
              <a:gd name="T21" fmla="*/ 96 h 96"/>
              <a:gd name="T22" fmla="*/ 24 w 166"/>
              <a:gd name="T23" fmla="*/ 96 h 96"/>
              <a:gd name="T24" fmla="*/ 17 w 166"/>
              <a:gd name="T25" fmla="*/ 95 h 96"/>
              <a:gd name="T26" fmla="*/ 13 w 166"/>
              <a:gd name="T27" fmla="*/ 94 h 96"/>
              <a:gd name="T28" fmla="*/ 13 w 166"/>
              <a:gd name="T29" fmla="*/ 94 h 96"/>
              <a:gd name="T30" fmla="*/ 10 w 166"/>
              <a:gd name="T31" fmla="*/ 92 h 96"/>
              <a:gd name="T32" fmla="*/ 8 w 166"/>
              <a:gd name="T33" fmla="*/ 88 h 96"/>
              <a:gd name="T34" fmla="*/ 5 w 166"/>
              <a:gd name="T35" fmla="*/ 77 h 96"/>
              <a:gd name="T36" fmla="*/ 2 w 166"/>
              <a:gd name="T37" fmla="*/ 65 h 96"/>
              <a:gd name="T38" fmla="*/ 0 w 166"/>
              <a:gd name="T39" fmla="*/ 51 h 96"/>
              <a:gd name="T40" fmla="*/ 0 w 166"/>
              <a:gd name="T41" fmla="*/ 36 h 96"/>
              <a:gd name="T42" fmla="*/ 0 w 166"/>
              <a:gd name="T43" fmla="*/ 23 h 96"/>
              <a:gd name="T44" fmla="*/ 1 w 166"/>
              <a:gd name="T45" fmla="*/ 13 h 96"/>
              <a:gd name="T46" fmla="*/ 2 w 166"/>
              <a:gd name="T47" fmla="*/ 8 h 96"/>
              <a:gd name="T48" fmla="*/ 4 w 166"/>
              <a:gd name="T49" fmla="*/ 5 h 96"/>
              <a:gd name="T50" fmla="*/ 4 w 166"/>
              <a:gd name="T51" fmla="*/ 5 h 96"/>
              <a:gd name="T52" fmla="*/ 5 w 166"/>
              <a:gd name="T53" fmla="*/ 4 h 96"/>
              <a:gd name="T54" fmla="*/ 7 w 166"/>
              <a:gd name="T55" fmla="*/ 2 h 96"/>
              <a:gd name="T56" fmla="*/ 13 w 166"/>
              <a:gd name="T57" fmla="*/ 1 h 96"/>
              <a:gd name="T58" fmla="*/ 22 w 166"/>
              <a:gd name="T59" fmla="*/ 0 h 96"/>
              <a:gd name="T60" fmla="*/ 32 w 166"/>
              <a:gd name="T61" fmla="*/ 0 h 96"/>
              <a:gd name="T62" fmla="*/ 43 w 166"/>
              <a:gd name="T63" fmla="*/ 1 h 96"/>
              <a:gd name="T64" fmla="*/ 55 w 166"/>
              <a:gd name="T65" fmla="*/ 3 h 96"/>
              <a:gd name="T66" fmla="*/ 69 w 166"/>
              <a:gd name="T67" fmla="*/ 6 h 96"/>
              <a:gd name="T68" fmla="*/ 83 w 166"/>
              <a:gd name="T69" fmla="*/ 10 h 96"/>
              <a:gd name="T70" fmla="*/ 96 w 166"/>
              <a:gd name="T71" fmla="*/ 15 h 96"/>
              <a:gd name="T72" fmla="*/ 110 w 166"/>
              <a:gd name="T73" fmla="*/ 20 h 96"/>
              <a:gd name="T74" fmla="*/ 123 w 166"/>
              <a:gd name="T75" fmla="*/ 27 h 96"/>
              <a:gd name="T76" fmla="*/ 135 w 166"/>
              <a:gd name="T77" fmla="*/ 34 h 96"/>
              <a:gd name="T78" fmla="*/ 145 w 166"/>
              <a:gd name="T79" fmla="*/ 42 h 96"/>
              <a:gd name="T80" fmla="*/ 155 w 166"/>
              <a:gd name="T81" fmla="*/ 51 h 96"/>
              <a:gd name="T82" fmla="*/ 162 w 166"/>
              <a:gd name="T83" fmla="*/ 60 h 96"/>
              <a:gd name="T84" fmla="*/ 164 w 166"/>
              <a:gd name="T85" fmla="*/ 64 h 96"/>
              <a:gd name="T86" fmla="*/ 166 w 166"/>
              <a:gd name="T87" fmla="*/ 6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6" h="96">
                <a:moveTo>
                  <a:pt x="166" y="69"/>
                </a:moveTo>
                <a:lnTo>
                  <a:pt x="166" y="69"/>
                </a:lnTo>
                <a:lnTo>
                  <a:pt x="166" y="70"/>
                </a:lnTo>
                <a:lnTo>
                  <a:pt x="165" y="72"/>
                </a:lnTo>
                <a:lnTo>
                  <a:pt x="161" y="74"/>
                </a:lnTo>
                <a:lnTo>
                  <a:pt x="155" y="77"/>
                </a:lnTo>
                <a:lnTo>
                  <a:pt x="145" y="79"/>
                </a:lnTo>
                <a:lnTo>
                  <a:pt x="123" y="85"/>
                </a:lnTo>
                <a:lnTo>
                  <a:pt x="95" y="90"/>
                </a:lnTo>
                <a:lnTo>
                  <a:pt x="68" y="94"/>
                </a:lnTo>
                <a:lnTo>
                  <a:pt x="42" y="96"/>
                </a:lnTo>
                <a:lnTo>
                  <a:pt x="24" y="96"/>
                </a:lnTo>
                <a:lnTo>
                  <a:pt x="17" y="95"/>
                </a:lnTo>
                <a:lnTo>
                  <a:pt x="13" y="94"/>
                </a:lnTo>
                <a:lnTo>
                  <a:pt x="13" y="94"/>
                </a:lnTo>
                <a:lnTo>
                  <a:pt x="10" y="92"/>
                </a:lnTo>
                <a:lnTo>
                  <a:pt x="8" y="88"/>
                </a:lnTo>
                <a:lnTo>
                  <a:pt x="5" y="77"/>
                </a:lnTo>
                <a:lnTo>
                  <a:pt x="2" y="65"/>
                </a:lnTo>
                <a:lnTo>
                  <a:pt x="0" y="51"/>
                </a:lnTo>
                <a:lnTo>
                  <a:pt x="0" y="36"/>
                </a:lnTo>
                <a:lnTo>
                  <a:pt x="0" y="23"/>
                </a:lnTo>
                <a:lnTo>
                  <a:pt x="1" y="13"/>
                </a:lnTo>
                <a:lnTo>
                  <a:pt x="2" y="8"/>
                </a:lnTo>
                <a:lnTo>
                  <a:pt x="4" y="5"/>
                </a:lnTo>
                <a:lnTo>
                  <a:pt x="4" y="5"/>
                </a:lnTo>
                <a:lnTo>
                  <a:pt x="5" y="4"/>
                </a:lnTo>
                <a:lnTo>
                  <a:pt x="7" y="2"/>
                </a:lnTo>
                <a:lnTo>
                  <a:pt x="13" y="1"/>
                </a:lnTo>
                <a:lnTo>
                  <a:pt x="22" y="0"/>
                </a:lnTo>
                <a:lnTo>
                  <a:pt x="32" y="0"/>
                </a:lnTo>
                <a:lnTo>
                  <a:pt x="43" y="1"/>
                </a:lnTo>
                <a:lnTo>
                  <a:pt x="55" y="3"/>
                </a:lnTo>
                <a:lnTo>
                  <a:pt x="69" y="6"/>
                </a:lnTo>
                <a:lnTo>
                  <a:pt x="83" y="10"/>
                </a:lnTo>
                <a:lnTo>
                  <a:pt x="96" y="15"/>
                </a:lnTo>
                <a:lnTo>
                  <a:pt x="110" y="20"/>
                </a:lnTo>
                <a:lnTo>
                  <a:pt x="123" y="27"/>
                </a:lnTo>
                <a:lnTo>
                  <a:pt x="135" y="34"/>
                </a:lnTo>
                <a:lnTo>
                  <a:pt x="145" y="42"/>
                </a:lnTo>
                <a:lnTo>
                  <a:pt x="155" y="51"/>
                </a:lnTo>
                <a:lnTo>
                  <a:pt x="162" y="60"/>
                </a:lnTo>
                <a:lnTo>
                  <a:pt x="164" y="64"/>
                </a:lnTo>
                <a:lnTo>
                  <a:pt x="166" y="6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50" name="Freeform 47"/>
          <p:cNvSpPr>
            <a:spLocks/>
          </p:cNvSpPr>
          <p:nvPr userDrawn="1"/>
        </p:nvSpPr>
        <p:spPr bwMode="auto">
          <a:xfrm>
            <a:off x="7151687" y="1218903"/>
            <a:ext cx="657225" cy="776288"/>
          </a:xfrm>
          <a:custGeom>
            <a:avLst/>
            <a:gdLst>
              <a:gd name="T0" fmla="*/ 4703 w 4973"/>
              <a:gd name="T1" fmla="*/ 1877 h 5865"/>
              <a:gd name="T2" fmla="*/ 4733 w 4973"/>
              <a:gd name="T3" fmla="*/ 1183 h 5865"/>
              <a:gd name="T4" fmla="*/ 4302 w 4973"/>
              <a:gd name="T5" fmla="*/ 476 h 5865"/>
              <a:gd name="T6" fmla="*/ 3581 w 4973"/>
              <a:gd name="T7" fmla="*/ 813 h 5865"/>
              <a:gd name="T8" fmla="*/ 3899 w 4973"/>
              <a:gd name="T9" fmla="*/ 1529 h 5865"/>
              <a:gd name="T10" fmla="*/ 3757 w 4973"/>
              <a:gd name="T11" fmla="*/ 2227 h 5865"/>
              <a:gd name="T12" fmla="*/ 3939 w 4973"/>
              <a:gd name="T13" fmla="*/ 2068 h 5865"/>
              <a:gd name="T14" fmla="*/ 4069 w 4973"/>
              <a:gd name="T15" fmla="*/ 1928 h 5865"/>
              <a:gd name="T16" fmla="*/ 4545 w 4973"/>
              <a:gd name="T17" fmla="*/ 1985 h 5865"/>
              <a:gd name="T18" fmla="*/ 4487 w 4973"/>
              <a:gd name="T19" fmla="*/ 2697 h 5865"/>
              <a:gd name="T20" fmla="*/ 3601 w 4973"/>
              <a:gd name="T21" fmla="*/ 2477 h 5865"/>
              <a:gd name="T22" fmla="*/ 3285 w 4973"/>
              <a:gd name="T23" fmla="*/ 1581 h 5865"/>
              <a:gd name="T24" fmla="*/ 3364 w 4973"/>
              <a:gd name="T25" fmla="*/ 1421 h 5865"/>
              <a:gd name="T26" fmla="*/ 3101 w 4973"/>
              <a:gd name="T27" fmla="*/ 996 h 5865"/>
              <a:gd name="T28" fmla="*/ 3251 w 4973"/>
              <a:gd name="T29" fmla="*/ 599 h 5865"/>
              <a:gd name="T30" fmla="*/ 2863 w 4973"/>
              <a:gd name="T31" fmla="*/ 144 h 5865"/>
              <a:gd name="T32" fmla="*/ 1960 w 4973"/>
              <a:gd name="T33" fmla="*/ 304 h 5865"/>
              <a:gd name="T34" fmla="*/ 1819 w 4973"/>
              <a:gd name="T35" fmla="*/ 748 h 5865"/>
              <a:gd name="T36" fmla="*/ 2202 w 4973"/>
              <a:gd name="T37" fmla="*/ 626 h 5865"/>
              <a:gd name="T38" fmla="*/ 2215 w 4973"/>
              <a:gd name="T39" fmla="*/ 803 h 5865"/>
              <a:gd name="T40" fmla="*/ 1623 w 4973"/>
              <a:gd name="T41" fmla="*/ 851 h 5865"/>
              <a:gd name="T42" fmla="*/ 1602 w 4973"/>
              <a:gd name="T43" fmla="*/ 1055 h 5865"/>
              <a:gd name="T44" fmla="*/ 2246 w 4973"/>
              <a:gd name="T45" fmla="*/ 924 h 5865"/>
              <a:gd name="T46" fmla="*/ 2036 w 4973"/>
              <a:gd name="T47" fmla="*/ 981 h 5865"/>
              <a:gd name="T48" fmla="*/ 1754 w 4973"/>
              <a:gd name="T49" fmla="*/ 1278 h 5865"/>
              <a:gd name="T50" fmla="*/ 2105 w 4973"/>
              <a:gd name="T51" fmla="*/ 1619 h 5865"/>
              <a:gd name="T52" fmla="*/ 863 w 4973"/>
              <a:gd name="T53" fmla="*/ 2239 h 5865"/>
              <a:gd name="T54" fmla="*/ 310 w 4973"/>
              <a:gd name="T55" fmla="*/ 2027 h 5865"/>
              <a:gd name="T56" fmla="*/ 319 w 4973"/>
              <a:gd name="T57" fmla="*/ 2172 h 5865"/>
              <a:gd name="T58" fmla="*/ 380 w 4973"/>
              <a:gd name="T59" fmla="*/ 2295 h 5865"/>
              <a:gd name="T60" fmla="*/ 39 w 4973"/>
              <a:gd name="T61" fmla="*/ 2396 h 5865"/>
              <a:gd name="T62" fmla="*/ 189 w 4973"/>
              <a:gd name="T63" fmla="*/ 2511 h 5865"/>
              <a:gd name="T64" fmla="*/ 322 w 4973"/>
              <a:gd name="T65" fmla="*/ 2588 h 5865"/>
              <a:gd name="T66" fmla="*/ 272 w 4973"/>
              <a:gd name="T67" fmla="*/ 2893 h 5865"/>
              <a:gd name="T68" fmla="*/ 630 w 4973"/>
              <a:gd name="T69" fmla="*/ 2730 h 5865"/>
              <a:gd name="T70" fmla="*/ 811 w 4973"/>
              <a:gd name="T71" fmla="*/ 2843 h 5865"/>
              <a:gd name="T72" fmla="*/ 1024 w 4973"/>
              <a:gd name="T73" fmla="*/ 2773 h 5865"/>
              <a:gd name="T74" fmla="*/ 1290 w 4973"/>
              <a:gd name="T75" fmla="*/ 2556 h 5865"/>
              <a:gd name="T76" fmla="*/ 1713 w 4973"/>
              <a:gd name="T77" fmla="*/ 2519 h 5865"/>
              <a:gd name="T78" fmla="*/ 2306 w 4973"/>
              <a:gd name="T79" fmla="*/ 2641 h 5865"/>
              <a:gd name="T80" fmla="*/ 3357 w 4973"/>
              <a:gd name="T81" fmla="*/ 3092 h 5865"/>
              <a:gd name="T82" fmla="*/ 3742 w 4973"/>
              <a:gd name="T83" fmla="*/ 3928 h 5865"/>
              <a:gd name="T84" fmla="*/ 3685 w 4973"/>
              <a:gd name="T85" fmla="*/ 4224 h 5865"/>
              <a:gd name="T86" fmla="*/ 4224 w 4973"/>
              <a:gd name="T87" fmla="*/ 4337 h 5865"/>
              <a:gd name="T88" fmla="*/ 4264 w 4973"/>
              <a:gd name="T89" fmla="*/ 5017 h 5865"/>
              <a:gd name="T90" fmla="*/ 3761 w 4973"/>
              <a:gd name="T91" fmla="*/ 5058 h 5865"/>
              <a:gd name="T92" fmla="*/ 3894 w 4973"/>
              <a:gd name="T93" fmla="*/ 5210 h 5865"/>
              <a:gd name="T94" fmla="*/ 3894 w 4973"/>
              <a:gd name="T95" fmla="*/ 5294 h 5865"/>
              <a:gd name="T96" fmla="*/ 3751 w 4973"/>
              <a:gd name="T97" fmla="*/ 5644 h 5865"/>
              <a:gd name="T98" fmla="*/ 3926 w 4973"/>
              <a:gd name="T99" fmla="*/ 5586 h 5865"/>
              <a:gd name="T100" fmla="*/ 4212 w 4973"/>
              <a:gd name="T101" fmla="*/ 5447 h 5865"/>
              <a:gd name="T102" fmla="*/ 4257 w 4973"/>
              <a:gd name="T103" fmla="*/ 5812 h 5865"/>
              <a:gd name="T104" fmla="*/ 4352 w 4973"/>
              <a:gd name="T105" fmla="*/ 5675 h 5865"/>
              <a:gd name="T106" fmla="*/ 4557 w 4973"/>
              <a:gd name="T107" fmla="*/ 5328 h 5865"/>
              <a:gd name="T108" fmla="*/ 4736 w 4973"/>
              <a:gd name="T109" fmla="*/ 5505 h 5865"/>
              <a:gd name="T110" fmla="*/ 4753 w 4973"/>
              <a:gd name="T111" fmla="*/ 5108 h 5865"/>
              <a:gd name="T112" fmla="*/ 4693 w 4973"/>
              <a:gd name="T113" fmla="*/ 4810 h 5865"/>
              <a:gd name="T114" fmla="*/ 4677 w 4973"/>
              <a:gd name="T115" fmla="*/ 4437 h 5865"/>
              <a:gd name="T116" fmla="*/ 4640 w 4973"/>
              <a:gd name="T117" fmla="*/ 4108 h 5865"/>
              <a:gd name="T118" fmla="*/ 4297 w 4973"/>
              <a:gd name="T119" fmla="*/ 3793 h 5865"/>
              <a:gd name="T120" fmla="*/ 4267 w 4973"/>
              <a:gd name="T121" fmla="*/ 3366 h 5865"/>
              <a:gd name="T122" fmla="*/ 4428 w 4973"/>
              <a:gd name="T123" fmla="*/ 2994 h 5865"/>
              <a:gd name="T124" fmla="*/ 4923 w 4973"/>
              <a:gd name="T125" fmla="*/ 2543 h 5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973" h="5865">
                <a:moveTo>
                  <a:pt x="4842" y="2253"/>
                </a:moveTo>
                <a:lnTo>
                  <a:pt x="4842" y="2253"/>
                </a:lnTo>
                <a:lnTo>
                  <a:pt x="4862" y="2257"/>
                </a:lnTo>
                <a:lnTo>
                  <a:pt x="4881" y="2259"/>
                </a:lnTo>
                <a:lnTo>
                  <a:pt x="4900" y="2260"/>
                </a:lnTo>
                <a:lnTo>
                  <a:pt x="4916" y="2259"/>
                </a:lnTo>
                <a:lnTo>
                  <a:pt x="4932" y="2257"/>
                </a:lnTo>
                <a:lnTo>
                  <a:pt x="4946" y="2254"/>
                </a:lnTo>
                <a:lnTo>
                  <a:pt x="4958" y="2249"/>
                </a:lnTo>
                <a:lnTo>
                  <a:pt x="4969" y="2243"/>
                </a:lnTo>
                <a:lnTo>
                  <a:pt x="4969" y="2243"/>
                </a:lnTo>
                <a:lnTo>
                  <a:pt x="4967" y="2217"/>
                </a:lnTo>
                <a:lnTo>
                  <a:pt x="4960" y="2157"/>
                </a:lnTo>
                <a:lnTo>
                  <a:pt x="4951" y="2084"/>
                </a:lnTo>
                <a:lnTo>
                  <a:pt x="4946" y="2052"/>
                </a:lnTo>
                <a:lnTo>
                  <a:pt x="4940" y="2024"/>
                </a:lnTo>
                <a:lnTo>
                  <a:pt x="4940" y="2024"/>
                </a:lnTo>
                <a:lnTo>
                  <a:pt x="4922" y="2027"/>
                </a:lnTo>
                <a:lnTo>
                  <a:pt x="4902" y="2030"/>
                </a:lnTo>
                <a:lnTo>
                  <a:pt x="4891" y="2030"/>
                </a:lnTo>
                <a:lnTo>
                  <a:pt x="4879" y="2030"/>
                </a:lnTo>
                <a:lnTo>
                  <a:pt x="4867" y="2029"/>
                </a:lnTo>
                <a:lnTo>
                  <a:pt x="4855" y="2027"/>
                </a:lnTo>
                <a:lnTo>
                  <a:pt x="4843" y="2024"/>
                </a:lnTo>
                <a:lnTo>
                  <a:pt x="4830" y="2020"/>
                </a:lnTo>
                <a:lnTo>
                  <a:pt x="4818" y="2015"/>
                </a:lnTo>
                <a:lnTo>
                  <a:pt x="4806" y="2008"/>
                </a:lnTo>
                <a:lnTo>
                  <a:pt x="4794" y="1998"/>
                </a:lnTo>
                <a:lnTo>
                  <a:pt x="4782" y="1988"/>
                </a:lnTo>
                <a:lnTo>
                  <a:pt x="4771" y="1976"/>
                </a:lnTo>
                <a:lnTo>
                  <a:pt x="4761" y="1962"/>
                </a:lnTo>
                <a:lnTo>
                  <a:pt x="4761" y="1962"/>
                </a:lnTo>
                <a:lnTo>
                  <a:pt x="4743" y="1933"/>
                </a:lnTo>
                <a:lnTo>
                  <a:pt x="4724" y="1905"/>
                </a:lnTo>
                <a:lnTo>
                  <a:pt x="4724" y="1905"/>
                </a:lnTo>
                <a:lnTo>
                  <a:pt x="4703" y="1877"/>
                </a:lnTo>
                <a:lnTo>
                  <a:pt x="4680" y="1849"/>
                </a:lnTo>
                <a:lnTo>
                  <a:pt x="4658" y="1823"/>
                </a:lnTo>
                <a:lnTo>
                  <a:pt x="4634" y="1797"/>
                </a:lnTo>
                <a:lnTo>
                  <a:pt x="4611" y="1773"/>
                </a:lnTo>
                <a:lnTo>
                  <a:pt x="4586" y="1750"/>
                </a:lnTo>
                <a:lnTo>
                  <a:pt x="4562" y="1727"/>
                </a:lnTo>
                <a:lnTo>
                  <a:pt x="4538" y="1707"/>
                </a:lnTo>
                <a:lnTo>
                  <a:pt x="4513" y="1687"/>
                </a:lnTo>
                <a:lnTo>
                  <a:pt x="4489" y="1667"/>
                </a:lnTo>
                <a:lnTo>
                  <a:pt x="4463" y="1649"/>
                </a:lnTo>
                <a:lnTo>
                  <a:pt x="4439" y="1630"/>
                </a:lnTo>
                <a:lnTo>
                  <a:pt x="4413" y="1614"/>
                </a:lnTo>
                <a:lnTo>
                  <a:pt x="4389" y="1598"/>
                </a:lnTo>
                <a:lnTo>
                  <a:pt x="4337" y="1566"/>
                </a:lnTo>
                <a:lnTo>
                  <a:pt x="4337" y="1566"/>
                </a:lnTo>
                <a:lnTo>
                  <a:pt x="4381" y="1543"/>
                </a:lnTo>
                <a:lnTo>
                  <a:pt x="4422" y="1521"/>
                </a:lnTo>
                <a:lnTo>
                  <a:pt x="4459" y="1498"/>
                </a:lnTo>
                <a:lnTo>
                  <a:pt x="4492" y="1477"/>
                </a:lnTo>
                <a:lnTo>
                  <a:pt x="4523" y="1455"/>
                </a:lnTo>
                <a:lnTo>
                  <a:pt x="4549" y="1434"/>
                </a:lnTo>
                <a:lnTo>
                  <a:pt x="4574" y="1414"/>
                </a:lnTo>
                <a:lnTo>
                  <a:pt x="4595" y="1393"/>
                </a:lnTo>
                <a:lnTo>
                  <a:pt x="4615" y="1374"/>
                </a:lnTo>
                <a:lnTo>
                  <a:pt x="4632" y="1355"/>
                </a:lnTo>
                <a:lnTo>
                  <a:pt x="4647" y="1337"/>
                </a:lnTo>
                <a:lnTo>
                  <a:pt x="4661" y="1319"/>
                </a:lnTo>
                <a:lnTo>
                  <a:pt x="4673" y="1303"/>
                </a:lnTo>
                <a:lnTo>
                  <a:pt x="4683" y="1288"/>
                </a:lnTo>
                <a:lnTo>
                  <a:pt x="4700" y="1260"/>
                </a:lnTo>
                <a:lnTo>
                  <a:pt x="4700" y="1260"/>
                </a:lnTo>
                <a:lnTo>
                  <a:pt x="4708" y="1248"/>
                </a:lnTo>
                <a:lnTo>
                  <a:pt x="4714" y="1234"/>
                </a:lnTo>
                <a:lnTo>
                  <a:pt x="4721" y="1218"/>
                </a:lnTo>
                <a:lnTo>
                  <a:pt x="4727" y="1202"/>
                </a:lnTo>
                <a:lnTo>
                  <a:pt x="4733" y="1183"/>
                </a:lnTo>
                <a:lnTo>
                  <a:pt x="4739" y="1164"/>
                </a:lnTo>
                <a:lnTo>
                  <a:pt x="4743" y="1144"/>
                </a:lnTo>
                <a:lnTo>
                  <a:pt x="4749" y="1123"/>
                </a:lnTo>
                <a:lnTo>
                  <a:pt x="4753" y="1101"/>
                </a:lnTo>
                <a:lnTo>
                  <a:pt x="4756" y="1078"/>
                </a:lnTo>
                <a:lnTo>
                  <a:pt x="4758" y="1054"/>
                </a:lnTo>
                <a:lnTo>
                  <a:pt x="4759" y="1030"/>
                </a:lnTo>
                <a:lnTo>
                  <a:pt x="4760" y="1005"/>
                </a:lnTo>
                <a:lnTo>
                  <a:pt x="4759" y="980"/>
                </a:lnTo>
                <a:lnTo>
                  <a:pt x="4758" y="954"/>
                </a:lnTo>
                <a:lnTo>
                  <a:pt x="4755" y="928"/>
                </a:lnTo>
                <a:lnTo>
                  <a:pt x="4751" y="902"/>
                </a:lnTo>
                <a:lnTo>
                  <a:pt x="4745" y="876"/>
                </a:lnTo>
                <a:lnTo>
                  <a:pt x="4738" y="849"/>
                </a:lnTo>
                <a:lnTo>
                  <a:pt x="4730" y="824"/>
                </a:lnTo>
                <a:lnTo>
                  <a:pt x="4720" y="797"/>
                </a:lnTo>
                <a:lnTo>
                  <a:pt x="4709" y="771"/>
                </a:lnTo>
                <a:lnTo>
                  <a:pt x="4695" y="746"/>
                </a:lnTo>
                <a:lnTo>
                  <a:pt x="4681" y="721"/>
                </a:lnTo>
                <a:lnTo>
                  <a:pt x="4665" y="697"/>
                </a:lnTo>
                <a:lnTo>
                  <a:pt x="4646" y="672"/>
                </a:lnTo>
                <a:lnTo>
                  <a:pt x="4625" y="649"/>
                </a:lnTo>
                <a:lnTo>
                  <a:pt x="4602" y="626"/>
                </a:lnTo>
                <a:lnTo>
                  <a:pt x="4578" y="605"/>
                </a:lnTo>
                <a:lnTo>
                  <a:pt x="4551" y="584"/>
                </a:lnTo>
                <a:lnTo>
                  <a:pt x="4522" y="565"/>
                </a:lnTo>
                <a:lnTo>
                  <a:pt x="4490" y="545"/>
                </a:lnTo>
                <a:lnTo>
                  <a:pt x="4490" y="545"/>
                </a:lnTo>
                <a:lnTo>
                  <a:pt x="4466" y="533"/>
                </a:lnTo>
                <a:lnTo>
                  <a:pt x="4443" y="522"/>
                </a:lnTo>
                <a:lnTo>
                  <a:pt x="4419" y="512"/>
                </a:lnTo>
                <a:lnTo>
                  <a:pt x="4396" y="503"/>
                </a:lnTo>
                <a:lnTo>
                  <a:pt x="4372" y="494"/>
                </a:lnTo>
                <a:lnTo>
                  <a:pt x="4348" y="487"/>
                </a:lnTo>
                <a:lnTo>
                  <a:pt x="4325" y="481"/>
                </a:lnTo>
                <a:lnTo>
                  <a:pt x="4302" y="476"/>
                </a:lnTo>
                <a:lnTo>
                  <a:pt x="4278" y="471"/>
                </a:lnTo>
                <a:lnTo>
                  <a:pt x="4256" y="468"/>
                </a:lnTo>
                <a:lnTo>
                  <a:pt x="4233" y="465"/>
                </a:lnTo>
                <a:lnTo>
                  <a:pt x="4211" y="463"/>
                </a:lnTo>
                <a:lnTo>
                  <a:pt x="4188" y="461"/>
                </a:lnTo>
                <a:lnTo>
                  <a:pt x="4167" y="461"/>
                </a:lnTo>
                <a:lnTo>
                  <a:pt x="4145" y="461"/>
                </a:lnTo>
                <a:lnTo>
                  <a:pt x="4124" y="461"/>
                </a:lnTo>
                <a:lnTo>
                  <a:pt x="4083" y="464"/>
                </a:lnTo>
                <a:lnTo>
                  <a:pt x="4044" y="468"/>
                </a:lnTo>
                <a:lnTo>
                  <a:pt x="4007" y="474"/>
                </a:lnTo>
                <a:lnTo>
                  <a:pt x="3973" y="482"/>
                </a:lnTo>
                <a:lnTo>
                  <a:pt x="3941" y="490"/>
                </a:lnTo>
                <a:lnTo>
                  <a:pt x="3912" y="499"/>
                </a:lnTo>
                <a:lnTo>
                  <a:pt x="3887" y="510"/>
                </a:lnTo>
                <a:lnTo>
                  <a:pt x="3864" y="519"/>
                </a:lnTo>
                <a:lnTo>
                  <a:pt x="3864" y="519"/>
                </a:lnTo>
                <a:lnTo>
                  <a:pt x="3844" y="529"/>
                </a:lnTo>
                <a:lnTo>
                  <a:pt x="3824" y="539"/>
                </a:lnTo>
                <a:lnTo>
                  <a:pt x="3806" y="551"/>
                </a:lnTo>
                <a:lnTo>
                  <a:pt x="3787" y="562"/>
                </a:lnTo>
                <a:lnTo>
                  <a:pt x="3769" y="575"/>
                </a:lnTo>
                <a:lnTo>
                  <a:pt x="3752" y="587"/>
                </a:lnTo>
                <a:lnTo>
                  <a:pt x="3735" y="602"/>
                </a:lnTo>
                <a:lnTo>
                  <a:pt x="3719" y="616"/>
                </a:lnTo>
                <a:lnTo>
                  <a:pt x="3703" y="631"/>
                </a:lnTo>
                <a:lnTo>
                  <a:pt x="3687" y="647"/>
                </a:lnTo>
                <a:lnTo>
                  <a:pt x="3673" y="663"/>
                </a:lnTo>
                <a:lnTo>
                  <a:pt x="3659" y="679"/>
                </a:lnTo>
                <a:lnTo>
                  <a:pt x="3645" y="697"/>
                </a:lnTo>
                <a:lnTo>
                  <a:pt x="3633" y="715"/>
                </a:lnTo>
                <a:lnTo>
                  <a:pt x="3621" y="734"/>
                </a:lnTo>
                <a:lnTo>
                  <a:pt x="3609" y="753"/>
                </a:lnTo>
                <a:lnTo>
                  <a:pt x="3599" y="772"/>
                </a:lnTo>
                <a:lnTo>
                  <a:pt x="3589" y="793"/>
                </a:lnTo>
                <a:lnTo>
                  <a:pt x="3581" y="813"/>
                </a:lnTo>
                <a:lnTo>
                  <a:pt x="3573" y="835"/>
                </a:lnTo>
                <a:lnTo>
                  <a:pt x="3565" y="856"/>
                </a:lnTo>
                <a:lnTo>
                  <a:pt x="3559" y="879"/>
                </a:lnTo>
                <a:lnTo>
                  <a:pt x="3554" y="901"/>
                </a:lnTo>
                <a:lnTo>
                  <a:pt x="3550" y="924"/>
                </a:lnTo>
                <a:lnTo>
                  <a:pt x="3547" y="947"/>
                </a:lnTo>
                <a:lnTo>
                  <a:pt x="3545" y="972"/>
                </a:lnTo>
                <a:lnTo>
                  <a:pt x="3544" y="996"/>
                </a:lnTo>
                <a:lnTo>
                  <a:pt x="3543" y="1021"/>
                </a:lnTo>
                <a:lnTo>
                  <a:pt x="3544" y="1046"/>
                </a:lnTo>
                <a:lnTo>
                  <a:pt x="3546" y="1072"/>
                </a:lnTo>
                <a:lnTo>
                  <a:pt x="3550" y="1098"/>
                </a:lnTo>
                <a:lnTo>
                  <a:pt x="3554" y="1124"/>
                </a:lnTo>
                <a:lnTo>
                  <a:pt x="3554" y="1124"/>
                </a:lnTo>
                <a:lnTo>
                  <a:pt x="3559" y="1148"/>
                </a:lnTo>
                <a:lnTo>
                  <a:pt x="3564" y="1169"/>
                </a:lnTo>
                <a:lnTo>
                  <a:pt x="3571" y="1191"/>
                </a:lnTo>
                <a:lnTo>
                  <a:pt x="3577" y="1211"/>
                </a:lnTo>
                <a:lnTo>
                  <a:pt x="3585" y="1231"/>
                </a:lnTo>
                <a:lnTo>
                  <a:pt x="3592" y="1249"/>
                </a:lnTo>
                <a:lnTo>
                  <a:pt x="3601" y="1267"/>
                </a:lnTo>
                <a:lnTo>
                  <a:pt x="3610" y="1285"/>
                </a:lnTo>
                <a:lnTo>
                  <a:pt x="3620" y="1301"/>
                </a:lnTo>
                <a:lnTo>
                  <a:pt x="3631" y="1316"/>
                </a:lnTo>
                <a:lnTo>
                  <a:pt x="3641" y="1332"/>
                </a:lnTo>
                <a:lnTo>
                  <a:pt x="3652" y="1347"/>
                </a:lnTo>
                <a:lnTo>
                  <a:pt x="3665" y="1361"/>
                </a:lnTo>
                <a:lnTo>
                  <a:pt x="3677" y="1375"/>
                </a:lnTo>
                <a:lnTo>
                  <a:pt x="3690" y="1388"/>
                </a:lnTo>
                <a:lnTo>
                  <a:pt x="3704" y="1400"/>
                </a:lnTo>
                <a:lnTo>
                  <a:pt x="3732" y="1425"/>
                </a:lnTo>
                <a:lnTo>
                  <a:pt x="3763" y="1447"/>
                </a:lnTo>
                <a:lnTo>
                  <a:pt x="3795" y="1469"/>
                </a:lnTo>
                <a:lnTo>
                  <a:pt x="3828" y="1489"/>
                </a:lnTo>
                <a:lnTo>
                  <a:pt x="3863" y="1510"/>
                </a:lnTo>
                <a:lnTo>
                  <a:pt x="3899" y="1529"/>
                </a:lnTo>
                <a:lnTo>
                  <a:pt x="3976" y="1567"/>
                </a:lnTo>
                <a:lnTo>
                  <a:pt x="3976" y="1567"/>
                </a:lnTo>
                <a:lnTo>
                  <a:pt x="3945" y="1584"/>
                </a:lnTo>
                <a:lnTo>
                  <a:pt x="3916" y="1601"/>
                </a:lnTo>
                <a:lnTo>
                  <a:pt x="3890" y="1618"/>
                </a:lnTo>
                <a:lnTo>
                  <a:pt x="3864" y="1636"/>
                </a:lnTo>
                <a:lnTo>
                  <a:pt x="3840" y="1656"/>
                </a:lnTo>
                <a:lnTo>
                  <a:pt x="3817" y="1675"/>
                </a:lnTo>
                <a:lnTo>
                  <a:pt x="3797" y="1696"/>
                </a:lnTo>
                <a:lnTo>
                  <a:pt x="3778" y="1717"/>
                </a:lnTo>
                <a:lnTo>
                  <a:pt x="3761" y="1741"/>
                </a:lnTo>
                <a:lnTo>
                  <a:pt x="3754" y="1753"/>
                </a:lnTo>
                <a:lnTo>
                  <a:pt x="3746" y="1765"/>
                </a:lnTo>
                <a:lnTo>
                  <a:pt x="3739" y="1778"/>
                </a:lnTo>
                <a:lnTo>
                  <a:pt x="3733" y="1791"/>
                </a:lnTo>
                <a:lnTo>
                  <a:pt x="3728" y="1804"/>
                </a:lnTo>
                <a:lnTo>
                  <a:pt x="3723" y="1818"/>
                </a:lnTo>
                <a:lnTo>
                  <a:pt x="3718" y="1833"/>
                </a:lnTo>
                <a:lnTo>
                  <a:pt x="3714" y="1848"/>
                </a:lnTo>
                <a:lnTo>
                  <a:pt x="3711" y="1863"/>
                </a:lnTo>
                <a:lnTo>
                  <a:pt x="3708" y="1879"/>
                </a:lnTo>
                <a:lnTo>
                  <a:pt x="3706" y="1895"/>
                </a:lnTo>
                <a:lnTo>
                  <a:pt x="3705" y="1912"/>
                </a:lnTo>
                <a:lnTo>
                  <a:pt x="3704" y="1930"/>
                </a:lnTo>
                <a:lnTo>
                  <a:pt x="3703" y="1947"/>
                </a:lnTo>
                <a:lnTo>
                  <a:pt x="3703" y="1947"/>
                </a:lnTo>
                <a:lnTo>
                  <a:pt x="3704" y="1970"/>
                </a:lnTo>
                <a:lnTo>
                  <a:pt x="3707" y="1993"/>
                </a:lnTo>
                <a:lnTo>
                  <a:pt x="3711" y="2016"/>
                </a:lnTo>
                <a:lnTo>
                  <a:pt x="3716" y="2039"/>
                </a:lnTo>
                <a:lnTo>
                  <a:pt x="3729" y="2087"/>
                </a:lnTo>
                <a:lnTo>
                  <a:pt x="3736" y="2113"/>
                </a:lnTo>
                <a:lnTo>
                  <a:pt x="3742" y="2139"/>
                </a:lnTo>
                <a:lnTo>
                  <a:pt x="3749" y="2168"/>
                </a:lnTo>
                <a:lnTo>
                  <a:pt x="3753" y="2197"/>
                </a:lnTo>
                <a:lnTo>
                  <a:pt x="3757" y="2227"/>
                </a:lnTo>
                <a:lnTo>
                  <a:pt x="3758" y="2260"/>
                </a:lnTo>
                <a:lnTo>
                  <a:pt x="3758" y="2295"/>
                </a:lnTo>
                <a:lnTo>
                  <a:pt x="3757" y="2313"/>
                </a:lnTo>
                <a:lnTo>
                  <a:pt x="3755" y="2332"/>
                </a:lnTo>
                <a:lnTo>
                  <a:pt x="3753" y="2350"/>
                </a:lnTo>
                <a:lnTo>
                  <a:pt x="3750" y="2371"/>
                </a:lnTo>
                <a:lnTo>
                  <a:pt x="3745" y="2391"/>
                </a:lnTo>
                <a:lnTo>
                  <a:pt x="3741" y="2411"/>
                </a:lnTo>
                <a:lnTo>
                  <a:pt x="3741" y="2411"/>
                </a:lnTo>
                <a:lnTo>
                  <a:pt x="3741" y="2413"/>
                </a:lnTo>
                <a:lnTo>
                  <a:pt x="3741" y="2414"/>
                </a:lnTo>
                <a:lnTo>
                  <a:pt x="3743" y="2414"/>
                </a:lnTo>
                <a:lnTo>
                  <a:pt x="3745" y="2416"/>
                </a:lnTo>
                <a:lnTo>
                  <a:pt x="3753" y="2413"/>
                </a:lnTo>
                <a:lnTo>
                  <a:pt x="3762" y="2411"/>
                </a:lnTo>
                <a:lnTo>
                  <a:pt x="3785" y="2401"/>
                </a:lnTo>
                <a:lnTo>
                  <a:pt x="3814" y="2389"/>
                </a:lnTo>
                <a:lnTo>
                  <a:pt x="3842" y="2374"/>
                </a:lnTo>
                <a:lnTo>
                  <a:pt x="3867" y="2360"/>
                </a:lnTo>
                <a:lnTo>
                  <a:pt x="3886" y="2349"/>
                </a:lnTo>
                <a:lnTo>
                  <a:pt x="3891" y="2345"/>
                </a:lnTo>
                <a:lnTo>
                  <a:pt x="3894" y="2343"/>
                </a:lnTo>
                <a:lnTo>
                  <a:pt x="3894" y="2343"/>
                </a:lnTo>
                <a:lnTo>
                  <a:pt x="3903" y="2319"/>
                </a:lnTo>
                <a:lnTo>
                  <a:pt x="3910" y="2296"/>
                </a:lnTo>
                <a:lnTo>
                  <a:pt x="3916" y="2272"/>
                </a:lnTo>
                <a:lnTo>
                  <a:pt x="3921" y="2248"/>
                </a:lnTo>
                <a:lnTo>
                  <a:pt x="3925" y="2224"/>
                </a:lnTo>
                <a:lnTo>
                  <a:pt x="3928" y="2201"/>
                </a:lnTo>
                <a:lnTo>
                  <a:pt x="3930" y="2178"/>
                </a:lnTo>
                <a:lnTo>
                  <a:pt x="3932" y="2156"/>
                </a:lnTo>
                <a:lnTo>
                  <a:pt x="3932" y="2117"/>
                </a:lnTo>
                <a:lnTo>
                  <a:pt x="3931" y="2086"/>
                </a:lnTo>
                <a:lnTo>
                  <a:pt x="3928" y="2059"/>
                </a:lnTo>
                <a:lnTo>
                  <a:pt x="3928" y="2059"/>
                </a:lnTo>
                <a:lnTo>
                  <a:pt x="3939" y="2068"/>
                </a:lnTo>
                <a:lnTo>
                  <a:pt x="3947" y="2079"/>
                </a:lnTo>
                <a:lnTo>
                  <a:pt x="3954" y="2091"/>
                </a:lnTo>
                <a:lnTo>
                  <a:pt x="3960" y="2105"/>
                </a:lnTo>
                <a:lnTo>
                  <a:pt x="3964" y="2120"/>
                </a:lnTo>
                <a:lnTo>
                  <a:pt x="3968" y="2135"/>
                </a:lnTo>
                <a:lnTo>
                  <a:pt x="3971" y="2152"/>
                </a:lnTo>
                <a:lnTo>
                  <a:pt x="3973" y="2168"/>
                </a:lnTo>
                <a:lnTo>
                  <a:pt x="3975" y="2185"/>
                </a:lnTo>
                <a:lnTo>
                  <a:pt x="3976" y="2203"/>
                </a:lnTo>
                <a:lnTo>
                  <a:pt x="3976" y="2219"/>
                </a:lnTo>
                <a:lnTo>
                  <a:pt x="3975" y="2237"/>
                </a:lnTo>
                <a:lnTo>
                  <a:pt x="3971" y="2268"/>
                </a:lnTo>
                <a:lnTo>
                  <a:pt x="3965" y="2297"/>
                </a:lnTo>
                <a:lnTo>
                  <a:pt x="3965" y="2297"/>
                </a:lnTo>
                <a:lnTo>
                  <a:pt x="3982" y="2288"/>
                </a:lnTo>
                <a:lnTo>
                  <a:pt x="3998" y="2276"/>
                </a:lnTo>
                <a:lnTo>
                  <a:pt x="4016" y="2263"/>
                </a:lnTo>
                <a:lnTo>
                  <a:pt x="4036" y="2249"/>
                </a:lnTo>
                <a:lnTo>
                  <a:pt x="4053" y="2234"/>
                </a:lnTo>
                <a:lnTo>
                  <a:pt x="4061" y="2226"/>
                </a:lnTo>
                <a:lnTo>
                  <a:pt x="4068" y="2219"/>
                </a:lnTo>
                <a:lnTo>
                  <a:pt x="4072" y="2212"/>
                </a:lnTo>
                <a:lnTo>
                  <a:pt x="4075" y="2206"/>
                </a:lnTo>
                <a:lnTo>
                  <a:pt x="4075" y="2206"/>
                </a:lnTo>
                <a:lnTo>
                  <a:pt x="4083" y="2176"/>
                </a:lnTo>
                <a:lnTo>
                  <a:pt x="4090" y="2148"/>
                </a:lnTo>
                <a:lnTo>
                  <a:pt x="4094" y="2121"/>
                </a:lnTo>
                <a:lnTo>
                  <a:pt x="4096" y="2095"/>
                </a:lnTo>
                <a:lnTo>
                  <a:pt x="4096" y="2071"/>
                </a:lnTo>
                <a:lnTo>
                  <a:pt x="4095" y="2047"/>
                </a:lnTo>
                <a:lnTo>
                  <a:pt x="4093" y="2025"/>
                </a:lnTo>
                <a:lnTo>
                  <a:pt x="4090" y="2003"/>
                </a:lnTo>
                <a:lnTo>
                  <a:pt x="4085" y="1983"/>
                </a:lnTo>
                <a:lnTo>
                  <a:pt x="4080" y="1964"/>
                </a:lnTo>
                <a:lnTo>
                  <a:pt x="4075" y="1945"/>
                </a:lnTo>
                <a:lnTo>
                  <a:pt x="4069" y="1928"/>
                </a:lnTo>
                <a:lnTo>
                  <a:pt x="4055" y="1894"/>
                </a:lnTo>
                <a:lnTo>
                  <a:pt x="4043" y="1862"/>
                </a:lnTo>
                <a:lnTo>
                  <a:pt x="4043" y="1862"/>
                </a:lnTo>
                <a:lnTo>
                  <a:pt x="4038" y="1847"/>
                </a:lnTo>
                <a:lnTo>
                  <a:pt x="4035" y="1832"/>
                </a:lnTo>
                <a:lnTo>
                  <a:pt x="4034" y="1817"/>
                </a:lnTo>
                <a:lnTo>
                  <a:pt x="4035" y="1802"/>
                </a:lnTo>
                <a:lnTo>
                  <a:pt x="4037" y="1788"/>
                </a:lnTo>
                <a:lnTo>
                  <a:pt x="4041" y="1773"/>
                </a:lnTo>
                <a:lnTo>
                  <a:pt x="4046" y="1759"/>
                </a:lnTo>
                <a:lnTo>
                  <a:pt x="4053" y="1746"/>
                </a:lnTo>
                <a:lnTo>
                  <a:pt x="4061" y="1733"/>
                </a:lnTo>
                <a:lnTo>
                  <a:pt x="4071" y="1719"/>
                </a:lnTo>
                <a:lnTo>
                  <a:pt x="4081" y="1707"/>
                </a:lnTo>
                <a:lnTo>
                  <a:pt x="4092" y="1696"/>
                </a:lnTo>
                <a:lnTo>
                  <a:pt x="4103" y="1684"/>
                </a:lnTo>
                <a:lnTo>
                  <a:pt x="4117" y="1673"/>
                </a:lnTo>
                <a:lnTo>
                  <a:pt x="4130" y="1664"/>
                </a:lnTo>
                <a:lnTo>
                  <a:pt x="4145" y="1655"/>
                </a:lnTo>
                <a:lnTo>
                  <a:pt x="4145" y="1655"/>
                </a:lnTo>
                <a:lnTo>
                  <a:pt x="4180" y="1674"/>
                </a:lnTo>
                <a:lnTo>
                  <a:pt x="4215" y="1695"/>
                </a:lnTo>
                <a:lnTo>
                  <a:pt x="4251" y="1716"/>
                </a:lnTo>
                <a:lnTo>
                  <a:pt x="4286" y="1740"/>
                </a:lnTo>
                <a:lnTo>
                  <a:pt x="4286" y="1740"/>
                </a:lnTo>
                <a:lnTo>
                  <a:pt x="4307" y="1754"/>
                </a:lnTo>
                <a:lnTo>
                  <a:pt x="4341" y="1779"/>
                </a:lnTo>
                <a:lnTo>
                  <a:pt x="4361" y="1794"/>
                </a:lnTo>
                <a:lnTo>
                  <a:pt x="4382" y="1812"/>
                </a:lnTo>
                <a:lnTo>
                  <a:pt x="4405" y="1832"/>
                </a:lnTo>
                <a:lnTo>
                  <a:pt x="4430" y="1853"/>
                </a:lnTo>
                <a:lnTo>
                  <a:pt x="4453" y="1877"/>
                </a:lnTo>
                <a:lnTo>
                  <a:pt x="4478" y="1901"/>
                </a:lnTo>
                <a:lnTo>
                  <a:pt x="4501" y="1928"/>
                </a:lnTo>
                <a:lnTo>
                  <a:pt x="4524" y="1956"/>
                </a:lnTo>
                <a:lnTo>
                  <a:pt x="4545" y="1985"/>
                </a:lnTo>
                <a:lnTo>
                  <a:pt x="4564" y="2016"/>
                </a:lnTo>
                <a:lnTo>
                  <a:pt x="4574" y="2031"/>
                </a:lnTo>
                <a:lnTo>
                  <a:pt x="4582" y="2047"/>
                </a:lnTo>
                <a:lnTo>
                  <a:pt x="4590" y="2064"/>
                </a:lnTo>
                <a:lnTo>
                  <a:pt x="4596" y="2080"/>
                </a:lnTo>
                <a:lnTo>
                  <a:pt x="4596" y="2080"/>
                </a:lnTo>
                <a:lnTo>
                  <a:pt x="4606" y="2106"/>
                </a:lnTo>
                <a:lnTo>
                  <a:pt x="4616" y="2130"/>
                </a:lnTo>
                <a:lnTo>
                  <a:pt x="4624" y="2155"/>
                </a:lnTo>
                <a:lnTo>
                  <a:pt x="4630" y="2178"/>
                </a:lnTo>
                <a:lnTo>
                  <a:pt x="4636" y="2202"/>
                </a:lnTo>
                <a:lnTo>
                  <a:pt x="4641" y="2224"/>
                </a:lnTo>
                <a:lnTo>
                  <a:pt x="4645" y="2246"/>
                </a:lnTo>
                <a:lnTo>
                  <a:pt x="4649" y="2266"/>
                </a:lnTo>
                <a:lnTo>
                  <a:pt x="4651" y="2287"/>
                </a:lnTo>
                <a:lnTo>
                  <a:pt x="4653" y="2306"/>
                </a:lnTo>
                <a:lnTo>
                  <a:pt x="4654" y="2325"/>
                </a:lnTo>
                <a:lnTo>
                  <a:pt x="4655" y="2343"/>
                </a:lnTo>
                <a:lnTo>
                  <a:pt x="4654" y="2377"/>
                </a:lnTo>
                <a:lnTo>
                  <a:pt x="4652" y="2408"/>
                </a:lnTo>
                <a:lnTo>
                  <a:pt x="4648" y="2437"/>
                </a:lnTo>
                <a:lnTo>
                  <a:pt x="4642" y="2464"/>
                </a:lnTo>
                <a:lnTo>
                  <a:pt x="4635" y="2487"/>
                </a:lnTo>
                <a:lnTo>
                  <a:pt x="4628" y="2509"/>
                </a:lnTo>
                <a:lnTo>
                  <a:pt x="4620" y="2527"/>
                </a:lnTo>
                <a:lnTo>
                  <a:pt x="4612" y="2544"/>
                </a:lnTo>
                <a:lnTo>
                  <a:pt x="4603" y="2559"/>
                </a:lnTo>
                <a:lnTo>
                  <a:pt x="4596" y="2570"/>
                </a:lnTo>
                <a:lnTo>
                  <a:pt x="4596" y="2570"/>
                </a:lnTo>
                <a:lnTo>
                  <a:pt x="4582" y="2590"/>
                </a:lnTo>
                <a:lnTo>
                  <a:pt x="4568" y="2611"/>
                </a:lnTo>
                <a:lnTo>
                  <a:pt x="4553" y="2629"/>
                </a:lnTo>
                <a:lnTo>
                  <a:pt x="4538" y="2648"/>
                </a:lnTo>
                <a:lnTo>
                  <a:pt x="4522" y="2665"/>
                </a:lnTo>
                <a:lnTo>
                  <a:pt x="4505" y="2681"/>
                </a:lnTo>
                <a:lnTo>
                  <a:pt x="4487" y="2697"/>
                </a:lnTo>
                <a:lnTo>
                  <a:pt x="4469" y="2711"/>
                </a:lnTo>
                <a:lnTo>
                  <a:pt x="4450" y="2724"/>
                </a:lnTo>
                <a:lnTo>
                  <a:pt x="4430" y="2736"/>
                </a:lnTo>
                <a:lnTo>
                  <a:pt x="4409" y="2747"/>
                </a:lnTo>
                <a:lnTo>
                  <a:pt x="4388" y="2756"/>
                </a:lnTo>
                <a:lnTo>
                  <a:pt x="4364" y="2764"/>
                </a:lnTo>
                <a:lnTo>
                  <a:pt x="4341" y="2771"/>
                </a:lnTo>
                <a:lnTo>
                  <a:pt x="4316" y="2776"/>
                </a:lnTo>
                <a:lnTo>
                  <a:pt x="4290" y="2779"/>
                </a:lnTo>
                <a:lnTo>
                  <a:pt x="4290" y="2779"/>
                </a:lnTo>
                <a:lnTo>
                  <a:pt x="4283" y="2778"/>
                </a:lnTo>
                <a:lnTo>
                  <a:pt x="4275" y="2778"/>
                </a:lnTo>
                <a:lnTo>
                  <a:pt x="4275" y="2778"/>
                </a:lnTo>
                <a:lnTo>
                  <a:pt x="4242" y="2779"/>
                </a:lnTo>
                <a:lnTo>
                  <a:pt x="4213" y="2779"/>
                </a:lnTo>
                <a:lnTo>
                  <a:pt x="4185" y="2778"/>
                </a:lnTo>
                <a:lnTo>
                  <a:pt x="4159" y="2775"/>
                </a:lnTo>
                <a:lnTo>
                  <a:pt x="4159" y="2775"/>
                </a:lnTo>
                <a:lnTo>
                  <a:pt x="4131" y="2770"/>
                </a:lnTo>
                <a:lnTo>
                  <a:pt x="4103" y="2765"/>
                </a:lnTo>
                <a:lnTo>
                  <a:pt x="4077" y="2758"/>
                </a:lnTo>
                <a:lnTo>
                  <a:pt x="4052" y="2751"/>
                </a:lnTo>
                <a:lnTo>
                  <a:pt x="4052" y="2751"/>
                </a:lnTo>
                <a:lnTo>
                  <a:pt x="4009" y="2736"/>
                </a:lnTo>
                <a:lnTo>
                  <a:pt x="3965" y="2717"/>
                </a:lnTo>
                <a:lnTo>
                  <a:pt x="3965" y="2717"/>
                </a:lnTo>
                <a:lnTo>
                  <a:pt x="3925" y="2697"/>
                </a:lnTo>
                <a:lnTo>
                  <a:pt x="3874" y="2669"/>
                </a:lnTo>
                <a:lnTo>
                  <a:pt x="3846" y="2652"/>
                </a:lnTo>
                <a:lnTo>
                  <a:pt x="3815" y="2632"/>
                </a:lnTo>
                <a:lnTo>
                  <a:pt x="3782" y="2612"/>
                </a:lnTo>
                <a:lnTo>
                  <a:pt x="3748" y="2588"/>
                </a:lnTo>
                <a:lnTo>
                  <a:pt x="3712" y="2564"/>
                </a:lnTo>
                <a:lnTo>
                  <a:pt x="3676" y="2536"/>
                </a:lnTo>
                <a:lnTo>
                  <a:pt x="3638" y="2508"/>
                </a:lnTo>
                <a:lnTo>
                  <a:pt x="3601" y="2477"/>
                </a:lnTo>
                <a:lnTo>
                  <a:pt x="3563" y="2444"/>
                </a:lnTo>
                <a:lnTo>
                  <a:pt x="3526" y="2409"/>
                </a:lnTo>
                <a:lnTo>
                  <a:pt x="3488" y="2373"/>
                </a:lnTo>
                <a:lnTo>
                  <a:pt x="3451" y="2335"/>
                </a:lnTo>
                <a:lnTo>
                  <a:pt x="3451" y="2335"/>
                </a:lnTo>
                <a:lnTo>
                  <a:pt x="3394" y="2271"/>
                </a:lnTo>
                <a:lnTo>
                  <a:pt x="3342" y="2212"/>
                </a:lnTo>
                <a:lnTo>
                  <a:pt x="3295" y="2157"/>
                </a:lnTo>
                <a:lnTo>
                  <a:pt x="3253" y="2107"/>
                </a:lnTo>
                <a:lnTo>
                  <a:pt x="3215" y="2060"/>
                </a:lnTo>
                <a:lnTo>
                  <a:pt x="3180" y="2017"/>
                </a:lnTo>
                <a:lnTo>
                  <a:pt x="3120" y="1940"/>
                </a:lnTo>
                <a:lnTo>
                  <a:pt x="3120" y="1940"/>
                </a:lnTo>
                <a:lnTo>
                  <a:pt x="3138" y="1947"/>
                </a:lnTo>
                <a:lnTo>
                  <a:pt x="3156" y="1953"/>
                </a:lnTo>
                <a:lnTo>
                  <a:pt x="3175" y="1958"/>
                </a:lnTo>
                <a:lnTo>
                  <a:pt x="3193" y="1963"/>
                </a:lnTo>
                <a:lnTo>
                  <a:pt x="3211" y="1966"/>
                </a:lnTo>
                <a:lnTo>
                  <a:pt x="3229" y="1968"/>
                </a:lnTo>
                <a:lnTo>
                  <a:pt x="3262" y="1971"/>
                </a:lnTo>
                <a:lnTo>
                  <a:pt x="3289" y="1971"/>
                </a:lnTo>
                <a:lnTo>
                  <a:pt x="3312" y="1970"/>
                </a:lnTo>
                <a:lnTo>
                  <a:pt x="3332" y="1968"/>
                </a:lnTo>
                <a:lnTo>
                  <a:pt x="3332" y="1968"/>
                </a:lnTo>
                <a:lnTo>
                  <a:pt x="3336" y="1918"/>
                </a:lnTo>
                <a:lnTo>
                  <a:pt x="3338" y="1873"/>
                </a:lnTo>
                <a:lnTo>
                  <a:pt x="3340" y="1833"/>
                </a:lnTo>
                <a:lnTo>
                  <a:pt x="3346" y="1698"/>
                </a:lnTo>
                <a:lnTo>
                  <a:pt x="3346" y="1698"/>
                </a:lnTo>
                <a:lnTo>
                  <a:pt x="3349" y="1661"/>
                </a:lnTo>
                <a:lnTo>
                  <a:pt x="3351" y="1626"/>
                </a:lnTo>
                <a:lnTo>
                  <a:pt x="3352" y="1589"/>
                </a:lnTo>
                <a:lnTo>
                  <a:pt x="3352" y="1589"/>
                </a:lnTo>
                <a:lnTo>
                  <a:pt x="3340" y="1588"/>
                </a:lnTo>
                <a:lnTo>
                  <a:pt x="3307" y="1584"/>
                </a:lnTo>
                <a:lnTo>
                  <a:pt x="3285" y="1581"/>
                </a:lnTo>
                <a:lnTo>
                  <a:pt x="3260" y="1576"/>
                </a:lnTo>
                <a:lnTo>
                  <a:pt x="3233" y="1571"/>
                </a:lnTo>
                <a:lnTo>
                  <a:pt x="3206" y="1564"/>
                </a:lnTo>
                <a:lnTo>
                  <a:pt x="3176" y="1555"/>
                </a:lnTo>
                <a:lnTo>
                  <a:pt x="3147" y="1544"/>
                </a:lnTo>
                <a:lnTo>
                  <a:pt x="3120" y="1532"/>
                </a:lnTo>
                <a:lnTo>
                  <a:pt x="3106" y="1526"/>
                </a:lnTo>
                <a:lnTo>
                  <a:pt x="3093" y="1519"/>
                </a:lnTo>
                <a:lnTo>
                  <a:pt x="3081" y="1511"/>
                </a:lnTo>
                <a:lnTo>
                  <a:pt x="3070" y="1502"/>
                </a:lnTo>
                <a:lnTo>
                  <a:pt x="3058" y="1493"/>
                </a:lnTo>
                <a:lnTo>
                  <a:pt x="3049" y="1484"/>
                </a:lnTo>
                <a:lnTo>
                  <a:pt x="3040" y="1474"/>
                </a:lnTo>
                <a:lnTo>
                  <a:pt x="3032" y="1463"/>
                </a:lnTo>
                <a:lnTo>
                  <a:pt x="3025" y="1451"/>
                </a:lnTo>
                <a:lnTo>
                  <a:pt x="3019" y="1439"/>
                </a:lnTo>
                <a:lnTo>
                  <a:pt x="3019" y="1439"/>
                </a:lnTo>
                <a:lnTo>
                  <a:pt x="3030" y="1445"/>
                </a:lnTo>
                <a:lnTo>
                  <a:pt x="3042" y="1450"/>
                </a:lnTo>
                <a:lnTo>
                  <a:pt x="3059" y="1457"/>
                </a:lnTo>
                <a:lnTo>
                  <a:pt x="3081" y="1465"/>
                </a:lnTo>
                <a:lnTo>
                  <a:pt x="3106" y="1472"/>
                </a:lnTo>
                <a:lnTo>
                  <a:pt x="3136" y="1477"/>
                </a:lnTo>
                <a:lnTo>
                  <a:pt x="3152" y="1479"/>
                </a:lnTo>
                <a:lnTo>
                  <a:pt x="3169" y="1480"/>
                </a:lnTo>
                <a:lnTo>
                  <a:pt x="3169" y="1480"/>
                </a:lnTo>
                <a:lnTo>
                  <a:pt x="3201" y="1481"/>
                </a:lnTo>
                <a:lnTo>
                  <a:pt x="3234" y="1481"/>
                </a:lnTo>
                <a:lnTo>
                  <a:pt x="3266" y="1479"/>
                </a:lnTo>
                <a:lnTo>
                  <a:pt x="3295" y="1477"/>
                </a:lnTo>
                <a:lnTo>
                  <a:pt x="3340" y="1471"/>
                </a:lnTo>
                <a:lnTo>
                  <a:pt x="3357" y="1469"/>
                </a:lnTo>
                <a:lnTo>
                  <a:pt x="3357" y="1469"/>
                </a:lnTo>
                <a:lnTo>
                  <a:pt x="3359" y="1463"/>
                </a:lnTo>
                <a:lnTo>
                  <a:pt x="3361" y="1451"/>
                </a:lnTo>
                <a:lnTo>
                  <a:pt x="3364" y="1421"/>
                </a:lnTo>
                <a:lnTo>
                  <a:pt x="3367" y="1381"/>
                </a:lnTo>
                <a:lnTo>
                  <a:pt x="3369" y="1337"/>
                </a:lnTo>
                <a:lnTo>
                  <a:pt x="3373" y="1257"/>
                </a:lnTo>
                <a:lnTo>
                  <a:pt x="3375" y="1222"/>
                </a:lnTo>
                <a:lnTo>
                  <a:pt x="3375" y="1222"/>
                </a:lnTo>
                <a:lnTo>
                  <a:pt x="3376" y="1194"/>
                </a:lnTo>
                <a:lnTo>
                  <a:pt x="3377" y="1154"/>
                </a:lnTo>
                <a:lnTo>
                  <a:pt x="3377" y="1105"/>
                </a:lnTo>
                <a:lnTo>
                  <a:pt x="3377" y="1105"/>
                </a:lnTo>
                <a:lnTo>
                  <a:pt x="3369" y="1107"/>
                </a:lnTo>
                <a:lnTo>
                  <a:pt x="3359" y="1108"/>
                </a:lnTo>
                <a:lnTo>
                  <a:pt x="3338" y="1110"/>
                </a:lnTo>
                <a:lnTo>
                  <a:pt x="3315" y="1109"/>
                </a:lnTo>
                <a:lnTo>
                  <a:pt x="3290" y="1107"/>
                </a:lnTo>
                <a:lnTo>
                  <a:pt x="3264" y="1104"/>
                </a:lnTo>
                <a:lnTo>
                  <a:pt x="3236" y="1100"/>
                </a:lnTo>
                <a:lnTo>
                  <a:pt x="3208" y="1094"/>
                </a:lnTo>
                <a:lnTo>
                  <a:pt x="3178" y="1086"/>
                </a:lnTo>
                <a:lnTo>
                  <a:pt x="3178" y="1086"/>
                </a:lnTo>
                <a:lnTo>
                  <a:pt x="3158" y="1080"/>
                </a:lnTo>
                <a:lnTo>
                  <a:pt x="3135" y="1071"/>
                </a:lnTo>
                <a:lnTo>
                  <a:pt x="3112" y="1059"/>
                </a:lnTo>
                <a:lnTo>
                  <a:pt x="3088" y="1044"/>
                </a:lnTo>
                <a:lnTo>
                  <a:pt x="3064" y="1028"/>
                </a:lnTo>
                <a:lnTo>
                  <a:pt x="3053" y="1019"/>
                </a:lnTo>
                <a:lnTo>
                  <a:pt x="3043" y="1010"/>
                </a:lnTo>
                <a:lnTo>
                  <a:pt x="3034" y="999"/>
                </a:lnTo>
                <a:lnTo>
                  <a:pt x="3025" y="990"/>
                </a:lnTo>
                <a:lnTo>
                  <a:pt x="3017" y="980"/>
                </a:lnTo>
                <a:lnTo>
                  <a:pt x="3010" y="969"/>
                </a:lnTo>
                <a:lnTo>
                  <a:pt x="3010" y="969"/>
                </a:lnTo>
                <a:lnTo>
                  <a:pt x="3022" y="974"/>
                </a:lnTo>
                <a:lnTo>
                  <a:pt x="3035" y="978"/>
                </a:lnTo>
                <a:lnTo>
                  <a:pt x="3052" y="984"/>
                </a:lnTo>
                <a:lnTo>
                  <a:pt x="3075" y="990"/>
                </a:lnTo>
                <a:lnTo>
                  <a:pt x="3101" y="996"/>
                </a:lnTo>
                <a:lnTo>
                  <a:pt x="3132" y="1003"/>
                </a:lnTo>
                <a:lnTo>
                  <a:pt x="3167" y="1008"/>
                </a:lnTo>
                <a:lnTo>
                  <a:pt x="3167" y="1008"/>
                </a:lnTo>
                <a:lnTo>
                  <a:pt x="3187" y="1010"/>
                </a:lnTo>
                <a:lnTo>
                  <a:pt x="3207" y="1011"/>
                </a:lnTo>
                <a:lnTo>
                  <a:pt x="3226" y="1012"/>
                </a:lnTo>
                <a:lnTo>
                  <a:pt x="3245" y="1012"/>
                </a:lnTo>
                <a:lnTo>
                  <a:pt x="3283" y="1010"/>
                </a:lnTo>
                <a:lnTo>
                  <a:pt x="3317" y="1007"/>
                </a:lnTo>
                <a:lnTo>
                  <a:pt x="3346" y="1001"/>
                </a:lnTo>
                <a:lnTo>
                  <a:pt x="3369" y="996"/>
                </a:lnTo>
                <a:lnTo>
                  <a:pt x="3377" y="993"/>
                </a:lnTo>
                <a:lnTo>
                  <a:pt x="3383" y="991"/>
                </a:lnTo>
                <a:lnTo>
                  <a:pt x="3388" y="988"/>
                </a:lnTo>
                <a:lnTo>
                  <a:pt x="3390" y="985"/>
                </a:lnTo>
                <a:lnTo>
                  <a:pt x="3390" y="985"/>
                </a:lnTo>
                <a:lnTo>
                  <a:pt x="3392" y="959"/>
                </a:lnTo>
                <a:lnTo>
                  <a:pt x="3393" y="925"/>
                </a:lnTo>
                <a:lnTo>
                  <a:pt x="3394" y="848"/>
                </a:lnTo>
                <a:lnTo>
                  <a:pt x="3394" y="750"/>
                </a:lnTo>
                <a:lnTo>
                  <a:pt x="3394" y="750"/>
                </a:lnTo>
                <a:lnTo>
                  <a:pt x="3399" y="686"/>
                </a:lnTo>
                <a:lnTo>
                  <a:pt x="3400" y="642"/>
                </a:lnTo>
                <a:lnTo>
                  <a:pt x="3400" y="627"/>
                </a:lnTo>
                <a:lnTo>
                  <a:pt x="3399" y="623"/>
                </a:lnTo>
                <a:lnTo>
                  <a:pt x="3398" y="622"/>
                </a:lnTo>
                <a:lnTo>
                  <a:pt x="3398" y="622"/>
                </a:lnTo>
                <a:lnTo>
                  <a:pt x="3392" y="622"/>
                </a:lnTo>
                <a:lnTo>
                  <a:pt x="3381" y="623"/>
                </a:lnTo>
                <a:lnTo>
                  <a:pt x="3368" y="623"/>
                </a:lnTo>
                <a:lnTo>
                  <a:pt x="3354" y="622"/>
                </a:lnTo>
                <a:lnTo>
                  <a:pt x="3336" y="620"/>
                </a:lnTo>
                <a:lnTo>
                  <a:pt x="3317" y="617"/>
                </a:lnTo>
                <a:lnTo>
                  <a:pt x="3297" y="612"/>
                </a:lnTo>
                <a:lnTo>
                  <a:pt x="3274" y="607"/>
                </a:lnTo>
                <a:lnTo>
                  <a:pt x="3251" y="599"/>
                </a:lnTo>
                <a:lnTo>
                  <a:pt x="3226" y="589"/>
                </a:lnTo>
                <a:lnTo>
                  <a:pt x="3200" y="578"/>
                </a:lnTo>
                <a:lnTo>
                  <a:pt x="3175" y="564"/>
                </a:lnTo>
                <a:lnTo>
                  <a:pt x="3149" y="548"/>
                </a:lnTo>
                <a:lnTo>
                  <a:pt x="3123" y="529"/>
                </a:lnTo>
                <a:lnTo>
                  <a:pt x="3110" y="519"/>
                </a:lnTo>
                <a:lnTo>
                  <a:pt x="3097" y="508"/>
                </a:lnTo>
                <a:lnTo>
                  <a:pt x="3085" y="495"/>
                </a:lnTo>
                <a:lnTo>
                  <a:pt x="3073" y="483"/>
                </a:lnTo>
                <a:lnTo>
                  <a:pt x="3073" y="483"/>
                </a:lnTo>
                <a:lnTo>
                  <a:pt x="3071" y="481"/>
                </a:lnTo>
                <a:lnTo>
                  <a:pt x="3065" y="476"/>
                </a:lnTo>
                <a:lnTo>
                  <a:pt x="3059" y="467"/>
                </a:lnTo>
                <a:lnTo>
                  <a:pt x="3056" y="461"/>
                </a:lnTo>
                <a:lnTo>
                  <a:pt x="3053" y="454"/>
                </a:lnTo>
                <a:lnTo>
                  <a:pt x="3051" y="447"/>
                </a:lnTo>
                <a:lnTo>
                  <a:pt x="3050" y="439"/>
                </a:lnTo>
                <a:lnTo>
                  <a:pt x="3049" y="430"/>
                </a:lnTo>
                <a:lnTo>
                  <a:pt x="3050" y="420"/>
                </a:lnTo>
                <a:lnTo>
                  <a:pt x="3053" y="410"/>
                </a:lnTo>
                <a:lnTo>
                  <a:pt x="3056" y="398"/>
                </a:lnTo>
                <a:lnTo>
                  <a:pt x="3062" y="386"/>
                </a:lnTo>
                <a:lnTo>
                  <a:pt x="3071" y="373"/>
                </a:lnTo>
                <a:lnTo>
                  <a:pt x="3071" y="373"/>
                </a:lnTo>
                <a:lnTo>
                  <a:pt x="2806" y="254"/>
                </a:lnTo>
                <a:lnTo>
                  <a:pt x="2806" y="254"/>
                </a:lnTo>
                <a:lnTo>
                  <a:pt x="2815" y="245"/>
                </a:lnTo>
                <a:lnTo>
                  <a:pt x="2824" y="234"/>
                </a:lnTo>
                <a:lnTo>
                  <a:pt x="2834" y="219"/>
                </a:lnTo>
                <a:lnTo>
                  <a:pt x="2845" y="203"/>
                </a:lnTo>
                <a:lnTo>
                  <a:pt x="2850" y="194"/>
                </a:lnTo>
                <a:lnTo>
                  <a:pt x="2854" y="185"/>
                </a:lnTo>
                <a:lnTo>
                  <a:pt x="2858" y="174"/>
                </a:lnTo>
                <a:lnTo>
                  <a:pt x="2861" y="164"/>
                </a:lnTo>
                <a:lnTo>
                  <a:pt x="2863" y="154"/>
                </a:lnTo>
                <a:lnTo>
                  <a:pt x="2863" y="144"/>
                </a:lnTo>
                <a:lnTo>
                  <a:pt x="2863" y="144"/>
                </a:lnTo>
                <a:lnTo>
                  <a:pt x="2863" y="132"/>
                </a:lnTo>
                <a:lnTo>
                  <a:pt x="2860" y="122"/>
                </a:lnTo>
                <a:lnTo>
                  <a:pt x="2855" y="112"/>
                </a:lnTo>
                <a:lnTo>
                  <a:pt x="2849" y="103"/>
                </a:lnTo>
                <a:lnTo>
                  <a:pt x="2841" y="94"/>
                </a:lnTo>
                <a:lnTo>
                  <a:pt x="2830" y="86"/>
                </a:lnTo>
                <a:lnTo>
                  <a:pt x="2820" y="79"/>
                </a:lnTo>
                <a:lnTo>
                  <a:pt x="2808" y="73"/>
                </a:lnTo>
                <a:lnTo>
                  <a:pt x="2795" y="68"/>
                </a:lnTo>
                <a:lnTo>
                  <a:pt x="2781" y="64"/>
                </a:lnTo>
                <a:lnTo>
                  <a:pt x="2767" y="60"/>
                </a:lnTo>
                <a:lnTo>
                  <a:pt x="2753" y="58"/>
                </a:lnTo>
                <a:lnTo>
                  <a:pt x="2738" y="56"/>
                </a:lnTo>
                <a:lnTo>
                  <a:pt x="2723" y="56"/>
                </a:lnTo>
                <a:lnTo>
                  <a:pt x="2709" y="57"/>
                </a:lnTo>
                <a:lnTo>
                  <a:pt x="2694" y="59"/>
                </a:lnTo>
                <a:lnTo>
                  <a:pt x="2694" y="59"/>
                </a:lnTo>
                <a:lnTo>
                  <a:pt x="2681" y="62"/>
                </a:lnTo>
                <a:lnTo>
                  <a:pt x="2669" y="66"/>
                </a:lnTo>
                <a:lnTo>
                  <a:pt x="2656" y="71"/>
                </a:lnTo>
                <a:lnTo>
                  <a:pt x="2644" y="77"/>
                </a:lnTo>
                <a:lnTo>
                  <a:pt x="2634" y="84"/>
                </a:lnTo>
                <a:lnTo>
                  <a:pt x="2623" y="92"/>
                </a:lnTo>
                <a:lnTo>
                  <a:pt x="2604" y="107"/>
                </a:lnTo>
                <a:lnTo>
                  <a:pt x="2589" y="122"/>
                </a:lnTo>
                <a:lnTo>
                  <a:pt x="2578" y="134"/>
                </a:lnTo>
                <a:lnTo>
                  <a:pt x="2569" y="147"/>
                </a:lnTo>
                <a:lnTo>
                  <a:pt x="2238" y="0"/>
                </a:lnTo>
                <a:lnTo>
                  <a:pt x="1977" y="263"/>
                </a:lnTo>
                <a:lnTo>
                  <a:pt x="1977" y="263"/>
                </a:lnTo>
                <a:lnTo>
                  <a:pt x="1972" y="268"/>
                </a:lnTo>
                <a:lnTo>
                  <a:pt x="1966" y="280"/>
                </a:lnTo>
                <a:lnTo>
                  <a:pt x="1963" y="287"/>
                </a:lnTo>
                <a:lnTo>
                  <a:pt x="1961" y="295"/>
                </a:lnTo>
                <a:lnTo>
                  <a:pt x="1960" y="304"/>
                </a:lnTo>
                <a:lnTo>
                  <a:pt x="1960" y="313"/>
                </a:lnTo>
                <a:lnTo>
                  <a:pt x="1964" y="337"/>
                </a:lnTo>
                <a:lnTo>
                  <a:pt x="1964" y="337"/>
                </a:lnTo>
                <a:lnTo>
                  <a:pt x="1964" y="343"/>
                </a:lnTo>
                <a:lnTo>
                  <a:pt x="1963" y="349"/>
                </a:lnTo>
                <a:lnTo>
                  <a:pt x="1962" y="354"/>
                </a:lnTo>
                <a:lnTo>
                  <a:pt x="1961" y="358"/>
                </a:lnTo>
                <a:lnTo>
                  <a:pt x="1957" y="366"/>
                </a:lnTo>
                <a:lnTo>
                  <a:pt x="1955" y="370"/>
                </a:lnTo>
                <a:lnTo>
                  <a:pt x="1955" y="370"/>
                </a:lnTo>
                <a:lnTo>
                  <a:pt x="1936" y="392"/>
                </a:lnTo>
                <a:lnTo>
                  <a:pt x="1916" y="416"/>
                </a:lnTo>
                <a:lnTo>
                  <a:pt x="1896" y="438"/>
                </a:lnTo>
                <a:lnTo>
                  <a:pt x="1876" y="461"/>
                </a:lnTo>
                <a:lnTo>
                  <a:pt x="1876" y="461"/>
                </a:lnTo>
                <a:lnTo>
                  <a:pt x="1847" y="499"/>
                </a:lnTo>
                <a:lnTo>
                  <a:pt x="1836" y="515"/>
                </a:lnTo>
                <a:lnTo>
                  <a:pt x="1828" y="527"/>
                </a:lnTo>
                <a:lnTo>
                  <a:pt x="1828" y="527"/>
                </a:lnTo>
                <a:lnTo>
                  <a:pt x="1819" y="542"/>
                </a:lnTo>
                <a:lnTo>
                  <a:pt x="1811" y="558"/>
                </a:lnTo>
                <a:lnTo>
                  <a:pt x="1799" y="583"/>
                </a:lnTo>
                <a:lnTo>
                  <a:pt x="1789" y="607"/>
                </a:lnTo>
                <a:lnTo>
                  <a:pt x="1781" y="628"/>
                </a:lnTo>
                <a:lnTo>
                  <a:pt x="1781" y="628"/>
                </a:lnTo>
                <a:lnTo>
                  <a:pt x="1780" y="631"/>
                </a:lnTo>
                <a:lnTo>
                  <a:pt x="1778" y="642"/>
                </a:lnTo>
                <a:lnTo>
                  <a:pt x="1778" y="649"/>
                </a:lnTo>
                <a:lnTo>
                  <a:pt x="1777" y="657"/>
                </a:lnTo>
                <a:lnTo>
                  <a:pt x="1778" y="666"/>
                </a:lnTo>
                <a:lnTo>
                  <a:pt x="1780" y="677"/>
                </a:lnTo>
                <a:lnTo>
                  <a:pt x="1784" y="690"/>
                </a:lnTo>
                <a:lnTo>
                  <a:pt x="1789" y="703"/>
                </a:lnTo>
                <a:lnTo>
                  <a:pt x="1797" y="716"/>
                </a:lnTo>
                <a:lnTo>
                  <a:pt x="1807" y="732"/>
                </a:lnTo>
                <a:lnTo>
                  <a:pt x="1819" y="748"/>
                </a:lnTo>
                <a:lnTo>
                  <a:pt x="1833" y="764"/>
                </a:lnTo>
                <a:lnTo>
                  <a:pt x="1852" y="782"/>
                </a:lnTo>
                <a:lnTo>
                  <a:pt x="1874" y="800"/>
                </a:lnTo>
                <a:lnTo>
                  <a:pt x="1881" y="806"/>
                </a:lnTo>
                <a:lnTo>
                  <a:pt x="1881" y="806"/>
                </a:lnTo>
                <a:lnTo>
                  <a:pt x="1894" y="789"/>
                </a:lnTo>
                <a:lnTo>
                  <a:pt x="1905" y="800"/>
                </a:lnTo>
                <a:lnTo>
                  <a:pt x="1905" y="800"/>
                </a:lnTo>
                <a:lnTo>
                  <a:pt x="1914" y="809"/>
                </a:lnTo>
                <a:lnTo>
                  <a:pt x="1926" y="820"/>
                </a:lnTo>
                <a:lnTo>
                  <a:pt x="1941" y="832"/>
                </a:lnTo>
                <a:lnTo>
                  <a:pt x="1957" y="842"/>
                </a:lnTo>
                <a:lnTo>
                  <a:pt x="1957" y="842"/>
                </a:lnTo>
                <a:lnTo>
                  <a:pt x="1959" y="835"/>
                </a:lnTo>
                <a:lnTo>
                  <a:pt x="1964" y="815"/>
                </a:lnTo>
                <a:lnTo>
                  <a:pt x="1969" y="802"/>
                </a:lnTo>
                <a:lnTo>
                  <a:pt x="1975" y="789"/>
                </a:lnTo>
                <a:lnTo>
                  <a:pt x="1983" y="775"/>
                </a:lnTo>
                <a:lnTo>
                  <a:pt x="1991" y="760"/>
                </a:lnTo>
                <a:lnTo>
                  <a:pt x="1991" y="760"/>
                </a:lnTo>
                <a:lnTo>
                  <a:pt x="2000" y="748"/>
                </a:lnTo>
                <a:lnTo>
                  <a:pt x="2011" y="736"/>
                </a:lnTo>
                <a:lnTo>
                  <a:pt x="2025" y="722"/>
                </a:lnTo>
                <a:lnTo>
                  <a:pt x="2038" y="709"/>
                </a:lnTo>
                <a:lnTo>
                  <a:pt x="2052" y="697"/>
                </a:lnTo>
                <a:lnTo>
                  <a:pt x="2065" y="686"/>
                </a:lnTo>
                <a:lnTo>
                  <a:pt x="2080" y="675"/>
                </a:lnTo>
                <a:lnTo>
                  <a:pt x="2092" y="667"/>
                </a:lnTo>
                <a:lnTo>
                  <a:pt x="2092" y="667"/>
                </a:lnTo>
                <a:lnTo>
                  <a:pt x="2107" y="658"/>
                </a:lnTo>
                <a:lnTo>
                  <a:pt x="2123" y="650"/>
                </a:lnTo>
                <a:lnTo>
                  <a:pt x="2138" y="643"/>
                </a:lnTo>
                <a:lnTo>
                  <a:pt x="2154" y="636"/>
                </a:lnTo>
                <a:lnTo>
                  <a:pt x="2170" y="632"/>
                </a:lnTo>
                <a:lnTo>
                  <a:pt x="2186" y="629"/>
                </a:lnTo>
                <a:lnTo>
                  <a:pt x="2202" y="626"/>
                </a:lnTo>
                <a:lnTo>
                  <a:pt x="2220" y="625"/>
                </a:lnTo>
                <a:lnTo>
                  <a:pt x="2220" y="625"/>
                </a:lnTo>
                <a:lnTo>
                  <a:pt x="2234" y="626"/>
                </a:lnTo>
                <a:lnTo>
                  <a:pt x="2247" y="627"/>
                </a:lnTo>
                <a:lnTo>
                  <a:pt x="2261" y="630"/>
                </a:lnTo>
                <a:lnTo>
                  <a:pt x="2272" y="635"/>
                </a:lnTo>
                <a:lnTo>
                  <a:pt x="2283" y="642"/>
                </a:lnTo>
                <a:lnTo>
                  <a:pt x="2295" y="649"/>
                </a:lnTo>
                <a:lnTo>
                  <a:pt x="2305" y="658"/>
                </a:lnTo>
                <a:lnTo>
                  <a:pt x="2316" y="668"/>
                </a:lnTo>
                <a:lnTo>
                  <a:pt x="2316" y="668"/>
                </a:lnTo>
                <a:lnTo>
                  <a:pt x="2323" y="676"/>
                </a:lnTo>
                <a:lnTo>
                  <a:pt x="2330" y="687"/>
                </a:lnTo>
                <a:lnTo>
                  <a:pt x="2336" y="698"/>
                </a:lnTo>
                <a:lnTo>
                  <a:pt x="2342" y="710"/>
                </a:lnTo>
                <a:lnTo>
                  <a:pt x="2347" y="722"/>
                </a:lnTo>
                <a:lnTo>
                  <a:pt x="2351" y="736"/>
                </a:lnTo>
                <a:lnTo>
                  <a:pt x="2355" y="750"/>
                </a:lnTo>
                <a:lnTo>
                  <a:pt x="2358" y="764"/>
                </a:lnTo>
                <a:lnTo>
                  <a:pt x="2360" y="778"/>
                </a:lnTo>
                <a:lnTo>
                  <a:pt x="2362" y="792"/>
                </a:lnTo>
                <a:lnTo>
                  <a:pt x="2363" y="805"/>
                </a:lnTo>
                <a:lnTo>
                  <a:pt x="2364" y="818"/>
                </a:lnTo>
                <a:lnTo>
                  <a:pt x="2364" y="831"/>
                </a:lnTo>
                <a:lnTo>
                  <a:pt x="2363" y="842"/>
                </a:lnTo>
                <a:lnTo>
                  <a:pt x="2361" y="852"/>
                </a:lnTo>
                <a:lnTo>
                  <a:pt x="2359" y="861"/>
                </a:lnTo>
                <a:lnTo>
                  <a:pt x="2359" y="861"/>
                </a:lnTo>
                <a:lnTo>
                  <a:pt x="2330" y="843"/>
                </a:lnTo>
                <a:lnTo>
                  <a:pt x="2330" y="843"/>
                </a:lnTo>
                <a:lnTo>
                  <a:pt x="2309" y="832"/>
                </a:lnTo>
                <a:lnTo>
                  <a:pt x="2281" y="822"/>
                </a:lnTo>
                <a:lnTo>
                  <a:pt x="2266" y="815"/>
                </a:lnTo>
                <a:lnTo>
                  <a:pt x="2251" y="811"/>
                </a:lnTo>
                <a:lnTo>
                  <a:pt x="2233" y="807"/>
                </a:lnTo>
                <a:lnTo>
                  <a:pt x="2215" y="803"/>
                </a:lnTo>
                <a:lnTo>
                  <a:pt x="2195" y="801"/>
                </a:lnTo>
                <a:lnTo>
                  <a:pt x="2175" y="800"/>
                </a:lnTo>
                <a:lnTo>
                  <a:pt x="2154" y="800"/>
                </a:lnTo>
                <a:lnTo>
                  <a:pt x="2132" y="802"/>
                </a:lnTo>
                <a:lnTo>
                  <a:pt x="2109" y="805"/>
                </a:lnTo>
                <a:lnTo>
                  <a:pt x="2086" y="810"/>
                </a:lnTo>
                <a:lnTo>
                  <a:pt x="2062" y="818"/>
                </a:lnTo>
                <a:lnTo>
                  <a:pt x="2037" y="829"/>
                </a:lnTo>
                <a:lnTo>
                  <a:pt x="2037" y="829"/>
                </a:lnTo>
                <a:lnTo>
                  <a:pt x="1995" y="847"/>
                </a:lnTo>
                <a:lnTo>
                  <a:pt x="1967" y="859"/>
                </a:lnTo>
                <a:lnTo>
                  <a:pt x="1936" y="872"/>
                </a:lnTo>
                <a:lnTo>
                  <a:pt x="1900" y="886"/>
                </a:lnTo>
                <a:lnTo>
                  <a:pt x="1860" y="900"/>
                </a:lnTo>
                <a:lnTo>
                  <a:pt x="1814" y="916"/>
                </a:lnTo>
                <a:lnTo>
                  <a:pt x="1764" y="931"/>
                </a:lnTo>
                <a:lnTo>
                  <a:pt x="1764" y="931"/>
                </a:lnTo>
                <a:lnTo>
                  <a:pt x="1737" y="938"/>
                </a:lnTo>
                <a:lnTo>
                  <a:pt x="1725" y="940"/>
                </a:lnTo>
                <a:lnTo>
                  <a:pt x="1713" y="941"/>
                </a:lnTo>
                <a:lnTo>
                  <a:pt x="1701" y="941"/>
                </a:lnTo>
                <a:lnTo>
                  <a:pt x="1691" y="941"/>
                </a:lnTo>
                <a:lnTo>
                  <a:pt x="1681" y="940"/>
                </a:lnTo>
                <a:lnTo>
                  <a:pt x="1672" y="938"/>
                </a:lnTo>
                <a:lnTo>
                  <a:pt x="1664" y="935"/>
                </a:lnTo>
                <a:lnTo>
                  <a:pt x="1655" y="930"/>
                </a:lnTo>
                <a:lnTo>
                  <a:pt x="1649" y="925"/>
                </a:lnTo>
                <a:lnTo>
                  <a:pt x="1642" y="919"/>
                </a:lnTo>
                <a:lnTo>
                  <a:pt x="1637" y="912"/>
                </a:lnTo>
                <a:lnTo>
                  <a:pt x="1633" y="902"/>
                </a:lnTo>
                <a:lnTo>
                  <a:pt x="1629" y="892"/>
                </a:lnTo>
                <a:lnTo>
                  <a:pt x="1626" y="881"/>
                </a:lnTo>
                <a:lnTo>
                  <a:pt x="1626" y="881"/>
                </a:lnTo>
                <a:lnTo>
                  <a:pt x="1624" y="871"/>
                </a:lnTo>
                <a:lnTo>
                  <a:pt x="1623" y="860"/>
                </a:lnTo>
                <a:lnTo>
                  <a:pt x="1623" y="851"/>
                </a:lnTo>
                <a:lnTo>
                  <a:pt x="1623" y="842"/>
                </a:lnTo>
                <a:lnTo>
                  <a:pt x="1625" y="826"/>
                </a:lnTo>
                <a:lnTo>
                  <a:pt x="1629" y="811"/>
                </a:lnTo>
                <a:lnTo>
                  <a:pt x="1633" y="800"/>
                </a:lnTo>
                <a:lnTo>
                  <a:pt x="1636" y="792"/>
                </a:lnTo>
                <a:lnTo>
                  <a:pt x="1640" y="784"/>
                </a:lnTo>
                <a:lnTo>
                  <a:pt x="1640" y="784"/>
                </a:lnTo>
                <a:lnTo>
                  <a:pt x="1636" y="785"/>
                </a:lnTo>
                <a:lnTo>
                  <a:pt x="1626" y="788"/>
                </a:lnTo>
                <a:lnTo>
                  <a:pt x="1610" y="794"/>
                </a:lnTo>
                <a:lnTo>
                  <a:pt x="1601" y="797"/>
                </a:lnTo>
                <a:lnTo>
                  <a:pt x="1592" y="802"/>
                </a:lnTo>
                <a:lnTo>
                  <a:pt x="1582" y="808"/>
                </a:lnTo>
                <a:lnTo>
                  <a:pt x="1573" y="814"/>
                </a:lnTo>
                <a:lnTo>
                  <a:pt x="1563" y="823"/>
                </a:lnTo>
                <a:lnTo>
                  <a:pt x="1554" y="832"/>
                </a:lnTo>
                <a:lnTo>
                  <a:pt x="1546" y="842"/>
                </a:lnTo>
                <a:lnTo>
                  <a:pt x="1539" y="853"/>
                </a:lnTo>
                <a:lnTo>
                  <a:pt x="1533" y="867"/>
                </a:lnTo>
                <a:lnTo>
                  <a:pt x="1528" y="881"/>
                </a:lnTo>
                <a:lnTo>
                  <a:pt x="1528" y="881"/>
                </a:lnTo>
                <a:lnTo>
                  <a:pt x="1525" y="896"/>
                </a:lnTo>
                <a:lnTo>
                  <a:pt x="1523" y="912"/>
                </a:lnTo>
                <a:lnTo>
                  <a:pt x="1523" y="927"/>
                </a:lnTo>
                <a:lnTo>
                  <a:pt x="1523" y="941"/>
                </a:lnTo>
                <a:lnTo>
                  <a:pt x="1524" y="954"/>
                </a:lnTo>
                <a:lnTo>
                  <a:pt x="1527" y="969"/>
                </a:lnTo>
                <a:lnTo>
                  <a:pt x="1531" y="981"/>
                </a:lnTo>
                <a:lnTo>
                  <a:pt x="1536" y="993"/>
                </a:lnTo>
                <a:lnTo>
                  <a:pt x="1542" y="1006"/>
                </a:lnTo>
                <a:lnTo>
                  <a:pt x="1549" y="1016"/>
                </a:lnTo>
                <a:lnTo>
                  <a:pt x="1557" y="1026"/>
                </a:lnTo>
                <a:lnTo>
                  <a:pt x="1568" y="1034"/>
                </a:lnTo>
                <a:lnTo>
                  <a:pt x="1578" y="1042"/>
                </a:lnTo>
                <a:lnTo>
                  <a:pt x="1590" y="1049"/>
                </a:lnTo>
                <a:lnTo>
                  <a:pt x="1602" y="1055"/>
                </a:lnTo>
                <a:lnTo>
                  <a:pt x="1617" y="1059"/>
                </a:lnTo>
                <a:lnTo>
                  <a:pt x="1617" y="1059"/>
                </a:lnTo>
                <a:lnTo>
                  <a:pt x="1630" y="1062"/>
                </a:lnTo>
                <a:lnTo>
                  <a:pt x="1644" y="1063"/>
                </a:lnTo>
                <a:lnTo>
                  <a:pt x="1660" y="1062"/>
                </a:lnTo>
                <a:lnTo>
                  <a:pt x="1676" y="1060"/>
                </a:lnTo>
                <a:lnTo>
                  <a:pt x="1692" y="1058"/>
                </a:lnTo>
                <a:lnTo>
                  <a:pt x="1710" y="1054"/>
                </a:lnTo>
                <a:lnTo>
                  <a:pt x="1727" y="1049"/>
                </a:lnTo>
                <a:lnTo>
                  <a:pt x="1744" y="1043"/>
                </a:lnTo>
                <a:lnTo>
                  <a:pt x="1779" y="1029"/>
                </a:lnTo>
                <a:lnTo>
                  <a:pt x="1815" y="1014"/>
                </a:lnTo>
                <a:lnTo>
                  <a:pt x="1849" y="997"/>
                </a:lnTo>
                <a:lnTo>
                  <a:pt x="1880" y="981"/>
                </a:lnTo>
                <a:lnTo>
                  <a:pt x="1880" y="981"/>
                </a:lnTo>
                <a:lnTo>
                  <a:pt x="1942" y="949"/>
                </a:lnTo>
                <a:lnTo>
                  <a:pt x="1979" y="931"/>
                </a:lnTo>
                <a:lnTo>
                  <a:pt x="2013" y="915"/>
                </a:lnTo>
                <a:lnTo>
                  <a:pt x="2013" y="915"/>
                </a:lnTo>
                <a:lnTo>
                  <a:pt x="2041" y="903"/>
                </a:lnTo>
                <a:lnTo>
                  <a:pt x="2054" y="899"/>
                </a:lnTo>
                <a:lnTo>
                  <a:pt x="2068" y="895"/>
                </a:lnTo>
                <a:lnTo>
                  <a:pt x="2081" y="892"/>
                </a:lnTo>
                <a:lnTo>
                  <a:pt x="2093" y="890"/>
                </a:lnTo>
                <a:lnTo>
                  <a:pt x="2105" y="888"/>
                </a:lnTo>
                <a:lnTo>
                  <a:pt x="2119" y="888"/>
                </a:lnTo>
                <a:lnTo>
                  <a:pt x="2131" y="888"/>
                </a:lnTo>
                <a:lnTo>
                  <a:pt x="2143" y="889"/>
                </a:lnTo>
                <a:lnTo>
                  <a:pt x="2156" y="891"/>
                </a:lnTo>
                <a:lnTo>
                  <a:pt x="2170" y="893"/>
                </a:lnTo>
                <a:lnTo>
                  <a:pt x="2183" y="897"/>
                </a:lnTo>
                <a:lnTo>
                  <a:pt x="2196" y="901"/>
                </a:lnTo>
                <a:lnTo>
                  <a:pt x="2211" y="907"/>
                </a:lnTo>
                <a:lnTo>
                  <a:pt x="2226" y="914"/>
                </a:lnTo>
                <a:lnTo>
                  <a:pt x="2226" y="914"/>
                </a:lnTo>
                <a:lnTo>
                  <a:pt x="2246" y="924"/>
                </a:lnTo>
                <a:lnTo>
                  <a:pt x="2265" y="934"/>
                </a:lnTo>
                <a:lnTo>
                  <a:pt x="2281" y="945"/>
                </a:lnTo>
                <a:lnTo>
                  <a:pt x="2295" y="954"/>
                </a:lnTo>
                <a:lnTo>
                  <a:pt x="2305" y="964"/>
                </a:lnTo>
                <a:lnTo>
                  <a:pt x="2312" y="971"/>
                </a:lnTo>
                <a:lnTo>
                  <a:pt x="2319" y="977"/>
                </a:lnTo>
                <a:lnTo>
                  <a:pt x="2319" y="977"/>
                </a:lnTo>
                <a:lnTo>
                  <a:pt x="2317" y="980"/>
                </a:lnTo>
                <a:lnTo>
                  <a:pt x="2313" y="987"/>
                </a:lnTo>
                <a:lnTo>
                  <a:pt x="2305" y="998"/>
                </a:lnTo>
                <a:lnTo>
                  <a:pt x="2300" y="1005"/>
                </a:lnTo>
                <a:lnTo>
                  <a:pt x="2293" y="1012"/>
                </a:lnTo>
                <a:lnTo>
                  <a:pt x="2285" y="1018"/>
                </a:lnTo>
                <a:lnTo>
                  <a:pt x="2276" y="1025"/>
                </a:lnTo>
                <a:lnTo>
                  <a:pt x="2267" y="1031"/>
                </a:lnTo>
                <a:lnTo>
                  <a:pt x="2255" y="1036"/>
                </a:lnTo>
                <a:lnTo>
                  <a:pt x="2242" y="1041"/>
                </a:lnTo>
                <a:lnTo>
                  <a:pt x="2228" y="1045"/>
                </a:lnTo>
                <a:lnTo>
                  <a:pt x="2212" y="1049"/>
                </a:lnTo>
                <a:lnTo>
                  <a:pt x="2194" y="1050"/>
                </a:lnTo>
                <a:lnTo>
                  <a:pt x="2194" y="1050"/>
                </a:lnTo>
                <a:lnTo>
                  <a:pt x="2180" y="1051"/>
                </a:lnTo>
                <a:lnTo>
                  <a:pt x="2166" y="1050"/>
                </a:lnTo>
                <a:lnTo>
                  <a:pt x="2152" y="1048"/>
                </a:lnTo>
                <a:lnTo>
                  <a:pt x="2139" y="1044"/>
                </a:lnTo>
                <a:lnTo>
                  <a:pt x="2127" y="1041"/>
                </a:lnTo>
                <a:lnTo>
                  <a:pt x="2115" y="1037"/>
                </a:lnTo>
                <a:lnTo>
                  <a:pt x="2103" y="1033"/>
                </a:lnTo>
                <a:lnTo>
                  <a:pt x="2092" y="1027"/>
                </a:lnTo>
                <a:lnTo>
                  <a:pt x="2082" y="1022"/>
                </a:lnTo>
                <a:lnTo>
                  <a:pt x="2073" y="1016"/>
                </a:lnTo>
                <a:lnTo>
                  <a:pt x="2064" y="1010"/>
                </a:lnTo>
                <a:lnTo>
                  <a:pt x="2056" y="1003"/>
                </a:lnTo>
                <a:lnTo>
                  <a:pt x="2048" y="995"/>
                </a:lnTo>
                <a:lnTo>
                  <a:pt x="2042" y="988"/>
                </a:lnTo>
                <a:lnTo>
                  <a:pt x="2036" y="981"/>
                </a:lnTo>
                <a:lnTo>
                  <a:pt x="2031" y="974"/>
                </a:lnTo>
                <a:lnTo>
                  <a:pt x="2031" y="974"/>
                </a:lnTo>
                <a:lnTo>
                  <a:pt x="2022" y="996"/>
                </a:lnTo>
                <a:lnTo>
                  <a:pt x="2013" y="1014"/>
                </a:lnTo>
                <a:lnTo>
                  <a:pt x="2007" y="1027"/>
                </a:lnTo>
                <a:lnTo>
                  <a:pt x="2007" y="1027"/>
                </a:lnTo>
                <a:lnTo>
                  <a:pt x="2003" y="1035"/>
                </a:lnTo>
                <a:lnTo>
                  <a:pt x="2000" y="1042"/>
                </a:lnTo>
                <a:lnTo>
                  <a:pt x="1998" y="1051"/>
                </a:lnTo>
                <a:lnTo>
                  <a:pt x="1997" y="1057"/>
                </a:lnTo>
                <a:lnTo>
                  <a:pt x="1997" y="1064"/>
                </a:lnTo>
                <a:lnTo>
                  <a:pt x="1997" y="1070"/>
                </a:lnTo>
                <a:lnTo>
                  <a:pt x="1999" y="1082"/>
                </a:lnTo>
                <a:lnTo>
                  <a:pt x="2001" y="1094"/>
                </a:lnTo>
                <a:lnTo>
                  <a:pt x="2003" y="1104"/>
                </a:lnTo>
                <a:lnTo>
                  <a:pt x="2004" y="1115"/>
                </a:lnTo>
                <a:lnTo>
                  <a:pt x="2003" y="1121"/>
                </a:lnTo>
                <a:lnTo>
                  <a:pt x="2001" y="1126"/>
                </a:lnTo>
                <a:lnTo>
                  <a:pt x="2001" y="1126"/>
                </a:lnTo>
                <a:lnTo>
                  <a:pt x="1999" y="1132"/>
                </a:lnTo>
                <a:lnTo>
                  <a:pt x="1995" y="1138"/>
                </a:lnTo>
                <a:lnTo>
                  <a:pt x="1986" y="1151"/>
                </a:lnTo>
                <a:lnTo>
                  <a:pt x="1973" y="1163"/>
                </a:lnTo>
                <a:lnTo>
                  <a:pt x="1960" y="1175"/>
                </a:lnTo>
                <a:lnTo>
                  <a:pt x="1945" y="1187"/>
                </a:lnTo>
                <a:lnTo>
                  <a:pt x="1931" y="1198"/>
                </a:lnTo>
                <a:lnTo>
                  <a:pt x="1904" y="1216"/>
                </a:lnTo>
                <a:lnTo>
                  <a:pt x="1904" y="1216"/>
                </a:lnTo>
                <a:lnTo>
                  <a:pt x="1886" y="1227"/>
                </a:lnTo>
                <a:lnTo>
                  <a:pt x="1864" y="1239"/>
                </a:lnTo>
                <a:lnTo>
                  <a:pt x="1842" y="1249"/>
                </a:lnTo>
                <a:lnTo>
                  <a:pt x="1819" y="1257"/>
                </a:lnTo>
                <a:lnTo>
                  <a:pt x="1798" y="1264"/>
                </a:lnTo>
                <a:lnTo>
                  <a:pt x="1779" y="1270"/>
                </a:lnTo>
                <a:lnTo>
                  <a:pt x="1754" y="1278"/>
                </a:lnTo>
                <a:lnTo>
                  <a:pt x="1754" y="1278"/>
                </a:lnTo>
                <a:lnTo>
                  <a:pt x="1779" y="1336"/>
                </a:lnTo>
                <a:lnTo>
                  <a:pt x="1811" y="1404"/>
                </a:lnTo>
                <a:lnTo>
                  <a:pt x="1811" y="1404"/>
                </a:lnTo>
                <a:lnTo>
                  <a:pt x="1833" y="1449"/>
                </a:lnTo>
                <a:lnTo>
                  <a:pt x="1862" y="1504"/>
                </a:lnTo>
                <a:lnTo>
                  <a:pt x="1877" y="1531"/>
                </a:lnTo>
                <a:lnTo>
                  <a:pt x="1893" y="1557"/>
                </a:lnTo>
                <a:lnTo>
                  <a:pt x="1909" y="1578"/>
                </a:lnTo>
                <a:lnTo>
                  <a:pt x="1916" y="1588"/>
                </a:lnTo>
                <a:lnTo>
                  <a:pt x="1924" y="1597"/>
                </a:lnTo>
                <a:lnTo>
                  <a:pt x="1924" y="1597"/>
                </a:lnTo>
                <a:lnTo>
                  <a:pt x="1940" y="1592"/>
                </a:lnTo>
                <a:lnTo>
                  <a:pt x="1957" y="1587"/>
                </a:lnTo>
                <a:lnTo>
                  <a:pt x="1980" y="1581"/>
                </a:lnTo>
                <a:lnTo>
                  <a:pt x="2004" y="1573"/>
                </a:lnTo>
                <a:lnTo>
                  <a:pt x="2031" y="1563"/>
                </a:lnTo>
                <a:lnTo>
                  <a:pt x="2057" y="1551"/>
                </a:lnTo>
                <a:lnTo>
                  <a:pt x="2071" y="1544"/>
                </a:lnTo>
                <a:lnTo>
                  <a:pt x="2083" y="1537"/>
                </a:lnTo>
                <a:lnTo>
                  <a:pt x="2083" y="1537"/>
                </a:lnTo>
                <a:lnTo>
                  <a:pt x="2105" y="1524"/>
                </a:lnTo>
                <a:lnTo>
                  <a:pt x="2126" y="1510"/>
                </a:lnTo>
                <a:lnTo>
                  <a:pt x="2145" y="1495"/>
                </a:lnTo>
                <a:lnTo>
                  <a:pt x="2162" y="1480"/>
                </a:lnTo>
                <a:lnTo>
                  <a:pt x="2177" y="1466"/>
                </a:lnTo>
                <a:lnTo>
                  <a:pt x="2189" y="1451"/>
                </a:lnTo>
                <a:lnTo>
                  <a:pt x="2199" y="1437"/>
                </a:lnTo>
                <a:lnTo>
                  <a:pt x="2207" y="1424"/>
                </a:lnTo>
                <a:lnTo>
                  <a:pt x="2207" y="1424"/>
                </a:lnTo>
                <a:lnTo>
                  <a:pt x="2190" y="1460"/>
                </a:lnTo>
                <a:lnTo>
                  <a:pt x="2175" y="1493"/>
                </a:lnTo>
                <a:lnTo>
                  <a:pt x="2161" y="1523"/>
                </a:lnTo>
                <a:lnTo>
                  <a:pt x="2146" y="1551"/>
                </a:lnTo>
                <a:lnTo>
                  <a:pt x="2132" y="1576"/>
                </a:lnTo>
                <a:lnTo>
                  <a:pt x="2119" y="1599"/>
                </a:lnTo>
                <a:lnTo>
                  <a:pt x="2105" y="1619"/>
                </a:lnTo>
                <a:lnTo>
                  <a:pt x="2092" y="1637"/>
                </a:lnTo>
                <a:lnTo>
                  <a:pt x="2080" y="1655"/>
                </a:lnTo>
                <a:lnTo>
                  <a:pt x="2068" y="1669"/>
                </a:lnTo>
                <a:lnTo>
                  <a:pt x="2055" y="1682"/>
                </a:lnTo>
                <a:lnTo>
                  <a:pt x="2044" y="1694"/>
                </a:lnTo>
                <a:lnTo>
                  <a:pt x="2033" y="1705"/>
                </a:lnTo>
                <a:lnTo>
                  <a:pt x="2022" y="1714"/>
                </a:lnTo>
                <a:lnTo>
                  <a:pt x="2011" y="1721"/>
                </a:lnTo>
                <a:lnTo>
                  <a:pt x="2000" y="1729"/>
                </a:lnTo>
                <a:lnTo>
                  <a:pt x="2000" y="1729"/>
                </a:lnTo>
                <a:lnTo>
                  <a:pt x="1907" y="1790"/>
                </a:lnTo>
                <a:lnTo>
                  <a:pt x="1797" y="1862"/>
                </a:lnTo>
                <a:lnTo>
                  <a:pt x="1735" y="1901"/>
                </a:lnTo>
                <a:lnTo>
                  <a:pt x="1671" y="1940"/>
                </a:lnTo>
                <a:lnTo>
                  <a:pt x="1602" y="1980"/>
                </a:lnTo>
                <a:lnTo>
                  <a:pt x="1532" y="2020"/>
                </a:lnTo>
                <a:lnTo>
                  <a:pt x="1459" y="2058"/>
                </a:lnTo>
                <a:lnTo>
                  <a:pt x="1422" y="2077"/>
                </a:lnTo>
                <a:lnTo>
                  <a:pt x="1384" y="2094"/>
                </a:lnTo>
                <a:lnTo>
                  <a:pt x="1347" y="2112"/>
                </a:lnTo>
                <a:lnTo>
                  <a:pt x="1308" y="2129"/>
                </a:lnTo>
                <a:lnTo>
                  <a:pt x="1269" y="2146"/>
                </a:lnTo>
                <a:lnTo>
                  <a:pt x="1230" y="2161"/>
                </a:lnTo>
                <a:lnTo>
                  <a:pt x="1190" y="2175"/>
                </a:lnTo>
                <a:lnTo>
                  <a:pt x="1151" y="2189"/>
                </a:lnTo>
                <a:lnTo>
                  <a:pt x="1111" y="2202"/>
                </a:lnTo>
                <a:lnTo>
                  <a:pt x="1072" y="2213"/>
                </a:lnTo>
                <a:lnTo>
                  <a:pt x="1032" y="2223"/>
                </a:lnTo>
                <a:lnTo>
                  <a:pt x="992" y="2231"/>
                </a:lnTo>
                <a:lnTo>
                  <a:pt x="952" y="2240"/>
                </a:lnTo>
                <a:lnTo>
                  <a:pt x="913" y="2246"/>
                </a:lnTo>
                <a:lnTo>
                  <a:pt x="913" y="2246"/>
                </a:lnTo>
                <a:lnTo>
                  <a:pt x="901" y="2246"/>
                </a:lnTo>
                <a:lnTo>
                  <a:pt x="889" y="2245"/>
                </a:lnTo>
                <a:lnTo>
                  <a:pt x="876" y="2242"/>
                </a:lnTo>
                <a:lnTo>
                  <a:pt x="863" y="2239"/>
                </a:lnTo>
                <a:lnTo>
                  <a:pt x="850" y="2236"/>
                </a:lnTo>
                <a:lnTo>
                  <a:pt x="836" y="2230"/>
                </a:lnTo>
                <a:lnTo>
                  <a:pt x="809" y="2218"/>
                </a:lnTo>
                <a:lnTo>
                  <a:pt x="781" y="2204"/>
                </a:lnTo>
                <a:lnTo>
                  <a:pt x="754" y="2188"/>
                </a:lnTo>
                <a:lnTo>
                  <a:pt x="726" y="2170"/>
                </a:lnTo>
                <a:lnTo>
                  <a:pt x="698" y="2151"/>
                </a:lnTo>
                <a:lnTo>
                  <a:pt x="672" y="2130"/>
                </a:lnTo>
                <a:lnTo>
                  <a:pt x="646" y="2110"/>
                </a:lnTo>
                <a:lnTo>
                  <a:pt x="623" y="2089"/>
                </a:lnTo>
                <a:lnTo>
                  <a:pt x="600" y="2069"/>
                </a:lnTo>
                <a:lnTo>
                  <a:pt x="581" y="2049"/>
                </a:lnTo>
                <a:lnTo>
                  <a:pt x="563" y="2032"/>
                </a:lnTo>
                <a:lnTo>
                  <a:pt x="548" y="2017"/>
                </a:lnTo>
                <a:lnTo>
                  <a:pt x="537" y="2003"/>
                </a:lnTo>
                <a:lnTo>
                  <a:pt x="537" y="2003"/>
                </a:lnTo>
                <a:lnTo>
                  <a:pt x="533" y="1999"/>
                </a:lnTo>
                <a:lnTo>
                  <a:pt x="530" y="1995"/>
                </a:lnTo>
                <a:lnTo>
                  <a:pt x="520" y="1990"/>
                </a:lnTo>
                <a:lnTo>
                  <a:pt x="512" y="1988"/>
                </a:lnTo>
                <a:lnTo>
                  <a:pt x="502" y="1987"/>
                </a:lnTo>
                <a:lnTo>
                  <a:pt x="493" y="1987"/>
                </a:lnTo>
                <a:lnTo>
                  <a:pt x="483" y="1989"/>
                </a:lnTo>
                <a:lnTo>
                  <a:pt x="473" y="1992"/>
                </a:lnTo>
                <a:lnTo>
                  <a:pt x="464" y="1996"/>
                </a:lnTo>
                <a:lnTo>
                  <a:pt x="447" y="2004"/>
                </a:lnTo>
                <a:lnTo>
                  <a:pt x="433" y="2014"/>
                </a:lnTo>
                <a:lnTo>
                  <a:pt x="419" y="2024"/>
                </a:lnTo>
                <a:lnTo>
                  <a:pt x="419" y="2024"/>
                </a:lnTo>
                <a:lnTo>
                  <a:pt x="412" y="2023"/>
                </a:lnTo>
                <a:lnTo>
                  <a:pt x="393" y="2021"/>
                </a:lnTo>
                <a:lnTo>
                  <a:pt x="379" y="2021"/>
                </a:lnTo>
                <a:lnTo>
                  <a:pt x="364" y="2021"/>
                </a:lnTo>
                <a:lnTo>
                  <a:pt x="348" y="2022"/>
                </a:lnTo>
                <a:lnTo>
                  <a:pt x="329" y="2024"/>
                </a:lnTo>
                <a:lnTo>
                  <a:pt x="310" y="2027"/>
                </a:lnTo>
                <a:lnTo>
                  <a:pt x="290" y="2032"/>
                </a:lnTo>
                <a:lnTo>
                  <a:pt x="271" y="2038"/>
                </a:lnTo>
                <a:lnTo>
                  <a:pt x="252" y="2047"/>
                </a:lnTo>
                <a:lnTo>
                  <a:pt x="242" y="2053"/>
                </a:lnTo>
                <a:lnTo>
                  <a:pt x="233" y="2058"/>
                </a:lnTo>
                <a:lnTo>
                  <a:pt x="224" y="2064"/>
                </a:lnTo>
                <a:lnTo>
                  <a:pt x="216" y="2071"/>
                </a:lnTo>
                <a:lnTo>
                  <a:pt x="207" y="2079"/>
                </a:lnTo>
                <a:lnTo>
                  <a:pt x="199" y="2087"/>
                </a:lnTo>
                <a:lnTo>
                  <a:pt x="191" y="2097"/>
                </a:lnTo>
                <a:lnTo>
                  <a:pt x="184" y="2106"/>
                </a:lnTo>
                <a:lnTo>
                  <a:pt x="184" y="2106"/>
                </a:lnTo>
                <a:lnTo>
                  <a:pt x="183" y="2109"/>
                </a:lnTo>
                <a:lnTo>
                  <a:pt x="185" y="2111"/>
                </a:lnTo>
                <a:lnTo>
                  <a:pt x="188" y="2112"/>
                </a:lnTo>
                <a:lnTo>
                  <a:pt x="193" y="2112"/>
                </a:lnTo>
                <a:lnTo>
                  <a:pt x="210" y="2110"/>
                </a:lnTo>
                <a:lnTo>
                  <a:pt x="230" y="2108"/>
                </a:lnTo>
                <a:lnTo>
                  <a:pt x="255" y="2106"/>
                </a:lnTo>
                <a:lnTo>
                  <a:pt x="280" y="2105"/>
                </a:lnTo>
                <a:lnTo>
                  <a:pt x="293" y="2106"/>
                </a:lnTo>
                <a:lnTo>
                  <a:pt x="307" y="2107"/>
                </a:lnTo>
                <a:lnTo>
                  <a:pt x="319" y="2109"/>
                </a:lnTo>
                <a:lnTo>
                  <a:pt x="331" y="2112"/>
                </a:lnTo>
                <a:lnTo>
                  <a:pt x="331" y="2112"/>
                </a:lnTo>
                <a:lnTo>
                  <a:pt x="338" y="2115"/>
                </a:lnTo>
                <a:lnTo>
                  <a:pt x="343" y="2118"/>
                </a:lnTo>
                <a:lnTo>
                  <a:pt x="346" y="2121"/>
                </a:lnTo>
                <a:lnTo>
                  <a:pt x="347" y="2124"/>
                </a:lnTo>
                <a:lnTo>
                  <a:pt x="347" y="2127"/>
                </a:lnTo>
                <a:lnTo>
                  <a:pt x="345" y="2131"/>
                </a:lnTo>
                <a:lnTo>
                  <a:pt x="339" y="2139"/>
                </a:lnTo>
                <a:lnTo>
                  <a:pt x="332" y="2149"/>
                </a:lnTo>
                <a:lnTo>
                  <a:pt x="325" y="2160"/>
                </a:lnTo>
                <a:lnTo>
                  <a:pt x="321" y="2166"/>
                </a:lnTo>
                <a:lnTo>
                  <a:pt x="319" y="2172"/>
                </a:lnTo>
                <a:lnTo>
                  <a:pt x="317" y="2178"/>
                </a:lnTo>
                <a:lnTo>
                  <a:pt x="317" y="2185"/>
                </a:lnTo>
                <a:lnTo>
                  <a:pt x="317" y="2185"/>
                </a:lnTo>
                <a:lnTo>
                  <a:pt x="317" y="2191"/>
                </a:lnTo>
                <a:lnTo>
                  <a:pt x="319" y="2197"/>
                </a:lnTo>
                <a:lnTo>
                  <a:pt x="321" y="2202"/>
                </a:lnTo>
                <a:lnTo>
                  <a:pt x="324" y="2207"/>
                </a:lnTo>
                <a:lnTo>
                  <a:pt x="328" y="2212"/>
                </a:lnTo>
                <a:lnTo>
                  <a:pt x="333" y="2217"/>
                </a:lnTo>
                <a:lnTo>
                  <a:pt x="346" y="2227"/>
                </a:lnTo>
                <a:lnTo>
                  <a:pt x="361" y="2237"/>
                </a:lnTo>
                <a:lnTo>
                  <a:pt x="377" y="2246"/>
                </a:lnTo>
                <a:lnTo>
                  <a:pt x="397" y="2255"/>
                </a:lnTo>
                <a:lnTo>
                  <a:pt x="416" y="2263"/>
                </a:lnTo>
                <a:lnTo>
                  <a:pt x="458" y="2279"/>
                </a:lnTo>
                <a:lnTo>
                  <a:pt x="500" y="2293"/>
                </a:lnTo>
                <a:lnTo>
                  <a:pt x="571" y="2314"/>
                </a:lnTo>
                <a:lnTo>
                  <a:pt x="571" y="2314"/>
                </a:lnTo>
                <a:lnTo>
                  <a:pt x="579" y="2318"/>
                </a:lnTo>
                <a:lnTo>
                  <a:pt x="585" y="2322"/>
                </a:lnTo>
                <a:lnTo>
                  <a:pt x="588" y="2328"/>
                </a:lnTo>
                <a:lnTo>
                  <a:pt x="590" y="2333"/>
                </a:lnTo>
                <a:lnTo>
                  <a:pt x="590" y="2337"/>
                </a:lnTo>
                <a:lnTo>
                  <a:pt x="588" y="2341"/>
                </a:lnTo>
                <a:lnTo>
                  <a:pt x="585" y="2343"/>
                </a:lnTo>
                <a:lnTo>
                  <a:pt x="581" y="2344"/>
                </a:lnTo>
                <a:lnTo>
                  <a:pt x="581" y="2344"/>
                </a:lnTo>
                <a:lnTo>
                  <a:pt x="556" y="2343"/>
                </a:lnTo>
                <a:lnTo>
                  <a:pt x="532" y="2340"/>
                </a:lnTo>
                <a:lnTo>
                  <a:pt x="509" y="2337"/>
                </a:lnTo>
                <a:lnTo>
                  <a:pt x="488" y="2332"/>
                </a:lnTo>
                <a:lnTo>
                  <a:pt x="467" y="2327"/>
                </a:lnTo>
                <a:lnTo>
                  <a:pt x="448" y="2320"/>
                </a:lnTo>
                <a:lnTo>
                  <a:pt x="429" y="2314"/>
                </a:lnTo>
                <a:lnTo>
                  <a:pt x="412" y="2308"/>
                </a:lnTo>
                <a:lnTo>
                  <a:pt x="380" y="2295"/>
                </a:lnTo>
                <a:lnTo>
                  <a:pt x="352" y="2283"/>
                </a:lnTo>
                <a:lnTo>
                  <a:pt x="327" y="2271"/>
                </a:lnTo>
                <a:lnTo>
                  <a:pt x="316" y="2267"/>
                </a:lnTo>
                <a:lnTo>
                  <a:pt x="305" y="2263"/>
                </a:lnTo>
                <a:lnTo>
                  <a:pt x="305" y="2263"/>
                </a:lnTo>
                <a:lnTo>
                  <a:pt x="286" y="2258"/>
                </a:lnTo>
                <a:lnTo>
                  <a:pt x="268" y="2254"/>
                </a:lnTo>
                <a:lnTo>
                  <a:pt x="253" y="2251"/>
                </a:lnTo>
                <a:lnTo>
                  <a:pt x="237" y="2249"/>
                </a:lnTo>
                <a:lnTo>
                  <a:pt x="224" y="2248"/>
                </a:lnTo>
                <a:lnTo>
                  <a:pt x="213" y="2249"/>
                </a:lnTo>
                <a:lnTo>
                  <a:pt x="202" y="2250"/>
                </a:lnTo>
                <a:lnTo>
                  <a:pt x="192" y="2252"/>
                </a:lnTo>
                <a:lnTo>
                  <a:pt x="185" y="2256"/>
                </a:lnTo>
                <a:lnTo>
                  <a:pt x="178" y="2260"/>
                </a:lnTo>
                <a:lnTo>
                  <a:pt x="172" y="2265"/>
                </a:lnTo>
                <a:lnTo>
                  <a:pt x="167" y="2271"/>
                </a:lnTo>
                <a:lnTo>
                  <a:pt x="163" y="2277"/>
                </a:lnTo>
                <a:lnTo>
                  <a:pt x="160" y="2286"/>
                </a:lnTo>
                <a:lnTo>
                  <a:pt x="156" y="2294"/>
                </a:lnTo>
                <a:lnTo>
                  <a:pt x="155" y="2303"/>
                </a:lnTo>
                <a:lnTo>
                  <a:pt x="155" y="2303"/>
                </a:lnTo>
                <a:lnTo>
                  <a:pt x="154" y="2306"/>
                </a:lnTo>
                <a:lnTo>
                  <a:pt x="152" y="2309"/>
                </a:lnTo>
                <a:lnTo>
                  <a:pt x="150" y="2312"/>
                </a:lnTo>
                <a:lnTo>
                  <a:pt x="147" y="2314"/>
                </a:lnTo>
                <a:lnTo>
                  <a:pt x="140" y="2318"/>
                </a:lnTo>
                <a:lnTo>
                  <a:pt x="132" y="2323"/>
                </a:lnTo>
                <a:lnTo>
                  <a:pt x="109" y="2333"/>
                </a:lnTo>
                <a:lnTo>
                  <a:pt x="97" y="2339"/>
                </a:lnTo>
                <a:lnTo>
                  <a:pt x="84" y="2347"/>
                </a:lnTo>
                <a:lnTo>
                  <a:pt x="71" y="2357"/>
                </a:lnTo>
                <a:lnTo>
                  <a:pt x="57" y="2371"/>
                </a:lnTo>
                <a:lnTo>
                  <a:pt x="51" y="2378"/>
                </a:lnTo>
                <a:lnTo>
                  <a:pt x="45" y="2386"/>
                </a:lnTo>
                <a:lnTo>
                  <a:pt x="39" y="2396"/>
                </a:lnTo>
                <a:lnTo>
                  <a:pt x="33" y="2406"/>
                </a:lnTo>
                <a:lnTo>
                  <a:pt x="28" y="2418"/>
                </a:lnTo>
                <a:lnTo>
                  <a:pt x="22" y="2430"/>
                </a:lnTo>
                <a:lnTo>
                  <a:pt x="17" y="2444"/>
                </a:lnTo>
                <a:lnTo>
                  <a:pt x="13" y="2458"/>
                </a:lnTo>
                <a:lnTo>
                  <a:pt x="9" y="2475"/>
                </a:lnTo>
                <a:lnTo>
                  <a:pt x="6" y="2492"/>
                </a:lnTo>
                <a:lnTo>
                  <a:pt x="3" y="2512"/>
                </a:lnTo>
                <a:lnTo>
                  <a:pt x="0" y="2532"/>
                </a:lnTo>
                <a:lnTo>
                  <a:pt x="0" y="2532"/>
                </a:lnTo>
                <a:lnTo>
                  <a:pt x="1" y="2533"/>
                </a:lnTo>
                <a:lnTo>
                  <a:pt x="2" y="2534"/>
                </a:lnTo>
                <a:lnTo>
                  <a:pt x="6" y="2532"/>
                </a:lnTo>
                <a:lnTo>
                  <a:pt x="12" y="2527"/>
                </a:lnTo>
                <a:lnTo>
                  <a:pt x="20" y="2519"/>
                </a:lnTo>
                <a:lnTo>
                  <a:pt x="43" y="2496"/>
                </a:lnTo>
                <a:lnTo>
                  <a:pt x="69" y="2472"/>
                </a:lnTo>
                <a:lnTo>
                  <a:pt x="82" y="2459"/>
                </a:lnTo>
                <a:lnTo>
                  <a:pt x="95" y="2448"/>
                </a:lnTo>
                <a:lnTo>
                  <a:pt x="107" y="2439"/>
                </a:lnTo>
                <a:lnTo>
                  <a:pt x="119" y="2432"/>
                </a:lnTo>
                <a:lnTo>
                  <a:pt x="124" y="2429"/>
                </a:lnTo>
                <a:lnTo>
                  <a:pt x="129" y="2428"/>
                </a:lnTo>
                <a:lnTo>
                  <a:pt x="133" y="2427"/>
                </a:lnTo>
                <a:lnTo>
                  <a:pt x="137" y="2427"/>
                </a:lnTo>
                <a:lnTo>
                  <a:pt x="140" y="2429"/>
                </a:lnTo>
                <a:lnTo>
                  <a:pt x="143" y="2431"/>
                </a:lnTo>
                <a:lnTo>
                  <a:pt x="144" y="2435"/>
                </a:lnTo>
                <a:lnTo>
                  <a:pt x="146" y="2439"/>
                </a:lnTo>
                <a:lnTo>
                  <a:pt x="146" y="2439"/>
                </a:lnTo>
                <a:lnTo>
                  <a:pt x="149" y="2455"/>
                </a:lnTo>
                <a:lnTo>
                  <a:pt x="154" y="2470"/>
                </a:lnTo>
                <a:lnTo>
                  <a:pt x="162" y="2483"/>
                </a:lnTo>
                <a:lnTo>
                  <a:pt x="170" y="2493"/>
                </a:lnTo>
                <a:lnTo>
                  <a:pt x="179" y="2503"/>
                </a:lnTo>
                <a:lnTo>
                  <a:pt x="189" y="2511"/>
                </a:lnTo>
                <a:lnTo>
                  <a:pt x="200" y="2518"/>
                </a:lnTo>
                <a:lnTo>
                  <a:pt x="214" y="2523"/>
                </a:lnTo>
                <a:lnTo>
                  <a:pt x="227" y="2527"/>
                </a:lnTo>
                <a:lnTo>
                  <a:pt x="241" y="2529"/>
                </a:lnTo>
                <a:lnTo>
                  <a:pt x="256" y="2531"/>
                </a:lnTo>
                <a:lnTo>
                  <a:pt x="271" y="2532"/>
                </a:lnTo>
                <a:lnTo>
                  <a:pt x="287" y="2533"/>
                </a:lnTo>
                <a:lnTo>
                  <a:pt x="304" y="2532"/>
                </a:lnTo>
                <a:lnTo>
                  <a:pt x="337" y="2530"/>
                </a:lnTo>
                <a:lnTo>
                  <a:pt x="371" y="2526"/>
                </a:lnTo>
                <a:lnTo>
                  <a:pt x="405" y="2521"/>
                </a:lnTo>
                <a:lnTo>
                  <a:pt x="438" y="2516"/>
                </a:lnTo>
                <a:lnTo>
                  <a:pt x="468" y="2512"/>
                </a:lnTo>
                <a:lnTo>
                  <a:pt x="496" y="2510"/>
                </a:lnTo>
                <a:lnTo>
                  <a:pt x="509" y="2509"/>
                </a:lnTo>
                <a:lnTo>
                  <a:pt x="520" y="2509"/>
                </a:lnTo>
                <a:lnTo>
                  <a:pt x="531" y="2510"/>
                </a:lnTo>
                <a:lnTo>
                  <a:pt x="541" y="2512"/>
                </a:lnTo>
                <a:lnTo>
                  <a:pt x="549" y="2515"/>
                </a:lnTo>
                <a:lnTo>
                  <a:pt x="555" y="2519"/>
                </a:lnTo>
                <a:lnTo>
                  <a:pt x="555" y="2519"/>
                </a:lnTo>
                <a:lnTo>
                  <a:pt x="558" y="2522"/>
                </a:lnTo>
                <a:lnTo>
                  <a:pt x="559" y="2524"/>
                </a:lnTo>
                <a:lnTo>
                  <a:pt x="557" y="2527"/>
                </a:lnTo>
                <a:lnTo>
                  <a:pt x="554" y="2529"/>
                </a:lnTo>
                <a:lnTo>
                  <a:pt x="549" y="2532"/>
                </a:lnTo>
                <a:lnTo>
                  <a:pt x="542" y="2534"/>
                </a:lnTo>
                <a:lnTo>
                  <a:pt x="525" y="2538"/>
                </a:lnTo>
                <a:lnTo>
                  <a:pt x="475" y="2547"/>
                </a:lnTo>
                <a:lnTo>
                  <a:pt x="447" y="2553"/>
                </a:lnTo>
                <a:lnTo>
                  <a:pt x="417" y="2559"/>
                </a:lnTo>
                <a:lnTo>
                  <a:pt x="388" y="2566"/>
                </a:lnTo>
                <a:lnTo>
                  <a:pt x="359" y="2574"/>
                </a:lnTo>
                <a:lnTo>
                  <a:pt x="346" y="2578"/>
                </a:lnTo>
                <a:lnTo>
                  <a:pt x="333" y="2583"/>
                </a:lnTo>
                <a:lnTo>
                  <a:pt x="322" y="2588"/>
                </a:lnTo>
                <a:lnTo>
                  <a:pt x="312" y="2594"/>
                </a:lnTo>
                <a:lnTo>
                  <a:pt x="303" y="2601"/>
                </a:lnTo>
                <a:lnTo>
                  <a:pt x="294" y="2607"/>
                </a:lnTo>
                <a:lnTo>
                  <a:pt x="288" y="2614"/>
                </a:lnTo>
                <a:lnTo>
                  <a:pt x="284" y="2622"/>
                </a:lnTo>
                <a:lnTo>
                  <a:pt x="282" y="2630"/>
                </a:lnTo>
                <a:lnTo>
                  <a:pt x="281" y="2638"/>
                </a:lnTo>
                <a:lnTo>
                  <a:pt x="283" y="2649"/>
                </a:lnTo>
                <a:lnTo>
                  <a:pt x="287" y="2659"/>
                </a:lnTo>
                <a:lnTo>
                  <a:pt x="287" y="2659"/>
                </a:lnTo>
                <a:lnTo>
                  <a:pt x="287" y="2660"/>
                </a:lnTo>
                <a:lnTo>
                  <a:pt x="286" y="2663"/>
                </a:lnTo>
                <a:lnTo>
                  <a:pt x="283" y="2669"/>
                </a:lnTo>
                <a:lnTo>
                  <a:pt x="268" y="2686"/>
                </a:lnTo>
                <a:lnTo>
                  <a:pt x="258" y="2699"/>
                </a:lnTo>
                <a:lnTo>
                  <a:pt x="247" y="2712"/>
                </a:lnTo>
                <a:lnTo>
                  <a:pt x="237" y="2727"/>
                </a:lnTo>
                <a:lnTo>
                  <a:pt x="228" y="2744"/>
                </a:lnTo>
                <a:lnTo>
                  <a:pt x="220" y="2761"/>
                </a:lnTo>
                <a:lnTo>
                  <a:pt x="217" y="2770"/>
                </a:lnTo>
                <a:lnTo>
                  <a:pt x="214" y="2781"/>
                </a:lnTo>
                <a:lnTo>
                  <a:pt x="213" y="2790"/>
                </a:lnTo>
                <a:lnTo>
                  <a:pt x="212" y="2801"/>
                </a:lnTo>
                <a:lnTo>
                  <a:pt x="212" y="2811"/>
                </a:lnTo>
                <a:lnTo>
                  <a:pt x="213" y="2821"/>
                </a:lnTo>
                <a:lnTo>
                  <a:pt x="215" y="2833"/>
                </a:lnTo>
                <a:lnTo>
                  <a:pt x="219" y="2844"/>
                </a:lnTo>
                <a:lnTo>
                  <a:pt x="223" y="2856"/>
                </a:lnTo>
                <a:lnTo>
                  <a:pt x="229" y="2867"/>
                </a:lnTo>
                <a:lnTo>
                  <a:pt x="237" y="2880"/>
                </a:lnTo>
                <a:lnTo>
                  <a:pt x="246" y="2892"/>
                </a:lnTo>
                <a:lnTo>
                  <a:pt x="257" y="2904"/>
                </a:lnTo>
                <a:lnTo>
                  <a:pt x="270" y="2917"/>
                </a:lnTo>
                <a:lnTo>
                  <a:pt x="270" y="2917"/>
                </a:lnTo>
                <a:lnTo>
                  <a:pt x="270" y="2910"/>
                </a:lnTo>
                <a:lnTo>
                  <a:pt x="272" y="2893"/>
                </a:lnTo>
                <a:lnTo>
                  <a:pt x="277" y="2868"/>
                </a:lnTo>
                <a:lnTo>
                  <a:pt x="281" y="2855"/>
                </a:lnTo>
                <a:lnTo>
                  <a:pt x="285" y="2841"/>
                </a:lnTo>
                <a:lnTo>
                  <a:pt x="291" y="2828"/>
                </a:lnTo>
                <a:lnTo>
                  <a:pt x="298" y="2814"/>
                </a:lnTo>
                <a:lnTo>
                  <a:pt x="306" y="2801"/>
                </a:lnTo>
                <a:lnTo>
                  <a:pt x="315" y="2791"/>
                </a:lnTo>
                <a:lnTo>
                  <a:pt x="321" y="2786"/>
                </a:lnTo>
                <a:lnTo>
                  <a:pt x="326" y="2782"/>
                </a:lnTo>
                <a:lnTo>
                  <a:pt x="332" y="2777"/>
                </a:lnTo>
                <a:lnTo>
                  <a:pt x="339" y="2774"/>
                </a:lnTo>
                <a:lnTo>
                  <a:pt x="346" y="2772"/>
                </a:lnTo>
                <a:lnTo>
                  <a:pt x="354" y="2770"/>
                </a:lnTo>
                <a:lnTo>
                  <a:pt x="361" y="2770"/>
                </a:lnTo>
                <a:lnTo>
                  <a:pt x="369" y="2770"/>
                </a:lnTo>
                <a:lnTo>
                  <a:pt x="369" y="2770"/>
                </a:lnTo>
                <a:lnTo>
                  <a:pt x="383" y="2771"/>
                </a:lnTo>
                <a:lnTo>
                  <a:pt x="396" y="2774"/>
                </a:lnTo>
                <a:lnTo>
                  <a:pt x="408" y="2778"/>
                </a:lnTo>
                <a:lnTo>
                  <a:pt x="420" y="2783"/>
                </a:lnTo>
                <a:lnTo>
                  <a:pt x="443" y="2793"/>
                </a:lnTo>
                <a:lnTo>
                  <a:pt x="454" y="2797"/>
                </a:lnTo>
                <a:lnTo>
                  <a:pt x="465" y="2801"/>
                </a:lnTo>
                <a:lnTo>
                  <a:pt x="476" y="2804"/>
                </a:lnTo>
                <a:lnTo>
                  <a:pt x="489" y="2806"/>
                </a:lnTo>
                <a:lnTo>
                  <a:pt x="501" y="2807"/>
                </a:lnTo>
                <a:lnTo>
                  <a:pt x="514" y="2805"/>
                </a:lnTo>
                <a:lnTo>
                  <a:pt x="528" y="2802"/>
                </a:lnTo>
                <a:lnTo>
                  <a:pt x="542" y="2796"/>
                </a:lnTo>
                <a:lnTo>
                  <a:pt x="558" y="2788"/>
                </a:lnTo>
                <a:lnTo>
                  <a:pt x="575" y="2775"/>
                </a:lnTo>
                <a:lnTo>
                  <a:pt x="575" y="2775"/>
                </a:lnTo>
                <a:lnTo>
                  <a:pt x="588" y="2766"/>
                </a:lnTo>
                <a:lnTo>
                  <a:pt x="600" y="2755"/>
                </a:lnTo>
                <a:lnTo>
                  <a:pt x="614" y="2743"/>
                </a:lnTo>
                <a:lnTo>
                  <a:pt x="630" y="2730"/>
                </a:lnTo>
                <a:lnTo>
                  <a:pt x="651" y="2718"/>
                </a:lnTo>
                <a:lnTo>
                  <a:pt x="664" y="2711"/>
                </a:lnTo>
                <a:lnTo>
                  <a:pt x="678" y="2705"/>
                </a:lnTo>
                <a:lnTo>
                  <a:pt x="693" y="2698"/>
                </a:lnTo>
                <a:lnTo>
                  <a:pt x="712" y="2692"/>
                </a:lnTo>
                <a:lnTo>
                  <a:pt x="732" y="2684"/>
                </a:lnTo>
                <a:lnTo>
                  <a:pt x="754" y="2677"/>
                </a:lnTo>
                <a:lnTo>
                  <a:pt x="754" y="2677"/>
                </a:lnTo>
                <a:lnTo>
                  <a:pt x="756" y="2677"/>
                </a:lnTo>
                <a:lnTo>
                  <a:pt x="757" y="2678"/>
                </a:lnTo>
                <a:lnTo>
                  <a:pt x="760" y="2683"/>
                </a:lnTo>
                <a:lnTo>
                  <a:pt x="762" y="2692"/>
                </a:lnTo>
                <a:lnTo>
                  <a:pt x="765" y="2701"/>
                </a:lnTo>
                <a:lnTo>
                  <a:pt x="768" y="2713"/>
                </a:lnTo>
                <a:lnTo>
                  <a:pt x="772" y="2725"/>
                </a:lnTo>
                <a:lnTo>
                  <a:pt x="777" y="2738"/>
                </a:lnTo>
                <a:lnTo>
                  <a:pt x="783" y="2750"/>
                </a:lnTo>
                <a:lnTo>
                  <a:pt x="783" y="2750"/>
                </a:lnTo>
                <a:lnTo>
                  <a:pt x="786" y="2753"/>
                </a:lnTo>
                <a:lnTo>
                  <a:pt x="789" y="2755"/>
                </a:lnTo>
                <a:lnTo>
                  <a:pt x="797" y="2760"/>
                </a:lnTo>
                <a:lnTo>
                  <a:pt x="805" y="2763"/>
                </a:lnTo>
                <a:lnTo>
                  <a:pt x="813" y="2767"/>
                </a:lnTo>
                <a:lnTo>
                  <a:pt x="821" y="2770"/>
                </a:lnTo>
                <a:lnTo>
                  <a:pt x="827" y="2773"/>
                </a:lnTo>
                <a:lnTo>
                  <a:pt x="830" y="2775"/>
                </a:lnTo>
                <a:lnTo>
                  <a:pt x="831" y="2777"/>
                </a:lnTo>
                <a:lnTo>
                  <a:pt x="833" y="2781"/>
                </a:lnTo>
                <a:lnTo>
                  <a:pt x="833" y="2784"/>
                </a:lnTo>
                <a:lnTo>
                  <a:pt x="833" y="2784"/>
                </a:lnTo>
                <a:lnTo>
                  <a:pt x="832" y="2794"/>
                </a:lnTo>
                <a:lnTo>
                  <a:pt x="830" y="2805"/>
                </a:lnTo>
                <a:lnTo>
                  <a:pt x="826" y="2815"/>
                </a:lnTo>
                <a:lnTo>
                  <a:pt x="822" y="2824"/>
                </a:lnTo>
                <a:lnTo>
                  <a:pt x="817" y="2834"/>
                </a:lnTo>
                <a:lnTo>
                  <a:pt x="811" y="2843"/>
                </a:lnTo>
                <a:lnTo>
                  <a:pt x="798" y="2859"/>
                </a:lnTo>
                <a:lnTo>
                  <a:pt x="784" y="2873"/>
                </a:lnTo>
                <a:lnTo>
                  <a:pt x="773" y="2884"/>
                </a:lnTo>
                <a:lnTo>
                  <a:pt x="765" y="2890"/>
                </a:lnTo>
                <a:lnTo>
                  <a:pt x="763" y="2893"/>
                </a:lnTo>
                <a:lnTo>
                  <a:pt x="763" y="2893"/>
                </a:lnTo>
                <a:lnTo>
                  <a:pt x="767" y="2896"/>
                </a:lnTo>
                <a:lnTo>
                  <a:pt x="778" y="2899"/>
                </a:lnTo>
                <a:lnTo>
                  <a:pt x="785" y="2900"/>
                </a:lnTo>
                <a:lnTo>
                  <a:pt x="794" y="2901"/>
                </a:lnTo>
                <a:lnTo>
                  <a:pt x="804" y="2901"/>
                </a:lnTo>
                <a:lnTo>
                  <a:pt x="815" y="2899"/>
                </a:lnTo>
                <a:lnTo>
                  <a:pt x="826" y="2896"/>
                </a:lnTo>
                <a:lnTo>
                  <a:pt x="839" y="2891"/>
                </a:lnTo>
                <a:lnTo>
                  <a:pt x="852" y="2884"/>
                </a:lnTo>
                <a:lnTo>
                  <a:pt x="865" y="2874"/>
                </a:lnTo>
                <a:lnTo>
                  <a:pt x="879" y="2860"/>
                </a:lnTo>
                <a:lnTo>
                  <a:pt x="894" y="2844"/>
                </a:lnTo>
                <a:lnTo>
                  <a:pt x="907" y="2824"/>
                </a:lnTo>
                <a:lnTo>
                  <a:pt x="921" y="2801"/>
                </a:lnTo>
                <a:lnTo>
                  <a:pt x="921" y="2801"/>
                </a:lnTo>
                <a:lnTo>
                  <a:pt x="924" y="2797"/>
                </a:lnTo>
                <a:lnTo>
                  <a:pt x="927" y="2793"/>
                </a:lnTo>
                <a:lnTo>
                  <a:pt x="930" y="2791"/>
                </a:lnTo>
                <a:lnTo>
                  <a:pt x="935" y="2789"/>
                </a:lnTo>
                <a:lnTo>
                  <a:pt x="939" y="2788"/>
                </a:lnTo>
                <a:lnTo>
                  <a:pt x="943" y="2788"/>
                </a:lnTo>
                <a:lnTo>
                  <a:pt x="951" y="2788"/>
                </a:lnTo>
                <a:lnTo>
                  <a:pt x="970" y="2790"/>
                </a:lnTo>
                <a:lnTo>
                  <a:pt x="982" y="2790"/>
                </a:lnTo>
                <a:lnTo>
                  <a:pt x="987" y="2789"/>
                </a:lnTo>
                <a:lnTo>
                  <a:pt x="992" y="2788"/>
                </a:lnTo>
                <a:lnTo>
                  <a:pt x="992" y="2788"/>
                </a:lnTo>
                <a:lnTo>
                  <a:pt x="1010" y="2782"/>
                </a:lnTo>
                <a:lnTo>
                  <a:pt x="1017" y="2777"/>
                </a:lnTo>
                <a:lnTo>
                  <a:pt x="1024" y="2773"/>
                </a:lnTo>
                <a:lnTo>
                  <a:pt x="1029" y="2770"/>
                </a:lnTo>
                <a:lnTo>
                  <a:pt x="1033" y="2766"/>
                </a:lnTo>
                <a:lnTo>
                  <a:pt x="1036" y="2762"/>
                </a:lnTo>
                <a:lnTo>
                  <a:pt x="1039" y="2757"/>
                </a:lnTo>
                <a:lnTo>
                  <a:pt x="1041" y="2753"/>
                </a:lnTo>
                <a:lnTo>
                  <a:pt x="1042" y="2748"/>
                </a:lnTo>
                <a:lnTo>
                  <a:pt x="1043" y="2739"/>
                </a:lnTo>
                <a:lnTo>
                  <a:pt x="1042" y="2728"/>
                </a:lnTo>
                <a:lnTo>
                  <a:pt x="1040" y="2718"/>
                </a:lnTo>
                <a:lnTo>
                  <a:pt x="1035" y="2696"/>
                </a:lnTo>
                <a:lnTo>
                  <a:pt x="1034" y="2685"/>
                </a:lnTo>
                <a:lnTo>
                  <a:pt x="1033" y="2673"/>
                </a:lnTo>
                <a:lnTo>
                  <a:pt x="1034" y="2662"/>
                </a:lnTo>
                <a:lnTo>
                  <a:pt x="1036" y="2657"/>
                </a:lnTo>
                <a:lnTo>
                  <a:pt x="1038" y="2651"/>
                </a:lnTo>
                <a:lnTo>
                  <a:pt x="1040" y="2646"/>
                </a:lnTo>
                <a:lnTo>
                  <a:pt x="1044" y="2640"/>
                </a:lnTo>
                <a:lnTo>
                  <a:pt x="1048" y="2634"/>
                </a:lnTo>
                <a:lnTo>
                  <a:pt x="1054" y="2629"/>
                </a:lnTo>
                <a:lnTo>
                  <a:pt x="1054" y="2629"/>
                </a:lnTo>
                <a:lnTo>
                  <a:pt x="1069" y="2616"/>
                </a:lnTo>
                <a:lnTo>
                  <a:pt x="1084" y="2603"/>
                </a:lnTo>
                <a:lnTo>
                  <a:pt x="1099" y="2591"/>
                </a:lnTo>
                <a:lnTo>
                  <a:pt x="1115" y="2579"/>
                </a:lnTo>
                <a:lnTo>
                  <a:pt x="1146" y="2559"/>
                </a:lnTo>
                <a:lnTo>
                  <a:pt x="1178" y="2540"/>
                </a:lnTo>
                <a:lnTo>
                  <a:pt x="1210" y="2524"/>
                </a:lnTo>
                <a:lnTo>
                  <a:pt x="1241" y="2509"/>
                </a:lnTo>
                <a:lnTo>
                  <a:pt x="1273" y="2494"/>
                </a:lnTo>
                <a:lnTo>
                  <a:pt x="1304" y="2482"/>
                </a:lnTo>
                <a:lnTo>
                  <a:pt x="1304" y="2482"/>
                </a:lnTo>
                <a:lnTo>
                  <a:pt x="1303" y="2486"/>
                </a:lnTo>
                <a:lnTo>
                  <a:pt x="1299" y="2498"/>
                </a:lnTo>
                <a:lnTo>
                  <a:pt x="1294" y="2518"/>
                </a:lnTo>
                <a:lnTo>
                  <a:pt x="1291" y="2541"/>
                </a:lnTo>
                <a:lnTo>
                  <a:pt x="1290" y="2556"/>
                </a:lnTo>
                <a:lnTo>
                  <a:pt x="1290" y="2570"/>
                </a:lnTo>
                <a:lnTo>
                  <a:pt x="1291" y="2585"/>
                </a:lnTo>
                <a:lnTo>
                  <a:pt x="1292" y="2602"/>
                </a:lnTo>
                <a:lnTo>
                  <a:pt x="1296" y="2618"/>
                </a:lnTo>
                <a:lnTo>
                  <a:pt x="1301" y="2634"/>
                </a:lnTo>
                <a:lnTo>
                  <a:pt x="1306" y="2652"/>
                </a:lnTo>
                <a:lnTo>
                  <a:pt x="1314" y="2669"/>
                </a:lnTo>
                <a:lnTo>
                  <a:pt x="1640" y="2585"/>
                </a:lnTo>
                <a:lnTo>
                  <a:pt x="1640" y="2585"/>
                </a:lnTo>
                <a:lnTo>
                  <a:pt x="1634" y="2569"/>
                </a:lnTo>
                <a:lnTo>
                  <a:pt x="1631" y="2553"/>
                </a:lnTo>
                <a:lnTo>
                  <a:pt x="1629" y="2535"/>
                </a:lnTo>
                <a:lnTo>
                  <a:pt x="1629" y="2518"/>
                </a:lnTo>
                <a:lnTo>
                  <a:pt x="1631" y="2500"/>
                </a:lnTo>
                <a:lnTo>
                  <a:pt x="1634" y="2483"/>
                </a:lnTo>
                <a:lnTo>
                  <a:pt x="1638" y="2466"/>
                </a:lnTo>
                <a:lnTo>
                  <a:pt x="1644" y="2447"/>
                </a:lnTo>
                <a:lnTo>
                  <a:pt x="1651" y="2430"/>
                </a:lnTo>
                <a:lnTo>
                  <a:pt x="1660" y="2411"/>
                </a:lnTo>
                <a:lnTo>
                  <a:pt x="1669" y="2394"/>
                </a:lnTo>
                <a:lnTo>
                  <a:pt x="1679" y="2377"/>
                </a:lnTo>
                <a:lnTo>
                  <a:pt x="1689" y="2359"/>
                </a:lnTo>
                <a:lnTo>
                  <a:pt x="1701" y="2342"/>
                </a:lnTo>
                <a:lnTo>
                  <a:pt x="1725" y="2310"/>
                </a:lnTo>
                <a:lnTo>
                  <a:pt x="1725" y="2310"/>
                </a:lnTo>
                <a:lnTo>
                  <a:pt x="1726" y="2309"/>
                </a:lnTo>
                <a:lnTo>
                  <a:pt x="1727" y="2309"/>
                </a:lnTo>
                <a:lnTo>
                  <a:pt x="1728" y="2313"/>
                </a:lnTo>
                <a:lnTo>
                  <a:pt x="1725" y="2335"/>
                </a:lnTo>
                <a:lnTo>
                  <a:pt x="1721" y="2368"/>
                </a:lnTo>
                <a:lnTo>
                  <a:pt x="1715" y="2410"/>
                </a:lnTo>
                <a:lnTo>
                  <a:pt x="1713" y="2433"/>
                </a:lnTo>
                <a:lnTo>
                  <a:pt x="1711" y="2456"/>
                </a:lnTo>
                <a:lnTo>
                  <a:pt x="1711" y="2478"/>
                </a:lnTo>
                <a:lnTo>
                  <a:pt x="1711" y="2499"/>
                </a:lnTo>
                <a:lnTo>
                  <a:pt x="1713" y="2519"/>
                </a:lnTo>
                <a:lnTo>
                  <a:pt x="1716" y="2536"/>
                </a:lnTo>
                <a:lnTo>
                  <a:pt x="1719" y="2544"/>
                </a:lnTo>
                <a:lnTo>
                  <a:pt x="1722" y="2551"/>
                </a:lnTo>
                <a:lnTo>
                  <a:pt x="1726" y="2557"/>
                </a:lnTo>
                <a:lnTo>
                  <a:pt x="1730" y="2562"/>
                </a:lnTo>
                <a:lnTo>
                  <a:pt x="2050" y="2479"/>
                </a:lnTo>
                <a:lnTo>
                  <a:pt x="2050" y="2479"/>
                </a:lnTo>
                <a:lnTo>
                  <a:pt x="2046" y="2469"/>
                </a:lnTo>
                <a:lnTo>
                  <a:pt x="2043" y="2457"/>
                </a:lnTo>
                <a:lnTo>
                  <a:pt x="2041" y="2446"/>
                </a:lnTo>
                <a:lnTo>
                  <a:pt x="2039" y="2434"/>
                </a:lnTo>
                <a:lnTo>
                  <a:pt x="2038" y="2422"/>
                </a:lnTo>
                <a:lnTo>
                  <a:pt x="2038" y="2409"/>
                </a:lnTo>
                <a:lnTo>
                  <a:pt x="2039" y="2383"/>
                </a:lnTo>
                <a:lnTo>
                  <a:pt x="2043" y="2356"/>
                </a:lnTo>
                <a:lnTo>
                  <a:pt x="2048" y="2330"/>
                </a:lnTo>
                <a:lnTo>
                  <a:pt x="2055" y="2303"/>
                </a:lnTo>
                <a:lnTo>
                  <a:pt x="2064" y="2279"/>
                </a:lnTo>
                <a:lnTo>
                  <a:pt x="2064" y="2279"/>
                </a:lnTo>
                <a:lnTo>
                  <a:pt x="2072" y="2306"/>
                </a:lnTo>
                <a:lnTo>
                  <a:pt x="2079" y="2335"/>
                </a:lnTo>
                <a:lnTo>
                  <a:pt x="2088" y="2362"/>
                </a:lnTo>
                <a:lnTo>
                  <a:pt x="2098" y="2390"/>
                </a:lnTo>
                <a:lnTo>
                  <a:pt x="2108" y="2417"/>
                </a:lnTo>
                <a:lnTo>
                  <a:pt x="2121" y="2443"/>
                </a:lnTo>
                <a:lnTo>
                  <a:pt x="2135" y="2469"/>
                </a:lnTo>
                <a:lnTo>
                  <a:pt x="2149" y="2494"/>
                </a:lnTo>
                <a:lnTo>
                  <a:pt x="2166" y="2519"/>
                </a:lnTo>
                <a:lnTo>
                  <a:pt x="2183" y="2541"/>
                </a:lnTo>
                <a:lnTo>
                  <a:pt x="2201" y="2563"/>
                </a:lnTo>
                <a:lnTo>
                  <a:pt x="2222" y="2583"/>
                </a:lnTo>
                <a:lnTo>
                  <a:pt x="2244" y="2603"/>
                </a:lnTo>
                <a:lnTo>
                  <a:pt x="2268" y="2619"/>
                </a:lnTo>
                <a:lnTo>
                  <a:pt x="2280" y="2627"/>
                </a:lnTo>
                <a:lnTo>
                  <a:pt x="2292" y="2634"/>
                </a:lnTo>
                <a:lnTo>
                  <a:pt x="2306" y="2641"/>
                </a:lnTo>
                <a:lnTo>
                  <a:pt x="2320" y="2648"/>
                </a:lnTo>
                <a:lnTo>
                  <a:pt x="2320" y="2648"/>
                </a:lnTo>
                <a:lnTo>
                  <a:pt x="2365" y="2667"/>
                </a:lnTo>
                <a:lnTo>
                  <a:pt x="2410" y="2685"/>
                </a:lnTo>
                <a:lnTo>
                  <a:pt x="2454" y="2702"/>
                </a:lnTo>
                <a:lnTo>
                  <a:pt x="2499" y="2718"/>
                </a:lnTo>
                <a:lnTo>
                  <a:pt x="2544" y="2733"/>
                </a:lnTo>
                <a:lnTo>
                  <a:pt x="2589" y="2749"/>
                </a:lnTo>
                <a:lnTo>
                  <a:pt x="2683" y="2778"/>
                </a:lnTo>
                <a:lnTo>
                  <a:pt x="2782" y="2807"/>
                </a:lnTo>
                <a:lnTo>
                  <a:pt x="2889" y="2838"/>
                </a:lnTo>
                <a:lnTo>
                  <a:pt x="3005" y="2872"/>
                </a:lnTo>
                <a:lnTo>
                  <a:pt x="3133" y="2908"/>
                </a:lnTo>
                <a:lnTo>
                  <a:pt x="3133" y="2908"/>
                </a:lnTo>
                <a:lnTo>
                  <a:pt x="3205" y="2931"/>
                </a:lnTo>
                <a:lnTo>
                  <a:pt x="3273" y="2954"/>
                </a:lnTo>
                <a:lnTo>
                  <a:pt x="3305" y="2966"/>
                </a:lnTo>
                <a:lnTo>
                  <a:pt x="3333" y="2977"/>
                </a:lnTo>
                <a:lnTo>
                  <a:pt x="3358" y="2987"/>
                </a:lnTo>
                <a:lnTo>
                  <a:pt x="3377" y="2996"/>
                </a:lnTo>
                <a:lnTo>
                  <a:pt x="3377" y="2996"/>
                </a:lnTo>
                <a:lnTo>
                  <a:pt x="3383" y="2999"/>
                </a:lnTo>
                <a:lnTo>
                  <a:pt x="3389" y="3003"/>
                </a:lnTo>
                <a:lnTo>
                  <a:pt x="3393" y="3006"/>
                </a:lnTo>
                <a:lnTo>
                  <a:pt x="3397" y="3011"/>
                </a:lnTo>
                <a:lnTo>
                  <a:pt x="3399" y="3015"/>
                </a:lnTo>
                <a:lnTo>
                  <a:pt x="3401" y="3020"/>
                </a:lnTo>
                <a:lnTo>
                  <a:pt x="3402" y="3024"/>
                </a:lnTo>
                <a:lnTo>
                  <a:pt x="3402" y="3028"/>
                </a:lnTo>
                <a:lnTo>
                  <a:pt x="3401" y="3037"/>
                </a:lnTo>
                <a:lnTo>
                  <a:pt x="3397" y="3046"/>
                </a:lnTo>
                <a:lnTo>
                  <a:pt x="3392" y="3055"/>
                </a:lnTo>
                <a:lnTo>
                  <a:pt x="3386" y="3064"/>
                </a:lnTo>
                <a:lnTo>
                  <a:pt x="3378" y="3072"/>
                </a:lnTo>
                <a:lnTo>
                  <a:pt x="3371" y="3080"/>
                </a:lnTo>
                <a:lnTo>
                  <a:pt x="3357" y="3092"/>
                </a:lnTo>
                <a:lnTo>
                  <a:pt x="3346" y="3102"/>
                </a:lnTo>
                <a:lnTo>
                  <a:pt x="3341" y="3105"/>
                </a:lnTo>
                <a:lnTo>
                  <a:pt x="3341" y="3105"/>
                </a:lnTo>
                <a:lnTo>
                  <a:pt x="3355" y="3113"/>
                </a:lnTo>
                <a:lnTo>
                  <a:pt x="3371" y="3121"/>
                </a:lnTo>
                <a:lnTo>
                  <a:pt x="3411" y="3139"/>
                </a:lnTo>
                <a:lnTo>
                  <a:pt x="3435" y="3152"/>
                </a:lnTo>
                <a:lnTo>
                  <a:pt x="3461" y="3167"/>
                </a:lnTo>
                <a:lnTo>
                  <a:pt x="3492" y="3186"/>
                </a:lnTo>
                <a:lnTo>
                  <a:pt x="3527" y="3211"/>
                </a:lnTo>
                <a:lnTo>
                  <a:pt x="3527" y="3211"/>
                </a:lnTo>
                <a:lnTo>
                  <a:pt x="3545" y="3226"/>
                </a:lnTo>
                <a:lnTo>
                  <a:pt x="3563" y="3244"/>
                </a:lnTo>
                <a:lnTo>
                  <a:pt x="3580" y="3263"/>
                </a:lnTo>
                <a:lnTo>
                  <a:pt x="3595" y="3284"/>
                </a:lnTo>
                <a:lnTo>
                  <a:pt x="3608" y="3305"/>
                </a:lnTo>
                <a:lnTo>
                  <a:pt x="3622" y="3329"/>
                </a:lnTo>
                <a:lnTo>
                  <a:pt x="3634" y="3352"/>
                </a:lnTo>
                <a:lnTo>
                  <a:pt x="3645" y="3378"/>
                </a:lnTo>
                <a:lnTo>
                  <a:pt x="3655" y="3404"/>
                </a:lnTo>
                <a:lnTo>
                  <a:pt x="3665" y="3432"/>
                </a:lnTo>
                <a:lnTo>
                  <a:pt x="3674" y="3460"/>
                </a:lnTo>
                <a:lnTo>
                  <a:pt x="3682" y="3489"/>
                </a:lnTo>
                <a:lnTo>
                  <a:pt x="3698" y="3549"/>
                </a:lnTo>
                <a:lnTo>
                  <a:pt x="3714" y="3612"/>
                </a:lnTo>
                <a:lnTo>
                  <a:pt x="3714" y="3612"/>
                </a:lnTo>
                <a:lnTo>
                  <a:pt x="3725" y="3662"/>
                </a:lnTo>
                <a:lnTo>
                  <a:pt x="3734" y="3715"/>
                </a:lnTo>
                <a:lnTo>
                  <a:pt x="3742" y="3768"/>
                </a:lnTo>
                <a:lnTo>
                  <a:pt x="3744" y="3795"/>
                </a:lnTo>
                <a:lnTo>
                  <a:pt x="3746" y="3819"/>
                </a:lnTo>
                <a:lnTo>
                  <a:pt x="3748" y="3844"/>
                </a:lnTo>
                <a:lnTo>
                  <a:pt x="3749" y="3867"/>
                </a:lnTo>
                <a:lnTo>
                  <a:pt x="3748" y="3889"/>
                </a:lnTo>
                <a:lnTo>
                  <a:pt x="3745" y="3909"/>
                </a:lnTo>
                <a:lnTo>
                  <a:pt x="3742" y="3928"/>
                </a:lnTo>
                <a:lnTo>
                  <a:pt x="3737" y="3944"/>
                </a:lnTo>
                <a:lnTo>
                  <a:pt x="3731" y="3957"/>
                </a:lnTo>
                <a:lnTo>
                  <a:pt x="3728" y="3963"/>
                </a:lnTo>
                <a:lnTo>
                  <a:pt x="3724" y="3969"/>
                </a:lnTo>
                <a:lnTo>
                  <a:pt x="3724" y="3969"/>
                </a:lnTo>
                <a:lnTo>
                  <a:pt x="3715" y="3979"/>
                </a:lnTo>
                <a:lnTo>
                  <a:pt x="3705" y="3989"/>
                </a:lnTo>
                <a:lnTo>
                  <a:pt x="3691" y="3998"/>
                </a:lnTo>
                <a:lnTo>
                  <a:pt x="3683" y="4003"/>
                </a:lnTo>
                <a:lnTo>
                  <a:pt x="3673" y="4008"/>
                </a:lnTo>
                <a:lnTo>
                  <a:pt x="3663" y="4014"/>
                </a:lnTo>
                <a:lnTo>
                  <a:pt x="3650" y="4019"/>
                </a:lnTo>
                <a:lnTo>
                  <a:pt x="3621" y="4028"/>
                </a:lnTo>
                <a:lnTo>
                  <a:pt x="3582" y="4038"/>
                </a:lnTo>
                <a:lnTo>
                  <a:pt x="3535" y="4048"/>
                </a:lnTo>
                <a:lnTo>
                  <a:pt x="3560" y="4171"/>
                </a:lnTo>
                <a:lnTo>
                  <a:pt x="3560" y="4171"/>
                </a:lnTo>
                <a:lnTo>
                  <a:pt x="3579" y="4172"/>
                </a:lnTo>
                <a:lnTo>
                  <a:pt x="3597" y="4172"/>
                </a:lnTo>
                <a:lnTo>
                  <a:pt x="3615" y="4171"/>
                </a:lnTo>
                <a:lnTo>
                  <a:pt x="3631" y="4169"/>
                </a:lnTo>
                <a:lnTo>
                  <a:pt x="3646" y="4167"/>
                </a:lnTo>
                <a:lnTo>
                  <a:pt x="3662" y="4164"/>
                </a:lnTo>
                <a:lnTo>
                  <a:pt x="3688" y="4157"/>
                </a:lnTo>
                <a:lnTo>
                  <a:pt x="3711" y="4150"/>
                </a:lnTo>
                <a:lnTo>
                  <a:pt x="3728" y="4143"/>
                </a:lnTo>
                <a:lnTo>
                  <a:pt x="3742" y="4137"/>
                </a:lnTo>
                <a:lnTo>
                  <a:pt x="3742" y="4137"/>
                </a:lnTo>
                <a:lnTo>
                  <a:pt x="3736" y="4143"/>
                </a:lnTo>
                <a:lnTo>
                  <a:pt x="3730" y="4151"/>
                </a:lnTo>
                <a:lnTo>
                  <a:pt x="3722" y="4161"/>
                </a:lnTo>
                <a:lnTo>
                  <a:pt x="3722" y="4161"/>
                </a:lnTo>
                <a:lnTo>
                  <a:pt x="3711" y="4177"/>
                </a:lnTo>
                <a:lnTo>
                  <a:pt x="3700" y="4194"/>
                </a:lnTo>
                <a:lnTo>
                  <a:pt x="3692" y="4209"/>
                </a:lnTo>
                <a:lnTo>
                  <a:pt x="3685" y="4224"/>
                </a:lnTo>
                <a:lnTo>
                  <a:pt x="3680" y="4240"/>
                </a:lnTo>
                <a:lnTo>
                  <a:pt x="3675" y="4257"/>
                </a:lnTo>
                <a:lnTo>
                  <a:pt x="3672" y="4274"/>
                </a:lnTo>
                <a:lnTo>
                  <a:pt x="3669" y="4295"/>
                </a:lnTo>
                <a:lnTo>
                  <a:pt x="3799" y="4379"/>
                </a:lnTo>
                <a:lnTo>
                  <a:pt x="3799" y="4379"/>
                </a:lnTo>
                <a:lnTo>
                  <a:pt x="3812" y="4338"/>
                </a:lnTo>
                <a:lnTo>
                  <a:pt x="3826" y="4298"/>
                </a:lnTo>
                <a:lnTo>
                  <a:pt x="3841" y="4262"/>
                </a:lnTo>
                <a:lnTo>
                  <a:pt x="3855" y="4229"/>
                </a:lnTo>
                <a:lnTo>
                  <a:pt x="3870" y="4202"/>
                </a:lnTo>
                <a:lnTo>
                  <a:pt x="3877" y="4189"/>
                </a:lnTo>
                <a:lnTo>
                  <a:pt x="3885" y="4179"/>
                </a:lnTo>
                <a:lnTo>
                  <a:pt x="3892" y="4170"/>
                </a:lnTo>
                <a:lnTo>
                  <a:pt x="3899" y="4163"/>
                </a:lnTo>
                <a:lnTo>
                  <a:pt x="3906" y="4158"/>
                </a:lnTo>
                <a:lnTo>
                  <a:pt x="3913" y="4154"/>
                </a:lnTo>
                <a:lnTo>
                  <a:pt x="3913" y="4154"/>
                </a:lnTo>
                <a:lnTo>
                  <a:pt x="3919" y="4152"/>
                </a:lnTo>
                <a:lnTo>
                  <a:pt x="3926" y="4152"/>
                </a:lnTo>
                <a:lnTo>
                  <a:pt x="3935" y="4152"/>
                </a:lnTo>
                <a:lnTo>
                  <a:pt x="3944" y="4153"/>
                </a:lnTo>
                <a:lnTo>
                  <a:pt x="3954" y="4155"/>
                </a:lnTo>
                <a:lnTo>
                  <a:pt x="3965" y="4157"/>
                </a:lnTo>
                <a:lnTo>
                  <a:pt x="3990" y="4166"/>
                </a:lnTo>
                <a:lnTo>
                  <a:pt x="4017" y="4177"/>
                </a:lnTo>
                <a:lnTo>
                  <a:pt x="4047" y="4192"/>
                </a:lnTo>
                <a:lnTo>
                  <a:pt x="4078" y="4212"/>
                </a:lnTo>
                <a:lnTo>
                  <a:pt x="4110" y="4233"/>
                </a:lnTo>
                <a:lnTo>
                  <a:pt x="4127" y="4246"/>
                </a:lnTo>
                <a:lnTo>
                  <a:pt x="4143" y="4259"/>
                </a:lnTo>
                <a:lnTo>
                  <a:pt x="4160" y="4273"/>
                </a:lnTo>
                <a:lnTo>
                  <a:pt x="4176" y="4288"/>
                </a:lnTo>
                <a:lnTo>
                  <a:pt x="4192" y="4303"/>
                </a:lnTo>
                <a:lnTo>
                  <a:pt x="4208" y="4319"/>
                </a:lnTo>
                <a:lnTo>
                  <a:pt x="4224" y="4337"/>
                </a:lnTo>
                <a:lnTo>
                  <a:pt x="4239" y="4355"/>
                </a:lnTo>
                <a:lnTo>
                  <a:pt x="4254" y="4373"/>
                </a:lnTo>
                <a:lnTo>
                  <a:pt x="4268" y="4393"/>
                </a:lnTo>
                <a:lnTo>
                  <a:pt x="4282" y="4413"/>
                </a:lnTo>
                <a:lnTo>
                  <a:pt x="4296" y="4435"/>
                </a:lnTo>
                <a:lnTo>
                  <a:pt x="4308" y="4456"/>
                </a:lnTo>
                <a:lnTo>
                  <a:pt x="4320" y="4479"/>
                </a:lnTo>
                <a:lnTo>
                  <a:pt x="4331" y="4502"/>
                </a:lnTo>
                <a:lnTo>
                  <a:pt x="4342" y="4527"/>
                </a:lnTo>
                <a:lnTo>
                  <a:pt x="4342" y="4527"/>
                </a:lnTo>
                <a:lnTo>
                  <a:pt x="4347" y="4541"/>
                </a:lnTo>
                <a:lnTo>
                  <a:pt x="4352" y="4558"/>
                </a:lnTo>
                <a:lnTo>
                  <a:pt x="4356" y="4574"/>
                </a:lnTo>
                <a:lnTo>
                  <a:pt x="4360" y="4591"/>
                </a:lnTo>
                <a:lnTo>
                  <a:pt x="4363" y="4610"/>
                </a:lnTo>
                <a:lnTo>
                  <a:pt x="4366" y="4628"/>
                </a:lnTo>
                <a:lnTo>
                  <a:pt x="4370" y="4667"/>
                </a:lnTo>
                <a:lnTo>
                  <a:pt x="4372" y="4706"/>
                </a:lnTo>
                <a:lnTo>
                  <a:pt x="4371" y="4747"/>
                </a:lnTo>
                <a:lnTo>
                  <a:pt x="4370" y="4767"/>
                </a:lnTo>
                <a:lnTo>
                  <a:pt x="4369" y="4787"/>
                </a:lnTo>
                <a:lnTo>
                  <a:pt x="4366" y="4807"/>
                </a:lnTo>
                <a:lnTo>
                  <a:pt x="4363" y="4826"/>
                </a:lnTo>
                <a:lnTo>
                  <a:pt x="4360" y="4846"/>
                </a:lnTo>
                <a:lnTo>
                  <a:pt x="4356" y="4864"/>
                </a:lnTo>
                <a:lnTo>
                  <a:pt x="4351" y="4883"/>
                </a:lnTo>
                <a:lnTo>
                  <a:pt x="4345" y="4900"/>
                </a:lnTo>
                <a:lnTo>
                  <a:pt x="4339" y="4917"/>
                </a:lnTo>
                <a:lnTo>
                  <a:pt x="4332" y="4933"/>
                </a:lnTo>
                <a:lnTo>
                  <a:pt x="4324" y="4948"/>
                </a:lnTo>
                <a:lnTo>
                  <a:pt x="4316" y="4962"/>
                </a:lnTo>
                <a:lnTo>
                  <a:pt x="4307" y="4976"/>
                </a:lnTo>
                <a:lnTo>
                  <a:pt x="4298" y="4988"/>
                </a:lnTo>
                <a:lnTo>
                  <a:pt x="4287" y="4999"/>
                </a:lnTo>
                <a:lnTo>
                  <a:pt x="4276" y="5008"/>
                </a:lnTo>
                <a:lnTo>
                  <a:pt x="4264" y="5017"/>
                </a:lnTo>
                <a:lnTo>
                  <a:pt x="4252" y="5024"/>
                </a:lnTo>
                <a:lnTo>
                  <a:pt x="4238" y="5029"/>
                </a:lnTo>
                <a:lnTo>
                  <a:pt x="4224" y="5032"/>
                </a:lnTo>
                <a:lnTo>
                  <a:pt x="4224" y="5032"/>
                </a:lnTo>
                <a:lnTo>
                  <a:pt x="4216" y="5033"/>
                </a:lnTo>
                <a:lnTo>
                  <a:pt x="4208" y="5033"/>
                </a:lnTo>
                <a:lnTo>
                  <a:pt x="4198" y="5032"/>
                </a:lnTo>
                <a:lnTo>
                  <a:pt x="4188" y="5030"/>
                </a:lnTo>
                <a:lnTo>
                  <a:pt x="4168" y="5025"/>
                </a:lnTo>
                <a:lnTo>
                  <a:pt x="4145" y="5017"/>
                </a:lnTo>
                <a:lnTo>
                  <a:pt x="4123" y="5006"/>
                </a:lnTo>
                <a:lnTo>
                  <a:pt x="4099" y="4995"/>
                </a:lnTo>
                <a:lnTo>
                  <a:pt x="4051" y="4973"/>
                </a:lnTo>
                <a:lnTo>
                  <a:pt x="4028" y="4961"/>
                </a:lnTo>
                <a:lnTo>
                  <a:pt x="4005" y="4952"/>
                </a:lnTo>
                <a:lnTo>
                  <a:pt x="3984" y="4945"/>
                </a:lnTo>
                <a:lnTo>
                  <a:pt x="3964" y="4940"/>
                </a:lnTo>
                <a:lnTo>
                  <a:pt x="3955" y="4939"/>
                </a:lnTo>
                <a:lnTo>
                  <a:pt x="3947" y="4938"/>
                </a:lnTo>
                <a:lnTo>
                  <a:pt x="3939" y="4939"/>
                </a:lnTo>
                <a:lnTo>
                  <a:pt x="3932" y="4940"/>
                </a:lnTo>
                <a:lnTo>
                  <a:pt x="3924" y="4943"/>
                </a:lnTo>
                <a:lnTo>
                  <a:pt x="3919" y="4947"/>
                </a:lnTo>
                <a:lnTo>
                  <a:pt x="3914" y="4952"/>
                </a:lnTo>
                <a:lnTo>
                  <a:pt x="3909" y="4958"/>
                </a:lnTo>
                <a:lnTo>
                  <a:pt x="3909" y="4958"/>
                </a:lnTo>
                <a:lnTo>
                  <a:pt x="3905" y="4965"/>
                </a:lnTo>
                <a:lnTo>
                  <a:pt x="3900" y="4973"/>
                </a:lnTo>
                <a:lnTo>
                  <a:pt x="3893" y="4979"/>
                </a:lnTo>
                <a:lnTo>
                  <a:pt x="3886" y="4985"/>
                </a:lnTo>
                <a:lnTo>
                  <a:pt x="3869" y="4996"/>
                </a:lnTo>
                <a:lnTo>
                  <a:pt x="3851" y="5006"/>
                </a:lnTo>
                <a:lnTo>
                  <a:pt x="3810" y="5028"/>
                </a:lnTo>
                <a:lnTo>
                  <a:pt x="3789" y="5039"/>
                </a:lnTo>
                <a:lnTo>
                  <a:pt x="3770" y="5052"/>
                </a:lnTo>
                <a:lnTo>
                  <a:pt x="3761" y="5058"/>
                </a:lnTo>
                <a:lnTo>
                  <a:pt x="3752" y="5067"/>
                </a:lnTo>
                <a:lnTo>
                  <a:pt x="3743" y="5074"/>
                </a:lnTo>
                <a:lnTo>
                  <a:pt x="3735" y="5083"/>
                </a:lnTo>
                <a:lnTo>
                  <a:pt x="3728" y="5092"/>
                </a:lnTo>
                <a:lnTo>
                  <a:pt x="3722" y="5102"/>
                </a:lnTo>
                <a:lnTo>
                  <a:pt x="3717" y="5113"/>
                </a:lnTo>
                <a:lnTo>
                  <a:pt x="3713" y="5125"/>
                </a:lnTo>
                <a:lnTo>
                  <a:pt x="3710" y="5137"/>
                </a:lnTo>
                <a:lnTo>
                  <a:pt x="3708" y="5151"/>
                </a:lnTo>
                <a:lnTo>
                  <a:pt x="3707" y="5165"/>
                </a:lnTo>
                <a:lnTo>
                  <a:pt x="3707" y="5181"/>
                </a:lnTo>
                <a:lnTo>
                  <a:pt x="3709" y="5198"/>
                </a:lnTo>
                <a:lnTo>
                  <a:pt x="3713" y="5215"/>
                </a:lnTo>
                <a:lnTo>
                  <a:pt x="3718" y="5234"/>
                </a:lnTo>
                <a:lnTo>
                  <a:pt x="3724" y="5255"/>
                </a:lnTo>
                <a:lnTo>
                  <a:pt x="3724" y="5255"/>
                </a:lnTo>
                <a:lnTo>
                  <a:pt x="3741" y="5234"/>
                </a:lnTo>
                <a:lnTo>
                  <a:pt x="3759" y="5213"/>
                </a:lnTo>
                <a:lnTo>
                  <a:pt x="3776" y="5194"/>
                </a:lnTo>
                <a:lnTo>
                  <a:pt x="3794" y="5178"/>
                </a:lnTo>
                <a:lnTo>
                  <a:pt x="3802" y="5171"/>
                </a:lnTo>
                <a:lnTo>
                  <a:pt x="3811" y="5165"/>
                </a:lnTo>
                <a:lnTo>
                  <a:pt x="3819" y="5159"/>
                </a:lnTo>
                <a:lnTo>
                  <a:pt x="3827" y="5155"/>
                </a:lnTo>
                <a:lnTo>
                  <a:pt x="3835" y="5153"/>
                </a:lnTo>
                <a:lnTo>
                  <a:pt x="3843" y="5151"/>
                </a:lnTo>
                <a:lnTo>
                  <a:pt x="3850" y="5151"/>
                </a:lnTo>
                <a:lnTo>
                  <a:pt x="3857" y="5153"/>
                </a:lnTo>
                <a:lnTo>
                  <a:pt x="3857" y="5153"/>
                </a:lnTo>
                <a:lnTo>
                  <a:pt x="3861" y="5155"/>
                </a:lnTo>
                <a:lnTo>
                  <a:pt x="3864" y="5157"/>
                </a:lnTo>
                <a:lnTo>
                  <a:pt x="3870" y="5163"/>
                </a:lnTo>
                <a:lnTo>
                  <a:pt x="3875" y="5171"/>
                </a:lnTo>
                <a:lnTo>
                  <a:pt x="3879" y="5179"/>
                </a:lnTo>
                <a:lnTo>
                  <a:pt x="3888" y="5200"/>
                </a:lnTo>
                <a:lnTo>
                  <a:pt x="3894" y="5210"/>
                </a:lnTo>
                <a:lnTo>
                  <a:pt x="3901" y="5220"/>
                </a:lnTo>
                <a:lnTo>
                  <a:pt x="3901" y="5220"/>
                </a:lnTo>
                <a:lnTo>
                  <a:pt x="3904" y="5223"/>
                </a:lnTo>
                <a:lnTo>
                  <a:pt x="3908" y="5225"/>
                </a:lnTo>
                <a:lnTo>
                  <a:pt x="3913" y="5227"/>
                </a:lnTo>
                <a:lnTo>
                  <a:pt x="3919" y="5228"/>
                </a:lnTo>
                <a:lnTo>
                  <a:pt x="3934" y="5230"/>
                </a:lnTo>
                <a:lnTo>
                  <a:pt x="3950" y="5230"/>
                </a:lnTo>
                <a:lnTo>
                  <a:pt x="3968" y="5229"/>
                </a:lnTo>
                <a:lnTo>
                  <a:pt x="3989" y="5227"/>
                </a:lnTo>
                <a:lnTo>
                  <a:pt x="4032" y="5223"/>
                </a:lnTo>
                <a:lnTo>
                  <a:pt x="4074" y="5219"/>
                </a:lnTo>
                <a:lnTo>
                  <a:pt x="4093" y="5217"/>
                </a:lnTo>
                <a:lnTo>
                  <a:pt x="4110" y="5217"/>
                </a:lnTo>
                <a:lnTo>
                  <a:pt x="4126" y="5217"/>
                </a:lnTo>
                <a:lnTo>
                  <a:pt x="4137" y="5219"/>
                </a:lnTo>
                <a:lnTo>
                  <a:pt x="4142" y="5221"/>
                </a:lnTo>
                <a:lnTo>
                  <a:pt x="4146" y="5223"/>
                </a:lnTo>
                <a:lnTo>
                  <a:pt x="4148" y="5225"/>
                </a:lnTo>
                <a:lnTo>
                  <a:pt x="4150" y="5228"/>
                </a:lnTo>
                <a:lnTo>
                  <a:pt x="4150" y="5228"/>
                </a:lnTo>
                <a:lnTo>
                  <a:pt x="4151" y="5231"/>
                </a:lnTo>
                <a:lnTo>
                  <a:pt x="4150" y="5234"/>
                </a:lnTo>
                <a:lnTo>
                  <a:pt x="4149" y="5236"/>
                </a:lnTo>
                <a:lnTo>
                  <a:pt x="4148" y="5238"/>
                </a:lnTo>
                <a:lnTo>
                  <a:pt x="4143" y="5242"/>
                </a:lnTo>
                <a:lnTo>
                  <a:pt x="4136" y="5243"/>
                </a:lnTo>
                <a:lnTo>
                  <a:pt x="4118" y="5246"/>
                </a:lnTo>
                <a:lnTo>
                  <a:pt x="4100" y="5248"/>
                </a:lnTo>
                <a:lnTo>
                  <a:pt x="4100" y="5248"/>
                </a:lnTo>
                <a:lnTo>
                  <a:pt x="4021" y="5262"/>
                </a:lnTo>
                <a:lnTo>
                  <a:pt x="3981" y="5269"/>
                </a:lnTo>
                <a:lnTo>
                  <a:pt x="3943" y="5277"/>
                </a:lnTo>
                <a:lnTo>
                  <a:pt x="3925" y="5282"/>
                </a:lnTo>
                <a:lnTo>
                  <a:pt x="3909" y="5288"/>
                </a:lnTo>
                <a:lnTo>
                  <a:pt x="3894" y="5294"/>
                </a:lnTo>
                <a:lnTo>
                  <a:pt x="3881" y="5300"/>
                </a:lnTo>
                <a:lnTo>
                  <a:pt x="3869" y="5306"/>
                </a:lnTo>
                <a:lnTo>
                  <a:pt x="3860" y="5314"/>
                </a:lnTo>
                <a:lnTo>
                  <a:pt x="3853" y="5322"/>
                </a:lnTo>
                <a:lnTo>
                  <a:pt x="3850" y="5326"/>
                </a:lnTo>
                <a:lnTo>
                  <a:pt x="3848" y="5331"/>
                </a:lnTo>
                <a:lnTo>
                  <a:pt x="3848" y="5331"/>
                </a:lnTo>
                <a:lnTo>
                  <a:pt x="3846" y="5338"/>
                </a:lnTo>
                <a:lnTo>
                  <a:pt x="3846" y="5342"/>
                </a:lnTo>
                <a:lnTo>
                  <a:pt x="3847" y="5352"/>
                </a:lnTo>
                <a:lnTo>
                  <a:pt x="3847" y="5357"/>
                </a:lnTo>
                <a:lnTo>
                  <a:pt x="3846" y="5363"/>
                </a:lnTo>
                <a:lnTo>
                  <a:pt x="3845" y="5371"/>
                </a:lnTo>
                <a:lnTo>
                  <a:pt x="3842" y="5382"/>
                </a:lnTo>
                <a:lnTo>
                  <a:pt x="3842" y="5382"/>
                </a:lnTo>
                <a:lnTo>
                  <a:pt x="3837" y="5393"/>
                </a:lnTo>
                <a:lnTo>
                  <a:pt x="3831" y="5402"/>
                </a:lnTo>
                <a:lnTo>
                  <a:pt x="3823" y="5410"/>
                </a:lnTo>
                <a:lnTo>
                  <a:pt x="3815" y="5418"/>
                </a:lnTo>
                <a:lnTo>
                  <a:pt x="3796" y="5434"/>
                </a:lnTo>
                <a:lnTo>
                  <a:pt x="3786" y="5442"/>
                </a:lnTo>
                <a:lnTo>
                  <a:pt x="3776" y="5451"/>
                </a:lnTo>
                <a:lnTo>
                  <a:pt x="3767" y="5460"/>
                </a:lnTo>
                <a:lnTo>
                  <a:pt x="3758" y="5472"/>
                </a:lnTo>
                <a:lnTo>
                  <a:pt x="3750" y="5485"/>
                </a:lnTo>
                <a:lnTo>
                  <a:pt x="3742" y="5499"/>
                </a:lnTo>
                <a:lnTo>
                  <a:pt x="3736" y="5517"/>
                </a:lnTo>
                <a:lnTo>
                  <a:pt x="3732" y="5536"/>
                </a:lnTo>
                <a:lnTo>
                  <a:pt x="3730" y="5558"/>
                </a:lnTo>
                <a:lnTo>
                  <a:pt x="3730" y="5584"/>
                </a:lnTo>
                <a:lnTo>
                  <a:pt x="3730" y="5584"/>
                </a:lnTo>
                <a:lnTo>
                  <a:pt x="3732" y="5597"/>
                </a:lnTo>
                <a:lnTo>
                  <a:pt x="3735" y="5610"/>
                </a:lnTo>
                <a:lnTo>
                  <a:pt x="3739" y="5622"/>
                </a:lnTo>
                <a:lnTo>
                  <a:pt x="3744" y="5634"/>
                </a:lnTo>
                <a:lnTo>
                  <a:pt x="3751" y="5644"/>
                </a:lnTo>
                <a:lnTo>
                  <a:pt x="3757" y="5656"/>
                </a:lnTo>
                <a:lnTo>
                  <a:pt x="3763" y="5665"/>
                </a:lnTo>
                <a:lnTo>
                  <a:pt x="3770" y="5674"/>
                </a:lnTo>
                <a:lnTo>
                  <a:pt x="3784" y="5689"/>
                </a:lnTo>
                <a:lnTo>
                  <a:pt x="3797" y="5701"/>
                </a:lnTo>
                <a:lnTo>
                  <a:pt x="3807" y="5708"/>
                </a:lnTo>
                <a:lnTo>
                  <a:pt x="3810" y="5710"/>
                </a:lnTo>
                <a:lnTo>
                  <a:pt x="3813" y="5711"/>
                </a:lnTo>
                <a:lnTo>
                  <a:pt x="3813" y="5711"/>
                </a:lnTo>
                <a:lnTo>
                  <a:pt x="3814" y="5710"/>
                </a:lnTo>
                <a:lnTo>
                  <a:pt x="3815" y="5709"/>
                </a:lnTo>
                <a:lnTo>
                  <a:pt x="3816" y="5704"/>
                </a:lnTo>
                <a:lnTo>
                  <a:pt x="3818" y="5696"/>
                </a:lnTo>
                <a:lnTo>
                  <a:pt x="3818" y="5686"/>
                </a:lnTo>
                <a:lnTo>
                  <a:pt x="3820" y="5662"/>
                </a:lnTo>
                <a:lnTo>
                  <a:pt x="3823" y="5633"/>
                </a:lnTo>
                <a:lnTo>
                  <a:pt x="3825" y="5619"/>
                </a:lnTo>
                <a:lnTo>
                  <a:pt x="3828" y="5603"/>
                </a:lnTo>
                <a:lnTo>
                  <a:pt x="3831" y="5590"/>
                </a:lnTo>
                <a:lnTo>
                  <a:pt x="3836" y="5577"/>
                </a:lnTo>
                <a:lnTo>
                  <a:pt x="3843" y="5566"/>
                </a:lnTo>
                <a:lnTo>
                  <a:pt x="3847" y="5562"/>
                </a:lnTo>
                <a:lnTo>
                  <a:pt x="3851" y="5556"/>
                </a:lnTo>
                <a:lnTo>
                  <a:pt x="3855" y="5553"/>
                </a:lnTo>
                <a:lnTo>
                  <a:pt x="3860" y="5550"/>
                </a:lnTo>
                <a:lnTo>
                  <a:pt x="3865" y="5547"/>
                </a:lnTo>
                <a:lnTo>
                  <a:pt x="3871" y="5546"/>
                </a:lnTo>
                <a:lnTo>
                  <a:pt x="3871" y="5546"/>
                </a:lnTo>
                <a:lnTo>
                  <a:pt x="3877" y="5545"/>
                </a:lnTo>
                <a:lnTo>
                  <a:pt x="3882" y="5546"/>
                </a:lnTo>
                <a:lnTo>
                  <a:pt x="3888" y="5548"/>
                </a:lnTo>
                <a:lnTo>
                  <a:pt x="3892" y="5552"/>
                </a:lnTo>
                <a:lnTo>
                  <a:pt x="3902" y="5561"/>
                </a:lnTo>
                <a:lnTo>
                  <a:pt x="3911" y="5571"/>
                </a:lnTo>
                <a:lnTo>
                  <a:pt x="3921" y="5581"/>
                </a:lnTo>
                <a:lnTo>
                  <a:pt x="3926" y="5586"/>
                </a:lnTo>
                <a:lnTo>
                  <a:pt x="3933" y="5590"/>
                </a:lnTo>
                <a:lnTo>
                  <a:pt x="3940" y="5594"/>
                </a:lnTo>
                <a:lnTo>
                  <a:pt x="3946" y="5597"/>
                </a:lnTo>
                <a:lnTo>
                  <a:pt x="3954" y="5598"/>
                </a:lnTo>
                <a:lnTo>
                  <a:pt x="3962" y="5599"/>
                </a:lnTo>
                <a:lnTo>
                  <a:pt x="3962" y="5599"/>
                </a:lnTo>
                <a:lnTo>
                  <a:pt x="3970" y="5598"/>
                </a:lnTo>
                <a:lnTo>
                  <a:pt x="3979" y="5595"/>
                </a:lnTo>
                <a:lnTo>
                  <a:pt x="3987" y="5592"/>
                </a:lnTo>
                <a:lnTo>
                  <a:pt x="3996" y="5588"/>
                </a:lnTo>
                <a:lnTo>
                  <a:pt x="4005" y="5582"/>
                </a:lnTo>
                <a:lnTo>
                  <a:pt x="4014" y="5576"/>
                </a:lnTo>
                <a:lnTo>
                  <a:pt x="4035" y="5559"/>
                </a:lnTo>
                <a:lnTo>
                  <a:pt x="4055" y="5542"/>
                </a:lnTo>
                <a:lnTo>
                  <a:pt x="4077" y="5522"/>
                </a:lnTo>
                <a:lnTo>
                  <a:pt x="4122" y="5479"/>
                </a:lnTo>
                <a:lnTo>
                  <a:pt x="4144" y="5457"/>
                </a:lnTo>
                <a:lnTo>
                  <a:pt x="4166" y="5437"/>
                </a:lnTo>
                <a:lnTo>
                  <a:pt x="4187" y="5417"/>
                </a:lnTo>
                <a:lnTo>
                  <a:pt x="4208" y="5402"/>
                </a:lnTo>
                <a:lnTo>
                  <a:pt x="4227" y="5389"/>
                </a:lnTo>
                <a:lnTo>
                  <a:pt x="4236" y="5384"/>
                </a:lnTo>
                <a:lnTo>
                  <a:pt x="4245" y="5380"/>
                </a:lnTo>
                <a:lnTo>
                  <a:pt x="4254" y="5376"/>
                </a:lnTo>
                <a:lnTo>
                  <a:pt x="4262" y="5374"/>
                </a:lnTo>
                <a:lnTo>
                  <a:pt x="4270" y="5374"/>
                </a:lnTo>
                <a:lnTo>
                  <a:pt x="4277" y="5375"/>
                </a:lnTo>
                <a:lnTo>
                  <a:pt x="4277" y="5375"/>
                </a:lnTo>
                <a:lnTo>
                  <a:pt x="4278" y="5376"/>
                </a:lnTo>
                <a:lnTo>
                  <a:pt x="4279" y="5379"/>
                </a:lnTo>
                <a:lnTo>
                  <a:pt x="4278" y="5382"/>
                </a:lnTo>
                <a:lnTo>
                  <a:pt x="4277" y="5384"/>
                </a:lnTo>
                <a:lnTo>
                  <a:pt x="4272" y="5391"/>
                </a:lnTo>
                <a:lnTo>
                  <a:pt x="4264" y="5399"/>
                </a:lnTo>
                <a:lnTo>
                  <a:pt x="4241" y="5420"/>
                </a:lnTo>
                <a:lnTo>
                  <a:pt x="4212" y="5447"/>
                </a:lnTo>
                <a:lnTo>
                  <a:pt x="4181" y="5477"/>
                </a:lnTo>
                <a:lnTo>
                  <a:pt x="4167" y="5492"/>
                </a:lnTo>
                <a:lnTo>
                  <a:pt x="4152" y="5508"/>
                </a:lnTo>
                <a:lnTo>
                  <a:pt x="4140" y="5525"/>
                </a:lnTo>
                <a:lnTo>
                  <a:pt x="4129" y="5542"/>
                </a:lnTo>
                <a:lnTo>
                  <a:pt x="4121" y="5558"/>
                </a:lnTo>
                <a:lnTo>
                  <a:pt x="4118" y="5567"/>
                </a:lnTo>
                <a:lnTo>
                  <a:pt x="4116" y="5576"/>
                </a:lnTo>
                <a:lnTo>
                  <a:pt x="4116" y="5576"/>
                </a:lnTo>
                <a:lnTo>
                  <a:pt x="4114" y="5588"/>
                </a:lnTo>
                <a:lnTo>
                  <a:pt x="4114" y="5599"/>
                </a:lnTo>
                <a:lnTo>
                  <a:pt x="4115" y="5611"/>
                </a:lnTo>
                <a:lnTo>
                  <a:pt x="4119" y="5620"/>
                </a:lnTo>
                <a:lnTo>
                  <a:pt x="4123" y="5628"/>
                </a:lnTo>
                <a:lnTo>
                  <a:pt x="4129" y="5636"/>
                </a:lnTo>
                <a:lnTo>
                  <a:pt x="4135" y="5643"/>
                </a:lnTo>
                <a:lnTo>
                  <a:pt x="4142" y="5649"/>
                </a:lnTo>
                <a:lnTo>
                  <a:pt x="4157" y="5663"/>
                </a:lnTo>
                <a:lnTo>
                  <a:pt x="4163" y="5669"/>
                </a:lnTo>
                <a:lnTo>
                  <a:pt x="4169" y="5676"/>
                </a:lnTo>
                <a:lnTo>
                  <a:pt x="4175" y="5683"/>
                </a:lnTo>
                <a:lnTo>
                  <a:pt x="4179" y="5690"/>
                </a:lnTo>
                <a:lnTo>
                  <a:pt x="4182" y="5699"/>
                </a:lnTo>
                <a:lnTo>
                  <a:pt x="4183" y="5708"/>
                </a:lnTo>
                <a:lnTo>
                  <a:pt x="4183" y="5708"/>
                </a:lnTo>
                <a:lnTo>
                  <a:pt x="4184" y="5718"/>
                </a:lnTo>
                <a:lnTo>
                  <a:pt x="4186" y="5729"/>
                </a:lnTo>
                <a:lnTo>
                  <a:pt x="4189" y="5738"/>
                </a:lnTo>
                <a:lnTo>
                  <a:pt x="4193" y="5749"/>
                </a:lnTo>
                <a:lnTo>
                  <a:pt x="4198" y="5758"/>
                </a:lnTo>
                <a:lnTo>
                  <a:pt x="4205" y="5767"/>
                </a:lnTo>
                <a:lnTo>
                  <a:pt x="4212" y="5775"/>
                </a:lnTo>
                <a:lnTo>
                  <a:pt x="4220" y="5783"/>
                </a:lnTo>
                <a:lnTo>
                  <a:pt x="4228" y="5792"/>
                </a:lnTo>
                <a:lnTo>
                  <a:pt x="4237" y="5799"/>
                </a:lnTo>
                <a:lnTo>
                  <a:pt x="4257" y="5812"/>
                </a:lnTo>
                <a:lnTo>
                  <a:pt x="4278" y="5824"/>
                </a:lnTo>
                <a:lnTo>
                  <a:pt x="4300" y="5835"/>
                </a:lnTo>
                <a:lnTo>
                  <a:pt x="4322" y="5844"/>
                </a:lnTo>
                <a:lnTo>
                  <a:pt x="4344" y="5852"/>
                </a:lnTo>
                <a:lnTo>
                  <a:pt x="4364" y="5857"/>
                </a:lnTo>
                <a:lnTo>
                  <a:pt x="4382" y="5862"/>
                </a:lnTo>
                <a:lnTo>
                  <a:pt x="4399" y="5864"/>
                </a:lnTo>
                <a:lnTo>
                  <a:pt x="4412" y="5865"/>
                </a:lnTo>
                <a:lnTo>
                  <a:pt x="4421" y="5865"/>
                </a:lnTo>
                <a:lnTo>
                  <a:pt x="4424" y="5864"/>
                </a:lnTo>
                <a:lnTo>
                  <a:pt x="4426" y="5863"/>
                </a:lnTo>
                <a:lnTo>
                  <a:pt x="4426" y="5863"/>
                </a:lnTo>
                <a:lnTo>
                  <a:pt x="4427" y="5861"/>
                </a:lnTo>
                <a:lnTo>
                  <a:pt x="4427" y="5859"/>
                </a:lnTo>
                <a:lnTo>
                  <a:pt x="4425" y="5853"/>
                </a:lnTo>
                <a:lnTo>
                  <a:pt x="4420" y="5846"/>
                </a:lnTo>
                <a:lnTo>
                  <a:pt x="4412" y="5836"/>
                </a:lnTo>
                <a:lnTo>
                  <a:pt x="4393" y="5813"/>
                </a:lnTo>
                <a:lnTo>
                  <a:pt x="4369" y="5786"/>
                </a:lnTo>
                <a:lnTo>
                  <a:pt x="4358" y="5773"/>
                </a:lnTo>
                <a:lnTo>
                  <a:pt x="4348" y="5759"/>
                </a:lnTo>
                <a:lnTo>
                  <a:pt x="4339" y="5745"/>
                </a:lnTo>
                <a:lnTo>
                  <a:pt x="4330" y="5731"/>
                </a:lnTo>
                <a:lnTo>
                  <a:pt x="4325" y="5718"/>
                </a:lnTo>
                <a:lnTo>
                  <a:pt x="4324" y="5712"/>
                </a:lnTo>
                <a:lnTo>
                  <a:pt x="4323" y="5706"/>
                </a:lnTo>
                <a:lnTo>
                  <a:pt x="4323" y="5700"/>
                </a:lnTo>
                <a:lnTo>
                  <a:pt x="4324" y="5694"/>
                </a:lnTo>
                <a:lnTo>
                  <a:pt x="4326" y="5689"/>
                </a:lnTo>
                <a:lnTo>
                  <a:pt x="4329" y="5684"/>
                </a:lnTo>
                <a:lnTo>
                  <a:pt x="4329" y="5684"/>
                </a:lnTo>
                <a:lnTo>
                  <a:pt x="4333" y="5680"/>
                </a:lnTo>
                <a:lnTo>
                  <a:pt x="4337" y="5677"/>
                </a:lnTo>
                <a:lnTo>
                  <a:pt x="4343" y="5676"/>
                </a:lnTo>
                <a:lnTo>
                  <a:pt x="4347" y="5675"/>
                </a:lnTo>
                <a:lnTo>
                  <a:pt x="4352" y="5675"/>
                </a:lnTo>
                <a:lnTo>
                  <a:pt x="4358" y="5676"/>
                </a:lnTo>
                <a:lnTo>
                  <a:pt x="4370" y="5678"/>
                </a:lnTo>
                <a:lnTo>
                  <a:pt x="4384" y="5681"/>
                </a:lnTo>
                <a:lnTo>
                  <a:pt x="4392" y="5682"/>
                </a:lnTo>
                <a:lnTo>
                  <a:pt x="4399" y="5682"/>
                </a:lnTo>
                <a:lnTo>
                  <a:pt x="4408" y="5682"/>
                </a:lnTo>
                <a:lnTo>
                  <a:pt x="4416" y="5681"/>
                </a:lnTo>
                <a:lnTo>
                  <a:pt x="4425" y="5679"/>
                </a:lnTo>
                <a:lnTo>
                  <a:pt x="4436" y="5675"/>
                </a:lnTo>
                <a:lnTo>
                  <a:pt x="4436" y="5675"/>
                </a:lnTo>
                <a:lnTo>
                  <a:pt x="4437" y="5673"/>
                </a:lnTo>
                <a:lnTo>
                  <a:pt x="4438" y="5670"/>
                </a:lnTo>
                <a:lnTo>
                  <a:pt x="4438" y="5663"/>
                </a:lnTo>
                <a:lnTo>
                  <a:pt x="4436" y="5652"/>
                </a:lnTo>
                <a:lnTo>
                  <a:pt x="4434" y="5637"/>
                </a:lnTo>
                <a:lnTo>
                  <a:pt x="4431" y="5621"/>
                </a:lnTo>
                <a:lnTo>
                  <a:pt x="4428" y="5602"/>
                </a:lnTo>
                <a:lnTo>
                  <a:pt x="4426" y="5581"/>
                </a:lnTo>
                <a:lnTo>
                  <a:pt x="4426" y="5557"/>
                </a:lnTo>
                <a:lnTo>
                  <a:pt x="4428" y="5533"/>
                </a:lnTo>
                <a:lnTo>
                  <a:pt x="4431" y="5520"/>
                </a:lnTo>
                <a:lnTo>
                  <a:pt x="4434" y="5505"/>
                </a:lnTo>
                <a:lnTo>
                  <a:pt x="4437" y="5492"/>
                </a:lnTo>
                <a:lnTo>
                  <a:pt x="4441" y="5477"/>
                </a:lnTo>
                <a:lnTo>
                  <a:pt x="4446" y="5462"/>
                </a:lnTo>
                <a:lnTo>
                  <a:pt x="4453" y="5447"/>
                </a:lnTo>
                <a:lnTo>
                  <a:pt x="4460" y="5432"/>
                </a:lnTo>
                <a:lnTo>
                  <a:pt x="4469" y="5416"/>
                </a:lnTo>
                <a:lnTo>
                  <a:pt x="4479" y="5400"/>
                </a:lnTo>
                <a:lnTo>
                  <a:pt x="4490" y="5384"/>
                </a:lnTo>
                <a:lnTo>
                  <a:pt x="4503" y="5367"/>
                </a:lnTo>
                <a:lnTo>
                  <a:pt x="4516" y="5351"/>
                </a:lnTo>
                <a:lnTo>
                  <a:pt x="4533" y="5334"/>
                </a:lnTo>
                <a:lnTo>
                  <a:pt x="4550" y="5317"/>
                </a:lnTo>
                <a:lnTo>
                  <a:pt x="4550" y="5317"/>
                </a:lnTo>
                <a:lnTo>
                  <a:pt x="4557" y="5328"/>
                </a:lnTo>
                <a:lnTo>
                  <a:pt x="4566" y="5340"/>
                </a:lnTo>
                <a:lnTo>
                  <a:pt x="4578" y="5353"/>
                </a:lnTo>
                <a:lnTo>
                  <a:pt x="4586" y="5360"/>
                </a:lnTo>
                <a:lnTo>
                  <a:pt x="4594" y="5367"/>
                </a:lnTo>
                <a:lnTo>
                  <a:pt x="4603" y="5373"/>
                </a:lnTo>
                <a:lnTo>
                  <a:pt x="4614" y="5381"/>
                </a:lnTo>
                <a:lnTo>
                  <a:pt x="4624" y="5386"/>
                </a:lnTo>
                <a:lnTo>
                  <a:pt x="4636" y="5390"/>
                </a:lnTo>
                <a:lnTo>
                  <a:pt x="4648" y="5394"/>
                </a:lnTo>
                <a:lnTo>
                  <a:pt x="4662" y="5396"/>
                </a:lnTo>
                <a:lnTo>
                  <a:pt x="4662" y="5396"/>
                </a:lnTo>
                <a:lnTo>
                  <a:pt x="4668" y="5397"/>
                </a:lnTo>
                <a:lnTo>
                  <a:pt x="4673" y="5399"/>
                </a:lnTo>
                <a:lnTo>
                  <a:pt x="4677" y="5402"/>
                </a:lnTo>
                <a:lnTo>
                  <a:pt x="4681" y="5405"/>
                </a:lnTo>
                <a:lnTo>
                  <a:pt x="4685" y="5409"/>
                </a:lnTo>
                <a:lnTo>
                  <a:pt x="4688" y="5413"/>
                </a:lnTo>
                <a:lnTo>
                  <a:pt x="4692" y="5425"/>
                </a:lnTo>
                <a:lnTo>
                  <a:pt x="4696" y="5437"/>
                </a:lnTo>
                <a:lnTo>
                  <a:pt x="4698" y="5450"/>
                </a:lnTo>
                <a:lnTo>
                  <a:pt x="4698" y="5463"/>
                </a:lnTo>
                <a:lnTo>
                  <a:pt x="4698" y="5478"/>
                </a:lnTo>
                <a:lnTo>
                  <a:pt x="4696" y="5506"/>
                </a:lnTo>
                <a:lnTo>
                  <a:pt x="4694" y="5531"/>
                </a:lnTo>
                <a:lnTo>
                  <a:pt x="4692" y="5548"/>
                </a:lnTo>
                <a:lnTo>
                  <a:pt x="4692" y="5553"/>
                </a:lnTo>
                <a:lnTo>
                  <a:pt x="4693" y="5554"/>
                </a:lnTo>
                <a:lnTo>
                  <a:pt x="4694" y="5554"/>
                </a:lnTo>
                <a:lnTo>
                  <a:pt x="4694" y="5554"/>
                </a:lnTo>
                <a:lnTo>
                  <a:pt x="4697" y="5553"/>
                </a:lnTo>
                <a:lnTo>
                  <a:pt x="4702" y="5550"/>
                </a:lnTo>
                <a:lnTo>
                  <a:pt x="4708" y="5545"/>
                </a:lnTo>
                <a:lnTo>
                  <a:pt x="4714" y="5538"/>
                </a:lnTo>
                <a:lnTo>
                  <a:pt x="4721" y="5529"/>
                </a:lnTo>
                <a:lnTo>
                  <a:pt x="4729" y="5519"/>
                </a:lnTo>
                <a:lnTo>
                  <a:pt x="4736" y="5505"/>
                </a:lnTo>
                <a:lnTo>
                  <a:pt x="4743" y="5492"/>
                </a:lnTo>
                <a:lnTo>
                  <a:pt x="4751" y="5477"/>
                </a:lnTo>
                <a:lnTo>
                  <a:pt x="4758" y="5459"/>
                </a:lnTo>
                <a:lnTo>
                  <a:pt x="4763" y="5442"/>
                </a:lnTo>
                <a:lnTo>
                  <a:pt x="4768" y="5422"/>
                </a:lnTo>
                <a:lnTo>
                  <a:pt x="4771" y="5402"/>
                </a:lnTo>
                <a:lnTo>
                  <a:pt x="4773" y="5382"/>
                </a:lnTo>
                <a:lnTo>
                  <a:pt x="4772" y="5360"/>
                </a:lnTo>
                <a:lnTo>
                  <a:pt x="4770" y="5338"/>
                </a:lnTo>
                <a:lnTo>
                  <a:pt x="4770" y="5338"/>
                </a:lnTo>
                <a:lnTo>
                  <a:pt x="4778" y="5330"/>
                </a:lnTo>
                <a:lnTo>
                  <a:pt x="4798" y="5313"/>
                </a:lnTo>
                <a:lnTo>
                  <a:pt x="4809" y="5302"/>
                </a:lnTo>
                <a:lnTo>
                  <a:pt x="4819" y="5290"/>
                </a:lnTo>
                <a:lnTo>
                  <a:pt x="4827" y="5276"/>
                </a:lnTo>
                <a:lnTo>
                  <a:pt x="4830" y="5270"/>
                </a:lnTo>
                <a:lnTo>
                  <a:pt x="4832" y="5264"/>
                </a:lnTo>
                <a:lnTo>
                  <a:pt x="4832" y="5264"/>
                </a:lnTo>
                <a:lnTo>
                  <a:pt x="4834" y="5255"/>
                </a:lnTo>
                <a:lnTo>
                  <a:pt x="4835" y="5246"/>
                </a:lnTo>
                <a:lnTo>
                  <a:pt x="4836" y="5237"/>
                </a:lnTo>
                <a:lnTo>
                  <a:pt x="4835" y="5230"/>
                </a:lnTo>
                <a:lnTo>
                  <a:pt x="4834" y="5224"/>
                </a:lnTo>
                <a:lnTo>
                  <a:pt x="4832" y="5218"/>
                </a:lnTo>
                <a:lnTo>
                  <a:pt x="4830" y="5213"/>
                </a:lnTo>
                <a:lnTo>
                  <a:pt x="4827" y="5208"/>
                </a:lnTo>
                <a:lnTo>
                  <a:pt x="4819" y="5199"/>
                </a:lnTo>
                <a:lnTo>
                  <a:pt x="4810" y="5189"/>
                </a:lnTo>
                <a:lnTo>
                  <a:pt x="4800" y="5180"/>
                </a:lnTo>
                <a:lnTo>
                  <a:pt x="4789" y="5169"/>
                </a:lnTo>
                <a:lnTo>
                  <a:pt x="4778" y="5156"/>
                </a:lnTo>
                <a:lnTo>
                  <a:pt x="4772" y="5148"/>
                </a:lnTo>
                <a:lnTo>
                  <a:pt x="4767" y="5139"/>
                </a:lnTo>
                <a:lnTo>
                  <a:pt x="4762" y="5130"/>
                </a:lnTo>
                <a:lnTo>
                  <a:pt x="4757" y="5120"/>
                </a:lnTo>
                <a:lnTo>
                  <a:pt x="4753" y="5108"/>
                </a:lnTo>
                <a:lnTo>
                  <a:pt x="4749" y="5095"/>
                </a:lnTo>
                <a:lnTo>
                  <a:pt x="4744" y="5081"/>
                </a:lnTo>
                <a:lnTo>
                  <a:pt x="4741" y="5065"/>
                </a:lnTo>
                <a:lnTo>
                  <a:pt x="4738" y="5048"/>
                </a:lnTo>
                <a:lnTo>
                  <a:pt x="4736" y="5029"/>
                </a:lnTo>
                <a:lnTo>
                  <a:pt x="4735" y="5008"/>
                </a:lnTo>
                <a:lnTo>
                  <a:pt x="4734" y="4986"/>
                </a:lnTo>
                <a:lnTo>
                  <a:pt x="4734" y="4961"/>
                </a:lnTo>
                <a:lnTo>
                  <a:pt x="4735" y="4935"/>
                </a:lnTo>
                <a:lnTo>
                  <a:pt x="4735" y="4935"/>
                </a:lnTo>
                <a:lnTo>
                  <a:pt x="4735" y="4917"/>
                </a:lnTo>
                <a:lnTo>
                  <a:pt x="4734" y="4911"/>
                </a:lnTo>
                <a:lnTo>
                  <a:pt x="4733" y="4906"/>
                </a:lnTo>
                <a:lnTo>
                  <a:pt x="4731" y="4901"/>
                </a:lnTo>
                <a:lnTo>
                  <a:pt x="4729" y="4897"/>
                </a:lnTo>
                <a:lnTo>
                  <a:pt x="4727" y="4894"/>
                </a:lnTo>
                <a:lnTo>
                  <a:pt x="4724" y="4891"/>
                </a:lnTo>
                <a:lnTo>
                  <a:pt x="4716" y="4885"/>
                </a:lnTo>
                <a:lnTo>
                  <a:pt x="4706" y="4878"/>
                </a:lnTo>
                <a:lnTo>
                  <a:pt x="4693" y="4868"/>
                </a:lnTo>
                <a:lnTo>
                  <a:pt x="4679" y="4856"/>
                </a:lnTo>
                <a:lnTo>
                  <a:pt x="4679" y="4856"/>
                </a:lnTo>
                <a:lnTo>
                  <a:pt x="4671" y="4846"/>
                </a:lnTo>
                <a:lnTo>
                  <a:pt x="4664" y="4836"/>
                </a:lnTo>
                <a:lnTo>
                  <a:pt x="4659" y="4825"/>
                </a:lnTo>
                <a:lnTo>
                  <a:pt x="4655" y="4815"/>
                </a:lnTo>
                <a:lnTo>
                  <a:pt x="4654" y="4807"/>
                </a:lnTo>
                <a:lnTo>
                  <a:pt x="4654" y="4804"/>
                </a:lnTo>
                <a:lnTo>
                  <a:pt x="4654" y="4802"/>
                </a:lnTo>
                <a:lnTo>
                  <a:pt x="4657" y="4800"/>
                </a:lnTo>
                <a:lnTo>
                  <a:pt x="4659" y="4799"/>
                </a:lnTo>
                <a:lnTo>
                  <a:pt x="4661" y="4799"/>
                </a:lnTo>
                <a:lnTo>
                  <a:pt x="4665" y="4800"/>
                </a:lnTo>
                <a:lnTo>
                  <a:pt x="4665" y="4800"/>
                </a:lnTo>
                <a:lnTo>
                  <a:pt x="4679" y="4806"/>
                </a:lnTo>
                <a:lnTo>
                  <a:pt x="4693" y="4810"/>
                </a:lnTo>
                <a:lnTo>
                  <a:pt x="4708" y="4813"/>
                </a:lnTo>
                <a:lnTo>
                  <a:pt x="4723" y="4814"/>
                </a:lnTo>
                <a:lnTo>
                  <a:pt x="4737" y="4815"/>
                </a:lnTo>
                <a:lnTo>
                  <a:pt x="4752" y="4816"/>
                </a:lnTo>
                <a:lnTo>
                  <a:pt x="4765" y="4815"/>
                </a:lnTo>
                <a:lnTo>
                  <a:pt x="4778" y="4814"/>
                </a:lnTo>
                <a:lnTo>
                  <a:pt x="4802" y="4811"/>
                </a:lnTo>
                <a:lnTo>
                  <a:pt x="4819" y="4807"/>
                </a:lnTo>
                <a:lnTo>
                  <a:pt x="4835" y="4803"/>
                </a:lnTo>
                <a:lnTo>
                  <a:pt x="4835" y="4803"/>
                </a:lnTo>
                <a:lnTo>
                  <a:pt x="4844" y="4707"/>
                </a:lnTo>
                <a:lnTo>
                  <a:pt x="4849" y="4632"/>
                </a:lnTo>
                <a:lnTo>
                  <a:pt x="4851" y="4577"/>
                </a:lnTo>
                <a:lnTo>
                  <a:pt x="4851" y="4539"/>
                </a:lnTo>
                <a:lnTo>
                  <a:pt x="4849" y="4514"/>
                </a:lnTo>
                <a:lnTo>
                  <a:pt x="4847" y="4499"/>
                </a:lnTo>
                <a:lnTo>
                  <a:pt x="4845" y="4493"/>
                </a:lnTo>
                <a:lnTo>
                  <a:pt x="4844" y="4491"/>
                </a:lnTo>
                <a:lnTo>
                  <a:pt x="4844" y="4491"/>
                </a:lnTo>
                <a:lnTo>
                  <a:pt x="4825" y="4492"/>
                </a:lnTo>
                <a:lnTo>
                  <a:pt x="4808" y="4491"/>
                </a:lnTo>
                <a:lnTo>
                  <a:pt x="4791" y="4490"/>
                </a:lnTo>
                <a:lnTo>
                  <a:pt x="4776" y="4489"/>
                </a:lnTo>
                <a:lnTo>
                  <a:pt x="4763" y="4487"/>
                </a:lnTo>
                <a:lnTo>
                  <a:pt x="4750" y="4484"/>
                </a:lnTo>
                <a:lnTo>
                  <a:pt x="4737" y="4481"/>
                </a:lnTo>
                <a:lnTo>
                  <a:pt x="4726" y="4477"/>
                </a:lnTo>
                <a:lnTo>
                  <a:pt x="4716" y="4473"/>
                </a:lnTo>
                <a:lnTo>
                  <a:pt x="4707" y="4469"/>
                </a:lnTo>
                <a:lnTo>
                  <a:pt x="4698" y="4463"/>
                </a:lnTo>
                <a:lnTo>
                  <a:pt x="4690" y="4458"/>
                </a:lnTo>
                <a:lnTo>
                  <a:pt x="4683" y="4452"/>
                </a:lnTo>
                <a:lnTo>
                  <a:pt x="4676" y="4447"/>
                </a:lnTo>
                <a:lnTo>
                  <a:pt x="4665" y="4434"/>
                </a:lnTo>
                <a:lnTo>
                  <a:pt x="4665" y="4434"/>
                </a:lnTo>
                <a:lnTo>
                  <a:pt x="4677" y="4437"/>
                </a:lnTo>
                <a:lnTo>
                  <a:pt x="4690" y="4439"/>
                </a:lnTo>
                <a:lnTo>
                  <a:pt x="4717" y="4441"/>
                </a:lnTo>
                <a:lnTo>
                  <a:pt x="4742" y="4441"/>
                </a:lnTo>
                <a:lnTo>
                  <a:pt x="4768" y="4439"/>
                </a:lnTo>
                <a:lnTo>
                  <a:pt x="4790" y="4435"/>
                </a:lnTo>
                <a:lnTo>
                  <a:pt x="4812" y="4429"/>
                </a:lnTo>
                <a:lnTo>
                  <a:pt x="4821" y="4426"/>
                </a:lnTo>
                <a:lnTo>
                  <a:pt x="4829" y="4422"/>
                </a:lnTo>
                <a:lnTo>
                  <a:pt x="4838" y="4416"/>
                </a:lnTo>
                <a:lnTo>
                  <a:pt x="4844" y="4412"/>
                </a:lnTo>
                <a:lnTo>
                  <a:pt x="4844" y="4412"/>
                </a:lnTo>
                <a:lnTo>
                  <a:pt x="4843" y="4364"/>
                </a:lnTo>
                <a:lnTo>
                  <a:pt x="4841" y="4316"/>
                </a:lnTo>
                <a:lnTo>
                  <a:pt x="4838" y="4261"/>
                </a:lnTo>
                <a:lnTo>
                  <a:pt x="4833" y="4206"/>
                </a:lnTo>
                <a:lnTo>
                  <a:pt x="4831" y="4181"/>
                </a:lnTo>
                <a:lnTo>
                  <a:pt x="4828" y="4159"/>
                </a:lnTo>
                <a:lnTo>
                  <a:pt x="4825" y="4140"/>
                </a:lnTo>
                <a:lnTo>
                  <a:pt x="4822" y="4126"/>
                </a:lnTo>
                <a:lnTo>
                  <a:pt x="4820" y="4121"/>
                </a:lnTo>
                <a:lnTo>
                  <a:pt x="4818" y="4118"/>
                </a:lnTo>
                <a:lnTo>
                  <a:pt x="4816" y="4116"/>
                </a:lnTo>
                <a:lnTo>
                  <a:pt x="4814" y="4116"/>
                </a:lnTo>
                <a:lnTo>
                  <a:pt x="4814" y="4116"/>
                </a:lnTo>
                <a:lnTo>
                  <a:pt x="4786" y="4123"/>
                </a:lnTo>
                <a:lnTo>
                  <a:pt x="4760" y="4128"/>
                </a:lnTo>
                <a:lnTo>
                  <a:pt x="4746" y="4129"/>
                </a:lnTo>
                <a:lnTo>
                  <a:pt x="4734" y="4130"/>
                </a:lnTo>
                <a:lnTo>
                  <a:pt x="4722" y="4130"/>
                </a:lnTo>
                <a:lnTo>
                  <a:pt x="4711" y="4129"/>
                </a:lnTo>
                <a:lnTo>
                  <a:pt x="4698" y="4127"/>
                </a:lnTo>
                <a:lnTo>
                  <a:pt x="4687" y="4125"/>
                </a:lnTo>
                <a:lnTo>
                  <a:pt x="4675" y="4122"/>
                </a:lnTo>
                <a:lnTo>
                  <a:pt x="4664" y="4118"/>
                </a:lnTo>
                <a:lnTo>
                  <a:pt x="4652" y="4113"/>
                </a:lnTo>
                <a:lnTo>
                  <a:pt x="4640" y="4108"/>
                </a:lnTo>
                <a:lnTo>
                  <a:pt x="4629" y="4100"/>
                </a:lnTo>
                <a:lnTo>
                  <a:pt x="4618" y="4093"/>
                </a:lnTo>
                <a:lnTo>
                  <a:pt x="4618" y="4093"/>
                </a:lnTo>
                <a:lnTo>
                  <a:pt x="4613" y="4090"/>
                </a:lnTo>
                <a:lnTo>
                  <a:pt x="4608" y="4086"/>
                </a:lnTo>
                <a:lnTo>
                  <a:pt x="4602" y="4078"/>
                </a:lnTo>
                <a:lnTo>
                  <a:pt x="4597" y="4069"/>
                </a:lnTo>
                <a:lnTo>
                  <a:pt x="4594" y="4059"/>
                </a:lnTo>
                <a:lnTo>
                  <a:pt x="4592" y="4047"/>
                </a:lnTo>
                <a:lnTo>
                  <a:pt x="4591" y="4037"/>
                </a:lnTo>
                <a:lnTo>
                  <a:pt x="4590" y="4015"/>
                </a:lnTo>
                <a:lnTo>
                  <a:pt x="4589" y="3993"/>
                </a:lnTo>
                <a:lnTo>
                  <a:pt x="4587" y="3984"/>
                </a:lnTo>
                <a:lnTo>
                  <a:pt x="4585" y="3976"/>
                </a:lnTo>
                <a:lnTo>
                  <a:pt x="4581" y="3969"/>
                </a:lnTo>
                <a:lnTo>
                  <a:pt x="4575" y="3962"/>
                </a:lnTo>
                <a:lnTo>
                  <a:pt x="4571" y="3959"/>
                </a:lnTo>
                <a:lnTo>
                  <a:pt x="4567" y="3957"/>
                </a:lnTo>
                <a:lnTo>
                  <a:pt x="4561" y="3956"/>
                </a:lnTo>
                <a:lnTo>
                  <a:pt x="4556" y="3955"/>
                </a:lnTo>
                <a:lnTo>
                  <a:pt x="4556" y="3955"/>
                </a:lnTo>
                <a:lnTo>
                  <a:pt x="4534" y="3948"/>
                </a:lnTo>
                <a:lnTo>
                  <a:pt x="4511" y="3941"/>
                </a:lnTo>
                <a:lnTo>
                  <a:pt x="4489" y="3933"/>
                </a:lnTo>
                <a:lnTo>
                  <a:pt x="4468" y="3923"/>
                </a:lnTo>
                <a:lnTo>
                  <a:pt x="4448" y="3913"/>
                </a:lnTo>
                <a:lnTo>
                  <a:pt x="4428" y="3902"/>
                </a:lnTo>
                <a:lnTo>
                  <a:pt x="4410" y="3892"/>
                </a:lnTo>
                <a:lnTo>
                  <a:pt x="4394" y="3881"/>
                </a:lnTo>
                <a:lnTo>
                  <a:pt x="4377" y="3869"/>
                </a:lnTo>
                <a:lnTo>
                  <a:pt x="4363" y="3859"/>
                </a:lnTo>
                <a:lnTo>
                  <a:pt x="4337" y="3839"/>
                </a:lnTo>
                <a:lnTo>
                  <a:pt x="4318" y="3820"/>
                </a:lnTo>
                <a:lnTo>
                  <a:pt x="4306" y="3805"/>
                </a:lnTo>
                <a:lnTo>
                  <a:pt x="4306" y="3805"/>
                </a:lnTo>
                <a:lnTo>
                  <a:pt x="4297" y="3793"/>
                </a:lnTo>
                <a:lnTo>
                  <a:pt x="4288" y="3780"/>
                </a:lnTo>
                <a:lnTo>
                  <a:pt x="4282" y="3769"/>
                </a:lnTo>
                <a:lnTo>
                  <a:pt x="4277" y="3758"/>
                </a:lnTo>
                <a:lnTo>
                  <a:pt x="4273" y="3748"/>
                </a:lnTo>
                <a:lnTo>
                  <a:pt x="4270" y="3739"/>
                </a:lnTo>
                <a:lnTo>
                  <a:pt x="4266" y="3722"/>
                </a:lnTo>
                <a:lnTo>
                  <a:pt x="4265" y="3709"/>
                </a:lnTo>
                <a:lnTo>
                  <a:pt x="4265" y="3699"/>
                </a:lnTo>
                <a:lnTo>
                  <a:pt x="4266" y="3690"/>
                </a:lnTo>
                <a:lnTo>
                  <a:pt x="4266" y="3690"/>
                </a:lnTo>
                <a:lnTo>
                  <a:pt x="4284" y="3700"/>
                </a:lnTo>
                <a:lnTo>
                  <a:pt x="4302" y="3706"/>
                </a:lnTo>
                <a:lnTo>
                  <a:pt x="4321" y="3711"/>
                </a:lnTo>
                <a:lnTo>
                  <a:pt x="4340" y="3714"/>
                </a:lnTo>
                <a:lnTo>
                  <a:pt x="4358" y="3716"/>
                </a:lnTo>
                <a:lnTo>
                  <a:pt x="4377" y="3715"/>
                </a:lnTo>
                <a:lnTo>
                  <a:pt x="4396" y="3712"/>
                </a:lnTo>
                <a:lnTo>
                  <a:pt x="4414" y="3708"/>
                </a:lnTo>
                <a:lnTo>
                  <a:pt x="4434" y="3468"/>
                </a:lnTo>
                <a:lnTo>
                  <a:pt x="4434" y="3468"/>
                </a:lnTo>
                <a:lnTo>
                  <a:pt x="4425" y="3467"/>
                </a:lnTo>
                <a:lnTo>
                  <a:pt x="4405" y="3464"/>
                </a:lnTo>
                <a:lnTo>
                  <a:pt x="4392" y="3461"/>
                </a:lnTo>
                <a:lnTo>
                  <a:pt x="4377" y="3457"/>
                </a:lnTo>
                <a:lnTo>
                  <a:pt x="4362" y="3453"/>
                </a:lnTo>
                <a:lnTo>
                  <a:pt x="4348" y="3447"/>
                </a:lnTo>
                <a:lnTo>
                  <a:pt x="4348" y="3447"/>
                </a:lnTo>
                <a:lnTo>
                  <a:pt x="4339" y="3443"/>
                </a:lnTo>
                <a:lnTo>
                  <a:pt x="4331" y="3438"/>
                </a:lnTo>
                <a:lnTo>
                  <a:pt x="4323" y="3432"/>
                </a:lnTo>
                <a:lnTo>
                  <a:pt x="4316" y="3426"/>
                </a:lnTo>
                <a:lnTo>
                  <a:pt x="4302" y="3412"/>
                </a:lnTo>
                <a:lnTo>
                  <a:pt x="4289" y="3399"/>
                </a:lnTo>
                <a:lnTo>
                  <a:pt x="4280" y="3386"/>
                </a:lnTo>
                <a:lnTo>
                  <a:pt x="4273" y="3376"/>
                </a:lnTo>
                <a:lnTo>
                  <a:pt x="4267" y="3366"/>
                </a:lnTo>
                <a:lnTo>
                  <a:pt x="4267" y="3366"/>
                </a:lnTo>
                <a:lnTo>
                  <a:pt x="4274" y="3369"/>
                </a:lnTo>
                <a:lnTo>
                  <a:pt x="4293" y="3377"/>
                </a:lnTo>
                <a:lnTo>
                  <a:pt x="4321" y="3385"/>
                </a:lnTo>
                <a:lnTo>
                  <a:pt x="4339" y="3389"/>
                </a:lnTo>
                <a:lnTo>
                  <a:pt x="4356" y="3392"/>
                </a:lnTo>
                <a:lnTo>
                  <a:pt x="4356" y="3392"/>
                </a:lnTo>
                <a:lnTo>
                  <a:pt x="4375" y="3394"/>
                </a:lnTo>
                <a:lnTo>
                  <a:pt x="4392" y="3395"/>
                </a:lnTo>
                <a:lnTo>
                  <a:pt x="4407" y="3393"/>
                </a:lnTo>
                <a:lnTo>
                  <a:pt x="4419" y="3391"/>
                </a:lnTo>
                <a:lnTo>
                  <a:pt x="4430" y="3389"/>
                </a:lnTo>
                <a:lnTo>
                  <a:pt x="4438" y="3387"/>
                </a:lnTo>
                <a:lnTo>
                  <a:pt x="4444" y="3384"/>
                </a:lnTo>
                <a:lnTo>
                  <a:pt x="4477" y="3113"/>
                </a:lnTo>
                <a:lnTo>
                  <a:pt x="4477" y="3113"/>
                </a:lnTo>
                <a:lnTo>
                  <a:pt x="4451" y="3114"/>
                </a:lnTo>
                <a:lnTo>
                  <a:pt x="4427" y="3113"/>
                </a:lnTo>
                <a:lnTo>
                  <a:pt x="4408" y="3111"/>
                </a:lnTo>
                <a:lnTo>
                  <a:pt x="4392" y="3106"/>
                </a:lnTo>
                <a:lnTo>
                  <a:pt x="4377" y="3100"/>
                </a:lnTo>
                <a:lnTo>
                  <a:pt x="4365" y="3093"/>
                </a:lnTo>
                <a:lnTo>
                  <a:pt x="4356" y="3085"/>
                </a:lnTo>
                <a:lnTo>
                  <a:pt x="4348" y="3077"/>
                </a:lnTo>
                <a:lnTo>
                  <a:pt x="4343" y="3069"/>
                </a:lnTo>
                <a:lnTo>
                  <a:pt x="4337" y="3060"/>
                </a:lnTo>
                <a:lnTo>
                  <a:pt x="4335" y="3051"/>
                </a:lnTo>
                <a:lnTo>
                  <a:pt x="4333" y="3043"/>
                </a:lnTo>
                <a:lnTo>
                  <a:pt x="4332" y="3035"/>
                </a:lnTo>
                <a:lnTo>
                  <a:pt x="4331" y="3029"/>
                </a:lnTo>
                <a:lnTo>
                  <a:pt x="4332" y="3020"/>
                </a:lnTo>
                <a:lnTo>
                  <a:pt x="4332" y="3020"/>
                </a:lnTo>
                <a:lnTo>
                  <a:pt x="4357" y="3015"/>
                </a:lnTo>
                <a:lnTo>
                  <a:pt x="4381" y="3009"/>
                </a:lnTo>
                <a:lnTo>
                  <a:pt x="4405" y="3001"/>
                </a:lnTo>
                <a:lnTo>
                  <a:pt x="4428" y="2994"/>
                </a:lnTo>
                <a:lnTo>
                  <a:pt x="4451" y="2985"/>
                </a:lnTo>
                <a:lnTo>
                  <a:pt x="4473" y="2975"/>
                </a:lnTo>
                <a:lnTo>
                  <a:pt x="4495" y="2964"/>
                </a:lnTo>
                <a:lnTo>
                  <a:pt x="4515" y="2951"/>
                </a:lnTo>
                <a:lnTo>
                  <a:pt x="4536" y="2939"/>
                </a:lnTo>
                <a:lnTo>
                  <a:pt x="4555" y="2926"/>
                </a:lnTo>
                <a:lnTo>
                  <a:pt x="4574" y="2911"/>
                </a:lnTo>
                <a:lnTo>
                  <a:pt x="4592" y="2896"/>
                </a:lnTo>
                <a:lnTo>
                  <a:pt x="4609" y="2881"/>
                </a:lnTo>
                <a:lnTo>
                  <a:pt x="4627" y="2864"/>
                </a:lnTo>
                <a:lnTo>
                  <a:pt x="4642" y="2848"/>
                </a:lnTo>
                <a:lnTo>
                  <a:pt x="4659" y="2831"/>
                </a:lnTo>
                <a:lnTo>
                  <a:pt x="4673" y="2812"/>
                </a:lnTo>
                <a:lnTo>
                  <a:pt x="4688" y="2794"/>
                </a:lnTo>
                <a:lnTo>
                  <a:pt x="4702" y="2775"/>
                </a:lnTo>
                <a:lnTo>
                  <a:pt x="4715" y="2756"/>
                </a:lnTo>
                <a:lnTo>
                  <a:pt x="4727" y="2737"/>
                </a:lnTo>
                <a:lnTo>
                  <a:pt x="4738" y="2717"/>
                </a:lnTo>
                <a:lnTo>
                  <a:pt x="4750" y="2698"/>
                </a:lnTo>
                <a:lnTo>
                  <a:pt x="4760" y="2677"/>
                </a:lnTo>
                <a:lnTo>
                  <a:pt x="4770" y="2657"/>
                </a:lnTo>
                <a:lnTo>
                  <a:pt x="4779" y="2636"/>
                </a:lnTo>
                <a:lnTo>
                  <a:pt x="4787" y="2616"/>
                </a:lnTo>
                <a:lnTo>
                  <a:pt x="4796" y="2595"/>
                </a:lnTo>
                <a:lnTo>
                  <a:pt x="4803" y="2575"/>
                </a:lnTo>
                <a:lnTo>
                  <a:pt x="4809" y="2555"/>
                </a:lnTo>
                <a:lnTo>
                  <a:pt x="4815" y="2534"/>
                </a:lnTo>
                <a:lnTo>
                  <a:pt x="4820" y="2515"/>
                </a:lnTo>
                <a:lnTo>
                  <a:pt x="4820" y="2515"/>
                </a:lnTo>
                <a:lnTo>
                  <a:pt x="4831" y="2521"/>
                </a:lnTo>
                <a:lnTo>
                  <a:pt x="4847" y="2527"/>
                </a:lnTo>
                <a:lnTo>
                  <a:pt x="4864" y="2533"/>
                </a:lnTo>
                <a:lnTo>
                  <a:pt x="4882" y="2538"/>
                </a:lnTo>
                <a:lnTo>
                  <a:pt x="4903" y="2541"/>
                </a:lnTo>
                <a:lnTo>
                  <a:pt x="4913" y="2542"/>
                </a:lnTo>
                <a:lnTo>
                  <a:pt x="4923" y="2543"/>
                </a:lnTo>
                <a:lnTo>
                  <a:pt x="4935" y="2542"/>
                </a:lnTo>
                <a:lnTo>
                  <a:pt x="4945" y="2541"/>
                </a:lnTo>
                <a:lnTo>
                  <a:pt x="4955" y="2539"/>
                </a:lnTo>
                <a:lnTo>
                  <a:pt x="4965" y="2536"/>
                </a:lnTo>
                <a:lnTo>
                  <a:pt x="4965" y="2536"/>
                </a:lnTo>
                <a:lnTo>
                  <a:pt x="4967" y="2508"/>
                </a:lnTo>
                <a:lnTo>
                  <a:pt x="4970" y="2441"/>
                </a:lnTo>
                <a:lnTo>
                  <a:pt x="4972" y="2405"/>
                </a:lnTo>
                <a:lnTo>
                  <a:pt x="4973" y="2371"/>
                </a:lnTo>
                <a:lnTo>
                  <a:pt x="4972" y="2343"/>
                </a:lnTo>
                <a:lnTo>
                  <a:pt x="4972" y="2333"/>
                </a:lnTo>
                <a:lnTo>
                  <a:pt x="4970" y="2327"/>
                </a:lnTo>
                <a:lnTo>
                  <a:pt x="4970" y="2327"/>
                </a:lnTo>
                <a:lnTo>
                  <a:pt x="4955" y="2325"/>
                </a:lnTo>
                <a:lnTo>
                  <a:pt x="4938" y="2322"/>
                </a:lnTo>
                <a:lnTo>
                  <a:pt x="4919" y="2317"/>
                </a:lnTo>
                <a:lnTo>
                  <a:pt x="4911" y="2314"/>
                </a:lnTo>
                <a:lnTo>
                  <a:pt x="4902" y="2311"/>
                </a:lnTo>
                <a:lnTo>
                  <a:pt x="4893" y="2306"/>
                </a:lnTo>
                <a:lnTo>
                  <a:pt x="4885" y="2302"/>
                </a:lnTo>
                <a:lnTo>
                  <a:pt x="4876" y="2296"/>
                </a:lnTo>
                <a:lnTo>
                  <a:pt x="4868" y="2289"/>
                </a:lnTo>
                <a:lnTo>
                  <a:pt x="4861" y="2282"/>
                </a:lnTo>
                <a:lnTo>
                  <a:pt x="4854" y="2273"/>
                </a:lnTo>
                <a:lnTo>
                  <a:pt x="4848" y="2264"/>
                </a:lnTo>
                <a:lnTo>
                  <a:pt x="4842" y="225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86" name="Freeform 37"/>
          <p:cNvSpPr>
            <a:spLocks/>
          </p:cNvSpPr>
          <p:nvPr userDrawn="1"/>
        </p:nvSpPr>
        <p:spPr bwMode="auto">
          <a:xfrm>
            <a:off x="8332788" y="-385340"/>
            <a:ext cx="276225" cy="73025"/>
          </a:xfrm>
          <a:custGeom>
            <a:avLst/>
            <a:gdLst>
              <a:gd name="T0" fmla="*/ 0 w 349"/>
              <a:gd name="T1" fmla="*/ 34 h 91"/>
              <a:gd name="T2" fmla="*/ 0 w 349"/>
              <a:gd name="T3" fmla="*/ 34 h 91"/>
              <a:gd name="T4" fmla="*/ 20 w 349"/>
              <a:gd name="T5" fmla="*/ 49 h 91"/>
              <a:gd name="T6" fmla="*/ 38 w 349"/>
              <a:gd name="T7" fmla="*/ 60 h 91"/>
              <a:gd name="T8" fmla="*/ 38 w 349"/>
              <a:gd name="T9" fmla="*/ 60 h 91"/>
              <a:gd name="T10" fmla="*/ 69 w 349"/>
              <a:gd name="T11" fmla="*/ 71 h 91"/>
              <a:gd name="T12" fmla="*/ 89 w 349"/>
              <a:gd name="T13" fmla="*/ 78 h 91"/>
              <a:gd name="T14" fmla="*/ 111 w 349"/>
              <a:gd name="T15" fmla="*/ 84 h 91"/>
              <a:gd name="T16" fmla="*/ 137 w 349"/>
              <a:gd name="T17" fmla="*/ 87 h 91"/>
              <a:gd name="T18" fmla="*/ 164 w 349"/>
              <a:gd name="T19" fmla="*/ 91 h 91"/>
              <a:gd name="T20" fmla="*/ 194 w 349"/>
              <a:gd name="T21" fmla="*/ 91 h 91"/>
              <a:gd name="T22" fmla="*/ 226 w 349"/>
              <a:gd name="T23" fmla="*/ 89 h 91"/>
              <a:gd name="T24" fmla="*/ 226 w 349"/>
              <a:gd name="T25" fmla="*/ 89 h 91"/>
              <a:gd name="T26" fmla="*/ 256 w 349"/>
              <a:gd name="T27" fmla="*/ 86 h 91"/>
              <a:gd name="T28" fmla="*/ 279 w 349"/>
              <a:gd name="T29" fmla="*/ 80 h 91"/>
              <a:gd name="T30" fmla="*/ 301 w 349"/>
              <a:gd name="T31" fmla="*/ 75 h 91"/>
              <a:gd name="T32" fmla="*/ 318 w 349"/>
              <a:gd name="T33" fmla="*/ 69 h 91"/>
              <a:gd name="T34" fmla="*/ 342 w 349"/>
              <a:gd name="T35" fmla="*/ 56 h 91"/>
              <a:gd name="T36" fmla="*/ 349 w 349"/>
              <a:gd name="T37" fmla="*/ 53 h 91"/>
              <a:gd name="T38" fmla="*/ 349 w 349"/>
              <a:gd name="T39" fmla="*/ 53 h 91"/>
              <a:gd name="T40" fmla="*/ 338 w 349"/>
              <a:gd name="T41" fmla="*/ 49 h 91"/>
              <a:gd name="T42" fmla="*/ 329 w 349"/>
              <a:gd name="T43" fmla="*/ 44 h 91"/>
              <a:gd name="T44" fmla="*/ 314 w 349"/>
              <a:gd name="T45" fmla="*/ 31 h 91"/>
              <a:gd name="T46" fmla="*/ 314 w 349"/>
              <a:gd name="T47" fmla="*/ 31 h 91"/>
              <a:gd name="T48" fmla="*/ 312 w 349"/>
              <a:gd name="T49" fmla="*/ 38 h 91"/>
              <a:gd name="T50" fmla="*/ 312 w 349"/>
              <a:gd name="T51" fmla="*/ 38 h 91"/>
              <a:gd name="T52" fmla="*/ 311 w 349"/>
              <a:gd name="T53" fmla="*/ 51 h 91"/>
              <a:gd name="T54" fmla="*/ 311 w 349"/>
              <a:gd name="T55" fmla="*/ 51 h 91"/>
              <a:gd name="T56" fmla="*/ 303 w 349"/>
              <a:gd name="T57" fmla="*/ 49 h 91"/>
              <a:gd name="T58" fmla="*/ 303 w 349"/>
              <a:gd name="T59" fmla="*/ 49 h 91"/>
              <a:gd name="T60" fmla="*/ 298 w 349"/>
              <a:gd name="T61" fmla="*/ 45 h 91"/>
              <a:gd name="T62" fmla="*/ 292 w 349"/>
              <a:gd name="T63" fmla="*/ 40 h 91"/>
              <a:gd name="T64" fmla="*/ 289 w 349"/>
              <a:gd name="T65" fmla="*/ 33 h 91"/>
              <a:gd name="T66" fmla="*/ 287 w 349"/>
              <a:gd name="T67" fmla="*/ 23 h 91"/>
              <a:gd name="T68" fmla="*/ 287 w 349"/>
              <a:gd name="T69" fmla="*/ 23 h 91"/>
              <a:gd name="T70" fmla="*/ 287 w 349"/>
              <a:gd name="T71" fmla="*/ 22 h 91"/>
              <a:gd name="T72" fmla="*/ 287 w 349"/>
              <a:gd name="T73" fmla="*/ 22 h 91"/>
              <a:gd name="T74" fmla="*/ 272 w 349"/>
              <a:gd name="T75" fmla="*/ 27 h 91"/>
              <a:gd name="T76" fmla="*/ 252 w 349"/>
              <a:gd name="T77" fmla="*/ 33 h 91"/>
              <a:gd name="T78" fmla="*/ 228 w 349"/>
              <a:gd name="T79" fmla="*/ 38 h 91"/>
              <a:gd name="T80" fmla="*/ 205 w 349"/>
              <a:gd name="T81" fmla="*/ 40 h 91"/>
              <a:gd name="T82" fmla="*/ 205 w 349"/>
              <a:gd name="T83" fmla="*/ 40 h 91"/>
              <a:gd name="T84" fmla="*/ 161 w 349"/>
              <a:gd name="T85" fmla="*/ 38 h 91"/>
              <a:gd name="T86" fmla="*/ 139 w 349"/>
              <a:gd name="T87" fmla="*/ 36 h 91"/>
              <a:gd name="T88" fmla="*/ 117 w 349"/>
              <a:gd name="T89" fmla="*/ 33 h 91"/>
              <a:gd name="T90" fmla="*/ 95 w 349"/>
              <a:gd name="T91" fmla="*/ 29 h 91"/>
              <a:gd name="T92" fmla="*/ 73 w 349"/>
              <a:gd name="T93" fmla="*/ 22 h 91"/>
              <a:gd name="T94" fmla="*/ 51 w 349"/>
              <a:gd name="T95" fmla="*/ 14 h 91"/>
              <a:gd name="T96" fmla="*/ 31 w 349"/>
              <a:gd name="T97" fmla="*/ 7 h 91"/>
              <a:gd name="T98" fmla="*/ 31 w 349"/>
              <a:gd name="T99" fmla="*/ 7 h 91"/>
              <a:gd name="T100" fmla="*/ 15 w 349"/>
              <a:gd name="T101" fmla="*/ 0 h 91"/>
              <a:gd name="T102" fmla="*/ 15 w 349"/>
              <a:gd name="T103" fmla="*/ 0 h 91"/>
              <a:gd name="T104" fmla="*/ 15 w 349"/>
              <a:gd name="T105" fmla="*/ 1 h 91"/>
              <a:gd name="T106" fmla="*/ 15 w 349"/>
              <a:gd name="T107" fmla="*/ 5 h 91"/>
              <a:gd name="T108" fmla="*/ 18 w 349"/>
              <a:gd name="T109" fmla="*/ 14 h 91"/>
              <a:gd name="T110" fmla="*/ 25 w 349"/>
              <a:gd name="T111" fmla="*/ 25 h 91"/>
              <a:gd name="T112" fmla="*/ 25 w 349"/>
              <a:gd name="T113" fmla="*/ 25 h 91"/>
              <a:gd name="T114" fmla="*/ 16 w 349"/>
              <a:gd name="T115" fmla="*/ 23 h 91"/>
              <a:gd name="T116" fmla="*/ 7 w 349"/>
              <a:gd name="T117" fmla="*/ 27 h 91"/>
              <a:gd name="T118" fmla="*/ 7 w 349"/>
              <a:gd name="T119" fmla="*/ 27 h 91"/>
              <a:gd name="T120" fmla="*/ 2 w 349"/>
              <a:gd name="T121" fmla="*/ 31 h 91"/>
              <a:gd name="T122" fmla="*/ 0 w 349"/>
              <a:gd name="T123" fmla="*/ 3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9" h="91">
                <a:moveTo>
                  <a:pt x="0" y="34"/>
                </a:moveTo>
                <a:lnTo>
                  <a:pt x="0" y="34"/>
                </a:lnTo>
                <a:lnTo>
                  <a:pt x="20" y="49"/>
                </a:lnTo>
                <a:lnTo>
                  <a:pt x="38" y="60"/>
                </a:lnTo>
                <a:lnTo>
                  <a:pt x="38" y="60"/>
                </a:lnTo>
                <a:lnTo>
                  <a:pt x="69" y="71"/>
                </a:lnTo>
                <a:lnTo>
                  <a:pt x="89" y="78"/>
                </a:lnTo>
                <a:lnTo>
                  <a:pt x="111" y="84"/>
                </a:lnTo>
                <a:lnTo>
                  <a:pt x="137" y="87"/>
                </a:lnTo>
                <a:lnTo>
                  <a:pt x="164" y="91"/>
                </a:lnTo>
                <a:lnTo>
                  <a:pt x="194" y="91"/>
                </a:lnTo>
                <a:lnTo>
                  <a:pt x="226" y="89"/>
                </a:lnTo>
                <a:lnTo>
                  <a:pt x="226" y="89"/>
                </a:lnTo>
                <a:lnTo>
                  <a:pt x="256" y="86"/>
                </a:lnTo>
                <a:lnTo>
                  <a:pt x="279" y="80"/>
                </a:lnTo>
                <a:lnTo>
                  <a:pt x="301" y="75"/>
                </a:lnTo>
                <a:lnTo>
                  <a:pt x="318" y="69"/>
                </a:lnTo>
                <a:lnTo>
                  <a:pt x="342" y="56"/>
                </a:lnTo>
                <a:lnTo>
                  <a:pt x="349" y="53"/>
                </a:lnTo>
                <a:lnTo>
                  <a:pt x="349" y="53"/>
                </a:lnTo>
                <a:lnTo>
                  <a:pt x="338" y="49"/>
                </a:lnTo>
                <a:lnTo>
                  <a:pt x="329" y="44"/>
                </a:lnTo>
                <a:lnTo>
                  <a:pt x="314" y="31"/>
                </a:lnTo>
                <a:lnTo>
                  <a:pt x="314" y="31"/>
                </a:lnTo>
                <a:lnTo>
                  <a:pt x="312" y="38"/>
                </a:lnTo>
                <a:lnTo>
                  <a:pt x="312" y="38"/>
                </a:lnTo>
                <a:lnTo>
                  <a:pt x="311" y="51"/>
                </a:lnTo>
                <a:lnTo>
                  <a:pt x="311" y="51"/>
                </a:lnTo>
                <a:lnTo>
                  <a:pt x="303" y="49"/>
                </a:lnTo>
                <a:lnTo>
                  <a:pt x="303" y="49"/>
                </a:lnTo>
                <a:lnTo>
                  <a:pt x="298" y="45"/>
                </a:lnTo>
                <a:lnTo>
                  <a:pt x="292" y="40"/>
                </a:lnTo>
                <a:lnTo>
                  <a:pt x="289" y="33"/>
                </a:lnTo>
                <a:lnTo>
                  <a:pt x="287" y="23"/>
                </a:lnTo>
                <a:lnTo>
                  <a:pt x="287" y="23"/>
                </a:lnTo>
                <a:lnTo>
                  <a:pt x="287" y="22"/>
                </a:lnTo>
                <a:lnTo>
                  <a:pt x="287" y="22"/>
                </a:lnTo>
                <a:lnTo>
                  <a:pt x="272" y="27"/>
                </a:lnTo>
                <a:lnTo>
                  <a:pt x="252" y="33"/>
                </a:lnTo>
                <a:lnTo>
                  <a:pt x="228" y="38"/>
                </a:lnTo>
                <a:lnTo>
                  <a:pt x="205" y="40"/>
                </a:lnTo>
                <a:lnTo>
                  <a:pt x="205" y="40"/>
                </a:lnTo>
                <a:lnTo>
                  <a:pt x="161" y="38"/>
                </a:lnTo>
                <a:lnTo>
                  <a:pt x="139" y="36"/>
                </a:lnTo>
                <a:lnTo>
                  <a:pt x="117" y="33"/>
                </a:lnTo>
                <a:lnTo>
                  <a:pt x="95" y="29"/>
                </a:lnTo>
                <a:lnTo>
                  <a:pt x="73" y="22"/>
                </a:lnTo>
                <a:lnTo>
                  <a:pt x="51" y="14"/>
                </a:lnTo>
                <a:lnTo>
                  <a:pt x="31" y="7"/>
                </a:lnTo>
                <a:lnTo>
                  <a:pt x="31" y="7"/>
                </a:lnTo>
                <a:lnTo>
                  <a:pt x="15" y="0"/>
                </a:lnTo>
                <a:lnTo>
                  <a:pt x="15" y="0"/>
                </a:lnTo>
                <a:lnTo>
                  <a:pt x="15" y="1"/>
                </a:lnTo>
                <a:lnTo>
                  <a:pt x="15" y="5"/>
                </a:lnTo>
                <a:lnTo>
                  <a:pt x="18" y="14"/>
                </a:lnTo>
                <a:lnTo>
                  <a:pt x="25" y="25"/>
                </a:lnTo>
                <a:lnTo>
                  <a:pt x="25" y="25"/>
                </a:lnTo>
                <a:lnTo>
                  <a:pt x="16" y="23"/>
                </a:lnTo>
                <a:lnTo>
                  <a:pt x="7" y="27"/>
                </a:lnTo>
                <a:lnTo>
                  <a:pt x="7" y="27"/>
                </a:lnTo>
                <a:lnTo>
                  <a:pt x="2" y="31"/>
                </a:lnTo>
                <a:lnTo>
                  <a:pt x="0" y="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87" name="Freeform 38"/>
          <p:cNvSpPr>
            <a:spLocks/>
          </p:cNvSpPr>
          <p:nvPr userDrawn="1"/>
        </p:nvSpPr>
        <p:spPr bwMode="auto">
          <a:xfrm>
            <a:off x="8270875" y="-618703"/>
            <a:ext cx="282575" cy="201613"/>
          </a:xfrm>
          <a:custGeom>
            <a:avLst/>
            <a:gdLst>
              <a:gd name="T0" fmla="*/ 326 w 357"/>
              <a:gd name="T1" fmla="*/ 20 h 253"/>
              <a:gd name="T2" fmla="*/ 320 w 357"/>
              <a:gd name="T3" fmla="*/ 3 h 253"/>
              <a:gd name="T4" fmla="*/ 311 w 357"/>
              <a:gd name="T5" fmla="*/ 0 h 253"/>
              <a:gd name="T6" fmla="*/ 227 w 357"/>
              <a:gd name="T7" fmla="*/ 40 h 253"/>
              <a:gd name="T8" fmla="*/ 207 w 357"/>
              <a:gd name="T9" fmla="*/ 53 h 253"/>
              <a:gd name="T10" fmla="*/ 176 w 357"/>
              <a:gd name="T11" fmla="*/ 53 h 253"/>
              <a:gd name="T12" fmla="*/ 181 w 357"/>
              <a:gd name="T13" fmla="*/ 71 h 253"/>
              <a:gd name="T14" fmla="*/ 172 w 357"/>
              <a:gd name="T15" fmla="*/ 78 h 253"/>
              <a:gd name="T16" fmla="*/ 181 w 357"/>
              <a:gd name="T17" fmla="*/ 93 h 253"/>
              <a:gd name="T18" fmla="*/ 198 w 357"/>
              <a:gd name="T19" fmla="*/ 91 h 253"/>
              <a:gd name="T20" fmla="*/ 189 w 357"/>
              <a:gd name="T21" fmla="*/ 115 h 253"/>
              <a:gd name="T22" fmla="*/ 147 w 357"/>
              <a:gd name="T23" fmla="*/ 146 h 253"/>
              <a:gd name="T24" fmla="*/ 101 w 357"/>
              <a:gd name="T25" fmla="*/ 155 h 253"/>
              <a:gd name="T26" fmla="*/ 79 w 357"/>
              <a:gd name="T27" fmla="*/ 137 h 253"/>
              <a:gd name="T28" fmla="*/ 68 w 357"/>
              <a:gd name="T29" fmla="*/ 126 h 253"/>
              <a:gd name="T30" fmla="*/ 50 w 357"/>
              <a:gd name="T31" fmla="*/ 126 h 253"/>
              <a:gd name="T32" fmla="*/ 28 w 357"/>
              <a:gd name="T33" fmla="*/ 137 h 253"/>
              <a:gd name="T34" fmla="*/ 48 w 357"/>
              <a:gd name="T35" fmla="*/ 140 h 253"/>
              <a:gd name="T36" fmla="*/ 44 w 357"/>
              <a:gd name="T37" fmla="*/ 149 h 253"/>
              <a:gd name="T38" fmla="*/ 75 w 357"/>
              <a:gd name="T39" fmla="*/ 169 h 253"/>
              <a:gd name="T40" fmla="*/ 75 w 357"/>
              <a:gd name="T41" fmla="*/ 171 h 253"/>
              <a:gd name="T42" fmla="*/ 39 w 357"/>
              <a:gd name="T43" fmla="*/ 160 h 253"/>
              <a:gd name="T44" fmla="*/ 28 w 357"/>
              <a:gd name="T45" fmla="*/ 164 h 253"/>
              <a:gd name="T46" fmla="*/ 8 w 357"/>
              <a:gd name="T47" fmla="*/ 171 h 253"/>
              <a:gd name="T48" fmla="*/ 2 w 357"/>
              <a:gd name="T49" fmla="*/ 193 h 253"/>
              <a:gd name="T50" fmla="*/ 17 w 357"/>
              <a:gd name="T51" fmla="*/ 180 h 253"/>
              <a:gd name="T52" fmla="*/ 22 w 357"/>
              <a:gd name="T53" fmla="*/ 188 h 253"/>
              <a:gd name="T54" fmla="*/ 26 w 357"/>
              <a:gd name="T55" fmla="*/ 197 h 253"/>
              <a:gd name="T56" fmla="*/ 66 w 357"/>
              <a:gd name="T57" fmla="*/ 195 h 253"/>
              <a:gd name="T58" fmla="*/ 75 w 357"/>
              <a:gd name="T59" fmla="*/ 197 h 253"/>
              <a:gd name="T60" fmla="*/ 39 w 357"/>
              <a:gd name="T61" fmla="*/ 206 h 253"/>
              <a:gd name="T62" fmla="*/ 37 w 357"/>
              <a:gd name="T63" fmla="*/ 213 h 253"/>
              <a:gd name="T64" fmla="*/ 28 w 357"/>
              <a:gd name="T65" fmla="*/ 233 h 253"/>
              <a:gd name="T66" fmla="*/ 35 w 357"/>
              <a:gd name="T67" fmla="*/ 248 h 253"/>
              <a:gd name="T68" fmla="*/ 41 w 357"/>
              <a:gd name="T69" fmla="*/ 244 h 253"/>
              <a:gd name="T70" fmla="*/ 42 w 357"/>
              <a:gd name="T71" fmla="*/ 235 h 253"/>
              <a:gd name="T72" fmla="*/ 55 w 357"/>
              <a:gd name="T73" fmla="*/ 243 h 253"/>
              <a:gd name="T74" fmla="*/ 72 w 357"/>
              <a:gd name="T75" fmla="*/ 232 h 253"/>
              <a:gd name="T76" fmla="*/ 94 w 357"/>
              <a:gd name="T77" fmla="*/ 213 h 253"/>
              <a:gd name="T78" fmla="*/ 108 w 357"/>
              <a:gd name="T79" fmla="*/ 211 h 253"/>
              <a:gd name="T80" fmla="*/ 110 w 357"/>
              <a:gd name="T81" fmla="*/ 222 h 253"/>
              <a:gd name="T82" fmla="*/ 115 w 357"/>
              <a:gd name="T83" fmla="*/ 233 h 253"/>
              <a:gd name="T84" fmla="*/ 114 w 357"/>
              <a:gd name="T85" fmla="*/ 243 h 253"/>
              <a:gd name="T86" fmla="*/ 136 w 357"/>
              <a:gd name="T87" fmla="*/ 224 h 253"/>
              <a:gd name="T88" fmla="*/ 141 w 357"/>
              <a:gd name="T89" fmla="*/ 219 h 253"/>
              <a:gd name="T90" fmla="*/ 145 w 357"/>
              <a:gd name="T91" fmla="*/ 211 h 253"/>
              <a:gd name="T92" fmla="*/ 147 w 357"/>
              <a:gd name="T93" fmla="*/ 200 h 253"/>
              <a:gd name="T94" fmla="*/ 167 w 357"/>
              <a:gd name="T95" fmla="*/ 193 h 253"/>
              <a:gd name="T96" fmla="*/ 170 w 357"/>
              <a:gd name="T97" fmla="*/ 180 h 253"/>
              <a:gd name="T98" fmla="*/ 181 w 357"/>
              <a:gd name="T99" fmla="*/ 179 h 253"/>
              <a:gd name="T100" fmla="*/ 199 w 357"/>
              <a:gd name="T101" fmla="*/ 197 h 253"/>
              <a:gd name="T102" fmla="*/ 231 w 357"/>
              <a:gd name="T103" fmla="*/ 182 h 253"/>
              <a:gd name="T104" fmla="*/ 227 w 357"/>
              <a:gd name="T105" fmla="*/ 169 h 253"/>
              <a:gd name="T106" fmla="*/ 223 w 357"/>
              <a:gd name="T107" fmla="*/ 155 h 253"/>
              <a:gd name="T108" fmla="*/ 245 w 357"/>
              <a:gd name="T109" fmla="*/ 173 h 253"/>
              <a:gd name="T110" fmla="*/ 276 w 357"/>
              <a:gd name="T111" fmla="*/ 155 h 253"/>
              <a:gd name="T112" fmla="*/ 273 w 357"/>
              <a:gd name="T113" fmla="*/ 149 h 253"/>
              <a:gd name="T114" fmla="*/ 263 w 357"/>
              <a:gd name="T115" fmla="*/ 131 h 253"/>
              <a:gd name="T116" fmla="*/ 262 w 357"/>
              <a:gd name="T117" fmla="*/ 115 h 253"/>
              <a:gd name="T118" fmla="*/ 262 w 357"/>
              <a:gd name="T119" fmla="*/ 98 h 253"/>
              <a:gd name="T120" fmla="*/ 353 w 357"/>
              <a:gd name="T121" fmla="*/ 45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7" h="253">
                <a:moveTo>
                  <a:pt x="344" y="31"/>
                </a:moveTo>
                <a:lnTo>
                  <a:pt x="344" y="31"/>
                </a:lnTo>
                <a:lnTo>
                  <a:pt x="335" y="23"/>
                </a:lnTo>
                <a:lnTo>
                  <a:pt x="326" y="20"/>
                </a:lnTo>
                <a:lnTo>
                  <a:pt x="309" y="12"/>
                </a:lnTo>
                <a:lnTo>
                  <a:pt x="309" y="12"/>
                </a:lnTo>
                <a:lnTo>
                  <a:pt x="316" y="7"/>
                </a:lnTo>
                <a:lnTo>
                  <a:pt x="320" y="3"/>
                </a:lnTo>
                <a:lnTo>
                  <a:pt x="320" y="1"/>
                </a:lnTo>
                <a:lnTo>
                  <a:pt x="320" y="1"/>
                </a:lnTo>
                <a:lnTo>
                  <a:pt x="315" y="0"/>
                </a:lnTo>
                <a:lnTo>
                  <a:pt x="311" y="0"/>
                </a:lnTo>
                <a:lnTo>
                  <a:pt x="311" y="0"/>
                </a:lnTo>
                <a:lnTo>
                  <a:pt x="280" y="12"/>
                </a:lnTo>
                <a:lnTo>
                  <a:pt x="252" y="25"/>
                </a:lnTo>
                <a:lnTo>
                  <a:pt x="227" y="40"/>
                </a:lnTo>
                <a:lnTo>
                  <a:pt x="209" y="53"/>
                </a:lnTo>
                <a:lnTo>
                  <a:pt x="209" y="53"/>
                </a:lnTo>
                <a:lnTo>
                  <a:pt x="207" y="53"/>
                </a:lnTo>
                <a:lnTo>
                  <a:pt x="207" y="53"/>
                </a:lnTo>
                <a:lnTo>
                  <a:pt x="201" y="56"/>
                </a:lnTo>
                <a:lnTo>
                  <a:pt x="196" y="56"/>
                </a:lnTo>
                <a:lnTo>
                  <a:pt x="185" y="54"/>
                </a:lnTo>
                <a:lnTo>
                  <a:pt x="176" y="53"/>
                </a:lnTo>
                <a:lnTo>
                  <a:pt x="174" y="51"/>
                </a:lnTo>
                <a:lnTo>
                  <a:pt x="170" y="67"/>
                </a:lnTo>
                <a:lnTo>
                  <a:pt x="170" y="67"/>
                </a:lnTo>
                <a:lnTo>
                  <a:pt x="181" y="71"/>
                </a:lnTo>
                <a:lnTo>
                  <a:pt x="189" y="74"/>
                </a:lnTo>
                <a:lnTo>
                  <a:pt x="189" y="74"/>
                </a:lnTo>
                <a:lnTo>
                  <a:pt x="178" y="76"/>
                </a:lnTo>
                <a:lnTo>
                  <a:pt x="172" y="78"/>
                </a:lnTo>
                <a:lnTo>
                  <a:pt x="168" y="82"/>
                </a:lnTo>
                <a:lnTo>
                  <a:pt x="174" y="96"/>
                </a:lnTo>
                <a:lnTo>
                  <a:pt x="174" y="96"/>
                </a:lnTo>
                <a:lnTo>
                  <a:pt x="181" y="93"/>
                </a:lnTo>
                <a:lnTo>
                  <a:pt x="189" y="91"/>
                </a:lnTo>
                <a:lnTo>
                  <a:pt x="198" y="89"/>
                </a:lnTo>
                <a:lnTo>
                  <a:pt x="198" y="89"/>
                </a:lnTo>
                <a:lnTo>
                  <a:pt x="198" y="91"/>
                </a:lnTo>
                <a:lnTo>
                  <a:pt x="198" y="91"/>
                </a:lnTo>
                <a:lnTo>
                  <a:pt x="198" y="98"/>
                </a:lnTo>
                <a:lnTo>
                  <a:pt x="194" y="105"/>
                </a:lnTo>
                <a:lnTo>
                  <a:pt x="189" y="115"/>
                </a:lnTo>
                <a:lnTo>
                  <a:pt x="181" y="122"/>
                </a:lnTo>
                <a:lnTo>
                  <a:pt x="165" y="137"/>
                </a:lnTo>
                <a:lnTo>
                  <a:pt x="156" y="142"/>
                </a:lnTo>
                <a:lnTo>
                  <a:pt x="147" y="146"/>
                </a:lnTo>
                <a:lnTo>
                  <a:pt x="147" y="146"/>
                </a:lnTo>
                <a:lnTo>
                  <a:pt x="128" y="151"/>
                </a:lnTo>
                <a:lnTo>
                  <a:pt x="112" y="155"/>
                </a:lnTo>
                <a:lnTo>
                  <a:pt x="101" y="155"/>
                </a:lnTo>
                <a:lnTo>
                  <a:pt x="95" y="153"/>
                </a:lnTo>
                <a:lnTo>
                  <a:pt x="95" y="153"/>
                </a:lnTo>
                <a:lnTo>
                  <a:pt x="84" y="144"/>
                </a:lnTo>
                <a:lnTo>
                  <a:pt x="79" y="137"/>
                </a:lnTo>
                <a:lnTo>
                  <a:pt x="73" y="129"/>
                </a:lnTo>
                <a:lnTo>
                  <a:pt x="72" y="126"/>
                </a:lnTo>
                <a:lnTo>
                  <a:pt x="68" y="126"/>
                </a:lnTo>
                <a:lnTo>
                  <a:pt x="68" y="126"/>
                </a:lnTo>
                <a:lnTo>
                  <a:pt x="64" y="126"/>
                </a:lnTo>
                <a:lnTo>
                  <a:pt x="61" y="127"/>
                </a:lnTo>
                <a:lnTo>
                  <a:pt x="61" y="127"/>
                </a:lnTo>
                <a:lnTo>
                  <a:pt x="50" y="126"/>
                </a:lnTo>
                <a:lnTo>
                  <a:pt x="41" y="127"/>
                </a:lnTo>
                <a:lnTo>
                  <a:pt x="33" y="131"/>
                </a:lnTo>
                <a:lnTo>
                  <a:pt x="30" y="133"/>
                </a:lnTo>
                <a:lnTo>
                  <a:pt x="28" y="137"/>
                </a:lnTo>
                <a:lnTo>
                  <a:pt x="28" y="137"/>
                </a:lnTo>
                <a:lnTo>
                  <a:pt x="41" y="137"/>
                </a:lnTo>
                <a:lnTo>
                  <a:pt x="48" y="138"/>
                </a:lnTo>
                <a:lnTo>
                  <a:pt x="48" y="140"/>
                </a:lnTo>
                <a:lnTo>
                  <a:pt x="46" y="142"/>
                </a:lnTo>
                <a:lnTo>
                  <a:pt x="46" y="142"/>
                </a:lnTo>
                <a:lnTo>
                  <a:pt x="42" y="146"/>
                </a:lnTo>
                <a:lnTo>
                  <a:pt x="44" y="149"/>
                </a:lnTo>
                <a:lnTo>
                  <a:pt x="46" y="153"/>
                </a:lnTo>
                <a:lnTo>
                  <a:pt x="52" y="157"/>
                </a:lnTo>
                <a:lnTo>
                  <a:pt x="75" y="169"/>
                </a:lnTo>
                <a:lnTo>
                  <a:pt x="75" y="169"/>
                </a:lnTo>
                <a:lnTo>
                  <a:pt x="75" y="169"/>
                </a:lnTo>
                <a:lnTo>
                  <a:pt x="75" y="171"/>
                </a:lnTo>
                <a:lnTo>
                  <a:pt x="75" y="171"/>
                </a:lnTo>
                <a:lnTo>
                  <a:pt x="75" y="171"/>
                </a:lnTo>
                <a:lnTo>
                  <a:pt x="68" y="171"/>
                </a:lnTo>
                <a:lnTo>
                  <a:pt x="59" y="168"/>
                </a:lnTo>
                <a:lnTo>
                  <a:pt x="39" y="160"/>
                </a:lnTo>
                <a:lnTo>
                  <a:pt x="39" y="160"/>
                </a:lnTo>
                <a:lnTo>
                  <a:pt x="35" y="160"/>
                </a:lnTo>
                <a:lnTo>
                  <a:pt x="31" y="160"/>
                </a:lnTo>
                <a:lnTo>
                  <a:pt x="28" y="164"/>
                </a:lnTo>
                <a:lnTo>
                  <a:pt x="28" y="164"/>
                </a:lnTo>
                <a:lnTo>
                  <a:pt x="24" y="164"/>
                </a:lnTo>
                <a:lnTo>
                  <a:pt x="19" y="164"/>
                </a:lnTo>
                <a:lnTo>
                  <a:pt x="11" y="168"/>
                </a:lnTo>
                <a:lnTo>
                  <a:pt x="8" y="171"/>
                </a:lnTo>
                <a:lnTo>
                  <a:pt x="2" y="175"/>
                </a:lnTo>
                <a:lnTo>
                  <a:pt x="0" y="180"/>
                </a:lnTo>
                <a:lnTo>
                  <a:pt x="0" y="186"/>
                </a:lnTo>
                <a:lnTo>
                  <a:pt x="2" y="193"/>
                </a:lnTo>
                <a:lnTo>
                  <a:pt x="2" y="193"/>
                </a:lnTo>
                <a:lnTo>
                  <a:pt x="8" y="186"/>
                </a:lnTo>
                <a:lnTo>
                  <a:pt x="13" y="180"/>
                </a:lnTo>
                <a:lnTo>
                  <a:pt x="17" y="180"/>
                </a:lnTo>
                <a:lnTo>
                  <a:pt x="20" y="180"/>
                </a:lnTo>
                <a:lnTo>
                  <a:pt x="20" y="180"/>
                </a:lnTo>
                <a:lnTo>
                  <a:pt x="22" y="182"/>
                </a:lnTo>
                <a:lnTo>
                  <a:pt x="22" y="188"/>
                </a:lnTo>
                <a:lnTo>
                  <a:pt x="22" y="191"/>
                </a:lnTo>
                <a:lnTo>
                  <a:pt x="24" y="195"/>
                </a:lnTo>
                <a:lnTo>
                  <a:pt x="26" y="197"/>
                </a:lnTo>
                <a:lnTo>
                  <a:pt x="26" y="197"/>
                </a:lnTo>
                <a:lnTo>
                  <a:pt x="30" y="199"/>
                </a:lnTo>
                <a:lnTo>
                  <a:pt x="37" y="199"/>
                </a:lnTo>
                <a:lnTo>
                  <a:pt x="52" y="197"/>
                </a:lnTo>
                <a:lnTo>
                  <a:pt x="66" y="195"/>
                </a:lnTo>
                <a:lnTo>
                  <a:pt x="73" y="195"/>
                </a:lnTo>
                <a:lnTo>
                  <a:pt x="75" y="195"/>
                </a:lnTo>
                <a:lnTo>
                  <a:pt x="75" y="195"/>
                </a:lnTo>
                <a:lnTo>
                  <a:pt x="75" y="197"/>
                </a:lnTo>
                <a:lnTo>
                  <a:pt x="72" y="199"/>
                </a:lnTo>
                <a:lnTo>
                  <a:pt x="59" y="200"/>
                </a:lnTo>
                <a:lnTo>
                  <a:pt x="44" y="202"/>
                </a:lnTo>
                <a:lnTo>
                  <a:pt x="39" y="206"/>
                </a:lnTo>
                <a:lnTo>
                  <a:pt x="37" y="208"/>
                </a:lnTo>
                <a:lnTo>
                  <a:pt x="37" y="208"/>
                </a:lnTo>
                <a:lnTo>
                  <a:pt x="37" y="213"/>
                </a:lnTo>
                <a:lnTo>
                  <a:pt x="37" y="213"/>
                </a:lnTo>
                <a:lnTo>
                  <a:pt x="37" y="215"/>
                </a:lnTo>
                <a:lnTo>
                  <a:pt x="33" y="219"/>
                </a:lnTo>
                <a:lnTo>
                  <a:pt x="30" y="226"/>
                </a:lnTo>
                <a:lnTo>
                  <a:pt x="28" y="233"/>
                </a:lnTo>
                <a:lnTo>
                  <a:pt x="28" y="233"/>
                </a:lnTo>
                <a:lnTo>
                  <a:pt x="28" y="237"/>
                </a:lnTo>
                <a:lnTo>
                  <a:pt x="30" y="243"/>
                </a:lnTo>
                <a:lnTo>
                  <a:pt x="35" y="248"/>
                </a:lnTo>
                <a:lnTo>
                  <a:pt x="41" y="253"/>
                </a:lnTo>
                <a:lnTo>
                  <a:pt x="41" y="253"/>
                </a:lnTo>
                <a:lnTo>
                  <a:pt x="42" y="252"/>
                </a:lnTo>
                <a:lnTo>
                  <a:pt x="41" y="244"/>
                </a:lnTo>
                <a:lnTo>
                  <a:pt x="41" y="239"/>
                </a:lnTo>
                <a:lnTo>
                  <a:pt x="42" y="237"/>
                </a:lnTo>
                <a:lnTo>
                  <a:pt x="42" y="235"/>
                </a:lnTo>
                <a:lnTo>
                  <a:pt x="42" y="235"/>
                </a:lnTo>
                <a:lnTo>
                  <a:pt x="46" y="235"/>
                </a:lnTo>
                <a:lnTo>
                  <a:pt x="48" y="237"/>
                </a:lnTo>
                <a:lnTo>
                  <a:pt x="52" y="241"/>
                </a:lnTo>
                <a:lnTo>
                  <a:pt x="55" y="243"/>
                </a:lnTo>
                <a:lnTo>
                  <a:pt x="55" y="243"/>
                </a:lnTo>
                <a:lnTo>
                  <a:pt x="59" y="241"/>
                </a:lnTo>
                <a:lnTo>
                  <a:pt x="62" y="239"/>
                </a:lnTo>
                <a:lnTo>
                  <a:pt x="72" y="232"/>
                </a:lnTo>
                <a:lnTo>
                  <a:pt x="81" y="222"/>
                </a:lnTo>
                <a:lnTo>
                  <a:pt x="86" y="217"/>
                </a:lnTo>
                <a:lnTo>
                  <a:pt x="94" y="213"/>
                </a:lnTo>
                <a:lnTo>
                  <a:pt x="94" y="213"/>
                </a:lnTo>
                <a:lnTo>
                  <a:pt x="103" y="210"/>
                </a:lnTo>
                <a:lnTo>
                  <a:pt x="106" y="208"/>
                </a:lnTo>
                <a:lnTo>
                  <a:pt x="108" y="210"/>
                </a:lnTo>
                <a:lnTo>
                  <a:pt x="108" y="211"/>
                </a:lnTo>
                <a:lnTo>
                  <a:pt x="108" y="217"/>
                </a:lnTo>
                <a:lnTo>
                  <a:pt x="108" y="221"/>
                </a:lnTo>
                <a:lnTo>
                  <a:pt x="110" y="222"/>
                </a:lnTo>
                <a:lnTo>
                  <a:pt x="110" y="222"/>
                </a:lnTo>
                <a:lnTo>
                  <a:pt x="115" y="224"/>
                </a:lnTo>
                <a:lnTo>
                  <a:pt x="117" y="226"/>
                </a:lnTo>
                <a:lnTo>
                  <a:pt x="117" y="230"/>
                </a:lnTo>
                <a:lnTo>
                  <a:pt x="115" y="233"/>
                </a:lnTo>
                <a:lnTo>
                  <a:pt x="112" y="239"/>
                </a:lnTo>
                <a:lnTo>
                  <a:pt x="108" y="243"/>
                </a:lnTo>
                <a:lnTo>
                  <a:pt x="108" y="243"/>
                </a:lnTo>
                <a:lnTo>
                  <a:pt x="114" y="243"/>
                </a:lnTo>
                <a:lnTo>
                  <a:pt x="121" y="241"/>
                </a:lnTo>
                <a:lnTo>
                  <a:pt x="128" y="233"/>
                </a:lnTo>
                <a:lnTo>
                  <a:pt x="132" y="230"/>
                </a:lnTo>
                <a:lnTo>
                  <a:pt x="136" y="224"/>
                </a:lnTo>
                <a:lnTo>
                  <a:pt x="136" y="224"/>
                </a:lnTo>
                <a:lnTo>
                  <a:pt x="136" y="221"/>
                </a:lnTo>
                <a:lnTo>
                  <a:pt x="137" y="221"/>
                </a:lnTo>
                <a:lnTo>
                  <a:pt x="141" y="219"/>
                </a:lnTo>
                <a:lnTo>
                  <a:pt x="143" y="217"/>
                </a:lnTo>
                <a:lnTo>
                  <a:pt x="143" y="217"/>
                </a:lnTo>
                <a:lnTo>
                  <a:pt x="145" y="215"/>
                </a:lnTo>
                <a:lnTo>
                  <a:pt x="145" y="211"/>
                </a:lnTo>
                <a:lnTo>
                  <a:pt x="145" y="208"/>
                </a:lnTo>
                <a:lnTo>
                  <a:pt x="145" y="204"/>
                </a:lnTo>
                <a:lnTo>
                  <a:pt x="145" y="204"/>
                </a:lnTo>
                <a:lnTo>
                  <a:pt x="147" y="200"/>
                </a:lnTo>
                <a:lnTo>
                  <a:pt x="150" y="199"/>
                </a:lnTo>
                <a:lnTo>
                  <a:pt x="157" y="197"/>
                </a:lnTo>
                <a:lnTo>
                  <a:pt x="165" y="195"/>
                </a:lnTo>
                <a:lnTo>
                  <a:pt x="167" y="193"/>
                </a:lnTo>
                <a:lnTo>
                  <a:pt x="167" y="191"/>
                </a:lnTo>
                <a:lnTo>
                  <a:pt x="167" y="191"/>
                </a:lnTo>
                <a:lnTo>
                  <a:pt x="167" y="186"/>
                </a:lnTo>
                <a:lnTo>
                  <a:pt x="170" y="180"/>
                </a:lnTo>
                <a:lnTo>
                  <a:pt x="176" y="179"/>
                </a:lnTo>
                <a:lnTo>
                  <a:pt x="179" y="177"/>
                </a:lnTo>
                <a:lnTo>
                  <a:pt x="179" y="177"/>
                </a:lnTo>
                <a:lnTo>
                  <a:pt x="181" y="179"/>
                </a:lnTo>
                <a:lnTo>
                  <a:pt x="183" y="184"/>
                </a:lnTo>
                <a:lnTo>
                  <a:pt x="189" y="190"/>
                </a:lnTo>
                <a:lnTo>
                  <a:pt x="194" y="193"/>
                </a:lnTo>
                <a:lnTo>
                  <a:pt x="199" y="197"/>
                </a:lnTo>
                <a:lnTo>
                  <a:pt x="199" y="197"/>
                </a:lnTo>
                <a:lnTo>
                  <a:pt x="221" y="186"/>
                </a:lnTo>
                <a:lnTo>
                  <a:pt x="221" y="186"/>
                </a:lnTo>
                <a:lnTo>
                  <a:pt x="231" y="182"/>
                </a:lnTo>
                <a:lnTo>
                  <a:pt x="234" y="179"/>
                </a:lnTo>
                <a:lnTo>
                  <a:pt x="234" y="179"/>
                </a:lnTo>
                <a:lnTo>
                  <a:pt x="231" y="173"/>
                </a:lnTo>
                <a:lnTo>
                  <a:pt x="227" y="169"/>
                </a:lnTo>
                <a:lnTo>
                  <a:pt x="225" y="164"/>
                </a:lnTo>
                <a:lnTo>
                  <a:pt x="225" y="164"/>
                </a:lnTo>
                <a:lnTo>
                  <a:pt x="223" y="158"/>
                </a:lnTo>
                <a:lnTo>
                  <a:pt x="223" y="155"/>
                </a:lnTo>
                <a:lnTo>
                  <a:pt x="223" y="155"/>
                </a:lnTo>
                <a:lnTo>
                  <a:pt x="229" y="162"/>
                </a:lnTo>
                <a:lnTo>
                  <a:pt x="236" y="168"/>
                </a:lnTo>
                <a:lnTo>
                  <a:pt x="245" y="173"/>
                </a:lnTo>
                <a:lnTo>
                  <a:pt x="245" y="173"/>
                </a:lnTo>
                <a:lnTo>
                  <a:pt x="271" y="157"/>
                </a:lnTo>
                <a:lnTo>
                  <a:pt x="271" y="157"/>
                </a:lnTo>
                <a:lnTo>
                  <a:pt x="276" y="155"/>
                </a:lnTo>
                <a:lnTo>
                  <a:pt x="276" y="155"/>
                </a:lnTo>
                <a:lnTo>
                  <a:pt x="276" y="155"/>
                </a:lnTo>
                <a:lnTo>
                  <a:pt x="276" y="155"/>
                </a:lnTo>
                <a:lnTo>
                  <a:pt x="273" y="149"/>
                </a:lnTo>
                <a:lnTo>
                  <a:pt x="267" y="144"/>
                </a:lnTo>
                <a:lnTo>
                  <a:pt x="262" y="137"/>
                </a:lnTo>
                <a:lnTo>
                  <a:pt x="262" y="133"/>
                </a:lnTo>
                <a:lnTo>
                  <a:pt x="263" y="131"/>
                </a:lnTo>
                <a:lnTo>
                  <a:pt x="263" y="131"/>
                </a:lnTo>
                <a:lnTo>
                  <a:pt x="265" y="129"/>
                </a:lnTo>
                <a:lnTo>
                  <a:pt x="265" y="126"/>
                </a:lnTo>
                <a:lnTo>
                  <a:pt x="262" y="115"/>
                </a:lnTo>
                <a:lnTo>
                  <a:pt x="258" y="105"/>
                </a:lnTo>
                <a:lnTo>
                  <a:pt x="258" y="100"/>
                </a:lnTo>
                <a:lnTo>
                  <a:pt x="262" y="98"/>
                </a:lnTo>
                <a:lnTo>
                  <a:pt x="262" y="98"/>
                </a:lnTo>
                <a:lnTo>
                  <a:pt x="313" y="73"/>
                </a:lnTo>
                <a:lnTo>
                  <a:pt x="357" y="51"/>
                </a:lnTo>
                <a:lnTo>
                  <a:pt x="357" y="51"/>
                </a:lnTo>
                <a:lnTo>
                  <a:pt x="353" y="45"/>
                </a:lnTo>
                <a:lnTo>
                  <a:pt x="349" y="38"/>
                </a:lnTo>
                <a:lnTo>
                  <a:pt x="344" y="3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88" name="Freeform 39"/>
          <p:cNvSpPr>
            <a:spLocks/>
          </p:cNvSpPr>
          <p:nvPr userDrawn="1"/>
        </p:nvSpPr>
        <p:spPr bwMode="auto">
          <a:xfrm>
            <a:off x="8229600" y="-437728"/>
            <a:ext cx="120650" cy="115888"/>
          </a:xfrm>
          <a:custGeom>
            <a:avLst/>
            <a:gdLst>
              <a:gd name="T0" fmla="*/ 0 w 152"/>
              <a:gd name="T1" fmla="*/ 42 h 144"/>
              <a:gd name="T2" fmla="*/ 2 w 152"/>
              <a:gd name="T3" fmla="*/ 51 h 144"/>
              <a:gd name="T4" fmla="*/ 4 w 152"/>
              <a:gd name="T5" fmla="*/ 57 h 144"/>
              <a:gd name="T6" fmla="*/ 15 w 152"/>
              <a:gd name="T7" fmla="*/ 60 h 144"/>
              <a:gd name="T8" fmla="*/ 18 w 152"/>
              <a:gd name="T9" fmla="*/ 58 h 144"/>
              <a:gd name="T10" fmla="*/ 20 w 152"/>
              <a:gd name="T11" fmla="*/ 51 h 144"/>
              <a:gd name="T12" fmla="*/ 22 w 152"/>
              <a:gd name="T13" fmla="*/ 44 h 144"/>
              <a:gd name="T14" fmla="*/ 24 w 152"/>
              <a:gd name="T15" fmla="*/ 42 h 144"/>
              <a:gd name="T16" fmla="*/ 26 w 152"/>
              <a:gd name="T17" fmla="*/ 42 h 144"/>
              <a:gd name="T18" fmla="*/ 28 w 152"/>
              <a:gd name="T19" fmla="*/ 40 h 144"/>
              <a:gd name="T20" fmla="*/ 68 w 152"/>
              <a:gd name="T21" fmla="*/ 60 h 144"/>
              <a:gd name="T22" fmla="*/ 106 w 152"/>
              <a:gd name="T23" fmla="*/ 86 h 144"/>
              <a:gd name="T24" fmla="*/ 112 w 152"/>
              <a:gd name="T25" fmla="*/ 89 h 144"/>
              <a:gd name="T26" fmla="*/ 106 w 152"/>
              <a:gd name="T27" fmla="*/ 100 h 144"/>
              <a:gd name="T28" fmla="*/ 95 w 152"/>
              <a:gd name="T29" fmla="*/ 128 h 144"/>
              <a:gd name="T30" fmla="*/ 93 w 152"/>
              <a:gd name="T31" fmla="*/ 135 h 144"/>
              <a:gd name="T32" fmla="*/ 97 w 152"/>
              <a:gd name="T33" fmla="*/ 142 h 144"/>
              <a:gd name="T34" fmla="*/ 104 w 152"/>
              <a:gd name="T35" fmla="*/ 144 h 144"/>
              <a:gd name="T36" fmla="*/ 110 w 152"/>
              <a:gd name="T37" fmla="*/ 144 h 144"/>
              <a:gd name="T38" fmla="*/ 117 w 152"/>
              <a:gd name="T39" fmla="*/ 139 h 144"/>
              <a:gd name="T40" fmla="*/ 119 w 152"/>
              <a:gd name="T41" fmla="*/ 135 h 144"/>
              <a:gd name="T42" fmla="*/ 119 w 152"/>
              <a:gd name="T43" fmla="*/ 130 h 144"/>
              <a:gd name="T44" fmla="*/ 112 w 152"/>
              <a:gd name="T45" fmla="*/ 122 h 144"/>
              <a:gd name="T46" fmla="*/ 110 w 152"/>
              <a:gd name="T47" fmla="*/ 122 h 144"/>
              <a:gd name="T48" fmla="*/ 115 w 152"/>
              <a:gd name="T49" fmla="*/ 110 h 144"/>
              <a:gd name="T50" fmla="*/ 123 w 152"/>
              <a:gd name="T51" fmla="*/ 93 h 144"/>
              <a:gd name="T52" fmla="*/ 132 w 152"/>
              <a:gd name="T53" fmla="*/ 86 h 144"/>
              <a:gd name="T54" fmla="*/ 141 w 152"/>
              <a:gd name="T55" fmla="*/ 84 h 144"/>
              <a:gd name="T56" fmla="*/ 139 w 152"/>
              <a:gd name="T57" fmla="*/ 80 h 144"/>
              <a:gd name="T58" fmla="*/ 135 w 152"/>
              <a:gd name="T59" fmla="*/ 69 h 144"/>
              <a:gd name="T60" fmla="*/ 137 w 152"/>
              <a:gd name="T61" fmla="*/ 57 h 144"/>
              <a:gd name="T62" fmla="*/ 141 w 152"/>
              <a:gd name="T63" fmla="*/ 49 h 144"/>
              <a:gd name="T64" fmla="*/ 152 w 152"/>
              <a:gd name="T65" fmla="*/ 18 h 144"/>
              <a:gd name="T66" fmla="*/ 152 w 152"/>
              <a:gd name="T67" fmla="*/ 13 h 144"/>
              <a:gd name="T68" fmla="*/ 146 w 152"/>
              <a:gd name="T69" fmla="*/ 5 h 144"/>
              <a:gd name="T70" fmla="*/ 141 w 152"/>
              <a:gd name="T71" fmla="*/ 4 h 144"/>
              <a:gd name="T72" fmla="*/ 132 w 152"/>
              <a:gd name="T73" fmla="*/ 7 h 144"/>
              <a:gd name="T74" fmla="*/ 128 w 152"/>
              <a:gd name="T75" fmla="*/ 15 h 144"/>
              <a:gd name="T76" fmla="*/ 128 w 152"/>
              <a:gd name="T77" fmla="*/ 20 h 144"/>
              <a:gd name="T78" fmla="*/ 134 w 152"/>
              <a:gd name="T79" fmla="*/ 27 h 144"/>
              <a:gd name="T80" fmla="*/ 137 w 152"/>
              <a:gd name="T81" fmla="*/ 29 h 144"/>
              <a:gd name="T82" fmla="*/ 132 w 152"/>
              <a:gd name="T83" fmla="*/ 46 h 144"/>
              <a:gd name="T84" fmla="*/ 124 w 152"/>
              <a:gd name="T85" fmla="*/ 55 h 144"/>
              <a:gd name="T86" fmla="*/ 117 w 152"/>
              <a:gd name="T87" fmla="*/ 51 h 144"/>
              <a:gd name="T88" fmla="*/ 60 w 152"/>
              <a:gd name="T89" fmla="*/ 24 h 144"/>
              <a:gd name="T90" fmla="*/ 40 w 152"/>
              <a:gd name="T91" fmla="*/ 18 h 144"/>
              <a:gd name="T92" fmla="*/ 42 w 152"/>
              <a:gd name="T93" fmla="*/ 13 h 144"/>
              <a:gd name="T94" fmla="*/ 50 w 152"/>
              <a:gd name="T95" fmla="*/ 0 h 144"/>
              <a:gd name="T96" fmla="*/ 46 w 152"/>
              <a:gd name="T97" fmla="*/ 2 h 144"/>
              <a:gd name="T98" fmla="*/ 39 w 152"/>
              <a:gd name="T99" fmla="*/ 5 h 144"/>
              <a:gd name="T100" fmla="*/ 24 w 152"/>
              <a:gd name="T101" fmla="*/ 11 h 144"/>
              <a:gd name="T102" fmla="*/ 18 w 152"/>
              <a:gd name="T103" fmla="*/ 11 h 144"/>
              <a:gd name="T104" fmla="*/ 15 w 152"/>
              <a:gd name="T105" fmla="*/ 11 h 144"/>
              <a:gd name="T106" fmla="*/ 9 w 152"/>
              <a:gd name="T107" fmla="*/ 22 h 144"/>
              <a:gd name="T108" fmla="*/ 6 w 152"/>
              <a:gd name="T109" fmla="*/ 33 h 144"/>
              <a:gd name="T110" fmla="*/ 2 w 152"/>
              <a:gd name="T111" fmla="*/ 3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2" h="144">
                <a:moveTo>
                  <a:pt x="0" y="42"/>
                </a:moveTo>
                <a:lnTo>
                  <a:pt x="0" y="42"/>
                </a:lnTo>
                <a:lnTo>
                  <a:pt x="0" y="47"/>
                </a:lnTo>
                <a:lnTo>
                  <a:pt x="2" y="51"/>
                </a:lnTo>
                <a:lnTo>
                  <a:pt x="4" y="57"/>
                </a:lnTo>
                <a:lnTo>
                  <a:pt x="4" y="57"/>
                </a:lnTo>
                <a:lnTo>
                  <a:pt x="11" y="58"/>
                </a:lnTo>
                <a:lnTo>
                  <a:pt x="15" y="60"/>
                </a:lnTo>
                <a:lnTo>
                  <a:pt x="18" y="58"/>
                </a:lnTo>
                <a:lnTo>
                  <a:pt x="18" y="58"/>
                </a:lnTo>
                <a:lnTo>
                  <a:pt x="20" y="55"/>
                </a:lnTo>
                <a:lnTo>
                  <a:pt x="20" y="51"/>
                </a:lnTo>
                <a:lnTo>
                  <a:pt x="20" y="47"/>
                </a:lnTo>
                <a:lnTo>
                  <a:pt x="22" y="44"/>
                </a:lnTo>
                <a:lnTo>
                  <a:pt x="22" y="44"/>
                </a:lnTo>
                <a:lnTo>
                  <a:pt x="24" y="42"/>
                </a:lnTo>
                <a:lnTo>
                  <a:pt x="26" y="42"/>
                </a:lnTo>
                <a:lnTo>
                  <a:pt x="26" y="42"/>
                </a:lnTo>
                <a:lnTo>
                  <a:pt x="28" y="40"/>
                </a:lnTo>
                <a:lnTo>
                  <a:pt x="28" y="40"/>
                </a:lnTo>
                <a:lnTo>
                  <a:pt x="48" y="49"/>
                </a:lnTo>
                <a:lnTo>
                  <a:pt x="68" y="60"/>
                </a:lnTo>
                <a:lnTo>
                  <a:pt x="106" y="86"/>
                </a:lnTo>
                <a:lnTo>
                  <a:pt x="106" y="86"/>
                </a:lnTo>
                <a:lnTo>
                  <a:pt x="112" y="89"/>
                </a:lnTo>
                <a:lnTo>
                  <a:pt x="112" y="89"/>
                </a:lnTo>
                <a:lnTo>
                  <a:pt x="106" y="100"/>
                </a:lnTo>
                <a:lnTo>
                  <a:pt x="106" y="100"/>
                </a:lnTo>
                <a:lnTo>
                  <a:pt x="97" y="119"/>
                </a:lnTo>
                <a:lnTo>
                  <a:pt x="95" y="128"/>
                </a:lnTo>
                <a:lnTo>
                  <a:pt x="93" y="135"/>
                </a:lnTo>
                <a:lnTo>
                  <a:pt x="93" y="135"/>
                </a:lnTo>
                <a:lnTo>
                  <a:pt x="95" y="139"/>
                </a:lnTo>
                <a:lnTo>
                  <a:pt x="97" y="142"/>
                </a:lnTo>
                <a:lnTo>
                  <a:pt x="101" y="144"/>
                </a:lnTo>
                <a:lnTo>
                  <a:pt x="104" y="144"/>
                </a:lnTo>
                <a:lnTo>
                  <a:pt x="104" y="144"/>
                </a:lnTo>
                <a:lnTo>
                  <a:pt x="110" y="144"/>
                </a:lnTo>
                <a:lnTo>
                  <a:pt x="113" y="142"/>
                </a:lnTo>
                <a:lnTo>
                  <a:pt x="117" y="139"/>
                </a:lnTo>
                <a:lnTo>
                  <a:pt x="119" y="135"/>
                </a:lnTo>
                <a:lnTo>
                  <a:pt x="119" y="135"/>
                </a:lnTo>
                <a:lnTo>
                  <a:pt x="119" y="131"/>
                </a:lnTo>
                <a:lnTo>
                  <a:pt x="119" y="130"/>
                </a:lnTo>
                <a:lnTo>
                  <a:pt x="115" y="124"/>
                </a:lnTo>
                <a:lnTo>
                  <a:pt x="112" y="122"/>
                </a:lnTo>
                <a:lnTo>
                  <a:pt x="110" y="122"/>
                </a:lnTo>
                <a:lnTo>
                  <a:pt x="110" y="122"/>
                </a:lnTo>
                <a:lnTo>
                  <a:pt x="115" y="110"/>
                </a:lnTo>
                <a:lnTo>
                  <a:pt x="115" y="110"/>
                </a:lnTo>
                <a:lnTo>
                  <a:pt x="119" y="100"/>
                </a:lnTo>
                <a:lnTo>
                  <a:pt x="123" y="93"/>
                </a:lnTo>
                <a:lnTo>
                  <a:pt x="128" y="89"/>
                </a:lnTo>
                <a:lnTo>
                  <a:pt x="132" y="86"/>
                </a:lnTo>
                <a:lnTo>
                  <a:pt x="137" y="84"/>
                </a:lnTo>
                <a:lnTo>
                  <a:pt x="141" y="84"/>
                </a:lnTo>
                <a:lnTo>
                  <a:pt x="141" y="84"/>
                </a:lnTo>
                <a:lnTo>
                  <a:pt x="139" y="80"/>
                </a:lnTo>
                <a:lnTo>
                  <a:pt x="135" y="75"/>
                </a:lnTo>
                <a:lnTo>
                  <a:pt x="135" y="69"/>
                </a:lnTo>
                <a:lnTo>
                  <a:pt x="135" y="64"/>
                </a:lnTo>
                <a:lnTo>
                  <a:pt x="137" y="57"/>
                </a:lnTo>
                <a:lnTo>
                  <a:pt x="141" y="49"/>
                </a:lnTo>
                <a:lnTo>
                  <a:pt x="141" y="49"/>
                </a:lnTo>
                <a:lnTo>
                  <a:pt x="148" y="31"/>
                </a:lnTo>
                <a:lnTo>
                  <a:pt x="152" y="18"/>
                </a:lnTo>
                <a:lnTo>
                  <a:pt x="152" y="18"/>
                </a:lnTo>
                <a:lnTo>
                  <a:pt x="152" y="13"/>
                </a:lnTo>
                <a:lnTo>
                  <a:pt x="150" y="9"/>
                </a:lnTo>
                <a:lnTo>
                  <a:pt x="146" y="5"/>
                </a:lnTo>
                <a:lnTo>
                  <a:pt x="141" y="4"/>
                </a:lnTo>
                <a:lnTo>
                  <a:pt x="141" y="4"/>
                </a:lnTo>
                <a:lnTo>
                  <a:pt x="137" y="5"/>
                </a:lnTo>
                <a:lnTo>
                  <a:pt x="132" y="7"/>
                </a:lnTo>
                <a:lnTo>
                  <a:pt x="130" y="11"/>
                </a:lnTo>
                <a:lnTo>
                  <a:pt x="128" y="15"/>
                </a:lnTo>
                <a:lnTo>
                  <a:pt x="128" y="15"/>
                </a:lnTo>
                <a:lnTo>
                  <a:pt x="128" y="20"/>
                </a:lnTo>
                <a:lnTo>
                  <a:pt x="130" y="24"/>
                </a:lnTo>
                <a:lnTo>
                  <a:pt x="134" y="27"/>
                </a:lnTo>
                <a:lnTo>
                  <a:pt x="137" y="29"/>
                </a:lnTo>
                <a:lnTo>
                  <a:pt x="137" y="29"/>
                </a:lnTo>
                <a:lnTo>
                  <a:pt x="137" y="29"/>
                </a:lnTo>
                <a:lnTo>
                  <a:pt x="132" y="46"/>
                </a:lnTo>
                <a:lnTo>
                  <a:pt x="124" y="55"/>
                </a:lnTo>
                <a:lnTo>
                  <a:pt x="124" y="55"/>
                </a:lnTo>
                <a:lnTo>
                  <a:pt x="117" y="51"/>
                </a:lnTo>
                <a:lnTo>
                  <a:pt x="117" y="51"/>
                </a:lnTo>
                <a:lnTo>
                  <a:pt x="81" y="31"/>
                </a:lnTo>
                <a:lnTo>
                  <a:pt x="60" y="24"/>
                </a:lnTo>
                <a:lnTo>
                  <a:pt x="40" y="18"/>
                </a:lnTo>
                <a:lnTo>
                  <a:pt x="40" y="18"/>
                </a:lnTo>
                <a:lnTo>
                  <a:pt x="42" y="13"/>
                </a:lnTo>
                <a:lnTo>
                  <a:pt x="42" y="13"/>
                </a:lnTo>
                <a:lnTo>
                  <a:pt x="48" y="4"/>
                </a:lnTo>
                <a:lnTo>
                  <a:pt x="50" y="0"/>
                </a:lnTo>
                <a:lnTo>
                  <a:pt x="50" y="0"/>
                </a:lnTo>
                <a:lnTo>
                  <a:pt x="46" y="2"/>
                </a:lnTo>
                <a:lnTo>
                  <a:pt x="39" y="5"/>
                </a:lnTo>
                <a:lnTo>
                  <a:pt x="39" y="5"/>
                </a:lnTo>
                <a:lnTo>
                  <a:pt x="29" y="9"/>
                </a:lnTo>
                <a:lnTo>
                  <a:pt x="24" y="11"/>
                </a:lnTo>
                <a:lnTo>
                  <a:pt x="24" y="11"/>
                </a:lnTo>
                <a:lnTo>
                  <a:pt x="18" y="11"/>
                </a:lnTo>
                <a:lnTo>
                  <a:pt x="15" y="11"/>
                </a:lnTo>
                <a:lnTo>
                  <a:pt x="15" y="11"/>
                </a:lnTo>
                <a:lnTo>
                  <a:pt x="13" y="13"/>
                </a:lnTo>
                <a:lnTo>
                  <a:pt x="9" y="22"/>
                </a:lnTo>
                <a:lnTo>
                  <a:pt x="9" y="22"/>
                </a:lnTo>
                <a:lnTo>
                  <a:pt x="6" y="33"/>
                </a:lnTo>
                <a:lnTo>
                  <a:pt x="6" y="33"/>
                </a:lnTo>
                <a:lnTo>
                  <a:pt x="2" y="38"/>
                </a:lnTo>
                <a:lnTo>
                  <a:pt x="0" y="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89" name="Freeform 40"/>
          <p:cNvSpPr>
            <a:spLocks/>
          </p:cNvSpPr>
          <p:nvPr userDrawn="1"/>
        </p:nvSpPr>
        <p:spPr bwMode="auto">
          <a:xfrm>
            <a:off x="8226425" y="-921915"/>
            <a:ext cx="30163" cy="34925"/>
          </a:xfrm>
          <a:custGeom>
            <a:avLst/>
            <a:gdLst>
              <a:gd name="T0" fmla="*/ 12 w 36"/>
              <a:gd name="T1" fmla="*/ 44 h 44"/>
              <a:gd name="T2" fmla="*/ 12 w 36"/>
              <a:gd name="T3" fmla="*/ 44 h 44"/>
              <a:gd name="T4" fmla="*/ 27 w 36"/>
              <a:gd name="T5" fmla="*/ 42 h 44"/>
              <a:gd name="T6" fmla="*/ 36 w 36"/>
              <a:gd name="T7" fmla="*/ 40 h 44"/>
              <a:gd name="T8" fmla="*/ 36 w 36"/>
              <a:gd name="T9" fmla="*/ 3 h 44"/>
              <a:gd name="T10" fmla="*/ 36 w 36"/>
              <a:gd name="T11" fmla="*/ 3 h 44"/>
              <a:gd name="T12" fmla="*/ 16 w 36"/>
              <a:gd name="T13" fmla="*/ 0 h 44"/>
              <a:gd name="T14" fmla="*/ 16 w 36"/>
              <a:gd name="T15" fmla="*/ 0 h 44"/>
              <a:gd name="T16" fmla="*/ 11 w 36"/>
              <a:gd name="T17" fmla="*/ 0 h 44"/>
              <a:gd name="T18" fmla="*/ 7 w 36"/>
              <a:gd name="T19" fmla="*/ 2 h 44"/>
              <a:gd name="T20" fmla="*/ 3 w 36"/>
              <a:gd name="T21" fmla="*/ 3 h 44"/>
              <a:gd name="T22" fmla="*/ 1 w 36"/>
              <a:gd name="T23" fmla="*/ 7 h 44"/>
              <a:gd name="T24" fmla="*/ 0 w 36"/>
              <a:gd name="T25" fmla="*/ 13 h 44"/>
              <a:gd name="T26" fmla="*/ 0 w 36"/>
              <a:gd name="T27" fmla="*/ 16 h 44"/>
              <a:gd name="T28" fmla="*/ 0 w 36"/>
              <a:gd name="T29" fmla="*/ 27 h 44"/>
              <a:gd name="T30" fmla="*/ 0 w 36"/>
              <a:gd name="T31" fmla="*/ 27 h 44"/>
              <a:gd name="T32" fmla="*/ 1 w 36"/>
              <a:gd name="T33" fmla="*/ 34 h 44"/>
              <a:gd name="T34" fmla="*/ 5 w 36"/>
              <a:gd name="T35" fmla="*/ 40 h 44"/>
              <a:gd name="T36" fmla="*/ 9 w 36"/>
              <a:gd name="T37" fmla="*/ 42 h 44"/>
              <a:gd name="T38" fmla="*/ 12 w 36"/>
              <a:gd name="T3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 h="44">
                <a:moveTo>
                  <a:pt x="12" y="44"/>
                </a:moveTo>
                <a:lnTo>
                  <a:pt x="12" y="44"/>
                </a:lnTo>
                <a:lnTo>
                  <a:pt x="27" y="42"/>
                </a:lnTo>
                <a:lnTo>
                  <a:pt x="36" y="40"/>
                </a:lnTo>
                <a:lnTo>
                  <a:pt x="36" y="3"/>
                </a:lnTo>
                <a:lnTo>
                  <a:pt x="36" y="3"/>
                </a:lnTo>
                <a:lnTo>
                  <a:pt x="16" y="0"/>
                </a:lnTo>
                <a:lnTo>
                  <a:pt x="16" y="0"/>
                </a:lnTo>
                <a:lnTo>
                  <a:pt x="11" y="0"/>
                </a:lnTo>
                <a:lnTo>
                  <a:pt x="7" y="2"/>
                </a:lnTo>
                <a:lnTo>
                  <a:pt x="3" y="3"/>
                </a:lnTo>
                <a:lnTo>
                  <a:pt x="1" y="7"/>
                </a:lnTo>
                <a:lnTo>
                  <a:pt x="0" y="13"/>
                </a:lnTo>
                <a:lnTo>
                  <a:pt x="0" y="16"/>
                </a:lnTo>
                <a:lnTo>
                  <a:pt x="0" y="27"/>
                </a:lnTo>
                <a:lnTo>
                  <a:pt x="0" y="27"/>
                </a:lnTo>
                <a:lnTo>
                  <a:pt x="1" y="34"/>
                </a:lnTo>
                <a:lnTo>
                  <a:pt x="5" y="40"/>
                </a:lnTo>
                <a:lnTo>
                  <a:pt x="9" y="42"/>
                </a:lnTo>
                <a:lnTo>
                  <a:pt x="12" y="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0" name="Freeform 41"/>
          <p:cNvSpPr>
            <a:spLocks/>
          </p:cNvSpPr>
          <p:nvPr userDrawn="1"/>
        </p:nvSpPr>
        <p:spPr bwMode="auto">
          <a:xfrm>
            <a:off x="8262938" y="-928265"/>
            <a:ext cx="44450" cy="41275"/>
          </a:xfrm>
          <a:custGeom>
            <a:avLst/>
            <a:gdLst>
              <a:gd name="T0" fmla="*/ 55 w 55"/>
              <a:gd name="T1" fmla="*/ 38 h 53"/>
              <a:gd name="T2" fmla="*/ 55 w 55"/>
              <a:gd name="T3" fmla="*/ 27 h 53"/>
              <a:gd name="T4" fmla="*/ 55 w 55"/>
              <a:gd name="T5" fmla="*/ 7 h 53"/>
              <a:gd name="T6" fmla="*/ 55 w 55"/>
              <a:gd name="T7" fmla="*/ 1 h 53"/>
              <a:gd name="T8" fmla="*/ 53 w 55"/>
              <a:gd name="T9" fmla="*/ 0 h 53"/>
              <a:gd name="T10" fmla="*/ 46 w 55"/>
              <a:gd name="T11" fmla="*/ 0 h 53"/>
              <a:gd name="T12" fmla="*/ 40 w 55"/>
              <a:gd name="T13" fmla="*/ 0 h 53"/>
              <a:gd name="T14" fmla="*/ 29 w 55"/>
              <a:gd name="T15" fmla="*/ 0 h 53"/>
              <a:gd name="T16" fmla="*/ 28 w 55"/>
              <a:gd name="T17" fmla="*/ 7 h 53"/>
              <a:gd name="T18" fmla="*/ 26 w 55"/>
              <a:gd name="T19" fmla="*/ 0 h 53"/>
              <a:gd name="T20" fmla="*/ 17 w 55"/>
              <a:gd name="T21" fmla="*/ 0 h 53"/>
              <a:gd name="T22" fmla="*/ 11 w 55"/>
              <a:gd name="T23" fmla="*/ 0 h 53"/>
              <a:gd name="T24" fmla="*/ 4 w 55"/>
              <a:gd name="T25" fmla="*/ 0 h 53"/>
              <a:gd name="T26" fmla="*/ 2 w 55"/>
              <a:gd name="T27" fmla="*/ 1 h 53"/>
              <a:gd name="T28" fmla="*/ 0 w 55"/>
              <a:gd name="T29" fmla="*/ 7 h 53"/>
              <a:gd name="T30" fmla="*/ 0 w 55"/>
              <a:gd name="T31" fmla="*/ 27 h 53"/>
              <a:gd name="T32" fmla="*/ 0 w 55"/>
              <a:gd name="T33" fmla="*/ 49 h 53"/>
              <a:gd name="T34" fmla="*/ 6 w 55"/>
              <a:gd name="T35" fmla="*/ 49 h 53"/>
              <a:gd name="T36" fmla="*/ 9 w 55"/>
              <a:gd name="T37" fmla="*/ 47 h 53"/>
              <a:gd name="T38" fmla="*/ 13 w 55"/>
              <a:gd name="T39" fmla="*/ 40 h 53"/>
              <a:gd name="T40" fmla="*/ 13 w 55"/>
              <a:gd name="T41" fmla="*/ 53 h 53"/>
              <a:gd name="T42" fmla="*/ 17 w 55"/>
              <a:gd name="T43" fmla="*/ 53 h 53"/>
              <a:gd name="T44" fmla="*/ 24 w 55"/>
              <a:gd name="T45" fmla="*/ 49 h 53"/>
              <a:gd name="T46" fmla="*/ 26 w 55"/>
              <a:gd name="T47" fmla="*/ 43 h 53"/>
              <a:gd name="T48" fmla="*/ 28 w 55"/>
              <a:gd name="T49" fmla="*/ 40 h 53"/>
              <a:gd name="T50" fmla="*/ 28 w 55"/>
              <a:gd name="T51" fmla="*/ 53 h 53"/>
              <a:gd name="T52" fmla="*/ 39 w 55"/>
              <a:gd name="T53" fmla="*/ 49 h 53"/>
              <a:gd name="T54" fmla="*/ 42 w 55"/>
              <a:gd name="T55" fmla="*/ 43 h 53"/>
              <a:gd name="T56" fmla="*/ 42 w 55"/>
              <a:gd name="T57" fmla="*/ 40 h 53"/>
              <a:gd name="T58" fmla="*/ 42 w 55"/>
              <a:gd name="T59" fmla="*/ 49 h 53"/>
              <a:gd name="T60" fmla="*/ 46 w 55"/>
              <a:gd name="T61" fmla="*/ 47 h 53"/>
              <a:gd name="T62" fmla="*/ 51 w 55"/>
              <a:gd name="T63" fmla="*/ 45 h 53"/>
              <a:gd name="T64" fmla="*/ 55 w 55"/>
              <a:gd name="T65" fmla="*/ 38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5" h="53">
                <a:moveTo>
                  <a:pt x="55" y="38"/>
                </a:moveTo>
                <a:lnTo>
                  <a:pt x="55" y="38"/>
                </a:lnTo>
                <a:lnTo>
                  <a:pt x="55" y="27"/>
                </a:lnTo>
                <a:lnTo>
                  <a:pt x="55" y="27"/>
                </a:lnTo>
                <a:lnTo>
                  <a:pt x="55" y="7"/>
                </a:lnTo>
                <a:lnTo>
                  <a:pt x="55" y="7"/>
                </a:lnTo>
                <a:lnTo>
                  <a:pt x="55" y="3"/>
                </a:lnTo>
                <a:lnTo>
                  <a:pt x="55" y="1"/>
                </a:lnTo>
                <a:lnTo>
                  <a:pt x="53" y="0"/>
                </a:lnTo>
                <a:lnTo>
                  <a:pt x="53" y="0"/>
                </a:lnTo>
                <a:lnTo>
                  <a:pt x="46" y="0"/>
                </a:lnTo>
                <a:lnTo>
                  <a:pt x="46" y="0"/>
                </a:lnTo>
                <a:lnTo>
                  <a:pt x="42" y="7"/>
                </a:lnTo>
                <a:lnTo>
                  <a:pt x="40" y="0"/>
                </a:lnTo>
                <a:lnTo>
                  <a:pt x="40" y="0"/>
                </a:lnTo>
                <a:lnTo>
                  <a:pt x="29" y="0"/>
                </a:lnTo>
                <a:lnTo>
                  <a:pt x="29" y="0"/>
                </a:lnTo>
                <a:lnTo>
                  <a:pt x="28" y="7"/>
                </a:lnTo>
                <a:lnTo>
                  <a:pt x="26" y="0"/>
                </a:lnTo>
                <a:lnTo>
                  <a:pt x="26" y="0"/>
                </a:lnTo>
                <a:lnTo>
                  <a:pt x="17" y="0"/>
                </a:lnTo>
                <a:lnTo>
                  <a:pt x="17" y="0"/>
                </a:lnTo>
                <a:lnTo>
                  <a:pt x="13" y="7"/>
                </a:lnTo>
                <a:lnTo>
                  <a:pt x="11" y="0"/>
                </a:lnTo>
                <a:lnTo>
                  <a:pt x="11" y="0"/>
                </a:lnTo>
                <a:lnTo>
                  <a:pt x="4" y="0"/>
                </a:lnTo>
                <a:lnTo>
                  <a:pt x="4" y="0"/>
                </a:lnTo>
                <a:lnTo>
                  <a:pt x="2" y="1"/>
                </a:lnTo>
                <a:lnTo>
                  <a:pt x="0" y="3"/>
                </a:lnTo>
                <a:lnTo>
                  <a:pt x="0" y="7"/>
                </a:lnTo>
                <a:lnTo>
                  <a:pt x="0" y="7"/>
                </a:lnTo>
                <a:lnTo>
                  <a:pt x="0" y="27"/>
                </a:lnTo>
                <a:lnTo>
                  <a:pt x="0" y="27"/>
                </a:lnTo>
                <a:lnTo>
                  <a:pt x="0" y="49"/>
                </a:lnTo>
                <a:lnTo>
                  <a:pt x="0" y="49"/>
                </a:lnTo>
                <a:lnTo>
                  <a:pt x="6" y="49"/>
                </a:lnTo>
                <a:lnTo>
                  <a:pt x="9" y="47"/>
                </a:lnTo>
                <a:lnTo>
                  <a:pt x="9" y="47"/>
                </a:lnTo>
                <a:lnTo>
                  <a:pt x="11" y="42"/>
                </a:lnTo>
                <a:lnTo>
                  <a:pt x="13" y="40"/>
                </a:lnTo>
                <a:lnTo>
                  <a:pt x="13" y="40"/>
                </a:lnTo>
                <a:lnTo>
                  <a:pt x="13" y="53"/>
                </a:lnTo>
                <a:lnTo>
                  <a:pt x="13" y="53"/>
                </a:lnTo>
                <a:lnTo>
                  <a:pt x="17" y="53"/>
                </a:lnTo>
                <a:lnTo>
                  <a:pt x="20" y="51"/>
                </a:lnTo>
                <a:lnTo>
                  <a:pt x="24" y="49"/>
                </a:lnTo>
                <a:lnTo>
                  <a:pt x="24" y="49"/>
                </a:lnTo>
                <a:lnTo>
                  <a:pt x="26" y="43"/>
                </a:lnTo>
                <a:lnTo>
                  <a:pt x="28" y="40"/>
                </a:lnTo>
                <a:lnTo>
                  <a:pt x="28" y="40"/>
                </a:lnTo>
                <a:lnTo>
                  <a:pt x="28" y="53"/>
                </a:lnTo>
                <a:lnTo>
                  <a:pt x="28" y="53"/>
                </a:lnTo>
                <a:lnTo>
                  <a:pt x="33" y="51"/>
                </a:lnTo>
                <a:lnTo>
                  <a:pt x="39" y="49"/>
                </a:lnTo>
                <a:lnTo>
                  <a:pt x="39" y="49"/>
                </a:lnTo>
                <a:lnTo>
                  <a:pt x="42" y="43"/>
                </a:lnTo>
                <a:lnTo>
                  <a:pt x="42" y="40"/>
                </a:lnTo>
                <a:lnTo>
                  <a:pt x="42" y="40"/>
                </a:lnTo>
                <a:lnTo>
                  <a:pt x="42" y="49"/>
                </a:lnTo>
                <a:lnTo>
                  <a:pt x="42" y="49"/>
                </a:lnTo>
                <a:lnTo>
                  <a:pt x="46" y="47"/>
                </a:lnTo>
                <a:lnTo>
                  <a:pt x="46" y="47"/>
                </a:lnTo>
                <a:lnTo>
                  <a:pt x="51" y="45"/>
                </a:lnTo>
                <a:lnTo>
                  <a:pt x="51" y="45"/>
                </a:lnTo>
                <a:lnTo>
                  <a:pt x="53" y="43"/>
                </a:lnTo>
                <a:lnTo>
                  <a:pt x="55" y="3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1" name="Freeform 42"/>
          <p:cNvSpPr>
            <a:spLocks/>
          </p:cNvSpPr>
          <p:nvPr userDrawn="1"/>
        </p:nvSpPr>
        <p:spPr bwMode="auto">
          <a:xfrm>
            <a:off x="8269288" y="-926678"/>
            <a:ext cx="53975" cy="60325"/>
          </a:xfrm>
          <a:custGeom>
            <a:avLst/>
            <a:gdLst>
              <a:gd name="T0" fmla="*/ 67 w 67"/>
              <a:gd name="T1" fmla="*/ 57 h 77"/>
              <a:gd name="T2" fmla="*/ 67 w 67"/>
              <a:gd name="T3" fmla="*/ 44 h 77"/>
              <a:gd name="T4" fmla="*/ 67 w 67"/>
              <a:gd name="T5" fmla="*/ 44 h 77"/>
              <a:gd name="T6" fmla="*/ 65 w 67"/>
              <a:gd name="T7" fmla="*/ 42 h 77"/>
              <a:gd name="T8" fmla="*/ 63 w 67"/>
              <a:gd name="T9" fmla="*/ 37 h 77"/>
              <a:gd name="T10" fmla="*/ 63 w 67"/>
              <a:gd name="T11" fmla="*/ 30 h 77"/>
              <a:gd name="T12" fmla="*/ 63 w 67"/>
              <a:gd name="T13" fmla="*/ 30 h 77"/>
              <a:gd name="T14" fmla="*/ 63 w 67"/>
              <a:gd name="T15" fmla="*/ 26 h 77"/>
              <a:gd name="T16" fmla="*/ 65 w 67"/>
              <a:gd name="T17" fmla="*/ 21 h 77"/>
              <a:gd name="T18" fmla="*/ 67 w 67"/>
              <a:gd name="T19" fmla="*/ 17 h 77"/>
              <a:gd name="T20" fmla="*/ 67 w 67"/>
              <a:gd name="T21" fmla="*/ 6 h 77"/>
              <a:gd name="T22" fmla="*/ 67 w 67"/>
              <a:gd name="T23" fmla="*/ 6 h 77"/>
              <a:gd name="T24" fmla="*/ 63 w 67"/>
              <a:gd name="T25" fmla="*/ 2 h 77"/>
              <a:gd name="T26" fmla="*/ 60 w 67"/>
              <a:gd name="T27" fmla="*/ 0 h 77"/>
              <a:gd name="T28" fmla="*/ 56 w 67"/>
              <a:gd name="T29" fmla="*/ 0 h 77"/>
              <a:gd name="T30" fmla="*/ 56 w 67"/>
              <a:gd name="T31" fmla="*/ 41 h 77"/>
              <a:gd name="T32" fmla="*/ 56 w 67"/>
              <a:gd name="T33" fmla="*/ 41 h 77"/>
              <a:gd name="T34" fmla="*/ 54 w 67"/>
              <a:gd name="T35" fmla="*/ 46 h 77"/>
              <a:gd name="T36" fmla="*/ 51 w 67"/>
              <a:gd name="T37" fmla="*/ 52 h 77"/>
              <a:gd name="T38" fmla="*/ 45 w 67"/>
              <a:gd name="T39" fmla="*/ 55 h 77"/>
              <a:gd name="T40" fmla="*/ 38 w 67"/>
              <a:gd name="T41" fmla="*/ 57 h 77"/>
              <a:gd name="T42" fmla="*/ 38 w 67"/>
              <a:gd name="T43" fmla="*/ 57 h 77"/>
              <a:gd name="T44" fmla="*/ 23 w 67"/>
              <a:gd name="T45" fmla="*/ 59 h 77"/>
              <a:gd name="T46" fmla="*/ 10 w 67"/>
              <a:gd name="T47" fmla="*/ 61 h 77"/>
              <a:gd name="T48" fmla="*/ 0 w 67"/>
              <a:gd name="T49" fmla="*/ 61 h 77"/>
              <a:gd name="T50" fmla="*/ 0 w 67"/>
              <a:gd name="T51" fmla="*/ 61 h 77"/>
              <a:gd name="T52" fmla="*/ 1 w 67"/>
              <a:gd name="T53" fmla="*/ 70 h 77"/>
              <a:gd name="T54" fmla="*/ 1 w 67"/>
              <a:gd name="T55" fmla="*/ 70 h 77"/>
              <a:gd name="T56" fmla="*/ 5 w 67"/>
              <a:gd name="T57" fmla="*/ 75 h 77"/>
              <a:gd name="T58" fmla="*/ 7 w 67"/>
              <a:gd name="T59" fmla="*/ 77 h 77"/>
              <a:gd name="T60" fmla="*/ 54 w 67"/>
              <a:gd name="T61" fmla="*/ 77 h 77"/>
              <a:gd name="T62" fmla="*/ 67 w 67"/>
              <a:gd name="T63" fmla="*/ 5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7" h="77">
                <a:moveTo>
                  <a:pt x="67" y="57"/>
                </a:moveTo>
                <a:lnTo>
                  <a:pt x="67" y="44"/>
                </a:lnTo>
                <a:lnTo>
                  <a:pt x="67" y="44"/>
                </a:lnTo>
                <a:lnTo>
                  <a:pt x="65" y="42"/>
                </a:lnTo>
                <a:lnTo>
                  <a:pt x="63" y="37"/>
                </a:lnTo>
                <a:lnTo>
                  <a:pt x="63" y="30"/>
                </a:lnTo>
                <a:lnTo>
                  <a:pt x="63" y="30"/>
                </a:lnTo>
                <a:lnTo>
                  <a:pt x="63" y="26"/>
                </a:lnTo>
                <a:lnTo>
                  <a:pt x="65" y="21"/>
                </a:lnTo>
                <a:lnTo>
                  <a:pt x="67" y="17"/>
                </a:lnTo>
                <a:lnTo>
                  <a:pt x="67" y="6"/>
                </a:lnTo>
                <a:lnTo>
                  <a:pt x="67" y="6"/>
                </a:lnTo>
                <a:lnTo>
                  <a:pt x="63" y="2"/>
                </a:lnTo>
                <a:lnTo>
                  <a:pt x="60" y="0"/>
                </a:lnTo>
                <a:lnTo>
                  <a:pt x="56" y="0"/>
                </a:lnTo>
                <a:lnTo>
                  <a:pt x="56" y="41"/>
                </a:lnTo>
                <a:lnTo>
                  <a:pt x="56" y="41"/>
                </a:lnTo>
                <a:lnTo>
                  <a:pt x="54" y="46"/>
                </a:lnTo>
                <a:lnTo>
                  <a:pt x="51" y="52"/>
                </a:lnTo>
                <a:lnTo>
                  <a:pt x="45" y="55"/>
                </a:lnTo>
                <a:lnTo>
                  <a:pt x="38" y="57"/>
                </a:lnTo>
                <a:lnTo>
                  <a:pt x="38" y="57"/>
                </a:lnTo>
                <a:lnTo>
                  <a:pt x="23" y="59"/>
                </a:lnTo>
                <a:lnTo>
                  <a:pt x="10" y="61"/>
                </a:lnTo>
                <a:lnTo>
                  <a:pt x="0" y="61"/>
                </a:lnTo>
                <a:lnTo>
                  <a:pt x="0" y="61"/>
                </a:lnTo>
                <a:lnTo>
                  <a:pt x="1" y="70"/>
                </a:lnTo>
                <a:lnTo>
                  <a:pt x="1" y="70"/>
                </a:lnTo>
                <a:lnTo>
                  <a:pt x="5" y="75"/>
                </a:lnTo>
                <a:lnTo>
                  <a:pt x="7" y="77"/>
                </a:lnTo>
                <a:lnTo>
                  <a:pt x="54" y="77"/>
                </a:lnTo>
                <a:lnTo>
                  <a:pt x="67" y="5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2" name="Freeform 43"/>
          <p:cNvSpPr>
            <a:spLocks/>
          </p:cNvSpPr>
          <p:nvPr userDrawn="1"/>
        </p:nvSpPr>
        <p:spPr bwMode="auto">
          <a:xfrm>
            <a:off x="8272463" y="-858415"/>
            <a:ext cx="42863" cy="14288"/>
          </a:xfrm>
          <a:custGeom>
            <a:avLst/>
            <a:gdLst>
              <a:gd name="T0" fmla="*/ 4 w 55"/>
              <a:gd name="T1" fmla="*/ 19 h 19"/>
              <a:gd name="T2" fmla="*/ 51 w 55"/>
              <a:gd name="T3" fmla="*/ 19 h 19"/>
              <a:gd name="T4" fmla="*/ 51 w 55"/>
              <a:gd name="T5" fmla="*/ 19 h 19"/>
              <a:gd name="T6" fmla="*/ 55 w 55"/>
              <a:gd name="T7" fmla="*/ 9 h 19"/>
              <a:gd name="T8" fmla="*/ 53 w 55"/>
              <a:gd name="T9" fmla="*/ 0 h 19"/>
              <a:gd name="T10" fmla="*/ 4 w 55"/>
              <a:gd name="T11" fmla="*/ 0 h 19"/>
              <a:gd name="T12" fmla="*/ 0 w 55"/>
              <a:gd name="T13" fmla="*/ 9 h 19"/>
              <a:gd name="T14" fmla="*/ 4 w 55"/>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19">
                <a:moveTo>
                  <a:pt x="4" y="19"/>
                </a:moveTo>
                <a:lnTo>
                  <a:pt x="51" y="19"/>
                </a:lnTo>
                <a:lnTo>
                  <a:pt x="51" y="19"/>
                </a:lnTo>
                <a:lnTo>
                  <a:pt x="55" y="9"/>
                </a:lnTo>
                <a:lnTo>
                  <a:pt x="53" y="0"/>
                </a:lnTo>
                <a:lnTo>
                  <a:pt x="4" y="0"/>
                </a:lnTo>
                <a:lnTo>
                  <a:pt x="0" y="9"/>
                </a:lnTo>
                <a:lnTo>
                  <a:pt x="4" y="1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3" name="Freeform 44"/>
          <p:cNvSpPr>
            <a:spLocks/>
          </p:cNvSpPr>
          <p:nvPr userDrawn="1"/>
        </p:nvSpPr>
        <p:spPr bwMode="auto">
          <a:xfrm>
            <a:off x="8274050" y="-837778"/>
            <a:ext cx="44450" cy="50800"/>
          </a:xfrm>
          <a:custGeom>
            <a:avLst/>
            <a:gdLst>
              <a:gd name="T0" fmla="*/ 47 w 55"/>
              <a:gd name="T1" fmla="*/ 0 h 64"/>
              <a:gd name="T2" fmla="*/ 0 w 55"/>
              <a:gd name="T3" fmla="*/ 0 h 64"/>
              <a:gd name="T4" fmla="*/ 0 w 55"/>
              <a:gd name="T5" fmla="*/ 62 h 64"/>
              <a:gd name="T6" fmla="*/ 42 w 55"/>
              <a:gd name="T7" fmla="*/ 64 h 64"/>
              <a:gd name="T8" fmla="*/ 55 w 55"/>
              <a:gd name="T9" fmla="*/ 53 h 64"/>
              <a:gd name="T10" fmla="*/ 47 w 55"/>
              <a:gd name="T11" fmla="*/ 0 h 64"/>
            </a:gdLst>
            <a:ahLst/>
            <a:cxnLst>
              <a:cxn ang="0">
                <a:pos x="T0" y="T1"/>
              </a:cxn>
              <a:cxn ang="0">
                <a:pos x="T2" y="T3"/>
              </a:cxn>
              <a:cxn ang="0">
                <a:pos x="T4" y="T5"/>
              </a:cxn>
              <a:cxn ang="0">
                <a:pos x="T6" y="T7"/>
              </a:cxn>
              <a:cxn ang="0">
                <a:pos x="T8" y="T9"/>
              </a:cxn>
              <a:cxn ang="0">
                <a:pos x="T10" y="T11"/>
              </a:cxn>
            </a:cxnLst>
            <a:rect l="0" t="0" r="r" b="b"/>
            <a:pathLst>
              <a:path w="55" h="64">
                <a:moveTo>
                  <a:pt x="47" y="0"/>
                </a:moveTo>
                <a:lnTo>
                  <a:pt x="0" y="0"/>
                </a:lnTo>
                <a:lnTo>
                  <a:pt x="0" y="62"/>
                </a:lnTo>
                <a:lnTo>
                  <a:pt x="42" y="64"/>
                </a:lnTo>
                <a:lnTo>
                  <a:pt x="55" y="53"/>
                </a:lnTo>
                <a:lnTo>
                  <a:pt x="4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4" name="Freeform 45"/>
          <p:cNvSpPr>
            <a:spLocks/>
          </p:cNvSpPr>
          <p:nvPr userDrawn="1"/>
        </p:nvSpPr>
        <p:spPr bwMode="auto">
          <a:xfrm>
            <a:off x="8274050" y="-788565"/>
            <a:ext cx="57150" cy="50800"/>
          </a:xfrm>
          <a:custGeom>
            <a:avLst/>
            <a:gdLst>
              <a:gd name="T0" fmla="*/ 73 w 73"/>
              <a:gd name="T1" fmla="*/ 16 h 64"/>
              <a:gd name="T2" fmla="*/ 73 w 73"/>
              <a:gd name="T3" fmla="*/ 16 h 64"/>
              <a:gd name="T4" fmla="*/ 64 w 73"/>
              <a:gd name="T5" fmla="*/ 9 h 64"/>
              <a:gd name="T6" fmla="*/ 64 w 73"/>
              <a:gd name="T7" fmla="*/ 9 h 64"/>
              <a:gd name="T8" fmla="*/ 62 w 73"/>
              <a:gd name="T9" fmla="*/ 0 h 64"/>
              <a:gd name="T10" fmla="*/ 48 w 73"/>
              <a:gd name="T11" fmla="*/ 11 h 64"/>
              <a:gd name="T12" fmla="*/ 0 w 73"/>
              <a:gd name="T13" fmla="*/ 11 h 64"/>
              <a:gd name="T14" fmla="*/ 0 w 73"/>
              <a:gd name="T15" fmla="*/ 11 h 64"/>
              <a:gd name="T16" fmla="*/ 0 w 73"/>
              <a:gd name="T17" fmla="*/ 27 h 64"/>
              <a:gd name="T18" fmla="*/ 0 w 73"/>
              <a:gd name="T19" fmla="*/ 45 h 64"/>
              <a:gd name="T20" fmla="*/ 0 w 73"/>
              <a:gd name="T21" fmla="*/ 45 h 64"/>
              <a:gd name="T22" fmla="*/ 11 w 73"/>
              <a:gd name="T23" fmla="*/ 55 h 64"/>
              <a:gd name="T24" fmla="*/ 24 w 73"/>
              <a:gd name="T25" fmla="*/ 64 h 64"/>
              <a:gd name="T26" fmla="*/ 55 w 73"/>
              <a:gd name="T27" fmla="*/ 25 h 64"/>
              <a:gd name="T28" fmla="*/ 73 w 73"/>
              <a:gd name="T29"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64">
                <a:moveTo>
                  <a:pt x="73" y="16"/>
                </a:moveTo>
                <a:lnTo>
                  <a:pt x="73" y="16"/>
                </a:lnTo>
                <a:lnTo>
                  <a:pt x="64" y="9"/>
                </a:lnTo>
                <a:lnTo>
                  <a:pt x="64" y="9"/>
                </a:lnTo>
                <a:lnTo>
                  <a:pt x="62" y="0"/>
                </a:lnTo>
                <a:lnTo>
                  <a:pt x="48" y="11"/>
                </a:lnTo>
                <a:lnTo>
                  <a:pt x="0" y="11"/>
                </a:lnTo>
                <a:lnTo>
                  <a:pt x="0" y="11"/>
                </a:lnTo>
                <a:lnTo>
                  <a:pt x="0" y="27"/>
                </a:lnTo>
                <a:lnTo>
                  <a:pt x="0" y="45"/>
                </a:lnTo>
                <a:lnTo>
                  <a:pt x="0" y="45"/>
                </a:lnTo>
                <a:lnTo>
                  <a:pt x="11" y="55"/>
                </a:lnTo>
                <a:lnTo>
                  <a:pt x="24" y="64"/>
                </a:lnTo>
                <a:lnTo>
                  <a:pt x="55" y="25"/>
                </a:lnTo>
                <a:lnTo>
                  <a:pt x="73"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5" name="Freeform 46"/>
          <p:cNvSpPr>
            <a:spLocks/>
          </p:cNvSpPr>
          <p:nvPr userDrawn="1"/>
        </p:nvSpPr>
        <p:spPr bwMode="auto">
          <a:xfrm>
            <a:off x="8301038" y="-769515"/>
            <a:ext cx="85725" cy="50800"/>
          </a:xfrm>
          <a:custGeom>
            <a:avLst/>
            <a:gdLst>
              <a:gd name="T0" fmla="*/ 27 w 108"/>
              <a:gd name="T1" fmla="*/ 7 h 63"/>
              <a:gd name="T2" fmla="*/ 0 w 108"/>
              <a:gd name="T3" fmla="*/ 43 h 63"/>
              <a:gd name="T4" fmla="*/ 45 w 108"/>
              <a:gd name="T5" fmla="*/ 63 h 63"/>
              <a:gd name="T6" fmla="*/ 45 w 108"/>
              <a:gd name="T7" fmla="*/ 63 h 63"/>
              <a:gd name="T8" fmla="*/ 65 w 108"/>
              <a:gd name="T9" fmla="*/ 51 h 63"/>
              <a:gd name="T10" fmla="*/ 86 w 108"/>
              <a:gd name="T11" fmla="*/ 38 h 63"/>
              <a:gd name="T12" fmla="*/ 108 w 108"/>
              <a:gd name="T13" fmla="*/ 23 h 63"/>
              <a:gd name="T14" fmla="*/ 44 w 108"/>
              <a:gd name="T15" fmla="*/ 0 h 63"/>
              <a:gd name="T16" fmla="*/ 27 w 108"/>
              <a:gd name="T17" fmla="*/ 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63">
                <a:moveTo>
                  <a:pt x="27" y="7"/>
                </a:moveTo>
                <a:lnTo>
                  <a:pt x="0" y="43"/>
                </a:lnTo>
                <a:lnTo>
                  <a:pt x="45" y="63"/>
                </a:lnTo>
                <a:lnTo>
                  <a:pt x="45" y="63"/>
                </a:lnTo>
                <a:lnTo>
                  <a:pt x="65" y="51"/>
                </a:lnTo>
                <a:lnTo>
                  <a:pt x="86" y="38"/>
                </a:lnTo>
                <a:lnTo>
                  <a:pt x="108" y="23"/>
                </a:lnTo>
                <a:lnTo>
                  <a:pt x="44" y="0"/>
                </a:lnTo>
                <a:lnTo>
                  <a:pt x="2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6" name="Freeform 47"/>
          <p:cNvSpPr>
            <a:spLocks/>
          </p:cNvSpPr>
          <p:nvPr userDrawn="1"/>
        </p:nvSpPr>
        <p:spPr bwMode="auto">
          <a:xfrm>
            <a:off x="8324850" y="-952078"/>
            <a:ext cx="22225" cy="93663"/>
          </a:xfrm>
          <a:custGeom>
            <a:avLst/>
            <a:gdLst>
              <a:gd name="T0" fmla="*/ 22 w 27"/>
              <a:gd name="T1" fmla="*/ 50 h 117"/>
              <a:gd name="T2" fmla="*/ 22 w 27"/>
              <a:gd name="T3" fmla="*/ 50 h 117"/>
              <a:gd name="T4" fmla="*/ 22 w 27"/>
              <a:gd name="T5" fmla="*/ 11 h 117"/>
              <a:gd name="T6" fmla="*/ 22 w 27"/>
              <a:gd name="T7" fmla="*/ 11 h 117"/>
              <a:gd name="T8" fmla="*/ 24 w 27"/>
              <a:gd name="T9" fmla="*/ 8 h 117"/>
              <a:gd name="T10" fmla="*/ 24 w 27"/>
              <a:gd name="T11" fmla="*/ 8 h 117"/>
              <a:gd name="T12" fmla="*/ 24 w 27"/>
              <a:gd name="T13" fmla="*/ 4 h 117"/>
              <a:gd name="T14" fmla="*/ 24 w 27"/>
              <a:gd name="T15" fmla="*/ 0 h 117"/>
              <a:gd name="T16" fmla="*/ 2 w 27"/>
              <a:gd name="T17" fmla="*/ 0 h 117"/>
              <a:gd name="T18" fmla="*/ 2 w 27"/>
              <a:gd name="T19" fmla="*/ 0 h 117"/>
              <a:gd name="T20" fmla="*/ 2 w 27"/>
              <a:gd name="T21" fmla="*/ 6 h 117"/>
              <a:gd name="T22" fmla="*/ 2 w 27"/>
              <a:gd name="T23" fmla="*/ 6 h 117"/>
              <a:gd name="T24" fmla="*/ 2 w 27"/>
              <a:gd name="T25" fmla="*/ 9 h 117"/>
              <a:gd name="T26" fmla="*/ 3 w 27"/>
              <a:gd name="T27" fmla="*/ 11 h 117"/>
              <a:gd name="T28" fmla="*/ 3 w 27"/>
              <a:gd name="T29" fmla="*/ 50 h 117"/>
              <a:gd name="T30" fmla="*/ 3 w 27"/>
              <a:gd name="T31" fmla="*/ 50 h 117"/>
              <a:gd name="T32" fmla="*/ 2 w 27"/>
              <a:gd name="T33" fmla="*/ 52 h 117"/>
              <a:gd name="T34" fmla="*/ 0 w 27"/>
              <a:gd name="T35" fmla="*/ 61 h 117"/>
              <a:gd name="T36" fmla="*/ 0 w 27"/>
              <a:gd name="T37" fmla="*/ 61 h 117"/>
              <a:gd name="T38" fmla="*/ 0 w 27"/>
              <a:gd name="T39" fmla="*/ 66 h 117"/>
              <a:gd name="T40" fmla="*/ 2 w 27"/>
              <a:gd name="T41" fmla="*/ 72 h 117"/>
              <a:gd name="T42" fmla="*/ 5 w 27"/>
              <a:gd name="T43" fmla="*/ 75 h 117"/>
              <a:gd name="T44" fmla="*/ 3 w 27"/>
              <a:gd name="T45" fmla="*/ 106 h 117"/>
              <a:gd name="T46" fmla="*/ 3 w 27"/>
              <a:gd name="T47" fmla="*/ 106 h 117"/>
              <a:gd name="T48" fmla="*/ 3 w 27"/>
              <a:gd name="T49" fmla="*/ 108 h 117"/>
              <a:gd name="T50" fmla="*/ 2 w 27"/>
              <a:gd name="T51" fmla="*/ 112 h 117"/>
              <a:gd name="T52" fmla="*/ 2 w 27"/>
              <a:gd name="T53" fmla="*/ 112 h 117"/>
              <a:gd name="T54" fmla="*/ 2 w 27"/>
              <a:gd name="T55" fmla="*/ 117 h 117"/>
              <a:gd name="T56" fmla="*/ 24 w 27"/>
              <a:gd name="T57" fmla="*/ 117 h 117"/>
              <a:gd name="T58" fmla="*/ 24 w 27"/>
              <a:gd name="T59" fmla="*/ 117 h 117"/>
              <a:gd name="T60" fmla="*/ 24 w 27"/>
              <a:gd name="T61" fmla="*/ 110 h 117"/>
              <a:gd name="T62" fmla="*/ 24 w 27"/>
              <a:gd name="T63" fmla="*/ 110 h 117"/>
              <a:gd name="T64" fmla="*/ 22 w 27"/>
              <a:gd name="T65" fmla="*/ 106 h 117"/>
              <a:gd name="T66" fmla="*/ 22 w 27"/>
              <a:gd name="T67" fmla="*/ 75 h 117"/>
              <a:gd name="T68" fmla="*/ 22 w 27"/>
              <a:gd name="T69" fmla="*/ 75 h 117"/>
              <a:gd name="T70" fmla="*/ 25 w 27"/>
              <a:gd name="T71" fmla="*/ 70 h 117"/>
              <a:gd name="T72" fmla="*/ 25 w 27"/>
              <a:gd name="T73" fmla="*/ 66 h 117"/>
              <a:gd name="T74" fmla="*/ 27 w 27"/>
              <a:gd name="T75" fmla="*/ 62 h 117"/>
              <a:gd name="T76" fmla="*/ 27 w 27"/>
              <a:gd name="T77" fmla="*/ 62 h 117"/>
              <a:gd name="T78" fmla="*/ 24 w 27"/>
              <a:gd name="T79" fmla="*/ 53 h 117"/>
              <a:gd name="T80" fmla="*/ 22 w 27"/>
              <a:gd name="T81" fmla="*/ 5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7" h="117">
                <a:moveTo>
                  <a:pt x="22" y="50"/>
                </a:moveTo>
                <a:lnTo>
                  <a:pt x="22" y="50"/>
                </a:lnTo>
                <a:lnTo>
                  <a:pt x="22" y="11"/>
                </a:lnTo>
                <a:lnTo>
                  <a:pt x="22" y="11"/>
                </a:lnTo>
                <a:lnTo>
                  <a:pt x="24" y="8"/>
                </a:lnTo>
                <a:lnTo>
                  <a:pt x="24" y="8"/>
                </a:lnTo>
                <a:lnTo>
                  <a:pt x="24" y="4"/>
                </a:lnTo>
                <a:lnTo>
                  <a:pt x="24" y="0"/>
                </a:lnTo>
                <a:lnTo>
                  <a:pt x="2" y="0"/>
                </a:lnTo>
                <a:lnTo>
                  <a:pt x="2" y="0"/>
                </a:lnTo>
                <a:lnTo>
                  <a:pt x="2" y="6"/>
                </a:lnTo>
                <a:lnTo>
                  <a:pt x="2" y="6"/>
                </a:lnTo>
                <a:lnTo>
                  <a:pt x="2" y="9"/>
                </a:lnTo>
                <a:lnTo>
                  <a:pt x="3" y="11"/>
                </a:lnTo>
                <a:lnTo>
                  <a:pt x="3" y="50"/>
                </a:lnTo>
                <a:lnTo>
                  <a:pt x="3" y="50"/>
                </a:lnTo>
                <a:lnTo>
                  <a:pt x="2" y="52"/>
                </a:lnTo>
                <a:lnTo>
                  <a:pt x="0" y="61"/>
                </a:lnTo>
                <a:lnTo>
                  <a:pt x="0" y="61"/>
                </a:lnTo>
                <a:lnTo>
                  <a:pt x="0" y="66"/>
                </a:lnTo>
                <a:lnTo>
                  <a:pt x="2" y="72"/>
                </a:lnTo>
                <a:lnTo>
                  <a:pt x="5" y="75"/>
                </a:lnTo>
                <a:lnTo>
                  <a:pt x="3" y="106"/>
                </a:lnTo>
                <a:lnTo>
                  <a:pt x="3" y="106"/>
                </a:lnTo>
                <a:lnTo>
                  <a:pt x="3" y="108"/>
                </a:lnTo>
                <a:lnTo>
                  <a:pt x="2" y="112"/>
                </a:lnTo>
                <a:lnTo>
                  <a:pt x="2" y="112"/>
                </a:lnTo>
                <a:lnTo>
                  <a:pt x="2" y="117"/>
                </a:lnTo>
                <a:lnTo>
                  <a:pt x="24" y="117"/>
                </a:lnTo>
                <a:lnTo>
                  <a:pt x="24" y="117"/>
                </a:lnTo>
                <a:lnTo>
                  <a:pt x="24" y="110"/>
                </a:lnTo>
                <a:lnTo>
                  <a:pt x="24" y="110"/>
                </a:lnTo>
                <a:lnTo>
                  <a:pt x="22" y="106"/>
                </a:lnTo>
                <a:lnTo>
                  <a:pt x="22" y="75"/>
                </a:lnTo>
                <a:lnTo>
                  <a:pt x="22" y="75"/>
                </a:lnTo>
                <a:lnTo>
                  <a:pt x="25" y="70"/>
                </a:lnTo>
                <a:lnTo>
                  <a:pt x="25" y="66"/>
                </a:lnTo>
                <a:lnTo>
                  <a:pt x="27" y="62"/>
                </a:lnTo>
                <a:lnTo>
                  <a:pt x="27" y="62"/>
                </a:lnTo>
                <a:lnTo>
                  <a:pt x="24" y="53"/>
                </a:lnTo>
                <a:lnTo>
                  <a:pt x="22" y="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7" name="Freeform 48"/>
          <p:cNvSpPr>
            <a:spLocks/>
          </p:cNvSpPr>
          <p:nvPr userDrawn="1"/>
        </p:nvSpPr>
        <p:spPr bwMode="auto">
          <a:xfrm>
            <a:off x="8347075" y="-923503"/>
            <a:ext cx="60325" cy="42863"/>
          </a:xfrm>
          <a:custGeom>
            <a:avLst/>
            <a:gdLst>
              <a:gd name="T0" fmla="*/ 42 w 77"/>
              <a:gd name="T1" fmla="*/ 46 h 55"/>
              <a:gd name="T2" fmla="*/ 77 w 77"/>
              <a:gd name="T3" fmla="*/ 9 h 55"/>
              <a:gd name="T4" fmla="*/ 77 w 77"/>
              <a:gd name="T5" fmla="*/ 9 h 55"/>
              <a:gd name="T6" fmla="*/ 26 w 77"/>
              <a:gd name="T7" fmla="*/ 9 h 55"/>
              <a:gd name="T8" fmla="*/ 26 w 77"/>
              <a:gd name="T9" fmla="*/ 9 h 55"/>
              <a:gd name="T10" fmla="*/ 20 w 77"/>
              <a:gd name="T11" fmla="*/ 7 h 55"/>
              <a:gd name="T12" fmla="*/ 15 w 77"/>
              <a:gd name="T13" fmla="*/ 4 h 55"/>
              <a:gd name="T14" fmla="*/ 7 w 77"/>
              <a:gd name="T15" fmla="*/ 0 h 55"/>
              <a:gd name="T16" fmla="*/ 6 w 77"/>
              <a:gd name="T17" fmla="*/ 0 h 55"/>
              <a:gd name="T18" fmla="*/ 6 w 77"/>
              <a:gd name="T19" fmla="*/ 0 h 55"/>
              <a:gd name="T20" fmla="*/ 0 w 77"/>
              <a:gd name="T21" fmla="*/ 11 h 55"/>
              <a:gd name="T22" fmla="*/ 0 w 77"/>
              <a:gd name="T23" fmla="*/ 11 h 55"/>
              <a:gd name="T24" fmla="*/ 4 w 77"/>
              <a:gd name="T25" fmla="*/ 17 h 55"/>
              <a:gd name="T26" fmla="*/ 6 w 77"/>
              <a:gd name="T27" fmla="*/ 20 h 55"/>
              <a:gd name="T28" fmla="*/ 7 w 77"/>
              <a:gd name="T29" fmla="*/ 27 h 55"/>
              <a:gd name="T30" fmla="*/ 7 w 77"/>
              <a:gd name="T31" fmla="*/ 27 h 55"/>
              <a:gd name="T32" fmla="*/ 7 w 77"/>
              <a:gd name="T33" fmla="*/ 33 h 55"/>
              <a:gd name="T34" fmla="*/ 4 w 77"/>
              <a:gd name="T35" fmla="*/ 38 h 55"/>
              <a:gd name="T36" fmla="*/ 0 w 77"/>
              <a:gd name="T37" fmla="*/ 42 h 55"/>
              <a:gd name="T38" fmla="*/ 0 w 77"/>
              <a:gd name="T39" fmla="*/ 42 h 55"/>
              <a:gd name="T40" fmla="*/ 7 w 77"/>
              <a:gd name="T41" fmla="*/ 55 h 55"/>
              <a:gd name="T42" fmla="*/ 7 w 77"/>
              <a:gd name="T43" fmla="*/ 55 h 55"/>
              <a:gd name="T44" fmla="*/ 13 w 77"/>
              <a:gd name="T45" fmla="*/ 51 h 55"/>
              <a:gd name="T46" fmla="*/ 28 w 77"/>
              <a:gd name="T47" fmla="*/ 46 h 55"/>
              <a:gd name="T48" fmla="*/ 28 w 77"/>
              <a:gd name="T49" fmla="*/ 46 h 55"/>
              <a:gd name="T50" fmla="*/ 42 w 77"/>
              <a:gd name="T51" fmla="*/ 4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7" h="55">
                <a:moveTo>
                  <a:pt x="42" y="46"/>
                </a:moveTo>
                <a:lnTo>
                  <a:pt x="77" y="9"/>
                </a:lnTo>
                <a:lnTo>
                  <a:pt x="77" y="9"/>
                </a:lnTo>
                <a:lnTo>
                  <a:pt x="26" y="9"/>
                </a:lnTo>
                <a:lnTo>
                  <a:pt x="26" y="9"/>
                </a:lnTo>
                <a:lnTo>
                  <a:pt x="20" y="7"/>
                </a:lnTo>
                <a:lnTo>
                  <a:pt x="15" y="4"/>
                </a:lnTo>
                <a:lnTo>
                  <a:pt x="7" y="0"/>
                </a:lnTo>
                <a:lnTo>
                  <a:pt x="6" y="0"/>
                </a:lnTo>
                <a:lnTo>
                  <a:pt x="6" y="0"/>
                </a:lnTo>
                <a:lnTo>
                  <a:pt x="0" y="11"/>
                </a:lnTo>
                <a:lnTo>
                  <a:pt x="0" y="11"/>
                </a:lnTo>
                <a:lnTo>
                  <a:pt x="4" y="17"/>
                </a:lnTo>
                <a:lnTo>
                  <a:pt x="6" y="20"/>
                </a:lnTo>
                <a:lnTo>
                  <a:pt x="7" y="27"/>
                </a:lnTo>
                <a:lnTo>
                  <a:pt x="7" y="27"/>
                </a:lnTo>
                <a:lnTo>
                  <a:pt x="7" y="33"/>
                </a:lnTo>
                <a:lnTo>
                  <a:pt x="4" y="38"/>
                </a:lnTo>
                <a:lnTo>
                  <a:pt x="0" y="42"/>
                </a:lnTo>
                <a:lnTo>
                  <a:pt x="0" y="42"/>
                </a:lnTo>
                <a:lnTo>
                  <a:pt x="7" y="55"/>
                </a:lnTo>
                <a:lnTo>
                  <a:pt x="7" y="55"/>
                </a:lnTo>
                <a:lnTo>
                  <a:pt x="13" y="51"/>
                </a:lnTo>
                <a:lnTo>
                  <a:pt x="28" y="46"/>
                </a:lnTo>
                <a:lnTo>
                  <a:pt x="28" y="46"/>
                </a:lnTo>
                <a:lnTo>
                  <a:pt x="42" y="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8" name="Freeform 49"/>
          <p:cNvSpPr>
            <a:spLocks/>
          </p:cNvSpPr>
          <p:nvPr userDrawn="1"/>
        </p:nvSpPr>
        <p:spPr bwMode="auto">
          <a:xfrm>
            <a:off x="8423275" y="-982240"/>
            <a:ext cx="119063" cy="93663"/>
          </a:xfrm>
          <a:custGeom>
            <a:avLst/>
            <a:gdLst>
              <a:gd name="T0" fmla="*/ 152 w 152"/>
              <a:gd name="T1" fmla="*/ 60 h 119"/>
              <a:gd name="T2" fmla="*/ 148 w 152"/>
              <a:gd name="T3" fmla="*/ 58 h 119"/>
              <a:gd name="T4" fmla="*/ 139 w 152"/>
              <a:gd name="T5" fmla="*/ 62 h 119"/>
              <a:gd name="T6" fmla="*/ 135 w 152"/>
              <a:gd name="T7" fmla="*/ 64 h 119"/>
              <a:gd name="T8" fmla="*/ 134 w 152"/>
              <a:gd name="T9" fmla="*/ 75 h 119"/>
              <a:gd name="T10" fmla="*/ 130 w 152"/>
              <a:gd name="T11" fmla="*/ 71 h 119"/>
              <a:gd name="T12" fmla="*/ 121 w 152"/>
              <a:gd name="T13" fmla="*/ 69 h 119"/>
              <a:gd name="T14" fmla="*/ 113 w 152"/>
              <a:gd name="T15" fmla="*/ 71 h 119"/>
              <a:gd name="T16" fmla="*/ 117 w 152"/>
              <a:gd name="T17" fmla="*/ 80 h 119"/>
              <a:gd name="T18" fmla="*/ 113 w 152"/>
              <a:gd name="T19" fmla="*/ 90 h 119"/>
              <a:gd name="T20" fmla="*/ 110 w 152"/>
              <a:gd name="T21" fmla="*/ 90 h 119"/>
              <a:gd name="T22" fmla="*/ 103 w 152"/>
              <a:gd name="T23" fmla="*/ 84 h 119"/>
              <a:gd name="T24" fmla="*/ 103 w 152"/>
              <a:gd name="T25" fmla="*/ 79 h 119"/>
              <a:gd name="T26" fmla="*/ 93 w 152"/>
              <a:gd name="T27" fmla="*/ 82 h 119"/>
              <a:gd name="T28" fmla="*/ 88 w 152"/>
              <a:gd name="T29" fmla="*/ 79 h 119"/>
              <a:gd name="T30" fmla="*/ 90 w 152"/>
              <a:gd name="T31" fmla="*/ 69 h 119"/>
              <a:gd name="T32" fmla="*/ 104 w 152"/>
              <a:gd name="T33" fmla="*/ 66 h 119"/>
              <a:gd name="T34" fmla="*/ 103 w 152"/>
              <a:gd name="T35" fmla="*/ 60 h 119"/>
              <a:gd name="T36" fmla="*/ 97 w 152"/>
              <a:gd name="T37" fmla="*/ 53 h 119"/>
              <a:gd name="T38" fmla="*/ 92 w 152"/>
              <a:gd name="T39" fmla="*/ 51 h 119"/>
              <a:gd name="T40" fmla="*/ 82 w 152"/>
              <a:gd name="T41" fmla="*/ 53 h 119"/>
              <a:gd name="T42" fmla="*/ 86 w 152"/>
              <a:gd name="T43" fmla="*/ 51 h 119"/>
              <a:gd name="T44" fmla="*/ 90 w 152"/>
              <a:gd name="T45" fmla="*/ 44 h 119"/>
              <a:gd name="T46" fmla="*/ 90 w 152"/>
              <a:gd name="T47" fmla="*/ 35 h 119"/>
              <a:gd name="T48" fmla="*/ 84 w 152"/>
              <a:gd name="T49" fmla="*/ 26 h 119"/>
              <a:gd name="T50" fmla="*/ 84 w 152"/>
              <a:gd name="T51" fmla="*/ 26 h 119"/>
              <a:gd name="T52" fmla="*/ 79 w 152"/>
              <a:gd name="T53" fmla="*/ 27 h 119"/>
              <a:gd name="T54" fmla="*/ 68 w 152"/>
              <a:gd name="T55" fmla="*/ 33 h 119"/>
              <a:gd name="T56" fmla="*/ 66 w 152"/>
              <a:gd name="T57" fmla="*/ 38 h 119"/>
              <a:gd name="T58" fmla="*/ 66 w 152"/>
              <a:gd name="T59" fmla="*/ 46 h 119"/>
              <a:gd name="T60" fmla="*/ 62 w 152"/>
              <a:gd name="T61" fmla="*/ 40 h 119"/>
              <a:gd name="T62" fmla="*/ 55 w 152"/>
              <a:gd name="T63" fmla="*/ 35 h 119"/>
              <a:gd name="T64" fmla="*/ 50 w 152"/>
              <a:gd name="T65" fmla="*/ 35 h 119"/>
              <a:gd name="T66" fmla="*/ 42 w 152"/>
              <a:gd name="T67" fmla="*/ 38 h 119"/>
              <a:gd name="T68" fmla="*/ 48 w 152"/>
              <a:gd name="T69" fmla="*/ 46 h 119"/>
              <a:gd name="T70" fmla="*/ 48 w 152"/>
              <a:gd name="T71" fmla="*/ 57 h 119"/>
              <a:gd name="T72" fmla="*/ 42 w 152"/>
              <a:gd name="T73" fmla="*/ 58 h 119"/>
              <a:gd name="T74" fmla="*/ 35 w 152"/>
              <a:gd name="T75" fmla="*/ 53 h 119"/>
              <a:gd name="T76" fmla="*/ 33 w 152"/>
              <a:gd name="T77" fmla="*/ 47 h 119"/>
              <a:gd name="T78" fmla="*/ 26 w 152"/>
              <a:gd name="T79" fmla="*/ 53 h 119"/>
              <a:gd name="T80" fmla="*/ 20 w 152"/>
              <a:gd name="T81" fmla="*/ 51 h 119"/>
              <a:gd name="T82" fmla="*/ 17 w 152"/>
              <a:gd name="T83" fmla="*/ 42 h 119"/>
              <a:gd name="T84" fmla="*/ 31 w 152"/>
              <a:gd name="T85" fmla="*/ 35 h 119"/>
              <a:gd name="T86" fmla="*/ 29 w 152"/>
              <a:gd name="T87" fmla="*/ 33 h 119"/>
              <a:gd name="T88" fmla="*/ 22 w 152"/>
              <a:gd name="T89" fmla="*/ 24 h 119"/>
              <a:gd name="T90" fmla="*/ 15 w 152"/>
              <a:gd name="T91" fmla="*/ 24 h 119"/>
              <a:gd name="T92" fmla="*/ 18 w 152"/>
              <a:gd name="T93" fmla="*/ 18 h 119"/>
              <a:gd name="T94" fmla="*/ 20 w 152"/>
              <a:gd name="T95" fmla="*/ 9 h 119"/>
              <a:gd name="T96" fmla="*/ 18 w 152"/>
              <a:gd name="T97" fmla="*/ 5 h 119"/>
              <a:gd name="T98" fmla="*/ 13 w 152"/>
              <a:gd name="T99" fmla="*/ 0 h 119"/>
              <a:gd name="T100" fmla="*/ 35 w 152"/>
              <a:gd name="T101" fmla="*/ 88 h 119"/>
              <a:gd name="T102" fmla="*/ 46 w 152"/>
              <a:gd name="T103" fmla="*/ 82 h 119"/>
              <a:gd name="T104" fmla="*/ 51 w 152"/>
              <a:gd name="T105" fmla="*/ 79 h 119"/>
              <a:gd name="T106" fmla="*/ 66 w 152"/>
              <a:gd name="T107" fmla="*/ 80 h 119"/>
              <a:gd name="T108" fmla="*/ 71 w 152"/>
              <a:gd name="T109" fmla="*/ 82 h 119"/>
              <a:gd name="T110" fmla="*/ 82 w 152"/>
              <a:gd name="T111" fmla="*/ 90 h 119"/>
              <a:gd name="T112" fmla="*/ 84 w 152"/>
              <a:gd name="T113" fmla="*/ 99 h 119"/>
              <a:gd name="T114" fmla="*/ 84 w 152"/>
              <a:gd name="T115" fmla="*/ 104 h 119"/>
              <a:gd name="T116" fmla="*/ 106 w 152"/>
              <a:gd name="T117"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2" h="119">
                <a:moveTo>
                  <a:pt x="106" y="119"/>
                </a:moveTo>
                <a:lnTo>
                  <a:pt x="152" y="60"/>
                </a:lnTo>
                <a:lnTo>
                  <a:pt x="152" y="60"/>
                </a:lnTo>
                <a:lnTo>
                  <a:pt x="148" y="58"/>
                </a:lnTo>
                <a:lnTo>
                  <a:pt x="145" y="60"/>
                </a:lnTo>
                <a:lnTo>
                  <a:pt x="139" y="62"/>
                </a:lnTo>
                <a:lnTo>
                  <a:pt x="139" y="62"/>
                </a:lnTo>
                <a:lnTo>
                  <a:pt x="135" y="64"/>
                </a:lnTo>
                <a:lnTo>
                  <a:pt x="134" y="69"/>
                </a:lnTo>
                <a:lnTo>
                  <a:pt x="134" y="75"/>
                </a:lnTo>
                <a:lnTo>
                  <a:pt x="134" y="75"/>
                </a:lnTo>
                <a:lnTo>
                  <a:pt x="130" y="71"/>
                </a:lnTo>
                <a:lnTo>
                  <a:pt x="128" y="69"/>
                </a:lnTo>
                <a:lnTo>
                  <a:pt x="121" y="69"/>
                </a:lnTo>
                <a:lnTo>
                  <a:pt x="115" y="69"/>
                </a:lnTo>
                <a:lnTo>
                  <a:pt x="113" y="71"/>
                </a:lnTo>
                <a:lnTo>
                  <a:pt x="113" y="71"/>
                </a:lnTo>
                <a:lnTo>
                  <a:pt x="117" y="80"/>
                </a:lnTo>
                <a:lnTo>
                  <a:pt x="117" y="86"/>
                </a:lnTo>
                <a:lnTo>
                  <a:pt x="113" y="90"/>
                </a:lnTo>
                <a:lnTo>
                  <a:pt x="110" y="90"/>
                </a:lnTo>
                <a:lnTo>
                  <a:pt x="110" y="90"/>
                </a:lnTo>
                <a:lnTo>
                  <a:pt x="104" y="88"/>
                </a:lnTo>
                <a:lnTo>
                  <a:pt x="103" y="84"/>
                </a:lnTo>
                <a:lnTo>
                  <a:pt x="103" y="79"/>
                </a:lnTo>
                <a:lnTo>
                  <a:pt x="103" y="79"/>
                </a:lnTo>
                <a:lnTo>
                  <a:pt x="97" y="82"/>
                </a:lnTo>
                <a:lnTo>
                  <a:pt x="93" y="82"/>
                </a:lnTo>
                <a:lnTo>
                  <a:pt x="88" y="79"/>
                </a:lnTo>
                <a:lnTo>
                  <a:pt x="88" y="79"/>
                </a:lnTo>
                <a:lnTo>
                  <a:pt x="86" y="75"/>
                </a:lnTo>
                <a:lnTo>
                  <a:pt x="90" y="69"/>
                </a:lnTo>
                <a:lnTo>
                  <a:pt x="95" y="68"/>
                </a:lnTo>
                <a:lnTo>
                  <a:pt x="104" y="66"/>
                </a:lnTo>
                <a:lnTo>
                  <a:pt x="104" y="66"/>
                </a:lnTo>
                <a:lnTo>
                  <a:pt x="103" y="60"/>
                </a:lnTo>
                <a:lnTo>
                  <a:pt x="101" y="57"/>
                </a:lnTo>
                <a:lnTo>
                  <a:pt x="97" y="53"/>
                </a:lnTo>
                <a:lnTo>
                  <a:pt x="97" y="53"/>
                </a:lnTo>
                <a:lnTo>
                  <a:pt x="92" y="51"/>
                </a:lnTo>
                <a:lnTo>
                  <a:pt x="88" y="51"/>
                </a:lnTo>
                <a:lnTo>
                  <a:pt x="82" y="53"/>
                </a:lnTo>
                <a:lnTo>
                  <a:pt x="82" y="53"/>
                </a:lnTo>
                <a:lnTo>
                  <a:pt x="86" y="51"/>
                </a:lnTo>
                <a:lnTo>
                  <a:pt x="88" y="47"/>
                </a:lnTo>
                <a:lnTo>
                  <a:pt x="90" y="44"/>
                </a:lnTo>
                <a:lnTo>
                  <a:pt x="90" y="44"/>
                </a:lnTo>
                <a:lnTo>
                  <a:pt x="90" y="35"/>
                </a:lnTo>
                <a:lnTo>
                  <a:pt x="88" y="31"/>
                </a:lnTo>
                <a:lnTo>
                  <a:pt x="84" y="26"/>
                </a:lnTo>
                <a:lnTo>
                  <a:pt x="84" y="26"/>
                </a:lnTo>
                <a:lnTo>
                  <a:pt x="84" y="26"/>
                </a:lnTo>
                <a:lnTo>
                  <a:pt x="84" y="26"/>
                </a:lnTo>
                <a:lnTo>
                  <a:pt x="79" y="27"/>
                </a:lnTo>
                <a:lnTo>
                  <a:pt x="73" y="29"/>
                </a:lnTo>
                <a:lnTo>
                  <a:pt x="68" y="33"/>
                </a:lnTo>
                <a:lnTo>
                  <a:pt x="68" y="33"/>
                </a:lnTo>
                <a:lnTo>
                  <a:pt x="66" y="38"/>
                </a:lnTo>
                <a:lnTo>
                  <a:pt x="66" y="42"/>
                </a:lnTo>
                <a:lnTo>
                  <a:pt x="66" y="46"/>
                </a:lnTo>
                <a:lnTo>
                  <a:pt x="66" y="46"/>
                </a:lnTo>
                <a:lnTo>
                  <a:pt x="62" y="40"/>
                </a:lnTo>
                <a:lnTo>
                  <a:pt x="60" y="37"/>
                </a:lnTo>
                <a:lnTo>
                  <a:pt x="55" y="35"/>
                </a:lnTo>
                <a:lnTo>
                  <a:pt x="55" y="35"/>
                </a:lnTo>
                <a:lnTo>
                  <a:pt x="50" y="35"/>
                </a:lnTo>
                <a:lnTo>
                  <a:pt x="46" y="37"/>
                </a:lnTo>
                <a:lnTo>
                  <a:pt x="42" y="38"/>
                </a:lnTo>
                <a:lnTo>
                  <a:pt x="42" y="38"/>
                </a:lnTo>
                <a:lnTo>
                  <a:pt x="48" y="46"/>
                </a:lnTo>
                <a:lnTo>
                  <a:pt x="48" y="53"/>
                </a:lnTo>
                <a:lnTo>
                  <a:pt x="48" y="57"/>
                </a:lnTo>
                <a:lnTo>
                  <a:pt x="42" y="58"/>
                </a:lnTo>
                <a:lnTo>
                  <a:pt x="42" y="58"/>
                </a:lnTo>
                <a:lnTo>
                  <a:pt x="37" y="57"/>
                </a:lnTo>
                <a:lnTo>
                  <a:pt x="35" y="53"/>
                </a:lnTo>
                <a:lnTo>
                  <a:pt x="33" y="47"/>
                </a:lnTo>
                <a:lnTo>
                  <a:pt x="33" y="47"/>
                </a:lnTo>
                <a:lnTo>
                  <a:pt x="29" y="51"/>
                </a:lnTo>
                <a:lnTo>
                  <a:pt x="26" y="53"/>
                </a:lnTo>
                <a:lnTo>
                  <a:pt x="20" y="51"/>
                </a:lnTo>
                <a:lnTo>
                  <a:pt x="20" y="51"/>
                </a:lnTo>
                <a:lnTo>
                  <a:pt x="17" y="47"/>
                </a:lnTo>
                <a:lnTo>
                  <a:pt x="17" y="42"/>
                </a:lnTo>
                <a:lnTo>
                  <a:pt x="22" y="38"/>
                </a:lnTo>
                <a:lnTo>
                  <a:pt x="31" y="35"/>
                </a:lnTo>
                <a:lnTo>
                  <a:pt x="31" y="35"/>
                </a:lnTo>
                <a:lnTo>
                  <a:pt x="29" y="33"/>
                </a:lnTo>
                <a:lnTo>
                  <a:pt x="28" y="27"/>
                </a:lnTo>
                <a:lnTo>
                  <a:pt x="22" y="24"/>
                </a:lnTo>
                <a:lnTo>
                  <a:pt x="18" y="22"/>
                </a:lnTo>
                <a:lnTo>
                  <a:pt x="15" y="24"/>
                </a:lnTo>
                <a:lnTo>
                  <a:pt x="15" y="24"/>
                </a:lnTo>
                <a:lnTo>
                  <a:pt x="18" y="18"/>
                </a:lnTo>
                <a:lnTo>
                  <a:pt x="20" y="15"/>
                </a:lnTo>
                <a:lnTo>
                  <a:pt x="20" y="9"/>
                </a:lnTo>
                <a:lnTo>
                  <a:pt x="20" y="9"/>
                </a:lnTo>
                <a:lnTo>
                  <a:pt x="18" y="5"/>
                </a:lnTo>
                <a:lnTo>
                  <a:pt x="17" y="2"/>
                </a:lnTo>
                <a:lnTo>
                  <a:pt x="13" y="0"/>
                </a:lnTo>
                <a:lnTo>
                  <a:pt x="0" y="73"/>
                </a:lnTo>
                <a:lnTo>
                  <a:pt x="35" y="88"/>
                </a:lnTo>
                <a:lnTo>
                  <a:pt x="35" y="88"/>
                </a:lnTo>
                <a:lnTo>
                  <a:pt x="46" y="82"/>
                </a:lnTo>
                <a:lnTo>
                  <a:pt x="46" y="82"/>
                </a:lnTo>
                <a:lnTo>
                  <a:pt x="51" y="79"/>
                </a:lnTo>
                <a:lnTo>
                  <a:pt x="59" y="79"/>
                </a:lnTo>
                <a:lnTo>
                  <a:pt x="66" y="80"/>
                </a:lnTo>
                <a:lnTo>
                  <a:pt x="71" y="82"/>
                </a:lnTo>
                <a:lnTo>
                  <a:pt x="71" y="82"/>
                </a:lnTo>
                <a:lnTo>
                  <a:pt x="79" y="86"/>
                </a:lnTo>
                <a:lnTo>
                  <a:pt x="82" y="90"/>
                </a:lnTo>
                <a:lnTo>
                  <a:pt x="84" y="95"/>
                </a:lnTo>
                <a:lnTo>
                  <a:pt x="84" y="99"/>
                </a:lnTo>
                <a:lnTo>
                  <a:pt x="84" y="99"/>
                </a:lnTo>
                <a:lnTo>
                  <a:pt x="84" y="104"/>
                </a:lnTo>
                <a:lnTo>
                  <a:pt x="81" y="110"/>
                </a:lnTo>
                <a:lnTo>
                  <a:pt x="106" y="11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9" name="Freeform 50"/>
          <p:cNvSpPr>
            <a:spLocks/>
          </p:cNvSpPr>
          <p:nvPr userDrawn="1"/>
        </p:nvSpPr>
        <p:spPr bwMode="auto">
          <a:xfrm>
            <a:off x="8520113" y="-917153"/>
            <a:ext cx="142875" cy="25400"/>
          </a:xfrm>
          <a:custGeom>
            <a:avLst/>
            <a:gdLst>
              <a:gd name="T0" fmla="*/ 151 w 180"/>
              <a:gd name="T1" fmla="*/ 28 h 31"/>
              <a:gd name="T2" fmla="*/ 180 w 180"/>
              <a:gd name="T3" fmla="*/ 15 h 31"/>
              <a:gd name="T4" fmla="*/ 151 w 180"/>
              <a:gd name="T5" fmla="*/ 2 h 31"/>
              <a:gd name="T6" fmla="*/ 151 w 180"/>
              <a:gd name="T7" fmla="*/ 2 h 31"/>
              <a:gd name="T8" fmla="*/ 102 w 180"/>
              <a:gd name="T9" fmla="*/ 2 h 31"/>
              <a:gd name="T10" fmla="*/ 23 w 180"/>
              <a:gd name="T11" fmla="*/ 0 h 31"/>
              <a:gd name="T12" fmla="*/ 0 w 180"/>
              <a:gd name="T13" fmla="*/ 31 h 31"/>
              <a:gd name="T14" fmla="*/ 0 w 180"/>
              <a:gd name="T15" fmla="*/ 31 h 31"/>
              <a:gd name="T16" fmla="*/ 151 w 180"/>
              <a:gd name="T17"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31">
                <a:moveTo>
                  <a:pt x="151" y="28"/>
                </a:moveTo>
                <a:lnTo>
                  <a:pt x="180" y="15"/>
                </a:lnTo>
                <a:lnTo>
                  <a:pt x="151" y="2"/>
                </a:lnTo>
                <a:lnTo>
                  <a:pt x="151" y="2"/>
                </a:lnTo>
                <a:lnTo>
                  <a:pt x="102" y="2"/>
                </a:lnTo>
                <a:lnTo>
                  <a:pt x="23" y="0"/>
                </a:lnTo>
                <a:lnTo>
                  <a:pt x="0" y="31"/>
                </a:lnTo>
                <a:lnTo>
                  <a:pt x="0" y="31"/>
                </a:lnTo>
                <a:lnTo>
                  <a:pt x="151"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00" name="Freeform 51"/>
          <p:cNvSpPr>
            <a:spLocks/>
          </p:cNvSpPr>
          <p:nvPr userDrawn="1"/>
        </p:nvSpPr>
        <p:spPr bwMode="auto">
          <a:xfrm>
            <a:off x="8566150" y="-855240"/>
            <a:ext cx="85725" cy="84138"/>
          </a:xfrm>
          <a:custGeom>
            <a:avLst/>
            <a:gdLst>
              <a:gd name="T0" fmla="*/ 55 w 108"/>
              <a:gd name="T1" fmla="*/ 106 h 106"/>
              <a:gd name="T2" fmla="*/ 55 w 108"/>
              <a:gd name="T3" fmla="*/ 106 h 106"/>
              <a:gd name="T4" fmla="*/ 38 w 108"/>
              <a:gd name="T5" fmla="*/ 97 h 106"/>
              <a:gd name="T6" fmla="*/ 26 w 108"/>
              <a:gd name="T7" fmla="*/ 89 h 106"/>
              <a:gd name="T8" fmla="*/ 13 w 108"/>
              <a:gd name="T9" fmla="*/ 80 h 106"/>
              <a:gd name="T10" fmla="*/ 4 w 108"/>
              <a:gd name="T11" fmla="*/ 69 h 106"/>
              <a:gd name="T12" fmla="*/ 4 w 108"/>
              <a:gd name="T13" fmla="*/ 69 h 106"/>
              <a:gd name="T14" fmla="*/ 0 w 108"/>
              <a:gd name="T15" fmla="*/ 62 h 106"/>
              <a:gd name="T16" fmla="*/ 0 w 108"/>
              <a:gd name="T17" fmla="*/ 53 h 106"/>
              <a:gd name="T18" fmla="*/ 0 w 108"/>
              <a:gd name="T19" fmla="*/ 45 h 106"/>
              <a:gd name="T20" fmla="*/ 0 w 108"/>
              <a:gd name="T21" fmla="*/ 36 h 106"/>
              <a:gd name="T22" fmla="*/ 4 w 108"/>
              <a:gd name="T23" fmla="*/ 27 h 106"/>
              <a:gd name="T24" fmla="*/ 7 w 108"/>
              <a:gd name="T25" fmla="*/ 20 h 106"/>
              <a:gd name="T26" fmla="*/ 15 w 108"/>
              <a:gd name="T27" fmla="*/ 13 h 106"/>
              <a:gd name="T28" fmla="*/ 22 w 108"/>
              <a:gd name="T29" fmla="*/ 7 h 106"/>
              <a:gd name="T30" fmla="*/ 22 w 108"/>
              <a:gd name="T31" fmla="*/ 7 h 106"/>
              <a:gd name="T32" fmla="*/ 26 w 108"/>
              <a:gd name="T33" fmla="*/ 11 h 106"/>
              <a:gd name="T34" fmla="*/ 27 w 108"/>
              <a:gd name="T35" fmla="*/ 14 h 106"/>
              <a:gd name="T36" fmla="*/ 27 w 108"/>
              <a:gd name="T37" fmla="*/ 18 h 106"/>
              <a:gd name="T38" fmla="*/ 27 w 108"/>
              <a:gd name="T39" fmla="*/ 18 h 106"/>
              <a:gd name="T40" fmla="*/ 51 w 108"/>
              <a:gd name="T41" fmla="*/ 16 h 106"/>
              <a:gd name="T42" fmla="*/ 51 w 108"/>
              <a:gd name="T43" fmla="*/ 16 h 106"/>
              <a:gd name="T44" fmla="*/ 51 w 108"/>
              <a:gd name="T45" fmla="*/ 9 h 106"/>
              <a:gd name="T46" fmla="*/ 51 w 108"/>
              <a:gd name="T47" fmla="*/ 3 h 106"/>
              <a:gd name="T48" fmla="*/ 49 w 108"/>
              <a:gd name="T49" fmla="*/ 0 h 106"/>
              <a:gd name="T50" fmla="*/ 49 w 108"/>
              <a:gd name="T51" fmla="*/ 0 h 106"/>
              <a:gd name="T52" fmla="*/ 57 w 108"/>
              <a:gd name="T53" fmla="*/ 5 h 106"/>
              <a:gd name="T54" fmla="*/ 59 w 108"/>
              <a:gd name="T55" fmla="*/ 11 h 106"/>
              <a:gd name="T56" fmla="*/ 60 w 108"/>
              <a:gd name="T57" fmla="*/ 16 h 106"/>
              <a:gd name="T58" fmla="*/ 60 w 108"/>
              <a:gd name="T59" fmla="*/ 16 h 106"/>
              <a:gd name="T60" fmla="*/ 82 w 108"/>
              <a:gd name="T61" fmla="*/ 18 h 106"/>
              <a:gd name="T62" fmla="*/ 82 w 108"/>
              <a:gd name="T63" fmla="*/ 18 h 106"/>
              <a:gd name="T64" fmla="*/ 82 w 108"/>
              <a:gd name="T65" fmla="*/ 11 h 106"/>
              <a:gd name="T66" fmla="*/ 79 w 108"/>
              <a:gd name="T67" fmla="*/ 3 h 106"/>
              <a:gd name="T68" fmla="*/ 79 w 108"/>
              <a:gd name="T69" fmla="*/ 3 h 106"/>
              <a:gd name="T70" fmla="*/ 86 w 108"/>
              <a:gd name="T71" fmla="*/ 9 h 106"/>
              <a:gd name="T72" fmla="*/ 93 w 108"/>
              <a:gd name="T73" fmla="*/ 13 h 106"/>
              <a:gd name="T74" fmla="*/ 99 w 108"/>
              <a:gd name="T75" fmla="*/ 20 h 106"/>
              <a:gd name="T76" fmla="*/ 102 w 108"/>
              <a:gd name="T77" fmla="*/ 25 h 106"/>
              <a:gd name="T78" fmla="*/ 106 w 108"/>
              <a:gd name="T79" fmla="*/ 38 h 106"/>
              <a:gd name="T80" fmla="*/ 108 w 108"/>
              <a:gd name="T81" fmla="*/ 49 h 106"/>
              <a:gd name="T82" fmla="*/ 108 w 108"/>
              <a:gd name="T83" fmla="*/ 49 h 106"/>
              <a:gd name="T84" fmla="*/ 106 w 108"/>
              <a:gd name="T85" fmla="*/ 62 h 106"/>
              <a:gd name="T86" fmla="*/ 102 w 108"/>
              <a:gd name="T87" fmla="*/ 73 h 106"/>
              <a:gd name="T88" fmla="*/ 95 w 108"/>
              <a:gd name="T89" fmla="*/ 82 h 106"/>
              <a:gd name="T90" fmla="*/ 86 w 108"/>
              <a:gd name="T91" fmla="*/ 89 h 106"/>
              <a:gd name="T92" fmla="*/ 86 w 108"/>
              <a:gd name="T93" fmla="*/ 89 h 106"/>
              <a:gd name="T94" fmla="*/ 69 w 108"/>
              <a:gd name="T95" fmla="*/ 98 h 106"/>
              <a:gd name="T96" fmla="*/ 55 w 108"/>
              <a:gd name="T97"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 h="106">
                <a:moveTo>
                  <a:pt x="55" y="106"/>
                </a:moveTo>
                <a:lnTo>
                  <a:pt x="55" y="106"/>
                </a:lnTo>
                <a:lnTo>
                  <a:pt x="38" y="97"/>
                </a:lnTo>
                <a:lnTo>
                  <a:pt x="26" y="89"/>
                </a:lnTo>
                <a:lnTo>
                  <a:pt x="13" y="80"/>
                </a:lnTo>
                <a:lnTo>
                  <a:pt x="4" y="69"/>
                </a:lnTo>
                <a:lnTo>
                  <a:pt x="4" y="69"/>
                </a:lnTo>
                <a:lnTo>
                  <a:pt x="0" y="62"/>
                </a:lnTo>
                <a:lnTo>
                  <a:pt x="0" y="53"/>
                </a:lnTo>
                <a:lnTo>
                  <a:pt x="0" y="45"/>
                </a:lnTo>
                <a:lnTo>
                  <a:pt x="0" y="36"/>
                </a:lnTo>
                <a:lnTo>
                  <a:pt x="4" y="27"/>
                </a:lnTo>
                <a:lnTo>
                  <a:pt x="7" y="20"/>
                </a:lnTo>
                <a:lnTo>
                  <a:pt x="15" y="13"/>
                </a:lnTo>
                <a:lnTo>
                  <a:pt x="22" y="7"/>
                </a:lnTo>
                <a:lnTo>
                  <a:pt x="22" y="7"/>
                </a:lnTo>
                <a:lnTo>
                  <a:pt x="26" y="11"/>
                </a:lnTo>
                <a:lnTo>
                  <a:pt x="27" y="14"/>
                </a:lnTo>
                <a:lnTo>
                  <a:pt x="27" y="18"/>
                </a:lnTo>
                <a:lnTo>
                  <a:pt x="27" y="18"/>
                </a:lnTo>
                <a:lnTo>
                  <a:pt x="51" y="16"/>
                </a:lnTo>
                <a:lnTo>
                  <a:pt x="51" y="16"/>
                </a:lnTo>
                <a:lnTo>
                  <a:pt x="51" y="9"/>
                </a:lnTo>
                <a:lnTo>
                  <a:pt x="51" y="3"/>
                </a:lnTo>
                <a:lnTo>
                  <a:pt x="49" y="0"/>
                </a:lnTo>
                <a:lnTo>
                  <a:pt x="49" y="0"/>
                </a:lnTo>
                <a:lnTo>
                  <a:pt x="57" y="5"/>
                </a:lnTo>
                <a:lnTo>
                  <a:pt x="59" y="11"/>
                </a:lnTo>
                <a:lnTo>
                  <a:pt x="60" y="16"/>
                </a:lnTo>
                <a:lnTo>
                  <a:pt x="60" y="16"/>
                </a:lnTo>
                <a:lnTo>
                  <a:pt x="82" y="18"/>
                </a:lnTo>
                <a:lnTo>
                  <a:pt x="82" y="18"/>
                </a:lnTo>
                <a:lnTo>
                  <a:pt x="82" y="11"/>
                </a:lnTo>
                <a:lnTo>
                  <a:pt x="79" y="3"/>
                </a:lnTo>
                <a:lnTo>
                  <a:pt x="79" y="3"/>
                </a:lnTo>
                <a:lnTo>
                  <a:pt x="86" y="9"/>
                </a:lnTo>
                <a:lnTo>
                  <a:pt x="93" y="13"/>
                </a:lnTo>
                <a:lnTo>
                  <a:pt x="99" y="20"/>
                </a:lnTo>
                <a:lnTo>
                  <a:pt x="102" y="25"/>
                </a:lnTo>
                <a:lnTo>
                  <a:pt x="106" y="38"/>
                </a:lnTo>
                <a:lnTo>
                  <a:pt x="108" y="49"/>
                </a:lnTo>
                <a:lnTo>
                  <a:pt x="108" y="49"/>
                </a:lnTo>
                <a:lnTo>
                  <a:pt x="106" y="62"/>
                </a:lnTo>
                <a:lnTo>
                  <a:pt x="102" y="73"/>
                </a:lnTo>
                <a:lnTo>
                  <a:pt x="95" y="82"/>
                </a:lnTo>
                <a:lnTo>
                  <a:pt x="86" y="89"/>
                </a:lnTo>
                <a:lnTo>
                  <a:pt x="86" y="89"/>
                </a:lnTo>
                <a:lnTo>
                  <a:pt x="69" y="98"/>
                </a:lnTo>
                <a:lnTo>
                  <a:pt x="55" y="1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01" name="Freeform 52"/>
          <p:cNvSpPr>
            <a:spLocks/>
          </p:cNvSpPr>
          <p:nvPr userDrawn="1"/>
        </p:nvSpPr>
        <p:spPr bwMode="auto">
          <a:xfrm>
            <a:off x="8589963" y="-648865"/>
            <a:ext cx="1588" cy="1588"/>
          </a:xfrm>
          <a:custGeom>
            <a:avLst/>
            <a:gdLst>
              <a:gd name="T0" fmla="*/ 4 w 4"/>
              <a:gd name="T1" fmla="*/ 2 h 2"/>
              <a:gd name="T2" fmla="*/ 4 w 4"/>
              <a:gd name="T3" fmla="*/ 2 h 2"/>
              <a:gd name="T4" fmla="*/ 2 w 4"/>
              <a:gd name="T5" fmla="*/ 0 h 2"/>
              <a:gd name="T6" fmla="*/ 2 w 4"/>
              <a:gd name="T7" fmla="*/ 0 h 2"/>
              <a:gd name="T8" fmla="*/ 0 w 4"/>
              <a:gd name="T9" fmla="*/ 0 h 2"/>
              <a:gd name="T10" fmla="*/ 0 w 4"/>
              <a:gd name="T11" fmla="*/ 0 h 2"/>
              <a:gd name="T12" fmla="*/ 4 w 4"/>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2"/>
                </a:moveTo>
                <a:lnTo>
                  <a:pt x="4" y="2"/>
                </a:lnTo>
                <a:lnTo>
                  <a:pt x="2" y="0"/>
                </a:lnTo>
                <a:lnTo>
                  <a:pt x="2" y="0"/>
                </a:lnTo>
                <a:lnTo>
                  <a:pt x="0" y="0"/>
                </a:lnTo>
                <a:lnTo>
                  <a:pt x="0" y="0"/>
                </a:lnTo>
                <a:lnTo>
                  <a:pt x="4"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02" name="Freeform 53"/>
          <p:cNvSpPr>
            <a:spLocks/>
          </p:cNvSpPr>
          <p:nvPr userDrawn="1"/>
        </p:nvSpPr>
        <p:spPr bwMode="auto">
          <a:xfrm>
            <a:off x="8405813" y="-885403"/>
            <a:ext cx="15875" cy="9525"/>
          </a:xfrm>
          <a:custGeom>
            <a:avLst/>
            <a:gdLst>
              <a:gd name="T0" fmla="*/ 20 w 20"/>
              <a:gd name="T1" fmla="*/ 10 h 11"/>
              <a:gd name="T2" fmla="*/ 20 w 20"/>
              <a:gd name="T3" fmla="*/ 10 h 11"/>
              <a:gd name="T4" fmla="*/ 19 w 20"/>
              <a:gd name="T5" fmla="*/ 10 h 11"/>
              <a:gd name="T6" fmla="*/ 11 w 20"/>
              <a:gd name="T7" fmla="*/ 11 h 11"/>
              <a:gd name="T8" fmla="*/ 2 w 20"/>
              <a:gd name="T9" fmla="*/ 11 h 11"/>
              <a:gd name="T10" fmla="*/ 2 w 20"/>
              <a:gd name="T11" fmla="*/ 11 h 11"/>
              <a:gd name="T12" fmla="*/ 0 w 20"/>
              <a:gd name="T13" fmla="*/ 8 h 11"/>
              <a:gd name="T14" fmla="*/ 0 w 20"/>
              <a:gd name="T15" fmla="*/ 0 h 11"/>
              <a:gd name="T16" fmla="*/ 0 w 20"/>
              <a:gd name="T17" fmla="*/ 0 h 11"/>
              <a:gd name="T18" fmla="*/ 4 w 20"/>
              <a:gd name="T19" fmla="*/ 0 h 11"/>
              <a:gd name="T20" fmla="*/ 11 w 20"/>
              <a:gd name="T21" fmla="*/ 2 h 11"/>
              <a:gd name="T22" fmla="*/ 17 w 20"/>
              <a:gd name="T23" fmla="*/ 4 h 11"/>
              <a:gd name="T24" fmla="*/ 20 w 20"/>
              <a:gd name="T25"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1">
                <a:moveTo>
                  <a:pt x="20" y="10"/>
                </a:moveTo>
                <a:lnTo>
                  <a:pt x="20" y="10"/>
                </a:lnTo>
                <a:lnTo>
                  <a:pt x="19" y="10"/>
                </a:lnTo>
                <a:lnTo>
                  <a:pt x="11" y="11"/>
                </a:lnTo>
                <a:lnTo>
                  <a:pt x="2" y="11"/>
                </a:lnTo>
                <a:lnTo>
                  <a:pt x="2" y="11"/>
                </a:lnTo>
                <a:lnTo>
                  <a:pt x="0" y="8"/>
                </a:lnTo>
                <a:lnTo>
                  <a:pt x="0" y="0"/>
                </a:lnTo>
                <a:lnTo>
                  <a:pt x="0" y="0"/>
                </a:lnTo>
                <a:lnTo>
                  <a:pt x="4" y="0"/>
                </a:lnTo>
                <a:lnTo>
                  <a:pt x="11" y="2"/>
                </a:lnTo>
                <a:lnTo>
                  <a:pt x="17" y="4"/>
                </a:lnTo>
                <a:lnTo>
                  <a:pt x="20"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03" name="Freeform 54"/>
          <p:cNvSpPr>
            <a:spLocks/>
          </p:cNvSpPr>
          <p:nvPr userDrawn="1"/>
        </p:nvSpPr>
        <p:spPr bwMode="auto">
          <a:xfrm>
            <a:off x="8197850" y="-917153"/>
            <a:ext cx="492125" cy="579438"/>
          </a:xfrm>
          <a:custGeom>
            <a:avLst/>
            <a:gdLst>
              <a:gd name="T0" fmla="*/ 592 w 619"/>
              <a:gd name="T1" fmla="*/ 245 h 729"/>
              <a:gd name="T2" fmla="*/ 588 w 619"/>
              <a:gd name="T3" fmla="*/ 150 h 729"/>
              <a:gd name="T4" fmla="*/ 513 w 619"/>
              <a:gd name="T5" fmla="*/ 57 h 729"/>
              <a:gd name="T6" fmla="*/ 446 w 619"/>
              <a:gd name="T7" fmla="*/ 150 h 729"/>
              <a:gd name="T8" fmla="*/ 460 w 619"/>
              <a:gd name="T9" fmla="*/ 243 h 729"/>
              <a:gd name="T10" fmla="*/ 490 w 619"/>
              <a:gd name="T11" fmla="*/ 256 h 729"/>
              <a:gd name="T12" fmla="*/ 506 w 619"/>
              <a:gd name="T13" fmla="*/ 240 h 729"/>
              <a:gd name="T14" fmla="*/ 568 w 619"/>
              <a:gd name="T15" fmla="*/ 250 h 729"/>
              <a:gd name="T16" fmla="*/ 533 w 619"/>
              <a:gd name="T17" fmla="*/ 345 h 729"/>
              <a:gd name="T18" fmla="*/ 429 w 619"/>
              <a:gd name="T19" fmla="*/ 291 h 729"/>
              <a:gd name="T20" fmla="*/ 417 w 619"/>
              <a:gd name="T21" fmla="*/ 198 h 729"/>
              <a:gd name="T22" fmla="*/ 418 w 619"/>
              <a:gd name="T23" fmla="*/ 183 h 729"/>
              <a:gd name="T24" fmla="*/ 375 w 619"/>
              <a:gd name="T25" fmla="*/ 121 h 729"/>
              <a:gd name="T26" fmla="*/ 424 w 619"/>
              <a:gd name="T27" fmla="*/ 77 h 729"/>
              <a:gd name="T28" fmla="*/ 353 w 619"/>
              <a:gd name="T29" fmla="*/ 28 h 729"/>
              <a:gd name="T30" fmla="*/ 247 w 619"/>
              <a:gd name="T31" fmla="*/ 33 h 729"/>
              <a:gd name="T32" fmla="*/ 225 w 619"/>
              <a:gd name="T33" fmla="*/ 73 h 729"/>
              <a:gd name="T34" fmla="*/ 243 w 619"/>
              <a:gd name="T35" fmla="*/ 104 h 729"/>
              <a:gd name="T36" fmla="*/ 292 w 619"/>
              <a:gd name="T37" fmla="*/ 88 h 729"/>
              <a:gd name="T38" fmla="*/ 219 w 619"/>
              <a:gd name="T39" fmla="*/ 115 h 729"/>
              <a:gd name="T40" fmla="*/ 190 w 619"/>
              <a:gd name="T41" fmla="*/ 110 h 729"/>
              <a:gd name="T42" fmla="*/ 258 w 619"/>
              <a:gd name="T43" fmla="*/ 112 h 729"/>
              <a:gd name="T44" fmla="*/ 261 w 619"/>
              <a:gd name="T45" fmla="*/ 128 h 729"/>
              <a:gd name="T46" fmla="*/ 238 w 619"/>
              <a:gd name="T47" fmla="*/ 152 h 729"/>
              <a:gd name="T48" fmla="*/ 259 w 619"/>
              <a:gd name="T49" fmla="*/ 192 h 729"/>
              <a:gd name="T50" fmla="*/ 133 w 619"/>
              <a:gd name="T51" fmla="*/ 276 h 729"/>
              <a:gd name="T52" fmla="*/ 53 w 619"/>
              <a:gd name="T53" fmla="*/ 252 h 729"/>
              <a:gd name="T54" fmla="*/ 42 w 619"/>
              <a:gd name="T55" fmla="*/ 267 h 729"/>
              <a:gd name="T56" fmla="*/ 51 w 619"/>
              <a:gd name="T57" fmla="*/ 287 h 729"/>
              <a:gd name="T58" fmla="*/ 2 w 619"/>
              <a:gd name="T59" fmla="*/ 305 h 729"/>
              <a:gd name="T60" fmla="*/ 58 w 619"/>
              <a:gd name="T61" fmla="*/ 313 h 729"/>
              <a:gd name="T62" fmla="*/ 37 w 619"/>
              <a:gd name="T63" fmla="*/ 331 h 729"/>
              <a:gd name="T64" fmla="*/ 53 w 619"/>
              <a:gd name="T65" fmla="*/ 345 h 729"/>
              <a:gd name="T66" fmla="*/ 104 w 619"/>
              <a:gd name="T67" fmla="*/ 345 h 729"/>
              <a:gd name="T68" fmla="*/ 117 w 619"/>
              <a:gd name="T69" fmla="*/ 347 h 729"/>
              <a:gd name="T70" fmla="*/ 163 w 619"/>
              <a:gd name="T71" fmla="*/ 309 h 729"/>
              <a:gd name="T72" fmla="*/ 214 w 619"/>
              <a:gd name="T73" fmla="*/ 300 h 729"/>
              <a:gd name="T74" fmla="*/ 283 w 619"/>
              <a:gd name="T75" fmla="*/ 325 h 729"/>
              <a:gd name="T76" fmla="*/ 417 w 619"/>
              <a:gd name="T77" fmla="*/ 386 h 729"/>
              <a:gd name="T78" fmla="*/ 466 w 619"/>
              <a:gd name="T79" fmla="*/ 492 h 729"/>
              <a:gd name="T80" fmla="*/ 464 w 619"/>
              <a:gd name="T81" fmla="*/ 517 h 729"/>
              <a:gd name="T82" fmla="*/ 512 w 619"/>
              <a:gd name="T83" fmla="*/ 526 h 729"/>
              <a:gd name="T84" fmla="*/ 526 w 619"/>
              <a:gd name="T85" fmla="*/ 627 h 729"/>
              <a:gd name="T86" fmla="*/ 462 w 619"/>
              <a:gd name="T87" fmla="*/ 638 h 729"/>
              <a:gd name="T88" fmla="*/ 491 w 619"/>
              <a:gd name="T89" fmla="*/ 651 h 729"/>
              <a:gd name="T90" fmla="*/ 479 w 619"/>
              <a:gd name="T91" fmla="*/ 663 h 729"/>
              <a:gd name="T92" fmla="*/ 475 w 619"/>
              <a:gd name="T93" fmla="*/ 711 h 729"/>
              <a:gd name="T94" fmla="*/ 502 w 619"/>
              <a:gd name="T95" fmla="*/ 693 h 729"/>
              <a:gd name="T96" fmla="*/ 513 w 619"/>
              <a:gd name="T97" fmla="*/ 700 h 729"/>
              <a:gd name="T98" fmla="*/ 544 w 619"/>
              <a:gd name="T99" fmla="*/ 720 h 729"/>
              <a:gd name="T100" fmla="*/ 554 w 619"/>
              <a:gd name="T101" fmla="*/ 678 h 729"/>
              <a:gd name="T102" fmla="*/ 586 w 619"/>
              <a:gd name="T103" fmla="*/ 689 h 729"/>
              <a:gd name="T104" fmla="*/ 590 w 619"/>
              <a:gd name="T105" fmla="*/ 625 h 729"/>
              <a:gd name="T106" fmla="*/ 603 w 619"/>
              <a:gd name="T107" fmla="*/ 598 h 729"/>
              <a:gd name="T108" fmla="*/ 599 w 619"/>
              <a:gd name="T109" fmla="*/ 552 h 729"/>
              <a:gd name="T110" fmla="*/ 574 w 619"/>
              <a:gd name="T111" fmla="*/ 508 h 729"/>
              <a:gd name="T112" fmla="*/ 532 w 619"/>
              <a:gd name="T113" fmla="*/ 462 h 729"/>
              <a:gd name="T114" fmla="*/ 532 w 619"/>
              <a:gd name="T115" fmla="*/ 419 h 729"/>
              <a:gd name="T116" fmla="*/ 539 w 619"/>
              <a:gd name="T117" fmla="*/ 377 h 729"/>
              <a:gd name="T118" fmla="*/ 618 w 619"/>
              <a:gd name="T119" fmla="*/ 316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9" h="729">
                <a:moveTo>
                  <a:pt x="603" y="280"/>
                </a:moveTo>
                <a:lnTo>
                  <a:pt x="603" y="280"/>
                </a:lnTo>
                <a:lnTo>
                  <a:pt x="612" y="282"/>
                </a:lnTo>
                <a:lnTo>
                  <a:pt x="619" y="280"/>
                </a:lnTo>
                <a:lnTo>
                  <a:pt x="619" y="280"/>
                </a:lnTo>
                <a:lnTo>
                  <a:pt x="618" y="269"/>
                </a:lnTo>
                <a:lnTo>
                  <a:pt x="616" y="252"/>
                </a:lnTo>
                <a:lnTo>
                  <a:pt x="616" y="252"/>
                </a:lnTo>
                <a:lnTo>
                  <a:pt x="610" y="252"/>
                </a:lnTo>
                <a:lnTo>
                  <a:pt x="605" y="252"/>
                </a:lnTo>
                <a:lnTo>
                  <a:pt x="599" y="250"/>
                </a:lnTo>
                <a:lnTo>
                  <a:pt x="592" y="245"/>
                </a:lnTo>
                <a:lnTo>
                  <a:pt x="592" y="245"/>
                </a:lnTo>
                <a:lnTo>
                  <a:pt x="588" y="238"/>
                </a:lnTo>
                <a:lnTo>
                  <a:pt x="588" y="238"/>
                </a:lnTo>
                <a:lnTo>
                  <a:pt x="577" y="223"/>
                </a:lnTo>
                <a:lnTo>
                  <a:pt x="565" y="212"/>
                </a:lnTo>
                <a:lnTo>
                  <a:pt x="552" y="203"/>
                </a:lnTo>
                <a:lnTo>
                  <a:pt x="541" y="196"/>
                </a:lnTo>
                <a:lnTo>
                  <a:pt x="541" y="196"/>
                </a:lnTo>
                <a:lnTo>
                  <a:pt x="559" y="185"/>
                </a:lnTo>
                <a:lnTo>
                  <a:pt x="572" y="174"/>
                </a:lnTo>
                <a:lnTo>
                  <a:pt x="581" y="165"/>
                </a:lnTo>
                <a:lnTo>
                  <a:pt x="585" y="157"/>
                </a:lnTo>
                <a:lnTo>
                  <a:pt x="585" y="157"/>
                </a:lnTo>
                <a:lnTo>
                  <a:pt x="588" y="150"/>
                </a:lnTo>
                <a:lnTo>
                  <a:pt x="592" y="139"/>
                </a:lnTo>
                <a:lnTo>
                  <a:pt x="592" y="128"/>
                </a:lnTo>
                <a:lnTo>
                  <a:pt x="592" y="115"/>
                </a:lnTo>
                <a:lnTo>
                  <a:pt x="588" y="103"/>
                </a:lnTo>
                <a:lnTo>
                  <a:pt x="583" y="90"/>
                </a:lnTo>
                <a:lnTo>
                  <a:pt x="574" y="79"/>
                </a:lnTo>
                <a:lnTo>
                  <a:pt x="566" y="73"/>
                </a:lnTo>
                <a:lnTo>
                  <a:pt x="559" y="68"/>
                </a:lnTo>
                <a:lnTo>
                  <a:pt x="559" y="68"/>
                </a:lnTo>
                <a:lnTo>
                  <a:pt x="548" y="62"/>
                </a:lnTo>
                <a:lnTo>
                  <a:pt x="535" y="59"/>
                </a:lnTo>
                <a:lnTo>
                  <a:pt x="524" y="57"/>
                </a:lnTo>
                <a:lnTo>
                  <a:pt x="513" y="57"/>
                </a:lnTo>
                <a:lnTo>
                  <a:pt x="495" y="60"/>
                </a:lnTo>
                <a:lnTo>
                  <a:pt x="481" y="64"/>
                </a:lnTo>
                <a:lnTo>
                  <a:pt x="481" y="64"/>
                </a:lnTo>
                <a:lnTo>
                  <a:pt x="471" y="70"/>
                </a:lnTo>
                <a:lnTo>
                  <a:pt x="462" y="77"/>
                </a:lnTo>
                <a:lnTo>
                  <a:pt x="455" y="84"/>
                </a:lnTo>
                <a:lnTo>
                  <a:pt x="449" y="93"/>
                </a:lnTo>
                <a:lnTo>
                  <a:pt x="446" y="104"/>
                </a:lnTo>
                <a:lnTo>
                  <a:pt x="442" y="115"/>
                </a:lnTo>
                <a:lnTo>
                  <a:pt x="442" y="126"/>
                </a:lnTo>
                <a:lnTo>
                  <a:pt x="442" y="141"/>
                </a:lnTo>
                <a:lnTo>
                  <a:pt x="442" y="141"/>
                </a:lnTo>
                <a:lnTo>
                  <a:pt x="446" y="150"/>
                </a:lnTo>
                <a:lnTo>
                  <a:pt x="449" y="159"/>
                </a:lnTo>
                <a:lnTo>
                  <a:pt x="455" y="168"/>
                </a:lnTo>
                <a:lnTo>
                  <a:pt x="460" y="174"/>
                </a:lnTo>
                <a:lnTo>
                  <a:pt x="477" y="185"/>
                </a:lnTo>
                <a:lnTo>
                  <a:pt x="495" y="196"/>
                </a:lnTo>
                <a:lnTo>
                  <a:pt x="495" y="196"/>
                </a:lnTo>
                <a:lnTo>
                  <a:pt x="481" y="203"/>
                </a:lnTo>
                <a:lnTo>
                  <a:pt x="470" y="214"/>
                </a:lnTo>
                <a:lnTo>
                  <a:pt x="466" y="219"/>
                </a:lnTo>
                <a:lnTo>
                  <a:pt x="464" y="227"/>
                </a:lnTo>
                <a:lnTo>
                  <a:pt x="462" y="234"/>
                </a:lnTo>
                <a:lnTo>
                  <a:pt x="460" y="243"/>
                </a:lnTo>
                <a:lnTo>
                  <a:pt x="460" y="243"/>
                </a:lnTo>
                <a:lnTo>
                  <a:pt x="462" y="254"/>
                </a:lnTo>
                <a:lnTo>
                  <a:pt x="466" y="267"/>
                </a:lnTo>
                <a:lnTo>
                  <a:pt x="468" y="282"/>
                </a:lnTo>
                <a:lnTo>
                  <a:pt x="468" y="291"/>
                </a:lnTo>
                <a:lnTo>
                  <a:pt x="466" y="300"/>
                </a:lnTo>
                <a:lnTo>
                  <a:pt x="466" y="300"/>
                </a:lnTo>
                <a:lnTo>
                  <a:pt x="468" y="300"/>
                </a:lnTo>
                <a:lnTo>
                  <a:pt x="475" y="298"/>
                </a:lnTo>
                <a:lnTo>
                  <a:pt x="484" y="291"/>
                </a:lnTo>
                <a:lnTo>
                  <a:pt x="484" y="291"/>
                </a:lnTo>
                <a:lnTo>
                  <a:pt x="488" y="280"/>
                </a:lnTo>
                <a:lnTo>
                  <a:pt x="490" y="269"/>
                </a:lnTo>
                <a:lnTo>
                  <a:pt x="490" y="256"/>
                </a:lnTo>
                <a:lnTo>
                  <a:pt x="490" y="256"/>
                </a:lnTo>
                <a:lnTo>
                  <a:pt x="493" y="261"/>
                </a:lnTo>
                <a:lnTo>
                  <a:pt x="495" y="271"/>
                </a:lnTo>
                <a:lnTo>
                  <a:pt x="495" y="278"/>
                </a:lnTo>
                <a:lnTo>
                  <a:pt x="493" y="285"/>
                </a:lnTo>
                <a:lnTo>
                  <a:pt x="493" y="285"/>
                </a:lnTo>
                <a:lnTo>
                  <a:pt x="501" y="282"/>
                </a:lnTo>
                <a:lnTo>
                  <a:pt x="504" y="278"/>
                </a:lnTo>
                <a:lnTo>
                  <a:pt x="508" y="274"/>
                </a:lnTo>
                <a:lnTo>
                  <a:pt x="508" y="274"/>
                </a:lnTo>
                <a:lnTo>
                  <a:pt x="510" y="261"/>
                </a:lnTo>
                <a:lnTo>
                  <a:pt x="510" y="249"/>
                </a:lnTo>
                <a:lnTo>
                  <a:pt x="506" y="240"/>
                </a:lnTo>
                <a:lnTo>
                  <a:pt x="504" y="232"/>
                </a:lnTo>
                <a:lnTo>
                  <a:pt x="504" y="232"/>
                </a:lnTo>
                <a:lnTo>
                  <a:pt x="502" y="225"/>
                </a:lnTo>
                <a:lnTo>
                  <a:pt x="504" y="218"/>
                </a:lnTo>
                <a:lnTo>
                  <a:pt x="510" y="210"/>
                </a:lnTo>
                <a:lnTo>
                  <a:pt x="515" y="207"/>
                </a:lnTo>
                <a:lnTo>
                  <a:pt x="515" y="207"/>
                </a:lnTo>
                <a:lnTo>
                  <a:pt x="533" y="216"/>
                </a:lnTo>
                <a:lnTo>
                  <a:pt x="533" y="216"/>
                </a:lnTo>
                <a:lnTo>
                  <a:pt x="541" y="221"/>
                </a:lnTo>
                <a:lnTo>
                  <a:pt x="552" y="230"/>
                </a:lnTo>
                <a:lnTo>
                  <a:pt x="563" y="243"/>
                </a:lnTo>
                <a:lnTo>
                  <a:pt x="568" y="250"/>
                </a:lnTo>
                <a:lnTo>
                  <a:pt x="572" y="260"/>
                </a:lnTo>
                <a:lnTo>
                  <a:pt x="572" y="260"/>
                </a:lnTo>
                <a:lnTo>
                  <a:pt x="577" y="271"/>
                </a:lnTo>
                <a:lnTo>
                  <a:pt x="579" y="282"/>
                </a:lnTo>
                <a:lnTo>
                  <a:pt x="579" y="291"/>
                </a:lnTo>
                <a:lnTo>
                  <a:pt x="579" y="300"/>
                </a:lnTo>
                <a:lnTo>
                  <a:pt x="576" y="313"/>
                </a:lnTo>
                <a:lnTo>
                  <a:pt x="572" y="320"/>
                </a:lnTo>
                <a:lnTo>
                  <a:pt x="572" y="320"/>
                </a:lnTo>
                <a:lnTo>
                  <a:pt x="565" y="329"/>
                </a:lnTo>
                <a:lnTo>
                  <a:pt x="557" y="338"/>
                </a:lnTo>
                <a:lnTo>
                  <a:pt x="546" y="344"/>
                </a:lnTo>
                <a:lnTo>
                  <a:pt x="533" y="345"/>
                </a:lnTo>
                <a:lnTo>
                  <a:pt x="533" y="345"/>
                </a:lnTo>
                <a:lnTo>
                  <a:pt x="532" y="345"/>
                </a:lnTo>
                <a:lnTo>
                  <a:pt x="532" y="345"/>
                </a:lnTo>
                <a:lnTo>
                  <a:pt x="517" y="345"/>
                </a:lnTo>
                <a:lnTo>
                  <a:pt x="517" y="345"/>
                </a:lnTo>
                <a:lnTo>
                  <a:pt x="504" y="342"/>
                </a:lnTo>
                <a:lnTo>
                  <a:pt x="504" y="342"/>
                </a:lnTo>
                <a:lnTo>
                  <a:pt x="493" y="338"/>
                </a:lnTo>
                <a:lnTo>
                  <a:pt x="493" y="338"/>
                </a:lnTo>
                <a:lnTo>
                  <a:pt x="482" y="333"/>
                </a:lnTo>
                <a:lnTo>
                  <a:pt x="466" y="322"/>
                </a:lnTo>
                <a:lnTo>
                  <a:pt x="448" y="309"/>
                </a:lnTo>
                <a:lnTo>
                  <a:pt x="429" y="291"/>
                </a:lnTo>
                <a:lnTo>
                  <a:pt x="429" y="291"/>
                </a:lnTo>
                <a:lnTo>
                  <a:pt x="406" y="261"/>
                </a:lnTo>
                <a:lnTo>
                  <a:pt x="389" y="241"/>
                </a:lnTo>
                <a:lnTo>
                  <a:pt x="389" y="241"/>
                </a:lnTo>
                <a:lnTo>
                  <a:pt x="398" y="245"/>
                </a:lnTo>
                <a:lnTo>
                  <a:pt x="406" y="245"/>
                </a:lnTo>
                <a:lnTo>
                  <a:pt x="415" y="245"/>
                </a:lnTo>
                <a:lnTo>
                  <a:pt x="415" y="245"/>
                </a:lnTo>
                <a:lnTo>
                  <a:pt x="417" y="229"/>
                </a:lnTo>
                <a:lnTo>
                  <a:pt x="417" y="212"/>
                </a:lnTo>
                <a:lnTo>
                  <a:pt x="417" y="212"/>
                </a:lnTo>
                <a:lnTo>
                  <a:pt x="417" y="198"/>
                </a:lnTo>
                <a:lnTo>
                  <a:pt x="417" y="198"/>
                </a:lnTo>
                <a:lnTo>
                  <a:pt x="411" y="198"/>
                </a:lnTo>
                <a:lnTo>
                  <a:pt x="398" y="194"/>
                </a:lnTo>
                <a:lnTo>
                  <a:pt x="393" y="192"/>
                </a:lnTo>
                <a:lnTo>
                  <a:pt x="386" y="188"/>
                </a:lnTo>
                <a:lnTo>
                  <a:pt x="380" y="185"/>
                </a:lnTo>
                <a:lnTo>
                  <a:pt x="376" y="179"/>
                </a:lnTo>
                <a:lnTo>
                  <a:pt x="376" y="179"/>
                </a:lnTo>
                <a:lnTo>
                  <a:pt x="382" y="181"/>
                </a:lnTo>
                <a:lnTo>
                  <a:pt x="387" y="183"/>
                </a:lnTo>
                <a:lnTo>
                  <a:pt x="395" y="185"/>
                </a:lnTo>
                <a:lnTo>
                  <a:pt x="395" y="185"/>
                </a:lnTo>
                <a:lnTo>
                  <a:pt x="411" y="183"/>
                </a:lnTo>
                <a:lnTo>
                  <a:pt x="418" y="183"/>
                </a:lnTo>
                <a:lnTo>
                  <a:pt x="418" y="183"/>
                </a:lnTo>
                <a:lnTo>
                  <a:pt x="420" y="166"/>
                </a:lnTo>
                <a:lnTo>
                  <a:pt x="420" y="152"/>
                </a:lnTo>
                <a:lnTo>
                  <a:pt x="420" y="152"/>
                </a:lnTo>
                <a:lnTo>
                  <a:pt x="420" y="137"/>
                </a:lnTo>
                <a:lnTo>
                  <a:pt x="420" y="137"/>
                </a:lnTo>
                <a:lnTo>
                  <a:pt x="409" y="137"/>
                </a:lnTo>
                <a:lnTo>
                  <a:pt x="396" y="135"/>
                </a:lnTo>
                <a:lnTo>
                  <a:pt x="396" y="135"/>
                </a:lnTo>
                <a:lnTo>
                  <a:pt x="384" y="130"/>
                </a:lnTo>
                <a:lnTo>
                  <a:pt x="378" y="126"/>
                </a:lnTo>
                <a:lnTo>
                  <a:pt x="375" y="121"/>
                </a:lnTo>
                <a:lnTo>
                  <a:pt x="375" y="121"/>
                </a:lnTo>
                <a:lnTo>
                  <a:pt x="380" y="123"/>
                </a:lnTo>
                <a:lnTo>
                  <a:pt x="395" y="126"/>
                </a:lnTo>
                <a:lnTo>
                  <a:pt x="395" y="126"/>
                </a:lnTo>
                <a:lnTo>
                  <a:pt x="404" y="126"/>
                </a:lnTo>
                <a:lnTo>
                  <a:pt x="413" y="124"/>
                </a:lnTo>
                <a:lnTo>
                  <a:pt x="420" y="124"/>
                </a:lnTo>
                <a:lnTo>
                  <a:pt x="422" y="123"/>
                </a:lnTo>
                <a:lnTo>
                  <a:pt x="422" y="123"/>
                </a:lnTo>
                <a:lnTo>
                  <a:pt x="422" y="93"/>
                </a:lnTo>
                <a:lnTo>
                  <a:pt x="422" y="93"/>
                </a:lnTo>
                <a:lnTo>
                  <a:pt x="424" y="86"/>
                </a:lnTo>
                <a:lnTo>
                  <a:pt x="424" y="77"/>
                </a:lnTo>
                <a:lnTo>
                  <a:pt x="424" y="77"/>
                </a:lnTo>
                <a:lnTo>
                  <a:pt x="418" y="77"/>
                </a:lnTo>
                <a:lnTo>
                  <a:pt x="407" y="75"/>
                </a:lnTo>
                <a:lnTo>
                  <a:pt x="395" y="70"/>
                </a:lnTo>
                <a:lnTo>
                  <a:pt x="389" y="66"/>
                </a:lnTo>
                <a:lnTo>
                  <a:pt x="382" y="60"/>
                </a:lnTo>
                <a:lnTo>
                  <a:pt x="382" y="60"/>
                </a:lnTo>
                <a:lnTo>
                  <a:pt x="380" y="57"/>
                </a:lnTo>
                <a:lnTo>
                  <a:pt x="380" y="53"/>
                </a:lnTo>
                <a:lnTo>
                  <a:pt x="382" y="46"/>
                </a:lnTo>
                <a:lnTo>
                  <a:pt x="382" y="46"/>
                </a:lnTo>
                <a:lnTo>
                  <a:pt x="349" y="31"/>
                </a:lnTo>
                <a:lnTo>
                  <a:pt x="349" y="31"/>
                </a:lnTo>
                <a:lnTo>
                  <a:pt x="353" y="28"/>
                </a:lnTo>
                <a:lnTo>
                  <a:pt x="356" y="22"/>
                </a:lnTo>
                <a:lnTo>
                  <a:pt x="356" y="18"/>
                </a:lnTo>
                <a:lnTo>
                  <a:pt x="356" y="18"/>
                </a:lnTo>
                <a:lnTo>
                  <a:pt x="354" y="13"/>
                </a:lnTo>
                <a:lnTo>
                  <a:pt x="349" y="9"/>
                </a:lnTo>
                <a:lnTo>
                  <a:pt x="343" y="8"/>
                </a:lnTo>
                <a:lnTo>
                  <a:pt x="336" y="8"/>
                </a:lnTo>
                <a:lnTo>
                  <a:pt x="336" y="8"/>
                </a:lnTo>
                <a:lnTo>
                  <a:pt x="329" y="9"/>
                </a:lnTo>
                <a:lnTo>
                  <a:pt x="325" y="13"/>
                </a:lnTo>
                <a:lnTo>
                  <a:pt x="320" y="18"/>
                </a:lnTo>
                <a:lnTo>
                  <a:pt x="280" y="0"/>
                </a:lnTo>
                <a:lnTo>
                  <a:pt x="247" y="33"/>
                </a:lnTo>
                <a:lnTo>
                  <a:pt x="247" y="33"/>
                </a:lnTo>
                <a:lnTo>
                  <a:pt x="245" y="35"/>
                </a:lnTo>
                <a:lnTo>
                  <a:pt x="245" y="39"/>
                </a:lnTo>
                <a:lnTo>
                  <a:pt x="245" y="42"/>
                </a:lnTo>
                <a:lnTo>
                  <a:pt x="245" y="42"/>
                </a:lnTo>
                <a:lnTo>
                  <a:pt x="245" y="44"/>
                </a:lnTo>
                <a:lnTo>
                  <a:pt x="243" y="46"/>
                </a:lnTo>
                <a:lnTo>
                  <a:pt x="243" y="46"/>
                </a:lnTo>
                <a:lnTo>
                  <a:pt x="234" y="57"/>
                </a:lnTo>
                <a:lnTo>
                  <a:pt x="234" y="57"/>
                </a:lnTo>
                <a:lnTo>
                  <a:pt x="228" y="66"/>
                </a:lnTo>
                <a:lnTo>
                  <a:pt x="228" y="66"/>
                </a:lnTo>
                <a:lnTo>
                  <a:pt x="225" y="73"/>
                </a:lnTo>
                <a:lnTo>
                  <a:pt x="223" y="79"/>
                </a:lnTo>
                <a:lnTo>
                  <a:pt x="223" y="79"/>
                </a:lnTo>
                <a:lnTo>
                  <a:pt x="221" y="81"/>
                </a:lnTo>
                <a:lnTo>
                  <a:pt x="221" y="84"/>
                </a:lnTo>
                <a:lnTo>
                  <a:pt x="225" y="92"/>
                </a:lnTo>
                <a:lnTo>
                  <a:pt x="234" y="99"/>
                </a:lnTo>
                <a:lnTo>
                  <a:pt x="234" y="101"/>
                </a:lnTo>
                <a:lnTo>
                  <a:pt x="234" y="101"/>
                </a:lnTo>
                <a:lnTo>
                  <a:pt x="236" y="99"/>
                </a:lnTo>
                <a:lnTo>
                  <a:pt x="238" y="99"/>
                </a:lnTo>
                <a:lnTo>
                  <a:pt x="238" y="99"/>
                </a:lnTo>
                <a:lnTo>
                  <a:pt x="243" y="104"/>
                </a:lnTo>
                <a:lnTo>
                  <a:pt x="243" y="104"/>
                </a:lnTo>
                <a:lnTo>
                  <a:pt x="245" y="101"/>
                </a:lnTo>
                <a:lnTo>
                  <a:pt x="248" y="95"/>
                </a:lnTo>
                <a:lnTo>
                  <a:pt x="248" y="95"/>
                </a:lnTo>
                <a:lnTo>
                  <a:pt x="254" y="88"/>
                </a:lnTo>
                <a:lnTo>
                  <a:pt x="261" y="82"/>
                </a:lnTo>
                <a:lnTo>
                  <a:pt x="261" y="82"/>
                </a:lnTo>
                <a:lnTo>
                  <a:pt x="269" y="79"/>
                </a:lnTo>
                <a:lnTo>
                  <a:pt x="276" y="79"/>
                </a:lnTo>
                <a:lnTo>
                  <a:pt x="276" y="79"/>
                </a:lnTo>
                <a:lnTo>
                  <a:pt x="283" y="79"/>
                </a:lnTo>
                <a:lnTo>
                  <a:pt x="289" y="82"/>
                </a:lnTo>
                <a:lnTo>
                  <a:pt x="289" y="82"/>
                </a:lnTo>
                <a:lnTo>
                  <a:pt x="292" y="88"/>
                </a:lnTo>
                <a:lnTo>
                  <a:pt x="294" y="95"/>
                </a:lnTo>
                <a:lnTo>
                  <a:pt x="294" y="103"/>
                </a:lnTo>
                <a:lnTo>
                  <a:pt x="294" y="108"/>
                </a:lnTo>
                <a:lnTo>
                  <a:pt x="294" y="108"/>
                </a:lnTo>
                <a:lnTo>
                  <a:pt x="290" y="104"/>
                </a:lnTo>
                <a:lnTo>
                  <a:pt x="290" y="104"/>
                </a:lnTo>
                <a:lnTo>
                  <a:pt x="285" y="103"/>
                </a:lnTo>
                <a:lnTo>
                  <a:pt x="276" y="101"/>
                </a:lnTo>
                <a:lnTo>
                  <a:pt x="265" y="101"/>
                </a:lnTo>
                <a:lnTo>
                  <a:pt x="254" y="103"/>
                </a:lnTo>
                <a:lnTo>
                  <a:pt x="254" y="103"/>
                </a:lnTo>
                <a:lnTo>
                  <a:pt x="241" y="108"/>
                </a:lnTo>
                <a:lnTo>
                  <a:pt x="219" y="115"/>
                </a:lnTo>
                <a:lnTo>
                  <a:pt x="219" y="115"/>
                </a:lnTo>
                <a:lnTo>
                  <a:pt x="214" y="117"/>
                </a:lnTo>
                <a:lnTo>
                  <a:pt x="208" y="117"/>
                </a:lnTo>
                <a:lnTo>
                  <a:pt x="205" y="113"/>
                </a:lnTo>
                <a:lnTo>
                  <a:pt x="203" y="110"/>
                </a:lnTo>
                <a:lnTo>
                  <a:pt x="203" y="110"/>
                </a:lnTo>
                <a:lnTo>
                  <a:pt x="203" y="104"/>
                </a:lnTo>
                <a:lnTo>
                  <a:pt x="203" y="101"/>
                </a:lnTo>
                <a:lnTo>
                  <a:pt x="205" y="97"/>
                </a:lnTo>
                <a:lnTo>
                  <a:pt x="205" y="97"/>
                </a:lnTo>
                <a:lnTo>
                  <a:pt x="199" y="101"/>
                </a:lnTo>
                <a:lnTo>
                  <a:pt x="194" y="104"/>
                </a:lnTo>
                <a:lnTo>
                  <a:pt x="190" y="110"/>
                </a:lnTo>
                <a:lnTo>
                  <a:pt x="190" y="110"/>
                </a:lnTo>
                <a:lnTo>
                  <a:pt x="190" y="117"/>
                </a:lnTo>
                <a:lnTo>
                  <a:pt x="192" y="124"/>
                </a:lnTo>
                <a:lnTo>
                  <a:pt x="195" y="128"/>
                </a:lnTo>
                <a:lnTo>
                  <a:pt x="201" y="132"/>
                </a:lnTo>
                <a:lnTo>
                  <a:pt x="201" y="132"/>
                </a:lnTo>
                <a:lnTo>
                  <a:pt x="208" y="132"/>
                </a:lnTo>
                <a:lnTo>
                  <a:pt x="217" y="130"/>
                </a:lnTo>
                <a:lnTo>
                  <a:pt x="234" y="123"/>
                </a:lnTo>
                <a:lnTo>
                  <a:pt x="234" y="123"/>
                </a:lnTo>
                <a:lnTo>
                  <a:pt x="250" y="113"/>
                </a:lnTo>
                <a:lnTo>
                  <a:pt x="250" y="113"/>
                </a:lnTo>
                <a:lnTo>
                  <a:pt x="258" y="112"/>
                </a:lnTo>
                <a:lnTo>
                  <a:pt x="263" y="110"/>
                </a:lnTo>
                <a:lnTo>
                  <a:pt x="270" y="112"/>
                </a:lnTo>
                <a:lnTo>
                  <a:pt x="278" y="113"/>
                </a:lnTo>
                <a:lnTo>
                  <a:pt x="278" y="113"/>
                </a:lnTo>
                <a:lnTo>
                  <a:pt x="285" y="119"/>
                </a:lnTo>
                <a:lnTo>
                  <a:pt x="289" y="121"/>
                </a:lnTo>
                <a:lnTo>
                  <a:pt x="289" y="121"/>
                </a:lnTo>
                <a:lnTo>
                  <a:pt x="285" y="126"/>
                </a:lnTo>
                <a:lnTo>
                  <a:pt x="281" y="130"/>
                </a:lnTo>
                <a:lnTo>
                  <a:pt x="274" y="130"/>
                </a:lnTo>
                <a:lnTo>
                  <a:pt x="274" y="130"/>
                </a:lnTo>
                <a:lnTo>
                  <a:pt x="267" y="130"/>
                </a:lnTo>
                <a:lnTo>
                  <a:pt x="261" y="128"/>
                </a:lnTo>
                <a:lnTo>
                  <a:pt x="256" y="124"/>
                </a:lnTo>
                <a:lnTo>
                  <a:pt x="254" y="121"/>
                </a:lnTo>
                <a:lnTo>
                  <a:pt x="254" y="121"/>
                </a:lnTo>
                <a:lnTo>
                  <a:pt x="250" y="128"/>
                </a:lnTo>
                <a:lnTo>
                  <a:pt x="250" y="128"/>
                </a:lnTo>
                <a:lnTo>
                  <a:pt x="248" y="132"/>
                </a:lnTo>
                <a:lnTo>
                  <a:pt x="248" y="135"/>
                </a:lnTo>
                <a:lnTo>
                  <a:pt x="250" y="137"/>
                </a:lnTo>
                <a:lnTo>
                  <a:pt x="248" y="141"/>
                </a:lnTo>
                <a:lnTo>
                  <a:pt x="248" y="141"/>
                </a:lnTo>
                <a:lnTo>
                  <a:pt x="247" y="143"/>
                </a:lnTo>
                <a:lnTo>
                  <a:pt x="245" y="146"/>
                </a:lnTo>
                <a:lnTo>
                  <a:pt x="238" y="152"/>
                </a:lnTo>
                <a:lnTo>
                  <a:pt x="238" y="152"/>
                </a:lnTo>
                <a:lnTo>
                  <a:pt x="227" y="157"/>
                </a:lnTo>
                <a:lnTo>
                  <a:pt x="219" y="159"/>
                </a:lnTo>
                <a:lnTo>
                  <a:pt x="219" y="159"/>
                </a:lnTo>
                <a:lnTo>
                  <a:pt x="227" y="176"/>
                </a:lnTo>
                <a:lnTo>
                  <a:pt x="227" y="176"/>
                </a:lnTo>
                <a:lnTo>
                  <a:pt x="232" y="187"/>
                </a:lnTo>
                <a:lnTo>
                  <a:pt x="236" y="194"/>
                </a:lnTo>
                <a:lnTo>
                  <a:pt x="239" y="199"/>
                </a:lnTo>
                <a:lnTo>
                  <a:pt x="239" y="199"/>
                </a:lnTo>
                <a:lnTo>
                  <a:pt x="247" y="198"/>
                </a:lnTo>
                <a:lnTo>
                  <a:pt x="259" y="192"/>
                </a:lnTo>
                <a:lnTo>
                  <a:pt x="259" y="192"/>
                </a:lnTo>
                <a:lnTo>
                  <a:pt x="269" y="185"/>
                </a:lnTo>
                <a:lnTo>
                  <a:pt x="274" y="177"/>
                </a:lnTo>
                <a:lnTo>
                  <a:pt x="274" y="177"/>
                </a:lnTo>
                <a:lnTo>
                  <a:pt x="267" y="194"/>
                </a:lnTo>
                <a:lnTo>
                  <a:pt x="261" y="203"/>
                </a:lnTo>
                <a:lnTo>
                  <a:pt x="254" y="210"/>
                </a:lnTo>
                <a:lnTo>
                  <a:pt x="248" y="216"/>
                </a:lnTo>
                <a:lnTo>
                  <a:pt x="248" y="216"/>
                </a:lnTo>
                <a:lnTo>
                  <a:pt x="225" y="232"/>
                </a:lnTo>
                <a:lnTo>
                  <a:pt x="192" y="250"/>
                </a:lnTo>
                <a:lnTo>
                  <a:pt x="172" y="261"/>
                </a:lnTo>
                <a:lnTo>
                  <a:pt x="153" y="269"/>
                </a:lnTo>
                <a:lnTo>
                  <a:pt x="133" y="276"/>
                </a:lnTo>
                <a:lnTo>
                  <a:pt x="113" y="280"/>
                </a:lnTo>
                <a:lnTo>
                  <a:pt x="113" y="280"/>
                </a:lnTo>
                <a:lnTo>
                  <a:pt x="108" y="278"/>
                </a:lnTo>
                <a:lnTo>
                  <a:pt x="100" y="276"/>
                </a:lnTo>
                <a:lnTo>
                  <a:pt x="88" y="267"/>
                </a:lnTo>
                <a:lnTo>
                  <a:pt x="75" y="258"/>
                </a:lnTo>
                <a:lnTo>
                  <a:pt x="68" y="249"/>
                </a:lnTo>
                <a:lnTo>
                  <a:pt x="68" y="249"/>
                </a:lnTo>
                <a:lnTo>
                  <a:pt x="66" y="249"/>
                </a:lnTo>
                <a:lnTo>
                  <a:pt x="62" y="247"/>
                </a:lnTo>
                <a:lnTo>
                  <a:pt x="58" y="249"/>
                </a:lnTo>
                <a:lnTo>
                  <a:pt x="53" y="252"/>
                </a:lnTo>
                <a:lnTo>
                  <a:pt x="53" y="252"/>
                </a:lnTo>
                <a:lnTo>
                  <a:pt x="49" y="252"/>
                </a:lnTo>
                <a:lnTo>
                  <a:pt x="42" y="252"/>
                </a:lnTo>
                <a:lnTo>
                  <a:pt x="31" y="254"/>
                </a:lnTo>
                <a:lnTo>
                  <a:pt x="27" y="258"/>
                </a:lnTo>
                <a:lnTo>
                  <a:pt x="24" y="261"/>
                </a:lnTo>
                <a:lnTo>
                  <a:pt x="24" y="261"/>
                </a:lnTo>
                <a:lnTo>
                  <a:pt x="24" y="263"/>
                </a:lnTo>
                <a:lnTo>
                  <a:pt x="29" y="263"/>
                </a:lnTo>
                <a:lnTo>
                  <a:pt x="35" y="261"/>
                </a:lnTo>
                <a:lnTo>
                  <a:pt x="42" y="263"/>
                </a:lnTo>
                <a:lnTo>
                  <a:pt x="42" y="263"/>
                </a:lnTo>
                <a:lnTo>
                  <a:pt x="44" y="265"/>
                </a:lnTo>
                <a:lnTo>
                  <a:pt x="42" y="267"/>
                </a:lnTo>
                <a:lnTo>
                  <a:pt x="40" y="269"/>
                </a:lnTo>
                <a:lnTo>
                  <a:pt x="40" y="272"/>
                </a:lnTo>
                <a:lnTo>
                  <a:pt x="40" y="272"/>
                </a:lnTo>
                <a:lnTo>
                  <a:pt x="40" y="274"/>
                </a:lnTo>
                <a:lnTo>
                  <a:pt x="44" y="278"/>
                </a:lnTo>
                <a:lnTo>
                  <a:pt x="53" y="282"/>
                </a:lnTo>
                <a:lnTo>
                  <a:pt x="71" y="289"/>
                </a:lnTo>
                <a:lnTo>
                  <a:pt x="71" y="289"/>
                </a:lnTo>
                <a:lnTo>
                  <a:pt x="73" y="291"/>
                </a:lnTo>
                <a:lnTo>
                  <a:pt x="73" y="293"/>
                </a:lnTo>
                <a:lnTo>
                  <a:pt x="73" y="293"/>
                </a:lnTo>
                <a:lnTo>
                  <a:pt x="60" y="291"/>
                </a:lnTo>
                <a:lnTo>
                  <a:pt x="51" y="287"/>
                </a:lnTo>
                <a:lnTo>
                  <a:pt x="38" y="282"/>
                </a:lnTo>
                <a:lnTo>
                  <a:pt x="38" y="282"/>
                </a:lnTo>
                <a:lnTo>
                  <a:pt x="29" y="280"/>
                </a:lnTo>
                <a:lnTo>
                  <a:pt x="24" y="280"/>
                </a:lnTo>
                <a:lnTo>
                  <a:pt x="22" y="283"/>
                </a:lnTo>
                <a:lnTo>
                  <a:pt x="20" y="287"/>
                </a:lnTo>
                <a:lnTo>
                  <a:pt x="20" y="287"/>
                </a:lnTo>
                <a:lnTo>
                  <a:pt x="18" y="289"/>
                </a:lnTo>
                <a:lnTo>
                  <a:pt x="16" y="289"/>
                </a:lnTo>
                <a:lnTo>
                  <a:pt x="11" y="293"/>
                </a:lnTo>
                <a:lnTo>
                  <a:pt x="7" y="294"/>
                </a:lnTo>
                <a:lnTo>
                  <a:pt x="4" y="300"/>
                </a:lnTo>
                <a:lnTo>
                  <a:pt x="2" y="305"/>
                </a:lnTo>
                <a:lnTo>
                  <a:pt x="0" y="314"/>
                </a:lnTo>
                <a:lnTo>
                  <a:pt x="0" y="314"/>
                </a:lnTo>
                <a:lnTo>
                  <a:pt x="4" y="313"/>
                </a:lnTo>
                <a:lnTo>
                  <a:pt x="9" y="307"/>
                </a:lnTo>
                <a:lnTo>
                  <a:pt x="15" y="303"/>
                </a:lnTo>
                <a:lnTo>
                  <a:pt x="18" y="302"/>
                </a:lnTo>
                <a:lnTo>
                  <a:pt x="18" y="303"/>
                </a:lnTo>
                <a:lnTo>
                  <a:pt x="18" y="303"/>
                </a:lnTo>
                <a:lnTo>
                  <a:pt x="22" y="311"/>
                </a:lnTo>
                <a:lnTo>
                  <a:pt x="27" y="314"/>
                </a:lnTo>
                <a:lnTo>
                  <a:pt x="35" y="314"/>
                </a:lnTo>
                <a:lnTo>
                  <a:pt x="42" y="314"/>
                </a:lnTo>
                <a:lnTo>
                  <a:pt x="58" y="313"/>
                </a:lnTo>
                <a:lnTo>
                  <a:pt x="66" y="313"/>
                </a:lnTo>
                <a:lnTo>
                  <a:pt x="69" y="313"/>
                </a:lnTo>
                <a:lnTo>
                  <a:pt x="69" y="313"/>
                </a:lnTo>
                <a:lnTo>
                  <a:pt x="69" y="314"/>
                </a:lnTo>
                <a:lnTo>
                  <a:pt x="69" y="314"/>
                </a:lnTo>
                <a:lnTo>
                  <a:pt x="66" y="316"/>
                </a:lnTo>
                <a:lnTo>
                  <a:pt x="53" y="318"/>
                </a:lnTo>
                <a:lnTo>
                  <a:pt x="46" y="320"/>
                </a:lnTo>
                <a:lnTo>
                  <a:pt x="38" y="324"/>
                </a:lnTo>
                <a:lnTo>
                  <a:pt x="37" y="325"/>
                </a:lnTo>
                <a:lnTo>
                  <a:pt x="35" y="329"/>
                </a:lnTo>
                <a:lnTo>
                  <a:pt x="37" y="331"/>
                </a:lnTo>
                <a:lnTo>
                  <a:pt x="37" y="331"/>
                </a:lnTo>
                <a:lnTo>
                  <a:pt x="33" y="335"/>
                </a:lnTo>
                <a:lnTo>
                  <a:pt x="29" y="342"/>
                </a:lnTo>
                <a:lnTo>
                  <a:pt x="27" y="345"/>
                </a:lnTo>
                <a:lnTo>
                  <a:pt x="27" y="351"/>
                </a:lnTo>
                <a:lnTo>
                  <a:pt x="29" y="356"/>
                </a:lnTo>
                <a:lnTo>
                  <a:pt x="35" y="364"/>
                </a:lnTo>
                <a:lnTo>
                  <a:pt x="35" y="364"/>
                </a:lnTo>
                <a:lnTo>
                  <a:pt x="37" y="353"/>
                </a:lnTo>
                <a:lnTo>
                  <a:pt x="40" y="347"/>
                </a:lnTo>
                <a:lnTo>
                  <a:pt x="42" y="345"/>
                </a:lnTo>
                <a:lnTo>
                  <a:pt x="46" y="345"/>
                </a:lnTo>
                <a:lnTo>
                  <a:pt x="46" y="345"/>
                </a:lnTo>
                <a:lnTo>
                  <a:pt x="53" y="345"/>
                </a:lnTo>
                <a:lnTo>
                  <a:pt x="58" y="349"/>
                </a:lnTo>
                <a:lnTo>
                  <a:pt x="64" y="349"/>
                </a:lnTo>
                <a:lnTo>
                  <a:pt x="71" y="345"/>
                </a:lnTo>
                <a:lnTo>
                  <a:pt x="71" y="345"/>
                </a:lnTo>
                <a:lnTo>
                  <a:pt x="79" y="340"/>
                </a:lnTo>
                <a:lnTo>
                  <a:pt x="84" y="336"/>
                </a:lnTo>
                <a:lnTo>
                  <a:pt x="95" y="333"/>
                </a:lnTo>
                <a:lnTo>
                  <a:pt x="95" y="333"/>
                </a:lnTo>
                <a:lnTo>
                  <a:pt x="95" y="336"/>
                </a:lnTo>
                <a:lnTo>
                  <a:pt x="99" y="342"/>
                </a:lnTo>
                <a:lnTo>
                  <a:pt x="99" y="342"/>
                </a:lnTo>
                <a:lnTo>
                  <a:pt x="102" y="344"/>
                </a:lnTo>
                <a:lnTo>
                  <a:pt x="104" y="345"/>
                </a:lnTo>
                <a:lnTo>
                  <a:pt x="104" y="345"/>
                </a:lnTo>
                <a:lnTo>
                  <a:pt x="104" y="345"/>
                </a:lnTo>
                <a:lnTo>
                  <a:pt x="102" y="351"/>
                </a:lnTo>
                <a:lnTo>
                  <a:pt x="99" y="356"/>
                </a:lnTo>
                <a:lnTo>
                  <a:pt x="95" y="360"/>
                </a:lnTo>
                <a:lnTo>
                  <a:pt x="95" y="360"/>
                </a:lnTo>
                <a:lnTo>
                  <a:pt x="97" y="360"/>
                </a:lnTo>
                <a:lnTo>
                  <a:pt x="102" y="360"/>
                </a:lnTo>
                <a:lnTo>
                  <a:pt x="108" y="358"/>
                </a:lnTo>
                <a:lnTo>
                  <a:pt x="111" y="355"/>
                </a:lnTo>
                <a:lnTo>
                  <a:pt x="115" y="349"/>
                </a:lnTo>
                <a:lnTo>
                  <a:pt x="115" y="349"/>
                </a:lnTo>
                <a:lnTo>
                  <a:pt x="117" y="347"/>
                </a:lnTo>
                <a:lnTo>
                  <a:pt x="119" y="347"/>
                </a:lnTo>
                <a:lnTo>
                  <a:pt x="124" y="347"/>
                </a:lnTo>
                <a:lnTo>
                  <a:pt x="124" y="347"/>
                </a:lnTo>
                <a:lnTo>
                  <a:pt x="128" y="345"/>
                </a:lnTo>
                <a:lnTo>
                  <a:pt x="130" y="344"/>
                </a:lnTo>
                <a:lnTo>
                  <a:pt x="130" y="338"/>
                </a:lnTo>
                <a:lnTo>
                  <a:pt x="130" y="333"/>
                </a:lnTo>
                <a:lnTo>
                  <a:pt x="130" y="329"/>
                </a:lnTo>
                <a:lnTo>
                  <a:pt x="132" y="327"/>
                </a:lnTo>
                <a:lnTo>
                  <a:pt x="132" y="327"/>
                </a:lnTo>
                <a:lnTo>
                  <a:pt x="139" y="322"/>
                </a:lnTo>
                <a:lnTo>
                  <a:pt x="146" y="316"/>
                </a:lnTo>
                <a:lnTo>
                  <a:pt x="163" y="309"/>
                </a:lnTo>
                <a:lnTo>
                  <a:pt x="163" y="309"/>
                </a:lnTo>
                <a:lnTo>
                  <a:pt x="161" y="316"/>
                </a:lnTo>
                <a:lnTo>
                  <a:pt x="161" y="324"/>
                </a:lnTo>
                <a:lnTo>
                  <a:pt x="164" y="333"/>
                </a:lnTo>
                <a:lnTo>
                  <a:pt x="205" y="322"/>
                </a:lnTo>
                <a:lnTo>
                  <a:pt x="205" y="322"/>
                </a:lnTo>
                <a:lnTo>
                  <a:pt x="203" y="313"/>
                </a:lnTo>
                <a:lnTo>
                  <a:pt x="205" y="305"/>
                </a:lnTo>
                <a:lnTo>
                  <a:pt x="210" y="296"/>
                </a:lnTo>
                <a:lnTo>
                  <a:pt x="216" y="287"/>
                </a:lnTo>
                <a:lnTo>
                  <a:pt x="216" y="287"/>
                </a:lnTo>
                <a:lnTo>
                  <a:pt x="216" y="291"/>
                </a:lnTo>
                <a:lnTo>
                  <a:pt x="214" y="300"/>
                </a:lnTo>
                <a:lnTo>
                  <a:pt x="214" y="311"/>
                </a:lnTo>
                <a:lnTo>
                  <a:pt x="214" y="316"/>
                </a:lnTo>
                <a:lnTo>
                  <a:pt x="216" y="318"/>
                </a:lnTo>
                <a:lnTo>
                  <a:pt x="256" y="309"/>
                </a:lnTo>
                <a:lnTo>
                  <a:pt x="256" y="309"/>
                </a:lnTo>
                <a:lnTo>
                  <a:pt x="254" y="303"/>
                </a:lnTo>
                <a:lnTo>
                  <a:pt x="254" y="296"/>
                </a:lnTo>
                <a:lnTo>
                  <a:pt x="258" y="283"/>
                </a:lnTo>
                <a:lnTo>
                  <a:pt x="258" y="283"/>
                </a:lnTo>
                <a:lnTo>
                  <a:pt x="261" y="298"/>
                </a:lnTo>
                <a:lnTo>
                  <a:pt x="269" y="311"/>
                </a:lnTo>
                <a:lnTo>
                  <a:pt x="278" y="322"/>
                </a:lnTo>
                <a:lnTo>
                  <a:pt x="283" y="325"/>
                </a:lnTo>
                <a:lnTo>
                  <a:pt x="289" y="329"/>
                </a:lnTo>
                <a:lnTo>
                  <a:pt x="289" y="329"/>
                </a:lnTo>
                <a:lnTo>
                  <a:pt x="311" y="338"/>
                </a:lnTo>
                <a:lnTo>
                  <a:pt x="334" y="345"/>
                </a:lnTo>
                <a:lnTo>
                  <a:pt x="391" y="362"/>
                </a:lnTo>
                <a:lnTo>
                  <a:pt x="391" y="362"/>
                </a:lnTo>
                <a:lnTo>
                  <a:pt x="407" y="367"/>
                </a:lnTo>
                <a:lnTo>
                  <a:pt x="420" y="373"/>
                </a:lnTo>
                <a:lnTo>
                  <a:pt x="420" y="373"/>
                </a:lnTo>
                <a:lnTo>
                  <a:pt x="424" y="375"/>
                </a:lnTo>
                <a:lnTo>
                  <a:pt x="424" y="377"/>
                </a:lnTo>
                <a:lnTo>
                  <a:pt x="422" y="382"/>
                </a:lnTo>
                <a:lnTo>
                  <a:pt x="417" y="386"/>
                </a:lnTo>
                <a:lnTo>
                  <a:pt x="417" y="386"/>
                </a:lnTo>
                <a:lnTo>
                  <a:pt x="424" y="391"/>
                </a:lnTo>
                <a:lnTo>
                  <a:pt x="438" y="400"/>
                </a:lnTo>
                <a:lnTo>
                  <a:pt x="438" y="400"/>
                </a:lnTo>
                <a:lnTo>
                  <a:pt x="448" y="409"/>
                </a:lnTo>
                <a:lnTo>
                  <a:pt x="453" y="420"/>
                </a:lnTo>
                <a:lnTo>
                  <a:pt x="459" y="435"/>
                </a:lnTo>
                <a:lnTo>
                  <a:pt x="462" y="450"/>
                </a:lnTo>
                <a:lnTo>
                  <a:pt x="462" y="450"/>
                </a:lnTo>
                <a:lnTo>
                  <a:pt x="466" y="462"/>
                </a:lnTo>
                <a:lnTo>
                  <a:pt x="466" y="475"/>
                </a:lnTo>
                <a:lnTo>
                  <a:pt x="466" y="486"/>
                </a:lnTo>
                <a:lnTo>
                  <a:pt x="466" y="492"/>
                </a:lnTo>
                <a:lnTo>
                  <a:pt x="464" y="493"/>
                </a:lnTo>
                <a:lnTo>
                  <a:pt x="464" y="493"/>
                </a:lnTo>
                <a:lnTo>
                  <a:pt x="460" y="497"/>
                </a:lnTo>
                <a:lnTo>
                  <a:pt x="457" y="499"/>
                </a:lnTo>
                <a:lnTo>
                  <a:pt x="451" y="501"/>
                </a:lnTo>
                <a:lnTo>
                  <a:pt x="440" y="504"/>
                </a:lnTo>
                <a:lnTo>
                  <a:pt x="444" y="519"/>
                </a:lnTo>
                <a:lnTo>
                  <a:pt x="444" y="519"/>
                </a:lnTo>
                <a:lnTo>
                  <a:pt x="451" y="519"/>
                </a:lnTo>
                <a:lnTo>
                  <a:pt x="459" y="517"/>
                </a:lnTo>
                <a:lnTo>
                  <a:pt x="466" y="515"/>
                </a:lnTo>
                <a:lnTo>
                  <a:pt x="466" y="515"/>
                </a:lnTo>
                <a:lnTo>
                  <a:pt x="464" y="517"/>
                </a:lnTo>
                <a:lnTo>
                  <a:pt x="464" y="517"/>
                </a:lnTo>
                <a:lnTo>
                  <a:pt x="459" y="526"/>
                </a:lnTo>
                <a:lnTo>
                  <a:pt x="457" y="534"/>
                </a:lnTo>
                <a:lnTo>
                  <a:pt x="473" y="545"/>
                </a:lnTo>
                <a:lnTo>
                  <a:pt x="473" y="545"/>
                </a:lnTo>
                <a:lnTo>
                  <a:pt x="481" y="526"/>
                </a:lnTo>
                <a:lnTo>
                  <a:pt x="484" y="521"/>
                </a:lnTo>
                <a:lnTo>
                  <a:pt x="488" y="517"/>
                </a:lnTo>
                <a:lnTo>
                  <a:pt x="488" y="517"/>
                </a:lnTo>
                <a:lnTo>
                  <a:pt x="491" y="517"/>
                </a:lnTo>
                <a:lnTo>
                  <a:pt x="497" y="519"/>
                </a:lnTo>
                <a:lnTo>
                  <a:pt x="504" y="523"/>
                </a:lnTo>
                <a:lnTo>
                  <a:pt x="512" y="526"/>
                </a:lnTo>
                <a:lnTo>
                  <a:pt x="521" y="534"/>
                </a:lnTo>
                <a:lnTo>
                  <a:pt x="528" y="543"/>
                </a:lnTo>
                <a:lnTo>
                  <a:pt x="535" y="552"/>
                </a:lnTo>
                <a:lnTo>
                  <a:pt x="541" y="563"/>
                </a:lnTo>
                <a:lnTo>
                  <a:pt x="541" y="563"/>
                </a:lnTo>
                <a:lnTo>
                  <a:pt x="543" y="572"/>
                </a:lnTo>
                <a:lnTo>
                  <a:pt x="544" y="581"/>
                </a:lnTo>
                <a:lnTo>
                  <a:pt x="544" y="590"/>
                </a:lnTo>
                <a:lnTo>
                  <a:pt x="543" y="601"/>
                </a:lnTo>
                <a:lnTo>
                  <a:pt x="541" y="610"/>
                </a:lnTo>
                <a:lnTo>
                  <a:pt x="537" y="618"/>
                </a:lnTo>
                <a:lnTo>
                  <a:pt x="532" y="623"/>
                </a:lnTo>
                <a:lnTo>
                  <a:pt x="526" y="627"/>
                </a:lnTo>
                <a:lnTo>
                  <a:pt x="526" y="627"/>
                </a:lnTo>
                <a:lnTo>
                  <a:pt x="521" y="627"/>
                </a:lnTo>
                <a:lnTo>
                  <a:pt x="517" y="625"/>
                </a:lnTo>
                <a:lnTo>
                  <a:pt x="504" y="620"/>
                </a:lnTo>
                <a:lnTo>
                  <a:pt x="493" y="614"/>
                </a:lnTo>
                <a:lnTo>
                  <a:pt x="490" y="614"/>
                </a:lnTo>
                <a:lnTo>
                  <a:pt x="486" y="618"/>
                </a:lnTo>
                <a:lnTo>
                  <a:pt x="486" y="618"/>
                </a:lnTo>
                <a:lnTo>
                  <a:pt x="484" y="620"/>
                </a:lnTo>
                <a:lnTo>
                  <a:pt x="479" y="623"/>
                </a:lnTo>
                <a:lnTo>
                  <a:pt x="470" y="629"/>
                </a:lnTo>
                <a:lnTo>
                  <a:pt x="466" y="632"/>
                </a:lnTo>
                <a:lnTo>
                  <a:pt x="462" y="638"/>
                </a:lnTo>
                <a:lnTo>
                  <a:pt x="462" y="645"/>
                </a:lnTo>
                <a:lnTo>
                  <a:pt x="464" y="654"/>
                </a:lnTo>
                <a:lnTo>
                  <a:pt x="464" y="654"/>
                </a:lnTo>
                <a:lnTo>
                  <a:pt x="473" y="645"/>
                </a:lnTo>
                <a:lnTo>
                  <a:pt x="477" y="641"/>
                </a:lnTo>
                <a:lnTo>
                  <a:pt x="481" y="641"/>
                </a:lnTo>
                <a:lnTo>
                  <a:pt x="481" y="641"/>
                </a:lnTo>
                <a:lnTo>
                  <a:pt x="482" y="643"/>
                </a:lnTo>
                <a:lnTo>
                  <a:pt x="482" y="645"/>
                </a:lnTo>
                <a:lnTo>
                  <a:pt x="486" y="649"/>
                </a:lnTo>
                <a:lnTo>
                  <a:pt x="486" y="649"/>
                </a:lnTo>
                <a:lnTo>
                  <a:pt x="488" y="651"/>
                </a:lnTo>
                <a:lnTo>
                  <a:pt x="491" y="651"/>
                </a:lnTo>
                <a:lnTo>
                  <a:pt x="502" y="651"/>
                </a:lnTo>
                <a:lnTo>
                  <a:pt x="512" y="649"/>
                </a:lnTo>
                <a:lnTo>
                  <a:pt x="515" y="649"/>
                </a:lnTo>
                <a:lnTo>
                  <a:pt x="517" y="651"/>
                </a:lnTo>
                <a:lnTo>
                  <a:pt x="517" y="651"/>
                </a:lnTo>
                <a:lnTo>
                  <a:pt x="517" y="652"/>
                </a:lnTo>
                <a:lnTo>
                  <a:pt x="515" y="652"/>
                </a:lnTo>
                <a:lnTo>
                  <a:pt x="510" y="652"/>
                </a:lnTo>
                <a:lnTo>
                  <a:pt x="510" y="652"/>
                </a:lnTo>
                <a:lnTo>
                  <a:pt x="491" y="656"/>
                </a:lnTo>
                <a:lnTo>
                  <a:pt x="484" y="660"/>
                </a:lnTo>
                <a:lnTo>
                  <a:pt x="479" y="663"/>
                </a:lnTo>
                <a:lnTo>
                  <a:pt x="479" y="663"/>
                </a:lnTo>
                <a:lnTo>
                  <a:pt x="479" y="665"/>
                </a:lnTo>
                <a:lnTo>
                  <a:pt x="479" y="669"/>
                </a:lnTo>
                <a:lnTo>
                  <a:pt x="479" y="669"/>
                </a:lnTo>
                <a:lnTo>
                  <a:pt x="475" y="674"/>
                </a:lnTo>
                <a:lnTo>
                  <a:pt x="470" y="678"/>
                </a:lnTo>
                <a:lnTo>
                  <a:pt x="466" y="683"/>
                </a:lnTo>
                <a:lnTo>
                  <a:pt x="464" y="689"/>
                </a:lnTo>
                <a:lnTo>
                  <a:pt x="464" y="694"/>
                </a:lnTo>
                <a:lnTo>
                  <a:pt x="464" y="694"/>
                </a:lnTo>
                <a:lnTo>
                  <a:pt x="466" y="702"/>
                </a:lnTo>
                <a:lnTo>
                  <a:pt x="470" y="705"/>
                </a:lnTo>
                <a:lnTo>
                  <a:pt x="475" y="711"/>
                </a:lnTo>
                <a:lnTo>
                  <a:pt x="475" y="711"/>
                </a:lnTo>
                <a:lnTo>
                  <a:pt x="475" y="707"/>
                </a:lnTo>
                <a:lnTo>
                  <a:pt x="477" y="702"/>
                </a:lnTo>
                <a:lnTo>
                  <a:pt x="479" y="694"/>
                </a:lnTo>
                <a:lnTo>
                  <a:pt x="479" y="691"/>
                </a:lnTo>
                <a:lnTo>
                  <a:pt x="482" y="691"/>
                </a:lnTo>
                <a:lnTo>
                  <a:pt x="482" y="691"/>
                </a:lnTo>
                <a:lnTo>
                  <a:pt x="484" y="691"/>
                </a:lnTo>
                <a:lnTo>
                  <a:pt x="488" y="693"/>
                </a:lnTo>
                <a:lnTo>
                  <a:pt x="490" y="696"/>
                </a:lnTo>
                <a:lnTo>
                  <a:pt x="493" y="696"/>
                </a:lnTo>
                <a:lnTo>
                  <a:pt x="493" y="696"/>
                </a:lnTo>
                <a:lnTo>
                  <a:pt x="497" y="696"/>
                </a:lnTo>
                <a:lnTo>
                  <a:pt x="502" y="693"/>
                </a:lnTo>
                <a:lnTo>
                  <a:pt x="513" y="682"/>
                </a:lnTo>
                <a:lnTo>
                  <a:pt x="524" y="672"/>
                </a:lnTo>
                <a:lnTo>
                  <a:pt x="528" y="669"/>
                </a:lnTo>
                <a:lnTo>
                  <a:pt x="532" y="669"/>
                </a:lnTo>
                <a:lnTo>
                  <a:pt x="532" y="669"/>
                </a:lnTo>
                <a:lnTo>
                  <a:pt x="533" y="671"/>
                </a:lnTo>
                <a:lnTo>
                  <a:pt x="532" y="672"/>
                </a:lnTo>
                <a:lnTo>
                  <a:pt x="524" y="678"/>
                </a:lnTo>
                <a:lnTo>
                  <a:pt x="517" y="685"/>
                </a:lnTo>
                <a:lnTo>
                  <a:pt x="513" y="689"/>
                </a:lnTo>
                <a:lnTo>
                  <a:pt x="512" y="694"/>
                </a:lnTo>
                <a:lnTo>
                  <a:pt x="512" y="694"/>
                </a:lnTo>
                <a:lnTo>
                  <a:pt x="513" y="700"/>
                </a:lnTo>
                <a:lnTo>
                  <a:pt x="515" y="704"/>
                </a:lnTo>
                <a:lnTo>
                  <a:pt x="519" y="707"/>
                </a:lnTo>
                <a:lnTo>
                  <a:pt x="521" y="711"/>
                </a:lnTo>
                <a:lnTo>
                  <a:pt x="521" y="711"/>
                </a:lnTo>
                <a:lnTo>
                  <a:pt x="523" y="715"/>
                </a:lnTo>
                <a:lnTo>
                  <a:pt x="526" y="720"/>
                </a:lnTo>
                <a:lnTo>
                  <a:pt x="530" y="724"/>
                </a:lnTo>
                <a:lnTo>
                  <a:pt x="535" y="725"/>
                </a:lnTo>
                <a:lnTo>
                  <a:pt x="546" y="729"/>
                </a:lnTo>
                <a:lnTo>
                  <a:pt x="552" y="729"/>
                </a:lnTo>
                <a:lnTo>
                  <a:pt x="552" y="729"/>
                </a:lnTo>
                <a:lnTo>
                  <a:pt x="550" y="725"/>
                </a:lnTo>
                <a:lnTo>
                  <a:pt x="544" y="720"/>
                </a:lnTo>
                <a:lnTo>
                  <a:pt x="539" y="713"/>
                </a:lnTo>
                <a:lnTo>
                  <a:pt x="539" y="711"/>
                </a:lnTo>
                <a:lnTo>
                  <a:pt x="539" y="707"/>
                </a:lnTo>
                <a:lnTo>
                  <a:pt x="539" y="707"/>
                </a:lnTo>
                <a:lnTo>
                  <a:pt x="541" y="705"/>
                </a:lnTo>
                <a:lnTo>
                  <a:pt x="544" y="707"/>
                </a:lnTo>
                <a:lnTo>
                  <a:pt x="548" y="707"/>
                </a:lnTo>
                <a:lnTo>
                  <a:pt x="552" y="705"/>
                </a:lnTo>
                <a:lnTo>
                  <a:pt x="552" y="705"/>
                </a:lnTo>
                <a:lnTo>
                  <a:pt x="552" y="702"/>
                </a:lnTo>
                <a:lnTo>
                  <a:pt x="552" y="691"/>
                </a:lnTo>
                <a:lnTo>
                  <a:pt x="552" y="685"/>
                </a:lnTo>
                <a:lnTo>
                  <a:pt x="554" y="678"/>
                </a:lnTo>
                <a:lnTo>
                  <a:pt x="559" y="671"/>
                </a:lnTo>
                <a:lnTo>
                  <a:pt x="566" y="662"/>
                </a:lnTo>
                <a:lnTo>
                  <a:pt x="566" y="662"/>
                </a:lnTo>
                <a:lnTo>
                  <a:pt x="570" y="667"/>
                </a:lnTo>
                <a:lnTo>
                  <a:pt x="574" y="669"/>
                </a:lnTo>
                <a:lnTo>
                  <a:pt x="581" y="671"/>
                </a:lnTo>
                <a:lnTo>
                  <a:pt x="581" y="671"/>
                </a:lnTo>
                <a:lnTo>
                  <a:pt x="583" y="672"/>
                </a:lnTo>
                <a:lnTo>
                  <a:pt x="585" y="674"/>
                </a:lnTo>
                <a:lnTo>
                  <a:pt x="585" y="682"/>
                </a:lnTo>
                <a:lnTo>
                  <a:pt x="585" y="691"/>
                </a:lnTo>
                <a:lnTo>
                  <a:pt x="585" y="691"/>
                </a:lnTo>
                <a:lnTo>
                  <a:pt x="586" y="689"/>
                </a:lnTo>
                <a:lnTo>
                  <a:pt x="590" y="683"/>
                </a:lnTo>
                <a:lnTo>
                  <a:pt x="594" y="674"/>
                </a:lnTo>
                <a:lnTo>
                  <a:pt x="594" y="663"/>
                </a:lnTo>
                <a:lnTo>
                  <a:pt x="594" y="663"/>
                </a:lnTo>
                <a:lnTo>
                  <a:pt x="597" y="662"/>
                </a:lnTo>
                <a:lnTo>
                  <a:pt x="601" y="654"/>
                </a:lnTo>
                <a:lnTo>
                  <a:pt x="601" y="654"/>
                </a:lnTo>
                <a:lnTo>
                  <a:pt x="603" y="651"/>
                </a:lnTo>
                <a:lnTo>
                  <a:pt x="601" y="649"/>
                </a:lnTo>
                <a:lnTo>
                  <a:pt x="596" y="643"/>
                </a:lnTo>
                <a:lnTo>
                  <a:pt x="594" y="640"/>
                </a:lnTo>
                <a:lnTo>
                  <a:pt x="592" y="634"/>
                </a:lnTo>
                <a:lnTo>
                  <a:pt x="590" y="625"/>
                </a:lnTo>
                <a:lnTo>
                  <a:pt x="590" y="614"/>
                </a:lnTo>
                <a:lnTo>
                  <a:pt x="590" y="614"/>
                </a:lnTo>
                <a:lnTo>
                  <a:pt x="590" y="610"/>
                </a:lnTo>
                <a:lnTo>
                  <a:pt x="588" y="609"/>
                </a:lnTo>
                <a:lnTo>
                  <a:pt x="583" y="605"/>
                </a:lnTo>
                <a:lnTo>
                  <a:pt x="583" y="605"/>
                </a:lnTo>
                <a:lnTo>
                  <a:pt x="579" y="599"/>
                </a:lnTo>
                <a:lnTo>
                  <a:pt x="579" y="598"/>
                </a:lnTo>
                <a:lnTo>
                  <a:pt x="581" y="598"/>
                </a:lnTo>
                <a:lnTo>
                  <a:pt x="581" y="598"/>
                </a:lnTo>
                <a:lnTo>
                  <a:pt x="588" y="599"/>
                </a:lnTo>
                <a:lnTo>
                  <a:pt x="596" y="599"/>
                </a:lnTo>
                <a:lnTo>
                  <a:pt x="603" y="598"/>
                </a:lnTo>
                <a:lnTo>
                  <a:pt x="603" y="598"/>
                </a:lnTo>
                <a:lnTo>
                  <a:pt x="603" y="576"/>
                </a:lnTo>
                <a:lnTo>
                  <a:pt x="605" y="565"/>
                </a:lnTo>
                <a:lnTo>
                  <a:pt x="603" y="559"/>
                </a:lnTo>
                <a:lnTo>
                  <a:pt x="603" y="559"/>
                </a:lnTo>
                <a:lnTo>
                  <a:pt x="596" y="559"/>
                </a:lnTo>
                <a:lnTo>
                  <a:pt x="588" y="557"/>
                </a:lnTo>
                <a:lnTo>
                  <a:pt x="585" y="556"/>
                </a:lnTo>
                <a:lnTo>
                  <a:pt x="581" y="552"/>
                </a:lnTo>
                <a:lnTo>
                  <a:pt x="581" y="552"/>
                </a:lnTo>
                <a:lnTo>
                  <a:pt x="586" y="552"/>
                </a:lnTo>
                <a:lnTo>
                  <a:pt x="594" y="552"/>
                </a:lnTo>
                <a:lnTo>
                  <a:pt x="599" y="552"/>
                </a:lnTo>
                <a:lnTo>
                  <a:pt x="603" y="548"/>
                </a:lnTo>
                <a:lnTo>
                  <a:pt x="603" y="548"/>
                </a:lnTo>
                <a:lnTo>
                  <a:pt x="603" y="530"/>
                </a:lnTo>
                <a:lnTo>
                  <a:pt x="601" y="517"/>
                </a:lnTo>
                <a:lnTo>
                  <a:pt x="601" y="514"/>
                </a:lnTo>
                <a:lnTo>
                  <a:pt x="599" y="512"/>
                </a:lnTo>
                <a:lnTo>
                  <a:pt x="599" y="512"/>
                </a:lnTo>
                <a:lnTo>
                  <a:pt x="592" y="514"/>
                </a:lnTo>
                <a:lnTo>
                  <a:pt x="586" y="514"/>
                </a:lnTo>
                <a:lnTo>
                  <a:pt x="581" y="512"/>
                </a:lnTo>
                <a:lnTo>
                  <a:pt x="576" y="510"/>
                </a:lnTo>
                <a:lnTo>
                  <a:pt x="576" y="510"/>
                </a:lnTo>
                <a:lnTo>
                  <a:pt x="574" y="508"/>
                </a:lnTo>
                <a:lnTo>
                  <a:pt x="572" y="504"/>
                </a:lnTo>
                <a:lnTo>
                  <a:pt x="572" y="499"/>
                </a:lnTo>
                <a:lnTo>
                  <a:pt x="570" y="495"/>
                </a:lnTo>
                <a:lnTo>
                  <a:pt x="570" y="493"/>
                </a:lnTo>
                <a:lnTo>
                  <a:pt x="568" y="492"/>
                </a:lnTo>
                <a:lnTo>
                  <a:pt x="568" y="492"/>
                </a:lnTo>
                <a:lnTo>
                  <a:pt x="557" y="488"/>
                </a:lnTo>
                <a:lnTo>
                  <a:pt x="546" y="482"/>
                </a:lnTo>
                <a:lnTo>
                  <a:pt x="541" y="477"/>
                </a:lnTo>
                <a:lnTo>
                  <a:pt x="535" y="473"/>
                </a:lnTo>
                <a:lnTo>
                  <a:pt x="535" y="473"/>
                </a:lnTo>
                <a:lnTo>
                  <a:pt x="532" y="468"/>
                </a:lnTo>
                <a:lnTo>
                  <a:pt x="532" y="462"/>
                </a:lnTo>
                <a:lnTo>
                  <a:pt x="532" y="459"/>
                </a:lnTo>
                <a:lnTo>
                  <a:pt x="532" y="459"/>
                </a:lnTo>
                <a:lnTo>
                  <a:pt x="541" y="462"/>
                </a:lnTo>
                <a:lnTo>
                  <a:pt x="544" y="462"/>
                </a:lnTo>
                <a:lnTo>
                  <a:pt x="550" y="461"/>
                </a:lnTo>
                <a:lnTo>
                  <a:pt x="552" y="431"/>
                </a:lnTo>
                <a:lnTo>
                  <a:pt x="552" y="431"/>
                </a:lnTo>
                <a:lnTo>
                  <a:pt x="548" y="431"/>
                </a:lnTo>
                <a:lnTo>
                  <a:pt x="541" y="430"/>
                </a:lnTo>
                <a:lnTo>
                  <a:pt x="541" y="430"/>
                </a:lnTo>
                <a:lnTo>
                  <a:pt x="537" y="426"/>
                </a:lnTo>
                <a:lnTo>
                  <a:pt x="533" y="422"/>
                </a:lnTo>
                <a:lnTo>
                  <a:pt x="532" y="419"/>
                </a:lnTo>
                <a:lnTo>
                  <a:pt x="532" y="419"/>
                </a:lnTo>
                <a:lnTo>
                  <a:pt x="535" y="420"/>
                </a:lnTo>
                <a:lnTo>
                  <a:pt x="543" y="422"/>
                </a:lnTo>
                <a:lnTo>
                  <a:pt x="543" y="422"/>
                </a:lnTo>
                <a:lnTo>
                  <a:pt x="550" y="422"/>
                </a:lnTo>
                <a:lnTo>
                  <a:pt x="554" y="420"/>
                </a:lnTo>
                <a:lnTo>
                  <a:pt x="557" y="387"/>
                </a:lnTo>
                <a:lnTo>
                  <a:pt x="557" y="387"/>
                </a:lnTo>
                <a:lnTo>
                  <a:pt x="552" y="387"/>
                </a:lnTo>
                <a:lnTo>
                  <a:pt x="546" y="386"/>
                </a:lnTo>
                <a:lnTo>
                  <a:pt x="541" y="384"/>
                </a:lnTo>
                <a:lnTo>
                  <a:pt x="539" y="378"/>
                </a:lnTo>
                <a:lnTo>
                  <a:pt x="539" y="377"/>
                </a:lnTo>
                <a:lnTo>
                  <a:pt x="539" y="377"/>
                </a:lnTo>
                <a:lnTo>
                  <a:pt x="552" y="373"/>
                </a:lnTo>
                <a:lnTo>
                  <a:pt x="563" y="367"/>
                </a:lnTo>
                <a:lnTo>
                  <a:pt x="572" y="360"/>
                </a:lnTo>
                <a:lnTo>
                  <a:pt x="579" y="353"/>
                </a:lnTo>
                <a:lnTo>
                  <a:pt x="586" y="344"/>
                </a:lnTo>
                <a:lnTo>
                  <a:pt x="592" y="333"/>
                </a:lnTo>
                <a:lnTo>
                  <a:pt x="597" y="324"/>
                </a:lnTo>
                <a:lnTo>
                  <a:pt x="599" y="313"/>
                </a:lnTo>
                <a:lnTo>
                  <a:pt x="599" y="313"/>
                </a:lnTo>
                <a:lnTo>
                  <a:pt x="608" y="316"/>
                </a:lnTo>
                <a:lnTo>
                  <a:pt x="614" y="316"/>
                </a:lnTo>
                <a:lnTo>
                  <a:pt x="618" y="316"/>
                </a:lnTo>
                <a:lnTo>
                  <a:pt x="618" y="316"/>
                </a:lnTo>
                <a:lnTo>
                  <a:pt x="619" y="303"/>
                </a:lnTo>
                <a:lnTo>
                  <a:pt x="619" y="289"/>
                </a:lnTo>
                <a:lnTo>
                  <a:pt x="619" y="289"/>
                </a:lnTo>
                <a:lnTo>
                  <a:pt x="610" y="287"/>
                </a:lnTo>
                <a:lnTo>
                  <a:pt x="607" y="285"/>
                </a:lnTo>
                <a:lnTo>
                  <a:pt x="603" y="28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pic>
        <p:nvPicPr>
          <p:cNvPr id="53" name="Picture 3">
            <a:extLst>
              <a:ext uri="{FF2B5EF4-FFF2-40B4-BE49-F238E27FC236}">
                <a16:creationId xmlns:a16="http://schemas.microsoft.com/office/drawing/2014/main" id="{F1689B57-8BAA-BF42-B648-10782572357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804248" y="4443958"/>
            <a:ext cx="2088034" cy="397877"/>
          </a:xfrm>
          <a:prstGeom prst="rect">
            <a:avLst/>
          </a:prstGeom>
        </p:spPr>
      </p:pic>
      <p:pic>
        <p:nvPicPr>
          <p:cNvPr id="55" name="Picture 5">
            <a:extLst>
              <a:ext uri="{FF2B5EF4-FFF2-40B4-BE49-F238E27FC236}">
                <a16:creationId xmlns:a16="http://schemas.microsoft.com/office/drawing/2014/main" id="{4F591584-9FCE-5A4F-A985-77C337C3AB8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04448" y="235340"/>
            <a:ext cx="305495" cy="419486"/>
          </a:xfrm>
          <a:prstGeom prst="rect">
            <a:avLst/>
          </a:prstGeom>
        </p:spPr>
      </p:pic>
    </p:spTree>
    <p:extLst>
      <p:ext uri="{BB962C8B-B14F-4D97-AF65-F5344CB8AC3E}">
        <p14:creationId xmlns:p14="http://schemas.microsoft.com/office/powerpoint/2010/main" val="335839488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2_Väliotsikko">
    <p:spTree>
      <p:nvGrpSpPr>
        <p:cNvPr id="1" name=""/>
        <p:cNvGrpSpPr/>
        <p:nvPr/>
      </p:nvGrpSpPr>
      <p:grpSpPr>
        <a:xfrm>
          <a:off x="0" y="0"/>
          <a:ext cx="0" cy="0"/>
          <a:chOff x="0" y="0"/>
          <a:chExt cx="0" cy="0"/>
        </a:xfrm>
      </p:grpSpPr>
      <p:pic>
        <p:nvPicPr>
          <p:cNvPr id="3" name="Kuva 2"/>
          <p:cNvPicPr>
            <a:picLocks noChangeAspect="1"/>
          </p:cNvPicPr>
          <p:nvPr userDrawn="1"/>
        </p:nvPicPr>
        <p:blipFill rotWithShape="1">
          <a:blip r:embed="rId2" cstate="print">
            <a:extLst>
              <a:ext uri="{28A0092B-C50C-407E-A947-70E740481C1C}">
                <a14:useLocalDpi xmlns:a14="http://schemas.microsoft.com/office/drawing/2010/main" val="0"/>
              </a:ext>
            </a:extLst>
          </a:blip>
          <a:srcRect t="12864" r="45384" b="437"/>
          <a:stretch/>
        </p:blipFill>
        <p:spPr>
          <a:xfrm>
            <a:off x="4228333" y="-20538"/>
            <a:ext cx="4952179" cy="5184576"/>
          </a:xfrm>
          <a:prstGeom prst="rect">
            <a:avLst/>
          </a:prstGeom>
        </p:spPr>
      </p:pic>
      <p:sp>
        <p:nvSpPr>
          <p:cNvPr id="51" name="Rectangle 50"/>
          <p:cNvSpPr/>
          <p:nvPr userDrawn="1"/>
        </p:nvSpPr>
        <p:spPr>
          <a:xfrm rot="10800000" flipV="1">
            <a:off x="-10667" y="-21804"/>
            <a:ext cx="4582667" cy="5165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58" name="Rectangle 57"/>
          <p:cNvSpPr/>
          <p:nvPr userDrawn="1"/>
        </p:nvSpPr>
        <p:spPr>
          <a:xfrm rot="10800000" flipV="1">
            <a:off x="4499989" y="-21805"/>
            <a:ext cx="4680521" cy="5185843"/>
          </a:xfrm>
          <a:prstGeom prst="rect">
            <a:avLst/>
          </a:pr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54" name="Freeform 7"/>
          <p:cNvSpPr>
            <a:spLocks/>
          </p:cNvSpPr>
          <p:nvPr userDrawn="1"/>
        </p:nvSpPr>
        <p:spPr bwMode="auto">
          <a:xfrm rot="10800000" flipV="1">
            <a:off x="3392894" y="-21803"/>
            <a:ext cx="4279900" cy="5165302"/>
          </a:xfrm>
          <a:custGeom>
            <a:avLst/>
            <a:gdLst>
              <a:gd name="T0" fmla="*/ 2425 w 2696"/>
              <a:gd name="T1" fmla="*/ 3240 h 3240"/>
              <a:gd name="T2" fmla="*/ 2398 w 2696"/>
              <a:gd name="T3" fmla="*/ 3171 h 3240"/>
              <a:gd name="T4" fmla="*/ 2372 w 2696"/>
              <a:gd name="T5" fmla="*/ 3103 h 3240"/>
              <a:gd name="T6" fmla="*/ 2325 w 2696"/>
              <a:gd name="T7" fmla="*/ 2966 h 3240"/>
              <a:gd name="T8" fmla="*/ 2283 w 2696"/>
              <a:gd name="T9" fmla="*/ 2828 h 3240"/>
              <a:gd name="T10" fmla="*/ 2248 w 2696"/>
              <a:gd name="T11" fmla="*/ 2689 h 3240"/>
              <a:gd name="T12" fmla="*/ 2219 w 2696"/>
              <a:gd name="T13" fmla="*/ 2550 h 3240"/>
              <a:gd name="T14" fmla="*/ 2196 w 2696"/>
              <a:gd name="T15" fmla="*/ 2411 h 3240"/>
              <a:gd name="T16" fmla="*/ 2178 w 2696"/>
              <a:gd name="T17" fmla="*/ 2273 h 3240"/>
              <a:gd name="T18" fmla="*/ 2164 w 2696"/>
              <a:gd name="T19" fmla="*/ 2133 h 3240"/>
              <a:gd name="T20" fmla="*/ 2157 w 2696"/>
              <a:gd name="T21" fmla="*/ 1995 h 3240"/>
              <a:gd name="T22" fmla="*/ 2156 w 2696"/>
              <a:gd name="T23" fmla="*/ 1856 h 3240"/>
              <a:gd name="T24" fmla="*/ 2160 w 2696"/>
              <a:gd name="T25" fmla="*/ 1718 h 3240"/>
              <a:gd name="T26" fmla="*/ 2170 w 2696"/>
              <a:gd name="T27" fmla="*/ 1581 h 3240"/>
              <a:gd name="T28" fmla="*/ 2183 w 2696"/>
              <a:gd name="T29" fmla="*/ 1445 h 3240"/>
              <a:gd name="T30" fmla="*/ 2203 w 2696"/>
              <a:gd name="T31" fmla="*/ 1310 h 3240"/>
              <a:gd name="T32" fmla="*/ 2228 w 2696"/>
              <a:gd name="T33" fmla="*/ 1175 h 3240"/>
              <a:gd name="T34" fmla="*/ 2259 w 2696"/>
              <a:gd name="T35" fmla="*/ 1042 h 3240"/>
              <a:gd name="T36" fmla="*/ 2274 w 2696"/>
              <a:gd name="T37" fmla="*/ 977 h 3240"/>
              <a:gd name="T38" fmla="*/ 2313 w 2696"/>
              <a:gd name="T39" fmla="*/ 845 h 3240"/>
              <a:gd name="T40" fmla="*/ 2354 w 2696"/>
              <a:gd name="T41" fmla="*/ 716 h 3240"/>
              <a:gd name="T42" fmla="*/ 2400 w 2696"/>
              <a:gd name="T43" fmla="*/ 590 h 3240"/>
              <a:gd name="T44" fmla="*/ 2452 w 2696"/>
              <a:gd name="T45" fmla="*/ 466 h 3240"/>
              <a:gd name="T46" fmla="*/ 2507 w 2696"/>
              <a:gd name="T47" fmla="*/ 345 h 3240"/>
              <a:gd name="T48" fmla="*/ 2566 w 2696"/>
              <a:gd name="T49" fmla="*/ 227 h 3240"/>
              <a:gd name="T50" fmla="*/ 2630 w 2696"/>
              <a:gd name="T51" fmla="*/ 113 h 3240"/>
              <a:gd name="T52" fmla="*/ 2696 w 2696"/>
              <a:gd name="T53" fmla="*/ 0 h 3240"/>
              <a:gd name="T54" fmla="*/ 0 w 2696"/>
              <a:gd name="T55" fmla="*/ 0 h 3240"/>
              <a:gd name="T56" fmla="*/ 72 w 2696"/>
              <a:gd name="T57" fmla="*/ 207 h 3240"/>
              <a:gd name="T58" fmla="*/ 150 w 2696"/>
              <a:gd name="T59" fmla="*/ 414 h 3240"/>
              <a:gd name="T60" fmla="*/ 187 w 2696"/>
              <a:gd name="T61" fmla="*/ 510 h 3240"/>
              <a:gd name="T62" fmla="*/ 266 w 2696"/>
              <a:gd name="T63" fmla="*/ 701 h 3240"/>
              <a:gd name="T64" fmla="*/ 349 w 2696"/>
              <a:gd name="T65" fmla="*/ 890 h 3240"/>
              <a:gd name="T66" fmla="*/ 436 w 2696"/>
              <a:gd name="T67" fmla="*/ 1077 h 3240"/>
              <a:gd name="T68" fmla="*/ 527 w 2696"/>
              <a:gd name="T69" fmla="*/ 1262 h 3240"/>
              <a:gd name="T70" fmla="*/ 622 w 2696"/>
              <a:gd name="T71" fmla="*/ 1446 h 3240"/>
              <a:gd name="T72" fmla="*/ 722 w 2696"/>
              <a:gd name="T73" fmla="*/ 1627 h 3240"/>
              <a:gd name="T74" fmla="*/ 826 w 2696"/>
              <a:gd name="T75" fmla="*/ 1807 h 3240"/>
              <a:gd name="T76" fmla="*/ 934 w 2696"/>
              <a:gd name="T77" fmla="*/ 1983 h 3240"/>
              <a:gd name="T78" fmla="*/ 1046 w 2696"/>
              <a:gd name="T79" fmla="*/ 2159 h 3240"/>
              <a:gd name="T80" fmla="*/ 1162 w 2696"/>
              <a:gd name="T81" fmla="*/ 2332 h 3240"/>
              <a:gd name="T82" fmla="*/ 1282 w 2696"/>
              <a:gd name="T83" fmla="*/ 2503 h 3240"/>
              <a:gd name="T84" fmla="*/ 1406 w 2696"/>
              <a:gd name="T85" fmla="*/ 2671 h 3240"/>
              <a:gd name="T86" fmla="*/ 1535 w 2696"/>
              <a:gd name="T87" fmla="*/ 2837 h 3240"/>
              <a:gd name="T88" fmla="*/ 1667 w 2696"/>
              <a:gd name="T89" fmla="*/ 3000 h 3240"/>
              <a:gd name="T90" fmla="*/ 1804 w 2696"/>
              <a:gd name="T91" fmla="*/ 3160 h 3240"/>
              <a:gd name="T92" fmla="*/ 1874 w 2696"/>
              <a:gd name="T93" fmla="*/ 3240 h 3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96" h="3240">
                <a:moveTo>
                  <a:pt x="1874" y="3240"/>
                </a:moveTo>
                <a:lnTo>
                  <a:pt x="2425" y="3240"/>
                </a:lnTo>
                <a:lnTo>
                  <a:pt x="2425" y="3240"/>
                </a:lnTo>
                <a:lnTo>
                  <a:pt x="2398" y="3171"/>
                </a:lnTo>
                <a:lnTo>
                  <a:pt x="2398" y="3171"/>
                </a:lnTo>
                <a:lnTo>
                  <a:pt x="2372" y="3103"/>
                </a:lnTo>
                <a:lnTo>
                  <a:pt x="2347" y="3034"/>
                </a:lnTo>
                <a:lnTo>
                  <a:pt x="2325" y="2966"/>
                </a:lnTo>
                <a:lnTo>
                  <a:pt x="2304" y="2897"/>
                </a:lnTo>
                <a:lnTo>
                  <a:pt x="2283" y="2828"/>
                </a:lnTo>
                <a:lnTo>
                  <a:pt x="2265" y="2759"/>
                </a:lnTo>
                <a:lnTo>
                  <a:pt x="2248" y="2689"/>
                </a:lnTo>
                <a:lnTo>
                  <a:pt x="2233" y="2620"/>
                </a:lnTo>
                <a:lnTo>
                  <a:pt x="2219" y="2550"/>
                </a:lnTo>
                <a:lnTo>
                  <a:pt x="2207" y="2481"/>
                </a:lnTo>
                <a:lnTo>
                  <a:pt x="2196" y="2411"/>
                </a:lnTo>
                <a:lnTo>
                  <a:pt x="2185" y="2342"/>
                </a:lnTo>
                <a:lnTo>
                  <a:pt x="2178" y="2273"/>
                </a:lnTo>
                <a:lnTo>
                  <a:pt x="2170" y="2203"/>
                </a:lnTo>
                <a:lnTo>
                  <a:pt x="2164" y="2133"/>
                </a:lnTo>
                <a:lnTo>
                  <a:pt x="2161" y="2063"/>
                </a:lnTo>
                <a:lnTo>
                  <a:pt x="2157" y="1995"/>
                </a:lnTo>
                <a:lnTo>
                  <a:pt x="2156" y="1925"/>
                </a:lnTo>
                <a:lnTo>
                  <a:pt x="2156" y="1856"/>
                </a:lnTo>
                <a:lnTo>
                  <a:pt x="2157" y="1787"/>
                </a:lnTo>
                <a:lnTo>
                  <a:pt x="2160" y="1718"/>
                </a:lnTo>
                <a:lnTo>
                  <a:pt x="2164" y="1649"/>
                </a:lnTo>
                <a:lnTo>
                  <a:pt x="2170" y="1581"/>
                </a:lnTo>
                <a:lnTo>
                  <a:pt x="2175" y="1513"/>
                </a:lnTo>
                <a:lnTo>
                  <a:pt x="2183" y="1445"/>
                </a:lnTo>
                <a:lnTo>
                  <a:pt x="2193" y="1377"/>
                </a:lnTo>
                <a:lnTo>
                  <a:pt x="2203" y="1310"/>
                </a:lnTo>
                <a:lnTo>
                  <a:pt x="2215" y="1242"/>
                </a:lnTo>
                <a:lnTo>
                  <a:pt x="2228" y="1175"/>
                </a:lnTo>
                <a:lnTo>
                  <a:pt x="2243" y="1108"/>
                </a:lnTo>
                <a:lnTo>
                  <a:pt x="2259" y="1042"/>
                </a:lnTo>
                <a:lnTo>
                  <a:pt x="2274" y="977"/>
                </a:lnTo>
                <a:lnTo>
                  <a:pt x="2274" y="977"/>
                </a:lnTo>
                <a:lnTo>
                  <a:pt x="2293" y="910"/>
                </a:lnTo>
                <a:lnTo>
                  <a:pt x="2313" y="845"/>
                </a:lnTo>
                <a:lnTo>
                  <a:pt x="2333" y="780"/>
                </a:lnTo>
                <a:lnTo>
                  <a:pt x="2354" y="716"/>
                </a:lnTo>
                <a:lnTo>
                  <a:pt x="2377" y="653"/>
                </a:lnTo>
                <a:lnTo>
                  <a:pt x="2400" y="590"/>
                </a:lnTo>
                <a:lnTo>
                  <a:pt x="2426" y="528"/>
                </a:lnTo>
                <a:lnTo>
                  <a:pt x="2452" y="466"/>
                </a:lnTo>
                <a:lnTo>
                  <a:pt x="2479" y="405"/>
                </a:lnTo>
                <a:lnTo>
                  <a:pt x="2507" y="345"/>
                </a:lnTo>
                <a:lnTo>
                  <a:pt x="2536" y="286"/>
                </a:lnTo>
                <a:lnTo>
                  <a:pt x="2566" y="227"/>
                </a:lnTo>
                <a:lnTo>
                  <a:pt x="2597" y="169"/>
                </a:lnTo>
                <a:lnTo>
                  <a:pt x="2630" y="113"/>
                </a:lnTo>
                <a:lnTo>
                  <a:pt x="2662" y="55"/>
                </a:lnTo>
                <a:lnTo>
                  <a:pt x="2696" y="0"/>
                </a:lnTo>
                <a:lnTo>
                  <a:pt x="0" y="0"/>
                </a:lnTo>
                <a:lnTo>
                  <a:pt x="0" y="0"/>
                </a:lnTo>
                <a:lnTo>
                  <a:pt x="35" y="104"/>
                </a:lnTo>
                <a:lnTo>
                  <a:pt x="72" y="207"/>
                </a:lnTo>
                <a:lnTo>
                  <a:pt x="111" y="311"/>
                </a:lnTo>
                <a:lnTo>
                  <a:pt x="150" y="414"/>
                </a:lnTo>
                <a:lnTo>
                  <a:pt x="150" y="414"/>
                </a:lnTo>
                <a:lnTo>
                  <a:pt x="187" y="510"/>
                </a:lnTo>
                <a:lnTo>
                  <a:pt x="226" y="605"/>
                </a:lnTo>
                <a:lnTo>
                  <a:pt x="266" y="701"/>
                </a:lnTo>
                <a:lnTo>
                  <a:pt x="306" y="795"/>
                </a:lnTo>
                <a:lnTo>
                  <a:pt x="349" y="890"/>
                </a:lnTo>
                <a:lnTo>
                  <a:pt x="392" y="983"/>
                </a:lnTo>
                <a:lnTo>
                  <a:pt x="436" y="1077"/>
                </a:lnTo>
                <a:lnTo>
                  <a:pt x="481" y="1169"/>
                </a:lnTo>
                <a:lnTo>
                  <a:pt x="527" y="1262"/>
                </a:lnTo>
                <a:lnTo>
                  <a:pt x="574" y="1353"/>
                </a:lnTo>
                <a:lnTo>
                  <a:pt x="622" y="1446"/>
                </a:lnTo>
                <a:lnTo>
                  <a:pt x="672" y="1537"/>
                </a:lnTo>
                <a:lnTo>
                  <a:pt x="722" y="1627"/>
                </a:lnTo>
                <a:lnTo>
                  <a:pt x="773" y="1717"/>
                </a:lnTo>
                <a:lnTo>
                  <a:pt x="826" y="1807"/>
                </a:lnTo>
                <a:lnTo>
                  <a:pt x="879" y="1896"/>
                </a:lnTo>
                <a:lnTo>
                  <a:pt x="934" y="1983"/>
                </a:lnTo>
                <a:lnTo>
                  <a:pt x="989" y="2072"/>
                </a:lnTo>
                <a:lnTo>
                  <a:pt x="1046" y="2159"/>
                </a:lnTo>
                <a:lnTo>
                  <a:pt x="1104" y="2246"/>
                </a:lnTo>
                <a:lnTo>
                  <a:pt x="1162" y="2332"/>
                </a:lnTo>
                <a:lnTo>
                  <a:pt x="1222" y="2418"/>
                </a:lnTo>
                <a:lnTo>
                  <a:pt x="1282" y="2503"/>
                </a:lnTo>
                <a:lnTo>
                  <a:pt x="1344" y="2588"/>
                </a:lnTo>
                <a:lnTo>
                  <a:pt x="1406" y="2671"/>
                </a:lnTo>
                <a:lnTo>
                  <a:pt x="1470" y="2754"/>
                </a:lnTo>
                <a:lnTo>
                  <a:pt x="1535" y="2837"/>
                </a:lnTo>
                <a:lnTo>
                  <a:pt x="1601" y="2918"/>
                </a:lnTo>
                <a:lnTo>
                  <a:pt x="1667" y="3000"/>
                </a:lnTo>
                <a:lnTo>
                  <a:pt x="1736" y="3080"/>
                </a:lnTo>
                <a:lnTo>
                  <a:pt x="1804" y="3160"/>
                </a:lnTo>
                <a:lnTo>
                  <a:pt x="1874" y="3240"/>
                </a:lnTo>
                <a:lnTo>
                  <a:pt x="1874" y="3240"/>
                </a:lnTo>
                <a:close/>
              </a:path>
            </a:pathLst>
          </a:custGeom>
          <a:solidFill>
            <a:srgbClr val="EA006F"/>
          </a:solidFill>
          <a:ln>
            <a:noFill/>
          </a:ln>
          <a:extLst/>
        </p:spPr>
        <p:txBody>
          <a:bodyPr vert="horz" wrap="square" lIns="91440" tIns="45720" rIns="91440" bIns="45720" numCol="1" anchor="t" anchorCtr="0" compatLnSpc="1">
            <a:prstTxWarp prst="textNoShape">
              <a:avLst/>
            </a:prstTxWarp>
          </a:bodyPr>
          <a:lstStyle/>
          <a:p>
            <a:endParaRPr lang="fi-FI"/>
          </a:p>
        </p:txBody>
      </p:sp>
      <p:sp>
        <p:nvSpPr>
          <p:cNvPr id="10" name="Otsikko 1"/>
          <p:cNvSpPr>
            <a:spLocks noGrp="1"/>
          </p:cNvSpPr>
          <p:nvPr userDrawn="1">
            <p:ph type="ctrTitle"/>
          </p:nvPr>
        </p:nvSpPr>
        <p:spPr>
          <a:xfrm>
            <a:off x="366651" y="411510"/>
            <a:ext cx="3485269" cy="2967062"/>
          </a:xfrm>
        </p:spPr>
        <p:txBody>
          <a:bodyPr anchor="b" anchorCtr="0">
            <a:noAutofit/>
          </a:bodyPr>
          <a:lstStyle>
            <a:lvl1pPr algn="l">
              <a:defRPr sz="4000">
                <a:solidFill>
                  <a:schemeClr val="accent4"/>
                </a:solidFill>
              </a:defRPr>
            </a:lvl1pPr>
          </a:lstStyle>
          <a:p>
            <a:r>
              <a:rPr lang="en-US" dirty="0"/>
              <a:t>Click to edit Master title style</a:t>
            </a:r>
            <a:endParaRPr lang="fi-FI" dirty="0"/>
          </a:p>
        </p:txBody>
      </p:sp>
      <p:sp>
        <p:nvSpPr>
          <p:cNvPr id="11" name="Alaotsikko 2"/>
          <p:cNvSpPr>
            <a:spLocks noGrp="1"/>
          </p:cNvSpPr>
          <p:nvPr userDrawn="1">
            <p:ph type="subTitle" idx="1"/>
          </p:nvPr>
        </p:nvSpPr>
        <p:spPr>
          <a:xfrm>
            <a:off x="366651" y="3507854"/>
            <a:ext cx="3485270" cy="1512168"/>
          </a:xfrm>
        </p:spPr>
        <p:txBody>
          <a:bodyPr>
            <a:normAutofit/>
          </a:bodyPr>
          <a:lstStyle>
            <a:lvl1pPr marL="0" indent="0" algn="l">
              <a:spcBef>
                <a:spcPts val="0"/>
              </a:spcBef>
              <a:buNone/>
              <a:defRPr sz="1800">
                <a:solidFill>
                  <a:srgbClr val="59596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fi-FI" dirty="0"/>
          </a:p>
        </p:txBody>
      </p:sp>
      <p:sp>
        <p:nvSpPr>
          <p:cNvPr id="32" name="Freeform 30"/>
          <p:cNvSpPr>
            <a:spLocks/>
          </p:cNvSpPr>
          <p:nvPr userDrawn="1"/>
        </p:nvSpPr>
        <p:spPr bwMode="auto">
          <a:xfrm>
            <a:off x="7331075" y="1931690"/>
            <a:ext cx="371475" cy="98425"/>
          </a:xfrm>
          <a:custGeom>
            <a:avLst/>
            <a:gdLst>
              <a:gd name="T0" fmla="*/ 87 w 2807"/>
              <a:gd name="T1" fmla="*/ 343 h 743"/>
              <a:gd name="T2" fmla="*/ 203 w 2807"/>
              <a:gd name="T3" fmla="*/ 417 h 743"/>
              <a:gd name="T4" fmla="*/ 319 w 2807"/>
              <a:gd name="T5" fmla="*/ 479 h 743"/>
              <a:gd name="T6" fmla="*/ 430 w 2807"/>
              <a:gd name="T7" fmla="*/ 529 h 743"/>
              <a:gd name="T8" fmla="*/ 603 w 2807"/>
              <a:gd name="T9" fmla="*/ 595 h 743"/>
              <a:gd name="T10" fmla="*/ 724 w 2807"/>
              <a:gd name="T11" fmla="*/ 633 h 743"/>
              <a:gd name="T12" fmla="*/ 857 w 2807"/>
              <a:gd name="T13" fmla="*/ 666 h 743"/>
              <a:gd name="T14" fmla="*/ 1001 w 2807"/>
              <a:gd name="T15" fmla="*/ 696 h 743"/>
              <a:gd name="T16" fmla="*/ 1157 w 2807"/>
              <a:gd name="T17" fmla="*/ 719 h 743"/>
              <a:gd name="T18" fmla="*/ 1324 w 2807"/>
              <a:gd name="T19" fmla="*/ 736 h 743"/>
              <a:gd name="T20" fmla="*/ 1502 w 2807"/>
              <a:gd name="T21" fmla="*/ 743 h 743"/>
              <a:gd name="T22" fmla="*/ 1689 w 2807"/>
              <a:gd name="T23" fmla="*/ 738 h 743"/>
              <a:gd name="T24" fmla="*/ 1819 w 2807"/>
              <a:gd name="T25" fmla="*/ 729 h 743"/>
              <a:gd name="T26" fmla="*/ 1999 w 2807"/>
              <a:gd name="T27" fmla="*/ 706 h 743"/>
              <a:gd name="T28" fmla="*/ 2159 w 2807"/>
              <a:gd name="T29" fmla="*/ 678 h 743"/>
              <a:gd name="T30" fmla="*/ 2302 w 2807"/>
              <a:gd name="T31" fmla="*/ 643 h 743"/>
              <a:gd name="T32" fmla="*/ 2426 w 2807"/>
              <a:gd name="T33" fmla="*/ 605 h 743"/>
              <a:gd name="T34" fmla="*/ 2533 w 2807"/>
              <a:gd name="T35" fmla="*/ 566 h 743"/>
              <a:gd name="T36" fmla="*/ 2672 w 2807"/>
              <a:gd name="T37" fmla="*/ 505 h 743"/>
              <a:gd name="T38" fmla="*/ 2773 w 2807"/>
              <a:gd name="T39" fmla="*/ 449 h 743"/>
              <a:gd name="T40" fmla="*/ 2807 w 2807"/>
              <a:gd name="T41" fmla="*/ 426 h 743"/>
              <a:gd name="T42" fmla="*/ 2745 w 2807"/>
              <a:gd name="T43" fmla="*/ 402 h 743"/>
              <a:gd name="T44" fmla="*/ 2688 w 2807"/>
              <a:gd name="T45" fmla="*/ 372 h 743"/>
              <a:gd name="T46" fmla="*/ 2586 w 2807"/>
              <a:gd name="T47" fmla="*/ 303 h 743"/>
              <a:gd name="T48" fmla="*/ 2529 w 2807"/>
              <a:gd name="T49" fmla="*/ 256 h 743"/>
              <a:gd name="T50" fmla="*/ 2518 w 2807"/>
              <a:gd name="T51" fmla="*/ 294 h 743"/>
              <a:gd name="T52" fmla="*/ 2507 w 2807"/>
              <a:gd name="T53" fmla="*/ 381 h 743"/>
              <a:gd name="T54" fmla="*/ 2499 w 2807"/>
              <a:gd name="T55" fmla="*/ 413 h 743"/>
              <a:gd name="T56" fmla="*/ 2443 w 2807"/>
              <a:gd name="T57" fmla="*/ 391 h 743"/>
              <a:gd name="T58" fmla="*/ 2423 w 2807"/>
              <a:gd name="T59" fmla="*/ 381 h 743"/>
              <a:gd name="T60" fmla="*/ 2392 w 2807"/>
              <a:gd name="T61" fmla="*/ 357 h 743"/>
              <a:gd name="T62" fmla="*/ 2361 w 2807"/>
              <a:gd name="T63" fmla="*/ 324 h 743"/>
              <a:gd name="T64" fmla="*/ 2334 w 2807"/>
              <a:gd name="T65" fmla="*/ 283 h 743"/>
              <a:gd name="T66" fmla="*/ 2316 w 2807"/>
              <a:gd name="T67" fmla="*/ 235 h 743"/>
              <a:gd name="T68" fmla="*/ 2310 w 2807"/>
              <a:gd name="T69" fmla="*/ 199 h 743"/>
              <a:gd name="T70" fmla="*/ 2252 w 2807"/>
              <a:gd name="T71" fmla="*/ 195 h 743"/>
              <a:gd name="T72" fmla="*/ 2110 w 2807"/>
              <a:gd name="T73" fmla="*/ 243 h 743"/>
              <a:gd name="T74" fmla="*/ 1984 w 2807"/>
              <a:gd name="T75" fmla="*/ 277 h 743"/>
              <a:gd name="T76" fmla="*/ 1843 w 2807"/>
              <a:gd name="T77" fmla="*/ 303 h 743"/>
              <a:gd name="T78" fmla="*/ 1697 w 2807"/>
              <a:gd name="T79" fmla="*/ 319 h 743"/>
              <a:gd name="T80" fmla="*/ 1558 w 2807"/>
              <a:gd name="T81" fmla="*/ 322 h 743"/>
              <a:gd name="T82" fmla="*/ 1293 w 2807"/>
              <a:gd name="T83" fmla="*/ 312 h 743"/>
              <a:gd name="T84" fmla="*/ 1030 w 2807"/>
              <a:gd name="T85" fmla="*/ 282 h 743"/>
              <a:gd name="T86" fmla="*/ 855 w 2807"/>
              <a:gd name="T87" fmla="*/ 251 h 743"/>
              <a:gd name="T88" fmla="*/ 725 w 2807"/>
              <a:gd name="T89" fmla="*/ 221 h 743"/>
              <a:gd name="T90" fmla="*/ 594 w 2807"/>
              <a:gd name="T91" fmla="*/ 185 h 743"/>
              <a:gd name="T92" fmla="*/ 465 w 2807"/>
              <a:gd name="T93" fmla="*/ 143 h 743"/>
              <a:gd name="T94" fmla="*/ 336 w 2807"/>
              <a:gd name="T95" fmla="*/ 94 h 743"/>
              <a:gd name="T96" fmla="*/ 251 w 2807"/>
              <a:gd name="T97" fmla="*/ 58 h 743"/>
              <a:gd name="T98" fmla="*/ 122 w 2807"/>
              <a:gd name="T99" fmla="*/ 0 h 743"/>
              <a:gd name="T100" fmla="*/ 119 w 2807"/>
              <a:gd name="T101" fmla="*/ 19 h 743"/>
              <a:gd name="T102" fmla="*/ 121 w 2807"/>
              <a:gd name="T103" fmla="*/ 51 h 743"/>
              <a:gd name="T104" fmla="*/ 136 w 2807"/>
              <a:gd name="T105" fmla="*/ 96 h 743"/>
              <a:gd name="T106" fmla="*/ 171 w 2807"/>
              <a:gd name="T107" fmla="*/ 156 h 743"/>
              <a:gd name="T108" fmla="*/ 207 w 2807"/>
              <a:gd name="T109" fmla="*/ 204 h 743"/>
              <a:gd name="T110" fmla="*/ 151 w 2807"/>
              <a:gd name="T111" fmla="*/ 199 h 743"/>
              <a:gd name="T112" fmla="*/ 98 w 2807"/>
              <a:gd name="T113" fmla="*/ 204 h 743"/>
              <a:gd name="T114" fmla="*/ 69 w 2807"/>
              <a:gd name="T115" fmla="*/ 215 h 743"/>
              <a:gd name="T116" fmla="*/ 32 w 2807"/>
              <a:gd name="T117" fmla="*/ 244 h 743"/>
              <a:gd name="T118" fmla="*/ 7 w 2807"/>
              <a:gd name="T119" fmla="*/ 272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07" h="743">
                <a:moveTo>
                  <a:pt x="0" y="284"/>
                </a:moveTo>
                <a:lnTo>
                  <a:pt x="0" y="284"/>
                </a:lnTo>
                <a:lnTo>
                  <a:pt x="87" y="343"/>
                </a:lnTo>
                <a:lnTo>
                  <a:pt x="127" y="369"/>
                </a:lnTo>
                <a:lnTo>
                  <a:pt x="166" y="394"/>
                </a:lnTo>
                <a:lnTo>
                  <a:pt x="203" y="417"/>
                </a:lnTo>
                <a:lnTo>
                  <a:pt x="241" y="438"/>
                </a:lnTo>
                <a:lnTo>
                  <a:pt x="280" y="460"/>
                </a:lnTo>
                <a:lnTo>
                  <a:pt x="319" y="479"/>
                </a:lnTo>
                <a:lnTo>
                  <a:pt x="319" y="479"/>
                </a:lnTo>
                <a:lnTo>
                  <a:pt x="372" y="504"/>
                </a:lnTo>
                <a:lnTo>
                  <a:pt x="430" y="529"/>
                </a:lnTo>
                <a:lnTo>
                  <a:pt x="495" y="556"/>
                </a:lnTo>
                <a:lnTo>
                  <a:pt x="565" y="581"/>
                </a:lnTo>
                <a:lnTo>
                  <a:pt x="603" y="595"/>
                </a:lnTo>
                <a:lnTo>
                  <a:pt x="642" y="607"/>
                </a:lnTo>
                <a:lnTo>
                  <a:pt x="682" y="620"/>
                </a:lnTo>
                <a:lnTo>
                  <a:pt x="724" y="633"/>
                </a:lnTo>
                <a:lnTo>
                  <a:pt x="767" y="644"/>
                </a:lnTo>
                <a:lnTo>
                  <a:pt x="811" y="655"/>
                </a:lnTo>
                <a:lnTo>
                  <a:pt x="857" y="666"/>
                </a:lnTo>
                <a:lnTo>
                  <a:pt x="903" y="677"/>
                </a:lnTo>
                <a:lnTo>
                  <a:pt x="952" y="687"/>
                </a:lnTo>
                <a:lnTo>
                  <a:pt x="1001" y="696"/>
                </a:lnTo>
                <a:lnTo>
                  <a:pt x="1052" y="705"/>
                </a:lnTo>
                <a:lnTo>
                  <a:pt x="1104" y="713"/>
                </a:lnTo>
                <a:lnTo>
                  <a:pt x="1157" y="719"/>
                </a:lnTo>
                <a:lnTo>
                  <a:pt x="1212" y="727"/>
                </a:lnTo>
                <a:lnTo>
                  <a:pt x="1267" y="732"/>
                </a:lnTo>
                <a:lnTo>
                  <a:pt x="1324" y="736"/>
                </a:lnTo>
                <a:lnTo>
                  <a:pt x="1382" y="739"/>
                </a:lnTo>
                <a:lnTo>
                  <a:pt x="1442" y="741"/>
                </a:lnTo>
                <a:lnTo>
                  <a:pt x="1502" y="743"/>
                </a:lnTo>
                <a:lnTo>
                  <a:pt x="1563" y="742"/>
                </a:lnTo>
                <a:lnTo>
                  <a:pt x="1626" y="741"/>
                </a:lnTo>
                <a:lnTo>
                  <a:pt x="1689" y="738"/>
                </a:lnTo>
                <a:lnTo>
                  <a:pt x="1754" y="734"/>
                </a:lnTo>
                <a:lnTo>
                  <a:pt x="1819" y="729"/>
                </a:lnTo>
                <a:lnTo>
                  <a:pt x="1819" y="729"/>
                </a:lnTo>
                <a:lnTo>
                  <a:pt x="1881" y="723"/>
                </a:lnTo>
                <a:lnTo>
                  <a:pt x="1941" y="714"/>
                </a:lnTo>
                <a:lnTo>
                  <a:pt x="1999" y="706"/>
                </a:lnTo>
                <a:lnTo>
                  <a:pt x="2054" y="697"/>
                </a:lnTo>
                <a:lnTo>
                  <a:pt x="2108" y="688"/>
                </a:lnTo>
                <a:lnTo>
                  <a:pt x="2159" y="678"/>
                </a:lnTo>
                <a:lnTo>
                  <a:pt x="2209" y="666"/>
                </a:lnTo>
                <a:lnTo>
                  <a:pt x="2257" y="655"/>
                </a:lnTo>
                <a:lnTo>
                  <a:pt x="2302" y="643"/>
                </a:lnTo>
                <a:lnTo>
                  <a:pt x="2346" y="631"/>
                </a:lnTo>
                <a:lnTo>
                  <a:pt x="2387" y="618"/>
                </a:lnTo>
                <a:lnTo>
                  <a:pt x="2426" y="605"/>
                </a:lnTo>
                <a:lnTo>
                  <a:pt x="2464" y="593"/>
                </a:lnTo>
                <a:lnTo>
                  <a:pt x="2500" y="579"/>
                </a:lnTo>
                <a:lnTo>
                  <a:pt x="2533" y="566"/>
                </a:lnTo>
                <a:lnTo>
                  <a:pt x="2564" y="554"/>
                </a:lnTo>
                <a:lnTo>
                  <a:pt x="2622" y="528"/>
                </a:lnTo>
                <a:lnTo>
                  <a:pt x="2672" y="505"/>
                </a:lnTo>
                <a:lnTo>
                  <a:pt x="2713" y="483"/>
                </a:lnTo>
                <a:lnTo>
                  <a:pt x="2747" y="465"/>
                </a:lnTo>
                <a:lnTo>
                  <a:pt x="2773" y="449"/>
                </a:lnTo>
                <a:lnTo>
                  <a:pt x="2792" y="436"/>
                </a:lnTo>
                <a:lnTo>
                  <a:pt x="2807" y="426"/>
                </a:lnTo>
                <a:lnTo>
                  <a:pt x="2807" y="426"/>
                </a:lnTo>
                <a:lnTo>
                  <a:pt x="2786" y="419"/>
                </a:lnTo>
                <a:lnTo>
                  <a:pt x="2766" y="410"/>
                </a:lnTo>
                <a:lnTo>
                  <a:pt x="2745" y="402"/>
                </a:lnTo>
                <a:lnTo>
                  <a:pt x="2726" y="391"/>
                </a:lnTo>
                <a:lnTo>
                  <a:pt x="2706" y="382"/>
                </a:lnTo>
                <a:lnTo>
                  <a:pt x="2688" y="372"/>
                </a:lnTo>
                <a:lnTo>
                  <a:pt x="2651" y="349"/>
                </a:lnTo>
                <a:lnTo>
                  <a:pt x="2618" y="327"/>
                </a:lnTo>
                <a:lnTo>
                  <a:pt x="2586" y="303"/>
                </a:lnTo>
                <a:lnTo>
                  <a:pt x="2556" y="280"/>
                </a:lnTo>
                <a:lnTo>
                  <a:pt x="2529" y="256"/>
                </a:lnTo>
                <a:lnTo>
                  <a:pt x="2529" y="256"/>
                </a:lnTo>
                <a:lnTo>
                  <a:pt x="2524" y="266"/>
                </a:lnTo>
                <a:lnTo>
                  <a:pt x="2521" y="279"/>
                </a:lnTo>
                <a:lnTo>
                  <a:pt x="2518" y="294"/>
                </a:lnTo>
                <a:lnTo>
                  <a:pt x="2515" y="312"/>
                </a:lnTo>
                <a:lnTo>
                  <a:pt x="2515" y="312"/>
                </a:lnTo>
                <a:lnTo>
                  <a:pt x="2507" y="381"/>
                </a:lnTo>
                <a:lnTo>
                  <a:pt x="2503" y="414"/>
                </a:lnTo>
                <a:lnTo>
                  <a:pt x="2503" y="414"/>
                </a:lnTo>
                <a:lnTo>
                  <a:pt x="2499" y="413"/>
                </a:lnTo>
                <a:lnTo>
                  <a:pt x="2489" y="410"/>
                </a:lnTo>
                <a:lnTo>
                  <a:pt x="2470" y="403"/>
                </a:lnTo>
                <a:lnTo>
                  <a:pt x="2443" y="391"/>
                </a:lnTo>
                <a:lnTo>
                  <a:pt x="2443" y="391"/>
                </a:lnTo>
                <a:lnTo>
                  <a:pt x="2433" y="387"/>
                </a:lnTo>
                <a:lnTo>
                  <a:pt x="2423" y="381"/>
                </a:lnTo>
                <a:lnTo>
                  <a:pt x="2413" y="374"/>
                </a:lnTo>
                <a:lnTo>
                  <a:pt x="2403" y="366"/>
                </a:lnTo>
                <a:lnTo>
                  <a:pt x="2392" y="357"/>
                </a:lnTo>
                <a:lnTo>
                  <a:pt x="2381" y="347"/>
                </a:lnTo>
                <a:lnTo>
                  <a:pt x="2371" y="336"/>
                </a:lnTo>
                <a:lnTo>
                  <a:pt x="2361" y="324"/>
                </a:lnTo>
                <a:lnTo>
                  <a:pt x="2351" y="312"/>
                </a:lnTo>
                <a:lnTo>
                  <a:pt x="2342" y="297"/>
                </a:lnTo>
                <a:lnTo>
                  <a:pt x="2334" y="283"/>
                </a:lnTo>
                <a:lnTo>
                  <a:pt x="2326" y="268"/>
                </a:lnTo>
                <a:lnTo>
                  <a:pt x="2320" y="251"/>
                </a:lnTo>
                <a:lnTo>
                  <a:pt x="2316" y="235"/>
                </a:lnTo>
                <a:lnTo>
                  <a:pt x="2312" y="216"/>
                </a:lnTo>
                <a:lnTo>
                  <a:pt x="2310" y="199"/>
                </a:lnTo>
                <a:lnTo>
                  <a:pt x="2310" y="199"/>
                </a:lnTo>
                <a:lnTo>
                  <a:pt x="2309" y="174"/>
                </a:lnTo>
                <a:lnTo>
                  <a:pt x="2309" y="174"/>
                </a:lnTo>
                <a:lnTo>
                  <a:pt x="2252" y="195"/>
                </a:lnTo>
                <a:lnTo>
                  <a:pt x="2186" y="218"/>
                </a:lnTo>
                <a:lnTo>
                  <a:pt x="2149" y="231"/>
                </a:lnTo>
                <a:lnTo>
                  <a:pt x="2110" y="243"/>
                </a:lnTo>
                <a:lnTo>
                  <a:pt x="2069" y="254"/>
                </a:lnTo>
                <a:lnTo>
                  <a:pt x="2028" y="266"/>
                </a:lnTo>
                <a:lnTo>
                  <a:pt x="1984" y="277"/>
                </a:lnTo>
                <a:lnTo>
                  <a:pt x="1938" y="286"/>
                </a:lnTo>
                <a:lnTo>
                  <a:pt x="1892" y="295"/>
                </a:lnTo>
                <a:lnTo>
                  <a:pt x="1843" y="303"/>
                </a:lnTo>
                <a:lnTo>
                  <a:pt x="1795" y="311"/>
                </a:lnTo>
                <a:lnTo>
                  <a:pt x="1746" y="316"/>
                </a:lnTo>
                <a:lnTo>
                  <a:pt x="1697" y="319"/>
                </a:lnTo>
                <a:lnTo>
                  <a:pt x="1647" y="321"/>
                </a:lnTo>
                <a:lnTo>
                  <a:pt x="1647" y="321"/>
                </a:lnTo>
                <a:lnTo>
                  <a:pt x="1558" y="322"/>
                </a:lnTo>
                <a:lnTo>
                  <a:pt x="1470" y="321"/>
                </a:lnTo>
                <a:lnTo>
                  <a:pt x="1382" y="317"/>
                </a:lnTo>
                <a:lnTo>
                  <a:pt x="1293" y="312"/>
                </a:lnTo>
                <a:lnTo>
                  <a:pt x="1205" y="304"/>
                </a:lnTo>
                <a:lnTo>
                  <a:pt x="1118" y="294"/>
                </a:lnTo>
                <a:lnTo>
                  <a:pt x="1030" y="282"/>
                </a:lnTo>
                <a:lnTo>
                  <a:pt x="943" y="268"/>
                </a:lnTo>
                <a:lnTo>
                  <a:pt x="899" y="259"/>
                </a:lnTo>
                <a:lnTo>
                  <a:pt x="855" y="251"/>
                </a:lnTo>
                <a:lnTo>
                  <a:pt x="812" y="241"/>
                </a:lnTo>
                <a:lnTo>
                  <a:pt x="768" y="231"/>
                </a:lnTo>
                <a:lnTo>
                  <a:pt x="725" y="221"/>
                </a:lnTo>
                <a:lnTo>
                  <a:pt x="681" y="209"/>
                </a:lnTo>
                <a:lnTo>
                  <a:pt x="638" y="197"/>
                </a:lnTo>
                <a:lnTo>
                  <a:pt x="594" y="185"/>
                </a:lnTo>
                <a:lnTo>
                  <a:pt x="551" y="171"/>
                </a:lnTo>
                <a:lnTo>
                  <a:pt x="508" y="157"/>
                </a:lnTo>
                <a:lnTo>
                  <a:pt x="465" y="143"/>
                </a:lnTo>
                <a:lnTo>
                  <a:pt x="422" y="127"/>
                </a:lnTo>
                <a:lnTo>
                  <a:pt x="379" y="111"/>
                </a:lnTo>
                <a:lnTo>
                  <a:pt x="336" y="94"/>
                </a:lnTo>
                <a:lnTo>
                  <a:pt x="294" y="76"/>
                </a:lnTo>
                <a:lnTo>
                  <a:pt x="251" y="58"/>
                </a:lnTo>
                <a:lnTo>
                  <a:pt x="251" y="58"/>
                </a:lnTo>
                <a:lnTo>
                  <a:pt x="165" y="19"/>
                </a:lnTo>
                <a:lnTo>
                  <a:pt x="122" y="0"/>
                </a:lnTo>
                <a:lnTo>
                  <a:pt x="122" y="0"/>
                </a:lnTo>
                <a:lnTo>
                  <a:pt x="121" y="3"/>
                </a:lnTo>
                <a:lnTo>
                  <a:pt x="119" y="12"/>
                </a:lnTo>
                <a:lnTo>
                  <a:pt x="119" y="19"/>
                </a:lnTo>
                <a:lnTo>
                  <a:pt x="119" y="28"/>
                </a:lnTo>
                <a:lnTo>
                  <a:pt x="119" y="39"/>
                </a:lnTo>
                <a:lnTo>
                  <a:pt x="121" y="51"/>
                </a:lnTo>
                <a:lnTo>
                  <a:pt x="125" y="64"/>
                </a:lnTo>
                <a:lnTo>
                  <a:pt x="129" y="79"/>
                </a:lnTo>
                <a:lnTo>
                  <a:pt x="136" y="96"/>
                </a:lnTo>
                <a:lnTo>
                  <a:pt x="145" y="114"/>
                </a:lnTo>
                <a:lnTo>
                  <a:pt x="156" y="135"/>
                </a:lnTo>
                <a:lnTo>
                  <a:pt x="171" y="156"/>
                </a:lnTo>
                <a:lnTo>
                  <a:pt x="187" y="180"/>
                </a:lnTo>
                <a:lnTo>
                  <a:pt x="207" y="204"/>
                </a:lnTo>
                <a:lnTo>
                  <a:pt x="207" y="204"/>
                </a:lnTo>
                <a:lnTo>
                  <a:pt x="189" y="201"/>
                </a:lnTo>
                <a:lnTo>
                  <a:pt x="170" y="199"/>
                </a:lnTo>
                <a:lnTo>
                  <a:pt x="151" y="199"/>
                </a:lnTo>
                <a:lnTo>
                  <a:pt x="132" y="199"/>
                </a:lnTo>
                <a:lnTo>
                  <a:pt x="114" y="201"/>
                </a:lnTo>
                <a:lnTo>
                  <a:pt x="98" y="204"/>
                </a:lnTo>
                <a:lnTo>
                  <a:pt x="83" y="209"/>
                </a:lnTo>
                <a:lnTo>
                  <a:pt x="69" y="215"/>
                </a:lnTo>
                <a:lnTo>
                  <a:pt x="69" y="215"/>
                </a:lnTo>
                <a:lnTo>
                  <a:pt x="55" y="224"/>
                </a:lnTo>
                <a:lnTo>
                  <a:pt x="42" y="234"/>
                </a:lnTo>
                <a:lnTo>
                  <a:pt x="32" y="244"/>
                </a:lnTo>
                <a:lnTo>
                  <a:pt x="21" y="253"/>
                </a:lnTo>
                <a:lnTo>
                  <a:pt x="13" y="262"/>
                </a:lnTo>
                <a:lnTo>
                  <a:pt x="7" y="272"/>
                </a:lnTo>
                <a:lnTo>
                  <a:pt x="0" y="28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3" name="Freeform 31"/>
          <p:cNvSpPr>
            <a:spLocks/>
          </p:cNvSpPr>
          <p:nvPr userDrawn="1"/>
        </p:nvSpPr>
        <p:spPr bwMode="auto">
          <a:xfrm>
            <a:off x="7248525" y="1618953"/>
            <a:ext cx="377825" cy="271463"/>
          </a:xfrm>
          <a:custGeom>
            <a:avLst/>
            <a:gdLst>
              <a:gd name="T0" fmla="*/ 2491 w 2863"/>
              <a:gd name="T1" fmla="*/ 103 h 2054"/>
              <a:gd name="T2" fmla="*/ 2575 w 2863"/>
              <a:gd name="T3" fmla="*/ 23 h 2054"/>
              <a:gd name="T4" fmla="*/ 2196 w 2863"/>
              <a:gd name="T5" fmla="*/ 132 h 2054"/>
              <a:gd name="T6" fmla="*/ 1671 w 2863"/>
              <a:gd name="T7" fmla="*/ 429 h 2054"/>
              <a:gd name="T8" fmla="*/ 1528 w 2863"/>
              <a:gd name="T9" fmla="*/ 462 h 2054"/>
              <a:gd name="T10" fmla="*/ 1416 w 2863"/>
              <a:gd name="T11" fmla="*/ 568 h 2054"/>
              <a:gd name="T12" fmla="*/ 1409 w 2863"/>
              <a:gd name="T13" fmla="*/ 634 h 2054"/>
              <a:gd name="T14" fmla="*/ 1479 w 2863"/>
              <a:gd name="T15" fmla="*/ 748 h 2054"/>
              <a:gd name="T16" fmla="*/ 1586 w 2863"/>
              <a:gd name="T17" fmla="*/ 787 h 2054"/>
              <a:gd name="T18" fmla="*/ 1476 w 2863"/>
              <a:gd name="T19" fmla="*/ 974 h 2054"/>
              <a:gd name="T20" fmla="*/ 1133 w 2863"/>
              <a:gd name="T21" fmla="*/ 1199 h 2054"/>
              <a:gd name="T22" fmla="*/ 799 w 2863"/>
              <a:gd name="T23" fmla="*/ 1254 h 2054"/>
              <a:gd name="T24" fmla="*/ 634 w 2863"/>
              <a:gd name="T25" fmla="*/ 1102 h 2054"/>
              <a:gd name="T26" fmla="*/ 539 w 2863"/>
              <a:gd name="T27" fmla="*/ 1015 h 2054"/>
              <a:gd name="T28" fmla="*/ 406 w 2863"/>
              <a:gd name="T29" fmla="*/ 1023 h 2054"/>
              <a:gd name="T30" fmla="*/ 231 w 2863"/>
              <a:gd name="T31" fmla="*/ 1090 h 2054"/>
              <a:gd name="T32" fmla="*/ 382 w 2863"/>
              <a:gd name="T33" fmla="*/ 1121 h 2054"/>
              <a:gd name="T34" fmla="*/ 351 w 2863"/>
              <a:gd name="T35" fmla="*/ 1168 h 2054"/>
              <a:gd name="T36" fmla="*/ 418 w 2863"/>
              <a:gd name="T37" fmla="*/ 1270 h 2054"/>
              <a:gd name="T38" fmla="*/ 608 w 2863"/>
              <a:gd name="T39" fmla="*/ 1387 h 2054"/>
              <a:gd name="T40" fmla="*/ 314 w 2863"/>
              <a:gd name="T41" fmla="*/ 1296 h 2054"/>
              <a:gd name="T42" fmla="*/ 234 w 2863"/>
              <a:gd name="T43" fmla="*/ 1324 h 2054"/>
              <a:gd name="T44" fmla="*/ 77 w 2863"/>
              <a:gd name="T45" fmla="*/ 1367 h 2054"/>
              <a:gd name="T46" fmla="*/ 0 w 2863"/>
              <a:gd name="T47" fmla="*/ 1480 h 2054"/>
              <a:gd name="T48" fmla="*/ 63 w 2863"/>
              <a:gd name="T49" fmla="*/ 1501 h 2054"/>
              <a:gd name="T50" fmla="*/ 166 w 2863"/>
              <a:gd name="T51" fmla="*/ 1461 h 2054"/>
              <a:gd name="T52" fmla="*/ 187 w 2863"/>
              <a:gd name="T53" fmla="*/ 1573 h 2054"/>
              <a:gd name="T54" fmla="*/ 354 w 2863"/>
              <a:gd name="T55" fmla="*/ 1597 h 2054"/>
              <a:gd name="T56" fmla="*/ 616 w 2863"/>
              <a:gd name="T57" fmla="*/ 1588 h 2054"/>
              <a:gd name="T58" fmla="*/ 382 w 2863"/>
              <a:gd name="T59" fmla="*/ 1636 h 2054"/>
              <a:gd name="T60" fmla="*/ 295 w 2863"/>
              <a:gd name="T61" fmla="*/ 1696 h 2054"/>
              <a:gd name="T62" fmla="*/ 254 w 2863"/>
              <a:gd name="T63" fmla="*/ 1795 h 2054"/>
              <a:gd name="T64" fmla="*/ 239 w 2863"/>
              <a:gd name="T65" fmla="*/ 1953 h 2054"/>
              <a:gd name="T66" fmla="*/ 335 w 2863"/>
              <a:gd name="T67" fmla="*/ 2045 h 2054"/>
              <a:gd name="T68" fmla="*/ 341 w 2863"/>
              <a:gd name="T69" fmla="*/ 1906 h 2054"/>
              <a:gd name="T70" fmla="*/ 417 w 2863"/>
              <a:gd name="T71" fmla="*/ 1946 h 2054"/>
              <a:gd name="T72" fmla="*/ 509 w 2863"/>
              <a:gd name="T73" fmla="*/ 1935 h 2054"/>
              <a:gd name="T74" fmla="*/ 732 w 2863"/>
              <a:gd name="T75" fmla="*/ 1733 h 2054"/>
              <a:gd name="T76" fmla="*/ 874 w 2863"/>
              <a:gd name="T77" fmla="*/ 1691 h 2054"/>
              <a:gd name="T78" fmla="*/ 870 w 2863"/>
              <a:gd name="T79" fmla="*/ 1786 h 2054"/>
              <a:gd name="T80" fmla="*/ 945 w 2863"/>
              <a:gd name="T81" fmla="*/ 1834 h 2054"/>
              <a:gd name="T82" fmla="*/ 875 w 2863"/>
              <a:gd name="T83" fmla="*/ 1948 h 2054"/>
              <a:gd name="T84" fmla="*/ 1004 w 2863"/>
              <a:gd name="T85" fmla="*/ 1919 h 2054"/>
              <a:gd name="T86" fmla="*/ 1100 w 2863"/>
              <a:gd name="T87" fmla="*/ 1787 h 2054"/>
              <a:gd name="T88" fmla="*/ 1159 w 2863"/>
              <a:gd name="T89" fmla="*/ 1734 h 2054"/>
              <a:gd name="T90" fmla="*/ 1183 w 2863"/>
              <a:gd name="T91" fmla="*/ 1628 h 2054"/>
              <a:gd name="T92" fmla="*/ 1338 w 2863"/>
              <a:gd name="T93" fmla="*/ 1564 h 2054"/>
              <a:gd name="T94" fmla="*/ 1370 w 2863"/>
              <a:gd name="T95" fmla="*/ 1465 h 2054"/>
              <a:gd name="T96" fmla="*/ 1461 w 2863"/>
              <a:gd name="T97" fmla="*/ 1462 h 2054"/>
              <a:gd name="T98" fmla="*/ 1684 w 2863"/>
              <a:gd name="T99" fmla="*/ 1556 h 2054"/>
              <a:gd name="T100" fmla="*/ 1888 w 2863"/>
              <a:gd name="T101" fmla="*/ 1440 h 2054"/>
              <a:gd name="T102" fmla="*/ 1799 w 2863"/>
              <a:gd name="T103" fmla="*/ 1308 h 2054"/>
              <a:gd name="T104" fmla="*/ 1857 w 2863"/>
              <a:gd name="T105" fmla="*/ 1327 h 2054"/>
              <a:gd name="T106" fmla="*/ 2183 w 2863"/>
              <a:gd name="T107" fmla="*/ 1273 h 2054"/>
              <a:gd name="T108" fmla="*/ 2142 w 2863"/>
              <a:gd name="T109" fmla="*/ 1164 h 2054"/>
              <a:gd name="T110" fmla="*/ 2112 w 2863"/>
              <a:gd name="T111" fmla="*/ 1069 h 2054"/>
              <a:gd name="T112" fmla="*/ 2121 w 2863"/>
              <a:gd name="T113" fmla="*/ 977 h 2054"/>
              <a:gd name="T114" fmla="*/ 2085 w 2863"/>
              <a:gd name="T115" fmla="*/ 807 h 2054"/>
              <a:gd name="T116" fmla="*/ 2859 w 2863"/>
              <a:gd name="T117" fmla="*/ 408 h 2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63" h="2054">
                <a:moveTo>
                  <a:pt x="2759" y="252"/>
                </a:moveTo>
                <a:lnTo>
                  <a:pt x="2759" y="252"/>
                </a:lnTo>
                <a:lnTo>
                  <a:pt x="2742" y="239"/>
                </a:lnTo>
                <a:lnTo>
                  <a:pt x="2725" y="227"/>
                </a:lnTo>
                <a:lnTo>
                  <a:pt x="2708" y="214"/>
                </a:lnTo>
                <a:lnTo>
                  <a:pt x="2690" y="203"/>
                </a:lnTo>
                <a:lnTo>
                  <a:pt x="2655" y="184"/>
                </a:lnTo>
                <a:lnTo>
                  <a:pt x="2621" y="165"/>
                </a:lnTo>
                <a:lnTo>
                  <a:pt x="2586" y="148"/>
                </a:lnTo>
                <a:lnTo>
                  <a:pt x="2553" y="133"/>
                </a:lnTo>
                <a:lnTo>
                  <a:pt x="2522" y="118"/>
                </a:lnTo>
                <a:lnTo>
                  <a:pt x="2491" y="103"/>
                </a:lnTo>
                <a:lnTo>
                  <a:pt x="2491" y="103"/>
                </a:lnTo>
                <a:lnTo>
                  <a:pt x="2507" y="93"/>
                </a:lnTo>
                <a:lnTo>
                  <a:pt x="2523" y="82"/>
                </a:lnTo>
                <a:lnTo>
                  <a:pt x="2540" y="68"/>
                </a:lnTo>
                <a:lnTo>
                  <a:pt x="2556" y="54"/>
                </a:lnTo>
                <a:lnTo>
                  <a:pt x="2570" y="41"/>
                </a:lnTo>
                <a:lnTo>
                  <a:pt x="2574" y="35"/>
                </a:lnTo>
                <a:lnTo>
                  <a:pt x="2577" y="30"/>
                </a:lnTo>
                <a:lnTo>
                  <a:pt x="2577" y="26"/>
                </a:lnTo>
                <a:lnTo>
                  <a:pt x="2577" y="24"/>
                </a:lnTo>
                <a:lnTo>
                  <a:pt x="2575" y="23"/>
                </a:lnTo>
                <a:lnTo>
                  <a:pt x="2575" y="23"/>
                </a:lnTo>
                <a:lnTo>
                  <a:pt x="2562" y="16"/>
                </a:lnTo>
                <a:lnTo>
                  <a:pt x="2550" y="10"/>
                </a:lnTo>
                <a:lnTo>
                  <a:pt x="2538" y="6"/>
                </a:lnTo>
                <a:lnTo>
                  <a:pt x="2527" y="4"/>
                </a:lnTo>
                <a:lnTo>
                  <a:pt x="2508" y="1"/>
                </a:lnTo>
                <a:lnTo>
                  <a:pt x="2501" y="0"/>
                </a:lnTo>
                <a:lnTo>
                  <a:pt x="2501" y="0"/>
                </a:lnTo>
                <a:lnTo>
                  <a:pt x="2440" y="24"/>
                </a:lnTo>
                <a:lnTo>
                  <a:pt x="2377" y="50"/>
                </a:lnTo>
                <a:lnTo>
                  <a:pt x="2317" y="76"/>
                </a:lnTo>
                <a:lnTo>
                  <a:pt x="2256" y="103"/>
                </a:lnTo>
                <a:lnTo>
                  <a:pt x="2196" y="132"/>
                </a:lnTo>
                <a:lnTo>
                  <a:pt x="2138" y="160"/>
                </a:lnTo>
                <a:lnTo>
                  <a:pt x="2081" y="189"/>
                </a:lnTo>
                <a:lnTo>
                  <a:pt x="2026" y="219"/>
                </a:lnTo>
                <a:lnTo>
                  <a:pt x="1972" y="247"/>
                </a:lnTo>
                <a:lnTo>
                  <a:pt x="1921" y="276"/>
                </a:lnTo>
                <a:lnTo>
                  <a:pt x="1872" y="303"/>
                </a:lnTo>
                <a:lnTo>
                  <a:pt x="1825" y="331"/>
                </a:lnTo>
                <a:lnTo>
                  <a:pt x="1782" y="358"/>
                </a:lnTo>
                <a:lnTo>
                  <a:pt x="1741" y="383"/>
                </a:lnTo>
                <a:lnTo>
                  <a:pt x="1705" y="407"/>
                </a:lnTo>
                <a:lnTo>
                  <a:pt x="1671" y="429"/>
                </a:lnTo>
                <a:lnTo>
                  <a:pt x="1671" y="429"/>
                </a:lnTo>
                <a:lnTo>
                  <a:pt x="1666" y="432"/>
                </a:lnTo>
                <a:lnTo>
                  <a:pt x="1666" y="432"/>
                </a:lnTo>
                <a:lnTo>
                  <a:pt x="1654" y="439"/>
                </a:lnTo>
                <a:lnTo>
                  <a:pt x="1643" y="446"/>
                </a:lnTo>
                <a:lnTo>
                  <a:pt x="1632" y="451"/>
                </a:lnTo>
                <a:lnTo>
                  <a:pt x="1620" y="455"/>
                </a:lnTo>
                <a:lnTo>
                  <a:pt x="1608" y="458"/>
                </a:lnTo>
                <a:lnTo>
                  <a:pt x="1597" y="461"/>
                </a:lnTo>
                <a:lnTo>
                  <a:pt x="1585" y="462"/>
                </a:lnTo>
                <a:lnTo>
                  <a:pt x="1574" y="463"/>
                </a:lnTo>
                <a:lnTo>
                  <a:pt x="1550" y="464"/>
                </a:lnTo>
                <a:lnTo>
                  <a:pt x="1528" y="462"/>
                </a:lnTo>
                <a:lnTo>
                  <a:pt x="1505" y="459"/>
                </a:lnTo>
                <a:lnTo>
                  <a:pt x="1485" y="454"/>
                </a:lnTo>
                <a:lnTo>
                  <a:pt x="1465" y="449"/>
                </a:lnTo>
                <a:lnTo>
                  <a:pt x="1448" y="442"/>
                </a:lnTo>
                <a:lnTo>
                  <a:pt x="1433" y="436"/>
                </a:lnTo>
                <a:lnTo>
                  <a:pt x="1418" y="430"/>
                </a:lnTo>
                <a:lnTo>
                  <a:pt x="1399" y="420"/>
                </a:lnTo>
                <a:lnTo>
                  <a:pt x="1393" y="416"/>
                </a:lnTo>
                <a:lnTo>
                  <a:pt x="1372" y="544"/>
                </a:lnTo>
                <a:lnTo>
                  <a:pt x="1372" y="544"/>
                </a:lnTo>
                <a:lnTo>
                  <a:pt x="1395" y="557"/>
                </a:lnTo>
                <a:lnTo>
                  <a:pt x="1416" y="568"/>
                </a:lnTo>
                <a:lnTo>
                  <a:pt x="1437" y="577"/>
                </a:lnTo>
                <a:lnTo>
                  <a:pt x="1454" y="586"/>
                </a:lnTo>
                <a:lnTo>
                  <a:pt x="1470" y="592"/>
                </a:lnTo>
                <a:lnTo>
                  <a:pt x="1486" y="596"/>
                </a:lnTo>
                <a:lnTo>
                  <a:pt x="1499" y="600"/>
                </a:lnTo>
                <a:lnTo>
                  <a:pt x="1510" y="602"/>
                </a:lnTo>
                <a:lnTo>
                  <a:pt x="1510" y="602"/>
                </a:lnTo>
                <a:lnTo>
                  <a:pt x="1491" y="606"/>
                </a:lnTo>
                <a:lnTo>
                  <a:pt x="1470" y="611"/>
                </a:lnTo>
                <a:lnTo>
                  <a:pt x="1450" y="617"/>
                </a:lnTo>
                <a:lnTo>
                  <a:pt x="1428" y="625"/>
                </a:lnTo>
                <a:lnTo>
                  <a:pt x="1409" y="634"/>
                </a:lnTo>
                <a:lnTo>
                  <a:pt x="1391" y="645"/>
                </a:lnTo>
                <a:lnTo>
                  <a:pt x="1381" y="650"/>
                </a:lnTo>
                <a:lnTo>
                  <a:pt x="1373" y="656"/>
                </a:lnTo>
                <a:lnTo>
                  <a:pt x="1366" y="663"/>
                </a:lnTo>
                <a:lnTo>
                  <a:pt x="1360" y="670"/>
                </a:lnTo>
                <a:lnTo>
                  <a:pt x="1404" y="788"/>
                </a:lnTo>
                <a:lnTo>
                  <a:pt x="1404" y="788"/>
                </a:lnTo>
                <a:lnTo>
                  <a:pt x="1416" y="779"/>
                </a:lnTo>
                <a:lnTo>
                  <a:pt x="1432" y="770"/>
                </a:lnTo>
                <a:lnTo>
                  <a:pt x="1453" y="758"/>
                </a:lnTo>
                <a:lnTo>
                  <a:pt x="1465" y="753"/>
                </a:lnTo>
                <a:lnTo>
                  <a:pt x="1479" y="748"/>
                </a:lnTo>
                <a:lnTo>
                  <a:pt x="1494" y="743"/>
                </a:lnTo>
                <a:lnTo>
                  <a:pt x="1509" y="738"/>
                </a:lnTo>
                <a:lnTo>
                  <a:pt x="1527" y="734"/>
                </a:lnTo>
                <a:lnTo>
                  <a:pt x="1545" y="731"/>
                </a:lnTo>
                <a:lnTo>
                  <a:pt x="1564" y="729"/>
                </a:lnTo>
                <a:lnTo>
                  <a:pt x="1585" y="728"/>
                </a:lnTo>
                <a:lnTo>
                  <a:pt x="1585" y="728"/>
                </a:lnTo>
                <a:lnTo>
                  <a:pt x="1588" y="744"/>
                </a:lnTo>
                <a:lnTo>
                  <a:pt x="1588" y="744"/>
                </a:lnTo>
                <a:lnTo>
                  <a:pt x="1588" y="758"/>
                </a:lnTo>
                <a:lnTo>
                  <a:pt x="1588" y="773"/>
                </a:lnTo>
                <a:lnTo>
                  <a:pt x="1586" y="787"/>
                </a:lnTo>
                <a:lnTo>
                  <a:pt x="1583" y="802"/>
                </a:lnTo>
                <a:lnTo>
                  <a:pt x="1578" y="818"/>
                </a:lnTo>
                <a:lnTo>
                  <a:pt x="1573" y="833"/>
                </a:lnTo>
                <a:lnTo>
                  <a:pt x="1565" y="848"/>
                </a:lnTo>
                <a:lnTo>
                  <a:pt x="1557" y="864"/>
                </a:lnTo>
                <a:lnTo>
                  <a:pt x="1549" y="880"/>
                </a:lnTo>
                <a:lnTo>
                  <a:pt x="1539" y="895"/>
                </a:lnTo>
                <a:lnTo>
                  <a:pt x="1528" y="912"/>
                </a:lnTo>
                <a:lnTo>
                  <a:pt x="1516" y="927"/>
                </a:lnTo>
                <a:lnTo>
                  <a:pt x="1503" y="943"/>
                </a:lnTo>
                <a:lnTo>
                  <a:pt x="1490" y="959"/>
                </a:lnTo>
                <a:lnTo>
                  <a:pt x="1476" y="974"/>
                </a:lnTo>
                <a:lnTo>
                  <a:pt x="1461" y="989"/>
                </a:lnTo>
                <a:lnTo>
                  <a:pt x="1429" y="1020"/>
                </a:lnTo>
                <a:lnTo>
                  <a:pt x="1396" y="1049"/>
                </a:lnTo>
                <a:lnTo>
                  <a:pt x="1360" y="1076"/>
                </a:lnTo>
                <a:lnTo>
                  <a:pt x="1323" y="1102"/>
                </a:lnTo>
                <a:lnTo>
                  <a:pt x="1285" y="1126"/>
                </a:lnTo>
                <a:lnTo>
                  <a:pt x="1247" y="1148"/>
                </a:lnTo>
                <a:lnTo>
                  <a:pt x="1209" y="1167"/>
                </a:lnTo>
                <a:lnTo>
                  <a:pt x="1189" y="1177"/>
                </a:lnTo>
                <a:lnTo>
                  <a:pt x="1171" y="1185"/>
                </a:lnTo>
                <a:lnTo>
                  <a:pt x="1171" y="1185"/>
                </a:lnTo>
                <a:lnTo>
                  <a:pt x="1133" y="1199"/>
                </a:lnTo>
                <a:lnTo>
                  <a:pt x="1095" y="1211"/>
                </a:lnTo>
                <a:lnTo>
                  <a:pt x="1060" y="1223"/>
                </a:lnTo>
                <a:lnTo>
                  <a:pt x="1026" y="1232"/>
                </a:lnTo>
                <a:lnTo>
                  <a:pt x="993" y="1240"/>
                </a:lnTo>
                <a:lnTo>
                  <a:pt x="962" y="1246"/>
                </a:lnTo>
                <a:lnTo>
                  <a:pt x="933" y="1250"/>
                </a:lnTo>
                <a:lnTo>
                  <a:pt x="905" y="1254"/>
                </a:lnTo>
                <a:lnTo>
                  <a:pt x="879" y="1256"/>
                </a:lnTo>
                <a:lnTo>
                  <a:pt x="856" y="1257"/>
                </a:lnTo>
                <a:lnTo>
                  <a:pt x="834" y="1257"/>
                </a:lnTo>
                <a:lnTo>
                  <a:pt x="815" y="1256"/>
                </a:lnTo>
                <a:lnTo>
                  <a:pt x="799" y="1254"/>
                </a:lnTo>
                <a:lnTo>
                  <a:pt x="785" y="1251"/>
                </a:lnTo>
                <a:lnTo>
                  <a:pt x="774" y="1247"/>
                </a:lnTo>
                <a:lnTo>
                  <a:pt x="765" y="1243"/>
                </a:lnTo>
                <a:lnTo>
                  <a:pt x="765" y="1243"/>
                </a:lnTo>
                <a:lnTo>
                  <a:pt x="741" y="1227"/>
                </a:lnTo>
                <a:lnTo>
                  <a:pt x="720" y="1209"/>
                </a:lnTo>
                <a:lnTo>
                  <a:pt x="701" y="1191"/>
                </a:lnTo>
                <a:lnTo>
                  <a:pt x="685" y="1172"/>
                </a:lnTo>
                <a:lnTo>
                  <a:pt x="670" y="1155"/>
                </a:lnTo>
                <a:lnTo>
                  <a:pt x="656" y="1137"/>
                </a:lnTo>
                <a:lnTo>
                  <a:pt x="645" y="1119"/>
                </a:lnTo>
                <a:lnTo>
                  <a:pt x="634" y="1102"/>
                </a:lnTo>
                <a:lnTo>
                  <a:pt x="615" y="1071"/>
                </a:lnTo>
                <a:lnTo>
                  <a:pt x="605" y="1057"/>
                </a:lnTo>
                <a:lnTo>
                  <a:pt x="596" y="1045"/>
                </a:lnTo>
                <a:lnTo>
                  <a:pt x="587" y="1033"/>
                </a:lnTo>
                <a:lnTo>
                  <a:pt x="577" y="1025"/>
                </a:lnTo>
                <a:lnTo>
                  <a:pt x="565" y="1018"/>
                </a:lnTo>
                <a:lnTo>
                  <a:pt x="559" y="1015"/>
                </a:lnTo>
                <a:lnTo>
                  <a:pt x="553" y="1013"/>
                </a:lnTo>
                <a:lnTo>
                  <a:pt x="553" y="1013"/>
                </a:lnTo>
                <a:lnTo>
                  <a:pt x="549" y="1013"/>
                </a:lnTo>
                <a:lnTo>
                  <a:pt x="546" y="1013"/>
                </a:lnTo>
                <a:lnTo>
                  <a:pt x="539" y="1015"/>
                </a:lnTo>
                <a:lnTo>
                  <a:pt x="532" y="1018"/>
                </a:lnTo>
                <a:lnTo>
                  <a:pt x="524" y="1022"/>
                </a:lnTo>
                <a:lnTo>
                  <a:pt x="516" y="1026"/>
                </a:lnTo>
                <a:lnTo>
                  <a:pt x="507" y="1029"/>
                </a:lnTo>
                <a:lnTo>
                  <a:pt x="499" y="1031"/>
                </a:lnTo>
                <a:lnTo>
                  <a:pt x="494" y="1031"/>
                </a:lnTo>
                <a:lnTo>
                  <a:pt x="489" y="1031"/>
                </a:lnTo>
                <a:lnTo>
                  <a:pt x="489" y="1031"/>
                </a:lnTo>
                <a:lnTo>
                  <a:pt x="468" y="1028"/>
                </a:lnTo>
                <a:lnTo>
                  <a:pt x="448" y="1025"/>
                </a:lnTo>
                <a:lnTo>
                  <a:pt x="427" y="1024"/>
                </a:lnTo>
                <a:lnTo>
                  <a:pt x="406" y="1023"/>
                </a:lnTo>
                <a:lnTo>
                  <a:pt x="386" y="1023"/>
                </a:lnTo>
                <a:lnTo>
                  <a:pt x="366" y="1025"/>
                </a:lnTo>
                <a:lnTo>
                  <a:pt x="347" y="1027"/>
                </a:lnTo>
                <a:lnTo>
                  <a:pt x="327" y="1031"/>
                </a:lnTo>
                <a:lnTo>
                  <a:pt x="309" y="1035"/>
                </a:lnTo>
                <a:lnTo>
                  <a:pt x="292" y="1043"/>
                </a:lnTo>
                <a:lnTo>
                  <a:pt x="276" y="1050"/>
                </a:lnTo>
                <a:lnTo>
                  <a:pt x="262" y="1059"/>
                </a:lnTo>
                <a:lnTo>
                  <a:pt x="248" y="1070"/>
                </a:lnTo>
                <a:lnTo>
                  <a:pt x="242" y="1076"/>
                </a:lnTo>
                <a:lnTo>
                  <a:pt x="236" y="1082"/>
                </a:lnTo>
                <a:lnTo>
                  <a:pt x="231" y="1090"/>
                </a:lnTo>
                <a:lnTo>
                  <a:pt x="227" y="1098"/>
                </a:lnTo>
                <a:lnTo>
                  <a:pt x="223" y="1105"/>
                </a:lnTo>
                <a:lnTo>
                  <a:pt x="219" y="1114"/>
                </a:lnTo>
                <a:lnTo>
                  <a:pt x="219" y="1114"/>
                </a:lnTo>
                <a:lnTo>
                  <a:pt x="257" y="1112"/>
                </a:lnTo>
                <a:lnTo>
                  <a:pt x="292" y="1111"/>
                </a:lnTo>
                <a:lnTo>
                  <a:pt x="312" y="1111"/>
                </a:lnTo>
                <a:lnTo>
                  <a:pt x="331" y="1112"/>
                </a:lnTo>
                <a:lnTo>
                  <a:pt x="349" y="1113"/>
                </a:lnTo>
                <a:lnTo>
                  <a:pt x="364" y="1116"/>
                </a:lnTo>
                <a:lnTo>
                  <a:pt x="377" y="1119"/>
                </a:lnTo>
                <a:lnTo>
                  <a:pt x="382" y="1121"/>
                </a:lnTo>
                <a:lnTo>
                  <a:pt x="387" y="1123"/>
                </a:lnTo>
                <a:lnTo>
                  <a:pt x="389" y="1126"/>
                </a:lnTo>
                <a:lnTo>
                  <a:pt x="391" y="1130"/>
                </a:lnTo>
                <a:lnTo>
                  <a:pt x="391" y="1133"/>
                </a:lnTo>
                <a:lnTo>
                  <a:pt x="389" y="1137"/>
                </a:lnTo>
                <a:lnTo>
                  <a:pt x="386" y="1141"/>
                </a:lnTo>
                <a:lnTo>
                  <a:pt x="381" y="1146"/>
                </a:lnTo>
                <a:lnTo>
                  <a:pt x="374" y="1151"/>
                </a:lnTo>
                <a:lnTo>
                  <a:pt x="366" y="1156"/>
                </a:lnTo>
                <a:lnTo>
                  <a:pt x="366" y="1156"/>
                </a:lnTo>
                <a:lnTo>
                  <a:pt x="357" y="1162"/>
                </a:lnTo>
                <a:lnTo>
                  <a:pt x="351" y="1168"/>
                </a:lnTo>
                <a:lnTo>
                  <a:pt x="346" y="1175"/>
                </a:lnTo>
                <a:lnTo>
                  <a:pt x="344" y="1182"/>
                </a:lnTo>
                <a:lnTo>
                  <a:pt x="343" y="1189"/>
                </a:lnTo>
                <a:lnTo>
                  <a:pt x="344" y="1195"/>
                </a:lnTo>
                <a:lnTo>
                  <a:pt x="346" y="1202"/>
                </a:lnTo>
                <a:lnTo>
                  <a:pt x="349" y="1209"/>
                </a:lnTo>
                <a:lnTo>
                  <a:pt x="354" y="1217"/>
                </a:lnTo>
                <a:lnTo>
                  <a:pt x="360" y="1225"/>
                </a:lnTo>
                <a:lnTo>
                  <a:pt x="368" y="1232"/>
                </a:lnTo>
                <a:lnTo>
                  <a:pt x="376" y="1239"/>
                </a:lnTo>
                <a:lnTo>
                  <a:pt x="396" y="1254"/>
                </a:lnTo>
                <a:lnTo>
                  <a:pt x="418" y="1270"/>
                </a:lnTo>
                <a:lnTo>
                  <a:pt x="442" y="1285"/>
                </a:lnTo>
                <a:lnTo>
                  <a:pt x="467" y="1299"/>
                </a:lnTo>
                <a:lnTo>
                  <a:pt x="519" y="1327"/>
                </a:lnTo>
                <a:lnTo>
                  <a:pt x="565" y="1350"/>
                </a:lnTo>
                <a:lnTo>
                  <a:pt x="585" y="1361"/>
                </a:lnTo>
                <a:lnTo>
                  <a:pt x="601" y="1370"/>
                </a:lnTo>
                <a:lnTo>
                  <a:pt x="601" y="1370"/>
                </a:lnTo>
                <a:lnTo>
                  <a:pt x="608" y="1375"/>
                </a:lnTo>
                <a:lnTo>
                  <a:pt x="611" y="1379"/>
                </a:lnTo>
                <a:lnTo>
                  <a:pt x="613" y="1382"/>
                </a:lnTo>
                <a:lnTo>
                  <a:pt x="611" y="1385"/>
                </a:lnTo>
                <a:lnTo>
                  <a:pt x="608" y="1387"/>
                </a:lnTo>
                <a:lnTo>
                  <a:pt x="604" y="1389"/>
                </a:lnTo>
                <a:lnTo>
                  <a:pt x="598" y="1390"/>
                </a:lnTo>
                <a:lnTo>
                  <a:pt x="598" y="1390"/>
                </a:lnTo>
                <a:lnTo>
                  <a:pt x="588" y="1390"/>
                </a:lnTo>
                <a:lnTo>
                  <a:pt x="576" y="1388"/>
                </a:lnTo>
                <a:lnTo>
                  <a:pt x="561" y="1385"/>
                </a:lnTo>
                <a:lnTo>
                  <a:pt x="545" y="1380"/>
                </a:lnTo>
                <a:lnTo>
                  <a:pt x="509" y="1369"/>
                </a:lnTo>
                <a:lnTo>
                  <a:pt x="469" y="1354"/>
                </a:lnTo>
                <a:lnTo>
                  <a:pt x="387" y="1323"/>
                </a:lnTo>
                <a:lnTo>
                  <a:pt x="349" y="1307"/>
                </a:lnTo>
                <a:lnTo>
                  <a:pt x="314" y="1296"/>
                </a:lnTo>
                <a:lnTo>
                  <a:pt x="314" y="1296"/>
                </a:lnTo>
                <a:lnTo>
                  <a:pt x="303" y="1293"/>
                </a:lnTo>
                <a:lnTo>
                  <a:pt x="292" y="1291"/>
                </a:lnTo>
                <a:lnTo>
                  <a:pt x="283" y="1291"/>
                </a:lnTo>
                <a:lnTo>
                  <a:pt x="275" y="1292"/>
                </a:lnTo>
                <a:lnTo>
                  <a:pt x="268" y="1294"/>
                </a:lnTo>
                <a:lnTo>
                  <a:pt x="262" y="1297"/>
                </a:lnTo>
                <a:lnTo>
                  <a:pt x="257" y="1300"/>
                </a:lnTo>
                <a:lnTo>
                  <a:pt x="253" y="1303"/>
                </a:lnTo>
                <a:lnTo>
                  <a:pt x="244" y="1312"/>
                </a:lnTo>
                <a:lnTo>
                  <a:pt x="238" y="1319"/>
                </a:lnTo>
                <a:lnTo>
                  <a:pt x="234" y="1324"/>
                </a:lnTo>
                <a:lnTo>
                  <a:pt x="231" y="1325"/>
                </a:lnTo>
                <a:lnTo>
                  <a:pt x="229" y="1326"/>
                </a:lnTo>
                <a:lnTo>
                  <a:pt x="229" y="1326"/>
                </a:lnTo>
                <a:lnTo>
                  <a:pt x="220" y="1325"/>
                </a:lnTo>
                <a:lnTo>
                  <a:pt x="210" y="1324"/>
                </a:lnTo>
                <a:lnTo>
                  <a:pt x="198" y="1325"/>
                </a:lnTo>
                <a:lnTo>
                  <a:pt x="188" y="1325"/>
                </a:lnTo>
                <a:lnTo>
                  <a:pt x="166" y="1329"/>
                </a:lnTo>
                <a:lnTo>
                  <a:pt x="143" y="1335"/>
                </a:lnTo>
                <a:lnTo>
                  <a:pt x="121" y="1343"/>
                </a:lnTo>
                <a:lnTo>
                  <a:pt x="98" y="1353"/>
                </a:lnTo>
                <a:lnTo>
                  <a:pt x="77" y="1367"/>
                </a:lnTo>
                <a:lnTo>
                  <a:pt x="66" y="1374"/>
                </a:lnTo>
                <a:lnTo>
                  <a:pt x="57" y="1381"/>
                </a:lnTo>
                <a:lnTo>
                  <a:pt x="48" y="1389"/>
                </a:lnTo>
                <a:lnTo>
                  <a:pt x="40" y="1397"/>
                </a:lnTo>
                <a:lnTo>
                  <a:pt x="32" y="1407"/>
                </a:lnTo>
                <a:lnTo>
                  <a:pt x="25" y="1416"/>
                </a:lnTo>
                <a:lnTo>
                  <a:pt x="18" y="1426"/>
                </a:lnTo>
                <a:lnTo>
                  <a:pt x="12" y="1435"/>
                </a:lnTo>
                <a:lnTo>
                  <a:pt x="8" y="1446"/>
                </a:lnTo>
                <a:lnTo>
                  <a:pt x="4" y="1458"/>
                </a:lnTo>
                <a:lnTo>
                  <a:pt x="2" y="1469"/>
                </a:lnTo>
                <a:lnTo>
                  <a:pt x="0" y="1480"/>
                </a:lnTo>
                <a:lnTo>
                  <a:pt x="0" y="1492"/>
                </a:lnTo>
                <a:lnTo>
                  <a:pt x="0" y="1505"/>
                </a:lnTo>
                <a:lnTo>
                  <a:pt x="3" y="1518"/>
                </a:lnTo>
                <a:lnTo>
                  <a:pt x="6" y="1530"/>
                </a:lnTo>
                <a:lnTo>
                  <a:pt x="11" y="1544"/>
                </a:lnTo>
                <a:lnTo>
                  <a:pt x="17" y="1558"/>
                </a:lnTo>
                <a:lnTo>
                  <a:pt x="17" y="1558"/>
                </a:lnTo>
                <a:lnTo>
                  <a:pt x="20" y="1553"/>
                </a:lnTo>
                <a:lnTo>
                  <a:pt x="30" y="1540"/>
                </a:lnTo>
                <a:lnTo>
                  <a:pt x="45" y="1521"/>
                </a:lnTo>
                <a:lnTo>
                  <a:pt x="53" y="1511"/>
                </a:lnTo>
                <a:lnTo>
                  <a:pt x="63" y="1501"/>
                </a:lnTo>
                <a:lnTo>
                  <a:pt x="75" y="1490"/>
                </a:lnTo>
                <a:lnTo>
                  <a:pt x="86" y="1481"/>
                </a:lnTo>
                <a:lnTo>
                  <a:pt x="98" y="1473"/>
                </a:lnTo>
                <a:lnTo>
                  <a:pt x="111" y="1466"/>
                </a:lnTo>
                <a:lnTo>
                  <a:pt x="125" y="1461"/>
                </a:lnTo>
                <a:lnTo>
                  <a:pt x="131" y="1459"/>
                </a:lnTo>
                <a:lnTo>
                  <a:pt x="138" y="1458"/>
                </a:lnTo>
                <a:lnTo>
                  <a:pt x="145" y="1458"/>
                </a:lnTo>
                <a:lnTo>
                  <a:pt x="151" y="1458"/>
                </a:lnTo>
                <a:lnTo>
                  <a:pt x="159" y="1459"/>
                </a:lnTo>
                <a:lnTo>
                  <a:pt x="166" y="1461"/>
                </a:lnTo>
                <a:lnTo>
                  <a:pt x="166" y="1461"/>
                </a:lnTo>
                <a:lnTo>
                  <a:pt x="171" y="1463"/>
                </a:lnTo>
                <a:lnTo>
                  <a:pt x="174" y="1467"/>
                </a:lnTo>
                <a:lnTo>
                  <a:pt x="175" y="1473"/>
                </a:lnTo>
                <a:lnTo>
                  <a:pt x="176" y="1479"/>
                </a:lnTo>
                <a:lnTo>
                  <a:pt x="176" y="1496"/>
                </a:lnTo>
                <a:lnTo>
                  <a:pt x="174" y="1514"/>
                </a:lnTo>
                <a:lnTo>
                  <a:pt x="174" y="1524"/>
                </a:lnTo>
                <a:lnTo>
                  <a:pt x="174" y="1534"/>
                </a:lnTo>
                <a:lnTo>
                  <a:pt x="176" y="1545"/>
                </a:lnTo>
                <a:lnTo>
                  <a:pt x="178" y="1554"/>
                </a:lnTo>
                <a:lnTo>
                  <a:pt x="182" y="1564"/>
                </a:lnTo>
                <a:lnTo>
                  <a:pt x="187" y="1573"/>
                </a:lnTo>
                <a:lnTo>
                  <a:pt x="195" y="1581"/>
                </a:lnTo>
                <a:lnTo>
                  <a:pt x="205" y="1589"/>
                </a:lnTo>
                <a:lnTo>
                  <a:pt x="205" y="1589"/>
                </a:lnTo>
                <a:lnTo>
                  <a:pt x="213" y="1593"/>
                </a:lnTo>
                <a:lnTo>
                  <a:pt x="221" y="1596"/>
                </a:lnTo>
                <a:lnTo>
                  <a:pt x="231" y="1599"/>
                </a:lnTo>
                <a:lnTo>
                  <a:pt x="242" y="1600"/>
                </a:lnTo>
                <a:lnTo>
                  <a:pt x="254" y="1602"/>
                </a:lnTo>
                <a:lnTo>
                  <a:pt x="267" y="1602"/>
                </a:lnTo>
                <a:lnTo>
                  <a:pt x="293" y="1602"/>
                </a:lnTo>
                <a:lnTo>
                  <a:pt x="323" y="1600"/>
                </a:lnTo>
                <a:lnTo>
                  <a:pt x="354" y="1597"/>
                </a:lnTo>
                <a:lnTo>
                  <a:pt x="418" y="1589"/>
                </a:lnTo>
                <a:lnTo>
                  <a:pt x="481" y="1580"/>
                </a:lnTo>
                <a:lnTo>
                  <a:pt x="510" y="1576"/>
                </a:lnTo>
                <a:lnTo>
                  <a:pt x="538" y="1574"/>
                </a:lnTo>
                <a:lnTo>
                  <a:pt x="562" y="1573"/>
                </a:lnTo>
                <a:lnTo>
                  <a:pt x="583" y="1574"/>
                </a:lnTo>
                <a:lnTo>
                  <a:pt x="592" y="1575"/>
                </a:lnTo>
                <a:lnTo>
                  <a:pt x="600" y="1577"/>
                </a:lnTo>
                <a:lnTo>
                  <a:pt x="607" y="1580"/>
                </a:lnTo>
                <a:lnTo>
                  <a:pt x="613" y="1585"/>
                </a:lnTo>
                <a:lnTo>
                  <a:pt x="613" y="1585"/>
                </a:lnTo>
                <a:lnTo>
                  <a:pt x="616" y="1588"/>
                </a:lnTo>
                <a:lnTo>
                  <a:pt x="617" y="1591"/>
                </a:lnTo>
                <a:lnTo>
                  <a:pt x="616" y="1593"/>
                </a:lnTo>
                <a:lnTo>
                  <a:pt x="611" y="1596"/>
                </a:lnTo>
                <a:lnTo>
                  <a:pt x="607" y="1598"/>
                </a:lnTo>
                <a:lnTo>
                  <a:pt x="600" y="1601"/>
                </a:lnTo>
                <a:lnTo>
                  <a:pt x="583" y="1605"/>
                </a:lnTo>
                <a:lnTo>
                  <a:pt x="560" y="1609"/>
                </a:lnTo>
                <a:lnTo>
                  <a:pt x="535" y="1612"/>
                </a:lnTo>
                <a:lnTo>
                  <a:pt x="474" y="1620"/>
                </a:lnTo>
                <a:lnTo>
                  <a:pt x="443" y="1624"/>
                </a:lnTo>
                <a:lnTo>
                  <a:pt x="412" y="1629"/>
                </a:lnTo>
                <a:lnTo>
                  <a:pt x="382" y="1636"/>
                </a:lnTo>
                <a:lnTo>
                  <a:pt x="356" y="1642"/>
                </a:lnTo>
                <a:lnTo>
                  <a:pt x="344" y="1646"/>
                </a:lnTo>
                <a:lnTo>
                  <a:pt x="332" y="1650"/>
                </a:lnTo>
                <a:lnTo>
                  <a:pt x="322" y="1654"/>
                </a:lnTo>
                <a:lnTo>
                  <a:pt x="314" y="1659"/>
                </a:lnTo>
                <a:lnTo>
                  <a:pt x="307" y="1664"/>
                </a:lnTo>
                <a:lnTo>
                  <a:pt x="302" y="1669"/>
                </a:lnTo>
                <a:lnTo>
                  <a:pt x="298" y="1676"/>
                </a:lnTo>
                <a:lnTo>
                  <a:pt x="296" y="1682"/>
                </a:lnTo>
                <a:lnTo>
                  <a:pt x="296" y="1682"/>
                </a:lnTo>
                <a:lnTo>
                  <a:pt x="295" y="1687"/>
                </a:lnTo>
                <a:lnTo>
                  <a:pt x="295" y="1696"/>
                </a:lnTo>
                <a:lnTo>
                  <a:pt x="296" y="1707"/>
                </a:lnTo>
                <a:lnTo>
                  <a:pt x="298" y="1713"/>
                </a:lnTo>
                <a:lnTo>
                  <a:pt x="300" y="1718"/>
                </a:lnTo>
                <a:lnTo>
                  <a:pt x="300" y="1718"/>
                </a:lnTo>
                <a:lnTo>
                  <a:pt x="301" y="1725"/>
                </a:lnTo>
                <a:lnTo>
                  <a:pt x="301" y="1731"/>
                </a:lnTo>
                <a:lnTo>
                  <a:pt x="298" y="1737"/>
                </a:lnTo>
                <a:lnTo>
                  <a:pt x="293" y="1743"/>
                </a:lnTo>
                <a:lnTo>
                  <a:pt x="283" y="1757"/>
                </a:lnTo>
                <a:lnTo>
                  <a:pt x="269" y="1775"/>
                </a:lnTo>
                <a:lnTo>
                  <a:pt x="261" y="1785"/>
                </a:lnTo>
                <a:lnTo>
                  <a:pt x="254" y="1795"/>
                </a:lnTo>
                <a:lnTo>
                  <a:pt x="246" y="1807"/>
                </a:lnTo>
                <a:lnTo>
                  <a:pt x="240" y="1820"/>
                </a:lnTo>
                <a:lnTo>
                  <a:pt x="234" y="1834"/>
                </a:lnTo>
                <a:lnTo>
                  <a:pt x="230" y="1849"/>
                </a:lnTo>
                <a:lnTo>
                  <a:pt x="226" y="1866"/>
                </a:lnTo>
                <a:lnTo>
                  <a:pt x="225" y="1884"/>
                </a:lnTo>
                <a:lnTo>
                  <a:pt x="225" y="1884"/>
                </a:lnTo>
                <a:lnTo>
                  <a:pt x="225" y="1893"/>
                </a:lnTo>
                <a:lnTo>
                  <a:pt x="225" y="1902"/>
                </a:lnTo>
                <a:lnTo>
                  <a:pt x="228" y="1920"/>
                </a:lnTo>
                <a:lnTo>
                  <a:pt x="233" y="1937"/>
                </a:lnTo>
                <a:lnTo>
                  <a:pt x="239" y="1953"/>
                </a:lnTo>
                <a:lnTo>
                  <a:pt x="247" y="1968"/>
                </a:lnTo>
                <a:lnTo>
                  <a:pt x="257" y="1982"/>
                </a:lnTo>
                <a:lnTo>
                  <a:pt x="267" y="1995"/>
                </a:lnTo>
                <a:lnTo>
                  <a:pt x="277" y="2007"/>
                </a:lnTo>
                <a:lnTo>
                  <a:pt x="287" y="2017"/>
                </a:lnTo>
                <a:lnTo>
                  <a:pt x="298" y="2026"/>
                </a:lnTo>
                <a:lnTo>
                  <a:pt x="315" y="2042"/>
                </a:lnTo>
                <a:lnTo>
                  <a:pt x="327" y="2050"/>
                </a:lnTo>
                <a:lnTo>
                  <a:pt x="332" y="2054"/>
                </a:lnTo>
                <a:lnTo>
                  <a:pt x="332" y="2054"/>
                </a:lnTo>
                <a:lnTo>
                  <a:pt x="334" y="2050"/>
                </a:lnTo>
                <a:lnTo>
                  <a:pt x="335" y="2045"/>
                </a:lnTo>
                <a:lnTo>
                  <a:pt x="335" y="2036"/>
                </a:lnTo>
                <a:lnTo>
                  <a:pt x="334" y="2027"/>
                </a:lnTo>
                <a:lnTo>
                  <a:pt x="331" y="2006"/>
                </a:lnTo>
                <a:lnTo>
                  <a:pt x="328" y="1980"/>
                </a:lnTo>
                <a:lnTo>
                  <a:pt x="327" y="1968"/>
                </a:lnTo>
                <a:lnTo>
                  <a:pt x="326" y="1955"/>
                </a:lnTo>
                <a:lnTo>
                  <a:pt x="326" y="1943"/>
                </a:lnTo>
                <a:lnTo>
                  <a:pt x="328" y="1932"/>
                </a:lnTo>
                <a:lnTo>
                  <a:pt x="330" y="1922"/>
                </a:lnTo>
                <a:lnTo>
                  <a:pt x="334" y="1913"/>
                </a:lnTo>
                <a:lnTo>
                  <a:pt x="337" y="1910"/>
                </a:lnTo>
                <a:lnTo>
                  <a:pt x="341" y="1906"/>
                </a:lnTo>
                <a:lnTo>
                  <a:pt x="344" y="1904"/>
                </a:lnTo>
                <a:lnTo>
                  <a:pt x="348" y="1901"/>
                </a:lnTo>
                <a:lnTo>
                  <a:pt x="348" y="1901"/>
                </a:lnTo>
                <a:lnTo>
                  <a:pt x="353" y="1900"/>
                </a:lnTo>
                <a:lnTo>
                  <a:pt x="357" y="1900"/>
                </a:lnTo>
                <a:lnTo>
                  <a:pt x="362" y="1901"/>
                </a:lnTo>
                <a:lnTo>
                  <a:pt x="366" y="1905"/>
                </a:lnTo>
                <a:lnTo>
                  <a:pt x="375" y="1912"/>
                </a:lnTo>
                <a:lnTo>
                  <a:pt x="386" y="1921"/>
                </a:lnTo>
                <a:lnTo>
                  <a:pt x="397" y="1932"/>
                </a:lnTo>
                <a:lnTo>
                  <a:pt x="410" y="1941"/>
                </a:lnTo>
                <a:lnTo>
                  <a:pt x="417" y="1946"/>
                </a:lnTo>
                <a:lnTo>
                  <a:pt x="424" y="1950"/>
                </a:lnTo>
                <a:lnTo>
                  <a:pt x="434" y="1953"/>
                </a:lnTo>
                <a:lnTo>
                  <a:pt x="442" y="1955"/>
                </a:lnTo>
                <a:lnTo>
                  <a:pt x="442" y="1955"/>
                </a:lnTo>
                <a:lnTo>
                  <a:pt x="451" y="1955"/>
                </a:lnTo>
                <a:lnTo>
                  <a:pt x="460" y="1955"/>
                </a:lnTo>
                <a:lnTo>
                  <a:pt x="468" y="1954"/>
                </a:lnTo>
                <a:lnTo>
                  <a:pt x="478" y="1952"/>
                </a:lnTo>
                <a:lnTo>
                  <a:pt x="486" y="1948"/>
                </a:lnTo>
                <a:lnTo>
                  <a:pt x="494" y="1944"/>
                </a:lnTo>
                <a:lnTo>
                  <a:pt x="501" y="1940"/>
                </a:lnTo>
                <a:lnTo>
                  <a:pt x="509" y="1935"/>
                </a:lnTo>
                <a:lnTo>
                  <a:pt x="525" y="1923"/>
                </a:lnTo>
                <a:lnTo>
                  <a:pt x="539" y="1909"/>
                </a:lnTo>
                <a:lnTo>
                  <a:pt x="554" y="1892"/>
                </a:lnTo>
                <a:lnTo>
                  <a:pt x="571" y="1875"/>
                </a:lnTo>
                <a:lnTo>
                  <a:pt x="604" y="1836"/>
                </a:lnTo>
                <a:lnTo>
                  <a:pt x="624" y="1817"/>
                </a:lnTo>
                <a:lnTo>
                  <a:pt x="644" y="1797"/>
                </a:lnTo>
                <a:lnTo>
                  <a:pt x="667" y="1777"/>
                </a:lnTo>
                <a:lnTo>
                  <a:pt x="691" y="1758"/>
                </a:lnTo>
                <a:lnTo>
                  <a:pt x="705" y="1749"/>
                </a:lnTo>
                <a:lnTo>
                  <a:pt x="718" y="1741"/>
                </a:lnTo>
                <a:lnTo>
                  <a:pt x="732" y="1733"/>
                </a:lnTo>
                <a:lnTo>
                  <a:pt x="747" y="1725"/>
                </a:lnTo>
                <a:lnTo>
                  <a:pt x="747" y="1725"/>
                </a:lnTo>
                <a:lnTo>
                  <a:pt x="787" y="1706"/>
                </a:lnTo>
                <a:lnTo>
                  <a:pt x="819" y="1694"/>
                </a:lnTo>
                <a:lnTo>
                  <a:pt x="831" y="1689"/>
                </a:lnTo>
                <a:lnTo>
                  <a:pt x="843" y="1686"/>
                </a:lnTo>
                <a:lnTo>
                  <a:pt x="852" y="1685"/>
                </a:lnTo>
                <a:lnTo>
                  <a:pt x="859" y="1684"/>
                </a:lnTo>
                <a:lnTo>
                  <a:pt x="865" y="1684"/>
                </a:lnTo>
                <a:lnTo>
                  <a:pt x="869" y="1686"/>
                </a:lnTo>
                <a:lnTo>
                  <a:pt x="872" y="1688"/>
                </a:lnTo>
                <a:lnTo>
                  <a:pt x="874" y="1691"/>
                </a:lnTo>
                <a:lnTo>
                  <a:pt x="876" y="1694"/>
                </a:lnTo>
                <a:lnTo>
                  <a:pt x="876" y="1698"/>
                </a:lnTo>
                <a:lnTo>
                  <a:pt x="875" y="1708"/>
                </a:lnTo>
                <a:lnTo>
                  <a:pt x="872" y="1720"/>
                </a:lnTo>
                <a:lnTo>
                  <a:pt x="868" y="1734"/>
                </a:lnTo>
                <a:lnTo>
                  <a:pt x="865" y="1747"/>
                </a:lnTo>
                <a:lnTo>
                  <a:pt x="863" y="1759"/>
                </a:lnTo>
                <a:lnTo>
                  <a:pt x="863" y="1765"/>
                </a:lnTo>
                <a:lnTo>
                  <a:pt x="863" y="1772"/>
                </a:lnTo>
                <a:lnTo>
                  <a:pt x="865" y="1777"/>
                </a:lnTo>
                <a:lnTo>
                  <a:pt x="867" y="1782"/>
                </a:lnTo>
                <a:lnTo>
                  <a:pt x="870" y="1786"/>
                </a:lnTo>
                <a:lnTo>
                  <a:pt x="875" y="1790"/>
                </a:lnTo>
                <a:lnTo>
                  <a:pt x="881" y="1793"/>
                </a:lnTo>
                <a:lnTo>
                  <a:pt x="889" y="1795"/>
                </a:lnTo>
                <a:lnTo>
                  <a:pt x="889" y="1795"/>
                </a:lnTo>
                <a:lnTo>
                  <a:pt x="901" y="1799"/>
                </a:lnTo>
                <a:lnTo>
                  <a:pt x="912" y="1802"/>
                </a:lnTo>
                <a:lnTo>
                  <a:pt x="921" y="1807"/>
                </a:lnTo>
                <a:lnTo>
                  <a:pt x="928" y="1811"/>
                </a:lnTo>
                <a:lnTo>
                  <a:pt x="935" y="1817"/>
                </a:lnTo>
                <a:lnTo>
                  <a:pt x="940" y="1822"/>
                </a:lnTo>
                <a:lnTo>
                  <a:pt x="943" y="1828"/>
                </a:lnTo>
                <a:lnTo>
                  <a:pt x="945" y="1834"/>
                </a:lnTo>
                <a:lnTo>
                  <a:pt x="947" y="1840"/>
                </a:lnTo>
                <a:lnTo>
                  <a:pt x="947" y="1846"/>
                </a:lnTo>
                <a:lnTo>
                  <a:pt x="946" y="1853"/>
                </a:lnTo>
                <a:lnTo>
                  <a:pt x="945" y="1860"/>
                </a:lnTo>
                <a:lnTo>
                  <a:pt x="943" y="1867"/>
                </a:lnTo>
                <a:lnTo>
                  <a:pt x="940" y="1874"/>
                </a:lnTo>
                <a:lnTo>
                  <a:pt x="932" y="1887"/>
                </a:lnTo>
                <a:lnTo>
                  <a:pt x="922" y="1900"/>
                </a:lnTo>
                <a:lnTo>
                  <a:pt x="912" y="1913"/>
                </a:lnTo>
                <a:lnTo>
                  <a:pt x="902" y="1924"/>
                </a:lnTo>
                <a:lnTo>
                  <a:pt x="892" y="1934"/>
                </a:lnTo>
                <a:lnTo>
                  <a:pt x="875" y="1948"/>
                </a:lnTo>
                <a:lnTo>
                  <a:pt x="869" y="1955"/>
                </a:lnTo>
                <a:lnTo>
                  <a:pt x="869" y="1955"/>
                </a:lnTo>
                <a:lnTo>
                  <a:pt x="877" y="1959"/>
                </a:lnTo>
                <a:lnTo>
                  <a:pt x="888" y="1961"/>
                </a:lnTo>
                <a:lnTo>
                  <a:pt x="899" y="1962"/>
                </a:lnTo>
                <a:lnTo>
                  <a:pt x="912" y="1961"/>
                </a:lnTo>
                <a:lnTo>
                  <a:pt x="926" y="1958"/>
                </a:lnTo>
                <a:lnTo>
                  <a:pt x="941" y="1954"/>
                </a:lnTo>
                <a:lnTo>
                  <a:pt x="957" y="1947"/>
                </a:lnTo>
                <a:lnTo>
                  <a:pt x="972" y="1939"/>
                </a:lnTo>
                <a:lnTo>
                  <a:pt x="989" y="1930"/>
                </a:lnTo>
                <a:lnTo>
                  <a:pt x="1004" y="1919"/>
                </a:lnTo>
                <a:lnTo>
                  <a:pt x="1019" y="1906"/>
                </a:lnTo>
                <a:lnTo>
                  <a:pt x="1035" y="1891"/>
                </a:lnTo>
                <a:lnTo>
                  <a:pt x="1048" y="1874"/>
                </a:lnTo>
                <a:lnTo>
                  <a:pt x="1061" y="1855"/>
                </a:lnTo>
                <a:lnTo>
                  <a:pt x="1073" y="1835"/>
                </a:lnTo>
                <a:lnTo>
                  <a:pt x="1083" y="1814"/>
                </a:lnTo>
                <a:lnTo>
                  <a:pt x="1083" y="1814"/>
                </a:lnTo>
                <a:lnTo>
                  <a:pt x="1086" y="1805"/>
                </a:lnTo>
                <a:lnTo>
                  <a:pt x="1089" y="1799"/>
                </a:lnTo>
                <a:lnTo>
                  <a:pt x="1092" y="1794"/>
                </a:lnTo>
                <a:lnTo>
                  <a:pt x="1096" y="1790"/>
                </a:lnTo>
                <a:lnTo>
                  <a:pt x="1100" y="1787"/>
                </a:lnTo>
                <a:lnTo>
                  <a:pt x="1103" y="1784"/>
                </a:lnTo>
                <a:lnTo>
                  <a:pt x="1111" y="1781"/>
                </a:lnTo>
                <a:lnTo>
                  <a:pt x="1120" y="1778"/>
                </a:lnTo>
                <a:lnTo>
                  <a:pt x="1129" y="1774"/>
                </a:lnTo>
                <a:lnTo>
                  <a:pt x="1138" y="1768"/>
                </a:lnTo>
                <a:lnTo>
                  <a:pt x="1143" y="1763"/>
                </a:lnTo>
                <a:lnTo>
                  <a:pt x="1148" y="1758"/>
                </a:lnTo>
                <a:lnTo>
                  <a:pt x="1148" y="1758"/>
                </a:lnTo>
                <a:lnTo>
                  <a:pt x="1151" y="1752"/>
                </a:lnTo>
                <a:lnTo>
                  <a:pt x="1154" y="1746"/>
                </a:lnTo>
                <a:lnTo>
                  <a:pt x="1158" y="1740"/>
                </a:lnTo>
                <a:lnTo>
                  <a:pt x="1159" y="1734"/>
                </a:lnTo>
                <a:lnTo>
                  <a:pt x="1160" y="1719"/>
                </a:lnTo>
                <a:lnTo>
                  <a:pt x="1160" y="1705"/>
                </a:lnTo>
                <a:lnTo>
                  <a:pt x="1160" y="1690"/>
                </a:lnTo>
                <a:lnTo>
                  <a:pt x="1160" y="1676"/>
                </a:lnTo>
                <a:lnTo>
                  <a:pt x="1162" y="1661"/>
                </a:lnTo>
                <a:lnTo>
                  <a:pt x="1164" y="1655"/>
                </a:lnTo>
                <a:lnTo>
                  <a:pt x="1166" y="1649"/>
                </a:lnTo>
                <a:lnTo>
                  <a:pt x="1166" y="1649"/>
                </a:lnTo>
                <a:lnTo>
                  <a:pt x="1170" y="1643"/>
                </a:lnTo>
                <a:lnTo>
                  <a:pt x="1174" y="1638"/>
                </a:lnTo>
                <a:lnTo>
                  <a:pt x="1178" y="1633"/>
                </a:lnTo>
                <a:lnTo>
                  <a:pt x="1183" y="1628"/>
                </a:lnTo>
                <a:lnTo>
                  <a:pt x="1195" y="1620"/>
                </a:lnTo>
                <a:lnTo>
                  <a:pt x="1209" y="1614"/>
                </a:lnTo>
                <a:lnTo>
                  <a:pt x="1223" y="1609"/>
                </a:lnTo>
                <a:lnTo>
                  <a:pt x="1237" y="1605"/>
                </a:lnTo>
                <a:lnTo>
                  <a:pt x="1268" y="1597"/>
                </a:lnTo>
                <a:lnTo>
                  <a:pt x="1298" y="1591"/>
                </a:lnTo>
                <a:lnTo>
                  <a:pt x="1310" y="1587"/>
                </a:lnTo>
                <a:lnTo>
                  <a:pt x="1321" y="1581"/>
                </a:lnTo>
                <a:lnTo>
                  <a:pt x="1329" y="1575"/>
                </a:lnTo>
                <a:lnTo>
                  <a:pt x="1333" y="1572"/>
                </a:lnTo>
                <a:lnTo>
                  <a:pt x="1335" y="1568"/>
                </a:lnTo>
                <a:lnTo>
                  <a:pt x="1338" y="1564"/>
                </a:lnTo>
                <a:lnTo>
                  <a:pt x="1340" y="1559"/>
                </a:lnTo>
                <a:lnTo>
                  <a:pt x="1340" y="1554"/>
                </a:lnTo>
                <a:lnTo>
                  <a:pt x="1340" y="1549"/>
                </a:lnTo>
                <a:lnTo>
                  <a:pt x="1340" y="1549"/>
                </a:lnTo>
                <a:lnTo>
                  <a:pt x="1338" y="1534"/>
                </a:lnTo>
                <a:lnTo>
                  <a:pt x="1338" y="1521"/>
                </a:lnTo>
                <a:lnTo>
                  <a:pt x="1341" y="1509"/>
                </a:lnTo>
                <a:lnTo>
                  <a:pt x="1345" y="1499"/>
                </a:lnTo>
                <a:lnTo>
                  <a:pt x="1350" y="1488"/>
                </a:lnTo>
                <a:lnTo>
                  <a:pt x="1355" y="1480"/>
                </a:lnTo>
                <a:lnTo>
                  <a:pt x="1362" y="1472"/>
                </a:lnTo>
                <a:lnTo>
                  <a:pt x="1370" y="1465"/>
                </a:lnTo>
                <a:lnTo>
                  <a:pt x="1378" y="1459"/>
                </a:lnTo>
                <a:lnTo>
                  <a:pt x="1388" y="1453"/>
                </a:lnTo>
                <a:lnTo>
                  <a:pt x="1406" y="1443"/>
                </a:lnTo>
                <a:lnTo>
                  <a:pt x="1424" y="1435"/>
                </a:lnTo>
                <a:lnTo>
                  <a:pt x="1441" y="1428"/>
                </a:lnTo>
                <a:lnTo>
                  <a:pt x="1441" y="1428"/>
                </a:lnTo>
                <a:lnTo>
                  <a:pt x="1443" y="1428"/>
                </a:lnTo>
                <a:lnTo>
                  <a:pt x="1444" y="1429"/>
                </a:lnTo>
                <a:lnTo>
                  <a:pt x="1447" y="1431"/>
                </a:lnTo>
                <a:lnTo>
                  <a:pt x="1449" y="1436"/>
                </a:lnTo>
                <a:lnTo>
                  <a:pt x="1453" y="1443"/>
                </a:lnTo>
                <a:lnTo>
                  <a:pt x="1461" y="1462"/>
                </a:lnTo>
                <a:lnTo>
                  <a:pt x="1467" y="1473"/>
                </a:lnTo>
                <a:lnTo>
                  <a:pt x="1474" y="1485"/>
                </a:lnTo>
                <a:lnTo>
                  <a:pt x="1484" y="1498"/>
                </a:lnTo>
                <a:lnTo>
                  <a:pt x="1494" y="1511"/>
                </a:lnTo>
                <a:lnTo>
                  <a:pt x="1506" y="1525"/>
                </a:lnTo>
                <a:lnTo>
                  <a:pt x="1522" y="1539"/>
                </a:lnTo>
                <a:lnTo>
                  <a:pt x="1539" y="1552"/>
                </a:lnTo>
                <a:lnTo>
                  <a:pt x="1559" y="1564"/>
                </a:lnTo>
                <a:lnTo>
                  <a:pt x="1583" y="1576"/>
                </a:lnTo>
                <a:lnTo>
                  <a:pt x="1609" y="1587"/>
                </a:lnTo>
                <a:lnTo>
                  <a:pt x="1609" y="1587"/>
                </a:lnTo>
                <a:lnTo>
                  <a:pt x="1684" y="1556"/>
                </a:lnTo>
                <a:lnTo>
                  <a:pt x="1730" y="1534"/>
                </a:lnTo>
                <a:lnTo>
                  <a:pt x="1757" y="1521"/>
                </a:lnTo>
                <a:lnTo>
                  <a:pt x="1786" y="1506"/>
                </a:lnTo>
                <a:lnTo>
                  <a:pt x="1786" y="1506"/>
                </a:lnTo>
                <a:lnTo>
                  <a:pt x="1818" y="1489"/>
                </a:lnTo>
                <a:lnTo>
                  <a:pt x="1848" y="1472"/>
                </a:lnTo>
                <a:lnTo>
                  <a:pt x="1860" y="1464"/>
                </a:lnTo>
                <a:lnTo>
                  <a:pt x="1871" y="1457"/>
                </a:lnTo>
                <a:lnTo>
                  <a:pt x="1881" y="1449"/>
                </a:lnTo>
                <a:lnTo>
                  <a:pt x="1889" y="1442"/>
                </a:lnTo>
                <a:lnTo>
                  <a:pt x="1889" y="1442"/>
                </a:lnTo>
                <a:lnTo>
                  <a:pt x="1888" y="1440"/>
                </a:lnTo>
                <a:lnTo>
                  <a:pt x="1887" y="1438"/>
                </a:lnTo>
                <a:lnTo>
                  <a:pt x="1879" y="1431"/>
                </a:lnTo>
                <a:lnTo>
                  <a:pt x="1868" y="1420"/>
                </a:lnTo>
                <a:lnTo>
                  <a:pt x="1855" y="1406"/>
                </a:lnTo>
                <a:lnTo>
                  <a:pt x="1840" y="1388"/>
                </a:lnTo>
                <a:lnTo>
                  <a:pt x="1825" y="1369"/>
                </a:lnTo>
                <a:lnTo>
                  <a:pt x="1818" y="1358"/>
                </a:lnTo>
                <a:lnTo>
                  <a:pt x="1812" y="1345"/>
                </a:lnTo>
                <a:lnTo>
                  <a:pt x="1807" y="1334"/>
                </a:lnTo>
                <a:lnTo>
                  <a:pt x="1802" y="1321"/>
                </a:lnTo>
                <a:lnTo>
                  <a:pt x="1802" y="1321"/>
                </a:lnTo>
                <a:lnTo>
                  <a:pt x="1799" y="1308"/>
                </a:lnTo>
                <a:lnTo>
                  <a:pt x="1796" y="1297"/>
                </a:lnTo>
                <a:lnTo>
                  <a:pt x="1794" y="1288"/>
                </a:lnTo>
                <a:lnTo>
                  <a:pt x="1794" y="1279"/>
                </a:lnTo>
                <a:lnTo>
                  <a:pt x="1794" y="1272"/>
                </a:lnTo>
                <a:lnTo>
                  <a:pt x="1794" y="1267"/>
                </a:lnTo>
                <a:lnTo>
                  <a:pt x="1795" y="1263"/>
                </a:lnTo>
                <a:lnTo>
                  <a:pt x="1796" y="1261"/>
                </a:lnTo>
                <a:lnTo>
                  <a:pt x="1796" y="1261"/>
                </a:lnTo>
                <a:lnTo>
                  <a:pt x="1809" y="1278"/>
                </a:lnTo>
                <a:lnTo>
                  <a:pt x="1824" y="1295"/>
                </a:lnTo>
                <a:lnTo>
                  <a:pt x="1845" y="1316"/>
                </a:lnTo>
                <a:lnTo>
                  <a:pt x="1857" y="1327"/>
                </a:lnTo>
                <a:lnTo>
                  <a:pt x="1869" y="1338"/>
                </a:lnTo>
                <a:lnTo>
                  <a:pt x="1883" y="1349"/>
                </a:lnTo>
                <a:lnTo>
                  <a:pt x="1899" y="1361"/>
                </a:lnTo>
                <a:lnTo>
                  <a:pt x="1915" y="1372"/>
                </a:lnTo>
                <a:lnTo>
                  <a:pt x="1932" y="1381"/>
                </a:lnTo>
                <a:lnTo>
                  <a:pt x="1949" y="1390"/>
                </a:lnTo>
                <a:lnTo>
                  <a:pt x="1967" y="1398"/>
                </a:lnTo>
                <a:lnTo>
                  <a:pt x="1967" y="1398"/>
                </a:lnTo>
                <a:lnTo>
                  <a:pt x="2021" y="1370"/>
                </a:lnTo>
                <a:lnTo>
                  <a:pt x="2075" y="1340"/>
                </a:lnTo>
                <a:lnTo>
                  <a:pt x="2129" y="1307"/>
                </a:lnTo>
                <a:lnTo>
                  <a:pt x="2183" y="1273"/>
                </a:lnTo>
                <a:lnTo>
                  <a:pt x="2183" y="1273"/>
                </a:lnTo>
                <a:lnTo>
                  <a:pt x="2218" y="1249"/>
                </a:lnTo>
                <a:lnTo>
                  <a:pt x="2218" y="1249"/>
                </a:lnTo>
                <a:lnTo>
                  <a:pt x="2219" y="1248"/>
                </a:lnTo>
                <a:lnTo>
                  <a:pt x="2219" y="1248"/>
                </a:lnTo>
                <a:lnTo>
                  <a:pt x="2220" y="1246"/>
                </a:lnTo>
                <a:lnTo>
                  <a:pt x="2219" y="1244"/>
                </a:lnTo>
                <a:lnTo>
                  <a:pt x="2215" y="1237"/>
                </a:lnTo>
                <a:lnTo>
                  <a:pt x="2207" y="1228"/>
                </a:lnTo>
                <a:lnTo>
                  <a:pt x="2196" y="1217"/>
                </a:lnTo>
                <a:lnTo>
                  <a:pt x="2171" y="1193"/>
                </a:lnTo>
                <a:lnTo>
                  <a:pt x="2142" y="1164"/>
                </a:lnTo>
                <a:lnTo>
                  <a:pt x="2129" y="1150"/>
                </a:lnTo>
                <a:lnTo>
                  <a:pt x="2118" y="1136"/>
                </a:lnTo>
                <a:lnTo>
                  <a:pt x="2108" y="1121"/>
                </a:lnTo>
                <a:lnTo>
                  <a:pt x="2104" y="1114"/>
                </a:lnTo>
                <a:lnTo>
                  <a:pt x="2101" y="1108"/>
                </a:lnTo>
                <a:lnTo>
                  <a:pt x="2100" y="1101"/>
                </a:lnTo>
                <a:lnTo>
                  <a:pt x="2099" y="1095"/>
                </a:lnTo>
                <a:lnTo>
                  <a:pt x="2099" y="1089"/>
                </a:lnTo>
                <a:lnTo>
                  <a:pt x="2100" y="1084"/>
                </a:lnTo>
                <a:lnTo>
                  <a:pt x="2102" y="1078"/>
                </a:lnTo>
                <a:lnTo>
                  <a:pt x="2106" y="1073"/>
                </a:lnTo>
                <a:lnTo>
                  <a:pt x="2112" y="1069"/>
                </a:lnTo>
                <a:lnTo>
                  <a:pt x="2119" y="1065"/>
                </a:lnTo>
                <a:lnTo>
                  <a:pt x="2119" y="1065"/>
                </a:lnTo>
                <a:lnTo>
                  <a:pt x="2125" y="1061"/>
                </a:lnTo>
                <a:lnTo>
                  <a:pt x="2130" y="1056"/>
                </a:lnTo>
                <a:lnTo>
                  <a:pt x="2133" y="1051"/>
                </a:lnTo>
                <a:lnTo>
                  <a:pt x="2135" y="1045"/>
                </a:lnTo>
                <a:lnTo>
                  <a:pt x="2136" y="1039"/>
                </a:lnTo>
                <a:lnTo>
                  <a:pt x="2136" y="1030"/>
                </a:lnTo>
                <a:lnTo>
                  <a:pt x="2136" y="1023"/>
                </a:lnTo>
                <a:lnTo>
                  <a:pt x="2134" y="1014"/>
                </a:lnTo>
                <a:lnTo>
                  <a:pt x="2129" y="997"/>
                </a:lnTo>
                <a:lnTo>
                  <a:pt x="2121" y="977"/>
                </a:lnTo>
                <a:lnTo>
                  <a:pt x="2102" y="935"/>
                </a:lnTo>
                <a:lnTo>
                  <a:pt x="2093" y="914"/>
                </a:lnTo>
                <a:lnTo>
                  <a:pt x="2085" y="893"/>
                </a:lnTo>
                <a:lnTo>
                  <a:pt x="2078" y="873"/>
                </a:lnTo>
                <a:lnTo>
                  <a:pt x="2076" y="863"/>
                </a:lnTo>
                <a:lnTo>
                  <a:pt x="2074" y="853"/>
                </a:lnTo>
                <a:lnTo>
                  <a:pt x="2074" y="844"/>
                </a:lnTo>
                <a:lnTo>
                  <a:pt x="2074" y="836"/>
                </a:lnTo>
                <a:lnTo>
                  <a:pt x="2075" y="828"/>
                </a:lnTo>
                <a:lnTo>
                  <a:pt x="2077" y="821"/>
                </a:lnTo>
                <a:lnTo>
                  <a:pt x="2080" y="814"/>
                </a:lnTo>
                <a:lnTo>
                  <a:pt x="2085" y="807"/>
                </a:lnTo>
                <a:lnTo>
                  <a:pt x="2091" y="801"/>
                </a:lnTo>
                <a:lnTo>
                  <a:pt x="2099" y="797"/>
                </a:lnTo>
                <a:lnTo>
                  <a:pt x="2099" y="797"/>
                </a:lnTo>
                <a:lnTo>
                  <a:pt x="2200" y="744"/>
                </a:lnTo>
                <a:lnTo>
                  <a:pt x="2306" y="693"/>
                </a:lnTo>
                <a:lnTo>
                  <a:pt x="2410" y="642"/>
                </a:lnTo>
                <a:lnTo>
                  <a:pt x="2513" y="592"/>
                </a:lnTo>
                <a:lnTo>
                  <a:pt x="2705" y="501"/>
                </a:lnTo>
                <a:lnTo>
                  <a:pt x="2788" y="461"/>
                </a:lnTo>
                <a:lnTo>
                  <a:pt x="2863" y="424"/>
                </a:lnTo>
                <a:lnTo>
                  <a:pt x="2863" y="424"/>
                </a:lnTo>
                <a:lnTo>
                  <a:pt x="2859" y="408"/>
                </a:lnTo>
                <a:lnTo>
                  <a:pt x="2853" y="389"/>
                </a:lnTo>
                <a:lnTo>
                  <a:pt x="2843" y="366"/>
                </a:lnTo>
                <a:lnTo>
                  <a:pt x="2836" y="354"/>
                </a:lnTo>
                <a:lnTo>
                  <a:pt x="2829" y="339"/>
                </a:lnTo>
                <a:lnTo>
                  <a:pt x="2821" y="325"/>
                </a:lnTo>
                <a:lnTo>
                  <a:pt x="2812" y="311"/>
                </a:lnTo>
                <a:lnTo>
                  <a:pt x="2801" y="296"/>
                </a:lnTo>
                <a:lnTo>
                  <a:pt x="2788" y="281"/>
                </a:lnTo>
                <a:lnTo>
                  <a:pt x="2774" y="267"/>
                </a:lnTo>
                <a:lnTo>
                  <a:pt x="2759" y="25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5" name="Freeform 32"/>
          <p:cNvSpPr>
            <a:spLocks/>
          </p:cNvSpPr>
          <p:nvPr userDrawn="1"/>
        </p:nvSpPr>
        <p:spPr bwMode="auto">
          <a:xfrm>
            <a:off x="7194550" y="1861840"/>
            <a:ext cx="161925" cy="153988"/>
          </a:xfrm>
          <a:custGeom>
            <a:avLst/>
            <a:gdLst>
              <a:gd name="T0" fmla="*/ 2 w 1226"/>
              <a:gd name="T1" fmla="*/ 386 h 1168"/>
              <a:gd name="T2" fmla="*/ 22 w 1226"/>
              <a:gd name="T3" fmla="*/ 434 h 1168"/>
              <a:gd name="T4" fmla="*/ 61 w 1226"/>
              <a:gd name="T5" fmla="*/ 466 h 1168"/>
              <a:gd name="T6" fmla="*/ 120 w 1226"/>
              <a:gd name="T7" fmla="*/ 479 h 1168"/>
              <a:gd name="T8" fmla="*/ 142 w 1226"/>
              <a:gd name="T9" fmla="*/ 469 h 1168"/>
              <a:gd name="T10" fmla="*/ 160 w 1226"/>
              <a:gd name="T11" fmla="*/ 436 h 1168"/>
              <a:gd name="T12" fmla="*/ 164 w 1226"/>
              <a:gd name="T13" fmla="*/ 370 h 1168"/>
              <a:gd name="T14" fmla="*/ 174 w 1226"/>
              <a:gd name="T15" fmla="*/ 344 h 1168"/>
              <a:gd name="T16" fmla="*/ 198 w 1226"/>
              <a:gd name="T17" fmla="*/ 331 h 1168"/>
              <a:gd name="T18" fmla="*/ 223 w 1226"/>
              <a:gd name="T19" fmla="*/ 318 h 1168"/>
              <a:gd name="T20" fmla="*/ 427 w 1226"/>
              <a:gd name="T21" fmla="*/ 416 h 1168"/>
              <a:gd name="T22" fmla="*/ 628 w 1226"/>
              <a:gd name="T23" fmla="*/ 534 h 1168"/>
              <a:gd name="T24" fmla="*/ 876 w 1226"/>
              <a:gd name="T25" fmla="*/ 703 h 1168"/>
              <a:gd name="T26" fmla="*/ 868 w 1226"/>
              <a:gd name="T27" fmla="*/ 783 h 1168"/>
              <a:gd name="T28" fmla="*/ 779 w 1226"/>
              <a:gd name="T29" fmla="*/ 957 h 1168"/>
              <a:gd name="T30" fmla="*/ 753 w 1226"/>
              <a:gd name="T31" fmla="*/ 1040 h 1168"/>
              <a:gd name="T32" fmla="*/ 754 w 1226"/>
              <a:gd name="T33" fmla="*/ 1090 h 1168"/>
              <a:gd name="T34" fmla="*/ 771 w 1226"/>
              <a:gd name="T35" fmla="*/ 1130 h 1168"/>
              <a:gd name="T36" fmla="*/ 801 w 1226"/>
              <a:gd name="T37" fmla="*/ 1157 h 1168"/>
              <a:gd name="T38" fmla="*/ 842 w 1226"/>
              <a:gd name="T39" fmla="*/ 1168 h 1168"/>
              <a:gd name="T40" fmla="*/ 880 w 1226"/>
              <a:gd name="T41" fmla="*/ 1163 h 1168"/>
              <a:gd name="T42" fmla="*/ 919 w 1226"/>
              <a:gd name="T43" fmla="*/ 1140 h 1168"/>
              <a:gd name="T44" fmla="*/ 944 w 1226"/>
              <a:gd name="T45" fmla="*/ 1107 h 1168"/>
              <a:gd name="T46" fmla="*/ 952 w 1226"/>
              <a:gd name="T47" fmla="*/ 1060 h 1168"/>
              <a:gd name="T48" fmla="*/ 930 w 1226"/>
              <a:gd name="T49" fmla="*/ 1010 h 1168"/>
              <a:gd name="T50" fmla="*/ 885 w 1226"/>
              <a:gd name="T51" fmla="*/ 989 h 1168"/>
              <a:gd name="T52" fmla="*/ 919 w 1226"/>
              <a:gd name="T53" fmla="*/ 879 h 1168"/>
              <a:gd name="T54" fmla="*/ 954 w 1226"/>
              <a:gd name="T55" fmla="*/ 807 h 1168"/>
              <a:gd name="T56" fmla="*/ 1024 w 1226"/>
              <a:gd name="T57" fmla="*/ 715 h 1168"/>
              <a:gd name="T58" fmla="*/ 1095 w 1226"/>
              <a:gd name="T59" fmla="*/ 673 h 1168"/>
              <a:gd name="T60" fmla="*/ 1125 w 1226"/>
              <a:gd name="T61" fmla="*/ 670 h 1168"/>
              <a:gd name="T62" fmla="*/ 1099 w 1226"/>
              <a:gd name="T63" fmla="*/ 633 h 1168"/>
              <a:gd name="T64" fmla="*/ 1083 w 1226"/>
              <a:gd name="T65" fmla="*/ 543 h 1168"/>
              <a:gd name="T66" fmla="*/ 1096 w 1226"/>
              <a:gd name="T67" fmla="*/ 477 h 1168"/>
              <a:gd name="T68" fmla="*/ 1132 w 1226"/>
              <a:gd name="T69" fmla="*/ 395 h 1168"/>
              <a:gd name="T70" fmla="*/ 1195 w 1226"/>
              <a:gd name="T71" fmla="*/ 258 h 1168"/>
              <a:gd name="T72" fmla="*/ 1225 w 1226"/>
              <a:gd name="T73" fmla="*/ 141 h 1168"/>
              <a:gd name="T74" fmla="*/ 1217 w 1226"/>
              <a:gd name="T75" fmla="*/ 95 h 1168"/>
              <a:gd name="T76" fmla="*/ 1187 w 1226"/>
              <a:gd name="T77" fmla="*/ 55 h 1168"/>
              <a:gd name="T78" fmla="*/ 1144 w 1226"/>
              <a:gd name="T79" fmla="*/ 34 h 1168"/>
              <a:gd name="T80" fmla="*/ 1104 w 1226"/>
              <a:gd name="T81" fmla="*/ 35 h 1168"/>
              <a:gd name="T82" fmla="*/ 1061 w 1226"/>
              <a:gd name="T83" fmla="*/ 57 h 1168"/>
              <a:gd name="T84" fmla="*/ 1033 w 1226"/>
              <a:gd name="T85" fmla="*/ 94 h 1168"/>
              <a:gd name="T86" fmla="*/ 1025 w 1226"/>
              <a:gd name="T87" fmla="*/ 139 h 1168"/>
              <a:gd name="T88" fmla="*/ 1048 w 1226"/>
              <a:gd name="T89" fmla="*/ 205 h 1168"/>
              <a:gd name="T90" fmla="*/ 1095 w 1226"/>
              <a:gd name="T91" fmla="*/ 230 h 1168"/>
              <a:gd name="T92" fmla="*/ 1107 w 1226"/>
              <a:gd name="T93" fmla="*/ 240 h 1168"/>
              <a:gd name="T94" fmla="*/ 1044 w 1226"/>
              <a:gd name="T95" fmla="*/ 390 h 1168"/>
              <a:gd name="T96" fmla="*/ 975 w 1226"/>
              <a:gd name="T97" fmla="*/ 431 h 1168"/>
              <a:gd name="T98" fmla="*/ 717 w 1226"/>
              <a:gd name="T99" fmla="*/ 289 h 1168"/>
              <a:gd name="T100" fmla="*/ 529 w 1226"/>
              <a:gd name="T101" fmla="*/ 205 h 1168"/>
              <a:gd name="T102" fmla="*/ 317 w 1226"/>
              <a:gd name="T103" fmla="*/ 140 h 1168"/>
              <a:gd name="T104" fmla="*/ 378 w 1226"/>
              <a:gd name="T105" fmla="*/ 31 h 1168"/>
              <a:gd name="T106" fmla="*/ 389 w 1226"/>
              <a:gd name="T107" fmla="*/ 0 h 1168"/>
              <a:gd name="T108" fmla="*/ 367 w 1226"/>
              <a:gd name="T109" fmla="*/ 10 h 1168"/>
              <a:gd name="T110" fmla="*/ 285 w 1226"/>
              <a:gd name="T111" fmla="*/ 57 h 1168"/>
              <a:gd name="T112" fmla="*/ 211 w 1226"/>
              <a:gd name="T113" fmla="*/ 85 h 1168"/>
              <a:gd name="T114" fmla="*/ 147 w 1226"/>
              <a:gd name="T115" fmla="*/ 85 h 1168"/>
              <a:gd name="T116" fmla="*/ 114 w 1226"/>
              <a:gd name="T117" fmla="*/ 85 h 1168"/>
              <a:gd name="T118" fmla="*/ 87 w 1226"/>
              <a:gd name="T119" fmla="*/ 134 h 1168"/>
              <a:gd name="T120" fmla="*/ 42 w 1226"/>
              <a:gd name="T121" fmla="*/ 261 h 1168"/>
              <a:gd name="T122" fmla="*/ 6 w 1226"/>
              <a:gd name="T123" fmla="*/ 327 h 1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6" h="1168">
                <a:moveTo>
                  <a:pt x="1" y="345"/>
                </a:moveTo>
                <a:lnTo>
                  <a:pt x="1" y="345"/>
                </a:lnTo>
                <a:lnTo>
                  <a:pt x="0" y="359"/>
                </a:lnTo>
                <a:lnTo>
                  <a:pt x="0" y="370"/>
                </a:lnTo>
                <a:lnTo>
                  <a:pt x="2" y="386"/>
                </a:lnTo>
                <a:lnTo>
                  <a:pt x="5" y="401"/>
                </a:lnTo>
                <a:lnTo>
                  <a:pt x="8" y="409"/>
                </a:lnTo>
                <a:lnTo>
                  <a:pt x="11" y="417"/>
                </a:lnTo>
                <a:lnTo>
                  <a:pt x="16" y="425"/>
                </a:lnTo>
                <a:lnTo>
                  <a:pt x="22" y="434"/>
                </a:lnTo>
                <a:lnTo>
                  <a:pt x="28" y="442"/>
                </a:lnTo>
                <a:lnTo>
                  <a:pt x="36" y="449"/>
                </a:lnTo>
                <a:lnTo>
                  <a:pt x="36" y="449"/>
                </a:lnTo>
                <a:lnTo>
                  <a:pt x="48" y="458"/>
                </a:lnTo>
                <a:lnTo>
                  <a:pt x="61" y="466"/>
                </a:lnTo>
                <a:lnTo>
                  <a:pt x="76" y="473"/>
                </a:lnTo>
                <a:lnTo>
                  <a:pt x="91" y="478"/>
                </a:lnTo>
                <a:lnTo>
                  <a:pt x="105" y="480"/>
                </a:lnTo>
                <a:lnTo>
                  <a:pt x="113" y="480"/>
                </a:lnTo>
                <a:lnTo>
                  <a:pt x="120" y="479"/>
                </a:lnTo>
                <a:lnTo>
                  <a:pt x="126" y="478"/>
                </a:lnTo>
                <a:lnTo>
                  <a:pt x="132" y="476"/>
                </a:lnTo>
                <a:lnTo>
                  <a:pt x="137" y="473"/>
                </a:lnTo>
                <a:lnTo>
                  <a:pt x="142" y="469"/>
                </a:lnTo>
                <a:lnTo>
                  <a:pt x="142" y="469"/>
                </a:lnTo>
                <a:lnTo>
                  <a:pt x="147" y="464"/>
                </a:lnTo>
                <a:lnTo>
                  <a:pt x="152" y="457"/>
                </a:lnTo>
                <a:lnTo>
                  <a:pt x="155" y="451"/>
                </a:lnTo>
                <a:lnTo>
                  <a:pt x="158" y="444"/>
                </a:lnTo>
                <a:lnTo>
                  <a:pt x="160" y="436"/>
                </a:lnTo>
                <a:lnTo>
                  <a:pt x="161" y="428"/>
                </a:lnTo>
                <a:lnTo>
                  <a:pt x="162" y="411"/>
                </a:lnTo>
                <a:lnTo>
                  <a:pt x="162" y="395"/>
                </a:lnTo>
                <a:lnTo>
                  <a:pt x="163" y="378"/>
                </a:lnTo>
                <a:lnTo>
                  <a:pt x="164" y="370"/>
                </a:lnTo>
                <a:lnTo>
                  <a:pt x="166" y="362"/>
                </a:lnTo>
                <a:lnTo>
                  <a:pt x="168" y="355"/>
                </a:lnTo>
                <a:lnTo>
                  <a:pt x="172" y="347"/>
                </a:lnTo>
                <a:lnTo>
                  <a:pt x="172" y="347"/>
                </a:lnTo>
                <a:lnTo>
                  <a:pt x="174" y="344"/>
                </a:lnTo>
                <a:lnTo>
                  <a:pt x="178" y="341"/>
                </a:lnTo>
                <a:lnTo>
                  <a:pt x="187" y="335"/>
                </a:lnTo>
                <a:lnTo>
                  <a:pt x="195" y="332"/>
                </a:lnTo>
                <a:lnTo>
                  <a:pt x="198" y="331"/>
                </a:lnTo>
                <a:lnTo>
                  <a:pt x="198" y="331"/>
                </a:lnTo>
                <a:lnTo>
                  <a:pt x="205" y="329"/>
                </a:lnTo>
                <a:lnTo>
                  <a:pt x="211" y="326"/>
                </a:lnTo>
                <a:lnTo>
                  <a:pt x="217" y="323"/>
                </a:lnTo>
                <a:lnTo>
                  <a:pt x="223" y="318"/>
                </a:lnTo>
                <a:lnTo>
                  <a:pt x="223" y="318"/>
                </a:lnTo>
                <a:lnTo>
                  <a:pt x="264" y="337"/>
                </a:lnTo>
                <a:lnTo>
                  <a:pt x="305" y="355"/>
                </a:lnTo>
                <a:lnTo>
                  <a:pt x="347" y="374"/>
                </a:lnTo>
                <a:lnTo>
                  <a:pt x="388" y="395"/>
                </a:lnTo>
                <a:lnTo>
                  <a:pt x="427" y="416"/>
                </a:lnTo>
                <a:lnTo>
                  <a:pt x="468" y="439"/>
                </a:lnTo>
                <a:lnTo>
                  <a:pt x="509" y="461"/>
                </a:lnTo>
                <a:lnTo>
                  <a:pt x="549" y="485"/>
                </a:lnTo>
                <a:lnTo>
                  <a:pt x="589" y="509"/>
                </a:lnTo>
                <a:lnTo>
                  <a:pt x="628" y="534"/>
                </a:lnTo>
                <a:lnTo>
                  <a:pt x="706" y="584"/>
                </a:lnTo>
                <a:lnTo>
                  <a:pt x="782" y="636"/>
                </a:lnTo>
                <a:lnTo>
                  <a:pt x="857" y="689"/>
                </a:lnTo>
                <a:lnTo>
                  <a:pt x="857" y="689"/>
                </a:lnTo>
                <a:lnTo>
                  <a:pt x="876" y="703"/>
                </a:lnTo>
                <a:lnTo>
                  <a:pt x="894" y="714"/>
                </a:lnTo>
                <a:lnTo>
                  <a:pt x="894" y="714"/>
                </a:lnTo>
                <a:lnTo>
                  <a:pt x="887" y="736"/>
                </a:lnTo>
                <a:lnTo>
                  <a:pt x="878" y="759"/>
                </a:lnTo>
                <a:lnTo>
                  <a:pt x="868" y="783"/>
                </a:lnTo>
                <a:lnTo>
                  <a:pt x="856" y="809"/>
                </a:lnTo>
                <a:lnTo>
                  <a:pt x="856" y="809"/>
                </a:lnTo>
                <a:lnTo>
                  <a:pt x="816" y="885"/>
                </a:lnTo>
                <a:lnTo>
                  <a:pt x="797" y="921"/>
                </a:lnTo>
                <a:lnTo>
                  <a:pt x="779" y="957"/>
                </a:lnTo>
                <a:lnTo>
                  <a:pt x="772" y="975"/>
                </a:lnTo>
                <a:lnTo>
                  <a:pt x="766" y="992"/>
                </a:lnTo>
                <a:lnTo>
                  <a:pt x="760" y="1008"/>
                </a:lnTo>
                <a:lnTo>
                  <a:pt x="756" y="1025"/>
                </a:lnTo>
                <a:lnTo>
                  <a:pt x="753" y="1040"/>
                </a:lnTo>
                <a:lnTo>
                  <a:pt x="751" y="1054"/>
                </a:lnTo>
                <a:lnTo>
                  <a:pt x="751" y="1069"/>
                </a:lnTo>
                <a:lnTo>
                  <a:pt x="752" y="1081"/>
                </a:lnTo>
                <a:lnTo>
                  <a:pt x="752" y="1081"/>
                </a:lnTo>
                <a:lnTo>
                  <a:pt x="754" y="1090"/>
                </a:lnTo>
                <a:lnTo>
                  <a:pt x="756" y="1099"/>
                </a:lnTo>
                <a:lnTo>
                  <a:pt x="759" y="1107"/>
                </a:lnTo>
                <a:lnTo>
                  <a:pt x="762" y="1116"/>
                </a:lnTo>
                <a:lnTo>
                  <a:pt x="766" y="1123"/>
                </a:lnTo>
                <a:lnTo>
                  <a:pt x="771" y="1130"/>
                </a:lnTo>
                <a:lnTo>
                  <a:pt x="776" y="1136"/>
                </a:lnTo>
                <a:lnTo>
                  <a:pt x="781" y="1142"/>
                </a:lnTo>
                <a:lnTo>
                  <a:pt x="787" y="1147"/>
                </a:lnTo>
                <a:lnTo>
                  <a:pt x="794" y="1152"/>
                </a:lnTo>
                <a:lnTo>
                  <a:pt x="801" y="1157"/>
                </a:lnTo>
                <a:lnTo>
                  <a:pt x="808" y="1160"/>
                </a:lnTo>
                <a:lnTo>
                  <a:pt x="816" y="1163"/>
                </a:lnTo>
                <a:lnTo>
                  <a:pt x="824" y="1165"/>
                </a:lnTo>
                <a:lnTo>
                  <a:pt x="833" y="1167"/>
                </a:lnTo>
                <a:lnTo>
                  <a:pt x="842" y="1168"/>
                </a:lnTo>
                <a:lnTo>
                  <a:pt x="842" y="1168"/>
                </a:lnTo>
                <a:lnTo>
                  <a:pt x="852" y="1168"/>
                </a:lnTo>
                <a:lnTo>
                  <a:pt x="862" y="1167"/>
                </a:lnTo>
                <a:lnTo>
                  <a:pt x="871" y="1165"/>
                </a:lnTo>
                <a:lnTo>
                  <a:pt x="880" y="1163"/>
                </a:lnTo>
                <a:lnTo>
                  <a:pt x="889" y="1160"/>
                </a:lnTo>
                <a:lnTo>
                  <a:pt x="897" y="1155"/>
                </a:lnTo>
                <a:lnTo>
                  <a:pt x="905" y="1151"/>
                </a:lnTo>
                <a:lnTo>
                  <a:pt x="912" y="1146"/>
                </a:lnTo>
                <a:lnTo>
                  <a:pt x="919" y="1140"/>
                </a:lnTo>
                <a:lnTo>
                  <a:pt x="925" y="1135"/>
                </a:lnTo>
                <a:lnTo>
                  <a:pt x="931" y="1129"/>
                </a:lnTo>
                <a:lnTo>
                  <a:pt x="936" y="1122"/>
                </a:lnTo>
                <a:lnTo>
                  <a:pt x="940" y="1115"/>
                </a:lnTo>
                <a:lnTo>
                  <a:pt x="944" y="1107"/>
                </a:lnTo>
                <a:lnTo>
                  <a:pt x="947" y="1100"/>
                </a:lnTo>
                <a:lnTo>
                  <a:pt x="949" y="1092"/>
                </a:lnTo>
                <a:lnTo>
                  <a:pt x="949" y="1092"/>
                </a:lnTo>
                <a:lnTo>
                  <a:pt x="951" y="1076"/>
                </a:lnTo>
                <a:lnTo>
                  <a:pt x="952" y="1060"/>
                </a:lnTo>
                <a:lnTo>
                  <a:pt x="950" y="1048"/>
                </a:lnTo>
                <a:lnTo>
                  <a:pt x="947" y="1036"/>
                </a:lnTo>
                <a:lnTo>
                  <a:pt x="942" y="1027"/>
                </a:lnTo>
                <a:lnTo>
                  <a:pt x="937" y="1017"/>
                </a:lnTo>
                <a:lnTo>
                  <a:pt x="930" y="1010"/>
                </a:lnTo>
                <a:lnTo>
                  <a:pt x="922" y="1005"/>
                </a:lnTo>
                <a:lnTo>
                  <a:pt x="915" y="1000"/>
                </a:lnTo>
                <a:lnTo>
                  <a:pt x="908" y="996"/>
                </a:lnTo>
                <a:lnTo>
                  <a:pt x="894" y="991"/>
                </a:lnTo>
                <a:lnTo>
                  <a:pt x="885" y="989"/>
                </a:lnTo>
                <a:lnTo>
                  <a:pt x="880" y="989"/>
                </a:lnTo>
                <a:lnTo>
                  <a:pt x="880" y="989"/>
                </a:lnTo>
                <a:lnTo>
                  <a:pt x="896" y="944"/>
                </a:lnTo>
                <a:lnTo>
                  <a:pt x="908" y="908"/>
                </a:lnTo>
                <a:lnTo>
                  <a:pt x="919" y="879"/>
                </a:lnTo>
                <a:lnTo>
                  <a:pt x="919" y="879"/>
                </a:lnTo>
                <a:lnTo>
                  <a:pt x="927" y="859"/>
                </a:lnTo>
                <a:lnTo>
                  <a:pt x="937" y="841"/>
                </a:lnTo>
                <a:lnTo>
                  <a:pt x="945" y="823"/>
                </a:lnTo>
                <a:lnTo>
                  <a:pt x="954" y="807"/>
                </a:lnTo>
                <a:lnTo>
                  <a:pt x="962" y="792"/>
                </a:lnTo>
                <a:lnTo>
                  <a:pt x="971" y="777"/>
                </a:lnTo>
                <a:lnTo>
                  <a:pt x="989" y="753"/>
                </a:lnTo>
                <a:lnTo>
                  <a:pt x="1006" y="732"/>
                </a:lnTo>
                <a:lnTo>
                  <a:pt x="1024" y="715"/>
                </a:lnTo>
                <a:lnTo>
                  <a:pt x="1040" y="702"/>
                </a:lnTo>
                <a:lnTo>
                  <a:pt x="1055" y="690"/>
                </a:lnTo>
                <a:lnTo>
                  <a:pt x="1070" y="683"/>
                </a:lnTo>
                <a:lnTo>
                  <a:pt x="1083" y="677"/>
                </a:lnTo>
                <a:lnTo>
                  <a:pt x="1095" y="673"/>
                </a:lnTo>
                <a:lnTo>
                  <a:pt x="1105" y="671"/>
                </a:lnTo>
                <a:lnTo>
                  <a:pt x="1114" y="670"/>
                </a:lnTo>
                <a:lnTo>
                  <a:pt x="1120" y="670"/>
                </a:lnTo>
                <a:lnTo>
                  <a:pt x="1125" y="670"/>
                </a:lnTo>
                <a:lnTo>
                  <a:pt x="1125" y="670"/>
                </a:lnTo>
                <a:lnTo>
                  <a:pt x="1121" y="666"/>
                </a:lnTo>
                <a:lnTo>
                  <a:pt x="1116" y="661"/>
                </a:lnTo>
                <a:lnTo>
                  <a:pt x="1111" y="653"/>
                </a:lnTo>
                <a:lnTo>
                  <a:pt x="1104" y="644"/>
                </a:lnTo>
                <a:lnTo>
                  <a:pt x="1099" y="633"/>
                </a:lnTo>
                <a:lnTo>
                  <a:pt x="1093" y="620"/>
                </a:lnTo>
                <a:lnTo>
                  <a:pt x="1088" y="603"/>
                </a:lnTo>
                <a:lnTo>
                  <a:pt x="1085" y="586"/>
                </a:lnTo>
                <a:lnTo>
                  <a:pt x="1083" y="566"/>
                </a:lnTo>
                <a:lnTo>
                  <a:pt x="1083" y="543"/>
                </a:lnTo>
                <a:lnTo>
                  <a:pt x="1084" y="531"/>
                </a:lnTo>
                <a:lnTo>
                  <a:pt x="1086" y="519"/>
                </a:lnTo>
                <a:lnTo>
                  <a:pt x="1088" y="505"/>
                </a:lnTo>
                <a:lnTo>
                  <a:pt x="1092" y="491"/>
                </a:lnTo>
                <a:lnTo>
                  <a:pt x="1096" y="477"/>
                </a:lnTo>
                <a:lnTo>
                  <a:pt x="1101" y="461"/>
                </a:lnTo>
                <a:lnTo>
                  <a:pt x="1107" y="446"/>
                </a:lnTo>
                <a:lnTo>
                  <a:pt x="1115" y="430"/>
                </a:lnTo>
                <a:lnTo>
                  <a:pt x="1123" y="412"/>
                </a:lnTo>
                <a:lnTo>
                  <a:pt x="1132" y="395"/>
                </a:lnTo>
                <a:lnTo>
                  <a:pt x="1132" y="395"/>
                </a:lnTo>
                <a:lnTo>
                  <a:pt x="1152" y="358"/>
                </a:lnTo>
                <a:lnTo>
                  <a:pt x="1169" y="322"/>
                </a:lnTo>
                <a:lnTo>
                  <a:pt x="1184" y="289"/>
                </a:lnTo>
                <a:lnTo>
                  <a:pt x="1195" y="258"/>
                </a:lnTo>
                <a:lnTo>
                  <a:pt x="1206" y="227"/>
                </a:lnTo>
                <a:lnTo>
                  <a:pt x="1214" y="197"/>
                </a:lnTo>
                <a:lnTo>
                  <a:pt x="1220" y="169"/>
                </a:lnTo>
                <a:lnTo>
                  <a:pt x="1225" y="141"/>
                </a:lnTo>
                <a:lnTo>
                  <a:pt x="1225" y="141"/>
                </a:lnTo>
                <a:lnTo>
                  <a:pt x="1226" y="132"/>
                </a:lnTo>
                <a:lnTo>
                  <a:pt x="1225" y="123"/>
                </a:lnTo>
                <a:lnTo>
                  <a:pt x="1224" y="114"/>
                </a:lnTo>
                <a:lnTo>
                  <a:pt x="1221" y="104"/>
                </a:lnTo>
                <a:lnTo>
                  <a:pt x="1217" y="95"/>
                </a:lnTo>
                <a:lnTo>
                  <a:pt x="1213" y="87"/>
                </a:lnTo>
                <a:lnTo>
                  <a:pt x="1208" y="78"/>
                </a:lnTo>
                <a:lnTo>
                  <a:pt x="1202" y="70"/>
                </a:lnTo>
                <a:lnTo>
                  <a:pt x="1194" y="63"/>
                </a:lnTo>
                <a:lnTo>
                  <a:pt x="1187" y="55"/>
                </a:lnTo>
                <a:lnTo>
                  <a:pt x="1179" y="49"/>
                </a:lnTo>
                <a:lnTo>
                  <a:pt x="1171" y="44"/>
                </a:lnTo>
                <a:lnTo>
                  <a:pt x="1163" y="39"/>
                </a:lnTo>
                <a:lnTo>
                  <a:pt x="1153" y="36"/>
                </a:lnTo>
                <a:lnTo>
                  <a:pt x="1144" y="34"/>
                </a:lnTo>
                <a:lnTo>
                  <a:pt x="1134" y="32"/>
                </a:lnTo>
                <a:lnTo>
                  <a:pt x="1134" y="32"/>
                </a:lnTo>
                <a:lnTo>
                  <a:pt x="1124" y="32"/>
                </a:lnTo>
                <a:lnTo>
                  <a:pt x="1115" y="33"/>
                </a:lnTo>
                <a:lnTo>
                  <a:pt x="1104" y="35"/>
                </a:lnTo>
                <a:lnTo>
                  <a:pt x="1095" y="38"/>
                </a:lnTo>
                <a:lnTo>
                  <a:pt x="1086" y="42"/>
                </a:lnTo>
                <a:lnTo>
                  <a:pt x="1078" y="46"/>
                </a:lnTo>
                <a:lnTo>
                  <a:pt x="1070" y="52"/>
                </a:lnTo>
                <a:lnTo>
                  <a:pt x="1061" y="57"/>
                </a:lnTo>
                <a:lnTo>
                  <a:pt x="1054" y="65"/>
                </a:lnTo>
                <a:lnTo>
                  <a:pt x="1048" y="71"/>
                </a:lnTo>
                <a:lnTo>
                  <a:pt x="1042" y="78"/>
                </a:lnTo>
                <a:lnTo>
                  <a:pt x="1037" y="86"/>
                </a:lnTo>
                <a:lnTo>
                  <a:pt x="1033" y="94"/>
                </a:lnTo>
                <a:lnTo>
                  <a:pt x="1029" y="102"/>
                </a:lnTo>
                <a:lnTo>
                  <a:pt x="1027" y="111"/>
                </a:lnTo>
                <a:lnTo>
                  <a:pt x="1026" y="119"/>
                </a:lnTo>
                <a:lnTo>
                  <a:pt x="1026" y="119"/>
                </a:lnTo>
                <a:lnTo>
                  <a:pt x="1025" y="139"/>
                </a:lnTo>
                <a:lnTo>
                  <a:pt x="1026" y="158"/>
                </a:lnTo>
                <a:lnTo>
                  <a:pt x="1030" y="173"/>
                </a:lnTo>
                <a:lnTo>
                  <a:pt x="1035" y="185"/>
                </a:lnTo>
                <a:lnTo>
                  <a:pt x="1041" y="195"/>
                </a:lnTo>
                <a:lnTo>
                  <a:pt x="1048" y="205"/>
                </a:lnTo>
                <a:lnTo>
                  <a:pt x="1056" y="212"/>
                </a:lnTo>
                <a:lnTo>
                  <a:pt x="1065" y="217"/>
                </a:lnTo>
                <a:lnTo>
                  <a:pt x="1073" y="221"/>
                </a:lnTo>
                <a:lnTo>
                  <a:pt x="1081" y="225"/>
                </a:lnTo>
                <a:lnTo>
                  <a:pt x="1095" y="230"/>
                </a:lnTo>
                <a:lnTo>
                  <a:pt x="1101" y="232"/>
                </a:lnTo>
                <a:lnTo>
                  <a:pt x="1104" y="234"/>
                </a:lnTo>
                <a:lnTo>
                  <a:pt x="1107" y="237"/>
                </a:lnTo>
                <a:lnTo>
                  <a:pt x="1107" y="240"/>
                </a:lnTo>
                <a:lnTo>
                  <a:pt x="1107" y="240"/>
                </a:lnTo>
                <a:lnTo>
                  <a:pt x="1096" y="276"/>
                </a:lnTo>
                <a:lnTo>
                  <a:pt x="1084" y="309"/>
                </a:lnTo>
                <a:lnTo>
                  <a:pt x="1071" y="339"/>
                </a:lnTo>
                <a:lnTo>
                  <a:pt x="1057" y="365"/>
                </a:lnTo>
                <a:lnTo>
                  <a:pt x="1044" y="390"/>
                </a:lnTo>
                <a:lnTo>
                  <a:pt x="1031" y="411"/>
                </a:lnTo>
                <a:lnTo>
                  <a:pt x="1016" y="431"/>
                </a:lnTo>
                <a:lnTo>
                  <a:pt x="1002" y="447"/>
                </a:lnTo>
                <a:lnTo>
                  <a:pt x="1002" y="447"/>
                </a:lnTo>
                <a:lnTo>
                  <a:pt x="975" y="431"/>
                </a:lnTo>
                <a:lnTo>
                  <a:pt x="942" y="411"/>
                </a:lnTo>
                <a:lnTo>
                  <a:pt x="942" y="411"/>
                </a:lnTo>
                <a:lnTo>
                  <a:pt x="865" y="369"/>
                </a:lnTo>
                <a:lnTo>
                  <a:pt x="790" y="328"/>
                </a:lnTo>
                <a:lnTo>
                  <a:pt x="717" y="289"/>
                </a:lnTo>
                <a:lnTo>
                  <a:pt x="680" y="271"/>
                </a:lnTo>
                <a:lnTo>
                  <a:pt x="643" y="254"/>
                </a:lnTo>
                <a:lnTo>
                  <a:pt x="606" y="236"/>
                </a:lnTo>
                <a:lnTo>
                  <a:pt x="568" y="221"/>
                </a:lnTo>
                <a:lnTo>
                  <a:pt x="529" y="205"/>
                </a:lnTo>
                <a:lnTo>
                  <a:pt x="489" y="190"/>
                </a:lnTo>
                <a:lnTo>
                  <a:pt x="448" y="176"/>
                </a:lnTo>
                <a:lnTo>
                  <a:pt x="406" y="164"/>
                </a:lnTo>
                <a:lnTo>
                  <a:pt x="362" y="151"/>
                </a:lnTo>
                <a:lnTo>
                  <a:pt x="317" y="140"/>
                </a:lnTo>
                <a:lnTo>
                  <a:pt x="317" y="140"/>
                </a:lnTo>
                <a:lnTo>
                  <a:pt x="334" y="107"/>
                </a:lnTo>
                <a:lnTo>
                  <a:pt x="334" y="107"/>
                </a:lnTo>
                <a:lnTo>
                  <a:pt x="360" y="63"/>
                </a:lnTo>
                <a:lnTo>
                  <a:pt x="378" y="31"/>
                </a:lnTo>
                <a:lnTo>
                  <a:pt x="385" y="20"/>
                </a:lnTo>
                <a:lnTo>
                  <a:pt x="389" y="10"/>
                </a:lnTo>
                <a:lnTo>
                  <a:pt x="391" y="4"/>
                </a:lnTo>
                <a:lnTo>
                  <a:pt x="390" y="2"/>
                </a:lnTo>
                <a:lnTo>
                  <a:pt x="389" y="0"/>
                </a:lnTo>
                <a:lnTo>
                  <a:pt x="389" y="0"/>
                </a:lnTo>
                <a:lnTo>
                  <a:pt x="388" y="0"/>
                </a:lnTo>
                <a:lnTo>
                  <a:pt x="387" y="0"/>
                </a:lnTo>
                <a:lnTo>
                  <a:pt x="381" y="1"/>
                </a:lnTo>
                <a:lnTo>
                  <a:pt x="367" y="10"/>
                </a:lnTo>
                <a:lnTo>
                  <a:pt x="343" y="26"/>
                </a:lnTo>
                <a:lnTo>
                  <a:pt x="326" y="35"/>
                </a:lnTo>
                <a:lnTo>
                  <a:pt x="307" y="46"/>
                </a:lnTo>
                <a:lnTo>
                  <a:pt x="307" y="46"/>
                </a:lnTo>
                <a:lnTo>
                  <a:pt x="285" y="57"/>
                </a:lnTo>
                <a:lnTo>
                  <a:pt x="267" y="67"/>
                </a:lnTo>
                <a:lnTo>
                  <a:pt x="252" y="73"/>
                </a:lnTo>
                <a:lnTo>
                  <a:pt x="237" y="78"/>
                </a:lnTo>
                <a:lnTo>
                  <a:pt x="224" y="82"/>
                </a:lnTo>
                <a:lnTo>
                  <a:pt x="211" y="85"/>
                </a:lnTo>
                <a:lnTo>
                  <a:pt x="183" y="89"/>
                </a:lnTo>
                <a:lnTo>
                  <a:pt x="183" y="89"/>
                </a:lnTo>
                <a:lnTo>
                  <a:pt x="174" y="89"/>
                </a:lnTo>
                <a:lnTo>
                  <a:pt x="165" y="88"/>
                </a:lnTo>
                <a:lnTo>
                  <a:pt x="147" y="85"/>
                </a:lnTo>
                <a:lnTo>
                  <a:pt x="132" y="81"/>
                </a:lnTo>
                <a:lnTo>
                  <a:pt x="125" y="81"/>
                </a:lnTo>
                <a:lnTo>
                  <a:pt x="120" y="82"/>
                </a:lnTo>
                <a:lnTo>
                  <a:pt x="120" y="82"/>
                </a:lnTo>
                <a:lnTo>
                  <a:pt x="114" y="85"/>
                </a:lnTo>
                <a:lnTo>
                  <a:pt x="107" y="91"/>
                </a:lnTo>
                <a:lnTo>
                  <a:pt x="102" y="98"/>
                </a:lnTo>
                <a:lnTo>
                  <a:pt x="97" y="107"/>
                </a:lnTo>
                <a:lnTo>
                  <a:pt x="92" y="120"/>
                </a:lnTo>
                <a:lnTo>
                  <a:pt x="87" y="134"/>
                </a:lnTo>
                <a:lnTo>
                  <a:pt x="74" y="171"/>
                </a:lnTo>
                <a:lnTo>
                  <a:pt x="74" y="171"/>
                </a:lnTo>
                <a:lnTo>
                  <a:pt x="49" y="242"/>
                </a:lnTo>
                <a:lnTo>
                  <a:pt x="42" y="261"/>
                </a:lnTo>
                <a:lnTo>
                  <a:pt x="42" y="261"/>
                </a:lnTo>
                <a:lnTo>
                  <a:pt x="34" y="279"/>
                </a:lnTo>
                <a:lnTo>
                  <a:pt x="27" y="293"/>
                </a:lnTo>
                <a:lnTo>
                  <a:pt x="14" y="312"/>
                </a:lnTo>
                <a:lnTo>
                  <a:pt x="10" y="320"/>
                </a:lnTo>
                <a:lnTo>
                  <a:pt x="6" y="327"/>
                </a:lnTo>
                <a:lnTo>
                  <a:pt x="3" y="335"/>
                </a:lnTo>
                <a:lnTo>
                  <a:pt x="1" y="34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6" name="Freeform 33"/>
          <p:cNvSpPr>
            <a:spLocks/>
          </p:cNvSpPr>
          <p:nvPr userDrawn="1"/>
        </p:nvSpPr>
        <p:spPr bwMode="auto">
          <a:xfrm>
            <a:off x="7189787" y="1214140"/>
            <a:ext cx="39688" cy="46038"/>
          </a:xfrm>
          <a:custGeom>
            <a:avLst/>
            <a:gdLst>
              <a:gd name="T0" fmla="*/ 103 w 296"/>
              <a:gd name="T1" fmla="*/ 350 h 350"/>
              <a:gd name="T2" fmla="*/ 103 w 296"/>
              <a:gd name="T3" fmla="*/ 350 h 350"/>
              <a:gd name="T4" fmla="*/ 132 w 296"/>
              <a:gd name="T5" fmla="*/ 349 h 350"/>
              <a:gd name="T6" fmla="*/ 164 w 296"/>
              <a:gd name="T7" fmla="*/ 346 h 350"/>
              <a:gd name="T8" fmla="*/ 196 w 296"/>
              <a:gd name="T9" fmla="*/ 343 h 350"/>
              <a:gd name="T10" fmla="*/ 226 w 296"/>
              <a:gd name="T11" fmla="*/ 339 h 350"/>
              <a:gd name="T12" fmla="*/ 276 w 296"/>
              <a:gd name="T13" fmla="*/ 333 h 350"/>
              <a:gd name="T14" fmla="*/ 296 w 296"/>
              <a:gd name="T15" fmla="*/ 329 h 350"/>
              <a:gd name="T16" fmla="*/ 293 w 296"/>
              <a:gd name="T17" fmla="*/ 25 h 350"/>
              <a:gd name="T18" fmla="*/ 293 w 296"/>
              <a:gd name="T19" fmla="*/ 25 h 350"/>
              <a:gd name="T20" fmla="*/ 244 w 296"/>
              <a:gd name="T21" fmla="*/ 18 h 350"/>
              <a:gd name="T22" fmla="*/ 142 w 296"/>
              <a:gd name="T23" fmla="*/ 2 h 350"/>
              <a:gd name="T24" fmla="*/ 142 w 296"/>
              <a:gd name="T25" fmla="*/ 2 h 350"/>
              <a:gd name="T26" fmla="*/ 129 w 296"/>
              <a:gd name="T27" fmla="*/ 1 h 350"/>
              <a:gd name="T28" fmla="*/ 117 w 296"/>
              <a:gd name="T29" fmla="*/ 0 h 350"/>
              <a:gd name="T30" fmla="*/ 105 w 296"/>
              <a:gd name="T31" fmla="*/ 0 h 350"/>
              <a:gd name="T32" fmla="*/ 94 w 296"/>
              <a:gd name="T33" fmla="*/ 1 h 350"/>
              <a:gd name="T34" fmla="*/ 84 w 296"/>
              <a:gd name="T35" fmla="*/ 3 h 350"/>
              <a:gd name="T36" fmla="*/ 75 w 296"/>
              <a:gd name="T37" fmla="*/ 6 h 350"/>
              <a:gd name="T38" fmla="*/ 66 w 296"/>
              <a:gd name="T39" fmla="*/ 9 h 350"/>
              <a:gd name="T40" fmla="*/ 59 w 296"/>
              <a:gd name="T41" fmla="*/ 13 h 350"/>
              <a:gd name="T42" fmla="*/ 51 w 296"/>
              <a:gd name="T43" fmla="*/ 17 h 350"/>
              <a:gd name="T44" fmla="*/ 44 w 296"/>
              <a:gd name="T45" fmla="*/ 22 h 350"/>
              <a:gd name="T46" fmla="*/ 38 w 296"/>
              <a:gd name="T47" fmla="*/ 27 h 350"/>
              <a:gd name="T48" fmla="*/ 33 w 296"/>
              <a:gd name="T49" fmla="*/ 32 h 350"/>
              <a:gd name="T50" fmla="*/ 24 w 296"/>
              <a:gd name="T51" fmla="*/ 45 h 350"/>
              <a:gd name="T52" fmla="*/ 17 w 296"/>
              <a:gd name="T53" fmla="*/ 57 h 350"/>
              <a:gd name="T54" fmla="*/ 11 w 296"/>
              <a:gd name="T55" fmla="*/ 70 h 350"/>
              <a:gd name="T56" fmla="*/ 6 w 296"/>
              <a:gd name="T57" fmla="*/ 83 h 350"/>
              <a:gd name="T58" fmla="*/ 3 w 296"/>
              <a:gd name="T59" fmla="*/ 96 h 350"/>
              <a:gd name="T60" fmla="*/ 1 w 296"/>
              <a:gd name="T61" fmla="*/ 106 h 350"/>
              <a:gd name="T62" fmla="*/ 0 w 296"/>
              <a:gd name="T63" fmla="*/ 123 h 350"/>
              <a:gd name="T64" fmla="*/ 0 w 296"/>
              <a:gd name="T65" fmla="*/ 129 h 350"/>
              <a:gd name="T66" fmla="*/ 4 w 296"/>
              <a:gd name="T67" fmla="*/ 213 h 350"/>
              <a:gd name="T68" fmla="*/ 4 w 296"/>
              <a:gd name="T69" fmla="*/ 213 h 350"/>
              <a:gd name="T70" fmla="*/ 4 w 296"/>
              <a:gd name="T71" fmla="*/ 219 h 350"/>
              <a:gd name="T72" fmla="*/ 6 w 296"/>
              <a:gd name="T73" fmla="*/ 235 h 350"/>
              <a:gd name="T74" fmla="*/ 11 w 296"/>
              <a:gd name="T75" fmla="*/ 256 h 350"/>
              <a:gd name="T76" fmla="*/ 15 w 296"/>
              <a:gd name="T77" fmla="*/ 268 h 350"/>
              <a:gd name="T78" fmla="*/ 19 w 296"/>
              <a:gd name="T79" fmla="*/ 282 h 350"/>
              <a:gd name="T80" fmla="*/ 24 w 296"/>
              <a:gd name="T81" fmla="*/ 294 h 350"/>
              <a:gd name="T82" fmla="*/ 31 w 296"/>
              <a:gd name="T83" fmla="*/ 306 h 350"/>
              <a:gd name="T84" fmla="*/ 39 w 296"/>
              <a:gd name="T85" fmla="*/ 319 h 350"/>
              <a:gd name="T86" fmla="*/ 48 w 296"/>
              <a:gd name="T87" fmla="*/ 329 h 350"/>
              <a:gd name="T88" fmla="*/ 53 w 296"/>
              <a:gd name="T89" fmla="*/ 333 h 350"/>
              <a:gd name="T90" fmla="*/ 60 w 296"/>
              <a:gd name="T91" fmla="*/ 337 h 350"/>
              <a:gd name="T92" fmla="*/ 66 w 296"/>
              <a:gd name="T93" fmla="*/ 341 h 350"/>
              <a:gd name="T94" fmla="*/ 72 w 296"/>
              <a:gd name="T95" fmla="*/ 344 h 350"/>
              <a:gd name="T96" fmla="*/ 79 w 296"/>
              <a:gd name="T97" fmla="*/ 346 h 350"/>
              <a:gd name="T98" fmla="*/ 86 w 296"/>
              <a:gd name="T99" fmla="*/ 348 h 350"/>
              <a:gd name="T100" fmla="*/ 94 w 296"/>
              <a:gd name="T101" fmla="*/ 349 h 350"/>
              <a:gd name="T102" fmla="*/ 103 w 296"/>
              <a:gd name="T103" fmla="*/ 35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6" h="350">
                <a:moveTo>
                  <a:pt x="103" y="350"/>
                </a:moveTo>
                <a:lnTo>
                  <a:pt x="103" y="350"/>
                </a:lnTo>
                <a:lnTo>
                  <a:pt x="132" y="349"/>
                </a:lnTo>
                <a:lnTo>
                  <a:pt x="164" y="346"/>
                </a:lnTo>
                <a:lnTo>
                  <a:pt x="196" y="343"/>
                </a:lnTo>
                <a:lnTo>
                  <a:pt x="226" y="339"/>
                </a:lnTo>
                <a:lnTo>
                  <a:pt x="276" y="333"/>
                </a:lnTo>
                <a:lnTo>
                  <a:pt x="296" y="329"/>
                </a:lnTo>
                <a:lnTo>
                  <a:pt x="293" y="25"/>
                </a:lnTo>
                <a:lnTo>
                  <a:pt x="293" y="25"/>
                </a:lnTo>
                <a:lnTo>
                  <a:pt x="244" y="18"/>
                </a:lnTo>
                <a:lnTo>
                  <a:pt x="142" y="2"/>
                </a:lnTo>
                <a:lnTo>
                  <a:pt x="142" y="2"/>
                </a:lnTo>
                <a:lnTo>
                  <a:pt x="129" y="1"/>
                </a:lnTo>
                <a:lnTo>
                  <a:pt x="117" y="0"/>
                </a:lnTo>
                <a:lnTo>
                  <a:pt x="105" y="0"/>
                </a:lnTo>
                <a:lnTo>
                  <a:pt x="94" y="1"/>
                </a:lnTo>
                <a:lnTo>
                  <a:pt x="84" y="3"/>
                </a:lnTo>
                <a:lnTo>
                  <a:pt x="75" y="6"/>
                </a:lnTo>
                <a:lnTo>
                  <a:pt x="66" y="9"/>
                </a:lnTo>
                <a:lnTo>
                  <a:pt x="59" y="13"/>
                </a:lnTo>
                <a:lnTo>
                  <a:pt x="51" y="17"/>
                </a:lnTo>
                <a:lnTo>
                  <a:pt x="44" y="22"/>
                </a:lnTo>
                <a:lnTo>
                  <a:pt x="38" y="27"/>
                </a:lnTo>
                <a:lnTo>
                  <a:pt x="33" y="32"/>
                </a:lnTo>
                <a:lnTo>
                  <a:pt x="24" y="45"/>
                </a:lnTo>
                <a:lnTo>
                  <a:pt x="17" y="57"/>
                </a:lnTo>
                <a:lnTo>
                  <a:pt x="11" y="70"/>
                </a:lnTo>
                <a:lnTo>
                  <a:pt x="6" y="83"/>
                </a:lnTo>
                <a:lnTo>
                  <a:pt x="3" y="96"/>
                </a:lnTo>
                <a:lnTo>
                  <a:pt x="1" y="106"/>
                </a:lnTo>
                <a:lnTo>
                  <a:pt x="0" y="123"/>
                </a:lnTo>
                <a:lnTo>
                  <a:pt x="0" y="129"/>
                </a:lnTo>
                <a:lnTo>
                  <a:pt x="4" y="213"/>
                </a:lnTo>
                <a:lnTo>
                  <a:pt x="4" y="213"/>
                </a:lnTo>
                <a:lnTo>
                  <a:pt x="4" y="219"/>
                </a:lnTo>
                <a:lnTo>
                  <a:pt x="6" y="235"/>
                </a:lnTo>
                <a:lnTo>
                  <a:pt x="11" y="256"/>
                </a:lnTo>
                <a:lnTo>
                  <a:pt x="15" y="268"/>
                </a:lnTo>
                <a:lnTo>
                  <a:pt x="19" y="282"/>
                </a:lnTo>
                <a:lnTo>
                  <a:pt x="24" y="294"/>
                </a:lnTo>
                <a:lnTo>
                  <a:pt x="31" y="306"/>
                </a:lnTo>
                <a:lnTo>
                  <a:pt x="39" y="319"/>
                </a:lnTo>
                <a:lnTo>
                  <a:pt x="48" y="329"/>
                </a:lnTo>
                <a:lnTo>
                  <a:pt x="53" y="333"/>
                </a:lnTo>
                <a:lnTo>
                  <a:pt x="60" y="337"/>
                </a:lnTo>
                <a:lnTo>
                  <a:pt x="66" y="341"/>
                </a:lnTo>
                <a:lnTo>
                  <a:pt x="72" y="344"/>
                </a:lnTo>
                <a:lnTo>
                  <a:pt x="79" y="346"/>
                </a:lnTo>
                <a:lnTo>
                  <a:pt x="86" y="348"/>
                </a:lnTo>
                <a:lnTo>
                  <a:pt x="94" y="349"/>
                </a:lnTo>
                <a:lnTo>
                  <a:pt x="103" y="3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7" name="Freeform 34"/>
          <p:cNvSpPr>
            <a:spLocks/>
          </p:cNvSpPr>
          <p:nvPr userDrawn="1"/>
        </p:nvSpPr>
        <p:spPr bwMode="auto">
          <a:xfrm>
            <a:off x="7237412" y="1203028"/>
            <a:ext cx="60325" cy="57150"/>
          </a:xfrm>
          <a:custGeom>
            <a:avLst/>
            <a:gdLst>
              <a:gd name="T0" fmla="*/ 450 w 450"/>
              <a:gd name="T1" fmla="*/ 290 h 425"/>
              <a:gd name="T2" fmla="*/ 450 w 450"/>
              <a:gd name="T3" fmla="*/ 225 h 425"/>
              <a:gd name="T4" fmla="*/ 449 w 450"/>
              <a:gd name="T5" fmla="*/ 54 h 425"/>
              <a:gd name="T6" fmla="*/ 444 w 450"/>
              <a:gd name="T7" fmla="*/ 20 h 425"/>
              <a:gd name="T8" fmla="*/ 436 w 450"/>
              <a:gd name="T9" fmla="*/ 3 h 425"/>
              <a:gd name="T10" fmla="*/ 429 w 450"/>
              <a:gd name="T11" fmla="*/ 0 h 425"/>
              <a:gd name="T12" fmla="*/ 367 w 450"/>
              <a:gd name="T13" fmla="*/ 2 h 425"/>
              <a:gd name="T14" fmla="*/ 362 w 450"/>
              <a:gd name="T15" fmla="*/ 14 h 425"/>
              <a:gd name="T16" fmla="*/ 347 w 450"/>
              <a:gd name="T17" fmla="*/ 59 h 425"/>
              <a:gd name="T18" fmla="*/ 325 w 450"/>
              <a:gd name="T19" fmla="*/ 2 h 425"/>
              <a:gd name="T20" fmla="*/ 261 w 450"/>
              <a:gd name="T21" fmla="*/ 2 h 425"/>
              <a:gd name="T22" fmla="*/ 242 w 450"/>
              <a:gd name="T23" fmla="*/ 16 h 425"/>
              <a:gd name="T24" fmla="*/ 224 w 450"/>
              <a:gd name="T25" fmla="*/ 64 h 425"/>
              <a:gd name="T26" fmla="*/ 192 w 450"/>
              <a:gd name="T27" fmla="*/ 4 h 425"/>
              <a:gd name="T28" fmla="*/ 135 w 450"/>
              <a:gd name="T29" fmla="*/ 6 h 425"/>
              <a:gd name="T30" fmla="*/ 127 w 450"/>
              <a:gd name="T31" fmla="*/ 11 h 425"/>
              <a:gd name="T32" fmla="*/ 110 w 450"/>
              <a:gd name="T33" fmla="*/ 53 h 425"/>
              <a:gd name="T34" fmla="*/ 86 w 450"/>
              <a:gd name="T35" fmla="*/ 6 h 425"/>
              <a:gd name="T36" fmla="*/ 38 w 450"/>
              <a:gd name="T37" fmla="*/ 6 h 425"/>
              <a:gd name="T38" fmla="*/ 25 w 450"/>
              <a:gd name="T39" fmla="*/ 10 h 425"/>
              <a:gd name="T40" fmla="*/ 10 w 450"/>
              <a:gd name="T41" fmla="*/ 28 h 425"/>
              <a:gd name="T42" fmla="*/ 1 w 450"/>
              <a:gd name="T43" fmla="*/ 55 h 425"/>
              <a:gd name="T44" fmla="*/ 1 w 450"/>
              <a:gd name="T45" fmla="*/ 141 h 425"/>
              <a:gd name="T46" fmla="*/ 5 w 450"/>
              <a:gd name="T47" fmla="*/ 324 h 425"/>
              <a:gd name="T48" fmla="*/ 27 w 450"/>
              <a:gd name="T49" fmla="*/ 401 h 425"/>
              <a:gd name="T50" fmla="*/ 54 w 450"/>
              <a:gd name="T51" fmla="*/ 396 h 425"/>
              <a:gd name="T52" fmla="*/ 74 w 450"/>
              <a:gd name="T53" fmla="*/ 384 h 425"/>
              <a:gd name="T54" fmla="*/ 83 w 450"/>
              <a:gd name="T55" fmla="*/ 374 h 425"/>
              <a:gd name="T56" fmla="*/ 100 w 450"/>
              <a:gd name="T57" fmla="*/ 341 h 425"/>
              <a:gd name="T58" fmla="*/ 105 w 450"/>
              <a:gd name="T59" fmla="*/ 317 h 425"/>
              <a:gd name="T60" fmla="*/ 105 w 450"/>
              <a:gd name="T61" fmla="*/ 367 h 425"/>
              <a:gd name="T62" fmla="*/ 108 w 450"/>
              <a:gd name="T63" fmla="*/ 420 h 425"/>
              <a:gd name="T64" fmla="*/ 116 w 450"/>
              <a:gd name="T65" fmla="*/ 424 h 425"/>
              <a:gd name="T66" fmla="*/ 150 w 450"/>
              <a:gd name="T67" fmla="*/ 423 h 425"/>
              <a:gd name="T68" fmla="*/ 176 w 450"/>
              <a:gd name="T69" fmla="*/ 412 h 425"/>
              <a:gd name="T70" fmla="*/ 189 w 450"/>
              <a:gd name="T71" fmla="*/ 402 h 425"/>
              <a:gd name="T72" fmla="*/ 209 w 450"/>
              <a:gd name="T73" fmla="*/ 368 h 425"/>
              <a:gd name="T74" fmla="*/ 224 w 450"/>
              <a:gd name="T75" fmla="*/ 317 h 425"/>
              <a:gd name="T76" fmla="*/ 225 w 450"/>
              <a:gd name="T77" fmla="*/ 381 h 425"/>
              <a:gd name="T78" fmla="*/ 229 w 450"/>
              <a:gd name="T79" fmla="*/ 419 h 425"/>
              <a:gd name="T80" fmla="*/ 237 w 450"/>
              <a:gd name="T81" fmla="*/ 421 h 425"/>
              <a:gd name="T82" fmla="*/ 266 w 450"/>
              <a:gd name="T83" fmla="*/ 418 h 425"/>
              <a:gd name="T84" fmla="*/ 300 w 450"/>
              <a:gd name="T85" fmla="*/ 405 h 425"/>
              <a:gd name="T86" fmla="*/ 309 w 450"/>
              <a:gd name="T87" fmla="*/ 397 h 425"/>
              <a:gd name="T88" fmla="*/ 331 w 450"/>
              <a:gd name="T89" fmla="*/ 367 h 425"/>
              <a:gd name="T90" fmla="*/ 342 w 450"/>
              <a:gd name="T91" fmla="*/ 334 h 425"/>
              <a:gd name="T92" fmla="*/ 345 w 450"/>
              <a:gd name="T93" fmla="*/ 346 h 425"/>
              <a:gd name="T94" fmla="*/ 348 w 450"/>
              <a:gd name="T95" fmla="*/ 391 h 425"/>
              <a:gd name="T96" fmla="*/ 379 w 450"/>
              <a:gd name="T97" fmla="*/ 386 h 425"/>
              <a:gd name="T98" fmla="*/ 404 w 450"/>
              <a:gd name="T99" fmla="*/ 375 h 425"/>
              <a:gd name="T100" fmla="*/ 425 w 450"/>
              <a:gd name="T101" fmla="*/ 360 h 425"/>
              <a:gd name="T102" fmla="*/ 439 w 450"/>
              <a:gd name="T103" fmla="*/ 342 h 425"/>
              <a:gd name="T104" fmla="*/ 448 w 450"/>
              <a:gd name="T105" fmla="*/ 311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0" h="425">
                <a:moveTo>
                  <a:pt x="448" y="311"/>
                </a:moveTo>
                <a:lnTo>
                  <a:pt x="448" y="311"/>
                </a:lnTo>
                <a:lnTo>
                  <a:pt x="450" y="290"/>
                </a:lnTo>
                <a:lnTo>
                  <a:pt x="450" y="268"/>
                </a:lnTo>
                <a:lnTo>
                  <a:pt x="450" y="225"/>
                </a:lnTo>
                <a:lnTo>
                  <a:pt x="450" y="225"/>
                </a:lnTo>
                <a:lnTo>
                  <a:pt x="449" y="64"/>
                </a:lnTo>
                <a:lnTo>
                  <a:pt x="449" y="64"/>
                </a:lnTo>
                <a:lnTo>
                  <a:pt x="449" y="54"/>
                </a:lnTo>
                <a:lnTo>
                  <a:pt x="448" y="44"/>
                </a:lnTo>
                <a:lnTo>
                  <a:pt x="447" y="33"/>
                </a:lnTo>
                <a:lnTo>
                  <a:pt x="444" y="20"/>
                </a:lnTo>
                <a:lnTo>
                  <a:pt x="441" y="10"/>
                </a:lnTo>
                <a:lnTo>
                  <a:pt x="439" y="6"/>
                </a:lnTo>
                <a:lnTo>
                  <a:pt x="436" y="3"/>
                </a:lnTo>
                <a:lnTo>
                  <a:pt x="433" y="1"/>
                </a:lnTo>
                <a:lnTo>
                  <a:pt x="429" y="0"/>
                </a:lnTo>
                <a:lnTo>
                  <a:pt x="429" y="0"/>
                </a:lnTo>
                <a:lnTo>
                  <a:pt x="396" y="0"/>
                </a:lnTo>
                <a:lnTo>
                  <a:pt x="378" y="1"/>
                </a:lnTo>
                <a:lnTo>
                  <a:pt x="367" y="2"/>
                </a:lnTo>
                <a:lnTo>
                  <a:pt x="367" y="2"/>
                </a:lnTo>
                <a:lnTo>
                  <a:pt x="364" y="7"/>
                </a:lnTo>
                <a:lnTo>
                  <a:pt x="362" y="14"/>
                </a:lnTo>
                <a:lnTo>
                  <a:pt x="356" y="33"/>
                </a:lnTo>
                <a:lnTo>
                  <a:pt x="350" y="52"/>
                </a:lnTo>
                <a:lnTo>
                  <a:pt x="347" y="59"/>
                </a:lnTo>
                <a:lnTo>
                  <a:pt x="345" y="64"/>
                </a:lnTo>
                <a:lnTo>
                  <a:pt x="325" y="2"/>
                </a:lnTo>
                <a:lnTo>
                  <a:pt x="325" y="2"/>
                </a:lnTo>
                <a:lnTo>
                  <a:pt x="309" y="1"/>
                </a:lnTo>
                <a:lnTo>
                  <a:pt x="286" y="1"/>
                </a:lnTo>
                <a:lnTo>
                  <a:pt x="261" y="2"/>
                </a:lnTo>
                <a:lnTo>
                  <a:pt x="247" y="4"/>
                </a:lnTo>
                <a:lnTo>
                  <a:pt x="247" y="4"/>
                </a:lnTo>
                <a:lnTo>
                  <a:pt x="242" y="16"/>
                </a:lnTo>
                <a:lnTo>
                  <a:pt x="236" y="34"/>
                </a:lnTo>
                <a:lnTo>
                  <a:pt x="229" y="52"/>
                </a:lnTo>
                <a:lnTo>
                  <a:pt x="224" y="64"/>
                </a:lnTo>
                <a:lnTo>
                  <a:pt x="205" y="5"/>
                </a:lnTo>
                <a:lnTo>
                  <a:pt x="205" y="5"/>
                </a:lnTo>
                <a:lnTo>
                  <a:pt x="192" y="4"/>
                </a:lnTo>
                <a:lnTo>
                  <a:pt x="168" y="4"/>
                </a:lnTo>
                <a:lnTo>
                  <a:pt x="144" y="5"/>
                </a:lnTo>
                <a:lnTo>
                  <a:pt x="135" y="6"/>
                </a:lnTo>
                <a:lnTo>
                  <a:pt x="131" y="6"/>
                </a:lnTo>
                <a:lnTo>
                  <a:pt x="131" y="6"/>
                </a:lnTo>
                <a:lnTo>
                  <a:pt x="127" y="11"/>
                </a:lnTo>
                <a:lnTo>
                  <a:pt x="124" y="18"/>
                </a:lnTo>
                <a:lnTo>
                  <a:pt x="117" y="36"/>
                </a:lnTo>
                <a:lnTo>
                  <a:pt x="110" y="53"/>
                </a:lnTo>
                <a:lnTo>
                  <a:pt x="105" y="64"/>
                </a:lnTo>
                <a:lnTo>
                  <a:pt x="86" y="6"/>
                </a:lnTo>
                <a:lnTo>
                  <a:pt x="86" y="6"/>
                </a:lnTo>
                <a:lnTo>
                  <a:pt x="69" y="6"/>
                </a:lnTo>
                <a:lnTo>
                  <a:pt x="38" y="6"/>
                </a:lnTo>
                <a:lnTo>
                  <a:pt x="38" y="6"/>
                </a:lnTo>
                <a:lnTo>
                  <a:pt x="33" y="7"/>
                </a:lnTo>
                <a:lnTo>
                  <a:pt x="29" y="8"/>
                </a:lnTo>
                <a:lnTo>
                  <a:pt x="25" y="10"/>
                </a:lnTo>
                <a:lnTo>
                  <a:pt x="21" y="12"/>
                </a:lnTo>
                <a:lnTo>
                  <a:pt x="15" y="19"/>
                </a:lnTo>
                <a:lnTo>
                  <a:pt x="10" y="28"/>
                </a:lnTo>
                <a:lnTo>
                  <a:pt x="5" y="36"/>
                </a:lnTo>
                <a:lnTo>
                  <a:pt x="2" y="46"/>
                </a:lnTo>
                <a:lnTo>
                  <a:pt x="1" y="55"/>
                </a:lnTo>
                <a:lnTo>
                  <a:pt x="0" y="63"/>
                </a:lnTo>
                <a:lnTo>
                  <a:pt x="0" y="63"/>
                </a:lnTo>
                <a:lnTo>
                  <a:pt x="1" y="141"/>
                </a:lnTo>
                <a:lnTo>
                  <a:pt x="2" y="220"/>
                </a:lnTo>
                <a:lnTo>
                  <a:pt x="2" y="220"/>
                </a:lnTo>
                <a:lnTo>
                  <a:pt x="5" y="324"/>
                </a:lnTo>
                <a:lnTo>
                  <a:pt x="8" y="402"/>
                </a:lnTo>
                <a:lnTo>
                  <a:pt x="8" y="402"/>
                </a:lnTo>
                <a:lnTo>
                  <a:pt x="27" y="401"/>
                </a:lnTo>
                <a:lnTo>
                  <a:pt x="37" y="399"/>
                </a:lnTo>
                <a:lnTo>
                  <a:pt x="45" y="398"/>
                </a:lnTo>
                <a:lnTo>
                  <a:pt x="54" y="396"/>
                </a:lnTo>
                <a:lnTo>
                  <a:pt x="62" y="393"/>
                </a:lnTo>
                <a:lnTo>
                  <a:pt x="68" y="388"/>
                </a:lnTo>
                <a:lnTo>
                  <a:pt x="74" y="384"/>
                </a:lnTo>
                <a:lnTo>
                  <a:pt x="74" y="384"/>
                </a:lnTo>
                <a:lnTo>
                  <a:pt x="79" y="379"/>
                </a:lnTo>
                <a:lnTo>
                  <a:pt x="83" y="374"/>
                </a:lnTo>
                <a:lnTo>
                  <a:pt x="90" y="363"/>
                </a:lnTo>
                <a:lnTo>
                  <a:pt x="95" y="352"/>
                </a:lnTo>
                <a:lnTo>
                  <a:pt x="100" y="341"/>
                </a:lnTo>
                <a:lnTo>
                  <a:pt x="103" y="331"/>
                </a:lnTo>
                <a:lnTo>
                  <a:pt x="104" y="324"/>
                </a:lnTo>
                <a:lnTo>
                  <a:pt x="105" y="317"/>
                </a:lnTo>
                <a:lnTo>
                  <a:pt x="105" y="317"/>
                </a:lnTo>
                <a:lnTo>
                  <a:pt x="105" y="337"/>
                </a:lnTo>
                <a:lnTo>
                  <a:pt x="105" y="367"/>
                </a:lnTo>
                <a:lnTo>
                  <a:pt x="106" y="397"/>
                </a:lnTo>
                <a:lnTo>
                  <a:pt x="108" y="420"/>
                </a:lnTo>
                <a:lnTo>
                  <a:pt x="108" y="420"/>
                </a:lnTo>
                <a:lnTo>
                  <a:pt x="108" y="421"/>
                </a:lnTo>
                <a:lnTo>
                  <a:pt x="110" y="422"/>
                </a:lnTo>
                <a:lnTo>
                  <a:pt x="116" y="424"/>
                </a:lnTo>
                <a:lnTo>
                  <a:pt x="125" y="425"/>
                </a:lnTo>
                <a:lnTo>
                  <a:pt x="136" y="425"/>
                </a:lnTo>
                <a:lnTo>
                  <a:pt x="150" y="423"/>
                </a:lnTo>
                <a:lnTo>
                  <a:pt x="163" y="418"/>
                </a:lnTo>
                <a:lnTo>
                  <a:pt x="169" y="415"/>
                </a:lnTo>
                <a:lnTo>
                  <a:pt x="176" y="412"/>
                </a:lnTo>
                <a:lnTo>
                  <a:pt x="182" y="407"/>
                </a:lnTo>
                <a:lnTo>
                  <a:pt x="189" y="402"/>
                </a:lnTo>
                <a:lnTo>
                  <a:pt x="189" y="402"/>
                </a:lnTo>
                <a:lnTo>
                  <a:pt x="197" y="392"/>
                </a:lnTo>
                <a:lnTo>
                  <a:pt x="204" y="380"/>
                </a:lnTo>
                <a:lnTo>
                  <a:pt x="209" y="368"/>
                </a:lnTo>
                <a:lnTo>
                  <a:pt x="213" y="356"/>
                </a:lnTo>
                <a:lnTo>
                  <a:pt x="220" y="333"/>
                </a:lnTo>
                <a:lnTo>
                  <a:pt x="224" y="317"/>
                </a:lnTo>
                <a:lnTo>
                  <a:pt x="224" y="317"/>
                </a:lnTo>
                <a:lnTo>
                  <a:pt x="224" y="348"/>
                </a:lnTo>
                <a:lnTo>
                  <a:pt x="225" y="381"/>
                </a:lnTo>
                <a:lnTo>
                  <a:pt x="227" y="408"/>
                </a:lnTo>
                <a:lnTo>
                  <a:pt x="228" y="417"/>
                </a:lnTo>
                <a:lnTo>
                  <a:pt x="229" y="419"/>
                </a:lnTo>
                <a:lnTo>
                  <a:pt x="230" y="420"/>
                </a:lnTo>
                <a:lnTo>
                  <a:pt x="230" y="420"/>
                </a:lnTo>
                <a:lnTo>
                  <a:pt x="237" y="421"/>
                </a:lnTo>
                <a:lnTo>
                  <a:pt x="245" y="421"/>
                </a:lnTo>
                <a:lnTo>
                  <a:pt x="255" y="420"/>
                </a:lnTo>
                <a:lnTo>
                  <a:pt x="266" y="418"/>
                </a:lnTo>
                <a:lnTo>
                  <a:pt x="277" y="415"/>
                </a:lnTo>
                <a:lnTo>
                  <a:pt x="289" y="411"/>
                </a:lnTo>
                <a:lnTo>
                  <a:pt x="300" y="405"/>
                </a:lnTo>
                <a:lnTo>
                  <a:pt x="305" y="401"/>
                </a:lnTo>
                <a:lnTo>
                  <a:pt x="309" y="397"/>
                </a:lnTo>
                <a:lnTo>
                  <a:pt x="309" y="397"/>
                </a:lnTo>
                <a:lnTo>
                  <a:pt x="317" y="387"/>
                </a:lnTo>
                <a:lnTo>
                  <a:pt x="325" y="377"/>
                </a:lnTo>
                <a:lnTo>
                  <a:pt x="331" y="367"/>
                </a:lnTo>
                <a:lnTo>
                  <a:pt x="336" y="356"/>
                </a:lnTo>
                <a:lnTo>
                  <a:pt x="339" y="345"/>
                </a:lnTo>
                <a:lnTo>
                  <a:pt x="342" y="334"/>
                </a:lnTo>
                <a:lnTo>
                  <a:pt x="345" y="317"/>
                </a:lnTo>
                <a:lnTo>
                  <a:pt x="345" y="317"/>
                </a:lnTo>
                <a:lnTo>
                  <a:pt x="345" y="346"/>
                </a:lnTo>
                <a:lnTo>
                  <a:pt x="346" y="370"/>
                </a:lnTo>
                <a:lnTo>
                  <a:pt x="348" y="391"/>
                </a:lnTo>
                <a:lnTo>
                  <a:pt x="348" y="391"/>
                </a:lnTo>
                <a:lnTo>
                  <a:pt x="362" y="390"/>
                </a:lnTo>
                <a:lnTo>
                  <a:pt x="371" y="388"/>
                </a:lnTo>
                <a:lnTo>
                  <a:pt x="379" y="386"/>
                </a:lnTo>
                <a:lnTo>
                  <a:pt x="379" y="386"/>
                </a:lnTo>
                <a:lnTo>
                  <a:pt x="393" y="380"/>
                </a:lnTo>
                <a:lnTo>
                  <a:pt x="404" y="375"/>
                </a:lnTo>
                <a:lnTo>
                  <a:pt x="415" y="368"/>
                </a:lnTo>
                <a:lnTo>
                  <a:pt x="415" y="368"/>
                </a:lnTo>
                <a:lnTo>
                  <a:pt x="425" y="360"/>
                </a:lnTo>
                <a:lnTo>
                  <a:pt x="430" y="355"/>
                </a:lnTo>
                <a:lnTo>
                  <a:pt x="435" y="349"/>
                </a:lnTo>
                <a:lnTo>
                  <a:pt x="439" y="342"/>
                </a:lnTo>
                <a:lnTo>
                  <a:pt x="443" y="333"/>
                </a:lnTo>
                <a:lnTo>
                  <a:pt x="446" y="323"/>
                </a:lnTo>
                <a:lnTo>
                  <a:pt x="448" y="3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8" name="Freeform 35"/>
          <p:cNvSpPr>
            <a:spLocks/>
          </p:cNvSpPr>
          <p:nvPr userDrawn="1"/>
        </p:nvSpPr>
        <p:spPr bwMode="auto">
          <a:xfrm>
            <a:off x="7245350" y="1206203"/>
            <a:ext cx="73025" cy="80963"/>
          </a:xfrm>
          <a:custGeom>
            <a:avLst/>
            <a:gdLst>
              <a:gd name="T0" fmla="*/ 554 w 554"/>
              <a:gd name="T1" fmla="*/ 356 h 620"/>
              <a:gd name="T2" fmla="*/ 549 w 554"/>
              <a:gd name="T3" fmla="*/ 350 h 620"/>
              <a:gd name="T4" fmla="*/ 535 w 554"/>
              <a:gd name="T5" fmla="*/ 331 h 620"/>
              <a:gd name="T6" fmla="*/ 525 w 554"/>
              <a:gd name="T7" fmla="*/ 306 h 620"/>
              <a:gd name="T8" fmla="*/ 520 w 554"/>
              <a:gd name="T9" fmla="*/ 285 h 620"/>
              <a:gd name="T10" fmla="*/ 516 w 554"/>
              <a:gd name="T11" fmla="*/ 258 h 620"/>
              <a:gd name="T12" fmla="*/ 515 w 554"/>
              <a:gd name="T13" fmla="*/ 243 h 620"/>
              <a:gd name="T14" fmla="*/ 516 w 554"/>
              <a:gd name="T15" fmla="*/ 222 h 620"/>
              <a:gd name="T16" fmla="*/ 520 w 554"/>
              <a:gd name="T17" fmla="*/ 202 h 620"/>
              <a:gd name="T18" fmla="*/ 532 w 554"/>
              <a:gd name="T19" fmla="*/ 167 h 620"/>
              <a:gd name="T20" fmla="*/ 546 w 554"/>
              <a:gd name="T21" fmla="*/ 142 h 620"/>
              <a:gd name="T22" fmla="*/ 551 w 554"/>
              <a:gd name="T23" fmla="*/ 43 h 620"/>
              <a:gd name="T24" fmla="*/ 542 w 554"/>
              <a:gd name="T25" fmla="*/ 36 h 620"/>
              <a:gd name="T26" fmla="*/ 504 w 554"/>
              <a:gd name="T27" fmla="*/ 13 h 620"/>
              <a:gd name="T28" fmla="*/ 482 w 554"/>
              <a:gd name="T29" fmla="*/ 2 h 620"/>
              <a:gd name="T30" fmla="*/ 470 w 554"/>
              <a:gd name="T31" fmla="*/ 0 h 620"/>
              <a:gd name="T32" fmla="*/ 465 w 554"/>
              <a:gd name="T33" fmla="*/ 327 h 620"/>
              <a:gd name="T34" fmla="*/ 465 w 554"/>
              <a:gd name="T35" fmla="*/ 339 h 620"/>
              <a:gd name="T36" fmla="*/ 458 w 554"/>
              <a:gd name="T37" fmla="*/ 360 h 620"/>
              <a:gd name="T38" fmla="*/ 444 w 554"/>
              <a:gd name="T39" fmla="*/ 382 h 620"/>
              <a:gd name="T40" fmla="*/ 426 w 554"/>
              <a:gd name="T41" fmla="*/ 402 h 620"/>
              <a:gd name="T42" fmla="*/ 405 w 554"/>
              <a:gd name="T43" fmla="*/ 421 h 620"/>
              <a:gd name="T44" fmla="*/ 380 w 554"/>
              <a:gd name="T45" fmla="*/ 437 h 620"/>
              <a:gd name="T46" fmla="*/ 353 w 554"/>
              <a:gd name="T47" fmla="*/ 449 h 620"/>
              <a:gd name="T48" fmla="*/ 327 w 554"/>
              <a:gd name="T49" fmla="*/ 458 h 620"/>
              <a:gd name="T50" fmla="*/ 314 w 554"/>
              <a:gd name="T51" fmla="*/ 461 h 620"/>
              <a:gd name="T52" fmla="*/ 255 w 554"/>
              <a:gd name="T53" fmla="*/ 471 h 620"/>
              <a:gd name="T54" fmla="*/ 199 w 554"/>
              <a:gd name="T55" fmla="*/ 477 h 620"/>
              <a:gd name="T56" fmla="*/ 98 w 554"/>
              <a:gd name="T57" fmla="*/ 482 h 620"/>
              <a:gd name="T58" fmla="*/ 27 w 554"/>
              <a:gd name="T59" fmla="*/ 482 h 620"/>
              <a:gd name="T60" fmla="*/ 0 w 554"/>
              <a:gd name="T61" fmla="*/ 481 h 620"/>
              <a:gd name="T62" fmla="*/ 4 w 554"/>
              <a:gd name="T63" fmla="*/ 508 h 620"/>
              <a:gd name="T64" fmla="*/ 13 w 554"/>
              <a:gd name="T65" fmla="*/ 550 h 620"/>
              <a:gd name="T66" fmla="*/ 18 w 554"/>
              <a:gd name="T67" fmla="*/ 566 h 620"/>
              <a:gd name="T68" fmla="*/ 29 w 554"/>
              <a:gd name="T69" fmla="*/ 586 h 620"/>
              <a:gd name="T70" fmla="*/ 44 w 554"/>
              <a:gd name="T71" fmla="*/ 604 h 620"/>
              <a:gd name="T72" fmla="*/ 62 w 554"/>
              <a:gd name="T73" fmla="*/ 620 h 620"/>
              <a:gd name="T74" fmla="*/ 554 w 554"/>
              <a:gd name="T75" fmla="*/ 450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4" h="620">
                <a:moveTo>
                  <a:pt x="554" y="450"/>
                </a:moveTo>
                <a:lnTo>
                  <a:pt x="554" y="356"/>
                </a:lnTo>
                <a:lnTo>
                  <a:pt x="554" y="356"/>
                </a:lnTo>
                <a:lnTo>
                  <a:pt x="549" y="350"/>
                </a:lnTo>
                <a:lnTo>
                  <a:pt x="543" y="342"/>
                </a:lnTo>
                <a:lnTo>
                  <a:pt x="535" y="331"/>
                </a:lnTo>
                <a:lnTo>
                  <a:pt x="528" y="315"/>
                </a:lnTo>
                <a:lnTo>
                  <a:pt x="525" y="306"/>
                </a:lnTo>
                <a:lnTo>
                  <a:pt x="522" y="296"/>
                </a:lnTo>
                <a:lnTo>
                  <a:pt x="520" y="285"/>
                </a:lnTo>
                <a:lnTo>
                  <a:pt x="517" y="271"/>
                </a:lnTo>
                <a:lnTo>
                  <a:pt x="516" y="258"/>
                </a:lnTo>
                <a:lnTo>
                  <a:pt x="515" y="243"/>
                </a:lnTo>
                <a:lnTo>
                  <a:pt x="515" y="243"/>
                </a:lnTo>
                <a:lnTo>
                  <a:pt x="515" y="232"/>
                </a:lnTo>
                <a:lnTo>
                  <a:pt x="516" y="222"/>
                </a:lnTo>
                <a:lnTo>
                  <a:pt x="517" y="212"/>
                </a:lnTo>
                <a:lnTo>
                  <a:pt x="520" y="202"/>
                </a:lnTo>
                <a:lnTo>
                  <a:pt x="526" y="183"/>
                </a:lnTo>
                <a:lnTo>
                  <a:pt x="532" y="167"/>
                </a:lnTo>
                <a:lnTo>
                  <a:pt x="540" y="154"/>
                </a:lnTo>
                <a:lnTo>
                  <a:pt x="546" y="142"/>
                </a:lnTo>
                <a:lnTo>
                  <a:pt x="552" y="133"/>
                </a:lnTo>
                <a:lnTo>
                  <a:pt x="551" y="43"/>
                </a:lnTo>
                <a:lnTo>
                  <a:pt x="551" y="43"/>
                </a:lnTo>
                <a:lnTo>
                  <a:pt x="542" y="36"/>
                </a:lnTo>
                <a:lnTo>
                  <a:pt x="518" y="21"/>
                </a:lnTo>
                <a:lnTo>
                  <a:pt x="504" y="13"/>
                </a:lnTo>
                <a:lnTo>
                  <a:pt x="489" y="5"/>
                </a:lnTo>
                <a:lnTo>
                  <a:pt x="482" y="2"/>
                </a:lnTo>
                <a:lnTo>
                  <a:pt x="476" y="1"/>
                </a:lnTo>
                <a:lnTo>
                  <a:pt x="470" y="0"/>
                </a:lnTo>
                <a:lnTo>
                  <a:pt x="464" y="0"/>
                </a:lnTo>
                <a:lnTo>
                  <a:pt x="465" y="327"/>
                </a:lnTo>
                <a:lnTo>
                  <a:pt x="465" y="327"/>
                </a:lnTo>
                <a:lnTo>
                  <a:pt x="465" y="339"/>
                </a:lnTo>
                <a:lnTo>
                  <a:pt x="462" y="349"/>
                </a:lnTo>
                <a:lnTo>
                  <a:pt x="458" y="360"/>
                </a:lnTo>
                <a:lnTo>
                  <a:pt x="452" y="370"/>
                </a:lnTo>
                <a:lnTo>
                  <a:pt x="444" y="382"/>
                </a:lnTo>
                <a:lnTo>
                  <a:pt x="436" y="392"/>
                </a:lnTo>
                <a:lnTo>
                  <a:pt x="426" y="402"/>
                </a:lnTo>
                <a:lnTo>
                  <a:pt x="416" y="411"/>
                </a:lnTo>
                <a:lnTo>
                  <a:pt x="405" y="421"/>
                </a:lnTo>
                <a:lnTo>
                  <a:pt x="392" y="429"/>
                </a:lnTo>
                <a:lnTo>
                  <a:pt x="380" y="437"/>
                </a:lnTo>
                <a:lnTo>
                  <a:pt x="367" y="443"/>
                </a:lnTo>
                <a:lnTo>
                  <a:pt x="353" y="449"/>
                </a:lnTo>
                <a:lnTo>
                  <a:pt x="340" y="454"/>
                </a:lnTo>
                <a:lnTo>
                  <a:pt x="327" y="458"/>
                </a:lnTo>
                <a:lnTo>
                  <a:pt x="314" y="461"/>
                </a:lnTo>
                <a:lnTo>
                  <a:pt x="314" y="461"/>
                </a:lnTo>
                <a:lnTo>
                  <a:pt x="284" y="467"/>
                </a:lnTo>
                <a:lnTo>
                  <a:pt x="255" y="471"/>
                </a:lnTo>
                <a:lnTo>
                  <a:pt x="227" y="474"/>
                </a:lnTo>
                <a:lnTo>
                  <a:pt x="199" y="477"/>
                </a:lnTo>
                <a:lnTo>
                  <a:pt x="146" y="480"/>
                </a:lnTo>
                <a:lnTo>
                  <a:pt x="98" y="482"/>
                </a:lnTo>
                <a:lnTo>
                  <a:pt x="58" y="482"/>
                </a:lnTo>
                <a:lnTo>
                  <a:pt x="27" y="482"/>
                </a:lnTo>
                <a:lnTo>
                  <a:pt x="0" y="481"/>
                </a:lnTo>
                <a:lnTo>
                  <a:pt x="0" y="481"/>
                </a:lnTo>
                <a:lnTo>
                  <a:pt x="1" y="488"/>
                </a:lnTo>
                <a:lnTo>
                  <a:pt x="4" y="508"/>
                </a:lnTo>
                <a:lnTo>
                  <a:pt x="10" y="535"/>
                </a:lnTo>
                <a:lnTo>
                  <a:pt x="13" y="550"/>
                </a:lnTo>
                <a:lnTo>
                  <a:pt x="18" y="566"/>
                </a:lnTo>
                <a:lnTo>
                  <a:pt x="18" y="566"/>
                </a:lnTo>
                <a:lnTo>
                  <a:pt x="23" y="576"/>
                </a:lnTo>
                <a:lnTo>
                  <a:pt x="29" y="586"/>
                </a:lnTo>
                <a:lnTo>
                  <a:pt x="36" y="595"/>
                </a:lnTo>
                <a:lnTo>
                  <a:pt x="44" y="604"/>
                </a:lnTo>
                <a:lnTo>
                  <a:pt x="57" y="616"/>
                </a:lnTo>
                <a:lnTo>
                  <a:pt x="62" y="620"/>
                </a:lnTo>
                <a:lnTo>
                  <a:pt x="451" y="620"/>
                </a:lnTo>
                <a:lnTo>
                  <a:pt x="554" y="4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9" name="Freeform 36"/>
          <p:cNvSpPr>
            <a:spLocks/>
          </p:cNvSpPr>
          <p:nvPr userDrawn="1"/>
        </p:nvSpPr>
        <p:spPr bwMode="auto">
          <a:xfrm>
            <a:off x="7251700" y="1298278"/>
            <a:ext cx="57150" cy="17463"/>
          </a:xfrm>
          <a:custGeom>
            <a:avLst/>
            <a:gdLst>
              <a:gd name="T0" fmla="*/ 20 w 435"/>
              <a:gd name="T1" fmla="*/ 142 h 142"/>
              <a:gd name="T2" fmla="*/ 411 w 435"/>
              <a:gd name="T3" fmla="*/ 142 h 142"/>
              <a:gd name="T4" fmla="*/ 411 w 435"/>
              <a:gd name="T5" fmla="*/ 142 h 142"/>
              <a:gd name="T6" fmla="*/ 422 w 435"/>
              <a:gd name="T7" fmla="*/ 109 h 142"/>
              <a:gd name="T8" fmla="*/ 430 w 435"/>
              <a:gd name="T9" fmla="*/ 83 h 142"/>
              <a:gd name="T10" fmla="*/ 433 w 435"/>
              <a:gd name="T11" fmla="*/ 72 h 142"/>
              <a:gd name="T12" fmla="*/ 435 w 435"/>
              <a:gd name="T13" fmla="*/ 63 h 142"/>
              <a:gd name="T14" fmla="*/ 417 w 435"/>
              <a:gd name="T15" fmla="*/ 0 h 142"/>
              <a:gd name="T16" fmla="*/ 22 w 435"/>
              <a:gd name="T17" fmla="*/ 0 h 142"/>
              <a:gd name="T18" fmla="*/ 0 w 435"/>
              <a:gd name="T19" fmla="*/ 65 h 142"/>
              <a:gd name="T20" fmla="*/ 20 w 435"/>
              <a:gd name="T2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5" h="142">
                <a:moveTo>
                  <a:pt x="20" y="142"/>
                </a:moveTo>
                <a:lnTo>
                  <a:pt x="411" y="142"/>
                </a:lnTo>
                <a:lnTo>
                  <a:pt x="411" y="142"/>
                </a:lnTo>
                <a:lnTo>
                  <a:pt x="422" y="109"/>
                </a:lnTo>
                <a:lnTo>
                  <a:pt x="430" y="83"/>
                </a:lnTo>
                <a:lnTo>
                  <a:pt x="433" y="72"/>
                </a:lnTo>
                <a:lnTo>
                  <a:pt x="435" y="63"/>
                </a:lnTo>
                <a:lnTo>
                  <a:pt x="417" y="0"/>
                </a:lnTo>
                <a:lnTo>
                  <a:pt x="22" y="0"/>
                </a:lnTo>
                <a:lnTo>
                  <a:pt x="0" y="65"/>
                </a:lnTo>
                <a:lnTo>
                  <a:pt x="20" y="1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0" name="Freeform 37"/>
          <p:cNvSpPr>
            <a:spLocks/>
          </p:cNvSpPr>
          <p:nvPr userDrawn="1"/>
        </p:nvSpPr>
        <p:spPr bwMode="auto">
          <a:xfrm>
            <a:off x="7254875" y="1326853"/>
            <a:ext cx="57150" cy="66675"/>
          </a:xfrm>
          <a:custGeom>
            <a:avLst/>
            <a:gdLst>
              <a:gd name="T0" fmla="*/ 384 w 436"/>
              <a:gd name="T1" fmla="*/ 0 h 514"/>
              <a:gd name="T2" fmla="*/ 2 w 436"/>
              <a:gd name="T3" fmla="*/ 0 h 514"/>
              <a:gd name="T4" fmla="*/ 0 w 436"/>
              <a:gd name="T5" fmla="*/ 505 h 514"/>
              <a:gd name="T6" fmla="*/ 331 w 436"/>
              <a:gd name="T7" fmla="*/ 514 h 514"/>
              <a:gd name="T8" fmla="*/ 436 w 436"/>
              <a:gd name="T9" fmla="*/ 431 h 514"/>
              <a:gd name="T10" fmla="*/ 384 w 436"/>
              <a:gd name="T11" fmla="*/ 0 h 514"/>
            </a:gdLst>
            <a:ahLst/>
            <a:cxnLst>
              <a:cxn ang="0">
                <a:pos x="T0" y="T1"/>
              </a:cxn>
              <a:cxn ang="0">
                <a:pos x="T2" y="T3"/>
              </a:cxn>
              <a:cxn ang="0">
                <a:pos x="T4" y="T5"/>
              </a:cxn>
              <a:cxn ang="0">
                <a:pos x="T6" y="T7"/>
              </a:cxn>
              <a:cxn ang="0">
                <a:pos x="T8" y="T9"/>
              </a:cxn>
              <a:cxn ang="0">
                <a:pos x="T10" y="T11"/>
              </a:cxn>
            </a:cxnLst>
            <a:rect l="0" t="0" r="r" b="b"/>
            <a:pathLst>
              <a:path w="436" h="514">
                <a:moveTo>
                  <a:pt x="384" y="0"/>
                </a:moveTo>
                <a:lnTo>
                  <a:pt x="2" y="0"/>
                </a:lnTo>
                <a:lnTo>
                  <a:pt x="0" y="505"/>
                </a:lnTo>
                <a:lnTo>
                  <a:pt x="331" y="514"/>
                </a:lnTo>
                <a:lnTo>
                  <a:pt x="436" y="431"/>
                </a:lnTo>
                <a:lnTo>
                  <a:pt x="3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1" name="Freeform 38"/>
          <p:cNvSpPr>
            <a:spLocks/>
          </p:cNvSpPr>
          <p:nvPr userDrawn="1"/>
        </p:nvSpPr>
        <p:spPr bwMode="auto">
          <a:xfrm>
            <a:off x="7251700" y="1391940"/>
            <a:ext cx="77788" cy="68263"/>
          </a:xfrm>
          <a:custGeom>
            <a:avLst/>
            <a:gdLst>
              <a:gd name="T0" fmla="*/ 586 w 586"/>
              <a:gd name="T1" fmla="*/ 139 h 523"/>
              <a:gd name="T2" fmla="*/ 586 w 586"/>
              <a:gd name="T3" fmla="*/ 139 h 523"/>
              <a:gd name="T4" fmla="*/ 552 w 586"/>
              <a:gd name="T5" fmla="*/ 115 h 523"/>
              <a:gd name="T6" fmla="*/ 527 w 586"/>
              <a:gd name="T7" fmla="*/ 97 h 523"/>
              <a:gd name="T8" fmla="*/ 519 w 586"/>
              <a:gd name="T9" fmla="*/ 90 h 523"/>
              <a:gd name="T10" fmla="*/ 514 w 586"/>
              <a:gd name="T11" fmla="*/ 85 h 523"/>
              <a:gd name="T12" fmla="*/ 514 w 586"/>
              <a:gd name="T13" fmla="*/ 85 h 523"/>
              <a:gd name="T14" fmla="*/ 512 w 586"/>
              <a:gd name="T15" fmla="*/ 79 h 523"/>
              <a:gd name="T16" fmla="*/ 510 w 586"/>
              <a:gd name="T17" fmla="*/ 69 h 523"/>
              <a:gd name="T18" fmla="*/ 506 w 586"/>
              <a:gd name="T19" fmla="*/ 40 h 523"/>
              <a:gd name="T20" fmla="*/ 503 w 586"/>
              <a:gd name="T21" fmla="*/ 0 h 523"/>
              <a:gd name="T22" fmla="*/ 381 w 586"/>
              <a:gd name="T23" fmla="*/ 98 h 523"/>
              <a:gd name="T24" fmla="*/ 8 w 586"/>
              <a:gd name="T25" fmla="*/ 97 h 523"/>
              <a:gd name="T26" fmla="*/ 8 w 586"/>
              <a:gd name="T27" fmla="*/ 97 h 523"/>
              <a:gd name="T28" fmla="*/ 8 w 586"/>
              <a:gd name="T29" fmla="*/ 98 h 523"/>
              <a:gd name="T30" fmla="*/ 7 w 586"/>
              <a:gd name="T31" fmla="*/ 100 h 523"/>
              <a:gd name="T32" fmla="*/ 5 w 586"/>
              <a:gd name="T33" fmla="*/ 108 h 523"/>
              <a:gd name="T34" fmla="*/ 3 w 586"/>
              <a:gd name="T35" fmla="*/ 139 h 523"/>
              <a:gd name="T36" fmla="*/ 2 w 586"/>
              <a:gd name="T37" fmla="*/ 183 h 523"/>
              <a:gd name="T38" fmla="*/ 1 w 586"/>
              <a:gd name="T39" fmla="*/ 233 h 523"/>
              <a:gd name="T40" fmla="*/ 0 w 586"/>
              <a:gd name="T41" fmla="*/ 327 h 523"/>
              <a:gd name="T42" fmla="*/ 0 w 586"/>
              <a:gd name="T43" fmla="*/ 369 h 523"/>
              <a:gd name="T44" fmla="*/ 0 w 586"/>
              <a:gd name="T45" fmla="*/ 369 h 523"/>
              <a:gd name="T46" fmla="*/ 29 w 586"/>
              <a:gd name="T47" fmla="*/ 395 h 523"/>
              <a:gd name="T48" fmla="*/ 95 w 586"/>
              <a:gd name="T49" fmla="*/ 448 h 523"/>
              <a:gd name="T50" fmla="*/ 131 w 586"/>
              <a:gd name="T51" fmla="*/ 477 h 523"/>
              <a:gd name="T52" fmla="*/ 162 w 586"/>
              <a:gd name="T53" fmla="*/ 501 h 523"/>
              <a:gd name="T54" fmla="*/ 186 w 586"/>
              <a:gd name="T55" fmla="*/ 517 h 523"/>
              <a:gd name="T56" fmla="*/ 193 w 586"/>
              <a:gd name="T57" fmla="*/ 522 h 523"/>
              <a:gd name="T58" fmla="*/ 195 w 586"/>
              <a:gd name="T59" fmla="*/ 523 h 523"/>
              <a:gd name="T60" fmla="*/ 197 w 586"/>
              <a:gd name="T61" fmla="*/ 523 h 523"/>
              <a:gd name="T62" fmla="*/ 448 w 586"/>
              <a:gd name="T63" fmla="*/ 206 h 523"/>
              <a:gd name="T64" fmla="*/ 586 w 586"/>
              <a:gd name="T65" fmla="*/ 139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86" h="523">
                <a:moveTo>
                  <a:pt x="586" y="139"/>
                </a:moveTo>
                <a:lnTo>
                  <a:pt x="586" y="139"/>
                </a:lnTo>
                <a:lnTo>
                  <a:pt x="552" y="115"/>
                </a:lnTo>
                <a:lnTo>
                  <a:pt x="527" y="97"/>
                </a:lnTo>
                <a:lnTo>
                  <a:pt x="519" y="90"/>
                </a:lnTo>
                <a:lnTo>
                  <a:pt x="514" y="85"/>
                </a:lnTo>
                <a:lnTo>
                  <a:pt x="514" y="85"/>
                </a:lnTo>
                <a:lnTo>
                  <a:pt x="512" y="79"/>
                </a:lnTo>
                <a:lnTo>
                  <a:pt x="510" y="69"/>
                </a:lnTo>
                <a:lnTo>
                  <a:pt x="506" y="40"/>
                </a:lnTo>
                <a:lnTo>
                  <a:pt x="503" y="0"/>
                </a:lnTo>
                <a:lnTo>
                  <a:pt x="381" y="98"/>
                </a:lnTo>
                <a:lnTo>
                  <a:pt x="8" y="97"/>
                </a:lnTo>
                <a:lnTo>
                  <a:pt x="8" y="97"/>
                </a:lnTo>
                <a:lnTo>
                  <a:pt x="8" y="98"/>
                </a:lnTo>
                <a:lnTo>
                  <a:pt x="7" y="100"/>
                </a:lnTo>
                <a:lnTo>
                  <a:pt x="5" y="108"/>
                </a:lnTo>
                <a:lnTo>
                  <a:pt x="3" y="139"/>
                </a:lnTo>
                <a:lnTo>
                  <a:pt x="2" y="183"/>
                </a:lnTo>
                <a:lnTo>
                  <a:pt x="1" y="233"/>
                </a:lnTo>
                <a:lnTo>
                  <a:pt x="0" y="327"/>
                </a:lnTo>
                <a:lnTo>
                  <a:pt x="0" y="369"/>
                </a:lnTo>
                <a:lnTo>
                  <a:pt x="0" y="369"/>
                </a:lnTo>
                <a:lnTo>
                  <a:pt x="29" y="395"/>
                </a:lnTo>
                <a:lnTo>
                  <a:pt x="95" y="448"/>
                </a:lnTo>
                <a:lnTo>
                  <a:pt x="131" y="477"/>
                </a:lnTo>
                <a:lnTo>
                  <a:pt x="162" y="501"/>
                </a:lnTo>
                <a:lnTo>
                  <a:pt x="186" y="517"/>
                </a:lnTo>
                <a:lnTo>
                  <a:pt x="193" y="522"/>
                </a:lnTo>
                <a:lnTo>
                  <a:pt x="195" y="523"/>
                </a:lnTo>
                <a:lnTo>
                  <a:pt x="197" y="523"/>
                </a:lnTo>
                <a:lnTo>
                  <a:pt x="448" y="206"/>
                </a:lnTo>
                <a:lnTo>
                  <a:pt x="586" y="13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2" name="Freeform 39"/>
          <p:cNvSpPr>
            <a:spLocks/>
          </p:cNvSpPr>
          <p:nvPr userDrawn="1"/>
        </p:nvSpPr>
        <p:spPr bwMode="auto">
          <a:xfrm>
            <a:off x="7288212" y="1417340"/>
            <a:ext cx="115888" cy="66675"/>
          </a:xfrm>
          <a:custGeom>
            <a:avLst/>
            <a:gdLst>
              <a:gd name="T0" fmla="*/ 226 w 879"/>
              <a:gd name="T1" fmla="*/ 65 h 509"/>
              <a:gd name="T2" fmla="*/ 0 w 879"/>
              <a:gd name="T3" fmla="*/ 355 h 509"/>
              <a:gd name="T4" fmla="*/ 369 w 879"/>
              <a:gd name="T5" fmla="*/ 509 h 509"/>
              <a:gd name="T6" fmla="*/ 369 w 879"/>
              <a:gd name="T7" fmla="*/ 509 h 509"/>
              <a:gd name="T8" fmla="*/ 409 w 879"/>
              <a:gd name="T9" fmla="*/ 487 h 509"/>
              <a:gd name="T10" fmla="*/ 452 w 879"/>
              <a:gd name="T11" fmla="*/ 464 h 509"/>
              <a:gd name="T12" fmla="*/ 495 w 879"/>
              <a:gd name="T13" fmla="*/ 439 h 509"/>
              <a:gd name="T14" fmla="*/ 538 w 879"/>
              <a:gd name="T15" fmla="*/ 413 h 509"/>
              <a:gd name="T16" fmla="*/ 623 w 879"/>
              <a:gd name="T17" fmla="*/ 361 h 509"/>
              <a:gd name="T18" fmla="*/ 703 w 879"/>
              <a:gd name="T19" fmla="*/ 311 h 509"/>
              <a:gd name="T20" fmla="*/ 773 w 879"/>
              <a:gd name="T21" fmla="*/ 266 h 509"/>
              <a:gd name="T22" fmla="*/ 829 w 879"/>
              <a:gd name="T23" fmla="*/ 229 h 509"/>
              <a:gd name="T24" fmla="*/ 879 w 879"/>
              <a:gd name="T25" fmla="*/ 196 h 509"/>
              <a:gd name="T26" fmla="*/ 359 w 879"/>
              <a:gd name="T27" fmla="*/ 0 h 509"/>
              <a:gd name="T28" fmla="*/ 226 w 879"/>
              <a:gd name="T29" fmla="*/ 65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9" h="509">
                <a:moveTo>
                  <a:pt x="226" y="65"/>
                </a:moveTo>
                <a:lnTo>
                  <a:pt x="0" y="355"/>
                </a:lnTo>
                <a:lnTo>
                  <a:pt x="369" y="509"/>
                </a:lnTo>
                <a:lnTo>
                  <a:pt x="369" y="509"/>
                </a:lnTo>
                <a:lnTo>
                  <a:pt x="409" y="487"/>
                </a:lnTo>
                <a:lnTo>
                  <a:pt x="452" y="464"/>
                </a:lnTo>
                <a:lnTo>
                  <a:pt x="495" y="439"/>
                </a:lnTo>
                <a:lnTo>
                  <a:pt x="538" y="413"/>
                </a:lnTo>
                <a:lnTo>
                  <a:pt x="623" y="361"/>
                </a:lnTo>
                <a:lnTo>
                  <a:pt x="703" y="311"/>
                </a:lnTo>
                <a:lnTo>
                  <a:pt x="773" y="266"/>
                </a:lnTo>
                <a:lnTo>
                  <a:pt x="829" y="229"/>
                </a:lnTo>
                <a:lnTo>
                  <a:pt x="879" y="196"/>
                </a:lnTo>
                <a:lnTo>
                  <a:pt x="359" y="0"/>
                </a:lnTo>
                <a:lnTo>
                  <a:pt x="226" y="6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3" name="Freeform 40"/>
          <p:cNvSpPr>
            <a:spLocks/>
          </p:cNvSpPr>
          <p:nvPr userDrawn="1"/>
        </p:nvSpPr>
        <p:spPr bwMode="auto">
          <a:xfrm>
            <a:off x="7323137" y="1172865"/>
            <a:ext cx="26988" cy="123825"/>
          </a:xfrm>
          <a:custGeom>
            <a:avLst/>
            <a:gdLst>
              <a:gd name="T0" fmla="*/ 170 w 211"/>
              <a:gd name="T1" fmla="*/ 388 h 928"/>
              <a:gd name="T2" fmla="*/ 169 w 211"/>
              <a:gd name="T3" fmla="*/ 133 h 928"/>
              <a:gd name="T4" fmla="*/ 171 w 211"/>
              <a:gd name="T5" fmla="*/ 84 h 928"/>
              <a:gd name="T6" fmla="*/ 172 w 211"/>
              <a:gd name="T7" fmla="*/ 79 h 928"/>
              <a:gd name="T8" fmla="*/ 182 w 211"/>
              <a:gd name="T9" fmla="*/ 64 h 928"/>
              <a:gd name="T10" fmla="*/ 188 w 211"/>
              <a:gd name="T11" fmla="*/ 53 h 928"/>
              <a:gd name="T12" fmla="*/ 192 w 211"/>
              <a:gd name="T13" fmla="*/ 36 h 928"/>
              <a:gd name="T14" fmla="*/ 191 w 211"/>
              <a:gd name="T15" fmla="*/ 18 h 928"/>
              <a:gd name="T16" fmla="*/ 188 w 211"/>
              <a:gd name="T17" fmla="*/ 0 h 928"/>
              <a:gd name="T18" fmla="*/ 6 w 211"/>
              <a:gd name="T19" fmla="*/ 0 h 928"/>
              <a:gd name="T20" fmla="*/ 4 w 211"/>
              <a:gd name="T21" fmla="*/ 8 h 928"/>
              <a:gd name="T22" fmla="*/ 5 w 211"/>
              <a:gd name="T23" fmla="*/ 33 h 928"/>
              <a:gd name="T24" fmla="*/ 7 w 211"/>
              <a:gd name="T25" fmla="*/ 43 h 928"/>
              <a:gd name="T26" fmla="*/ 17 w 211"/>
              <a:gd name="T27" fmla="*/ 65 h 928"/>
              <a:gd name="T28" fmla="*/ 28 w 211"/>
              <a:gd name="T29" fmla="*/ 80 h 928"/>
              <a:gd name="T30" fmla="*/ 33 w 211"/>
              <a:gd name="T31" fmla="*/ 388 h 928"/>
              <a:gd name="T32" fmla="*/ 29 w 211"/>
              <a:gd name="T33" fmla="*/ 395 h 928"/>
              <a:gd name="T34" fmla="*/ 19 w 211"/>
              <a:gd name="T35" fmla="*/ 412 h 928"/>
              <a:gd name="T36" fmla="*/ 9 w 211"/>
              <a:gd name="T37" fmla="*/ 443 h 928"/>
              <a:gd name="T38" fmla="*/ 0 w 211"/>
              <a:gd name="T39" fmla="*/ 487 h 928"/>
              <a:gd name="T40" fmla="*/ 0 w 211"/>
              <a:gd name="T41" fmla="*/ 498 h 928"/>
              <a:gd name="T42" fmla="*/ 1 w 211"/>
              <a:gd name="T43" fmla="*/ 518 h 928"/>
              <a:gd name="T44" fmla="*/ 10 w 211"/>
              <a:gd name="T45" fmla="*/ 546 h 928"/>
              <a:gd name="T46" fmla="*/ 23 w 211"/>
              <a:gd name="T47" fmla="*/ 576 h 928"/>
              <a:gd name="T48" fmla="*/ 35 w 211"/>
              <a:gd name="T49" fmla="*/ 594 h 928"/>
              <a:gd name="T50" fmla="*/ 31 w 211"/>
              <a:gd name="T51" fmla="*/ 850 h 928"/>
              <a:gd name="T52" fmla="*/ 23 w 211"/>
              <a:gd name="T53" fmla="*/ 859 h 928"/>
              <a:gd name="T54" fmla="*/ 18 w 211"/>
              <a:gd name="T55" fmla="*/ 871 h 928"/>
              <a:gd name="T56" fmla="*/ 14 w 211"/>
              <a:gd name="T57" fmla="*/ 888 h 928"/>
              <a:gd name="T58" fmla="*/ 14 w 211"/>
              <a:gd name="T59" fmla="*/ 898 h 928"/>
              <a:gd name="T60" fmla="*/ 15 w 211"/>
              <a:gd name="T61" fmla="*/ 919 h 928"/>
              <a:gd name="T62" fmla="*/ 18 w 211"/>
              <a:gd name="T63" fmla="*/ 928 h 928"/>
              <a:gd name="T64" fmla="*/ 188 w 211"/>
              <a:gd name="T65" fmla="*/ 928 h 928"/>
              <a:gd name="T66" fmla="*/ 191 w 211"/>
              <a:gd name="T67" fmla="*/ 906 h 928"/>
              <a:gd name="T68" fmla="*/ 190 w 211"/>
              <a:gd name="T69" fmla="*/ 881 h 928"/>
              <a:gd name="T70" fmla="*/ 188 w 211"/>
              <a:gd name="T71" fmla="*/ 873 h 928"/>
              <a:gd name="T72" fmla="*/ 179 w 211"/>
              <a:gd name="T73" fmla="*/ 857 h 928"/>
              <a:gd name="T74" fmla="*/ 169 w 211"/>
              <a:gd name="T75" fmla="*/ 846 h 928"/>
              <a:gd name="T76" fmla="*/ 168 w 211"/>
              <a:gd name="T77" fmla="*/ 594 h 928"/>
              <a:gd name="T78" fmla="*/ 190 w 211"/>
              <a:gd name="T79" fmla="*/ 561 h 928"/>
              <a:gd name="T80" fmla="*/ 202 w 211"/>
              <a:gd name="T81" fmla="*/ 537 h 928"/>
              <a:gd name="T82" fmla="*/ 210 w 211"/>
              <a:gd name="T83" fmla="*/ 507 h 928"/>
              <a:gd name="T84" fmla="*/ 211 w 211"/>
              <a:gd name="T85" fmla="*/ 491 h 928"/>
              <a:gd name="T86" fmla="*/ 211 w 211"/>
              <a:gd name="T87" fmla="*/ 482 h 928"/>
              <a:gd name="T88" fmla="*/ 206 w 211"/>
              <a:gd name="T89" fmla="*/ 458 h 928"/>
              <a:gd name="T90" fmla="*/ 195 w 211"/>
              <a:gd name="T91" fmla="*/ 428 h 928"/>
              <a:gd name="T92" fmla="*/ 181 w 211"/>
              <a:gd name="T93" fmla="*/ 405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1" h="928">
                <a:moveTo>
                  <a:pt x="170" y="388"/>
                </a:moveTo>
                <a:lnTo>
                  <a:pt x="170" y="388"/>
                </a:lnTo>
                <a:lnTo>
                  <a:pt x="169" y="238"/>
                </a:lnTo>
                <a:lnTo>
                  <a:pt x="169" y="133"/>
                </a:lnTo>
                <a:lnTo>
                  <a:pt x="170" y="96"/>
                </a:lnTo>
                <a:lnTo>
                  <a:pt x="171" y="84"/>
                </a:lnTo>
                <a:lnTo>
                  <a:pt x="172" y="79"/>
                </a:lnTo>
                <a:lnTo>
                  <a:pt x="172" y="79"/>
                </a:lnTo>
                <a:lnTo>
                  <a:pt x="177" y="71"/>
                </a:lnTo>
                <a:lnTo>
                  <a:pt x="182" y="64"/>
                </a:lnTo>
                <a:lnTo>
                  <a:pt x="188" y="53"/>
                </a:lnTo>
                <a:lnTo>
                  <a:pt x="188" y="53"/>
                </a:lnTo>
                <a:lnTo>
                  <a:pt x="191" y="45"/>
                </a:lnTo>
                <a:lnTo>
                  <a:pt x="192" y="36"/>
                </a:lnTo>
                <a:lnTo>
                  <a:pt x="192" y="28"/>
                </a:lnTo>
                <a:lnTo>
                  <a:pt x="191" y="18"/>
                </a:lnTo>
                <a:lnTo>
                  <a:pt x="189" y="5"/>
                </a:lnTo>
                <a:lnTo>
                  <a:pt x="188" y="0"/>
                </a:lnTo>
                <a:lnTo>
                  <a:pt x="6" y="0"/>
                </a:lnTo>
                <a:lnTo>
                  <a:pt x="6" y="0"/>
                </a:lnTo>
                <a:lnTo>
                  <a:pt x="5" y="4"/>
                </a:lnTo>
                <a:lnTo>
                  <a:pt x="4" y="8"/>
                </a:lnTo>
                <a:lnTo>
                  <a:pt x="4" y="20"/>
                </a:lnTo>
                <a:lnTo>
                  <a:pt x="5" y="33"/>
                </a:lnTo>
                <a:lnTo>
                  <a:pt x="7" y="43"/>
                </a:lnTo>
                <a:lnTo>
                  <a:pt x="7" y="43"/>
                </a:lnTo>
                <a:lnTo>
                  <a:pt x="11" y="54"/>
                </a:lnTo>
                <a:lnTo>
                  <a:pt x="17" y="65"/>
                </a:lnTo>
                <a:lnTo>
                  <a:pt x="24" y="76"/>
                </a:lnTo>
                <a:lnTo>
                  <a:pt x="28" y="80"/>
                </a:lnTo>
                <a:lnTo>
                  <a:pt x="33" y="83"/>
                </a:lnTo>
                <a:lnTo>
                  <a:pt x="33" y="388"/>
                </a:lnTo>
                <a:lnTo>
                  <a:pt x="33" y="388"/>
                </a:lnTo>
                <a:lnTo>
                  <a:pt x="29" y="395"/>
                </a:lnTo>
                <a:lnTo>
                  <a:pt x="24" y="402"/>
                </a:lnTo>
                <a:lnTo>
                  <a:pt x="19" y="412"/>
                </a:lnTo>
                <a:lnTo>
                  <a:pt x="14" y="426"/>
                </a:lnTo>
                <a:lnTo>
                  <a:pt x="9" y="443"/>
                </a:lnTo>
                <a:lnTo>
                  <a:pt x="4" y="463"/>
                </a:lnTo>
                <a:lnTo>
                  <a:pt x="0" y="487"/>
                </a:lnTo>
                <a:lnTo>
                  <a:pt x="0" y="487"/>
                </a:lnTo>
                <a:lnTo>
                  <a:pt x="0" y="498"/>
                </a:lnTo>
                <a:lnTo>
                  <a:pt x="0" y="508"/>
                </a:lnTo>
                <a:lnTo>
                  <a:pt x="1" y="518"/>
                </a:lnTo>
                <a:lnTo>
                  <a:pt x="4" y="529"/>
                </a:lnTo>
                <a:lnTo>
                  <a:pt x="10" y="546"/>
                </a:lnTo>
                <a:lnTo>
                  <a:pt x="16" y="562"/>
                </a:lnTo>
                <a:lnTo>
                  <a:pt x="23" y="576"/>
                </a:lnTo>
                <a:lnTo>
                  <a:pt x="29" y="585"/>
                </a:lnTo>
                <a:lnTo>
                  <a:pt x="35" y="594"/>
                </a:lnTo>
                <a:lnTo>
                  <a:pt x="31" y="850"/>
                </a:lnTo>
                <a:lnTo>
                  <a:pt x="31" y="850"/>
                </a:lnTo>
                <a:lnTo>
                  <a:pt x="29" y="852"/>
                </a:lnTo>
                <a:lnTo>
                  <a:pt x="23" y="859"/>
                </a:lnTo>
                <a:lnTo>
                  <a:pt x="20" y="864"/>
                </a:lnTo>
                <a:lnTo>
                  <a:pt x="18" y="871"/>
                </a:lnTo>
                <a:lnTo>
                  <a:pt x="15" y="879"/>
                </a:lnTo>
                <a:lnTo>
                  <a:pt x="14" y="888"/>
                </a:lnTo>
                <a:lnTo>
                  <a:pt x="14" y="888"/>
                </a:lnTo>
                <a:lnTo>
                  <a:pt x="14" y="898"/>
                </a:lnTo>
                <a:lnTo>
                  <a:pt x="14" y="906"/>
                </a:lnTo>
                <a:lnTo>
                  <a:pt x="15" y="919"/>
                </a:lnTo>
                <a:lnTo>
                  <a:pt x="17" y="926"/>
                </a:lnTo>
                <a:lnTo>
                  <a:pt x="18" y="928"/>
                </a:lnTo>
                <a:lnTo>
                  <a:pt x="188" y="928"/>
                </a:lnTo>
                <a:lnTo>
                  <a:pt x="188" y="928"/>
                </a:lnTo>
                <a:lnTo>
                  <a:pt x="190" y="920"/>
                </a:lnTo>
                <a:lnTo>
                  <a:pt x="191" y="906"/>
                </a:lnTo>
                <a:lnTo>
                  <a:pt x="190" y="889"/>
                </a:lnTo>
                <a:lnTo>
                  <a:pt x="190" y="881"/>
                </a:lnTo>
                <a:lnTo>
                  <a:pt x="188" y="873"/>
                </a:lnTo>
                <a:lnTo>
                  <a:pt x="188" y="873"/>
                </a:lnTo>
                <a:lnTo>
                  <a:pt x="185" y="864"/>
                </a:lnTo>
                <a:lnTo>
                  <a:pt x="179" y="857"/>
                </a:lnTo>
                <a:lnTo>
                  <a:pt x="174" y="851"/>
                </a:lnTo>
                <a:lnTo>
                  <a:pt x="169" y="846"/>
                </a:lnTo>
                <a:lnTo>
                  <a:pt x="168" y="594"/>
                </a:lnTo>
                <a:lnTo>
                  <a:pt x="168" y="594"/>
                </a:lnTo>
                <a:lnTo>
                  <a:pt x="181" y="573"/>
                </a:lnTo>
                <a:lnTo>
                  <a:pt x="190" y="561"/>
                </a:lnTo>
                <a:lnTo>
                  <a:pt x="196" y="550"/>
                </a:lnTo>
                <a:lnTo>
                  <a:pt x="202" y="537"/>
                </a:lnTo>
                <a:lnTo>
                  <a:pt x="207" y="522"/>
                </a:lnTo>
                <a:lnTo>
                  <a:pt x="210" y="507"/>
                </a:lnTo>
                <a:lnTo>
                  <a:pt x="211" y="499"/>
                </a:lnTo>
                <a:lnTo>
                  <a:pt x="211" y="491"/>
                </a:lnTo>
                <a:lnTo>
                  <a:pt x="211" y="491"/>
                </a:lnTo>
                <a:lnTo>
                  <a:pt x="211" y="482"/>
                </a:lnTo>
                <a:lnTo>
                  <a:pt x="210" y="473"/>
                </a:lnTo>
                <a:lnTo>
                  <a:pt x="206" y="458"/>
                </a:lnTo>
                <a:lnTo>
                  <a:pt x="201" y="443"/>
                </a:lnTo>
                <a:lnTo>
                  <a:pt x="195" y="428"/>
                </a:lnTo>
                <a:lnTo>
                  <a:pt x="189" y="416"/>
                </a:lnTo>
                <a:lnTo>
                  <a:pt x="181" y="405"/>
                </a:lnTo>
                <a:lnTo>
                  <a:pt x="170" y="3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4" name="Freeform 41"/>
          <p:cNvSpPr>
            <a:spLocks/>
          </p:cNvSpPr>
          <p:nvPr userDrawn="1"/>
        </p:nvSpPr>
        <p:spPr bwMode="auto">
          <a:xfrm>
            <a:off x="7351712" y="1209378"/>
            <a:ext cx="80963" cy="58738"/>
          </a:xfrm>
          <a:custGeom>
            <a:avLst/>
            <a:gdLst>
              <a:gd name="T0" fmla="*/ 617 w 617"/>
              <a:gd name="T1" fmla="*/ 73 h 442"/>
              <a:gd name="T2" fmla="*/ 433 w 617"/>
              <a:gd name="T3" fmla="*/ 70 h 442"/>
              <a:gd name="T4" fmla="*/ 202 w 617"/>
              <a:gd name="T5" fmla="*/ 68 h 442"/>
              <a:gd name="T6" fmla="*/ 195 w 617"/>
              <a:gd name="T7" fmla="*/ 67 h 442"/>
              <a:gd name="T8" fmla="*/ 174 w 617"/>
              <a:gd name="T9" fmla="*/ 61 h 442"/>
              <a:gd name="T10" fmla="*/ 137 w 617"/>
              <a:gd name="T11" fmla="*/ 44 h 442"/>
              <a:gd name="T12" fmla="*/ 84 w 617"/>
              <a:gd name="T13" fmla="*/ 16 h 442"/>
              <a:gd name="T14" fmla="*/ 53 w 617"/>
              <a:gd name="T15" fmla="*/ 2 h 442"/>
              <a:gd name="T16" fmla="*/ 40 w 617"/>
              <a:gd name="T17" fmla="*/ 0 h 442"/>
              <a:gd name="T18" fmla="*/ 37 w 617"/>
              <a:gd name="T19" fmla="*/ 2 h 442"/>
              <a:gd name="T20" fmla="*/ 22 w 617"/>
              <a:gd name="T21" fmla="*/ 38 h 442"/>
              <a:gd name="T22" fmla="*/ 1 w 617"/>
              <a:gd name="T23" fmla="*/ 91 h 442"/>
              <a:gd name="T24" fmla="*/ 19 w 617"/>
              <a:gd name="T25" fmla="*/ 113 h 442"/>
              <a:gd name="T26" fmla="*/ 38 w 617"/>
              <a:gd name="T27" fmla="*/ 147 h 442"/>
              <a:gd name="T28" fmla="*/ 47 w 617"/>
              <a:gd name="T29" fmla="*/ 169 h 442"/>
              <a:gd name="T30" fmla="*/ 52 w 617"/>
              <a:gd name="T31" fmla="*/ 191 h 442"/>
              <a:gd name="T32" fmla="*/ 55 w 617"/>
              <a:gd name="T33" fmla="*/ 216 h 442"/>
              <a:gd name="T34" fmla="*/ 53 w 617"/>
              <a:gd name="T35" fmla="*/ 235 h 442"/>
              <a:gd name="T36" fmla="*/ 48 w 617"/>
              <a:gd name="T37" fmla="*/ 265 h 442"/>
              <a:gd name="T38" fmla="*/ 42 w 617"/>
              <a:gd name="T39" fmla="*/ 283 h 442"/>
              <a:gd name="T40" fmla="*/ 32 w 617"/>
              <a:gd name="T41" fmla="*/ 304 h 442"/>
              <a:gd name="T42" fmla="*/ 19 w 617"/>
              <a:gd name="T43" fmla="*/ 324 h 442"/>
              <a:gd name="T44" fmla="*/ 0 w 617"/>
              <a:gd name="T45" fmla="*/ 345 h 442"/>
              <a:gd name="T46" fmla="*/ 23 w 617"/>
              <a:gd name="T47" fmla="*/ 391 h 442"/>
              <a:gd name="T48" fmla="*/ 47 w 617"/>
              <a:gd name="T49" fmla="*/ 435 h 442"/>
              <a:gd name="T50" fmla="*/ 52 w 617"/>
              <a:gd name="T51" fmla="*/ 442 h 442"/>
              <a:gd name="T52" fmla="*/ 84 w 617"/>
              <a:gd name="T53" fmla="*/ 423 h 442"/>
              <a:gd name="T54" fmla="*/ 129 w 617"/>
              <a:gd name="T55" fmla="*/ 400 h 442"/>
              <a:gd name="T56" fmla="*/ 183 w 617"/>
              <a:gd name="T57" fmla="*/ 378 h 442"/>
              <a:gd name="T58" fmla="*/ 211 w 617"/>
              <a:gd name="T59" fmla="*/ 371 h 442"/>
              <a:gd name="T60" fmla="*/ 224 w 617"/>
              <a:gd name="T61" fmla="*/ 369 h 442"/>
              <a:gd name="T62" fmla="*/ 330 w 617"/>
              <a:gd name="T63" fmla="*/ 363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17" h="442">
                <a:moveTo>
                  <a:pt x="330" y="363"/>
                </a:moveTo>
                <a:lnTo>
                  <a:pt x="617" y="73"/>
                </a:lnTo>
                <a:lnTo>
                  <a:pt x="617" y="73"/>
                </a:lnTo>
                <a:lnTo>
                  <a:pt x="433" y="70"/>
                </a:lnTo>
                <a:lnTo>
                  <a:pt x="324" y="69"/>
                </a:lnTo>
                <a:lnTo>
                  <a:pt x="202" y="68"/>
                </a:lnTo>
                <a:lnTo>
                  <a:pt x="202" y="68"/>
                </a:lnTo>
                <a:lnTo>
                  <a:pt x="195" y="67"/>
                </a:lnTo>
                <a:lnTo>
                  <a:pt x="185" y="65"/>
                </a:lnTo>
                <a:lnTo>
                  <a:pt x="174" y="61"/>
                </a:lnTo>
                <a:lnTo>
                  <a:pt x="163" y="56"/>
                </a:lnTo>
                <a:lnTo>
                  <a:pt x="137" y="44"/>
                </a:lnTo>
                <a:lnTo>
                  <a:pt x="110" y="30"/>
                </a:lnTo>
                <a:lnTo>
                  <a:pt x="84" y="16"/>
                </a:lnTo>
                <a:lnTo>
                  <a:pt x="63" y="6"/>
                </a:lnTo>
                <a:lnTo>
                  <a:pt x="53" y="2"/>
                </a:lnTo>
                <a:lnTo>
                  <a:pt x="45" y="1"/>
                </a:lnTo>
                <a:lnTo>
                  <a:pt x="40" y="0"/>
                </a:lnTo>
                <a:lnTo>
                  <a:pt x="38" y="1"/>
                </a:lnTo>
                <a:lnTo>
                  <a:pt x="37" y="2"/>
                </a:lnTo>
                <a:lnTo>
                  <a:pt x="37" y="2"/>
                </a:lnTo>
                <a:lnTo>
                  <a:pt x="22" y="38"/>
                </a:lnTo>
                <a:lnTo>
                  <a:pt x="1" y="91"/>
                </a:lnTo>
                <a:lnTo>
                  <a:pt x="1" y="91"/>
                </a:lnTo>
                <a:lnTo>
                  <a:pt x="10" y="101"/>
                </a:lnTo>
                <a:lnTo>
                  <a:pt x="19" y="113"/>
                </a:lnTo>
                <a:lnTo>
                  <a:pt x="29" y="129"/>
                </a:lnTo>
                <a:lnTo>
                  <a:pt x="38" y="147"/>
                </a:lnTo>
                <a:lnTo>
                  <a:pt x="43" y="157"/>
                </a:lnTo>
                <a:lnTo>
                  <a:pt x="47" y="169"/>
                </a:lnTo>
                <a:lnTo>
                  <a:pt x="50" y="180"/>
                </a:lnTo>
                <a:lnTo>
                  <a:pt x="52" y="191"/>
                </a:lnTo>
                <a:lnTo>
                  <a:pt x="55" y="203"/>
                </a:lnTo>
                <a:lnTo>
                  <a:pt x="55" y="216"/>
                </a:lnTo>
                <a:lnTo>
                  <a:pt x="55" y="216"/>
                </a:lnTo>
                <a:lnTo>
                  <a:pt x="53" y="235"/>
                </a:lnTo>
                <a:lnTo>
                  <a:pt x="51" y="248"/>
                </a:lnTo>
                <a:lnTo>
                  <a:pt x="48" y="265"/>
                </a:lnTo>
                <a:lnTo>
                  <a:pt x="45" y="274"/>
                </a:lnTo>
                <a:lnTo>
                  <a:pt x="42" y="283"/>
                </a:lnTo>
                <a:lnTo>
                  <a:pt x="38" y="293"/>
                </a:lnTo>
                <a:lnTo>
                  <a:pt x="32" y="304"/>
                </a:lnTo>
                <a:lnTo>
                  <a:pt x="26" y="313"/>
                </a:lnTo>
                <a:lnTo>
                  <a:pt x="19" y="324"/>
                </a:lnTo>
                <a:lnTo>
                  <a:pt x="11" y="334"/>
                </a:lnTo>
                <a:lnTo>
                  <a:pt x="0" y="345"/>
                </a:lnTo>
                <a:lnTo>
                  <a:pt x="0" y="345"/>
                </a:lnTo>
                <a:lnTo>
                  <a:pt x="23" y="391"/>
                </a:lnTo>
                <a:lnTo>
                  <a:pt x="40" y="423"/>
                </a:lnTo>
                <a:lnTo>
                  <a:pt x="47" y="435"/>
                </a:lnTo>
                <a:lnTo>
                  <a:pt x="52" y="442"/>
                </a:lnTo>
                <a:lnTo>
                  <a:pt x="52" y="442"/>
                </a:lnTo>
                <a:lnTo>
                  <a:pt x="67" y="433"/>
                </a:lnTo>
                <a:lnTo>
                  <a:pt x="84" y="423"/>
                </a:lnTo>
                <a:lnTo>
                  <a:pt x="105" y="412"/>
                </a:lnTo>
                <a:lnTo>
                  <a:pt x="129" y="400"/>
                </a:lnTo>
                <a:lnTo>
                  <a:pt x="156" y="388"/>
                </a:lnTo>
                <a:lnTo>
                  <a:pt x="183" y="378"/>
                </a:lnTo>
                <a:lnTo>
                  <a:pt x="198" y="374"/>
                </a:lnTo>
                <a:lnTo>
                  <a:pt x="211" y="371"/>
                </a:lnTo>
                <a:lnTo>
                  <a:pt x="211" y="371"/>
                </a:lnTo>
                <a:lnTo>
                  <a:pt x="224" y="369"/>
                </a:lnTo>
                <a:lnTo>
                  <a:pt x="248" y="367"/>
                </a:lnTo>
                <a:lnTo>
                  <a:pt x="330" y="36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5" name="Freeform 42"/>
          <p:cNvSpPr>
            <a:spLocks/>
          </p:cNvSpPr>
          <p:nvPr userDrawn="1"/>
        </p:nvSpPr>
        <p:spPr bwMode="auto">
          <a:xfrm>
            <a:off x="7453312" y="1131590"/>
            <a:ext cx="158750" cy="127000"/>
          </a:xfrm>
          <a:custGeom>
            <a:avLst/>
            <a:gdLst>
              <a:gd name="T0" fmla="*/ 1179 w 1207"/>
              <a:gd name="T1" fmla="*/ 480 h 962"/>
              <a:gd name="T2" fmla="*/ 1115 w 1207"/>
              <a:gd name="T3" fmla="*/ 496 h 962"/>
              <a:gd name="T4" fmla="*/ 1079 w 1207"/>
              <a:gd name="T5" fmla="*/ 532 h 962"/>
              <a:gd name="T6" fmla="*/ 1057 w 1207"/>
              <a:gd name="T7" fmla="*/ 600 h 962"/>
              <a:gd name="T8" fmla="*/ 1046 w 1207"/>
              <a:gd name="T9" fmla="*/ 585 h 962"/>
              <a:gd name="T10" fmla="*/ 1007 w 1207"/>
              <a:gd name="T11" fmla="*/ 556 h 962"/>
              <a:gd name="T12" fmla="*/ 935 w 1207"/>
              <a:gd name="T13" fmla="*/ 562 h 962"/>
              <a:gd name="T14" fmla="*/ 930 w 1207"/>
              <a:gd name="T15" fmla="*/ 613 h 962"/>
              <a:gd name="T16" fmla="*/ 935 w 1207"/>
              <a:gd name="T17" fmla="*/ 696 h 962"/>
              <a:gd name="T18" fmla="*/ 890 w 1207"/>
              <a:gd name="T19" fmla="*/ 725 h 962"/>
              <a:gd name="T20" fmla="*/ 842 w 1207"/>
              <a:gd name="T21" fmla="*/ 709 h 962"/>
              <a:gd name="T22" fmla="*/ 816 w 1207"/>
              <a:gd name="T23" fmla="*/ 658 h 962"/>
              <a:gd name="T24" fmla="*/ 805 w 1207"/>
              <a:gd name="T25" fmla="*/ 643 h 962"/>
              <a:gd name="T26" fmla="*/ 749 w 1207"/>
              <a:gd name="T27" fmla="*/ 659 h 962"/>
              <a:gd name="T28" fmla="*/ 701 w 1207"/>
              <a:gd name="T29" fmla="*/ 634 h 962"/>
              <a:gd name="T30" fmla="*/ 694 w 1207"/>
              <a:gd name="T31" fmla="*/ 581 h 962"/>
              <a:gd name="T32" fmla="*/ 754 w 1207"/>
              <a:gd name="T33" fmla="*/ 540 h 962"/>
              <a:gd name="T34" fmla="*/ 824 w 1207"/>
              <a:gd name="T35" fmla="*/ 520 h 962"/>
              <a:gd name="T36" fmla="*/ 805 w 1207"/>
              <a:gd name="T37" fmla="*/ 460 h 962"/>
              <a:gd name="T38" fmla="*/ 764 w 1207"/>
              <a:gd name="T39" fmla="*/ 421 h 962"/>
              <a:gd name="T40" fmla="*/ 698 w 1207"/>
              <a:gd name="T41" fmla="*/ 414 h 962"/>
              <a:gd name="T42" fmla="*/ 672 w 1207"/>
              <a:gd name="T43" fmla="*/ 415 h 962"/>
              <a:gd name="T44" fmla="*/ 712 w 1207"/>
              <a:gd name="T45" fmla="*/ 360 h 962"/>
              <a:gd name="T46" fmla="*/ 709 w 1207"/>
              <a:gd name="T47" fmla="*/ 285 h 962"/>
              <a:gd name="T48" fmla="*/ 668 w 1207"/>
              <a:gd name="T49" fmla="*/ 214 h 962"/>
              <a:gd name="T50" fmla="*/ 606 w 1207"/>
              <a:gd name="T51" fmla="*/ 224 h 962"/>
              <a:gd name="T52" fmla="*/ 535 w 1207"/>
              <a:gd name="T53" fmla="*/ 272 h 962"/>
              <a:gd name="T54" fmla="*/ 516 w 1207"/>
              <a:gd name="T55" fmla="*/ 334 h 962"/>
              <a:gd name="T56" fmla="*/ 508 w 1207"/>
              <a:gd name="T57" fmla="*/ 341 h 962"/>
              <a:gd name="T58" fmla="*/ 458 w 1207"/>
              <a:gd name="T59" fmla="*/ 287 h 962"/>
              <a:gd name="T60" fmla="*/ 404 w 1207"/>
              <a:gd name="T61" fmla="*/ 278 h 962"/>
              <a:gd name="T62" fmla="*/ 345 w 1207"/>
              <a:gd name="T63" fmla="*/ 300 h 962"/>
              <a:gd name="T64" fmla="*/ 362 w 1207"/>
              <a:gd name="T65" fmla="*/ 357 h 962"/>
              <a:gd name="T66" fmla="*/ 382 w 1207"/>
              <a:gd name="T67" fmla="*/ 432 h 962"/>
              <a:gd name="T68" fmla="*/ 347 w 1207"/>
              <a:gd name="T69" fmla="*/ 472 h 962"/>
              <a:gd name="T70" fmla="*/ 292 w 1207"/>
              <a:gd name="T71" fmla="*/ 462 h 962"/>
              <a:gd name="T72" fmla="*/ 262 w 1207"/>
              <a:gd name="T73" fmla="*/ 417 h 962"/>
              <a:gd name="T74" fmla="*/ 249 w 1207"/>
              <a:gd name="T75" fmla="*/ 398 h 962"/>
              <a:gd name="T76" fmla="*/ 194 w 1207"/>
              <a:gd name="T77" fmla="*/ 421 h 962"/>
              <a:gd name="T78" fmla="*/ 147 w 1207"/>
              <a:gd name="T79" fmla="*/ 404 h 962"/>
              <a:gd name="T80" fmla="*/ 128 w 1207"/>
              <a:gd name="T81" fmla="*/ 354 h 962"/>
              <a:gd name="T82" fmla="*/ 178 w 1207"/>
              <a:gd name="T83" fmla="*/ 300 h 962"/>
              <a:gd name="T84" fmla="*/ 233 w 1207"/>
              <a:gd name="T85" fmla="*/ 262 h 962"/>
              <a:gd name="T86" fmla="*/ 195 w 1207"/>
              <a:gd name="T87" fmla="*/ 203 h 962"/>
              <a:gd name="T88" fmla="*/ 145 w 1207"/>
              <a:gd name="T89" fmla="*/ 185 h 962"/>
              <a:gd name="T90" fmla="*/ 115 w 1207"/>
              <a:gd name="T91" fmla="*/ 191 h 962"/>
              <a:gd name="T92" fmla="*/ 153 w 1207"/>
              <a:gd name="T93" fmla="*/ 136 h 962"/>
              <a:gd name="T94" fmla="*/ 157 w 1207"/>
              <a:gd name="T95" fmla="*/ 76 h 962"/>
              <a:gd name="T96" fmla="*/ 134 w 1207"/>
              <a:gd name="T97" fmla="*/ 28 h 962"/>
              <a:gd name="T98" fmla="*/ 269 w 1207"/>
              <a:gd name="T99" fmla="*/ 712 h 962"/>
              <a:gd name="T100" fmla="*/ 354 w 1207"/>
              <a:gd name="T101" fmla="*/ 656 h 962"/>
              <a:gd name="T102" fmla="*/ 437 w 1207"/>
              <a:gd name="T103" fmla="*/ 636 h 962"/>
              <a:gd name="T104" fmla="*/ 517 w 1207"/>
              <a:gd name="T105" fmla="*/ 643 h 962"/>
              <a:gd name="T106" fmla="*/ 610 w 1207"/>
              <a:gd name="T107" fmla="*/ 683 h 962"/>
              <a:gd name="T108" fmla="*/ 658 w 1207"/>
              <a:gd name="T109" fmla="*/ 735 h 962"/>
              <a:gd name="T110" fmla="*/ 673 w 1207"/>
              <a:gd name="T111" fmla="*/ 793 h 962"/>
              <a:gd name="T112" fmla="*/ 646 w 1207"/>
              <a:gd name="T113" fmla="*/ 877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07" h="962">
                <a:moveTo>
                  <a:pt x="841" y="962"/>
                </a:moveTo>
                <a:lnTo>
                  <a:pt x="1207" y="484"/>
                </a:lnTo>
                <a:lnTo>
                  <a:pt x="1207" y="484"/>
                </a:lnTo>
                <a:lnTo>
                  <a:pt x="1200" y="482"/>
                </a:lnTo>
                <a:lnTo>
                  <a:pt x="1190" y="481"/>
                </a:lnTo>
                <a:lnTo>
                  <a:pt x="1179" y="480"/>
                </a:lnTo>
                <a:lnTo>
                  <a:pt x="1166" y="480"/>
                </a:lnTo>
                <a:lnTo>
                  <a:pt x="1149" y="483"/>
                </a:lnTo>
                <a:lnTo>
                  <a:pt x="1141" y="485"/>
                </a:lnTo>
                <a:lnTo>
                  <a:pt x="1133" y="488"/>
                </a:lnTo>
                <a:lnTo>
                  <a:pt x="1124" y="492"/>
                </a:lnTo>
                <a:lnTo>
                  <a:pt x="1115" y="496"/>
                </a:lnTo>
                <a:lnTo>
                  <a:pt x="1115" y="496"/>
                </a:lnTo>
                <a:lnTo>
                  <a:pt x="1106" y="502"/>
                </a:lnTo>
                <a:lnTo>
                  <a:pt x="1097" y="508"/>
                </a:lnTo>
                <a:lnTo>
                  <a:pt x="1090" y="515"/>
                </a:lnTo>
                <a:lnTo>
                  <a:pt x="1084" y="523"/>
                </a:lnTo>
                <a:lnTo>
                  <a:pt x="1079" y="532"/>
                </a:lnTo>
                <a:lnTo>
                  <a:pt x="1074" y="540"/>
                </a:lnTo>
                <a:lnTo>
                  <a:pt x="1070" y="548"/>
                </a:lnTo>
                <a:lnTo>
                  <a:pt x="1067" y="557"/>
                </a:lnTo>
                <a:lnTo>
                  <a:pt x="1062" y="574"/>
                </a:lnTo>
                <a:lnTo>
                  <a:pt x="1058" y="589"/>
                </a:lnTo>
                <a:lnTo>
                  <a:pt x="1057" y="600"/>
                </a:lnTo>
                <a:lnTo>
                  <a:pt x="1058" y="605"/>
                </a:lnTo>
                <a:lnTo>
                  <a:pt x="1059" y="608"/>
                </a:lnTo>
                <a:lnTo>
                  <a:pt x="1059" y="608"/>
                </a:lnTo>
                <a:lnTo>
                  <a:pt x="1055" y="599"/>
                </a:lnTo>
                <a:lnTo>
                  <a:pt x="1051" y="592"/>
                </a:lnTo>
                <a:lnTo>
                  <a:pt x="1046" y="585"/>
                </a:lnTo>
                <a:lnTo>
                  <a:pt x="1041" y="579"/>
                </a:lnTo>
                <a:lnTo>
                  <a:pt x="1036" y="574"/>
                </a:lnTo>
                <a:lnTo>
                  <a:pt x="1031" y="568"/>
                </a:lnTo>
                <a:lnTo>
                  <a:pt x="1025" y="564"/>
                </a:lnTo>
                <a:lnTo>
                  <a:pt x="1020" y="561"/>
                </a:lnTo>
                <a:lnTo>
                  <a:pt x="1007" y="556"/>
                </a:lnTo>
                <a:lnTo>
                  <a:pt x="994" y="554"/>
                </a:lnTo>
                <a:lnTo>
                  <a:pt x="982" y="553"/>
                </a:lnTo>
                <a:lnTo>
                  <a:pt x="970" y="554"/>
                </a:lnTo>
                <a:lnTo>
                  <a:pt x="957" y="556"/>
                </a:lnTo>
                <a:lnTo>
                  <a:pt x="946" y="558"/>
                </a:lnTo>
                <a:lnTo>
                  <a:pt x="935" y="562"/>
                </a:lnTo>
                <a:lnTo>
                  <a:pt x="927" y="565"/>
                </a:lnTo>
                <a:lnTo>
                  <a:pt x="913" y="572"/>
                </a:lnTo>
                <a:lnTo>
                  <a:pt x="908" y="574"/>
                </a:lnTo>
                <a:lnTo>
                  <a:pt x="908" y="574"/>
                </a:lnTo>
                <a:lnTo>
                  <a:pt x="920" y="594"/>
                </a:lnTo>
                <a:lnTo>
                  <a:pt x="930" y="613"/>
                </a:lnTo>
                <a:lnTo>
                  <a:pt x="936" y="632"/>
                </a:lnTo>
                <a:lnTo>
                  <a:pt x="940" y="647"/>
                </a:lnTo>
                <a:lnTo>
                  <a:pt x="941" y="663"/>
                </a:lnTo>
                <a:lnTo>
                  <a:pt x="941" y="675"/>
                </a:lnTo>
                <a:lnTo>
                  <a:pt x="939" y="687"/>
                </a:lnTo>
                <a:lnTo>
                  <a:pt x="935" y="696"/>
                </a:lnTo>
                <a:lnTo>
                  <a:pt x="930" y="705"/>
                </a:lnTo>
                <a:lnTo>
                  <a:pt x="924" y="712"/>
                </a:lnTo>
                <a:lnTo>
                  <a:pt x="915" y="718"/>
                </a:lnTo>
                <a:lnTo>
                  <a:pt x="907" y="722"/>
                </a:lnTo>
                <a:lnTo>
                  <a:pt x="899" y="724"/>
                </a:lnTo>
                <a:lnTo>
                  <a:pt x="890" y="725"/>
                </a:lnTo>
                <a:lnTo>
                  <a:pt x="881" y="725"/>
                </a:lnTo>
                <a:lnTo>
                  <a:pt x="871" y="724"/>
                </a:lnTo>
                <a:lnTo>
                  <a:pt x="871" y="724"/>
                </a:lnTo>
                <a:lnTo>
                  <a:pt x="859" y="720"/>
                </a:lnTo>
                <a:lnTo>
                  <a:pt x="850" y="715"/>
                </a:lnTo>
                <a:lnTo>
                  <a:pt x="842" y="709"/>
                </a:lnTo>
                <a:lnTo>
                  <a:pt x="835" y="702"/>
                </a:lnTo>
                <a:lnTo>
                  <a:pt x="829" y="695"/>
                </a:lnTo>
                <a:lnTo>
                  <a:pt x="825" y="688"/>
                </a:lnTo>
                <a:lnTo>
                  <a:pt x="821" y="680"/>
                </a:lnTo>
                <a:lnTo>
                  <a:pt x="819" y="673"/>
                </a:lnTo>
                <a:lnTo>
                  <a:pt x="816" y="658"/>
                </a:lnTo>
                <a:lnTo>
                  <a:pt x="816" y="646"/>
                </a:lnTo>
                <a:lnTo>
                  <a:pt x="816" y="638"/>
                </a:lnTo>
                <a:lnTo>
                  <a:pt x="816" y="635"/>
                </a:lnTo>
                <a:lnTo>
                  <a:pt x="816" y="635"/>
                </a:lnTo>
                <a:lnTo>
                  <a:pt x="813" y="637"/>
                </a:lnTo>
                <a:lnTo>
                  <a:pt x="805" y="643"/>
                </a:lnTo>
                <a:lnTo>
                  <a:pt x="793" y="650"/>
                </a:lnTo>
                <a:lnTo>
                  <a:pt x="785" y="653"/>
                </a:lnTo>
                <a:lnTo>
                  <a:pt x="777" y="656"/>
                </a:lnTo>
                <a:lnTo>
                  <a:pt x="768" y="658"/>
                </a:lnTo>
                <a:lnTo>
                  <a:pt x="759" y="659"/>
                </a:lnTo>
                <a:lnTo>
                  <a:pt x="749" y="659"/>
                </a:lnTo>
                <a:lnTo>
                  <a:pt x="739" y="658"/>
                </a:lnTo>
                <a:lnTo>
                  <a:pt x="729" y="655"/>
                </a:lnTo>
                <a:lnTo>
                  <a:pt x="720" y="650"/>
                </a:lnTo>
                <a:lnTo>
                  <a:pt x="710" y="643"/>
                </a:lnTo>
                <a:lnTo>
                  <a:pt x="701" y="634"/>
                </a:lnTo>
                <a:lnTo>
                  <a:pt x="701" y="634"/>
                </a:lnTo>
                <a:lnTo>
                  <a:pt x="694" y="625"/>
                </a:lnTo>
                <a:lnTo>
                  <a:pt x="690" y="616"/>
                </a:lnTo>
                <a:lnTo>
                  <a:pt x="688" y="607"/>
                </a:lnTo>
                <a:lnTo>
                  <a:pt x="689" y="598"/>
                </a:lnTo>
                <a:lnTo>
                  <a:pt x="690" y="589"/>
                </a:lnTo>
                <a:lnTo>
                  <a:pt x="694" y="581"/>
                </a:lnTo>
                <a:lnTo>
                  <a:pt x="701" y="572"/>
                </a:lnTo>
                <a:lnTo>
                  <a:pt x="708" y="564"/>
                </a:lnTo>
                <a:lnTo>
                  <a:pt x="717" y="557"/>
                </a:lnTo>
                <a:lnTo>
                  <a:pt x="727" y="550"/>
                </a:lnTo>
                <a:lnTo>
                  <a:pt x="740" y="544"/>
                </a:lnTo>
                <a:lnTo>
                  <a:pt x="754" y="540"/>
                </a:lnTo>
                <a:lnTo>
                  <a:pt x="769" y="536"/>
                </a:lnTo>
                <a:lnTo>
                  <a:pt x="786" y="533"/>
                </a:lnTo>
                <a:lnTo>
                  <a:pt x="804" y="532"/>
                </a:lnTo>
                <a:lnTo>
                  <a:pt x="823" y="531"/>
                </a:lnTo>
                <a:lnTo>
                  <a:pt x="823" y="531"/>
                </a:lnTo>
                <a:lnTo>
                  <a:pt x="824" y="520"/>
                </a:lnTo>
                <a:lnTo>
                  <a:pt x="823" y="509"/>
                </a:lnTo>
                <a:lnTo>
                  <a:pt x="820" y="494"/>
                </a:lnTo>
                <a:lnTo>
                  <a:pt x="817" y="486"/>
                </a:lnTo>
                <a:lnTo>
                  <a:pt x="814" y="477"/>
                </a:lnTo>
                <a:lnTo>
                  <a:pt x="810" y="469"/>
                </a:lnTo>
                <a:lnTo>
                  <a:pt x="805" y="460"/>
                </a:lnTo>
                <a:lnTo>
                  <a:pt x="799" y="451"/>
                </a:lnTo>
                <a:lnTo>
                  <a:pt x="792" y="443"/>
                </a:lnTo>
                <a:lnTo>
                  <a:pt x="782" y="435"/>
                </a:lnTo>
                <a:lnTo>
                  <a:pt x="772" y="426"/>
                </a:lnTo>
                <a:lnTo>
                  <a:pt x="772" y="426"/>
                </a:lnTo>
                <a:lnTo>
                  <a:pt x="764" y="421"/>
                </a:lnTo>
                <a:lnTo>
                  <a:pt x="755" y="417"/>
                </a:lnTo>
                <a:lnTo>
                  <a:pt x="745" y="415"/>
                </a:lnTo>
                <a:lnTo>
                  <a:pt x="735" y="413"/>
                </a:lnTo>
                <a:lnTo>
                  <a:pt x="725" y="412"/>
                </a:lnTo>
                <a:lnTo>
                  <a:pt x="716" y="412"/>
                </a:lnTo>
                <a:lnTo>
                  <a:pt x="698" y="414"/>
                </a:lnTo>
                <a:lnTo>
                  <a:pt x="681" y="418"/>
                </a:lnTo>
                <a:lnTo>
                  <a:pt x="668" y="421"/>
                </a:lnTo>
                <a:lnTo>
                  <a:pt x="657" y="425"/>
                </a:lnTo>
                <a:lnTo>
                  <a:pt x="657" y="425"/>
                </a:lnTo>
                <a:lnTo>
                  <a:pt x="664" y="421"/>
                </a:lnTo>
                <a:lnTo>
                  <a:pt x="672" y="415"/>
                </a:lnTo>
                <a:lnTo>
                  <a:pt x="681" y="408"/>
                </a:lnTo>
                <a:lnTo>
                  <a:pt x="691" y="397"/>
                </a:lnTo>
                <a:lnTo>
                  <a:pt x="701" y="384"/>
                </a:lnTo>
                <a:lnTo>
                  <a:pt x="705" y="376"/>
                </a:lnTo>
                <a:lnTo>
                  <a:pt x="709" y="369"/>
                </a:lnTo>
                <a:lnTo>
                  <a:pt x="712" y="360"/>
                </a:lnTo>
                <a:lnTo>
                  <a:pt x="714" y="351"/>
                </a:lnTo>
                <a:lnTo>
                  <a:pt x="714" y="351"/>
                </a:lnTo>
                <a:lnTo>
                  <a:pt x="716" y="336"/>
                </a:lnTo>
                <a:lnTo>
                  <a:pt x="715" y="320"/>
                </a:lnTo>
                <a:lnTo>
                  <a:pt x="713" y="303"/>
                </a:lnTo>
                <a:lnTo>
                  <a:pt x="709" y="285"/>
                </a:lnTo>
                <a:lnTo>
                  <a:pt x="702" y="267"/>
                </a:lnTo>
                <a:lnTo>
                  <a:pt x="693" y="249"/>
                </a:lnTo>
                <a:lnTo>
                  <a:pt x="682" y="232"/>
                </a:lnTo>
                <a:lnTo>
                  <a:pt x="676" y="223"/>
                </a:lnTo>
                <a:lnTo>
                  <a:pt x="669" y="216"/>
                </a:lnTo>
                <a:lnTo>
                  <a:pt x="668" y="214"/>
                </a:lnTo>
                <a:lnTo>
                  <a:pt x="665" y="214"/>
                </a:lnTo>
                <a:lnTo>
                  <a:pt x="665" y="214"/>
                </a:lnTo>
                <a:lnTo>
                  <a:pt x="655" y="214"/>
                </a:lnTo>
                <a:lnTo>
                  <a:pt x="644" y="215"/>
                </a:lnTo>
                <a:lnTo>
                  <a:pt x="624" y="219"/>
                </a:lnTo>
                <a:lnTo>
                  <a:pt x="606" y="224"/>
                </a:lnTo>
                <a:lnTo>
                  <a:pt x="587" y="232"/>
                </a:lnTo>
                <a:lnTo>
                  <a:pt x="572" y="240"/>
                </a:lnTo>
                <a:lnTo>
                  <a:pt x="557" y="250"/>
                </a:lnTo>
                <a:lnTo>
                  <a:pt x="545" y="261"/>
                </a:lnTo>
                <a:lnTo>
                  <a:pt x="535" y="272"/>
                </a:lnTo>
                <a:lnTo>
                  <a:pt x="535" y="272"/>
                </a:lnTo>
                <a:lnTo>
                  <a:pt x="530" y="280"/>
                </a:lnTo>
                <a:lnTo>
                  <a:pt x="526" y="288"/>
                </a:lnTo>
                <a:lnTo>
                  <a:pt x="523" y="297"/>
                </a:lnTo>
                <a:lnTo>
                  <a:pt x="520" y="305"/>
                </a:lnTo>
                <a:lnTo>
                  <a:pt x="517" y="320"/>
                </a:lnTo>
                <a:lnTo>
                  <a:pt x="516" y="334"/>
                </a:lnTo>
                <a:lnTo>
                  <a:pt x="516" y="347"/>
                </a:lnTo>
                <a:lnTo>
                  <a:pt x="517" y="357"/>
                </a:lnTo>
                <a:lnTo>
                  <a:pt x="519" y="365"/>
                </a:lnTo>
                <a:lnTo>
                  <a:pt x="519" y="365"/>
                </a:lnTo>
                <a:lnTo>
                  <a:pt x="513" y="354"/>
                </a:lnTo>
                <a:lnTo>
                  <a:pt x="508" y="341"/>
                </a:lnTo>
                <a:lnTo>
                  <a:pt x="499" y="327"/>
                </a:lnTo>
                <a:lnTo>
                  <a:pt x="488" y="313"/>
                </a:lnTo>
                <a:lnTo>
                  <a:pt x="482" y="306"/>
                </a:lnTo>
                <a:lnTo>
                  <a:pt x="475" y="299"/>
                </a:lnTo>
                <a:lnTo>
                  <a:pt x="467" y="292"/>
                </a:lnTo>
                <a:lnTo>
                  <a:pt x="458" y="287"/>
                </a:lnTo>
                <a:lnTo>
                  <a:pt x="450" y="283"/>
                </a:lnTo>
                <a:lnTo>
                  <a:pt x="440" y="281"/>
                </a:lnTo>
                <a:lnTo>
                  <a:pt x="440" y="281"/>
                </a:lnTo>
                <a:lnTo>
                  <a:pt x="428" y="278"/>
                </a:lnTo>
                <a:lnTo>
                  <a:pt x="415" y="278"/>
                </a:lnTo>
                <a:lnTo>
                  <a:pt x="404" y="278"/>
                </a:lnTo>
                <a:lnTo>
                  <a:pt x="393" y="279"/>
                </a:lnTo>
                <a:lnTo>
                  <a:pt x="384" y="281"/>
                </a:lnTo>
                <a:lnTo>
                  <a:pt x="374" y="284"/>
                </a:lnTo>
                <a:lnTo>
                  <a:pt x="365" y="287"/>
                </a:lnTo>
                <a:lnTo>
                  <a:pt x="358" y="291"/>
                </a:lnTo>
                <a:lnTo>
                  <a:pt x="345" y="300"/>
                </a:lnTo>
                <a:lnTo>
                  <a:pt x="336" y="307"/>
                </a:lnTo>
                <a:lnTo>
                  <a:pt x="328" y="314"/>
                </a:lnTo>
                <a:lnTo>
                  <a:pt x="328" y="314"/>
                </a:lnTo>
                <a:lnTo>
                  <a:pt x="342" y="328"/>
                </a:lnTo>
                <a:lnTo>
                  <a:pt x="353" y="343"/>
                </a:lnTo>
                <a:lnTo>
                  <a:pt x="362" y="357"/>
                </a:lnTo>
                <a:lnTo>
                  <a:pt x="369" y="371"/>
                </a:lnTo>
                <a:lnTo>
                  <a:pt x="375" y="384"/>
                </a:lnTo>
                <a:lnTo>
                  <a:pt x="380" y="398"/>
                </a:lnTo>
                <a:lnTo>
                  <a:pt x="382" y="410"/>
                </a:lnTo>
                <a:lnTo>
                  <a:pt x="383" y="421"/>
                </a:lnTo>
                <a:lnTo>
                  <a:pt x="382" y="432"/>
                </a:lnTo>
                <a:lnTo>
                  <a:pt x="380" y="442"/>
                </a:lnTo>
                <a:lnTo>
                  <a:pt x="375" y="451"/>
                </a:lnTo>
                <a:lnTo>
                  <a:pt x="370" y="458"/>
                </a:lnTo>
                <a:lnTo>
                  <a:pt x="363" y="464"/>
                </a:lnTo>
                <a:lnTo>
                  <a:pt x="356" y="469"/>
                </a:lnTo>
                <a:lnTo>
                  <a:pt x="347" y="472"/>
                </a:lnTo>
                <a:lnTo>
                  <a:pt x="337" y="473"/>
                </a:lnTo>
                <a:lnTo>
                  <a:pt x="337" y="473"/>
                </a:lnTo>
                <a:lnTo>
                  <a:pt x="322" y="473"/>
                </a:lnTo>
                <a:lnTo>
                  <a:pt x="311" y="471"/>
                </a:lnTo>
                <a:lnTo>
                  <a:pt x="301" y="467"/>
                </a:lnTo>
                <a:lnTo>
                  <a:pt x="292" y="462"/>
                </a:lnTo>
                <a:lnTo>
                  <a:pt x="283" y="456"/>
                </a:lnTo>
                <a:lnTo>
                  <a:pt x="277" y="449"/>
                </a:lnTo>
                <a:lnTo>
                  <a:pt x="272" y="441"/>
                </a:lnTo>
                <a:lnTo>
                  <a:pt x="268" y="432"/>
                </a:lnTo>
                <a:lnTo>
                  <a:pt x="264" y="424"/>
                </a:lnTo>
                <a:lnTo>
                  <a:pt x="262" y="417"/>
                </a:lnTo>
                <a:lnTo>
                  <a:pt x="259" y="403"/>
                </a:lnTo>
                <a:lnTo>
                  <a:pt x="257" y="393"/>
                </a:lnTo>
                <a:lnTo>
                  <a:pt x="257" y="390"/>
                </a:lnTo>
                <a:lnTo>
                  <a:pt x="257" y="390"/>
                </a:lnTo>
                <a:lnTo>
                  <a:pt x="255" y="392"/>
                </a:lnTo>
                <a:lnTo>
                  <a:pt x="249" y="398"/>
                </a:lnTo>
                <a:lnTo>
                  <a:pt x="239" y="405"/>
                </a:lnTo>
                <a:lnTo>
                  <a:pt x="227" y="413"/>
                </a:lnTo>
                <a:lnTo>
                  <a:pt x="220" y="416"/>
                </a:lnTo>
                <a:lnTo>
                  <a:pt x="212" y="419"/>
                </a:lnTo>
                <a:lnTo>
                  <a:pt x="204" y="420"/>
                </a:lnTo>
                <a:lnTo>
                  <a:pt x="194" y="421"/>
                </a:lnTo>
                <a:lnTo>
                  <a:pt x="185" y="421"/>
                </a:lnTo>
                <a:lnTo>
                  <a:pt x="175" y="419"/>
                </a:lnTo>
                <a:lnTo>
                  <a:pt x="165" y="415"/>
                </a:lnTo>
                <a:lnTo>
                  <a:pt x="155" y="409"/>
                </a:lnTo>
                <a:lnTo>
                  <a:pt x="155" y="409"/>
                </a:lnTo>
                <a:lnTo>
                  <a:pt x="147" y="404"/>
                </a:lnTo>
                <a:lnTo>
                  <a:pt x="140" y="397"/>
                </a:lnTo>
                <a:lnTo>
                  <a:pt x="135" y="390"/>
                </a:lnTo>
                <a:lnTo>
                  <a:pt x="131" y="381"/>
                </a:lnTo>
                <a:lnTo>
                  <a:pt x="129" y="372"/>
                </a:lnTo>
                <a:lnTo>
                  <a:pt x="128" y="363"/>
                </a:lnTo>
                <a:lnTo>
                  <a:pt x="128" y="354"/>
                </a:lnTo>
                <a:lnTo>
                  <a:pt x="131" y="345"/>
                </a:lnTo>
                <a:lnTo>
                  <a:pt x="136" y="334"/>
                </a:lnTo>
                <a:lnTo>
                  <a:pt x="142" y="325"/>
                </a:lnTo>
                <a:lnTo>
                  <a:pt x="153" y="316"/>
                </a:lnTo>
                <a:lnTo>
                  <a:pt x="164" y="308"/>
                </a:lnTo>
                <a:lnTo>
                  <a:pt x="178" y="300"/>
                </a:lnTo>
                <a:lnTo>
                  <a:pt x="195" y="292"/>
                </a:lnTo>
                <a:lnTo>
                  <a:pt x="216" y="286"/>
                </a:lnTo>
                <a:lnTo>
                  <a:pt x="239" y="280"/>
                </a:lnTo>
                <a:lnTo>
                  <a:pt x="239" y="280"/>
                </a:lnTo>
                <a:lnTo>
                  <a:pt x="238" y="275"/>
                </a:lnTo>
                <a:lnTo>
                  <a:pt x="233" y="262"/>
                </a:lnTo>
                <a:lnTo>
                  <a:pt x="230" y="253"/>
                </a:lnTo>
                <a:lnTo>
                  <a:pt x="225" y="242"/>
                </a:lnTo>
                <a:lnTo>
                  <a:pt x="220" y="232"/>
                </a:lnTo>
                <a:lnTo>
                  <a:pt x="213" y="222"/>
                </a:lnTo>
                <a:lnTo>
                  <a:pt x="205" y="213"/>
                </a:lnTo>
                <a:lnTo>
                  <a:pt x="195" y="203"/>
                </a:lnTo>
                <a:lnTo>
                  <a:pt x="185" y="196"/>
                </a:lnTo>
                <a:lnTo>
                  <a:pt x="173" y="190"/>
                </a:lnTo>
                <a:lnTo>
                  <a:pt x="167" y="188"/>
                </a:lnTo>
                <a:lnTo>
                  <a:pt x="161" y="187"/>
                </a:lnTo>
                <a:lnTo>
                  <a:pt x="154" y="186"/>
                </a:lnTo>
                <a:lnTo>
                  <a:pt x="145" y="185"/>
                </a:lnTo>
                <a:lnTo>
                  <a:pt x="138" y="186"/>
                </a:lnTo>
                <a:lnTo>
                  <a:pt x="129" y="187"/>
                </a:lnTo>
                <a:lnTo>
                  <a:pt x="121" y="190"/>
                </a:lnTo>
                <a:lnTo>
                  <a:pt x="112" y="193"/>
                </a:lnTo>
                <a:lnTo>
                  <a:pt x="112" y="193"/>
                </a:lnTo>
                <a:lnTo>
                  <a:pt x="115" y="191"/>
                </a:lnTo>
                <a:lnTo>
                  <a:pt x="119" y="188"/>
                </a:lnTo>
                <a:lnTo>
                  <a:pt x="127" y="180"/>
                </a:lnTo>
                <a:lnTo>
                  <a:pt x="136" y="168"/>
                </a:lnTo>
                <a:lnTo>
                  <a:pt x="144" y="153"/>
                </a:lnTo>
                <a:lnTo>
                  <a:pt x="148" y="144"/>
                </a:lnTo>
                <a:lnTo>
                  <a:pt x="153" y="136"/>
                </a:lnTo>
                <a:lnTo>
                  <a:pt x="156" y="127"/>
                </a:lnTo>
                <a:lnTo>
                  <a:pt x="158" y="117"/>
                </a:lnTo>
                <a:lnTo>
                  <a:pt x="159" y="106"/>
                </a:lnTo>
                <a:lnTo>
                  <a:pt x="160" y="97"/>
                </a:lnTo>
                <a:lnTo>
                  <a:pt x="159" y="86"/>
                </a:lnTo>
                <a:lnTo>
                  <a:pt x="157" y="76"/>
                </a:lnTo>
                <a:lnTo>
                  <a:pt x="157" y="76"/>
                </a:lnTo>
                <a:lnTo>
                  <a:pt x="155" y="66"/>
                </a:lnTo>
                <a:lnTo>
                  <a:pt x="150" y="57"/>
                </a:lnTo>
                <a:lnTo>
                  <a:pt x="147" y="49"/>
                </a:lnTo>
                <a:lnTo>
                  <a:pt x="143" y="41"/>
                </a:lnTo>
                <a:lnTo>
                  <a:pt x="134" y="28"/>
                </a:lnTo>
                <a:lnTo>
                  <a:pt x="125" y="17"/>
                </a:lnTo>
                <a:lnTo>
                  <a:pt x="117" y="9"/>
                </a:lnTo>
                <a:lnTo>
                  <a:pt x="110" y="4"/>
                </a:lnTo>
                <a:lnTo>
                  <a:pt x="103" y="0"/>
                </a:lnTo>
                <a:lnTo>
                  <a:pt x="0" y="593"/>
                </a:lnTo>
                <a:lnTo>
                  <a:pt x="269" y="712"/>
                </a:lnTo>
                <a:lnTo>
                  <a:pt x="269" y="712"/>
                </a:lnTo>
                <a:lnTo>
                  <a:pt x="293" y="693"/>
                </a:lnTo>
                <a:lnTo>
                  <a:pt x="315" y="677"/>
                </a:lnTo>
                <a:lnTo>
                  <a:pt x="336" y="665"/>
                </a:lnTo>
                <a:lnTo>
                  <a:pt x="354" y="656"/>
                </a:lnTo>
                <a:lnTo>
                  <a:pt x="354" y="656"/>
                </a:lnTo>
                <a:lnTo>
                  <a:pt x="367" y="650"/>
                </a:lnTo>
                <a:lnTo>
                  <a:pt x="382" y="646"/>
                </a:lnTo>
                <a:lnTo>
                  <a:pt x="396" y="642"/>
                </a:lnTo>
                <a:lnTo>
                  <a:pt x="409" y="639"/>
                </a:lnTo>
                <a:lnTo>
                  <a:pt x="423" y="637"/>
                </a:lnTo>
                <a:lnTo>
                  <a:pt x="437" y="636"/>
                </a:lnTo>
                <a:lnTo>
                  <a:pt x="450" y="635"/>
                </a:lnTo>
                <a:lnTo>
                  <a:pt x="464" y="635"/>
                </a:lnTo>
                <a:lnTo>
                  <a:pt x="478" y="636"/>
                </a:lnTo>
                <a:lnTo>
                  <a:pt x="491" y="638"/>
                </a:lnTo>
                <a:lnTo>
                  <a:pt x="504" y="640"/>
                </a:lnTo>
                <a:lnTo>
                  <a:pt x="517" y="643"/>
                </a:lnTo>
                <a:lnTo>
                  <a:pt x="542" y="650"/>
                </a:lnTo>
                <a:lnTo>
                  <a:pt x="566" y="658"/>
                </a:lnTo>
                <a:lnTo>
                  <a:pt x="566" y="658"/>
                </a:lnTo>
                <a:lnTo>
                  <a:pt x="582" y="667"/>
                </a:lnTo>
                <a:lnTo>
                  <a:pt x="596" y="675"/>
                </a:lnTo>
                <a:lnTo>
                  <a:pt x="610" y="683"/>
                </a:lnTo>
                <a:lnTo>
                  <a:pt x="621" y="691"/>
                </a:lnTo>
                <a:lnTo>
                  <a:pt x="631" y="699"/>
                </a:lnTo>
                <a:lnTo>
                  <a:pt x="639" y="709"/>
                </a:lnTo>
                <a:lnTo>
                  <a:pt x="646" y="717"/>
                </a:lnTo>
                <a:lnTo>
                  <a:pt x="653" y="726"/>
                </a:lnTo>
                <a:lnTo>
                  <a:pt x="658" y="735"/>
                </a:lnTo>
                <a:lnTo>
                  <a:pt x="662" y="743"/>
                </a:lnTo>
                <a:lnTo>
                  <a:pt x="665" y="753"/>
                </a:lnTo>
                <a:lnTo>
                  <a:pt x="668" y="761"/>
                </a:lnTo>
                <a:lnTo>
                  <a:pt x="671" y="778"/>
                </a:lnTo>
                <a:lnTo>
                  <a:pt x="673" y="793"/>
                </a:lnTo>
                <a:lnTo>
                  <a:pt x="673" y="793"/>
                </a:lnTo>
                <a:lnTo>
                  <a:pt x="672" y="804"/>
                </a:lnTo>
                <a:lnTo>
                  <a:pt x="670" y="815"/>
                </a:lnTo>
                <a:lnTo>
                  <a:pt x="667" y="827"/>
                </a:lnTo>
                <a:lnTo>
                  <a:pt x="663" y="839"/>
                </a:lnTo>
                <a:lnTo>
                  <a:pt x="654" y="863"/>
                </a:lnTo>
                <a:lnTo>
                  <a:pt x="646" y="877"/>
                </a:lnTo>
                <a:lnTo>
                  <a:pt x="841" y="96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6" name="Freeform 43"/>
          <p:cNvSpPr>
            <a:spLocks/>
          </p:cNvSpPr>
          <p:nvPr userDrawn="1"/>
        </p:nvSpPr>
        <p:spPr bwMode="auto">
          <a:xfrm>
            <a:off x="7581900" y="1218903"/>
            <a:ext cx="193675" cy="33338"/>
          </a:xfrm>
          <a:custGeom>
            <a:avLst/>
            <a:gdLst>
              <a:gd name="T0" fmla="*/ 1228 w 1463"/>
              <a:gd name="T1" fmla="*/ 227 h 256"/>
              <a:gd name="T2" fmla="*/ 1463 w 1463"/>
              <a:gd name="T3" fmla="*/ 113 h 256"/>
              <a:gd name="T4" fmla="*/ 1225 w 1463"/>
              <a:gd name="T5" fmla="*/ 14 h 256"/>
              <a:gd name="T6" fmla="*/ 1225 w 1463"/>
              <a:gd name="T7" fmla="*/ 14 h 256"/>
              <a:gd name="T8" fmla="*/ 1152 w 1463"/>
              <a:gd name="T9" fmla="*/ 15 h 256"/>
              <a:gd name="T10" fmla="*/ 1060 w 1463"/>
              <a:gd name="T11" fmla="*/ 16 h 256"/>
              <a:gd name="T12" fmla="*/ 949 w 1463"/>
              <a:gd name="T13" fmla="*/ 15 h 256"/>
              <a:gd name="T14" fmla="*/ 824 w 1463"/>
              <a:gd name="T15" fmla="*/ 13 h 256"/>
              <a:gd name="T16" fmla="*/ 531 w 1463"/>
              <a:gd name="T17" fmla="*/ 7 h 256"/>
              <a:gd name="T18" fmla="*/ 197 w 1463"/>
              <a:gd name="T19" fmla="*/ 0 h 256"/>
              <a:gd name="T20" fmla="*/ 0 w 1463"/>
              <a:gd name="T21" fmla="*/ 256 h 256"/>
              <a:gd name="T22" fmla="*/ 0 w 1463"/>
              <a:gd name="T23" fmla="*/ 256 h 256"/>
              <a:gd name="T24" fmla="*/ 734 w 1463"/>
              <a:gd name="T25" fmla="*/ 240 h 256"/>
              <a:gd name="T26" fmla="*/ 1024 w 1463"/>
              <a:gd name="T27" fmla="*/ 234 h 256"/>
              <a:gd name="T28" fmla="*/ 1228 w 1463"/>
              <a:gd name="T29" fmla="*/ 22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3" h="256">
                <a:moveTo>
                  <a:pt x="1228" y="227"/>
                </a:moveTo>
                <a:lnTo>
                  <a:pt x="1463" y="113"/>
                </a:lnTo>
                <a:lnTo>
                  <a:pt x="1225" y="14"/>
                </a:lnTo>
                <a:lnTo>
                  <a:pt x="1225" y="14"/>
                </a:lnTo>
                <a:lnTo>
                  <a:pt x="1152" y="15"/>
                </a:lnTo>
                <a:lnTo>
                  <a:pt x="1060" y="16"/>
                </a:lnTo>
                <a:lnTo>
                  <a:pt x="949" y="15"/>
                </a:lnTo>
                <a:lnTo>
                  <a:pt x="824" y="13"/>
                </a:lnTo>
                <a:lnTo>
                  <a:pt x="531" y="7"/>
                </a:lnTo>
                <a:lnTo>
                  <a:pt x="197" y="0"/>
                </a:lnTo>
                <a:lnTo>
                  <a:pt x="0" y="256"/>
                </a:lnTo>
                <a:lnTo>
                  <a:pt x="0" y="256"/>
                </a:lnTo>
                <a:lnTo>
                  <a:pt x="734" y="240"/>
                </a:lnTo>
                <a:lnTo>
                  <a:pt x="1024" y="234"/>
                </a:lnTo>
                <a:lnTo>
                  <a:pt x="1228" y="22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7" name="Freeform 44"/>
          <p:cNvSpPr>
            <a:spLocks/>
          </p:cNvSpPr>
          <p:nvPr userDrawn="1"/>
        </p:nvSpPr>
        <p:spPr bwMode="auto">
          <a:xfrm>
            <a:off x="7643812" y="1301453"/>
            <a:ext cx="114300" cy="112713"/>
          </a:xfrm>
          <a:custGeom>
            <a:avLst/>
            <a:gdLst>
              <a:gd name="T0" fmla="*/ 386 w 869"/>
              <a:gd name="T1" fmla="*/ 818 h 851"/>
              <a:gd name="T2" fmla="*/ 235 w 869"/>
              <a:gd name="T3" fmla="*/ 737 h 851"/>
              <a:gd name="T4" fmla="*/ 156 w 869"/>
              <a:gd name="T5" fmla="*/ 685 h 851"/>
              <a:gd name="T6" fmla="*/ 90 w 869"/>
              <a:gd name="T7" fmla="*/ 626 h 851"/>
              <a:gd name="T8" fmla="*/ 37 w 869"/>
              <a:gd name="T9" fmla="*/ 557 h 851"/>
              <a:gd name="T10" fmla="*/ 24 w 869"/>
              <a:gd name="T11" fmla="*/ 531 h 851"/>
              <a:gd name="T12" fmla="*/ 10 w 869"/>
              <a:gd name="T13" fmla="*/ 487 h 851"/>
              <a:gd name="T14" fmla="*/ 2 w 869"/>
              <a:gd name="T15" fmla="*/ 439 h 851"/>
              <a:gd name="T16" fmla="*/ 0 w 869"/>
              <a:gd name="T17" fmla="*/ 389 h 851"/>
              <a:gd name="T18" fmla="*/ 5 w 869"/>
              <a:gd name="T19" fmla="*/ 336 h 851"/>
              <a:gd name="T20" fmla="*/ 15 w 869"/>
              <a:gd name="T21" fmla="*/ 283 h 851"/>
              <a:gd name="T22" fmla="*/ 34 w 869"/>
              <a:gd name="T23" fmla="*/ 231 h 851"/>
              <a:gd name="T24" fmla="*/ 59 w 869"/>
              <a:gd name="T25" fmla="*/ 182 h 851"/>
              <a:gd name="T26" fmla="*/ 93 w 869"/>
              <a:gd name="T27" fmla="*/ 136 h 851"/>
              <a:gd name="T28" fmla="*/ 134 w 869"/>
              <a:gd name="T29" fmla="*/ 94 h 851"/>
              <a:gd name="T30" fmla="*/ 183 w 869"/>
              <a:gd name="T31" fmla="*/ 59 h 851"/>
              <a:gd name="T32" fmla="*/ 198 w 869"/>
              <a:gd name="T33" fmla="*/ 75 h 851"/>
              <a:gd name="T34" fmla="*/ 217 w 869"/>
              <a:gd name="T35" fmla="*/ 106 h 851"/>
              <a:gd name="T36" fmla="*/ 227 w 869"/>
              <a:gd name="T37" fmla="*/ 141 h 851"/>
              <a:gd name="T38" fmla="*/ 247 w 869"/>
              <a:gd name="T39" fmla="*/ 150 h 851"/>
              <a:gd name="T40" fmla="*/ 379 w 869"/>
              <a:gd name="T41" fmla="*/ 144 h 851"/>
              <a:gd name="T42" fmla="*/ 424 w 869"/>
              <a:gd name="T43" fmla="*/ 143 h 851"/>
              <a:gd name="T44" fmla="*/ 424 w 869"/>
              <a:gd name="T45" fmla="*/ 94 h 851"/>
              <a:gd name="T46" fmla="*/ 414 w 869"/>
              <a:gd name="T47" fmla="*/ 37 h 851"/>
              <a:gd name="T48" fmla="*/ 397 w 869"/>
              <a:gd name="T49" fmla="*/ 0 h 851"/>
              <a:gd name="T50" fmla="*/ 431 w 869"/>
              <a:gd name="T51" fmla="*/ 27 h 851"/>
              <a:gd name="T52" fmla="*/ 459 w 869"/>
              <a:gd name="T53" fmla="*/ 55 h 851"/>
              <a:gd name="T54" fmla="*/ 475 w 869"/>
              <a:gd name="T55" fmla="*/ 82 h 851"/>
              <a:gd name="T56" fmla="*/ 487 w 869"/>
              <a:gd name="T57" fmla="*/ 116 h 851"/>
              <a:gd name="T58" fmla="*/ 493 w 869"/>
              <a:gd name="T59" fmla="*/ 143 h 851"/>
              <a:gd name="T60" fmla="*/ 671 w 869"/>
              <a:gd name="T61" fmla="*/ 133 h 851"/>
              <a:gd name="T62" fmla="*/ 662 w 869"/>
              <a:gd name="T63" fmla="*/ 88 h 851"/>
              <a:gd name="T64" fmla="*/ 643 w 869"/>
              <a:gd name="T65" fmla="*/ 50 h 851"/>
              <a:gd name="T66" fmla="*/ 651 w 869"/>
              <a:gd name="T67" fmla="*/ 46 h 851"/>
              <a:gd name="T68" fmla="*/ 699 w 869"/>
              <a:gd name="T69" fmla="*/ 73 h 851"/>
              <a:gd name="T70" fmla="*/ 740 w 869"/>
              <a:gd name="T71" fmla="*/ 104 h 851"/>
              <a:gd name="T72" fmla="*/ 775 w 869"/>
              <a:gd name="T73" fmla="*/ 138 h 851"/>
              <a:gd name="T74" fmla="*/ 803 w 869"/>
              <a:gd name="T75" fmla="*/ 175 h 851"/>
              <a:gd name="T76" fmla="*/ 837 w 869"/>
              <a:gd name="T77" fmla="*/ 238 h 851"/>
              <a:gd name="T78" fmla="*/ 861 w 869"/>
              <a:gd name="T79" fmla="*/ 312 h 851"/>
              <a:gd name="T80" fmla="*/ 869 w 869"/>
              <a:gd name="T81" fmla="*/ 379 h 851"/>
              <a:gd name="T82" fmla="*/ 869 w 869"/>
              <a:gd name="T83" fmla="*/ 423 h 851"/>
              <a:gd name="T84" fmla="*/ 859 w 869"/>
              <a:gd name="T85" fmla="*/ 499 h 851"/>
              <a:gd name="T86" fmla="*/ 834 w 869"/>
              <a:gd name="T87" fmla="*/ 569 h 851"/>
              <a:gd name="T88" fmla="*/ 796 w 869"/>
              <a:gd name="T89" fmla="*/ 631 h 851"/>
              <a:gd name="T90" fmla="*/ 749 w 869"/>
              <a:gd name="T91" fmla="*/ 684 h 851"/>
              <a:gd name="T92" fmla="*/ 693 w 869"/>
              <a:gd name="T93" fmla="*/ 727 h 851"/>
              <a:gd name="T94" fmla="*/ 626 w 869"/>
              <a:gd name="T95" fmla="*/ 766 h 851"/>
              <a:gd name="T96" fmla="*/ 506 w 869"/>
              <a:gd name="T97" fmla="*/ 826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9" h="851">
                <a:moveTo>
                  <a:pt x="452" y="851"/>
                </a:moveTo>
                <a:lnTo>
                  <a:pt x="452" y="851"/>
                </a:lnTo>
                <a:lnTo>
                  <a:pt x="386" y="818"/>
                </a:lnTo>
                <a:lnTo>
                  <a:pt x="323" y="785"/>
                </a:lnTo>
                <a:lnTo>
                  <a:pt x="264" y="754"/>
                </a:lnTo>
                <a:lnTo>
                  <a:pt x="235" y="737"/>
                </a:lnTo>
                <a:lnTo>
                  <a:pt x="207" y="720"/>
                </a:lnTo>
                <a:lnTo>
                  <a:pt x="181" y="703"/>
                </a:lnTo>
                <a:lnTo>
                  <a:pt x="156" y="685"/>
                </a:lnTo>
                <a:lnTo>
                  <a:pt x="133" y="666"/>
                </a:lnTo>
                <a:lnTo>
                  <a:pt x="110" y="646"/>
                </a:lnTo>
                <a:lnTo>
                  <a:pt x="90" y="626"/>
                </a:lnTo>
                <a:lnTo>
                  <a:pt x="70" y="605"/>
                </a:lnTo>
                <a:lnTo>
                  <a:pt x="53" y="581"/>
                </a:lnTo>
                <a:lnTo>
                  <a:pt x="37" y="557"/>
                </a:lnTo>
                <a:lnTo>
                  <a:pt x="37" y="557"/>
                </a:lnTo>
                <a:lnTo>
                  <a:pt x="31" y="544"/>
                </a:lnTo>
                <a:lnTo>
                  <a:pt x="24" y="531"/>
                </a:lnTo>
                <a:lnTo>
                  <a:pt x="19" y="517"/>
                </a:lnTo>
                <a:lnTo>
                  <a:pt x="14" y="502"/>
                </a:lnTo>
                <a:lnTo>
                  <a:pt x="10" y="487"/>
                </a:lnTo>
                <a:lnTo>
                  <a:pt x="7" y="472"/>
                </a:lnTo>
                <a:lnTo>
                  <a:pt x="4" y="455"/>
                </a:lnTo>
                <a:lnTo>
                  <a:pt x="2" y="439"/>
                </a:lnTo>
                <a:lnTo>
                  <a:pt x="1" y="423"/>
                </a:lnTo>
                <a:lnTo>
                  <a:pt x="0" y="405"/>
                </a:lnTo>
                <a:lnTo>
                  <a:pt x="0" y="389"/>
                </a:lnTo>
                <a:lnTo>
                  <a:pt x="1" y="371"/>
                </a:lnTo>
                <a:lnTo>
                  <a:pt x="2" y="353"/>
                </a:lnTo>
                <a:lnTo>
                  <a:pt x="5" y="336"/>
                </a:lnTo>
                <a:lnTo>
                  <a:pt x="7" y="318"/>
                </a:lnTo>
                <a:lnTo>
                  <a:pt x="11" y="301"/>
                </a:lnTo>
                <a:lnTo>
                  <a:pt x="15" y="283"/>
                </a:lnTo>
                <a:lnTo>
                  <a:pt x="21" y="266"/>
                </a:lnTo>
                <a:lnTo>
                  <a:pt x="26" y="249"/>
                </a:lnTo>
                <a:lnTo>
                  <a:pt x="34" y="231"/>
                </a:lnTo>
                <a:lnTo>
                  <a:pt x="42" y="215"/>
                </a:lnTo>
                <a:lnTo>
                  <a:pt x="50" y="199"/>
                </a:lnTo>
                <a:lnTo>
                  <a:pt x="59" y="182"/>
                </a:lnTo>
                <a:lnTo>
                  <a:pt x="69" y="166"/>
                </a:lnTo>
                <a:lnTo>
                  <a:pt x="81" y="151"/>
                </a:lnTo>
                <a:lnTo>
                  <a:pt x="93" y="136"/>
                </a:lnTo>
                <a:lnTo>
                  <a:pt x="105" y="122"/>
                </a:lnTo>
                <a:lnTo>
                  <a:pt x="120" y="108"/>
                </a:lnTo>
                <a:lnTo>
                  <a:pt x="134" y="94"/>
                </a:lnTo>
                <a:lnTo>
                  <a:pt x="149" y="82"/>
                </a:lnTo>
                <a:lnTo>
                  <a:pt x="166" y="70"/>
                </a:lnTo>
                <a:lnTo>
                  <a:pt x="183" y="59"/>
                </a:lnTo>
                <a:lnTo>
                  <a:pt x="183" y="59"/>
                </a:lnTo>
                <a:lnTo>
                  <a:pt x="191" y="67"/>
                </a:lnTo>
                <a:lnTo>
                  <a:pt x="198" y="75"/>
                </a:lnTo>
                <a:lnTo>
                  <a:pt x="203" y="82"/>
                </a:lnTo>
                <a:lnTo>
                  <a:pt x="208" y="90"/>
                </a:lnTo>
                <a:lnTo>
                  <a:pt x="217" y="106"/>
                </a:lnTo>
                <a:lnTo>
                  <a:pt x="222" y="120"/>
                </a:lnTo>
                <a:lnTo>
                  <a:pt x="225" y="132"/>
                </a:lnTo>
                <a:lnTo>
                  <a:pt x="227" y="141"/>
                </a:lnTo>
                <a:lnTo>
                  <a:pt x="227" y="150"/>
                </a:lnTo>
                <a:lnTo>
                  <a:pt x="227" y="150"/>
                </a:lnTo>
                <a:lnTo>
                  <a:pt x="247" y="150"/>
                </a:lnTo>
                <a:lnTo>
                  <a:pt x="272" y="150"/>
                </a:lnTo>
                <a:lnTo>
                  <a:pt x="325" y="146"/>
                </a:lnTo>
                <a:lnTo>
                  <a:pt x="379" y="144"/>
                </a:lnTo>
                <a:lnTo>
                  <a:pt x="404" y="143"/>
                </a:lnTo>
                <a:lnTo>
                  <a:pt x="424" y="143"/>
                </a:lnTo>
                <a:lnTo>
                  <a:pt x="424" y="143"/>
                </a:lnTo>
                <a:lnTo>
                  <a:pt x="425" y="129"/>
                </a:lnTo>
                <a:lnTo>
                  <a:pt x="425" y="112"/>
                </a:lnTo>
                <a:lnTo>
                  <a:pt x="424" y="94"/>
                </a:lnTo>
                <a:lnTo>
                  <a:pt x="422" y="76"/>
                </a:lnTo>
                <a:lnTo>
                  <a:pt x="419" y="56"/>
                </a:lnTo>
                <a:lnTo>
                  <a:pt x="414" y="37"/>
                </a:lnTo>
                <a:lnTo>
                  <a:pt x="407" y="19"/>
                </a:lnTo>
                <a:lnTo>
                  <a:pt x="402" y="9"/>
                </a:lnTo>
                <a:lnTo>
                  <a:pt x="397" y="0"/>
                </a:lnTo>
                <a:lnTo>
                  <a:pt x="397" y="0"/>
                </a:lnTo>
                <a:lnTo>
                  <a:pt x="415" y="14"/>
                </a:lnTo>
                <a:lnTo>
                  <a:pt x="431" y="27"/>
                </a:lnTo>
                <a:lnTo>
                  <a:pt x="446" y="40"/>
                </a:lnTo>
                <a:lnTo>
                  <a:pt x="453" y="47"/>
                </a:lnTo>
                <a:lnTo>
                  <a:pt x="459" y="55"/>
                </a:lnTo>
                <a:lnTo>
                  <a:pt x="465" y="64"/>
                </a:lnTo>
                <a:lnTo>
                  <a:pt x="470" y="73"/>
                </a:lnTo>
                <a:lnTo>
                  <a:pt x="475" y="82"/>
                </a:lnTo>
                <a:lnTo>
                  <a:pt x="479" y="92"/>
                </a:lnTo>
                <a:lnTo>
                  <a:pt x="484" y="104"/>
                </a:lnTo>
                <a:lnTo>
                  <a:pt x="487" y="116"/>
                </a:lnTo>
                <a:lnTo>
                  <a:pt x="490" y="129"/>
                </a:lnTo>
                <a:lnTo>
                  <a:pt x="493" y="143"/>
                </a:lnTo>
                <a:lnTo>
                  <a:pt x="493" y="143"/>
                </a:lnTo>
                <a:lnTo>
                  <a:pt x="671" y="150"/>
                </a:lnTo>
                <a:lnTo>
                  <a:pt x="671" y="150"/>
                </a:lnTo>
                <a:lnTo>
                  <a:pt x="671" y="133"/>
                </a:lnTo>
                <a:lnTo>
                  <a:pt x="670" y="118"/>
                </a:lnTo>
                <a:lnTo>
                  <a:pt x="667" y="103"/>
                </a:lnTo>
                <a:lnTo>
                  <a:pt x="662" y="88"/>
                </a:lnTo>
                <a:lnTo>
                  <a:pt x="657" y="75"/>
                </a:lnTo>
                <a:lnTo>
                  <a:pt x="651" y="62"/>
                </a:lnTo>
                <a:lnTo>
                  <a:pt x="643" y="50"/>
                </a:lnTo>
                <a:lnTo>
                  <a:pt x="634" y="38"/>
                </a:lnTo>
                <a:lnTo>
                  <a:pt x="634" y="38"/>
                </a:lnTo>
                <a:lnTo>
                  <a:pt x="651" y="46"/>
                </a:lnTo>
                <a:lnTo>
                  <a:pt x="669" y="54"/>
                </a:lnTo>
                <a:lnTo>
                  <a:pt x="684" y="64"/>
                </a:lnTo>
                <a:lnTo>
                  <a:pt x="699" y="73"/>
                </a:lnTo>
                <a:lnTo>
                  <a:pt x="714" y="83"/>
                </a:lnTo>
                <a:lnTo>
                  <a:pt x="728" y="93"/>
                </a:lnTo>
                <a:lnTo>
                  <a:pt x="740" y="104"/>
                </a:lnTo>
                <a:lnTo>
                  <a:pt x="752" y="115"/>
                </a:lnTo>
                <a:lnTo>
                  <a:pt x="764" y="126"/>
                </a:lnTo>
                <a:lnTo>
                  <a:pt x="775" y="138"/>
                </a:lnTo>
                <a:lnTo>
                  <a:pt x="785" y="151"/>
                </a:lnTo>
                <a:lnTo>
                  <a:pt x="794" y="163"/>
                </a:lnTo>
                <a:lnTo>
                  <a:pt x="803" y="175"/>
                </a:lnTo>
                <a:lnTo>
                  <a:pt x="811" y="187"/>
                </a:lnTo>
                <a:lnTo>
                  <a:pt x="825" y="213"/>
                </a:lnTo>
                <a:lnTo>
                  <a:pt x="837" y="238"/>
                </a:lnTo>
                <a:lnTo>
                  <a:pt x="848" y="263"/>
                </a:lnTo>
                <a:lnTo>
                  <a:pt x="855" y="289"/>
                </a:lnTo>
                <a:lnTo>
                  <a:pt x="861" y="312"/>
                </a:lnTo>
                <a:lnTo>
                  <a:pt x="865" y="336"/>
                </a:lnTo>
                <a:lnTo>
                  <a:pt x="868" y="358"/>
                </a:lnTo>
                <a:lnTo>
                  <a:pt x="869" y="379"/>
                </a:lnTo>
                <a:lnTo>
                  <a:pt x="869" y="397"/>
                </a:lnTo>
                <a:lnTo>
                  <a:pt x="869" y="397"/>
                </a:lnTo>
                <a:lnTo>
                  <a:pt x="869" y="423"/>
                </a:lnTo>
                <a:lnTo>
                  <a:pt x="868" y="449"/>
                </a:lnTo>
                <a:lnTo>
                  <a:pt x="864" y="474"/>
                </a:lnTo>
                <a:lnTo>
                  <a:pt x="859" y="499"/>
                </a:lnTo>
                <a:lnTo>
                  <a:pt x="852" y="523"/>
                </a:lnTo>
                <a:lnTo>
                  <a:pt x="843" y="546"/>
                </a:lnTo>
                <a:lnTo>
                  <a:pt x="834" y="569"/>
                </a:lnTo>
                <a:lnTo>
                  <a:pt x="823" y="590"/>
                </a:lnTo>
                <a:lnTo>
                  <a:pt x="811" y="612"/>
                </a:lnTo>
                <a:lnTo>
                  <a:pt x="796" y="631"/>
                </a:lnTo>
                <a:lnTo>
                  <a:pt x="782" y="651"/>
                </a:lnTo>
                <a:lnTo>
                  <a:pt x="766" y="668"/>
                </a:lnTo>
                <a:lnTo>
                  <a:pt x="749" y="684"/>
                </a:lnTo>
                <a:lnTo>
                  <a:pt x="731" y="700"/>
                </a:lnTo>
                <a:lnTo>
                  <a:pt x="713" y="714"/>
                </a:lnTo>
                <a:lnTo>
                  <a:pt x="693" y="727"/>
                </a:lnTo>
                <a:lnTo>
                  <a:pt x="693" y="727"/>
                </a:lnTo>
                <a:lnTo>
                  <a:pt x="658" y="748"/>
                </a:lnTo>
                <a:lnTo>
                  <a:pt x="626" y="766"/>
                </a:lnTo>
                <a:lnTo>
                  <a:pt x="594" y="783"/>
                </a:lnTo>
                <a:lnTo>
                  <a:pt x="563" y="799"/>
                </a:lnTo>
                <a:lnTo>
                  <a:pt x="506" y="826"/>
                </a:lnTo>
                <a:lnTo>
                  <a:pt x="452" y="85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8" name="Freeform 45"/>
          <p:cNvSpPr>
            <a:spLocks/>
          </p:cNvSpPr>
          <p:nvPr userDrawn="1"/>
        </p:nvSpPr>
        <p:spPr bwMode="auto">
          <a:xfrm>
            <a:off x="7677150" y="1579265"/>
            <a:ext cx="1588" cy="0"/>
          </a:xfrm>
          <a:custGeom>
            <a:avLst/>
            <a:gdLst>
              <a:gd name="T0" fmla="*/ 22 w 22"/>
              <a:gd name="T1" fmla="*/ 9 h 9"/>
              <a:gd name="T2" fmla="*/ 22 w 22"/>
              <a:gd name="T3" fmla="*/ 9 h 9"/>
              <a:gd name="T4" fmla="*/ 3 w 22"/>
              <a:gd name="T5" fmla="*/ 2 h 9"/>
              <a:gd name="T6" fmla="*/ 3 w 22"/>
              <a:gd name="T7" fmla="*/ 2 h 9"/>
              <a:gd name="T8" fmla="*/ 0 w 22"/>
              <a:gd name="T9" fmla="*/ 0 h 9"/>
              <a:gd name="T10" fmla="*/ 0 w 22"/>
              <a:gd name="T11" fmla="*/ 0 h 9"/>
              <a:gd name="T12" fmla="*/ 22 w 22"/>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22" h="9">
                <a:moveTo>
                  <a:pt x="22" y="9"/>
                </a:moveTo>
                <a:lnTo>
                  <a:pt x="22" y="9"/>
                </a:lnTo>
                <a:lnTo>
                  <a:pt x="3" y="2"/>
                </a:lnTo>
                <a:lnTo>
                  <a:pt x="3" y="2"/>
                </a:lnTo>
                <a:lnTo>
                  <a:pt x="0" y="0"/>
                </a:lnTo>
                <a:lnTo>
                  <a:pt x="0" y="0"/>
                </a:lnTo>
                <a:lnTo>
                  <a:pt x="22"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9" name="Freeform 46"/>
          <p:cNvSpPr>
            <a:spLocks/>
          </p:cNvSpPr>
          <p:nvPr userDrawn="1"/>
        </p:nvSpPr>
        <p:spPr bwMode="auto">
          <a:xfrm>
            <a:off x="7429500" y="1261765"/>
            <a:ext cx="20638" cy="12700"/>
          </a:xfrm>
          <a:custGeom>
            <a:avLst/>
            <a:gdLst>
              <a:gd name="T0" fmla="*/ 166 w 166"/>
              <a:gd name="T1" fmla="*/ 69 h 96"/>
              <a:gd name="T2" fmla="*/ 166 w 166"/>
              <a:gd name="T3" fmla="*/ 69 h 96"/>
              <a:gd name="T4" fmla="*/ 166 w 166"/>
              <a:gd name="T5" fmla="*/ 70 h 96"/>
              <a:gd name="T6" fmla="*/ 165 w 166"/>
              <a:gd name="T7" fmla="*/ 72 h 96"/>
              <a:gd name="T8" fmla="*/ 161 w 166"/>
              <a:gd name="T9" fmla="*/ 74 h 96"/>
              <a:gd name="T10" fmla="*/ 155 w 166"/>
              <a:gd name="T11" fmla="*/ 77 h 96"/>
              <a:gd name="T12" fmla="*/ 145 w 166"/>
              <a:gd name="T13" fmla="*/ 79 h 96"/>
              <a:gd name="T14" fmla="*/ 123 w 166"/>
              <a:gd name="T15" fmla="*/ 85 h 96"/>
              <a:gd name="T16" fmla="*/ 95 w 166"/>
              <a:gd name="T17" fmla="*/ 90 h 96"/>
              <a:gd name="T18" fmla="*/ 68 w 166"/>
              <a:gd name="T19" fmla="*/ 94 h 96"/>
              <a:gd name="T20" fmla="*/ 42 w 166"/>
              <a:gd name="T21" fmla="*/ 96 h 96"/>
              <a:gd name="T22" fmla="*/ 24 w 166"/>
              <a:gd name="T23" fmla="*/ 96 h 96"/>
              <a:gd name="T24" fmla="*/ 17 w 166"/>
              <a:gd name="T25" fmla="*/ 95 h 96"/>
              <a:gd name="T26" fmla="*/ 13 w 166"/>
              <a:gd name="T27" fmla="*/ 94 h 96"/>
              <a:gd name="T28" fmla="*/ 13 w 166"/>
              <a:gd name="T29" fmla="*/ 94 h 96"/>
              <a:gd name="T30" fmla="*/ 10 w 166"/>
              <a:gd name="T31" fmla="*/ 92 h 96"/>
              <a:gd name="T32" fmla="*/ 8 w 166"/>
              <a:gd name="T33" fmla="*/ 88 h 96"/>
              <a:gd name="T34" fmla="*/ 5 w 166"/>
              <a:gd name="T35" fmla="*/ 77 h 96"/>
              <a:gd name="T36" fmla="*/ 2 w 166"/>
              <a:gd name="T37" fmla="*/ 65 h 96"/>
              <a:gd name="T38" fmla="*/ 0 w 166"/>
              <a:gd name="T39" fmla="*/ 51 h 96"/>
              <a:gd name="T40" fmla="*/ 0 w 166"/>
              <a:gd name="T41" fmla="*/ 36 h 96"/>
              <a:gd name="T42" fmla="*/ 0 w 166"/>
              <a:gd name="T43" fmla="*/ 23 h 96"/>
              <a:gd name="T44" fmla="*/ 1 w 166"/>
              <a:gd name="T45" fmla="*/ 13 h 96"/>
              <a:gd name="T46" fmla="*/ 2 w 166"/>
              <a:gd name="T47" fmla="*/ 8 h 96"/>
              <a:gd name="T48" fmla="*/ 4 w 166"/>
              <a:gd name="T49" fmla="*/ 5 h 96"/>
              <a:gd name="T50" fmla="*/ 4 w 166"/>
              <a:gd name="T51" fmla="*/ 5 h 96"/>
              <a:gd name="T52" fmla="*/ 5 w 166"/>
              <a:gd name="T53" fmla="*/ 4 h 96"/>
              <a:gd name="T54" fmla="*/ 7 w 166"/>
              <a:gd name="T55" fmla="*/ 2 h 96"/>
              <a:gd name="T56" fmla="*/ 13 w 166"/>
              <a:gd name="T57" fmla="*/ 1 h 96"/>
              <a:gd name="T58" fmla="*/ 22 w 166"/>
              <a:gd name="T59" fmla="*/ 0 h 96"/>
              <a:gd name="T60" fmla="*/ 32 w 166"/>
              <a:gd name="T61" fmla="*/ 0 h 96"/>
              <a:gd name="T62" fmla="*/ 43 w 166"/>
              <a:gd name="T63" fmla="*/ 1 h 96"/>
              <a:gd name="T64" fmla="*/ 55 w 166"/>
              <a:gd name="T65" fmla="*/ 3 h 96"/>
              <a:gd name="T66" fmla="*/ 69 w 166"/>
              <a:gd name="T67" fmla="*/ 6 h 96"/>
              <a:gd name="T68" fmla="*/ 83 w 166"/>
              <a:gd name="T69" fmla="*/ 10 h 96"/>
              <a:gd name="T70" fmla="*/ 96 w 166"/>
              <a:gd name="T71" fmla="*/ 15 h 96"/>
              <a:gd name="T72" fmla="*/ 110 w 166"/>
              <a:gd name="T73" fmla="*/ 20 h 96"/>
              <a:gd name="T74" fmla="*/ 123 w 166"/>
              <a:gd name="T75" fmla="*/ 27 h 96"/>
              <a:gd name="T76" fmla="*/ 135 w 166"/>
              <a:gd name="T77" fmla="*/ 34 h 96"/>
              <a:gd name="T78" fmla="*/ 145 w 166"/>
              <a:gd name="T79" fmla="*/ 42 h 96"/>
              <a:gd name="T80" fmla="*/ 155 w 166"/>
              <a:gd name="T81" fmla="*/ 51 h 96"/>
              <a:gd name="T82" fmla="*/ 162 w 166"/>
              <a:gd name="T83" fmla="*/ 60 h 96"/>
              <a:gd name="T84" fmla="*/ 164 w 166"/>
              <a:gd name="T85" fmla="*/ 64 h 96"/>
              <a:gd name="T86" fmla="*/ 166 w 166"/>
              <a:gd name="T87" fmla="*/ 6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6" h="96">
                <a:moveTo>
                  <a:pt x="166" y="69"/>
                </a:moveTo>
                <a:lnTo>
                  <a:pt x="166" y="69"/>
                </a:lnTo>
                <a:lnTo>
                  <a:pt x="166" y="70"/>
                </a:lnTo>
                <a:lnTo>
                  <a:pt x="165" y="72"/>
                </a:lnTo>
                <a:lnTo>
                  <a:pt x="161" y="74"/>
                </a:lnTo>
                <a:lnTo>
                  <a:pt x="155" y="77"/>
                </a:lnTo>
                <a:lnTo>
                  <a:pt x="145" y="79"/>
                </a:lnTo>
                <a:lnTo>
                  <a:pt x="123" y="85"/>
                </a:lnTo>
                <a:lnTo>
                  <a:pt x="95" y="90"/>
                </a:lnTo>
                <a:lnTo>
                  <a:pt x="68" y="94"/>
                </a:lnTo>
                <a:lnTo>
                  <a:pt x="42" y="96"/>
                </a:lnTo>
                <a:lnTo>
                  <a:pt x="24" y="96"/>
                </a:lnTo>
                <a:lnTo>
                  <a:pt x="17" y="95"/>
                </a:lnTo>
                <a:lnTo>
                  <a:pt x="13" y="94"/>
                </a:lnTo>
                <a:lnTo>
                  <a:pt x="13" y="94"/>
                </a:lnTo>
                <a:lnTo>
                  <a:pt x="10" y="92"/>
                </a:lnTo>
                <a:lnTo>
                  <a:pt x="8" y="88"/>
                </a:lnTo>
                <a:lnTo>
                  <a:pt x="5" y="77"/>
                </a:lnTo>
                <a:lnTo>
                  <a:pt x="2" y="65"/>
                </a:lnTo>
                <a:lnTo>
                  <a:pt x="0" y="51"/>
                </a:lnTo>
                <a:lnTo>
                  <a:pt x="0" y="36"/>
                </a:lnTo>
                <a:lnTo>
                  <a:pt x="0" y="23"/>
                </a:lnTo>
                <a:lnTo>
                  <a:pt x="1" y="13"/>
                </a:lnTo>
                <a:lnTo>
                  <a:pt x="2" y="8"/>
                </a:lnTo>
                <a:lnTo>
                  <a:pt x="4" y="5"/>
                </a:lnTo>
                <a:lnTo>
                  <a:pt x="4" y="5"/>
                </a:lnTo>
                <a:lnTo>
                  <a:pt x="5" y="4"/>
                </a:lnTo>
                <a:lnTo>
                  <a:pt x="7" y="2"/>
                </a:lnTo>
                <a:lnTo>
                  <a:pt x="13" y="1"/>
                </a:lnTo>
                <a:lnTo>
                  <a:pt x="22" y="0"/>
                </a:lnTo>
                <a:lnTo>
                  <a:pt x="32" y="0"/>
                </a:lnTo>
                <a:lnTo>
                  <a:pt x="43" y="1"/>
                </a:lnTo>
                <a:lnTo>
                  <a:pt x="55" y="3"/>
                </a:lnTo>
                <a:lnTo>
                  <a:pt x="69" y="6"/>
                </a:lnTo>
                <a:lnTo>
                  <a:pt x="83" y="10"/>
                </a:lnTo>
                <a:lnTo>
                  <a:pt x="96" y="15"/>
                </a:lnTo>
                <a:lnTo>
                  <a:pt x="110" y="20"/>
                </a:lnTo>
                <a:lnTo>
                  <a:pt x="123" y="27"/>
                </a:lnTo>
                <a:lnTo>
                  <a:pt x="135" y="34"/>
                </a:lnTo>
                <a:lnTo>
                  <a:pt x="145" y="42"/>
                </a:lnTo>
                <a:lnTo>
                  <a:pt x="155" y="51"/>
                </a:lnTo>
                <a:lnTo>
                  <a:pt x="162" y="60"/>
                </a:lnTo>
                <a:lnTo>
                  <a:pt x="164" y="64"/>
                </a:lnTo>
                <a:lnTo>
                  <a:pt x="166" y="6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50" name="Freeform 47"/>
          <p:cNvSpPr>
            <a:spLocks/>
          </p:cNvSpPr>
          <p:nvPr userDrawn="1"/>
        </p:nvSpPr>
        <p:spPr bwMode="auto">
          <a:xfrm>
            <a:off x="7151687" y="1218903"/>
            <a:ext cx="657225" cy="776288"/>
          </a:xfrm>
          <a:custGeom>
            <a:avLst/>
            <a:gdLst>
              <a:gd name="T0" fmla="*/ 4703 w 4973"/>
              <a:gd name="T1" fmla="*/ 1877 h 5865"/>
              <a:gd name="T2" fmla="*/ 4733 w 4973"/>
              <a:gd name="T3" fmla="*/ 1183 h 5865"/>
              <a:gd name="T4" fmla="*/ 4302 w 4973"/>
              <a:gd name="T5" fmla="*/ 476 h 5865"/>
              <a:gd name="T6" fmla="*/ 3581 w 4973"/>
              <a:gd name="T7" fmla="*/ 813 h 5865"/>
              <a:gd name="T8" fmla="*/ 3899 w 4973"/>
              <a:gd name="T9" fmla="*/ 1529 h 5865"/>
              <a:gd name="T10" fmla="*/ 3757 w 4973"/>
              <a:gd name="T11" fmla="*/ 2227 h 5865"/>
              <a:gd name="T12" fmla="*/ 3939 w 4973"/>
              <a:gd name="T13" fmla="*/ 2068 h 5865"/>
              <a:gd name="T14" fmla="*/ 4069 w 4973"/>
              <a:gd name="T15" fmla="*/ 1928 h 5865"/>
              <a:gd name="T16" fmla="*/ 4545 w 4973"/>
              <a:gd name="T17" fmla="*/ 1985 h 5865"/>
              <a:gd name="T18" fmla="*/ 4487 w 4973"/>
              <a:gd name="T19" fmla="*/ 2697 h 5865"/>
              <a:gd name="T20" fmla="*/ 3601 w 4973"/>
              <a:gd name="T21" fmla="*/ 2477 h 5865"/>
              <a:gd name="T22" fmla="*/ 3285 w 4973"/>
              <a:gd name="T23" fmla="*/ 1581 h 5865"/>
              <a:gd name="T24" fmla="*/ 3364 w 4973"/>
              <a:gd name="T25" fmla="*/ 1421 h 5865"/>
              <a:gd name="T26" fmla="*/ 3101 w 4973"/>
              <a:gd name="T27" fmla="*/ 996 h 5865"/>
              <a:gd name="T28" fmla="*/ 3251 w 4973"/>
              <a:gd name="T29" fmla="*/ 599 h 5865"/>
              <a:gd name="T30" fmla="*/ 2863 w 4973"/>
              <a:gd name="T31" fmla="*/ 144 h 5865"/>
              <a:gd name="T32" fmla="*/ 1960 w 4973"/>
              <a:gd name="T33" fmla="*/ 304 h 5865"/>
              <a:gd name="T34" fmla="*/ 1819 w 4973"/>
              <a:gd name="T35" fmla="*/ 748 h 5865"/>
              <a:gd name="T36" fmla="*/ 2202 w 4973"/>
              <a:gd name="T37" fmla="*/ 626 h 5865"/>
              <a:gd name="T38" fmla="*/ 2215 w 4973"/>
              <a:gd name="T39" fmla="*/ 803 h 5865"/>
              <a:gd name="T40" fmla="*/ 1623 w 4973"/>
              <a:gd name="T41" fmla="*/ 851 h 5865"/>
              <a:gd name="T42" fmla="*/ 1602 w 4973"/>
              <a:gd name="T43" fmla="*/ 1055 h 5865"/>
              <a:gd name="T44" fmla="*/ 2246 w 4973"/>
              <a:gd name="T45" fmla="*/ 924 h 5865"/>
              <a:gd name="T46" fmla="*/ 2036 w 4973"/>
              <a:gd name="T47" fmla="*/ 981 h 5865"/>
              <a:gd name="T48" fmla="*/ 1754 w 4973"/>
              <a:gd name="T49" fmla="*/ 1278 h 5865"/>
              <a:gd name="T50" fmla="*/ 2105 w 4973"/>
              <a:gd name="T51" fmla="*/ 1619 h 5865"/>
              <a:gd name="T52" fmla="*/ 863 w 4973"/>
              <a:gd name="T53" fmla="*/ 2239 h 5865"/>
              <a:gd name="T54" fmla="*/ 310 w 4973"/>
              <a:gd name="T55" fmla="*/ 2027 h 5865"/>
              <a:gd name="T56" fmla="*/ 319 w 4973"/>
              <a:gd name="T57" fmla="*/ 2172 h 5865"/>
              <a:gd name="T58" fmla="*/ 380 w 4973"/>
              <a:gd name="T59" fmla="*/ 2295 h 5865"/>
              <a:gd name="T60" fmla="*/ 39 w 4973"/>
              <a:gd name="T61" fmla="*/ 2396 h 5865"/>
              <a:gd name="T62" fmla="*/ 189 w 4973"/>
              <a:gd name="T63" fmla="*/ 2511 h 5865"/>
              <a:gd name="T64" fmla="*/ 322 w 4973"/>
              <a:gd name="T65" fmla="*/ 2588 h 5865"/>
              <a:gd name="T66" fmla="*/ 272 w 4973"/>
              <a:gd name="T67" fmla="*/ 2893 h 5865"/>
              <a:gd name="T68" fmla="*/ 630 w 4973"/>
              <a:gd name="T69" fmla="*/ 2730 h 5865"/>
              <a:gd name="T70" fmla="*/ 811 w 4973"/>
              <a:gd name="T71" fmla="*/ 2843 h 5865"/>
              <a:gd name="T72" fmla="*/ 1024 w 4973"/>
              <a:gd name="T73" fmla="*/ 2773 h 5865"/>
              <a:gd name="T74" fmla="*/ 1290 w 4973"/>
              <a:gd name="T75" fmla="*/ 2556 h 5865"/>
              <a:gd name="T76" fmla="*/ 1713 w 4973"/>
              <a:gd name="T77" fmla="*/ 2519 h 5865"/>
              <a:gd name="T78" fmla="*/ 2306 w 4973"/>
              <a:gd name="T79" fmla="*/ 2641 h 5865"/>
              <a:gd name="T80" fmla="*/ 3357 w 4973"/>
              <a:gd name="T81" fmla="*/ 3092 h 5865"/>
              <a:gd name="T82" fmla="*/ 3742 w 4973"/>
              <a:gd name="T83" fmla="*/ 3928 h 5865"/>
              <a:gd name="T84" fmla="*/ 3685 w 4973"/>
              <a:gd name="T85" fmla="*/ 4224 h 5865"/>
              <a:gd name="T86" fmla="*/ 4224 w 4973"/>
              <a:gd name="T87" fmla="*/ 4337 h 5865"/>
              <a:gd name="T88" fmla="*/ 4264 w 4973"/>
              <a:gd name="T89" fmla="*/ 5017 h 5865"/>
              <a:gd name="T90" fmla="*/ 3761 w 4973"/>
              <a:gd name="T91" fmla="*/ 5058 h 5865"/>
              <a:gd name="T92" fmla="*/ 3894 w 4973"/>
              <a:gd name="T93" fmla="*/ 5210 h 5865"/>
              <a:gd name="T94" fmla="*/ 3894 w 4973"/>
              <a:gd name="T95" fmla="*/ 5294 h 5865"/>
              <a:gd name="T96" fmla="*/ 3751 w 4973"/>
              <a:gd name="T97" fmla="*/ 5644 h 5865"/>
              <a:gd name="T98" fmla="*/ 3926 w 4973"/>
              <a:gd name="T99" fmla="*/ 5586 h 5865"/>
              <a:gd name="T100" fmla="*/ 4212 w 4973"/>
              <a:gd name="T101" fmla="*/ 5447 h 5865"/>
              <a:gd name="T102" fmla="*/ 4257 w 4973"/>
              <a:gd name="T103" fmla="*/ 5812 h 5865"/>
              <a:gd name="T104" fmla="*/ 4352 w 4973"/>
              <a:gd name="T105" fmla="*/ 5675 h 5865"/>
              <a:gd name="T106" fmla="*/ 4557 w 4973"/>
              <a:gd name="T107" fmla="*/ 5328 h 5865"/>
              <a:gd name="T108" fmla="*/ 4736 w 4973"/>
              <a:gd name="T109" fmla="*/ 5505 h 5865"/>
              <a:gd name="T110" fmla="*/ 4753 w 4973"/>
              <a:gd name="T111" fmla="*/ 5108 h 5865"/>
              <a:gd name="T112" fmla="*/ 4693 w 4973"/>
              <a:gd name="T113" fmla="*/ 4810 h 5865"/>
              <a:gd name="T114" fmla="*/ 4677 w 4973"/>
              <a:gd name="T115" fmla="*/ 4437 h 5865"/>
              <a:gd name="T116" fmla="*/ 4640 w 4973"/>
              <a:gd name="T117" fmla="*/ 4108 h 5865"/>
              <a:gd name="T118" fmla="*/ 4297 w 4973"/>
              <a:gd name="T119" fmla="*/ 3793 h 5865"/>
              <a:gd name="T120" fmla="*/ 4267 w 4973"/>
              <a:gd name="T121" fmla="*/ 3366 h 5865"/>
              <a:gd name="T122" fmla="*/ 4428 w 4973"/>
              <a:gd name="T123" fmla="*/ 2994 h 5865"/>
              <a:gd name="T124" fmla="*/ 4923 w 4973"/>
              <a:gd name="T125" fmla="*/ 2543 h 5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973" h="5865">
                <a:moveTo>
                  <a:pt x="4842" y="2253"/>
                </a:moveTo>
                <a:lnTo>
                  <a:pt x="4842" y="2253"/>
                </a:lnTo>
                <a:lnTo>
                  <a:pt x="4862" y="2257"/>
                </a:lnTo>
                <a:lnTo>
                  <a:pt x="4881" y="2259"/>
                </a:lnTo>
                <a:lnTo>
                  <a:pt x="4900" y="2260"/>
                </a:lnTo>
                <a:lnTo>
                  <a:pt x="4916" y="2259"/>
                </a:lnTo>
                <a:lnTo>
                  <a:pt x="4932" y="2257"/>
                </a:lnTo>
                <a:lnTo>
                  <a:pt x="4946" y="2254"/>
                </a:lnTo>
                <a:lnTo>
                  <a:pt x="4958" y="2249"/>
                </a:lnTo>
                <a:lnTo>
                  <a:pt x="4969" y="2243"/>
                </a:lnTo>
                <a:lnTo>
                  <a:pt x="4969" y="2243"/>
                </a:lnTo>
                <a:lnTo>
                  <a:pt x="4967" y="2217"/>
                </a:lnTo>
                <a:lnTo>
                  <a:pt x="4960" y="2157"/>
                </a:lnTo>
                <a:lnTo>
                  <a:pt x="4951" y="2084"/>
                </a:lnTo>
                <a:lnTo>
                  <a:pt x="4946" y="2052"/>
                </a:lnTo>
                <a:lnTo>
                  <a:pt x="4940" y="2024"/>
                </a:lnTo>
                <a:lnTo>
                  <a:pt x="4940" y="2024"/>
                </a:lnTo>
                <a:lnTo>
                  <a:pt x="4922" y="2027"/>
                </a:lnTo>
                <a:lnTo>
                  <a:pt x="4902" y="2030"/>
                </a:lnTo>
                <a:lnTo>
                  <a:pt x="4891" y="2030"/>
                </a:lnTo>
                <a:lnTo>
                  <a:pt x="4879" y="2030"/>
                </a:lnTo>
                <a:lnTo>
                  <a:pt x="4867" y="2029"/>
                </a:lnTo>
                <a:lnTo>
                  <a:pt x="4855" y="2027"/>
                </a:lnTo>
                <a:lnTo>
                  <a:pt x="4843" y="2024"/>
                </a:lnTo>
                <a:lnTo>
                  <a:pt x="4830" y="2020"/>
                </a:lnTo>
                <a:lnTo>
                  <a:pt x="4818" y="2015"/>
                </a:lnTo>
                <a:lnTo>
                  <a:pt x="4806" y="2008"/>
                </a:lnTo>
                <a:lnTo>
                  <a:pt x="4794" y="1998"/>
                </a:lnTo>
                <a:lnTo>
                  <a:pt x="4782" y="1988"/>
                </a:lnTo>
                <a:lnTo>
                  <a:pt x="4771" y="1976"/>
                </a:lnTo>
                <a:lnTo>
                  <a:pt x="4761" y="1962"/>
                </a:lnTo>
                <a:lnTo>
                  <a:pt x="4761" y="1962"/>
                </a:lnTo>
                <a:lnTo>
                  <a:pt x="4743" y="1933"/>
                </a:lnTo>
                <a:lnTo>
                  <a:pt x="4724" y="1905"/>
                </a:lnTo>
                <a:lnTo>
                  <a:pt x="4724" y="1905"/>
                </a:lnTo>
                <a:lnTo>
                  <a:pt x="4703" y="1877"/>
                </a:lnTo>
                <a:lnTo>
                  <a:pt x="4680" y="1849"/>
                </a:lnTo>
                <a:lnTo>
                  <a:pt x="4658" y="1823"/>
                </a:lnTo>
                <a:lnTo>
                  <a:pt x="4634" y="1797"/>
                </a:lnTo>
                <a:lnTo>
                  <a:pt x="4611" y="1773"/>
                </a:lnTo>
                <a:lnTo>
                  <a:pt x="4586" y="1750"/>
                </a:lnTo>
                <a:lnTo>
                  <a:pt x="4562" y="1727"/>
                </a:lnTo>
                <a:lnTo>
                  <a:pt x="4538" y="1707"/>
                </a:lnTo>
                <a:lnTo>
                  <a:pt x="4513" y="1687"/>
                </a:lnTo>
                <a:lnTo>
                  <a:pt x="4489" y="1667"/>
                </a:lnTo>
                <a:lnTo>
                  <a:pt x="4463" y="1649"/>
                </a:lnTo>
                <a:lnTo>
                  <a:pt x="4439" y="1630"/>
                </a:lnTo>
                <a:lnTo>
                  <a:pt x="4413" y="1614"/>
                </a:lnTo>
                <a:lnTo>
                  <a:pt x="4389" y="1598"/>
                </a:lnTo>
                <a:lnTo>
                  <a:pt x="4337" y="1566"/>
                </a:lnTo>
                <a:lnTo>
                  <a:pt x="4337" y="1566"/>
                </a:lnTo>
                <a:lnTo>
                  <a:pt x="4381" y="1543"/>
                </a:lnTo>
                <a:lnTo>
                  <a:pt x="4422" y="1521"/>
                </a:lnTo>
                <a:lnTo>
                  <a:pt x="4459" y="1498"/>
                </a:lnTo>
                <a:lnTo>
                  <a:pt x="4492" y="1477"/>
                </a:lnTo>
                <a:lnTo>
                  <a:pt x="4523" y="1455"/>
                </a:lnTo>
                <a:lnTo>
                  <a:pt x="4549" y="1434"/>
                </a:lnTo>
                <a:lnTo>
                  <a:pt x="4574" y="1414"/>
                </a:lnTo>
                <a:lnTo>
                  <a:pt x="4595" y="1393"/>
                </a:lnTo>
                <a:lnTo>
                  <a:pt x="4615" y="1374"/>
                </a:lnTo>
                <a:lnTo>
                  <a:pt x="4632" y="1355"/>
                </a:lnTo>
                <a:lnTo>
                  <a:pt x="4647" y="1337"/>
                </a:lnTo>
                <a:lnTo>
                  <a:pt x="4661" y="1319"/>
                </a:lnTo>
                <a:lnTo>
                  <a:pt x="4673" y="1303"/>
                </a:lnTo>
                <a:lnTo>
                  <a:pt x="4683" y="1288"/>
                </a:lnTo>
                <a:lnTo>
                  <a:pt x="4700" y="1260"/>
                </a:lnTo>
                <a:lnTo>
                  <a:pt x="4700" y="1260"/>
                </a:lnTo>
                <a:lnTo>
                  <a:pt x="4708" y="1248"/>
                </a:lnTo>
                <a:lnTo>
                  <a:pt x="4714" y="1234"/>
                </a:lnTo>
                <a:lnTo>
                  <a:pt x="4721" y="1218"/>
                </a:lnTo>
                <a:lnTo>
                  <a:pt x="4727" y="1202"/>
                </a:lnTo>
                <a:lnTo>
                  <a:pt x="4733" y="1183"/>
                </a:lnTo>
                <a:lnTo>
                  <a:pt x="4739" y="1164"/>
                </a:lnTo>
                <a:lnTo>
                  <a:pt x="4743" y="1144"/>
                </a:lnTo>
                <a:lnTo>
                  <a:pt x="4749" y="1123"/>
                </a:lnTo>
                <a:lnTo>
                  <a:pt x="4753" y="1101"/>
                </a:lnTo>
                <a:lnTo>
                  <a:pt x="4756" y="1078"/>
                </a:lnTo>
                <a:lnTo>
                  <a:pt x="4758" y="1054"/>
                </a:lnTo>
                <a:lnTo>
                  <a:pt x="4759" y="1030"/>
                </a:lnTo>
                <a:lnTo>
                  <a:pt x="4760" y="1005"/>
                </a:lnTo>
                <a:lnTo>
                  <a:pt x="4759" y="980"/>
                </a:lnTo>
                <a:lnTo>
                  <a:pt x="4758" y="954"/>
                </a:lnTo>
                <a:lnTo>
                  <a:pt x="4755" y="928"/>
                </a:lnTo>
                <a:lnTo>
                  <a:pt x="4751" y="902"/>
                </a:lnTo>
                <a:lnTo>
                  <a:pt x="4745" y="876"/>
                </a:lnTo>
                <a:lnTo>
                  <a:pt x="4738" y="849"/>
                </a:lnTo>
                <a:lnTo>
                  <a:pt x="4730" y="824"/>
                </a:lnTo>
                <a:lnTo>
                  <a:pt x="4720" y="797"/>
                </a:lnTo>
                <a:lnTo>
                  <a:pt x="4709" y="771"/>
                </a:lnTo>
                <a:lnTo>
                  <a:pt x="4695" y="746"/>
                </a:lnTo>
                <a:lnTo>
                  <a:pt x="4681" y="721"/>
                </a:lnTo>
                <a:lnTo>
                  <a:pt x="4665" y="697"/>
                </a:lnTo>
                <a:lnTo>
                  <a:pt x="4646" y="672"/>
                </a:lnTo>
                <a:lnTo>
                  <a:pt x="4625" y="649"/>
                </a:lnTo>
                <a:lnTo>
                  <a:pt x="4602" y="626"/>
                </a:lnTo>
                <a:lnTo>
                  <a:pt x="4578" y="605"/>
                </a:lnTo>
                <a:lnTo>
                  <a:pt x="4551" y="584"/>
                </a:lnTo>
                <a:lnTo>
                  <a:pt x="4522" y="565"/>
                </a:lnTo>
                <a:lnTo>
                  <a:pt x="4490" y="545"/>
                </a:lnTo>
                <a:lnTo>
                  <a:pt x="4490" y="545"/>
                </a:lnTo>
                <a:lnTo>
                  <a:pt x="4466" y="533"/>
                </a:lnTo>
                <a:lnTo>
                  <a:pt x="4443" y="522"/>
                </a:lnTo>
                <a:lnTo>
                  <a:pt x="4419" y="512"/>
                </a:lnTo>
                <a:lnTo>
                  <a:pt x="4396" y="503"/>
                </a:lnTo>
                <a:lnTo>
                  <a:pt x="4372" y="494"/>
                </a:lnTo>
                <a:lnTo>
                  <a:pt x="4348" y="487"/>
                </a:lnTo>
                <a:lnTo>
                  <a:pt x="4325" y="481"/>
                </a:lnTo>
                <a:lnTo>
                  <a:pt x="4302" y="476"/>
                </a:lnTo>
                <a:lnTo>
                  <a:pt x="4278" y="471"/>
                </a:lnTo>
                <a:lnTo>
                  <a:pt x="4256" y="468"/>
                </a:lnTo>
                <a:lnTo>
                  <a:pt x="4233" y="465"/>
                </a:lnTo>
                <a:lnTo>
                  <a:pt x="4211" y="463"/>
                </a:lnTo>
                <a:lnTo>
                  <a:pt x="4188" y="461"/>
                </a:lnTo>
                <a:lnTo>
                  <a:pt x="4167" y="461"/>
                </a:lnTo>
                <a:lnTo>
                  <a:pt x="4145" y="461"/>
                </a:lnTo>
                <a:lnTo>
                  <a:pt x="4124" y="461"/>
                </a:lnTo>
                <a:lnTo>
                  <a:pt x="4083" y="464"/>
                </a:lnTo>
                <a:lnTo>
                  <a:pt x="4044" y="468"/>
                </a:lnTo>
                <a:lnTo>
                  <a:pt x="4007" y="474"/>
                </a:lnTo>
                <a:lnTo>
                  <a:pt x="3973" y="482"/>
                </a:lnTo>
                <a:lnTo>
                  <a:pt x="3941" y="490"/>
                </a:lnTo>
                <a:lnTo>
                  <a:pt x="3912" y="499"/>
                </a:lnTo>
                <a:lnTo>
                  <a:pt x="3887" y="510"/>
                </a:lnTo>
                <a:lnTo>
                  <a:pt x="3864" y="519"/>
                </a:lnTo>
                <a:lnTo>
                  <a:pt x="3864" y="519"/>
                </a:lnTo>
                <a:lnTo>
                  <a:pt x="3844" y="529"/>
                </a:lnTo>
                <a:lnTo>
                  <a:pt x="3824" y="539"/>
                </a:lnTo>
                <a:lnTo>
                  <a:pt x="3806" y="551"/>
                </a:lnTo>
                <a:lnTo>
                  <a:pt x="3787" y="562"/>
                </a:lnTo>
                <a:lnTo>
                  <a:pt x="3769" y="575"/>
                </a:lnTo>
                <a:lnTo>
                  <a:pt x="3752" y="587"/>
                </a:lnTo>
                <a:lnTo>
                  <a:pt x="3735" y="602"/>
                </a:lnTo>
                <a:lnTo>
                  <a:pt x="3719" y="616"/>
                </a:lnTo>
                <a:lnTo>
                  <a:pt x="3703" y="631"/>
                </a:lnTo>
                <a:lnTo>
                  <a:pt x="3687" y="647"/>
                </a:lnTo>
                <a:lnTo>
                  <a:pt x="3673" y="663"/>
                </a:lnTo>
                <a:lnTo>
                  <a:pt x="3659" y="679"/>
                </a:lnTo>
                <a:lnTo>
                  <a:pt x="3645" y="697"/>
                </a:lnTo>
                <a:lnTo>
                  <a:pt x="3633" y="715"/>
                </a:lnTo>
                <a:lnTo>
                  <a:pt x="3621" y="734"/>
                </a:lnTo>
                <a:lnTo>
                  <a:pt x="3609" y="753"/>
                </a:lnTo>
                <a:lnTo>
                  <a:pt x="3599" y="772"/>
                </a:lnTo>
                <a:lnTo>
                  <a:pt x="3589" y="793"/>
                </a:lnTo>
                <a:lnTo>
                  <a:pt x="3581" y="813"/>
                </a:lnTo>
                <a:lnTo>
                  <a:pt x="3573" y="835"/>
                </a:lnTo>
                <a:lnTo>
                  <a:pt x="3565" y="856"/>
                </a:lnTo>
                <a:lnTo>
                  <a:pt x="3559" y="879"/>
                </a:lnTo>
                <a:lnTo>
                  <a:pt x="3554" y="901"/>
                </a:lnTo>
                <a:lnTo>
                  <a:pt x="3550" y="924"/>
                </a:lnTo>
                <a:lnTo>
                  <a:pt x="3547" y="947"/>
                </a:lnTo>
                <a:lnTo>
                  <a:pt x="3545" y="972"/>
                </a:lnTo>
                <a:lnTo>
                  <a:pt x="3544" y="996"/>
                </a:lnTo>
                <a:lnTo>
                  <a:pt x="3543" y="1021"/>
                </a:lnTo>
                <a:lnTo>
                  <a:pt x="3544" y="1046"/>
                </a:lnTo>
                <a:lnTo>
                  <a:pt x="3546" y="1072"/>
                </a:lnTo>
                <a:lnTo>
                  <a:pt x="3550" y="1098"/>
                </a:lnTo>
                <a:lnTo>
                  <a:pt x="3554" y="1124"/>
                </a:lnTo>
                <a:lnTo>
                  <a:pt x="3554" y="1124"/>
                </a:lnTo>
                <a:lnTo>
                  <a:pt x="3559" y="1148"/>
                </a:lnTo>
                <a:lnTo>
                  <a:pt x="3564" y="1169"/>
                </a:lnTo>
                <a:lnTo>
                  <a:pt x="3571" y="1191"/>
                </a:lnTo>
                <a:lnTo>
                  <a:pt x="3577" y="1211"/>
                </a:lnTo>
                <a:lnTo>
                  <a:pt x="3585" y="1231"/>
                </a:lnTo>
                <a:lnTo>
                  <a:pt x="3592" y="1249"/>
                </a:lnTo>
                <a:lnTo>
                  <a:pt x="3601" y="1267"/>
                </a:lnTo>
                <a:lnTo>
                  <a:pt x="3610" y="1285"/>
                </a:lnTo>
                <a:lnTo>
                  <a:pt x="3620" y="1301"/>
                </a:lnTo>
                <a:lnTo>
                  <a:pt x="3631" y="1316"/>
                </a:lnTo>
                <a:lnTo>
                  <a:pt x="3641" y="1332"/>
                </a:lnTo>
                <a:lnTo>
                  <a:pt x="3652" y="1347"/>
                </a:lnTo>
                <a:lnTo>
                  <a:pt x="3665" y="1361"/>
                </a:lnTo>
                <a:lnTo>
                  <a:pt x="3677" y="1375"/>
                </a:lnTo>
                <a:lnTo>
                  <a:pt x="3690" y="1388"/>
                </a:lnTo>
                <a:lnTo>
                  <a:pt x="3704" y="1400"/>
                </a:lnTo>
                <a:lnTo>
                  <a:pt x="3732" y="1425"/>
                </a:lnTo>
                <a:lnTo>
                  <a:pt x="3763" y="1447"/>
                </a:lnTo>
                <a:lnTo>
                  <a:pt x="3795" y="1469"/>
                </a:lnTo>
                <a:lnTo>
                  <a:pt x="3828" y="1489"/>
                </a:lnTo>
                <a:lnTo>
                  <a:pt x="3863" y="1510"/>
                </a:lnTo>
                <a:lnTo>
                  <a:pt x="3899" y="1529"/>
                </a:lnTo>
                <a:lnTo>
                  <a:pt x="3976" y="1567"/>
                </a:lnTo>
                <a:lnTo>
                  <a:pt x="3976" y="1567"/>
                </a:lnTo>
                <a:lnTo>
                  <a:pt x="3945" y="1584"/>
                </a:lnTo>
                <a:lnTo>
                  <a:pt x="3916" y="1601"/>
                </a:lnTo>
                <a:lnTo>
                  <a:pt x="3890" y="1618"/>
                </a:lnTo>
                <a:lnTo>
                  <a:pt x="3864" y="1636"/>
                </a:lnTo>
                <a:lnTo>
                  <a:pt x="3840" y="1656"/>
                </a:lnTo>
                <a:lnTo>
                  <a:pt x="3817" y="1675"/>
                </a:lnTo>
                <a:lnTo>
                  <a:pt x="3797" y="1696"/>
                </a:lnTo>
                <a:lnTo>
                  <a:pt x="3778" y="1717"/>
                </a:lnTo>
                <a:lnTo>
                  <a:pt x="3761" y="1741"/>
                </a:lnTo>
                <a:lnTo>
                  <a:pt x="3754" y="1753"/>
                </a:lnTo>
                <a:lnTo>
                  <a:pt x="3746" y="1765"/>
                </a:lnTo>
                <a:lnTo>
                  <a:pt x="3739" y="1778"/>
                </a:lnTo>
                <a:lnTo>
                  <a:pt x="3733" y="1791"/>
                </a:lnTo>
                <a:lnTo>
                  <a:pt x="3728" y="1804"/>
                </a:lnTo>
                <a:lnTo>
                  <a:pt x="3723" y="1818"/>
                </a:lnTo>
                <a:lnTo>
                  <a:pt x="3718" y="1833"/>
                </a:lnTo>
                <a:lnTo>
                  <a:pt x="3714" y="1848"/>
                </a:lnTo>
                <a:lnTo>
                  <a:pt x="3711" y="1863"/>
                </a:lnTo>
                <a:lnTo>
                  <a:pt x="3708" y="1879"/>
                </a:lnTo>
                <a:lnTo>
                  <a:pt x="3706" y="1895"/>
                </a:lnTo>
                <a:lnTo>
                  <a:pt x="3705" y="1912"/>
                </a:lnTo>
                <a:lnTo>
                  <a:pt x="3704" y="1930"/>
                </a:lnTo>
                <a:lnTo>
                  <a:pt x="3703" y="1947"/>
                </a:lnTo>
                <a:lnTo>
                  <a:pt x="3703" y="1947"/>
                </a:lnTo>
                <a:lnTo>
                  <a:pt x="3704" y="1970"/>
                </a:lnTo>
                <a:lnTo>
                  <a:pt x="3707" y="1993"/>
                </a:lnTo>
                <a:lnTo>
                  <a:pt x="3711" y="2016"/>
                </a:lnTo>
                <a:lnTo>
                  <a:pt x="3716" y="2039"/>
                </a:lnTo>
                <a:lnTo>
                  <a:pt x="3729" y="2087"/>
                </a:lnTo>
                <a:lnTo>
                  <a:pt x="3736" y="2113"/>
                </a:lnTo>
                <a:lnTo>
                  <a:pt x="3742" y="2139"/>
                </a:lnTo>
                <a:lnTo>
                  <a:pt x="3749" y="2168"/>
                </a:lnTo>
                <a:lnTo>
                  <a:pt x="3753" y="2197"/>
                </a:lnTo>
                <a:lnTo>
                  <a:pt x="3757" y="2227"/>
                </a:lnTo>
                <a:lnTo>
                  <a:pt x="3758" y="2260"/>
                </a:lnTo>
                <a:lnTo>
                  <a:pt x="3758" y="2295"/>
                </a:lnTo>
                <a:lnTo>
                  <a:pt x="3757" y="2313"/>
                </a:lnTo>
                <a:lnTo>
                  <a:pt x="3755" y="2332"/>
                </a:lnTo>
                <a:lnTo>
                  <a:pt x="3753" y="2350"/>
                </a:lnTo>
                <a:lnTo>
                  <a:pt x="3750" y="2371"/>
                </a:lnTo>
                <a:lnTo>
                  <a:pt x="3745" y="2391"/>
                </a:lnTo>
                <a:lnTo>
                  <a:pt x="3741" y="2411"/>
                </a:lnTo>
                <a:lnTo>
                  <a:pt x="3741" y="2411"/>
                </a:lnTo>
                <a:lnTo>
                  <a:pt x="3741" y="2413"/>
                </a:lnTo>
                <a:lnTo>
                  <a:pt x="3741" y="2414"/>
                </a:lnTo>
                <a:lnTo>
                  <a:pt x="3743" y="2414"/>
                </a:lnTo>
                <a:lnTo>
                  <a:pt x="3745" y="2416"/>
                </a:lnTo>
                <a:lnTo>
                  <a:pt x="3753" y="2413"/>
                </a:lnTo>
                <a:lnTo>
                  <a:pt x="3762" y="2411"/>
                </a:lnTo>
                <a:lnTo>
                  <a:pt x="3785" y="2401"/>
                </a:lnTo>
                <a:lnTo>
                  <a:pt x="3814" y="2389"/>
                </a:lnTo>
                <a:lnTo>
                  <a:pt x="3842" y="2374"/>
                </a:lnTo>
                <a:lnTo>
                  <a:pt x="3867" y="2360"/>
                </a:lnTo>
                <a:lnTo>
                  <a:pt x="3886" y="2349"/>
                </a:lnTo>
                <a:lnTo>
                  <a:pt x="3891" y="2345"/>
                </a:lnTo>
                <a:lnTo>
                  <a:pt x="3894" y="2343"/>
                </a:lnTo>
                <a:lnTo>
                  <a:pt x="3894" y="2343"/>
                </a:lnTo>
                <a:lnTo>
                  <a:pt x="3903" y="2319"/>
                </a:lnTo>
                <a:lnTo>
                  <a:pt x="3910" y="2296"/>
                </a:lnTo>
                <a:lnTo>
                  <a:pt x="3916" y="2272"/>
                </a:lnTo>
                <a:lnTo>
                  <a:pt x="3921" y="2248"/>
                </a:lnTo>
                <a:lnTo>
                  <a:pt x="3925" y="2224"/>
                </a:lnTo>
                <a:lnTo>
                  <a:pt x="3928" y="2201"/>
                </a:lnTo>
                <a:lnTo>
                  <a:pt x="3930" y="2178"/>
                </a:lnTo>
                <a:lnTo>
                  <a:pt x="3932" y="2156"/>
                </a:lnTo>
                <a:lnTo>
                  <a:pt x="3932" y="2117"/>
                </a:lnTo>
                <a:lnTo>
                  <a:pt x="3931" y="2086"/>
                </a:lnTo>
                <a:lnTo>
                  <a:pt x="3928" y="2059"/>
                </a:lnTo>
                <a:lnTo>
                  <a:pt x="3928" y="2059"/>
                </a:lnTo>
                <a:lnTo>
                  <a:pt x="3939" y="2068"/>
                </a:lnTo>
                <a:lnTo>
                  <a:pt x="3947" y="2079"/>
                </a:lnTo>
                <a:lnTo>
                  <a:pt x="3954" y="2091"/>
                </a:lnTo>
                <a:lnTo>
                  <a:pt x="3960" y="2105"/>
                </a:lnTo>
                <a:lnTo>
                  <a:pt x="3964" y="2120"/>
                </a:lnTo>
                <a:lnTo>
                  <a:pt x="3968" y="2135"/>
                </a:lnTo>
                <a:lnTo>
                  <a:pt x="3971" y="2152"/>
                </a:lnTo>
                <a:lnTo>
                  <a:pt x="3973" y="2168"/>
                </a:lnTo>
                <a:lnTo>
                  <a:pt x="3975" y="2185"/>
                </a:lnTo>
                <a:lnTo>
                  <a:pt x="3976" y="2203"/>
                </a:lnTo>
                <a:lnTo>
                  <a:pt x="3976" y="2219"/>
                </a:lnTo>
                <a:lnTo>
                  <a:pt x="3975" y="2237"/>
                </a:lnTo>
                <a:lnTo>
                  <a:pt x="3971" y="2268"/>
                </a:lnTo>
                <a:lnTo>
                  <a:pt x="3965" y="2297"/>
                </a:lnTo>
                <a:lnTo>
                  <a:pt x="3965" y="2297"/>
                </a:lnTo>
                <a:lnTo>
                  <a:pt x="3982" y="2288"/>
                </a:lnTo>
                <a:lnTo>
                  <a:pt x="3998" y="2276"/>
                </a:lnTo>
                <a:lnTo>
                  <a:pt x="4016" y="2263"/>
                </a:lnTo>
                <a:lnTo>
                  <a:pt x="4036" y="2249"/>
                </a:lnTo>
                <a:lnTo>
                  <a:pt x="4053" y="2234"/>
                </a:lnTo>
                <a:lnTo>
                  <a:pt x="4061" y="2226"/>
                </a:lnTo>
                <a:lnTo>
                  <a:pt x="4068" y="2219"/>
                </a:lnTo>
                <a:lnTo>
                  <a:pt x="4072" y="2212"/>
                </a:lnTo>
                <a:lnTo>
                  <a:pt x="4075" y="2206"/>
                </a:lnTo>
                <a:lnTo>
                  <a:pt x="4075" y="2206"/>
                </a:lnTo>
                <a:lnTo>
                  <a:pt x="4083" y="2176"/>
                </a:lnTo>
                <a:lnTo>
                  <a:pt x="4090" y="2148"/>
                </a:lnTo>
                <a:lnTo>
                  <a:pt x="4094" y="2121"/>
                </a:lnTo>
                <a:lnTo>
                  <a:pt x="4096" y="2095"/>
                </a:lnTo>
                <a:lnTo>
                  <a:pt x="4096" y="2071"/>
                </a:lnTo>
                <a:lnTo>
                  <a:pt x="4095" y="2047"/>
                </a:lnTo>
                <a:lnTo>
                  <a:pt x="4093" y="2025"/>
                </a:lnTo>
                <a:lnTo>
                  <a:pt x="4090" y="2003"/>
                </a:lnTo>
                <a:lnTo>
                  <a:pt x="4085" y="1983"/>
                </a:lnTo>
                <a:lnTo>
                  <a:pt x="4080" y="1964"/>
                </a:lnTo>
                <a:lnTo>
                  <a:pt x="4075" y="1945"/>
                </a:lnTo>
                <a:lnTo>
                  <a:pt x="4069" y="1928"/>
                </a:lnTo>
                <a:lnTo>
                  <a:pt x="4055" y="1894"/>
                </a:lnTo>
                <a:lnTo>
                  <a:pt x="4043" y="1862"/>
                </a:lnTo>
                <a:lnTo>
                  <a:pt x="4043" y="1862"/>
                </a:lnTo>
                <a:lnTo>
                  <a:pt x="4038" y="1847"/>
                </a:lnTo>
                <a:lnTo>
                  <a:pt x="4035" y="1832"/>
                </a:lnTo>
                <a:lnTo>
                  <a:pt x="4034" y="1817"/>
                </a:lnTo>
                <a:lnTo>
                  <a:pt x="4035" y="1802"/>
                </a:lnTo>
                <a:lnTo>
                  <a:pt x="4037" y="1788"/>
                </a:lnTo>
                <a:lnTo>
                  <a:pt x="4041" y="1773"/>
                </a:lnTo>
                <a:lnTo>
                  <a:pt x="4046" y="1759"/>
                </a:lnTo>
                <a:lnTo>
                  <a:pt x="4053" y="1746"/>
                </a:lnTo>
                <a:lnTo>
                  <a:pt x="4061" y="1733"/>
                </a:lnTo>
                <a:lnTo>
                  <a:pt x="4071" y="1719"/>
                </a:lnTo>
                <a:lnTo>
                  <a:pt x="4081" y="1707"/>
                </a:lnTo>
                <a:lnTo>
                  <a:pt x="4092" y="1696"/>
                </a:lnTo>
                <a:lnTo>
                  <a:pt x="4103" y="1684"/>
                </a:lnTo>
                <a:lnTo>
                  <a:pt x="4117" y="1673"/>
                </a:lnTo>
                <a:lnTo>
                  <a:pt x="4130" y="1664"/>
                </a:lnTo>
                <a:lnTo>
                  <a:pt x="4145" y="1655"/>
                </a:lnTo>
                <a:lnTo>
                  <a:pt x="4145" y="1655"/>
                </a:lnTo>
                <a:lnTo>
                  <a:pt x="4180" y="1674"/>
                </a:lnTo>
                <a:lnTo>
                  <a:pt x="4215" y="1695"/>
                </a:lnTo>
                <a:lnTo>
                  <a:pt x="4251" y="1716"/>
                </a:lnTo>
                <a:lnTo>
                  <a:pt x="4286" y="1740"/>
                </a:lnTo>
                <a:lnTo>
                  <a:pt x="4286" y="1740"/>
                </a:lnTo>
                <a:lnTo>
                  <a:pt x="4307" y="1754"/>
                </a:lnTo>
                <a:lnTo>
                  <a:pt x="4341" y="1779"/>
                </a:lnTo>
                <a:lnTo>
                  <a:pt x="4361" y="1794"/>
                </a:lnTo>
                <a:lnTo>
                  <a:pt x="4382" y="1812"/>
                </a:lnTo>
                <a:lnTo>
                  <a:pt x="4405" y="1832"/>
                </a:lnTo>
                <a:lnTo>
                  <a:pt x="4430" y="1853"/>
                </a:lnTo>
                <a:lnTo>
                  <a:pt x="4453" y="1877"/>
                </a:lnTo>
                <a:lnTo>
                  <a:pt x="4478" y="1901"/>
                </a:lnTo>
                <a:lnTo>
                  <a:pt x="4501" y="1928"/>
                </a:lnTo>
                <a:lnTo>
                  <a:pt x="4524" y="1956"/>
                </a:lnTo>
                <a:lnTo>
                  <a:pt x="4545" y="1985"/>
                </a:lnTo>
                <a:lnTo>
                  <a:pt x="4564" y="2016"/>
                </a:lnTo>
                <a:lnTo>
                  <a:pt x="4574" y="2031"/>
                </a:lnTo>
                <a:lnTo>
                  <a:pt x="4582" y="2047"/>
                </a:lnTo>
                <a:lnTo>
                  <a:pt x="4590" y="2064"/>
                </a:lnTo>
                <a:lnTo>
                  <a:pt x="4596" y="2080"/>
                </a:lnTo>
                <a:lnTo>
                  <a:pt x="4596" y="2080"/>
                </a:lnTo>
                <a:lnTo>
                  <a:pt x="4606" y="2106"/>
                </a:lnTo>
                <a:lnTo>
                  <a:pt x="4616" y="2130"/>
                </a:lnTo>
                <a:lnTo>
                  <a:pt x="4624" y="2155"/>
                </a:lnTo>
                <a:lnTo>
                  <a:pt x="4630" y="2178"/>
                </a:lnTo>
                <a:lnTo>
                  <a:pt x="4636" y="2202"/>
                </a:lnTo>
                <a:lnTo>
                  <a:pt x="4641" y="2224"/>
                </a:lnTo>
                <a:lnTo>
                  <a:pt x="4645" y="2246"/>
                </a:lnTo>
                <a:lnTo>
                  <a:pt x="4649" y="2266"/>
                </a:lnTo>
                <a:lnTo>
                  <a:pt x="4651" y="2287"/>
                </a:lnTo>
                <a:lnTo>
                  <a:pt x="4653" y="2306"/>
                </a:lnTo>
                <a:lnTo>
                  <a:pt x="4654" y="2325"/>
                </a:lnTo>
                <a:lnTo>
                  <a:pt x="4655" y="2343"/>
                </a:lnTo>
                <a:lnTo>
                  <a:pt x="4654" y="2377"/>
                </a:lnTo>
                <a:lnTo>
                  <a:pt x="4652" y="2408"/>
                </a:lnTo>
                <a:lnTo>
                  <a:pt x="4648" y="2437"/>
                </a:lnTo>
                <a:lnTo>
                  <a:pt x="4642" y="2464"/>
                </a:lnTo>
                <a:lnTo>
                  <a:pt x="4635" y="2487"/>
                </a:lnTo>
                <a:lnTo>
                  <a:pt x="4628" y="2509"/>
                </a:lnTo>
                <a:lnTo>
                  <a:pt x="4620" y="2527"/>
                </a:lnTo>
                <a:lnTo>
                  <a:pt x="4612" y="2544"/>
                </a:lnTo>
                <a:lnTo>
                  <a:pt x="4603" y="2559"/>
                </a:lnTo>
                <a:lnTo>
                  <a:pt x="4596" y="2570"/>
                </a:lnTo>
                <a:lnTo>
                  <a:pt x="4596" y="2570"/>
                </a:lnTo>
                <a:lnTo>
                  <a:pt x="4582" y="2590"/>
                </a:lnTo>
                <a:lnTo>
                  <a:pt x="4568" y="2611"/>
                </a:lnTo>
                <a:lnTo>
                  <a:pt x="4553" y="2629"/>
                </a:lnTo>
                <a:lnTo>
                  <a:pt x="4538" y="2648"/>
                </a:lnTo>
                <a:lnTo>
                  <a:pt x="4522" y="2665"/>
                </a:lnTo>
                <a:lnTo>
                  <a:pt x="4505" y="2681"/>
                </a:lnTo>
                <a:lnTo>
                  <a:pt x="4487" y="2697"/>
                </a:lnTo>
                <a:lnTo>
                  <a:pt x="4469" y="2711"/>
                </a:lnTo>
                <a:lnTo>
                  <a:pt x="4450" y="2724"/>
                </a:lnTo>
                <a:lnTo>
                  <a:pt x="4430" y="2736"/>
                </a:lnTo>
                <a:lnTo>
                  <a:pt x="4409" y="2747"/>
                </a:lnTo>
                <a:lnTo>
                  <a:pt x="4388" y="2756"/>
                </a:lnTo>
                <a:lnTo>
                  <a:pt x="4364" y="2764"/>
                </a:lnTo>
                <a:lnTo>
                  <a:pt x="4341" y="2771"/>
                </a:lnTo>
                <a:lnTo>
                  <a:pt x="4316" y="2776"/>
                </a:lnTo>
                <a:lnTo>
                  <a:pt x="4290" y="2779"/>
                </a:lnTo>
                <a:lnTo>
                  <a:pt x="4290" y="2779"/>
                </a:lnTo>
                <a:lnTo>
                  <a:pt x="4283" y="2778"/>
                </a:lnTo>
                <a:lnTo>
                  <a:pt x="4275" y="2778"/>
                </a:lnTo>
                <a:lnTo>
                  <a:pt x="4275" y="2778"/>
                </a:lnTo>
                <a:lnTo>
                  <a:pt x="4242" y="2779"/>
                </a:lnTo>
                <a:lnTo>
                  <a:pt x="4213" y="2779"/>
                </a:lnTo>
                <a:lnTo>
                  <a:pt x="4185" y="2778"/>
                </a:lnTo>
                <a:lnTo>
                  <a:pt x="4159" y="2775"/>
                </a:lnTo>
                <a:lnTo>
                  <a:pt x="4159" y="2775"/>
                </a:lnTo>
                <a:lnTo>
                  <a:pt x="4131" y="2770"/>
                </a:lnTo>
                <a:lnTo>
                  <a:pt x="4103" y="2765"/>
                </a:lnTo>
                <a:lnTo>
                  <a:pt x="4077" y="2758"/>
                </a:lnTo>
                <a:lnTo>
                  <a:pt x="4052" y="2751"/>
                </a:lnTo>
                <a:lnTo>
                  <a:pt x="4052" y="2751"/>
                </a:lnTo>
                <a:lnTo>
                  <a:pt x="4009" y="2736"/>
                </a:lnTo>
                <a:lnTo>
                  <a:pt x="3965" y="2717"/>
                </a:lnTo>
                <a:lnTo>
                  <a:pt x="3965" y="2717"/>
                </a:lnTo>
                <a:lnTo>
                  <a:pt x="3925" y="2697"/>
                </a:lnTo>
                <a:lnTo>
                  <a:pt x="3874" y="2669"/>
                </a:lnTo>
                <a:lnTo>
                  <a:pt x="3846" y="2652"/>
                </a:lnTo>
                <a:lnTo>
                  <a:pt x="3815" y="2632"/>
                </a:lnTo>
                <a:lnTo>
                  <a:pt x="3782" y="2612"/>
                </a:lnTo>
                <a:lnTo>
                  <a:pt x="3748" y="2588"/>
                </a:lnTo>
                <a:lnTo>
                  <a:pt x="3712" y="2564"/>
                </a:lnTo>
                <a:lnTo>
                  <a:pt x="3676" y="2536"/>
                </a:lnTo>
                <a:lnTo>
                  <a:pt x="3638" y="2508"/>
                </a:lnTo>
                <a:lnTo>
                  <a:pt x="3601" y="2477"/>
                </a:lnTo>
                <a:lnTo>
                  <a:pt x="3563" y="2444"/>
                </a:lnTo>
                <a:lnTo>
                  <a:pt x="3526" y="2409"/>
                </a:lnTo>
                <a:lnTo>
                  <a:pt x="3488" y="2373"/>
                </a:lnTo>
                <a:lnTo>
                  <a:pt x="3451" y="2335"/>
                </a:lnTo>
                <a:lnTo>
                  <a:pt x="3451" y="2335"/>
                </a:lnTo>
                <a:lnTo>
                  <a:pt x="3394" y="2271"/>
                </a:lnTo>
                <a:lnTo>
                  <a:pt x="3342" y="2212"/>
                </a:lnTo>
                <a:lnTo>
                  <a:pt x="3295" y="2157"/>
                </a:lnTo>
                <a:lnTo>
                  <a:pt x="3253" y="2107"/>
                </a:lnTo>
                <a:lnTo>
                  <a:pt x="3215" y="2060"/>
                </a:lnTo>
                <a:lnTo>
                  <a:pt x="3180" y="2017"/>
                </a:lnTo>
                <a:lnTo>
                  <a:pt x="3120" y="1940"/>
                </a:lnTo>
                <a:lnTo>
                  <a:pt x="3120" y="1940"/>
                </a:lnTo>
                <a:lnTo>
                  <a:pt x="3138" y="1947"/>
                </a:lnTo>
                <a:lnTo>
                  <a:pt x="3156" y="1953"/>
                </a:lnTo>
                <a:lnTo>
                  <a:pt x="3175" y="1958"/>
                </a:lnTo>
                <a:lnTo>
                  <a:pt x="3193" y="1963"/>
                </a:lnTo>
                <a:lnTo>
                  <a:pt x="3211" y="1966"/>
                </a:lnTo>
                <a:lnTo>
                  <a:pt x="3229" y="1968"/>
                </a:lnTo>
                <a:lnTo>
                  <a:pt x="3262" y="1971"/>
                </a:lnTo>
                <a:lnTo>
                  <a:pt x="3289" y="1971"/>
                </a:lnTo>
                <a:lnTo>
                  <a:pt x="3312" y="1970"/>
                </a:lnTo>
                <a:lnTo>
                  <a:pt x="3332" y="1968"/>
                </a:lnTo>
                <a:lnTo>
                  <a:pt x="3332" y="1968"/>
                </a:lnTo>
                <a:lnTo>
                  <a:pt x="3336" y="1918"/>
                </a:lnTo>
                <a:lnTo>
                  <a:pt x="3338" y="1873"/>
                </a:lnTo>
                <a:lnTo>
                  <a:pt x="3340" y="1833"/>
                </a:lnTo>
                <a:lnTo>
                  <a:pt x="3346" y="1698"/>
                </a:lnTo>
                <a:lnTo>
                  <a:pt x="3346" y="1698"/>
                </a:lnTo>
                <a:lnTo>
                  <a:pt x="3349" y="1661"/>
                </a:lnTo>
                <a:lnTo>
                  <a:pt x="3351" y="1626"/>
                </a:lnTo>
                <a:lnTo>
                  <a:pt x="3352" y="1589"/>
                </a:lnTo>
                <a:lnTo>
                  <a:pt x="3352" y="1589"/>
                </a:lnTo>
                <a:lnTo>
                  <a:pt x="3340" y="1588"/>
                </a:lnTo>
                <a:lnTo>
                  <a:pt x="3307" y="1584"/>
                </a:lnTo>
                <a:lnTo>
                  <a:pt x="3285" y="1581"/>
                </a:lnTo>
                <a:lnTo>
                  <a:pt x="3260" y="1576"/>
                </a:lnTo>
                <a:lnTo>
                  <a:pt x="3233" y="1571"/>
                </a:lnTo>
                <a:lnTo>
                  <a:pt x="3206" y="1564"/>
                </a:lnTo>
                <a:lnTo>
                  <a:pt x="3176" y="1555"/>
                </a:lnTo>
                <a:lnTo>
                  <a:pt x="3147" y="1544"/>
                </a:lnTo>
                <a:lnTo>
                  <a:pt x="3120" y="1532"/>
                </a:lnTo>
                <a:lnTo>
                  <a:pt x="3106" y="1526"/>
                </a:lnTo>
                <a:lnTo>
                  <a:pt x="3093" y="1519"/>
                </a:lnTo>
                <a:lnTo>
                  <a:pt x="3081" y="1511"/>
                </a:lnTo>
                <a:lnTo>
                  <a:pt x="3070" y="1502"/>
                </a:lnTo>
                <a:lnTo>
                  <a:pt x="3058" y="1493"/>
                </a:lnTo>
                <a:lnTo>
                  <a:pt x="3049" y="1484"/>
                </a:lnTo>
                <a:lnTo>
                  <a:pt x="3040" y="1474"/>
                </a:lnTo>
                <a:lnTo>
                  <a:pt x="3032" y="1463"/>
                </a:lnTo>
                <a:lnTo>
                  <a:pt x="3025" y="1451"/>
                </a:lnTo>
                <a:lnTo>
                  <a:pt x="3019" y="1439"/>
                </a:lnTo>
                <a:lnTo>
                  <a:pt x="3019" y="1439"/>
                </a:lnTo>
                <a:lnTo>
                  <a:pt x="3030" y="1445"/>
                </a:lnTo>
                <a:lnTo>
                  <a:pt x="3042" y="1450"/>
                </a:lnTo>
                <a:lnTo>
                  <a:pt x="3059" y="1457"/>
                </a:lnTo>
                <a:lnTo>
                  <a:pt x="3081" y="1465"/>
                </a:lnTo>
                <a:lnTo>
                  <a:pt x="3106" y="1472"/>
                </a:lnTo>
                <a:lnTo>
                  <a:pt x="3136" y="1477"/>
                </a:lnTo>
                <a:lnTo>
                  <a:pt x="3152" y="1479"/>
                </a:lnTo>
                <a:lnTo>
                  <a:pt x="3169" y="1480"/>
                </a:lnTo>
                <a:lnTo>
                  <a:pt x="3169" y="1480"/>
                </a:lnTo>
                <a:lnTo>
                  <a:pt x="3201" y="1481"/>
                </a:lnTo>
                <a:lnTo>
                  <a:pt x="3234" y="1481"/>
                </a:lnTo>
                <a:lnTo>
                  <a:pt x="3266" y="1479"/>
                </a:lnTo>
                <a:lnTo>
                  <a:pt x="3295" y="1477"/>
                </a:lnTo>
                <a:lnTo>
                  <a:pt x="3340" y="1471"/>
                </a:lnTo>
                <a:lnTo>
                  <a:pt x="3357" y="1469"/>
                </a:lnTo>
                <a:lnTo>
                  <a:pt x="3357" y="1469"/>
                </a:lnTo>
                <a:lnTo>
                  <a:pt x="3359" y="1463"/>
                </a:lnTo>
                <a:lnTo>
                  <a:pt x="3361" y="1451"/>
                </a:lnTo>
                <a:lnTo>
                  <a:pt x="3364" y="1421"/>
                </a:lnTo>
                <a:lnTo>
                  <a:pt x="3367" y="1381"/>
                </a:lnTo>
                <a:lnTo>
                  <a:pt x="3369" y="1337"/>
                </a:lnTo>
                <a:lnTo>
                  <a:pt x="3373" y="1257"/>
                </a:lnTo>
                <a:lnTo>
                  <a:pt x="3375" y="1222"/>
                </a:lnTo>
                <a:lnTo>
                  <a:pt x="3375" y="1222"/>
                </a:lnTo>
                <a:lnTo>
                  <a:pt x="3376" y="1194"/>
                </a:lnTo>
                <a:lnTo>
                  <a:pt x="3377" y="1154"/>
                </a:lnTo>
                <a:lnTo>
                  <a:pt x="3377" y="1105"/>
                </a:lnTo>
                <a:lnTo>
                  <a:pt x="3377" y="1105"/>
                </a:lnTo>
                <a:lnTo>
                  <a:pt x="3369" y="1107"/>
                </a:lnTo>
                <a:lnTo>
                  <a:pt x="3359" y="1108"/>
                </a:lnTo>
                <a:lnTo>
                  <a:pt x="3338" y="1110"/>
                </a:lnTo>
                <a:lnTo>
                  <a:pt x="3315" y="1109"/>
                </a:lnTo>
                <a:lnTo>
                  <a:pt x="3290" y="1107"/>
                </a:lnTo>
                <a:lnTo>
                  <a:pt x="3264" y="1104"/>
                </a:lnTo>
                <a:lnTo>
                  <a:pt x="3236" y="1100"/>
                </a:lnTo>
                <a:lnTo>
                  <a:pt x="3208" y="1094"/>
                </a:lnTo>
                <a:lnTo>
                  <a:pt x="3178" y="1086"/>
                </a:lnTo>
                <a:lnTo>
                  <a:pt x="3178" y="1086"/>
                </a:lnTo>
                <a:lnTo>
                  <a:pt x="3158" y="1080"/>
                </a:lnTo>
                <a:lnTo>
                  <a:pt x="3135" y="1071"/>
                </a:lnTo>
                <a:lnTo>
                  <a:pt x="3112" y="1059"/>
                </a:lnTo>
                <a:lnTo>
                  <a:pt x="3088" y="1044"/>
                </a:lnTo>
                <a:lnTo>
                  <a:pt x="3064" y="1028"/>
                </a:lnTo>
                <a:lnTo>
                  <a:pt x="3053" y="1019"/>
                </a:lnTo>
                <a:lnTo>
                  <a:pt x="3043" y="1010"/>
                </a:lnTo>
                <a:lnTo>
                  <a:pt x="3034" y="999"/>
                </a:lnTo>
                <a:lnTo>
                  <a:pt x="3025" y="990"/>
                </a:lnTo>
                <a:lnTo>
                  <a:pt x="3017" y="980"/>
                </a:lnTo>
                <a:lnTo>
                  <a:pt x="3010" y="969"/>
                </a:lnTo>
                <a:lnTo>
                  <a:pt x="3010" y="969"/>
                </a:lnTo>
                <a:lnTo>
                  <a:pt x="3022" y="974"/>
                </a:lnTo>
                <a:lnTo>
                  <a:pt x="3035" y="978"/>
                </a:lnTo>
                <a:lnTo>
                  <a:pt x="3052" y="984"/>
                </a:lnTo>
                <a:lnTo>
                  <a:pt x="3075" y="990"/>
                </a:lnTo>
                <a:lnTo>
                  <a:pt x="3101" y="996"/>
                </a:lnTo>
                <a:lnTo>
                  <a:pt x="3132" y="1003"/>
                </a:lnTo>
                <a:lnTo>
                  <a:pt x="3167" y="1008"/>
                </a:lnTo>
                <a:lnTo>
                  <a:pt x="3167" y="1008"/>
                </a:lnTo>
                <a:lnTo>
                  <a:pt x="3187" y="1010"/>
                </a:lnTo>
                <a:lnTo>
                  <a:pt x="3207" y="1011"/>
                </a:lnTo>
                <a:lnTo>
                  <a:pt x="3226" y="1012"/>
                </a:lnTo>
                <a:lnTo>
                  <a:pt x="3245" y="1012"/>
                </a:lnTo>
                <a:lnTo>
                  <a:pt x="3283" y="1010"/>
                </a:lnTo>
                <a:lnTo>
                  <a:pt x="3317" y="1007"/>
                </a:lnTo>
                <a:lnTo>
                  <a:pt x="3346" y="1001"/>
                </a:lnTo>
                <a:lnTo>
                  <a:pt x="3369" y="996"/>
                </a:lnTo>
                <a:lnTo>
                  <a:pt x="3377" y="993"/>
                </a:lnTo>
                <a:lnTo>
                  <a:pt x="3383" y="991"/>
                </a:lnTo>
                <a:lnTo>
                  <a:pt x="3388" y="988"/>
                </a:lnTo>
                <a:lnTo>
                  <a:pt x="3390" y="985"/>
                </a:lnTo>
                <a:lnTo>
                  <a:pt x="3390" y="985"/>
                </a:lnTo>
                <a:lnTo>
                  <a:pt x="3392" y="959"/>
                </a:lnTo>
                <a:lnTo>
                  <a:pt x="3393" y="925"/>
                </a:lnTo>
                <a:lnTo>
                  <a:pt x="3394" y="848"/>
                </a:lnTo>
                <a:lnTo>
                  <a:pt x="3394" y="750"/>
                </a:lnTo>
                <a:lnTo>
                  <a:pt x="3394" y="750"/>
                </a:lnTo>
                <a:lnTo>
                  <a:pt x="3399" y="686"/>
                </a:lnTo>
                <a:lnTo>
                  <a:pt x="3400" y="642"/>
                </a:lnTo>
                <a:lnTo>
                  <a:pt x="3400" y="627"/>
                </a:lnTo>
                <a:lnTo>
                  <a:pt x="3399" y="623"/>
                </a:lnTo>
                <a:lnTo>
                  <a:pt x="3398" y="622"/>
                </a:lnTo>
                <a:lnTo>
                  <a:pt x="3398" y="622"/>
                </a:lnTo>
                <a:lnTo>
                  <a:pt x="3392" y="622"/>
                </a:lnTo>
                <a:lnTo>
                  <a:pt x="3381" y="623"/>
                </a:lnTo>
                <a:lnTo>
                  <a:pt x="3368" y="623"/>
                </a:lnTo>
                <a:lnTo>
                  <a:pt x="3354" y="622"/>
                </a:lnTo>
                <a:lnTo>
                  <a:pt x="3336" y="620"/>
                </a:lnTo>
                <a:lnTo>
                  <a:pt x="3317" y="617"/>
                </a:lnTo>
                <a:lnTo>
                  <a:pt x="3297" y="612"/>
                </a:lnTo>
                <a:lnTo>
                  <a:pt x="3274" y="607"/>
                </a:lnTo>
                <a:lnTo>
                  <a:pt x="3251" y="599"/>
                </a:lnTo>
                <a:lnTo>
                  <a:pt x="3226" y="589"/>
                </a:lnTo>
                <a:lnTo>
                  <a:pt x="3200" y="578"/>
                </a:lnTo>
                <a:lnTo>
                  <a:pt x="3175" y="564"/>
                </a:lnTo>
                <a:lnTo>
                  <a:pt x="3149" y="548"/>
                </a:lnTo>
                <a:lnTo>
                  <a:pt x="3123" y="529"/>
                </a:lnTo>
                <a:lnTo>
                  <a:pt x="3110" y="519"/>
                </a:lnTo>
                <a:lnTo>
                  <a:pt x="3097" y="508"/>
                </a:lnTo>
                <a:lnTo>
                  <a:pt x="3085" y="495"/>
                </a:lnTo>
                <a:lnTo>
                  <a:pt x="3073" y="483"/>
                </a:lnTo>
                <a:lnTo>
                  <a:pt x="3073" y="483"/>
                </a:lnTo>
                <a:lnTo>
                  <a:pt x="3071" y="481"/>
                </a:lnTo>
                <a:lnTo>
                  <a:pt x="3065" y="476"/>
                </a:lnTo>
                <a:lnTo>
                  <a:pt x="3059" y="467"/>
                </a:lnTo>
                <a:lnTo>
                  <a:pt x="3056" y="461"/>
                </a:lnTo>
                <a:lnTo>
                  <a:pt x="3053" y="454"/>
                </a:lnTo>
                <a:lnTo>
                  <a:pt x="3051" y="447"/>
                </a:lnTo>
                <a:lnTo>
                  <a:pt x="3050" y="439"/>
                </a:lnTo>
                <a:lnTo>
                  <a:pt x="3049" y="430"/>
                </a:lnTo>
                <a:lnTo>
                  <a:pt x="3050" y="420"/>
                </a:lnTo>
                <a:lnTo>
                  <a:pt x="3053" y="410"/>
                </a:lnTo>
                <a:lnTo>
                  <a:pt x="3056" y="398"/>
                </a:lnTo>
                <a:lnTo>
                  <a:pt x="3062" y="386"/>
                </a:lnTo>
                <a:lnTo>
                  <a:pt x="3071" y="373"/>
                </a:lnTo>
                <a:lnTo>
                  <a:pt x="3071" y="373"/>
                </a:lnTo>
                <a:lnTo>
                  <a:pt x="2806" y="254"/>
                </a:lnTo>
                <a:lnTo>
                  <a:pt x="2806" y="254"/>
                </a:lnTo>
                <a:lnTo>
                  <a:pt x="2815" y="245"/>
                </a:lnTo>
                <a:lnTo>
                  <a:pt x="2824" y="234"/>
                </a:lnTo>
                <a:lnTo>
                  <a:pt x="2834" y="219"/>
                </a:lnTo>
                <a:lnTo>
                  <a:pt x="2845" y="203"/>
                </a:lnTo>
                <a:lnTo>
                  <a:pt x="2850" y="194"/>
                </a:lnTo>
                <a:lnTo>
                  <a:pt x="2854" y="185"/>
                </a:lnTo>
                <a:lnTo>
                  <a:pt x="2858" y="174"/>
                </a:lnTo>
                <a:lnTo>
                  <a:pt x="2861" y="164"/>
                </a:lnTo>
                <a:lnTo>
                  <a:pt x="2863" y="154"/>
                </a:lnTo>
                <a:lnTo>
                  <a:pt x="2863" y="144"/>
                </a:lnTo>
                <a:lnTo>
                  <a:pt x="2863" y="144"/>
                </a:lnTo>
                <a:lnTo>
                  <a:pt x="2863" y="132"/>
                </a:lnTo>
                <a:lnTo>
                  <a:pt x="2860" y="122"/>
                </a:lnTo>
                <a:lnTo>
                  <a:pt x="2855" y="112"/>
                </a:lnTo>
                <a:lnTo>
                  <a:pt x="2849" y="103"/>
                </a:lnTo>
                <a:lnTo>
                  <a:pt x="2841" y="94"/>
                </a:lnTo>
                <a:lnTo>
                  <a:pt x="2830" y="86"/>
                </a:lnTo>
                <a:lnTo>
                  <a:pt x="2820" y="79"/>
                </a:lnTo>
                <a:lnTo>
                  <a:pt x="2808" y="73"/>
                </a:lnTo>
                <a:lnTo>
                  <a:pt x="2795" y="68"/>
                </a:lnTo>
                <a:lnTo>
                  <a:pt x="2781" y="64"/>
                </a:lnTo>
                <a:lnTo>
                  <a:pt x="2767" y="60"/>
                </a:lnTo>
                <a:lnTo>
                  <a:pt x="2753" y="58"/>
                </a:lnTo>
                <a:lnTo>
                  <a:pt x="2738" y="56"/>
                </a:lnTo>
                <a:lnTo>
                  <a:pt x="2723" y="56"/>
                </a:lnTo>
                <a:lnTo>
                  <a:pt x="2709" y="57"/>
                </a:lnTo>
                <a:lnTo>
                  <a:pt x="2694" y="59"/>
                </a:lnTo>
                <a:lnTo>
                  <a:pt x="2694" y="59"/>
                </a:lnTo>
                <a:lnTo>
                  <a:pt x="2681" y="62"/>
                </a:lnTo>
                <a:lnTo>
                  <a:pt x="2669" y="66"/>
                </a:lnTo>
                <a:lnTo>
                  <a:pt x="2656" y="71"/>
                </a:lnTo>
                <a:lnTo>
                  <a:pt x="2644" y="77"/>
                </a:lnTo>
                <a:lnTo>
                  <a:pt x="2634" y="84"/>
                </a:lnTo>
                <a:lnTo>
                  <a:pt x="2623" y="92"/>
                </a:lnTo>
                <a:lnTo>
                  <a:pt x="2604" y="107"/>
                </a:lnTo>
                <a:lnTo>
                  <a:pt x="2589" y="122"/>
                </a:lnTo>
                <a:lnTo>
                  <a:pt x="2578" y="134"/>
                </a:lnTo>
                <a:lnTo>
                  <a:pt x="2569" y="147"/>
                </a:lnTo>
                <a:lnTo>
                  <a:pt x="2238" y="0"/>
                </a:lnTo>
                <a:lnTo>
                  <a:pt x="1977" y="263"/>
                </a:lnTo>
                <a:lnTo>
                  <a:pt x="1977" y="263"/>
                </a:lnTo>
                <a:lnTo>
                  <a:pt x="1972" y="268"/>
                </a:lnTo>
                <a:lnTo>
                  <a:pt x="1966" y="280"/>
                </a:lnTo>
                <a:lnTo>
                  <a:pt x="1963" y="287"/>
                </a:lnTo>
                <a:lnTo>
                  <a:pt x="1961" y="295"/>
                </a:lnTo>
                <a:lnTo>
                  <a:pt x="1960" y="304"/>
                </a:lnTo>
                <a:lnTo>
                  <a:pt x="1960" y="313"/>
                </a:lnTo>
                <a:lnTo>
                  <a:pt x="1964" y="337"/>
                </a:lnTo>
                <a:lnTo>
                  <a:pt x="1964" y="337"/>
                </a:lnTo>
                <a:lnTo>
                  <a:pt x="1964" y="343"/>
                </a:lnTo>
                <a:lnTo>
                  <a:pt x="1963" y="349"/>
                </a:lnTo>
                <a:lnTo>
                  <a:pt x="1962" y="354"/>
                </a:lnTo>
                <a:lnTo>
                  <a:pt x="1961" y="358"/>
                </a:lnTo>
                <a:lnTo>
                  <a:pt x="1957" y="366"/>
                </a:lnTo>
                <a:lnTo>
                  <a:pt x="1955" y="370"/>
                </a:lnTo>
                <a:lnTo>
                  <a:pt x="1955" y="370"/>
                </a:lnTo>
                <a:lnTo>
                  <a:pt x="1936" y="392"/>
                </a:lnTo>
                <a:lnTo>
                  <a:pt x="1916" y="416"/>
                </a:lnTo>
                <a:lnTo>
                  <a:pt x="1896" y="438"/>
                </a:lnTo>
                <a:lnTo>
                  <a:pt x="1876" y="461"/>
                </a:lnTo>
                <a:lnTo>
                  <a:pt x="1876" y="461"/>
                </a:lnTo>
                <a:lnTo>
                  <a:pt x="1847" y="499"/>
                </a:lnTo>
                <a:lnTo>
                  <a:pt x="1836" y="515"/>
                </a:lnTo>
                <a:lnTo>
                  <a:pt x="1828" y="527"/>
                </a:lnTo>
                <a:lnTo>
                  <a:pt x="1828" y="527"/>
                </a:lnTo>
                <a:lnTo>
                  <a:pt x="1819" y="542"/>
                </a:lnTo>
                <a:lnTo>
                  <a:pt x="1811" y="558"/>
                </a:lnTo>
                <a:lnTo>
                  <a:pt x="1799" y="583"/>
                </a:lnTo>
                <a:lnTo>
                  <a:pt x="1789" y="607"/>
                </a:lnTo>
                <a:lnTo>
                  <a:pt x="1781" y="628"/>
                </a:lnTo>
                <a:lnTo>
                  <a:pt x="1781" y="628"/>
                </a:lnTo>
                <a:lnTo>
                  <a:pt x="1780" y="631"/>
                </a:lnTo>
                <a:lnTo>
                  <a:pt x="1778" y="642"/>
                </a:lnTo>
                <a:lnTo>
                  <a:pt x="1778" y="649"/>
                </a:lnTo>
                <a:lnTo>
                  <a:pt x="1777" y="657"/>
                </a:lnTo>
                <a:lnTo>
                  <a:pt x="1778" y="666"/>
                </a:lnTo>
                <a:lnTo>
                  <a:pt x="1780" y="677"/>
                </a:lnTo>
                <a:lnTo>
                  <a:pt x="1784" y="690"/>
                </a:lnTo>
                <a:lnTo>
                  <a:pt x="1789" y="703"/>
                </a:lnTo>
                <a:lnTo>
                  <a:pt x="1797" y="716"/>
                </a:lnTo>
                <a:lnTo>
                  <a:pt x="1807" y="732"/>
                </a:lnTo>
                <a:lnTo>
                  <a:pt x="1819" y="748"/>
                </a:lnTo>
                <a:lnTo>
                  <a:pt x="1833" y="764"/>
                </a:lnTo>
                <a:lnTo>
                  <a:pt x="1852" y="782"/>
                </a:lnTo>
                <a:lnTo>
                  <a:pt x="1874" y="800"/>
                </a:lnTo>
                <a:lnTo>
                  <a:pt x="1881" y="806"/>
                </a:lnTo>
                <a:lnTo>
                  <a:pt x="1881" y="806"/>
                </a:lnTo>
                <a:lnTo>
                  <a:pt x="1894" y="789"/>
                </a:lnTo>
                <a:lnTo>
                  <a:pt x="1905" y="800"/>
                </a:lnTo>
                <a:lnTo>
                  <a:pt x="1905" y="800"/>
                </a:lnTo>
                <a:lnTo>
                  <a:pt x="1914" y="809"/>
                </a:lnTo>
                <a:lnTo>
                  <a:pt x="1926" y="820"/>
                </a:lnTo>
                <a:lnTo>
                  <a:pt x="1941" y="832"/>
                </a:lnTo>
                <a:lnTo>
                  <a:pt x="1957" y="842"/>
                </a:lnTo>
                <a:lnTo>
                  <a:pt x="1957" y="842"/>
                </a:lnTo>
                <a:lnTo>
                  <a:pt x="1959" y="835"/>
                </a:lnTo>
                <a:lnTo>
                  <a:pt x="1964" y="815"/>
                </a:lnTo>
                <a:lnTo>
                  <a:pt x="1969" y="802"/>
                </a:lnTo>
                <a:lnTo>
                  <a:pt x="1975" y="789"/>
                </a:lnTo>
                <a:lnTo>
                  <a:pt x="1983" y="775"/>
                </a:lnTo>
                <a:lnTo>
                  <a:pt x="1991" y="760"/>
                </a:lnTo>
                <a:lnTo>
                  <a:pt x="1991" y="760"/>
                </a:lnTo>
                <a:lnTo>
                  <a:pt x="2000" y="748"/>
                </a:lnTo>
                <a:lnTo>
                  <a:pt x="2011" y="736"/>
                </a:lnTo>
                <a:lnTo>
                  <a:pt x="2025" y="722"/>
                </a:lnTo>
                <a:lnTo>
                  <a:pt x="2038" y="709"/>
                </a:lnTo>
                <a:lnTo>
                  <a:pt x="2052" y="697"/>
                </a:lnTo>
                <a:lnTo>
                  <a:pt x="2065" y="686"/>
                </a:lnTo>
                <a:lnTo>
                  <a:pt x="2080" y="675"/>
                </a:lnTo>
                <a:lnTo>
                  <a:pt x="2092" y="667"/>
                </a:lnTo>
                <a:lnTo>
                  <a:pt x="2092" y="667"/>
                </a:lnTo>
                <a:lnTo>
                  <a:pt x="2107" y="658"/>
                </a:lnTo>
                <a:lnTo>
                  <a:pt x="2123" y="650"/>
                </a:lnTo>
                <a:lnTo>
                  <a:pt x="2138" y="643"/>
                </a:lnTo>
                <a:lnTo>
                  <a:pt x="2154" y="636"/>
                </a:lnTo>
                <a:lnTo>
                  <a:pt x="2170" y="632"/>
                </a:lnTo>
                <a:lnTo>
                  <a:pt x="2186" y="629"/>
                </a:lnTo>
                <a:lnTo>
                  <a:pt x="2202" y="626"/>
                </a:lnTo>
                <a:lnTo>
                  <a:pt x="2220" y="625"/>
                </a:lnTo>
                <a:lnTo>
                  <a:pt x="2220" y="625"/>
                </a:lnTo>
                <a:lnTo>
                  <a:pt x="2234" y="626"/>
                </a:lnTo>
                <a:lnTo>
                  <a:pt x="2247" y="627"/>
                </a:lnTo>
                <a:lnTo>
                  <a:pt x="2261" y="630"/>
                </a:lnTo>
                <a:lnTo>
                  <a:pt x="2272" y="635"/>
                </a:lnTo>
                <a:lnTo>
                  <a:pt x="2283" y="642"/>
                </a:lnTo>
                <a:lnTo>
                  <a:pt x="2295" y="649"/>
                </a:lnTo>
                <a:lnTo>
                  <a:pt x="2305" y="658"/>
                </a:lnTo>
                <a:lnTo>
                  <a:pt x="2316" y="668"/>
                </a:lnTo>
                <a:lnTo>
                  <a:pt x="2316" y="668"/>
                </a:lnTo>
                <a:lnTo>
                  <a:pt x="2323" y="676"/>
                </a:lnTo>
                <a:lnTo>
                  <a:pt x="2330" y="687"/>
                </a:lnTo>
                <a:lnTo>
                  <a:pt x="2336" y="698"/>
                </a:lnTo>
                <a:lnTo>
                  <a:pt x="2342" y="710"/>
                </a:lnTo>
                <a:lnTo>
                  <a:pt x="2347" y="722"/>
                </a:lnTo>
                <a:lnTo>
                  <a:pt x="2351" y="736"/>
                </a:lnTo>
                <a:lnTo>
                  <a:pt x="2355" y="750"/>
                </a:lnTo>
                <a:lnTo>
                  <a:pt x="2358" y="764"/>
                </a:lnTo>
                <a:lnTo>
                  <a:pt x="2360" y="778"/>
                </a:lnTo>
                <a:lnTo>
                  <a:pt x="2362" y="792"/>
                </a:lnTo>
                <a:lnTo>
                  <a:pt x="2363" y="805"/>
                </a:lnTo>
                <a:lnTo>
                  <a:pt x="2364" y="818"/>
                </a:lnTo>
                <a:lnTo>
                  <a:pt x="2364" y="831"/>
                </a:lnTo>
                <a:lnTo>
                  <a:pt x="2363" y="842"/>
                </a:lnTo>
                <a:lnTo>
                  <a:pt x="2361" y="852"/>
                </a:lnTo>
                <a:lnTo>
                  <a:pt x="2359" y="861"/>
                </a:lnTo>
                <a:lnTo>
                  <a:pt x="2359" y="861"/>
                </a:lnTo>
                <a:lnTo>
                  <a:pt x="2330" y="843"/>
                </a:lnTo>
                <a:lnTo>
                  <a:pt x="2330" y="843"/>
                </a:lnTo>
                <a:lnTo>
                  <a:pt x="2309" y="832"/>
                </a:lnTo>
                <a:lnTo>
                  <a:pt x="2281" y="822"/>
                </a:lnTo>
                <a:lnTo>
                  <a:pt x="2266" y="815"/>
                </a:lnTo>
                <a:lnTo>
                  <a:pt x="2251" y="811"/>
                </a:lnTo>
                <a:lnTo>
                  <a:pt x="2233" y="807"/>
                </a:lnTo>
                <a:lnTo>
                  <a:pt x="2215" y="803"/>
                </a:lnTo>
                <a:lnTo>
                  <a:pt x="2195" y="801"/>
                </a:lnTo>
                <a:lnTo>
                  <a:pt x="2175" y="800"/>
                </a:lnTo>
                <a:lnTo>
                  <a:pt x="2154" y="800"/>
                </a:lnTo>
                <a:lnTo>
                  <a:pt x="2132" y="802"/>
                </a:lnTo>
                <a:lnTo>
                  <a:pt x="2109" y="805"/>
                </a:lnTo>
                <a:lnTo>
                  <a:pt x="2086" y="810"/>
                </a:lnTo>
                <a:lnTo>
                  <a:pt x="2062" y="818"/>
                </a:lnTo>
                <a:lnTo>
                  <a:pt x="2037" y="829"/>
                </a:lnTo>
                <a:lnTo>
                  <a:pt x="2037" y="829"/>
                </a:lnTo>
                <a:lnTo>
                  <a:pt x="1995" y="847"/>
                </a:lnTo>
                <a:lnTo>
                  <a:pt x="1967" y="859"/>
                </a:lnTo>
                <a:lnTo>
                  <a:pt x="1936" y="872"/>
                </a:lnTo>
                <a:lnTo>
                  <a:pt x="1900" y="886"/>
                </a:lnTo>
                <a:lnTo>
                  <a:pt x="1860" y="900"/>
                </a:lnTo>
                <a:lnTo>
                  <a:pt x="1814" y="916"/>
                </a:lnTo>
                <a:lnTo>
                  <a:pt x="1764" y="931"/>
                </a:lnTo>
                <a:lnTo>
                  <a:pt x="1764" y="931"/>
                </a:lnTo>
                <a:lnTo>
                  <a:pt x="1737" y="938"/>
                </a:lnTo>
                <a:lnTo>
                  <a:pt x="1725" y="940"/>
                </a:lnTo>
                <a:lnTo>
                  <a:pt x="1713" y="941"/>
                </a:lnTo>
                <a:lnTo>
                  <a:pt x="1701" y="941"/>
                </a:lnTo>
                <a:lnTo>
                  <a:pt x="1691" y="941"/>
                </a:lnTo>
                <a:lnTo>
                  <a:pt x="1681" y="940"/>
                </a:lnTo>
                <a:lnTo>
                  <a:pt x="1672" y="938"/>
                </a:lnTo>
                <a:lnTo>
                  <a:pt x="1664" y="935"/>
                </a:lnTo>
                <a:lnTo>
                  <a:pt x="1655" y="930"/>
                </a:lnTo>
                <a:lnTo>
                  <a:pt x="1649" y="925"/>
                </a:lnTo>
                <a:lnTo>
                  <a:pt x="1642" y="919"/>
                </a:lnTo>
                <a:lnTo>
                  <a:pt x="1637" y="912"/>
                </a:lnTo>
                <a:lnTo>
                  <a:pt x="1633" y="902"/>
                </a:lnTo>
                <a:lnTo>
                  <a:pt x="1629" y="892"/>
                </a:lnTo>
                <a:lnTo>
                  <a:pt x="1626" y="881"/>
                </a:lnTo>
                <a:lnTo>
                  <a:pt x="1626" y="881"/>
                </a:lnTo>
                <a:lnTo>
                  <a:pt x="1624" y="871"/>
                </a:lnTo>
                <a:lnTo>
                  <a:pt x="1623" y="860"/>
                </a:lnTo>
                <a:lnTo>
                  <a:pt x="1623" y="851"/>
                </a:lnTo>
                <a:lnTo>
                  <a:pt x="1623" y="842"/>
                </a:lnTo>
                <a:lnTo>
                  <a:pt x="1625" y="826"/>
                </a:lnTo>
                <a:lnTo>
                  <a:pt x="1629" y="811"/>
                </a:lnTo>
                <a:lnTo>
                  <a:pt x="1633" y="800"/>
                </a:lnTo>
                <a:lnTo>
                  <a:pt x="1636" y="792"/>
                </a:lnTo>
                <a:lnTo>
                  <a:pt x="1640" y="784"/>
                </a:lnTo>
                <a:lnTo>
                  <a:pt x="1640" y="784"/>
                </a:lnTo>
                <a:lnTo>
                  <a:pt x="1636" y="785"/>
                </a:lnTo>
                <a:lnTo>
                  <a:pt x="1626" y="788"/>
                </a:lnTo>
                <a:lnTo>
                  <a:pt x="1610" y="794"/>
                </a:lnTo>
                <a:lnTo>
                  <a:pt x="1601" y="797"/>
                </a:lnTo>
                <a:lnTo>
                  <a:pt x="1592" y="802"/>
                </a:lnTo>
                <a:lnTo>
                  <a:pt x="1582" y="808"/>
                </a:lnTo>
                <a:lnTo>
                  <a:pt x="1573" y="814"/>
                </a:lnTo>
                <a:lnTo>
                  <a:pt x="1563" y="823"/>
                </a:lnTo>
                <a:lnTo>
                  <a:pt x="1554" y="832"/>
                </a:lnTo>
                <a:lnTo>
                  <a:pt x="1546" y="842"/>
                </a:lnTo>
                <a:lnTo>
                  <a:pt x="1539" y="853"/>
                </a:lnTo>
                <a:lnTo>
                  <a:pt x="1533" y="867"/>
                </a:lnTo>
                <a:lnTo>
                  <a:pt x="1528" y="881"/>
                </a:lnTo>
                <a:lnTo>
                  <a:pt x="1528" y="881"/>
                </a:lnTo>
                <a:lnTo>
                  <a:pt x="1525" y="896"/>
                </a:lnTo>
                <a:lnTo>
                  <a:pt x="1523" y="912"/>
                </a:lnTo>
                <a:lnTo>
                  <a:pt x="1523" y="927"/>
                </a:lnTo>
                <a:lnTo>
                  <a:pt x="1523" y="941"/>
                </a:lnTo>
                <a:lnTo>
                  <a:pt x="1524" y="954"/>
                </a:lnTo>
                <a:lnTo>
                  <a:pt x="1527" y="969"/>
                </a:lnTo>
                <a:lnTo>
                  <a:pt x="1531" y="981"/>
                </a:lnTo>
                <a:lnTo>
                  <a:pt x="1536" y="993"/>
                </a:lnTo>
                <a:lnTo>
                  <a:pt x="1542" y="1006"/>
                </a:lnTo>
                <a:lnTo>
                  <a:pt x="1549" y="1016"/>
                </a:lnTo>
                <a:lnTo>
                  <a:pt x="1557" y="1026"/>
                </a:lnTo>
                <a:lnTo>
                  <a:pt x="1568" y="1034"/>
                </a:lnTo>
                <a:lnTo>
                  <a:pt x="1578" y="1042"/>
                </a:lnTo>
                <a:lnTo>
                  <a:pt x="1590" y="1049"/>
                </a:lnTo>
                <a:lnTo>
                  <a:pt x="1602" y="1055"/>
                </a:lnTo>
                <a:lnTo>
                  <a:pt x="1617" y="1059"/>
                </a:lnTo>
                <a:lnTo>
                  <a:pt x="1617" y="1059"/>
                </a:lnTo>
                <a:lnTo>
                  <a:pt x="1630" y="1062"/>
                </a:lnTo>
                <a:lnTo>
                  <a:pt x="1644" y="1063"/>
                </a:lnTo>
                <a:lnTo>
                  <a:pt x="1660" y="1062"/>
                </a:lnTo>
                <a:lnTo>
                  <a:pt x="1676" y="1060"/>
                </a:lnTo>
                <a:lnTo>
                  <a:pt x="1692" y="1058"/>
                </a:lnTo>
                <a:lnTo>
                  <a:pt x="1710" y="1054"/>
                </a:lnTo>
                <a:lnTo>
                  <a:pt x="1727" y="1049"/>
                </a:lnTo>
                <a:lnTo>
                  <a:pt x="1744" y="1043"/>
                </a:lnTo>
                <a:lnTo>
                  <a:pt x="1779" y="1029"/>
                </a:lnTo>
                <a:lnTo>
                  <a:pt x="1815" y="1014"/>
                </a:lnTo>
                <a:lnTo>
                  <a:pt x="1849" y="997"/>
                </a:lnTo>
                <a:lnTo>
                  <a:pt x="1880" y="981"/>
                </a:lnTo>
                <a:lnTo>
                  <a:pt x="1880" y="981"/>
                </a:lnTo>
                <a:lnTo>
                  <a:pt x="1942" y="949"/>
                </a:lnTo>
                <a:lnTo>
                  <a:pt x="1979" y="931"/>
                </a:lnTo>
                <a:lnTo>
                  <a:pt x="2013" y="915"/>
                </a:lnTo>
                <a:lnTo>
                  <a:pt x="2013" y="915"/>
                </a:lnTo>
                <a:lnTo>
                  <a:pt x="2041" y="903"/>
                </a:lnTo>
                <a:lnTo>
                  <a:pt x="2054" y="899"/>
                </a:lnTo>
                <a:lnTo>
                  <a:pt x="2068" y="895"/>
                </a:lnTo>
                <a:lnTo>
                  <a:pt x="2081" y="892"/>
                </a:lnTo>
                <a:lnTo>
                  <a:pt x="2093" y="890"/>
                </a:lnTo>
                <a:lnTo>
                  <a:pt x="2105" y="888"/>
                </a:lnTo>
                <a:lnTo>
                  <a:pt x="2119" y="888"/>
                </a:lnTo>
                <a:lnTo>
                  <a:pt x="2131" y="888"/>
                </a:lnTo>
                <a:lnTo>
                  <a:pt x="2143" y="889"/>
                </a:lnTo>
                <a:lnTo>
                  <a:pt x="2156" y="891"/>
                </a:lnTo>
                <a:lnTo>
                  <a:pt x="2170" y="893"/>
                </a:lnTo>
                <a:lnTo>
                  <a:pt x="2183" y="897"/>
                </a:lnTo>
                <a:lnTo>
                  <a:pt x="2196" y="901"/>
                </a:lnTo>
                <a:lnTo>
                  <a:pt x="2211" y="907"/>
                </a:lnTo>
                <a:lnTo>
                  <a:pt x="2226" y="914"/>
                </a:lnTo>
                <a:lnTo>
                  <a:pt x="2226" y="914"/>
                </a:lnTo>
                <a:lnTo>
                  <a:pt x="2246" y="924"/>
                </a:lnTo>
                <a:lnTo>
                  <a:pt x="2265" y="934"/>
                </a:lnTo>
                <a:lnTo>
                  <a:pt x="2281" y="945"/>
                </a:lnTo>
                <a:lnTo>
                  <a:pt x="2295" y="954"/>
                </a:lnTo>
                <a:lnTo>
                  <a:pt x="2305" y="964"/>
                </a:lnTo>
                <a:lnTo>
                  <a:pt x="2312" y="971"/>
                </a:lnTo>
                <a:lnTo>
                  <a:pt x="2319" y="977"/>
                </a:lnTo>
                <a:lnTo>
                  <a:pt x="2319" y="977"/>
                </a:lnTo>
                <a:lnTo>
                  <a:pt x="2317" y="980"/>
                </a:lnTo>
                <a:lnTo>
                  <a:pt x="2313" y="987"/>
                </a:lnTo>
                <a:lnTo>
                  <a:pt x="2305" y="998"/>
                </a:lnTo>
                <a:lnTo>
                  <a:pt x="2300" y="1005"/>
                </a:lnTo>
                <a:lnTo>
                  <a:pt x="2293" y="1012"/>
                </a:lnTo>
                <a:lnTo>
                  <a:pt x="2285" y="1018"/>
                </a:lnTo>
                <a:lnTo>
                  <a:pt x="2276" y="1025"/>
                </a:lnTo>
                <a:lnTo>
                  <a:pt x="2267" y="1031"/>
                </a:lnTo>
                <a:lnTo>
                  <a:pt x="2255" y="1036"/>
                </a:lnTo>
                <a:lnTo>
                  <a:pt x="2242" y="1041"/>
                </a:lnTo>
                <a:lnTo>
                  <a:pt x="2228" y="1045"/>
                </a:lnTo>
                <a:lnTo>
                  <a:pt x="2212" y="1049"/>
                </a:lnTo>
                <a:lnTo>
                  <a:pt x="2194" y="1050"/>
                </a:lnTo>
                <a:lnTo>
                  <a:pt x="2194" y="1050"/>
                </a:lnTo>
                <a:lnTo>
                  <a:pt x="2180" y="1051"/>
                </a:lnTo>
                <a:lnTo>
                  <a:pt x="2166" y="1050"/>
                </a:lnTo>
                <a:lnTo>
                  <a:pt x="2152" y="1048"/>
                </a:lnTo>
                <a:lnTo>
                  <a:pt x="2139" y="1044"/>
                </a:lnTo>
                <a:lnTo>
                  <a:pt x="2127" y="1041"/>
                </a:lnTo>
                <a:lnTo>
                  <a:pt x="2115" y="1037"/>
                </a:lnTo>
                <a:lnTo>
                  <a:pt x="2103" y="1033"/>
                </a:lnTo>
                <a:lnTo>
                  <a:pt x="2092" y="1027"/>
                </a:lnTo>
                <a:lnTo>
                  <a:pt x="2082" y="1022"/>
                </a:lnTo>
                <a:lnTo>
                  <a:pt x="2073" y="1016"/>
                </a:lnTo>
                <a:lnTo>
                  <a:pt x="2064" y="1010"/>
                </a:lnTo>
                <a:lnTo>
                  <a:pt x="2056" y="1003"/>
                </a:lnTo>
                <a:lnTo>
                  <a:pt x="2048" y="995"/>
                </a:lnTo>
                <a:lnTo>
                  <a:pt x="2042" y="988"/>
                </a:lnTo>
                <a:lnTo>
                  <a:pt x="2036" y="981"/>
                </a:lnTo>
                <a:lnTo>
                  <a:pt x="2031" y="974"/>
                </a:lnTo>
                <a:lnTo>
                  <a:pt x="2031" y="974"/>
                </a:lnTo>
                <a:lnTo>
                  <a:pt x="2022" y="996"/>
                </a:lnTo>
                <a:lnTo>
                  <a:pt x="2013" y="1014"/>
                </a:lnTo>
                <a:lnTo>
                  <a:pt x="2007" y="1027"/>
                </a:lnTo>
                <a:lnTo>
                  <a:pt x="2007" y="1027"/>
                </a:lnTo>
                <a:lnTo>
                  <a:pt x="2003" y="1035"/>
                </a:lnTo>
                <a:lnTo>
                  <a:pt x="2000" y="1042"/>
                </a:lnTo>
                <a:lnTo>
                  <a:pt x="1998" y="1051"/>
                </a:lnTo>
                <a:lnTo>
                  <a:pt x="1997" y="1057"/>
                </a:lnTo>
                <a:lnTo>
                  <a:pt x="1997" y="1064"/>
                </a:lnTo>
                <a:lnTo>
                  <a:pt x="1997" y="1070"/>
                </a:lnTo>
                <a:lnTo>
                  <a:pt x="1999" y="1082"/>
                </a:lnTo>
                <a:lnTo>
                  <a:pt x="2001" y="1094"/>
                </a:lnTo>
                <a:lnTo>
                  <a:pt x="2003" y="1104"/>
                </a:lnTo>
                <a:lnTo>
                  <a:pt x="2004" y="1115"/>
                </a:lnTo>
                <a:lnTo>
                  <a:pt x="2003" y="1121"/>
                </a:lnTo>
                <a:lnTo>
                  <a:pt x="2001" y="1126"/>
                </a:lnTo>
                <a:lnTo>
                  <a:pt x="2001" y="1126"/>
                </a:lnTo>
                <a:lnTo>
                  <a:pt x="1999" y="1132"/>
                </a:lnTo>
                <a:lnTo>
                  <a:pt x="1995" y="1138"/>
                </a:lnTo>
                <a:lnTo>
                  <a:pt x="1986" y="1151"/>
                </a:lnTo>
                <a:lnTo>
                  <a:pt x="1973" y="1163"/>
                </a:lnTo>
                <a:lnTo>
                  <a:pt x="1960" y="1175"/>
                </a:lnTo>
                <a:lnTo>
                  <a:pt x="1945" y="1187"/>
                </a:lnTo>
                <a:lnTo>
                  <a:pt x="1931" y="1198"/>
                </a:lnTo>
                <a:lnTo>
                  <a:pt x="1904" y="1216"/>
                </a:lnTo>
                <a:lnTo>
                  <a:pt x="1904" y="1216"/>
                </a:lnTo>
                <a:lnTo>
                  <a:pt x="1886" y="1227"/>
                </a:lnTo>
                <a:lnTo>
                  <a:pt x="1864" y="1239"/>
                </a:lnTo>
                <a:lnTo>
                  <a:pt x="1842" y="1249"/>
                </a:lnTo>
                <a:lnTo>
                  <a:pt x="1819" y="1257"/>
                </a:lnTo>
                <a:lnTo>
                  <a:pt x="1798" y="1264"/>
                </a:lnTo>
                <a:lnTo>
                  <a:pt x="1779" y="1270"/>
                </a:lnTo>
                <a:lnTo>
                  <a:pt x="1754" y="1278"/>
                </a:lnTo>
                <a:lnTo>
                  <a:pt x="1754" y="1278"/>
                </a:lnTo>
                <a:lnTo>
                  <a:pt x="1779" y="1336"/>
                </a:lnTo>
                <a:lnTo>
                  <a:pt x="1811" y="1404"/>
                </a:lnTo>
                <a:lnTo>
                  <a:pt x="1811" y="1404"/>
                </a:lnTo>
                <a:lnTo>
                  <a:pt x="1833" y="1449"/>
                </a:lnTo>
                <a:lnTo>
                  <a:pt x="1862" y="1504"/>
                </a:lnTo>
                <a:lnTo>
                  <a:pt x="1877" y="1531"/>
                </a:lnTo>
                <a:lnTo>
                  <a:pt x="1893" y="1557"/>
                </a:lnTo>
                <a:lnTo>
                  <a:pt x="1909" y="1578"/>
                </a:lnTo>
                <a:lnTo>
                  <a:pt x="1916" y="1588"/>
                </a:lnTo>
                <a:lnTo>
                  <a:pt x="1924" y="1597"/>
                </a:lnTo>
                <a:lnTo>
                  <a:pt x="1924" y="1597"/>
                </a:lnTo>
                <a:lnTo>
                  <a:pt x="1940" y="1592"/>
                </a:lnTo>
                <a:lnTo>
                  <a:pt x="1957" y="1587"/>
                </a:lnTo>
                <a:lnTo>
                  <a:pt x="1980" y="1581"/>
                </a:lnTo>
                <a:lnTo>
                  <a:pt x="2004" y="1573"/>
                </a:lnTo>
                <a:lnTo>
                  <a:pt x="2031" y="1563"/>
                </a:lnTo>
                <a:lnTo>
                  <a:pt x="2057" y="1551"/>
                </a:lnTo>
                <a:lnTo>
                  <a:pt x="2071" y="1544"/>
                </a:lnTo>
                <a:lnTo>
                  <a:pt x="2083" y="1537"/>
                </a:lnTo>
                <a:lnTo>
                  <a:pt x="2083" y="1537"/>
                </a:lnTo>
                <a:lnTo>
                  <a:pt x="2105" y="1524"/>
                </a:lnTo>
                <a:lnTo>
                  <a:pt x="2126" y="1510"/>
                </a:lnTo>
                <a:lnTo>
                  <a:pt x="2145" y="1495"/>
                </a:lnTo>
                <a:lnTo>
                  <a:pt x="2162" y="1480"/>
                </a:lnTo>
                <a:lnTo>
                  <a:pt x="2177" y="1466"/>
                </a:lnTo>
                <a:lnTo>
                  <a:pt x="2189" y="1451"/>
                </a:lnTo>
                <a:lnTo>
                  <a:pt x="2199" y="1437"/>
                </a:lnTo>
                <a:lnTo>
                  <a:pt x="2207" y="1424"/>
                </a:lnTo>
                <a:lnTo>
                  <a:pt x="2207" y="1424"/>
                </a:lnTo>
                <a:lnTo>
                  <a:pt x="2190" y="1460"/>
                </a:lnTo>
                <a:lnTo>
                  <a:pt x="2175" y="1493"/>
                </a:lnTo>
                <a:lnTo>
                  <a:pt x="2161" y="1523"/>
                </a:lnTo>
                <a:lnTo>
                  <a:pt x="2146" y="1551"/>
                </a:lnTo>
                <a:lnTo>
                  <a:pt x="2132" y="1576"/>
                </a:lnTo>
                <a:lnTo>
                  <a:pt x="2119" y="1599"/>
                </a:lnTo>
                <a:lnTo>
                  <a:pt x="2105" y="1619"/>
                </a:lnTo>
                <a:lnTo>
                  <a:pt x="2092" y="1637"/>
                </a:lnTo>
                <a:lnTo>
                  <a:pt x="2080" y="1655"/>
                </a:lnTo>
                <a:lnTo>
                  <a:pt x="2068" y="1669"/>
                </a:lnTo>
                <a:lnTo>
                  <a:pt x="2055" y="1682"/>
                </a:lnTo>
                <a:lnTo>
                  <a:pt x="2044" y="1694"/>
                </a:lnTo>
                <a:lnTo>
                  <a:pt x="2033" y="1705"/>
                </a:lnTo>
                <a:lnTo>
                  <a:pt x="2022" y="1714"/>
                </a:lnTo>
                <a:lnTo>
                  <a:pt x="2011" y="1721"/>
                </a:lnTo>
                <a:lnTo>
                  <a:pt x="2000" y="1729"/>
                </a:lnTo>
                <a:lnTo>
                  <a:pt x="2000" y="1729"/>
                </a:lnTo>
                <a:lnTo>
                  <a:pt x="1907" y="1790"/>
                </a:lnTo>
                <a:lnTo>
                  <a:pt x="1797" y="1862"/>
                </a:lnTo>
                <a:lnTo>
                  <a:pt x="1735" y="1901"/>
                </a:lnTo>
                <a:lnTo>
                  <a:pt x="1671" y="1940"/>
                </a:lnTo>
                <a:lnTo>
                  <a:pt x="1602" y="1980"/>
                </a:lnTo>
                <a:lnTo>
                  <a:pt x="1532" y="2020"/>
                </a:lnTo>
                <a:lnTo>
                  <a:pt x="1459" y="2058"/>
                </a:lnTo>
                <a:lnTo>
                  <a:pt x="1422" y="2077"/>
                </a:lnTo>
                <a:lnTo>
                  <a:pt x="1384" y="2094"/>
                </a:lnTo>
                <a:lnTo>
                  <a:pt x="1347" y="2112"/>
                </a:lnTo>
                <a:lnTo>
                  <a:pt x="1308" y="2129"/>
                </a:lnTo>
                <a:lnTo>
                  <a:pt x="1269" y="2146"/>
                </a:lnTo>
                <a:lnTo>
                  <a:pt x="1230" y="2161"/>
                </a:lnTo>
                <a:lnTo>
                  <a:pt x="1190" y="2175"/>
                </a:lnTo>
                <a:lnTo>
                  <a:pt x="1151" y="2189"/>
                </a:lnTo>
                <a:lnTo>
                  <a:pt x="1111" y="2202"/>
                </a:lnTo>
                <a:lnTo>
                  <a:pt x="1072" y="2213"/>
                </a:lnTo>
                <a:lnTo>
                  <a:pt x="1032" y="2223"/>
                </a:lnTo>
                <a:lnTo>
                  <a:pt x="992" y="2231"/>
                </a:lnTo>
                <a:lnTo>
                  <a:pt x="952" y="2240"/>
                </a:lnTo>
                <a:lnTo>
                  <a:pt x="913" y="2246"/>
                </a:lnTo>
                <a:lnTo>
                  <a:pt x="913" y="2246"/>
                </a:lnTo>
                <a:lnTo>
                  <a:pt x="901" y="2246"/>
                </a:lnTo>
                <a:lnTo>
                  <a:pt x="889" y="2245"/>
                </a:lnTo>
                <a:lnTo>
                  <a:pt x="876" y="2242"/>
                </a:lnTo>
                <a:lnTo>
                  <a:pt x="863" y="2239"/>
                </a:lnTo>
                <a:lnTo>
                  <a:pt x="850" y="2236"/>
                </a:lnTo>
                <a:lnTo>
                  <a:pt x="836" y="2230"/>
                </a:lnTo>
                <a:lnTo>
                  <a:pt x="809" y="2218"/>
                </a:lnTo>
                <a:lnTo>
                  <a:pt x="781" y="2204"/>
                </a:lnTo>
                <a:lnTo>
                  <a:pt x="754" y="2188"/>
                </a:lnTo>
                <a:lnTo>
                  <a:pt x="726" y="2170"/>
                </a:lnTo>
                <a:lnTo>
                  <a:pt x="698" y="2151"/>
                </a:lnTo>
                <a:lnTo>
                  <a:pt x="672" y="2130"/>
                </a:lnTo>
                <a:lnTo>
                  <a:pt x="646" y="2110"/>
                </a:lnTo>
                <a:lnTo>
                  <a:pt x="623" y="2089"/>
                </a:lnTo>
                <a:lnTo>
                  <a:pt x="600" y="2069"/>
                </a:lnTo>
                <a:lnTo>
                  <a:pt x="581" y="2049"/>
                </a:lnTo>
                <a:lnTo>
                  <a:pt x="563" y="2032"/>
                </a:lnTo>
                <a:lnTo>
                  <a:pt x="548" y="2017"/>
                </a:lnTo>
                <a:lnTo>
                  <a:pt x="537" y="2003"/>
                </a:lnTo>
                <a:lnTo>
                  <a:pt x="537" y="2003"/>
                </a:lnTo>
                <a:lnTo>
                  <a:pt x="533" y="1999"/>
                </a:lnTo>
                <a:lnTo>
                  <a:pt x="530" y="1995"/>
                </a:lnTo>
                <a:lnTo>
                  <a:pt x="520" y="1990"/>
                </a:lnTo>
                <a:lnTo>
                  <a:pt x="512" y="1988"/>
                </a:lnTo>
                <a:lnTo>
                  <a:pt x="502" y="1987"/>
                </a:lnTo>
                <a:lnTo>
                  <a:pt x="493" y="1987"/>
                </a:lnTo>
                <a:lnTo>
                  <a:pt x="483" y="1989"/>
                </a:lnTo>
                <a:lnTo>
                  <a:pt x="473" y="1992"/>
                </a:lnTo>
                <a:lnTo>
                  <a:pt x="464" y="1996"/>
                </a:lnTo>
                <a:lnTo>
                  <a:pt x="447" y="2004"/>
                </a:lnTo>
                <a:lnTo>
                  <a:pt x="433" y="2014"/>
                </a:lnTo>
                <a:lnTo>
                  <a:pt x="419" y="2024"/>
                </a:lnTo>
                <a:lnTo>
                  <a:pt x="419" y="2024"/>
                </a:lnTo>
                <a:lnTo>
                  <a:pt x="412" y="2023"/>
                </a:lnTo>
                <a:lnTo>
                  <a:pt x="393" y="2021"/>
                </a:lnTo>
                <a:lnTo>
                  <a:pt x="379" y="2021"/>
                </a:lnTo>
                <a:lnTo>
                  <a:pt x="364" y="2021"/>
                </a:lnTo>
                <a:lnTo>
                  <a:pt x="348" y="2022"/>
                </a:lnTo>
                <a:lnTo>
                  <a:pt x="329" y="2024"/>
                </a:lnTo>
                <a:lnTo>
                  <a:pt x="310" y="2027"/>
                </a:lnTo>
                <a:lnTo>
                  <a:pt x="290" y="2032"/>
                </a:lnTo>
                <a:lnTo>
                  <a:pt x="271" y="2038"/>
                </a:lnTo>
                <a:lnTo>
                  <a:pt x="252" y="2047"/>
                </a:lnTo>
                <a:lnTo>
                  <a:pt x="242" y="2053"/>
                </a:lnTo>
                <a:lnTo>
                  <a:pt x="233" y="2058"/>
                </a:lnTo>
                <a:lnTo>
                  <a:pt x="224" y="2064"/>
                </a:lnTo>
                <a:lnTo>
                  <a:pt x="216" y="2071"/>
                </a:lnTo>
                <a:lnTo>
                  <a:pt x="207" y="2079"/>
                </a:lnTo>
                <a:lnTo>
                  <a:pt x="199" y="2087"/>
                </a:lnTo>
                <a:lnTo>
                  <a:pt x="191" y="2097"/>
                </a:lnTo>
                <a:lnTo>
                  <a:pt x="184" y="2106"/>
                </a:lnTo>
                <a:lnTo>
                  <a:pt x="184" y="2106"/>
                </a:lnTo>
                <a:lnTo>
                  <a:pt x="183" y="2109"/>
                </a:lnTo>
                <a:lnTo>
                  <a:pt x="185" y="2111"/>
                </a:lnTo>
                <a:lnTo>
                  <a:pt x="188" y="2112"/>
                </a:lnTo>
                <a:lnTo>
                  <a:pt x="193" y="2112"/>
                </a:lnTo>
                <a:lnTo>
                  <a:pt x="210" y="2110"/>
                </a:lnTo>
                <a:lnTo>
                  <a:pt x="230" y="2108"/>
                </a:lnTo>
                <a:lnTo>
                  <a:pt x="255" y="2106"/>
                </a:lnTo>
                <a:lnTo>
                  <a:pt x="280" y="2105"/>
                </a:lnTo>
                <a:lnTo>
                  <a:pt x="293" y="2106"/>
                </a:lnTo>
                <a:lnTo>
                  <a:pt x="307" y="2107"/>
                </a:lnTo>
                <a:lnTo>
                  <a:pt x="319" y="2109"/>
                </a:lnTo>
                <a:lnTo>
                  <a:pt x="331" y="2112"/>
                </a:lnTo>
                <a:lnTo>
                  <a:pt x="331" y="2112"/>
                </a:lnTo>
                <a:lnTo>
                  <a:pt x="338" y="2115"/>
                </a:lnTo>
                <a:lnTo>
                  <a:pt x="343" y="2118"/>
                </a:lnTo>
                <a:lnTo>
                  <a:pt x="346" y="2121"/>
                </a:lnTo>
                <a:lnTo>
                  <a:pt x="347" y="2124"/>
                </a:lnTo>
                <a:lnTo>
                  <a:pt x="347" y="2127"/>
                </a:lnTo>
                <a:lnTo>
                  <a:pt x="345" y="2131"/>
                </a:lnTo>
                <a:lnTo>
                  <a:pt x="339" y="2139"/>
                </a:lnTo>
                <a:lnTo>
                  <a:pt x="332" y="2149"/>
                </a:lnTo>
                <a:lnTo>
                  <a:pt x="325" y="2160"/>
                </a:lnTo>
                <a:lnTo>
                  <a:pt x="321" y="2166"/>
                </a:lnTo>
                <a:lnTo>
                  <a:pt x="319" y="2172"/>
                </a:lnTo>
                <a:lnTo>
                  <a:pt x="317" y="2178"/>
                </a:lnTo>
                <a:lnTo>
                  <a:pt x="317" y="2185"/>
                </a:lnTo>
                <a:lnTo>
                  <a:pt x="317" y="2185"/>
                </a:lnTo>
                <a:lnTo>
                  <a:pt x="317" y="2191"/>
                </a:lnTo>
                <a:lnTo>
                  <a:pt x="319" y="2197"/>
                </a:lnTo>
                <a:lnTo>
                  <a:pt x="321" y="2202"/>
                </a:lnTo>
                <a:lnTo>
                  <a:pt x="324" y="2207"/>
                </a:lnTo>
                <a:lnTo>
                  <a:pt x="328" y="2212"/>
                </a:lnTo>
                <a:lnTo>
                  <a:pt x="333" y="2217"/>
                </a:lnTo>
                <a:lnTo>
                  <a:pt x="346" y="2227"/>
                </a:lnTo>
                <a:lnTo>
                  <a:pt x="361" y="2237"/>
                </a:lnTo>
                <a:lnTo>
                  <a:pt x="377" y="2246"/>
                </a:lnTo>
                <a:lnTo>
                  <a:pt x="397" y="2255"/>
                </a:lnTo>
                <a:lnTo>
                  <a:pt x="416" y="2263"/>
                </a:lnTo>
                <a:lnTo>
                  <a:pt x="458" y="2279"/>
                </a:lnTo>
                <a:lnTo>
                  <a:pt x="500" y="2293"/>
                </a:lnTo>
                <a:lnTo>
                  <a:pt x="571" y="2314"/>
                </a:lnTo>
                <a:lnTo>
                  <a:pt x="571" y="2314"/>
                </a:lnTo>
                <a:lnTo>
                  <a:pt x="579" y="2318"/>
                </a:lnTo>
                <a:lnTo>
                  <a:pt x="585" y="2322"/>
                </a:lnTo>
                <a:lnTo>
                  <a:pt x="588" y="2328"/>
                </a:lnTo>
                <a:lnTo>
                  <a:pt x="590" y="2333"/>
                </a:lnTo>
                <a:lnTo>
                  <a:pt x="590" y="2337"/>
                </a:lnTo>
                <a:lnTo>
                  <a:pt x="588" y="2341"/>
                </a:lnTo>
                <a:lnTo>
                  <a:pt x="585" y="2343"/>
                </a:lnTo>
                <a:lnTo>
                  <a:pt x="581" y="2344"/>
                </a:lnTo>
                <a:lnTo>
                  <a:pt x="581" y="2344"/>
                </a:lnTo>
                <a:lnTo>
                  <a:pt x="556" y="2343"/>
                </a:lnTo>
                <a:lnTo>
                  <a:pt x="532" y="2340"/>
                </a:lnTo>
                <a:lnTo>
                  <a:pt x="509" y="2337"/>
                </a:lnTo>
                <a:lnTo>
                  <a:pt x="488" y="2332"/>
                </a:lnTo>
                <a:lnTo>
                  <a:pt x="467" y="2327"/>
                </a:lnTo>
                <a:lnTo>
                  <a:pt x="448" y="2320"/>
                </a:lnTo>
                <a:lnTo>
                  <a:pt x="429" y="2314"/>
                </a:lnTo>
                <a:lnTo>
                  <a:pt x="412" y="2308"/>
                </a:lnTo>
                <a:lnTo>
                  <a:pt x="380" y="2295"/>
                </a:lnTo>
                <a:lnTo>
                  <a:pt x="352" y="2283"/>
                </a:lnTo>
                <a:lnTo>
                  <a:pt x="327" y="2271"/>
                </a:lnTo>
                <a:lnTo>
                  <a:pt x="316" y="2267"/>
                </a:lnTo>
                <a:lnTo>
                  <a:pt x="305" y="2263"/>
                </a:lnTo>
                <a:lnTo>
                  <a:pt x="305" y="2263"/>
                </a:lnTo>
                <a:lnTo>
                  <a:pt x="286" y="2258"/>
                </a:lnTo>
                <a:lnTo>
                  <a:pt x="268" y="2254"/>
                </a:lnTo>
                <a:lnTo>
                  <a:pt x="253" y="2251"/>
                </a:lnTo>
                <a:lnTo>
                  <a:pt x="237" y="2249"/>
                </a:lnTo>
                <a:lnTo>
                  <a:pt x="224" y="2248"/>
                </a:lnTo>
                <a:lnTo>
                  <a:pt x="213" y="2249"/>
                </a:lnTo>
                <a:lnTo>
                  <a:pt x="202" y="2250"/>
                </a:lnTo>
                <a:lnTo>
                  <a:pt x="192" y="2252"/>
                </a:lnTo>
                <a:lnTo>
                  <a:pt x="185" y="2256"/>
                </a:lnTo>
                <a:lnTo>
                  <a:pt x="178" y="2260"/>
                </a:lnTo>
                <a:lnTo>
                  <a:pt x="172" y="2265"/>
                </a:lnTo>
                <a:lnTo>
                  <a:pt x="167" y="2271"/>
                </a:lnTo>
                <a:lnTo>
                  <a:pt x="163" y="2277"/>
                </a:lnTo>
                <a:lnTo>
                  <a:pt x="160" y="2286"/>
                </a:lnTo>
                <a:lnTo>
                  <a:pt x="156" y="2294"/>
                </a:lnTo>
                <a:lnTo>
                  <a:pt x="155" y="2303"/>
                </a:lnTo>
                <a:lnTo>
                  <a:pt x="155" y="2303"/>
                </a:lnTo>
                <a:lnTo>
                  <a:pt x="154" y="2306"/>
                </a:lnTo>
                <a:lnTo>
                  <a:pt x="152" y="2309"/>
                </a:lnTo>
                <a:lnTo>
                  <a:pt x="150" y="2312"/>
                </a:lnTo>
                <a:lnTo>
                  <a:pt x="147" y="2314"/>
                </a:lnTo>
                <a:lnTo>
                  <a:pt x="140" y="2318"/>
                </a:lnTo>
                <a:lnTo>
                  <a:pt x="132" y="2323"/>
                </a:lnTo>
                <a:lnTo>
                  <a:pt x="109" y="2333"/>
                </a:lnTo>
                <a:lnTo>
                  <a:pt x="97" y="2339"/>
                </a:lnTo>
                <a:lnTo>
                  <a:pt x="84" y="2347"/>
                </a:lnTo>
                <a:lnTo>
                  <a:pt x="71" y="2357"/>
                </a:lnTo>
                <a:lnTo>
                  <a:pt x="57" y="2371"/>
                </a:lnTo>
                <a:lnTo>
                  <a:pt x="51" y="2378"/>
                </a:lnTo>
                <a:lnTo>
                  <a:pt x="45" y="2386"/>
                </a:lnTo>
                <a:lnTo>
                  <a:pt x="39" y="2396"/>
                </a:lnTo>
                <a:lnTo>
                  <a:pt x="33" y="2406"/>
                </a:lnTo>
                <a:lnTo>
                  <a:pt x="28" y="2418"/>
                </a:lnTo>
                <a:lnTo>
                  <a:pt x="22" y="2430"/>
                </a:lnTo>
                <a:lnTo>
                  <a:pt x="17" y="2444"/>
                </a:lnTo>
                <a:lnTo>
                  <a:pt x="13" y="2458"/>
                </a:lnTo>
                <a:lnTo>
                  <a:pt x="9" y="2475"/>
                </a:lnTo>
                <a:lnTo>
                  <a:pt x="6" y="2492"/>
                </a:lnTo>
                <a:lnTo>
                  <a:pt x="3" y="2512"/>
                </a:lnTo>
                <a:lnTo>
                  <a:pt x="0" y="2532"/>
                </a:lnTo>
                <a:lnTo>
                  <a:pt x="0" y="2532"/>
                </a:lnTo>
                <a:lnTo>
                  <a:pt x="1" y="2533"/>
                </a:lnTo>
                <a:lnTo>
                  <a:pt x="2" y="2534"/>
                </a:lnTo>
                <a:lnTo>
                  <a:pt x="6" y="2532"/>
                </a:lnTo>
                <a:lnTo>
                  <a:pt x="12" y="2527"/>
                </a:lnTo>
                <a:lnTo>
                  <a:pt x="20" y="2519"/>
                </a:lnTo>
                <a:lnTo>
                  <a:pt x="43" y="2496"/>
                </a:lnTo>
                <a:lnTo>
                  <a:pt x="69" y="2472"/>
                </a:lnTo>
                <a:lnTo>
                  <a:pt x="82" y="2459"/>
                </a:lnTo>
                <a:lnTo>
                  <a:pt x="95" y="2448"/>
                </a:lnTo>
                <a:lnTo>
                  <a:pt x="107" y="2439"/>
                </a:lnTo>
                <a:lnTo>
                  <a:pt x="119" y="2432"/>
                </a:lnTo>
                <a:lnTo>
                  <a:pt x="124" y="2429"/>
                </a:lnTo>
                <a:lnTo>
                  <a:pt x="129" y="2428"/>
                </a:lnTo>
                <a:lnTo>
                  <a:pt x="133" y="2427"/>
                </a:lnTo>
                <a:lnTo>
                  <a:pt x="137" y="2427"/>
                </a:lnTo>
                <a:lnTo>
                  <a:pt x="140" y="2429"/>
                </a:lnTo>
                <a:lnTo>
                  <a:pt x="143" y="2431"/>
                </a:lnTo>
                <a:lnTo>
                  <a:pt x="144" y="2435"/>
                </a:lnTo>
                <a:lnTo>
                  <a:pt x="146" y="2439"/>
                </a:lnTo>
                <a:lnTo>
                  <a:pt x="146" y="2439"/>
                </a:lnTo>
                <a:lnTo>
                  <a:pt x="149" y="2455"/>
                </a:lnTo>
                <a:lnTo>
                  <a:pt x="154" y="2470"/>
                </a:lnTo>
                <a:lnTo>
                  <a:pt x="162" y="2483"/>
                </a:lnTo>
                <a:lnTo>
                  <a:pt x="170" y="2493"/>
                </a:lnTo>
                <a:lnTo>
                  <a:pt x="179" y="2503"/>
                </a:lnTo>
                <a:lnTo>
                  <a:pt x="189" y="2511"/>
                </a:lnTo>
                <a:lnTo>
                  <a:pt x="200" y="2518"/>
                </a:lnTo>
                <a:lnTo>
                  <a:pt x="214" y="2523"/>
                </a:lnTo>
                <a:lnTo>
                  <a:pt x="227" y="2527"/>
                </a:lnTo>
                <a:lnTo>
                  <a:pt x="241" y="2529"/>
                </a:lnTo>
                <a:lnTo>
                  <a:pt x="256" y="2531"/>
                </a:lnTo>
                <a:lnTo>
                  <a:pt x="271" y="2532"/>
                </a:lnTo>
                <a:lnTo>
                  <a:pt x="287" y="2533"/>
                </a:lnTo>
                <a:lnTo>
                  <a:pt x="304" y="2532"/>
                </a:lnTo>
                <a:lnTo>
                  <a:pt x="337" y="2530"/>
                </a:lnTo>
                <a:lnTo>
                  <a:pt x="371" y="2526"/>
                </a:lnTo>
                <a:lnTo>
                  <a:pt x="405" y="2521"/>
                </a:lnTo>
                <a:lnTo>
                  <a:pt x="438" y="2516"/>
                </a:lnTo>
                <a:lnTo>
                  <a:pt x="468" y="2512"/>
                </a:lnTo>
                <a:lnTo>
                  <a:pt x="496" y="2510"/>
                </a:lnTo>
                <a:lnTo>
                  <a:pt x="509" y="2509"/>
                </a:lnTo>
                <a:lnTo>
                  <a:pt x="520" y="2509"/>
                </a:lnTo>
                <a:lnTo>
                  <a:pt x="531" y="2510"/>
                </a:lnTo>
                <a:lnTo>
                  <a:pt x="541" y="2512"/>
                </a:lnTo>
                <a:lnTo>
                  <a:pt x="549" y="2515"/>
                </a:lnTo>
                <a:lnTo>
                  <a:pt x="555" y="2519"/>
                </a:lnTo>
                <a:lnTo>
                  <a:pt x="555" y="2519"/>
                </a:lnTo>
                <a:lnTo>
                  <a:pt x="558" y="2522"/>
                </a:lnTo>
                <a:lnTo>
                  <a:pt x="559" y="2524"/>
                </a:lnTo>
                <a:lnTo>
                  <a:pt x="557" y="2527"/>
                </a:lnTo>
                <a:lnTo>
                  <a:pt x="554" y="2529"/>
                </a:lnTo>
                <a:lnTo>
                  <a:pt x="549" y="2532"/>
                </a:lnTo>
                <a:lnTo>
                  <a:pt x="542" y="2534"/>
                </a:lnTo>
                <a:lnTo>
                  <a:pt x="525" y="2538"/>
                </a:lnTo>
                <a:lnTo>
                  <a:pt x="475" y="2547"/>
                </a:lnTo>
                <a:lnTo>
                  <a:pt x="447" y="2553"/>
                </a:lnTo>
                <a:lnTo>
                  <a:pt x="417" y="2559"/>
                </a:lnTo>
                <a:lnTo>
                  <a:pt x="388" y="2566"/>
                </a:lnTo>
                <a:lnTo>
                  <a:pt x="359" y="2574"/>
                </a:lnTo>
                <a:lnTo>
                  <a:pt x="346" y="2578"/>
                </a:lnTo>
                <a:lnTo>
                  <a:pt x="333" y="2583"/>
                </a:lnTo>
                <a:lnTo>
                  <a:pt x="322" y="2588"/>
                </a:lnTo>
                <a:lnTo>
                  <a:pt x="312" y="2594"/>
                </a:lnTo>
                <a:lnTo>
                  <a:pt x="303" y="2601"/>
                </a:lnTo>
                <a:lnTo>
                  <a:pt x="294" y="2607"/>
                </a:lnTo>
                <a:lnTo>
                  <a:pt x="288" y="2614"/>
                </a:lnTo>
                <a:lnTo>
                  <a:pt x="284" y="2622"/>
                </a:lnTo>
                <a:lnTo>
                  <a:pt x="282" y="2630"/>
                </a:lnTo>
                <a:lnTo>
                  <a:pt x="281" y="2638"/>
                </a:lnTo>
                <a:lnTo>
                  <a:pt x="283" y="2649"/>
                </a:lnTo>
                <a:lnTo>
                  <a:pt x="287" y="2659"/>
                </a:lnTo>
                <a:lnTo>
                  <a:pt x="287" y="2659"/>
                </a:lnTo>
                <a:lnTo>
                  <a:pt x="287" y="2660"/>
                </a:lnTo>
                <a:lnTo>
                  <a:pt x="286" y="2663"/>
                </a:lnTo>
                <a:lnTo>
                  <a:pt x="283" y="2669"/>
                </a:lnTo>
                <a:lnTo>
                  <a:pt x="268" y="2686"/>
                </a:lnTo>
                <a:lnTo>
                  <a:pt x="258" y="2699"/>
                </a:lnTo>
                <a:lnTo>
                  <a:pt x="247" y="2712"/>
                </a:lnTo>
                <a:lnTo>
                  <a:pt x="237" y="2727"/>
                </a:lnTo>
                <a:lnTo>
                  <a:pt x="228" y="2744"/>
                </a:lnTo>
                <a:lnTo>
                  <a:pt x="220" y="2761"/>
                </a:lnTo>
                <a:lnTo>
                  <a:pt x="217" y="2770"/>
                </a:lnTo>
                <a:lnTo>
                  <a:pt x="214" y="2781"/>
                </a:lnTo>
                <a:lnTo>
                  <a:pt x="213" y="2790"/>
                </a:lnTo>
                <a:lnTo>
                  <a:pt x="212" y="2801"/>
                </a:lnTo>
                <a:lnTo>
                  <a:pt x="212" y="2811"/>
                </a:lnTo>
                <a:lnTo>
                  <a:pt x="213" y="2821"/>
                </a:lnTo>
                <a:lnTo>
                  <a:pt x="215" y="2833"/>
                </a:lnTo>
                <a:lnTo>
                  <a:pt x="219" y="2844"/>
                </a:lnTo>
                <a:lnTo>
                  <a:pt x="223" y="2856"/>
                </a:lnTo>
                <a:lnTo>
                  <a:pt x="229" y="2867"/>
                </a:lnTo>
                <a:lnTo>
                  <a:pt x="237" y="2880"/>
                </a:lnTo>
                <a:lnTo>
                  <a:pt x="246" y="2892"/>
                </a:lnTo>
                <a:lnTo>
                  <a:pt x="257" y="2904"/>
                </a:lnTo>
                <a:lnTo>
                  <a:pt x="270" y="2917"/>
                </a:lnTo>
                <a:lnTo>
                  <a:pt x="270" y="2917"/>
                </a:lnTo>
                <a:lnTo>
                  <a:pt x="270" y="2910"/>
                </a:lnTo>
                <a:lnTo>
                  <a:pt x="272" y="2893"/>
                </a:lnTo>
                <a:lnTo>
                  <a:pt x="277" y="2868"/>
                </a:lnTo>
                <a:lnTo>
                  <a:pt x="281" y="2855"/>
                </a:lnTo>
                <a:lnTo>
                  <a:pt x="285" y="2841"/>
                </a:lnTo>
                <a:lnTo>
                  <a:pt x="291" y="2828"/>
                </a:lnTo>
                <a:lnTo>
                  <a:pt x="298" y="2814"/>
                </a:lnTo>
                <a:lnTo>
                  <a:pt x="306" y="2801"/>
                </a:lnTo>
                <a:lnTo>
                  <a:pt x="315" y="2791"/>
                </a:lnTo>
                <a:lnTo>
                  <a:pt x="321" y="2786"/>
                </a:lnTo>
                <a:lnTo>
                  <a:pt x="326" y="2782"/>
                </a:lnTo>
                <a:lnTo>
                  <a:pt x="332" y="2777"/>
                </a:lnTo>
                <a:lnTo>
                  <a:pt x="339" y="2774"/>
                </a:lnTo>
                <a:lnTo>
                  <a:pt x="346" y="2772"/>
                </a:lnTo>
                <a:lnTo>
                  <a:pt x="354" y="2770"/>
                </a:lnTo>
                <a:lnTo>
                  <a:pt x="361" y="2770"/>
                </a:lnTo>
                <a:lnTo>
                  <a:pt x="369" y="2770"/>
                </a:lnTo>
                <a:lnTo>
                  <a:pt x="369" y="2770"/>
                </a:lnTo>
                <a:lnTo>
                  <a:pt x="383" y="2771"/>
                </a:lnTo>
                <a:lnTo>
                  <a:pt x="396" y="2774"/>
                </a:lnTo>
                <a:lnTo>
                  <a:pt x="408" y="2778"/>
                </a:lnTo>
                <a:lnTo>
                  <a:pt x="420" y="2783"/>
                </a:lnTo>
                <a:lnTo>
                  <a:pt x="443" y="2793"/>
                </a:lnTo>
                <a:lnTo>
                  <a:pt x="454" y="2797"/>
                </a:lnTo>
                <a:lnTo>
                  <a:pt x="465" y="2801"/>
                </a:lnTo>
                <a:lnTo>
                  <a:pt x="476" y="2804"/>
                </a:lnTo>
                <a:lnTo>
                  <a:pt x="489" y="2806"/>
                </a:lnTo>
                <a:lnTo>
                  <a:pt x="501" y="2807"/>
                </a:lnTo>
                <a:lnTo>
                  <a:pt x="514" y="2805"/>
                </a:lnTo>
                <a:lnTo>
                  <a:pt x="528" y="2802"/>
                </a:lnTo>
                <a:lnTo>
                  <a:pt x="542" y="2796"/>
                </a:lnTo>
                <a:lnTo>
                  <a:pt x="558" y="2788"/>
                </a:lnTo>
                <a:lnTo>
                  <a:pt x="575" y="2775"/>
                </a:lnTo>
                <a:lnTo>
                  <a:pt x="575" y="2775"/>
                </a:lnTo>
                <a:lnTo>
                  <a:pt x="588" y="2766"/>
                </a:lnTo>
                <a:lnTo>
                  <a:pt x="600" y="2755"/>
                </a:lnTo>
                <a:lnTo>
                  <a:pt x="614" y="2743"/>
                </a:lnTo>
                <a:lnTo>
                  <a:pt x="630" y="2730"/>
                </a:lnTo>
                <a:lnTo>
                  <a:pt x="651" y="2718"/>
                </a:lnTo>
                <a:lnTo>
                  <a:pt x="664" y="2711"/>
                </a:lnTo>
                <a:lnTo>
                  <a:pt x="678" y="2705"/>
                </a:lnTo>
                <a:lnTo>
                  <a:pt x="693" y="2698"/>
                </a:lnTo>
                <a:lnTo>
                  <a:pt x="712" y="2692"/>
                </a:lnTo>
                <a:lnTo>
                  <a:pt x="732" y="2684"/>
                </a:lnTo>
                <a:lnTo>
                  <a:pt x="754" y="2677"/>
                </a:lnTo>
                <a:lnTo>
                  <a:pt x="754" y="2677"/>
                </a:lnTo>
                <a:lnTo>
                  <a:pt x="756" y="2677"/>
                </a:lnTo>
                <a:lnTo>
                  <a:pt x="757" y="2678"/>
                </a:lnTo>
                <a:lnTo>
                  <a:pt x="760" y="2683"/>
                </a:lnTo>
                <a:lnTo>
                  <a:pt x="762" y="2692"/>
                </a:lnTo>
                <a:lnTo>
                  <a:pt x="765" y="2701"/>
                </a:lnTo>
                <a:lnTo>
                  <a:pt x="768" y="2713"/>
                </a:lnTo>
                <a:lnTo>
                  <a:pt x="772" y="2725"/>
                </a:lnTo>
                <a:lnTo>
                  <a:pt x="777" y="2738"/>
                </a:lnTo>
                <a:lnTo>
                  <a:pt x="783" y="2750"/>
                </a:lnTo>
                <a:lnTo>
                  <a:pt x="783" y="2750"/>
                </a:lnTo>
                <a:lnTo>
                  <a:pt x="786" y="2753"/>
                </a:lnTo>
                <a:lnTo>
                  <a:pt x="789" y="2755"/>
                </a:lnTo>
                <a:lnTo>
                  <a:pt x="797" y="2760"/>
                </a:lnTo>
                <a:lnTo>
                  <a:pt x="805" y="2763"/>
                </a:lnTo>
                <a:lnTo>
                  <a:pt x="813" y="2767"/>
                </a:lnTo>
                <a:lnTo>
                  <a:pt x="821" y="2770"/>
                </a:lnTo>
                <a:lnTo>
                  <a:pt x="827" y="2773"/>
                </a:lnTo>
                <a:lnTo>
                  <a:pt x="830" y="2775"/>
                </a:lnTo>
                <a:lnTo>
                  <a:pt x="831" y="2777"/>
                </a:lnTo>
                <a:lnTo>
                  <a:pt x="833" y="2781"/>
                </a:lnTo>
                <a:lnTo>
                  <a:pt x="833" y="2784"/>
                </a:lnTo>
                <a:lnTo>
                  <a:pt x="833" y="2784"/>
                </a:lnTo>
                <a:lnTo>
                  <a:pt x="832" y="2794"/>
                </a:lnTo>
                <a:lnTo>
                  <a:pt x="830" y="2805"/>
                </a:lnTo>
                <a:lnTo>
                  <a:pt x="826" y="2815"/>
                </a:lnTo>
                <a:lnTo>
                  <a:pt x="822" y="2824"/>
                </a:lnTo>
                <a:lnTo>
                  <a:pt x="817" y="2834"/>
                </a:lnTo>
                <a:lnTo>
                  <a:pt x="811" y="2843"/>
                </a:lnTo>
                <a:lnTo>
                  <a:pt x="798" y="2859"/>
                </a:lnTo>
                <a:lnTo>
                  <a:pt x="784" y="2873"/>
                </a:lnTo>
                <a:lnTo>
                  <a:pt x="773" y="2884"/>
                </a:lnTo>
                <a:lnTo>
                  <a:pt x="765" y="2890"/>
                </a:lnTo>
                <a:lnTo>
                  <a:pt x="763" y="2893"/>
                </a:lnTo>
                <a:lnTo>
                  <a:pt x="763" y="2893"/>
                </a:lnTo>
                <a:lnTo>
                  <a:pt x="767" y="2896"/>
                </a:lnTo>
                <a:lnTo>
                  <a:pt x="778" y="2899"/>
                </a:lnTo>
                <a:lnTo>
                  <a:pt x="785" y="2900"/>
                </a:lnTo>
                <a:lnTo>
                  <a:pt x="794" y="2901"/>
                </a:lnTo>
                <a:lnTo>
                  <a:pt x="804" y="2901"/>
                </a:lnTo>
                <a:lnTo>
                  <a:pt x="815" y="2899"/>
                </a:lnTo>
                <a:lnTo>
                  <a:pt x="826" y="2896"/>
                </a:lnTo>
                <a:lnTo>
                  <a:pt x="839" y="2891"/>
                </a:lnTo>
                <a:lnTo>
                  <a:pt x="852" y="2884"/>
                </a:lnTo>
                <a:lnTo>
                  <a:pt x="865" y="2874"/>
                </a:lnTo>
                <a:lnTo>
                  <a:pt x="879" y="2860"/>
                </a:lnTo>
                <a:lnTo>
                  <a:pt x="894" y="2844"/>
                </a:lnTo>
                <a:lnTo>
                  <a:pt x="907" y="2824"/>
                </a:lnTo>
                <a:lnTo>
                  <a:pt x="921" y="2801"/>
                </a:lnTo>
                <a:lnTo>
                  <a:pt x="921" y="2801"/>
                </a:lnTo>
                <a:lnTo>
                  <a:pt x="924" y="2797"/>
                </a:lnTo>
                <a:lnTo>
                  <a:pt x="927" y="2793"/>
                </a:lnTo>
                <a:lnTo>
                  <a:pt x="930" y="2791"/>
                </a:lnTo>
                <a:lnTo>
                  <a:pt x="935" y="2789"/>
                </a:lnTo>
                <a:lnTo>
                  <a:pt x="939" y="2788"/>
                </a:lnTo>
                <a:lnTo>
                  <a:pt x="943" y="2788"/>
                </a:lnTo>
                <a:lnTo>
                  <a:pt x="951" y="2788"/>
                </a:lnTo>
                <a:lnTo>
                  <a:pt x="970" y="2790"/>
                </a:lnTo>
                <a:lnTo>
                  <a:pt x="982" y="2790"/>
                </a:lnTo>
                <a:lnTo>
                  <a:pt x="987" y="2789"/>
                </a:lnTo>
                <a:lnTo>
                  <a:pt x="992" y="2788"/>
                </a:lnTo>
                <a:lnTo>
                  <a:pt x="992" y="2788"/>
                </a:lnTo>
                <a:lnTo>
                  <a:pt x="1010" y="2782"/>
                </a:lnTo>
                <a:lnTo>
                  <a:pt x="1017" y="2777"/>
                </a:lnTo>
                <a:lnTo>
                  <a:pt x="1024" y="2773"/>
                </a:lnTo>
                <a:lnTo>
                  <a:pt x="1029" y="2770"/>
                </a:lnTo>
                <a:lnTo>
                  <a:pt x="1033" y="2766"/>
                </a:lnTo>
                <a:lnTo>
                  <a:pt x="1036" y="2762"/>
                </a:lnTo>
                <a:lnTo>
                  <a:pt x="1039" y="2757"/>
                </a:lnTo>
                <a:lnTo>
                  <a:pt x="1041" y="2753"/>
                </a:lnTo>
                <a:lnTo>
                  <a:pt x="1042" y="2748"/>
                </a:lnTo>
                <a:lnTo>
                  <a:pt x="1043" y="2739"/>
                </a:lnTo>
                <a:lnTo>
                  <a:pt x="1042" y="2728"/>
                </a:lnTo>
                <a:lnTo>
                  <a:pt x="1040" y="2718"/>
                </a:lnTo>
                <a:lnTo>
                  <a:pt x="1035" y="2696"/>
                </a:lnTo>
                <a:lnTo>
                  <a:pt x="1034" y="2685"/>
                </a:lnTo>
                <a:lnTo>
                  <a:pt x="1033" y="2673"/>
                </a:lnTo>
                <a:lnTo>
                  <a:pt x="1034" y="2662"/>
                </a:lnTo>
                <a:lnTo>
                  <a:pt x="1036" y="2657"/>
                </a:lnTo>
                <a:lnTo>
                  <a:pt x="1038" y="2651"/>
                </a:lnTo>
                <a:lnTo>
                  <a:pt x="1040" y="2646"/>
                </a:lnTo>
                <a:lnTo>
                  <a:pt x="1044" y="2640"/>
                </a:lnTo>
                <a:lnTo>
                  <a:pt x="1048" y="2634"/>
                </a:lnTo>
                <a:lnTo>
                  <a:pt x="1054" y="2629"/>
                </a:lnTo>
                <a:lnTo>
                  <a:pt x="1054" y="2629"/>
                </a:lnTo>
                <a:lnTo>
                  <a:pt x="1069" y="2616"/>
                </a:lnTo>
                <a:lnTo>
                  <a:pt x="1084" y="2603"/>
                </a:lnTo>
                <a:lnTo>
                  <a:pt x="1099" y="2591"/>
                </a:lnTo>
                <a:lnTo>
                  <a:pt x="1115" y="2579"/>
                </a:lnTo>
                <a:lnTo>
                  <a:pt x="1146" y="2559"/>
                </a:lnTo>
                <a:lnTo>
                  <a:pt x="1178" y="2540"/>
                </a:lnTo>
                <a:lnTo>
                  <a:pt x="1210" y="2524"/>
                </a:lnTo>
                <a:lnTo>
                  <a:pt x="1241" y="2509"/>
                </a:lnTo>
                <a:lnTo>
                  <a:pt x="1273" y="2494"/>
                </a:lnTo>
                <a:lnTo>
                  <a:pt x="1304" y="2482"/>
                </a:lnTo>
                <a:lnTo>
                  <a:pt x="1304" y="2482"/>
                </a:lnTo>
                <a:lnTo>
                  <a:pt x="1303" y="2486"/>
                </a:lnTo>
                <a:lnTo>
                  <a:pt x="1299" y="2498"/>
                </a:lnTo>
                <a:lnTo>
                  <a:pt x="1294" y="2518"/>
                </a:lnTo>
                <a:lnTo>
                  <a:pt x="1291" y="2541"/>
                </a:lnTo>
                <a:lnTo>
                  <a:pt x="1290" y="2556"/>
                </a:lnTo>
                <a:lnTo>
                  <a:pt x="1290" y="2570"/>
                </a:lnTo>
                <a:lnTo>
                  <a:pt x="1291" y="2585"/>
                </a:lnTo>
                <a:lnTo>
                  <a:pt x="1292" y="2602"/>
                </a:lnTo>
                <a:lnTo>
                  <a:pt x="1296" y="2618"/>
                </a:lnTo>
                <a:lnTo>
                  <a:pt x="1301" y="2634"/>
                </a:lnTo>
                <a:lnTo>
                  <a:pt x="1306" y="2652"/>
                </a:lnTo>
                <a:lnTo>
                  <a:pt x="1314" y="2669"/>
                </a:lnTo>
                <a:lnTo>
                  <a:pt x="1640" y="2585"/>
                </a:lnTo>
                <a:lnTo>
                  <a:pt x="1640" y="2585"/>
                </a:lnTo>
                <a:lnTo>
                  <a:pt x="1634" y="2569"/>
                </a:lnTo>
                <a:lnTo>
                  <a:pt x="1631" y="2553"/>
                </a:lnTo>
                <a:lnTo>
                  <a:pt x="1629" y="2535"/>
                </a:lnTo>
                <a:lnTo>
                  <a:pt x="1629" y="2518"/>
                </a:lnTo>
                <a:lnTo>
                  <a:pt x="1631" y="2500"/>
                </a:lnTo>
                <a:lnTo>
                  <a:pt x="1634" y="2483"/>
                </a:lnTo>
                <a:lnTo>
                  <a:pt x="1638" y="2466"/>
                </a:lnTo>
                <a:lnTo>
                  <a:pt x="1644" y="2447"/>
                </a:lnTo>
                <a:lnTo>
                  <a:pt x="1651" y="2430"/>
                </a:lnTo>
                <a:lnTo>
                  <a:pt x="1660" y="2411"/>
                </a:lnTo>
                <a:lnTo>
                  <a:pt x="1669" y="2394"/>
                </a:lnTo>
                <a:lnTo>
                  <a:pt x="1679" y="2377"/>
                </a:lnTo>
                <a:lnTo>
                  <a:pt x="1689" y="2359"/>
                </a:lnTo>
                <a:lnTo>
                  <a:pt x="1701" y="2342"/>
                </a:lnTo>
                <a:lnTo>
                  <a:pt x="1725" y="2310"/>
                </a:lnTo>
                <a:lnTo>
                  <a:pt x="1725" y="2310"/>
                </a:lnTo>
                <a:lnTo>
                  <a:pt x="1726" y="2309"/>
                </a:lnTo>
                <a:lnTo>
                  <a:pt x="1727" y="2309"/>
                </a:lnTo>
                <a:lnTo>
                  <a:pt x="1728" y="2313"/>
                </a:lnTo>
                <a:lnTo>
                  <a:pt x="1725" y="2335"/>
                </a:lnTo>
                <a:lnTo>
                  <a:pt x="1721" y="2368"/>
                </a:lnTo>
                <a:lnTo>
                  <a:pt x="1715" y="2410"/>
                </a:lnTo>
                <a:lnTo>
                  <a:pt x="1713" y="2433"/>
                </a:lnTo>
                <a:lnTo>
                  <a:pt x="1711" y="2456"/>
                </a:lnTo>
                <a:lnTo>
                  <a:pt x="1711" y="2478"/>
                </a:lnTo>
                <a:lnTo>
                  <a:pt x="1711" y="2499"/>
                </a:lnTo>
                <a:lnTo>
                  <a:pt x="1713" y="2519"/>
                </a:lnTo>
                <a:lnTo>
                  <a:pt x="1716" y="2536"/>
                </a:lnTo>
                <a:lnTo>
                  <a:pt x="1719" y="2544"/>
                </a:lnTo>
                <a:lnTo>
                  <a:pt x="1722" y="2551"/>
                </a:lnTo>
                <a:lnTo>
                  <a:pt x="1726" y="2557"/>
                </a:lnTo>
                <a:lnTo>
                  <a:pt x="1730" y="2562"/>
                </a:lnTo>
                <a:lnTo>
                  <a:pt x="2050" y="2479"/>
                </a:lnTo>
                <a:lnTo>
                  <a:pt x="2050" y="2479"/>
                </a:lnTo>
                <a:lnTo>
                  <a:pt x="2046" y="2469"/>
                </a:lnTo>
                <a:lnTo>
                  <a:pt x="2043" y="2457"/>
                </a:lnTo>
                <a:lnTo>
                  <a:pt x="2041" y="2446"/>
                </a:lnTo>
                <a:lnTo>
                  <a:pt x="2039" y="2434"/>
                </a:lnTo>
                <a:lnTo>
                  <a:pt x="2038" y="2422"/>
                </a:lnTo>
                <a:lnTo>
                  <a:pt x="2038" y="2409"/>
                </a:lnTo>
                <a:lnTo>
                  <a:pt x="2039" y="2383"/>
                </a:lnTo>
                <a:lnTo>
                  <a:pt x="2043" y="2356"/>
                </a:lnTo>
                <a:lnTo>
                  <a:pt x="2048" y="2330"/>
                </a:lnTo>
                <a:lnTo>
                  <a:pt x="2055" y="2303"/>
                </a:lnTo>
                <a:lnTo>
                  <a:pt x="2064" y="2279"/>
                </a:lnTo>
                <a:lnTo>
                  <a:pt x="2064" y="2279"/>
                </a:lnTo>
                <a:lnTo>
                  <a:pt x="2072" y="2306"/>
                </a:lnTo>
                <a:lnTo>
                  <a:pt x="2079" y="2335"/>
                </a:lnTo>
                <a:lnTo>
                  <a:pt x="2088" y="2362"/>
                </a:lnTo>
                <a:lnTo>
                  <a:pt x="2098" y="2390"/>
                </a:lnTo>
                <a:lnTo>
                  <a:pt x="2108" y="2417"/>
                </a:lnTo>
                <a:lnTo>
                  <a:pt x="2121" y="2443"/>
                </a:lnTo>
                <a:lnTo>
                  <a:pt x="2135" y="2469"/>
                </a:lnTo>
                <a:lnTo>
                  <a:pt x="2149" y="2494"/>
                </a:lnTo>
                <a:lnTo>
                  <a:pt x="2166" y="2519"/>
                </a:lnTo>
                <a:lnTo>
                  <a:pt x="2183" y="2541"/>
                </a:lnTo>
                <a:lnTo>
                  <a:pt x="2201" y="2563"/>
                </a:lnTo>
                <a:lnTo>
                  <a:pt x="2222" y="2583"/>
                </a:lnTo>
                <a:lnTo>
                  <a:pt x="2244" y="2603"/>
                </a:lnTo>
                <a:lnTo>
                  <a:pt x="2268" y="2619"/>
                </a:lnTo>
                <a:lnTo>
                  <a:pt x="2280" y="2627"/>
                </a:lnTo>
                <a:lnTo>
                  <a:pt x="2292" y="2634"/>
                </a:lnTo>
                <a:lnTo>
                  <a:pt x="2306" y="2641"/>
                </a:lnTo>
                <a:lnTo>
                  <a:pt x="2320" y="2648"/>
                </a:lnTo>
                <a:lnTo>
                  <a:pt x="2320" y="2648"/>
                </a:lnTo>
                <a:lnTo>
                  <a:pt x="2365" y="2667"/>
                </a:lnTo>
                <a:lnTo>
                  <a:pt x="2410" y="2685"/>
                </a:lnTo>
                <a:lnTo>
                  <a:pt x="2454" y="2702"/>
                </a:lnTo>
                <a:lnTo>
                  <a:pt x="2499" y="2718"/>
                </a:lnTo>
                <a:lnTo>
                  <a:pt x="2544" y="2733"/>
                </a:lnTo>
                <a:lnTo>
                  <a:pt x="2589" y="2749"/>
                </a:lnTo>
                <a:lnTo>
                  <a:pt x="2683" y="2778"/>
                </a:lnTo>
                <a:lnTo>
                  <a:pt x="2782" y="2807"/>
                </a:lnTo>
                <a:lnTo>
                  <a:pt x="2889" y="2838"/>
                </a:lnTo>
                <a:lnTo>
                  <a:pt x="3005" y="2872"/>
                </a:lnTo>
                <a:lnTo>
                  <a:pt x="3133" y="2908"/>
                </a:lnTo>
                <a:lnTo>
                  <a:pt x="3133" y="2908"/>
                </a:lnTo>
                <a:lnTo>
                  <a:pt x="3205" y="2931"/>
                </a:lnTo>
                <a:lnTo>
                  <a:pt x="3273" y="2954"/>
                </a:lnTo>
                <a:lnTo>
                  <a:pt x="3305" y="2966"/>
                </a:lnTo>
                <a:lnTo>
                  <a:pt x="3333" y="2977"/>
                </a:lnTo>
                <a:lnTo>
                  <a:pt x="3358" y="2987"/>
                </a:lnTo>
                <a:lnTo>
                  <a:pt x="3377" y="2996"/>
                </a:lnTo>
                <a:lnTo>
                  <a:pt x="3377" y="2996"/>
                </a:lnTo>
                <a:lnTo>
                  <a:pt x="3383" y="2999"/>
                </a:lnTo>
                <a:lnTo>
                  <a:pt x="3389" y="3003"/>
                </a:lnTo>
                <a:lnTo>
                  <a:pt x="3393" y="3006"/>
                </a:lnTo>
                <a:lnTo>
                  <a:pt x="3397" y="3011"/>
                </a:lnTo>
                <a:lnTo>
                  <a:pt x="3399" y="3015"/>
                </a:lnTo>
                <a:lnTo>
                  <a:pt x="3401" y="3020"/>
                </a:lnTo>
                <a:lnTo>
                  <a:pt x="3402" y="3024"/>
                </a:lnTo>
                <a:lnTo>
                  <a:pt x="3402" y="3028"/>
                </a:lnTo>
                <a:lnTo>
                  <a:pt x="3401" y="3037"/>
                </a:lnTo>
                <a:lnTo>
                  <a:pt x="3397" y="3046"/>
                </a:lnTo>
                <a:lnTo>
                  <a:pt x="3392" y="3055"/>
                </a:lnTo>
                <a:lnTo>
                  <a:pt x="3386" y="3064"/>
                </a:lnTo>
                <a:lnTo>
                  <a:pt x="3378" y="3072"/>
                </a:lnTo>
                <a:lnTo>
                  <a:pt x="3371" y="3080"/>
                </a:lnTo>
                <a:lnTo>
                  <a:pt x="3357" y="3092"/>
                </a:lnTo>
                <a:lnTo>
                  <a:pt x="3346" y="3102"/>
                </a:lnTo>
                <a:lnTo>
                  <a:pt x="3341" y="3105"/>
                </a:lnTo>
                <a:lnTo>
                  <a:pt x="3341" y="3105"/>
                </a:lnTo>
                <a:lnTo>
                  <a:pt x="3355" y="3113"/>
                </a:lnTo>
                <a:lnTo>
                  <a:pt x="3371" y="3121"/>
                </a:lnTo>
                <a:lnTo>
                  <a:pt x="3411" y="3139"/>
                </a:lnTo>
                <a:lnTo>
                  <a:pt x="3435" y="3152"/>
                </a:lnTo>
                <a:lnTo>
                  <a:pt x="3461" y="3167"/>
                </a:lnTo>
                <a:lnTo>
                  <a:pt x="3492" y="3186"/>
                </a:lnTo>
                <a:lnTo>
                  <a:pt x="3527" y="3211"/>
                </a:lnTo>
                <a:lnTo>
                  <a:pt x="3527" y="3211"/>
                </a:lnTo>
                <a:lnTo>
                  <a:pt x="3545" y="3226"/>
                </a:lnTo>
                <a:lnTo>
                  <a:pt x="3563" y="3244"/>
                </a:lnTo>
                <a:lnTo>
                  <a:pt x="3580" y="3263"/>
                </a:lnTo>
                <a:lnTo>
                  <a:pt x="3595" y="3284"/>
                </a:lnTo>
                <a:lnTo>
                  <a:pt x="3608" y="3305"/>
                </a:lnTo>
                <a:lnTo>
                  <a:pt x="3622" y="3329"/>
                </a:lnTo>
                <a:lnTo>
                  <a:pt x="3634" y="3352"/>
                </a:lnTo>
                <a:lnTo>
                  <a:pt x="3645" y="3378"/>
                </a:lnTo>
                <a:lnTo>
                  <a:pt x="3655" y="3404"/>
                </a:lnTo>
                <a:lnTo>
                  <a:pt x="3665" y="3432"/>
                </a:lnTo>
                <a:lnTo>
                  <a:pt x="3674" y="3460"/>
                </a:lnTo>
                <a:lnTo>
                  <a:pt x="3682" y="3489"/>
                </a:lnTo>
                <a:lnTo>
                  <a:pt x="3698" y="3549"/>
                </a:lnTo>
                <a:lnTo>
                  <a:pt x="3714" y="3612"/>
                </a:lnTo>
                <a:lnTo>
                  <a:pt x="3714" y="3612"/>
                </a:lnTo>
                <a:lnTo>
                  <a:pt x="3725" y="3662"/>
                </a:lnTo>
                <a:lnTo>
                  <a:pt x="3734" y="3715"/>
                </a:lnTo>
                <a:lnTo>
                  <a:pt x="3742" y="3768"/>
                </a:lnTo>
                <a:lnTo>
                  <a:pt x="3744" y="3795"/>
                </a:lnTo>
                <a:lnTo>
                  <a:pt x="3746" y="3819"/>
                </a:lnTo>
                <a:lnTo>
                  <a:pt x="3748" y="3844"/>
                </a:lnTo>
                <a:lnTo>
                  <a:pt x="3749" y="3867"/>
                </a:lnTo>
                <a:lnTo>
                  <a:pt x="3748" y="3889"/>
                </a:lnTo>
                <a:lnTo>
                  <a:pt x="3745" y="3909"/>
                </a:lnTo>
                <a:lnTo>
                  <a:pt x="3742" y="3928"/>
                </a:lnTo>
                <a:lnTo>
                  <a:pt x="3737" y="3944"/>
                </a:lnTo>
                <a:lnTo>
                  <a:pt x="3731" y="3957"/>
                </a:lnTo>
                <a:lnTo>
                  <a:pt x="3728" y="3963"/>
                </a:lnTo>
                <a:lnTo>
                  <a:pt x="3724" y="3969"/>
                </a:lnTo>
                <a:lnTo>
                  <a:pt x="3724" y="3969"/>
                </a:lnTo>
                <a:lnTo>
                  <a:pt x="3715" y="3979"/>
                </a:lnTo>
                <a:lnTo>
                  <a:pt x="3705" y="3989"/>
                </a:lnTo>
                <a:lnTo>
                  <a:pt x="3691" y="3998"/>
                </a:lnTo>
                <a:lnTo>
                  <a:pt x="3683" y="4003"/>
                </a:lnTo>
                <a:lnTo>
                  <a:pt x="3673" y="4008"/>
                </a:lnTo>
                <a:lnTo>
                  <a:pt x="3663" y="4014"/>
                </a:lnTo>
                <a:lnTo>
                  <a:pt x="3650" y="4019"/>
                </a:lnTo>
                <a:lnTo>
                  <a:pt x="3621" y="4028"/>
                </a:lnTo>
                <a:lnTo>
                  <a:pt x="3582" y="4038"/>
                </a:lnTo>
                <a:lnTo>
                  <a:pt x="3535" y="4048"/>
                </a:lnTo>
                <a:lnTo>
                  <a:pt x="3560" y="4171"/>
                </a:lnTo>
                <a:lnTo>
                  <a:pt x="3560" y="4171"/>
                </a:lnTo>
                <a:lnTo>
                  <a:pt x="3579" y="4172"/>
                </a:lnTo>
                <a:lnTo>
                  <a:pt x="3597" y="4172"/>
                </a:lnTo>
                <a:lnTo>
                  <a:pt x="3615" y="4171"/>
                </a:lnTo>
                <a:lnTo>
                  <a:pt x="3631" y="4169"/>
                </a:lnTo>
                <a:lnTo>
                  <a:pt x="3646" y="4167"/>
                </a:lnTo>
                <a:lnTo>
                  <a:pt x="3662" y="4164"/>
                </a:lnTo>
                <a:lnTo>
                  <a:pt x="3688" y="4157"/>
                </a:lnTo>
                <a:lnTo>
                  <a:pt x="3711" y="4150"/>
                </a:lnTo>
                <a:lnTo>
                  <a:pt x="3728" y="4143"/>
                </a:lnTo>
                <a:lnTo>
                  <a:pt x="3742" y="4137"/>
                </a:lnTo>
                <a:lnTo>
                  <a:pt x="3742" y="4137"/>
                </a:lnTo>
                <a:lnTo>
                  <a:pt x="3736" y="4143"/>
                </a:lnTo>
                <a:lnTo>
                  <a:pt x="3730" y="4151"/>
                </a:lnTo>
                <a:lnTo>
                  <a:pt x="3722" y="4161"/>
                </a:lnTo>
                <a:lnTo>
                  <a:pt x="3722" y="4161"/>
                </a:lnTo>
                <a:lnTo>
                  <a:pt x="3711" y="4177"/>
                </a:lnTo>
                <a:lnTo>
                  <a:pt x="3700" y="4194"/>
                </a:lnTo>
                <a:lnTo>
                  <a:pt x="3692" y="4209"/>
                </a:lnTo>
                <a:lnTo>
                  <a:pt x="3685" y="4224"/>
                </a:lnTo>
                <a:lnTo>
                  <a:pt x="3680" y="4240"/>
                </a:lnTo>
                <a:lnTo>
                  <a:pt x="3675" y="4257"/>
                </a:lnTo>
                <a:lnTo>
                  <a:pt x="3672" y="4274"/>
                </a:lnTo>
                <a:lnTo>
                  <a:pt x="3669" y="4295"/>
                </a:lnTo>
                <a:lnTo>
                  <a:pt x="3799" y="4379"/>
                </a:lnTo>
                <a:lnTo>
                  <a:pt x="3799" y="4379"/>
                </a:lnTo>
                <a:lnTo>
                  <a:pt x="3812" y="4338"/>
                </a:lnTo>
                <a:lnTo>
                  <a:pt x="3826" y="4298"/>
                </a:lnTo>
                <a:lnTo>
                  <a:pt x="3841" y="4262"/>
                </a:lnTo>
                <a:lnTo>
                  <a:pt x="3855" y="4229"/>
                </a:lnTo>
                <a:lnTo>
                  <a:pt x="3870" y="4202"/>
                </a:lnTo>
                <a:lnTo>
                  <a:pt x="3877" y="4189"/>
                </a:lnTo>
                <a:lnTo>
                  <a:pt x="3885" y="4179"/>
                </a:lnTo>
                <a:lnTo>
                  <a:pt x="3892" y="4170"/>
                </a:lnTo>
                <a:lnTo>
                  <a:pt x="3899" y="4163"/>
                </a:lnTo>
                <a:lnTo>
                  <a:pt x="3906" y="4158"/>
                </a:lnTo>
                <a:lnTo>
                  <a:pt x="3913" y="4154"/>
                </a:lnTo>
                <a:lnTo>
                  <a:pt x="3913" y="4154"/>
                </a:lnTo>
                <a:lnTo>
                  <a:pt x="3919" y="4152"/>
                </a:lnTo>
                <a:lnTo>
                  <a:pt x="3926" y="4152"/>
                </a:lnTo>
                <a:lnTo>
                  <a:pt x="3935" y="4152"/>
                </a:lnTo>
                <a:lnTo>
                  <a:pt x="3944" y="4153"/>
                </a:lnTo>
                <a:lnTo>
                  <a:pt x="3954" y="4155"/>
                </a:lnTo>
                <a:lnTo>
                  <a:pt x="3965" y="4157"/>
                </a:lnTo>
                <a:lnTo>
                  <a:pt x="3990" y="4166"/>
                </a:lnTo>
                <a:lnTo>
                  <a:pt x="4017" y="4177"/>
                </a:lnTo>
                <a:lnTo>
                  <a:pt x="4047" y="4192"/>
                </a:lnTo>
                <a:lnTo>
                  <a:pt x="4078" y="4212"/>
                </a:lnTo>
                <a:lnTo>
                  <a:pt x="4110" y="4233"/>
                </a:lnTo>
                <a:lnTo>
                  <a:pt x="4127" y="4246"/>
                </a:lnTo>
                <a:lnTo>
                  <a:pt x="4143" y="4259"/>
                </a:lnTo>
                <a:lnTo>
                  <a:pt x="4160" y="4273"/>
                </a:lnTo>
                <a:lnTo>
                  <a:pt x="4176" y="4288"/>
                </a:lnTo>
                <a:lnTo>
                  <a:pt x="4192" y="4303"/>
                </a:lnTo>
                <a:lnTo>
                  <a:pt x="4208" y="4319"/>
                </a:lnTo>
                <a:lnTo>
                  <a:pt x="4224" y="4337"/>
                </a:lnTo>
                <a:lnTo>
                  <a:pt x="4239" y="4355"/>
                </a:lnTo>
                <a:lnTo>
                  <a:pt x="4254" y="4373"/>
                </a:lnTo>
                <a:lnTo>
                  <a:pt x="4268" y="4393"/>
                </a:lnTo>
                <a:lnTo>
                  <a:pt x="4282" y="4413"/>
                </a:lnTo>
                <a:lnTo>
                  <a:pt x="4296" y="4435"/>
                </a:lnTo>
                <a:lnTo>
                  <a:pt x="4308" y="4456"/>
                </a:lnTo>
                <a:lnTo>
                  <a:pt x="4320" y="4479"/>
                </a:lnTo>
                <a:lnTo>
                  <a:pt x="4331" y="4502"/>
                </a:lnTo>
                <a:lnTo>
                  <a:pt x="4342" y="4527"/>
                </a:lnTo>
                <a:lnTo>
                  <a:pt x="4342" y="4527"/>
                </a:lnTo>
                <a:lnTo>
                  <a:pt x="4347" y="4541"/>
                </a:lnTo>
                <a:lnTo>
                  <a:pt x="4352" y="4558"/>
                </a:lnTo>
                <a:lnTo>
                  <a:pt x="4356" y="4574"/>
                </a:lnTo>
                <a:lnTo>
                  <a:pt x="4360" y="4591"/>
                </a:lnTo>
                <a:lnTo>
                  <a:pt x="4363" y="4610"/>
                </a:lnTo>
                <a:lnTo>
                  <a:pt x="4366" y="4628"/>
                </a:lnTo>
                <a:lnTo>
                  <a:pt x="4370" y="4667"/>
                </a:lnTo>
                <a:lnTo>
                  <a:pt x="4372" y="4706"/>
                </a:lnTo>
                <a:lnTo>
                  <a:pt x="4371" y="4747"/>
                </a:lnTo>
                <a:lnTo>
                  <a:pt x="4370" y="4767"/>
                </a:lnTo>
                <a:lnTo>
                  <a:pt x="4369" y="4787"/>
                </a:lnTo>
                <a:lnTo>
                  <a:pt x="4366" y="4807"/>
                </a:lnTo>
                <a:lnTo>
                  <a:pt x="4363" y="4826"/>
                </a:lnTo>
                <a:lnTo>
                  <a:pt x="4360" y="4846"/>
                </a:lnTo>
                <a:lnTo>
                  <a:pt x="4356" y="4864"/>
                </a:lnTo>
                <a:lnTo>
                  <a:pt x="4351" y="4883"/>
                </a:lnTo>
                <a:lnTo>
                  <a:pt x="4345" y="4900"/>
                </a:lnTo>
                <a:lnTo>
                  <a:pt x="4339" y="4917"/>
                </a:lnTo>
                <a:lnTo>
                  <a:pt x="4332" y="4933"/>
                </a:lnTo>
                <a:lnTo>
                  <a:pt x="4324" y="4948"/>
                </a:lnTo>
                <a:lnTo>
                  <a:pt x="4316" y="4962"/>
                </a:lnTo>
                <a:lnTo>
                  <a:pt x="4307" y="4976"/>
                </a:lnTo>
                <a:lnTo>
                  <a:pt x="4298" y="4988"/>
                </a:lnTo>
                <a:lnTo>
                  <a:pt x="4287" y="4999"/>
                </a:lnTo>
                <a:lnTo>
                  <a:pt x="4276" y="5008"/>
                </a:lnTo>
                <a:lnTo>
                  <a:pt x="4264" y="5017"/>
                </a:lnTo>
                <a:lnTo>
                  <a:pt x="4252" y="5024"/>
                </a:lnTo>
                <a:lnTo>
                  <a:pt x="4238" y="5029"/>
                </a:lnTo>
                <a:lnTo>
                  <a:pt x="4224" y="5032"/>
                </a:lnTo>
                <a:lnTo>
                  <a:pt x="4224" y="5032"/>
                </a:lnTo>
                <a:lnTo>
                  <a:pt x="4216" y="5033"/>
                </a:lnTo>
                <a:lnTo>
                  <a:pt x="4208" y="5033"/>
                </a:lnTo>
                <a:lnTo>
                  <a:pt x="4198" y="5032"/>
                </a:lnTo>
                <a:lnTo>
                  <a:pt x="4188" y="5030"/>
                </a:lnTo>
                <a:lnTo>
                  <a:pt x="4168" y="5025"/>
                </a:lnTo>
                <a:lnTo>
                  <a:pt x="4145" y="5017"/>
                </a:lnTo>
                <a:lnTo>
                  <a:pt x="4123" y="5006"/>
                </a:lnTo>
                <a:lnTo>
                  <a:pt x="4099" y="4995"/>
                </a:lnTo>
                <a:lnTo>
                  <a:pt x="4051" y="4973"/>
                </a:lnTo>
                <a:lnTo>
                  <a:pt x="4028" y="4961"/>
                </a:lnTo>
                <a:lnTo>
                  <a:pt x="4005" y="4952"/>
                </a:lnTo>
                <a:lnTo>
                  <a:pt x="3984" y="4945"/>
                </a:lnTo>
                <a:lnTo>
                  <a:pt x="3964" y="4940"/>
                </a:lnTo>
                <a:lnTo>
                  <a:pt x="3955" y="4939"/>
                </a:lnTo>
                <a:lnTo>
                  <a:pt x="3947" y="4938"/>
                </a:lnTo>
                <a:lnTo>
                  <a:pt x="3939" y="4939"/>
                </a:lnTo>
                <a:lnTo>
                  <a:pt x="3932" y="4940"/>
                </a:lnTo>
                <a:lnTo>
                  <a:pt x="3924" y="4943"/>
                </a:lnTo>
                <a:lnTo>
                  <a:pt x="3919" y="4947"/>
                </a:lnTo>
                <a:lnTo>
                  <a:pt x="3914" y="4952"/>
                </a:lnTo>
                <a:lnTo>
                  <a:pt x="3909" y="4958"/>
                </a:lnTo>
                <a:lnTo>
                  <a:pt x="3909" y="4958"/>
                </a:lnTo>
                <a:lnTo>
                  <a:pt x="3905" y="4965"/>
                </a:lnTo>
                <a:lnTo>
                  <a:pt x="3900" y="4973"/>
                </a:lnTo>
                <a:lnTo>
                  <a:pt x="3893" y="4979"/>
                </a:lnTo>
                <a:lnTo>
                  <a:pt x="3886" y="4985"/>
                </a:lnTo>
                <a:lnTo>
                  <a:pt x="3869" y="4996"/>
                </a:lnTo>
                <a:lnTo>
                  <a:pt x="3851" y="5006"/>
                </a:lnTo>
                <a:lnTo>
                  <a:pt x="3810" y="5028"/>
                </a:lnTo>
                <a:lnTo>
                  <a:pt x="3789" y="5039"/>
                </a:lnTo>
                <a:lnTo>
                  <a:pt x="3770" y="5052"/>
                </a:lnTo>
                <a:lnTo>
                  <a:pt x="3761" y="5058"/>
                </a:lnTo>
                <a:lnTo>
                  <a:pt x="3752" y="5067"/>
                </a:lnTo>
                <a:lnTo>
                  <a:pt x="3743" y="5074"/>
                </a:lnTo>
                <a:lnTo>
                  <a:pt x="3735" y="5083"/>
                </a:lnTo>
                <a:lnTo>
                  <a:pt x="3728" y="5092"/>
                </a:lnTo>
                <a:lnTo>
                  <a:pt x="3722" y="5102"/>
                </a:lnTo>
                <a:lnTo>
                  <a:pt x="3717" y="5113"/>
                </a:lnTo>
                <a:lnTo>
                  <a:pt x="3713" y="5125"/>
                </a:lnTo>
                <a:lnTo>
                  <a:pt x="3710" y="5137"/>
                </a:lnTo>
                <a:lnTo>
                  <a:pt x="3708" y="5151"/>
                </a:lnTo>
                <a:lnTo>
                  <a:pt x="3707" y="5165"/>
                </a:lnTo>
                <a:lnTo>
                  <a:pt x="3707" y="5181"/>
                </a:lnTo>
                <a:lnTo>
                  <a:pt x="3709" y="5198"/>
                </a:lnTo>
                <a:lnTo>
                  <a:pt x="3713" y="5215"/>
                </a:lnTo>
                <a:lnTo>
                  <a:pt x="3718" y="5234"/>
                </a:lnTo>
                <a:lnTo>
                  <a:pt x="3724" y="5255"/>
                </a:lnTo>
                <a:lnTo>
                  <a:pt x="3724" y="5255"/>
                </a:lnTo>
                <a:lnTo>
                  <a:pt x="3741" y="5234"/>
                </a:lnTo>
                <a:lnTo>
                  <a:pt x="3759" y="5213"/>
                </a:lnTo>
                <a:lnTo>
                  <a:pt x="3776" y="5194"/>
                </a:lnTo>
                <a:lnTo>
                  <a:pt x="3794" y="5178"/>
                </a:lnTo>
                <a:lnTo>
                  <a:pt x="3802" y="5171"/>
                </a:lnTo>
                <a:lnTo>
                  <a:pt x="3811" y="5165"/>
                </a:lnTo>
                <a:lnTo>
                  <a:pt x="3819" y="5159"/>
                </a:lnTo>
                <a:lnTo>
                  <a:pt x="3827" y="5155"/>
                </a:lnTo>
                <a:lnTo>
                  <a:pt x="3835" y="5153"/>
                </a:lnTo>
                <a:lnTo>
                  <a:pt x="3843" y="5151"/>
                </a:lnTo>
                <a:lnTo>
                  <a:pt x="3850" y="5151"/>
                </a:lnTo>
                <a:lnTo>
                  <a:pt x="3857" y="5153"/>
                </a:lnTo>
                <a:lnTo>
                  <a:pt x="3857" y="5153"/>
                </a:lnTo>
                <a:lnTo>
                  <a:pt x="3861" y="5155"/>
                </a:lnTo>
                <a:lnTo>
                  <a:pt x="3864" y="5157"/>
                </a:lnTo>
                <a:lnTo>
                  <a:pt x="3870" y="5163"/>
                </a:lnTo>
                <a:lnTo>
                  <a:pt x="3875" y="5171"/>
                </a:lnTo>
                <a:lnTo>
                  <a:pt x="3879" y="5179"/>
                </a:lnTo>
                <a:lnTo>
                  <a:pt x="3888" y="5200"/>
                </a:lnTo>
                <a:lnTo>
                  <a:pt x="3894" y="5210"/>
                </a:lnTo>
                <a:lnTo>
                  <a:pt x="3901" y="5220"/>
                </a:lnTo>
                <a:lnTo>
                  <a:pt x="3901" y="5220"/>
                </a:lnTo>
                <a:lnTo>
                  <a:pt x="3904" y="5223"/>
                </a:lnTo>
                <a:lnTo>
                  <a:pt x="3908" y="5225"/>
                </a:lnTo>
                <a:lnTo>
                  <a:pt x="3913" y="5227"/>
                </a:lnTo>
                <a:lnTo>
                  <a:pt x="3919" y="5228"/>
                </a:lnTo>
                <a:lnTo>
                  <a:pt x="3934" y="5230"/>
                </a:lnTo>
                <a:lnTo>
                  <a:pt x="3950" y="5230"/>
                </a:lnTo>
                <a:lnTo>
                  <a:pt x="3968" y="5229"/>
                </a:lnTo>
                <a:lnTo>
                  <a:pt x="3989" y="5227"/>
                </a:lnTo>
                <a:lnTo>
                  <a:pt x="4032" y="5223"/>
                </a:lnTo>
                <a:lnTo>
                  <a:pt x="4074" y="5219"/>
                </a:lnTo>
                <a:lnTo>
                  <a:pt x="4093" y="5217"/>
                </a:lnTo>
                <a:lnTo>
                  <a:pt x="4110" y="5217"/>
                </a:lnTo>
                <a:lnTo>
                  <a:pt x="4126" y="5217"/>
                </a:lnTo>
                <a:lnTo>
                  <a:pt x="4137" y="5219"/>
                </a:lnTo>
                <a:lnTo>
                  <a:pt x="4142" y="5221"/>
                </a:lnTo>
                <a:lnTo>
                  <a:pt x="4146" y="5223"/>
                </a:lnTo>
                <a:lnTo>
                  <a:pt x="4148" y="5225"/>
                </a:lnTo>
                <a:lnTo>
                  <a:pt x="4150" y="5228"/>
                </a:lnTo>
                <a:lnTo>
                  <a:pt x="4150" y="5228"/>
                </a:lnTo>
                <a:lnTo>
                  <a:pt x="4151" y="5231"/>
                </a:lnTo>
                <a:lnTo>
                  <a:pt x="4150" y="5234"/>
                </a:lnTo>
                <a:lnTo>
                  <a:pt x="4149" y="5236"/>
                </a:lnTo>
                <a:lnTo>
                  <a:pt x="4148" y="5238"/>
                </a:lnTo>
                <a:lnTo>
                  <a:pt x="4143" y="5242"/>
                </a:lnTo>
                <a:lnTo>
                  <a:pt x="4136" y="5243"/>
                </a:lnTo>
                <a:lnTo>
                  <a:pt x="4118" y="5246"/>
                </a:lnTo>
                <a:lnTo>
                  <a:pt x="4100" y="5248"/>
                </a:lnTo>
                <a:lnTo>
                  <a:pt x="4100" y="5248"/>
                </a:lnTo>
                <a:lnTo>
                  <a:pt x="4021" y="5262"/>
                </a:lnTo>
                <a:lnTo>
                  <a:pt x="3981" y="5269"/>
                </a:lnTo>
                <a:lnTo>
                  <a:pt x="3943" y="5277"/>
                </a:lnTo>
                <a:lnTo>
                  <a:pt x="3925" y="5282"/>
                </a:lnTo>
                <a:lnTo>
                  <a:pt x="3909" y="5288"/>
                </a:lnTo>
                <a:lnTo>
                  <a:pt x="3894" y="5294"/>
                </a:lnTo>
                <a:lnTo>
                  <a:pt x="3881" y="5300"/>
                </a:lnTo>
                <a:lnTo>
                  <a:pt x="3869" y="5306"/>
                </a:lnTo>
                <a:lnTo>
                  <a:pt x="3860" y="5314"/>
                </a:lnTo>
                <a:lnTo>
                  <a:pt x="3853" y="5322"/>
                </a:lnTo>
                <a:lnTo>
                  <a:pt x="3850" y="5326"/>
                </a:lnTo>
                <a:lnTo>
                  <a:pt x="3848" y="5331"/>
                </a:lnTo>
                <a:lnTo>
                  <a:pt x="3848" y="5331"/>
                </a:lnTo>
                <a:lnTo>
                  <a:pt x="3846" y="5338"/>
                </a:lnTo>
                <a:lnTo>
                  <a:pt x="3846" y="5342"/>
                </a:lnTo>
                <a:lnTo>
                  <a:pt x="3847" y="5352"/>
                </a:lnTo>
                <a:lnTo>
                  <a:pt x="3847" y="5357"/>
                </a:lnTo>
                <a:lnTo>
                  <a:pt x="3846" y="5363"/>
                </a:lnTo>
                <a:lnTo>
                  <a:pt x="3845" y="5371"/>
                </a:lnTo>
                <a:lnTo>
                  <a:pt x="3842" y="5382"/>
                </a:lnTo>
                <a:lnTo>
                  <a:pt x="3842" y="5382"/>
                </a:lnTo>
                <a:lnTo>
                  <a:pt x="3837" y="5393"/>
                </a:lnTo>
                <a:lnTo>
                  <a:pt x="3831" y="5402"/>
                </a:lnTo>
                <a:lnTo>
                  <a:pt x="3823" y="5410"/>
                </a:lnTo>
                <a:lnTo>
                  <a:pt x="3815" y="5418"/>
                </a:lnTo>
                <a:lnTo>
                  <a:pt x="3796" y="5434"/>
                </a:lnTo>
                <a:lnTo>
                  <a:pt x="3786" y="5442"/>
                </a:lnTo>
                <a:lnTo>
                  <a:pt x="3776" y="5451"/>
                </a:lnTo>
                <a:lnTo>
                  <a:pt x="3767" y="5460"/>
                </a:lnTo>
                <a:lnTo>
                  <a:pt x="3758" y="5472"/>
                </a:lnTo>
                <a:lnTo>
                  <a:pt x="3750" y="5485"/>
                </a:lnTo>
                <a:lnTo>
                  <a:pt x="3742" y="5499"/>
                </a:lnTo>
                <a:lnTo>
                  <a:pt x="3736" y="5517"/>
                </a:lnTo>
                <a:lnTo>
                  <a:pt x="3732" y="5536"/>
                </a:lnTo>
                <a:lnTo>
                  <a:pt x="3730" y="5558"/>
                </a:lnTo>
                <a:lnTo>
                  <a:pt x="3730" y="5584"/>
                </a:lnTo>
                <a:lnTo>
                  <a:pt x="3730" y="5584"/>
                </a:lnTo>
                <a:lnTo>
                  <a:pt x="3732" y="5597"/>
                </a:lnTo>
                <a:lnTo>
                  <a:pt x="3735" y="5610"/>
                </a:lnTo>
                <a:lnTo>
                  <a:pt x="3739" y="5622"/>
                </a:lnTo>
                <a:lnTo>
                  <a:pt x="3744" y="5634"/>
                </a:lnTo>
                <a:lnTo>
                  <a:pt x="3751" y="5644"/>
                </a:lnTo>
                <a:lnTo>
                  <a:pt x="3757" y="5656"/>
                </a:lnTo>
                <a:lnTo>
                  <a:pt x="3763" y="5665"/>
                </a:lnTo>
                <a:lnTo>
                  <a:pt x="3770" y="5674"/>
                </a:lnTo>
                <a:lnTo>
                  <a:pt x="3784" y="5689"/>
                </a:lnTo>
                <a:lnTo>
                  <a:pt x="3797" y="5701"/>
                </a:lnTo>
                <a:lnTo>
                  <a:pt x="3807" y="5708"/>
                </a:lnTo>
                <a:lnTo>
                  <a:pt x="3810" y="5710"/>
                </a:lnTo>
                <a:lnTo>
                  <a:pt x="3813" y="5711"/>
                </a:lnTo>
                <a:lnTo>
                  <a:pt x="3813" y="5711"/>
                </a:lnTo>
                <a:lnTo>
                  <a:pt x="3814" y="5710"/>
                </a:lnTo>
                <a:lnTo>
                  <a:pt x="3815" y="5709"/>
                </a:lnTo>
                <a:lnTo>
                  <a:pt x="3816" y="5704"/>
                </a:lnTo>
                <a:lnTo>
                  <a:pt x="3818" y="5696"/>
                </a:lnTo>
                <a:lnTo>
                  <a:pt x="3818" y="5686"/>
                </a:lnTo>
                <a:lnTo>
                  <a:pt x="3820" y="5662"/>
                </a:lnTo>
                <a:lnTo>
                  <a:pt x="3823" y="5633"/>
                </a:lnTo>
                <a:lnTo>
                  <a:pt x="3825" y="5619"/>
                </a:lnTo>
                <a:lnTo>
                  <a:pt x="3828" y="5603"/>
                </a:lnTo>
                <a:lnTo>
                  <a:pt x="3831" y="5590"/>
                </a:lnTo>
                <a:lnTo>
                  <a:pt x="3836" y="5577"/>
                </a:lnTo>
                <a:lnTo>
                  <a:pt x="3843" y="5566"/>
                </a:lnTo>
                <a:lnTo>
                  <a:pt x="3847" y="5562"/>
                </a:lnTo>
                <a:lnTo>
                  <a:pt x="3851" y="5556"/>
                </a:lnTo>
                <a:lnTo>
                  <a:pt x="3855" y="5553"/>
                </a:lnTo>
                <a:lnTo>
                  <a:pt x="3860" y="5550"/>
                </a:lnTo>
                <a:lnTo>
                  <a:pt x="3865" y="5547"/>
                </a:lnTo>
                <a:lnTo>
                  <a:pt x="3871" y="5546"/>
                </a:lnTo>
                <a:lnTo>
                  <a:pt x="3871" y="5546"/>
                </a:lnTo>
                <a:lnTo>
                  <a:pt x="3877" y="5545"/>
                </a:lnTo>
                <a:lnTo>
                  <a:pt x="3882" y="5546"/>
                </a:lnTo>
                <a:lnTo>
                  <a:pt x="3888" y="5548"/>
                </a:lnTo>
                <a:lnTo>
                  <a:pt x="3892" y="5552"/>
                </a:lnTo>
                <a:lnTo>
                  <a:pt x="3902" y="5561"/>
                </a:lnTo>
                <a:lnTo>
                  <a:pt x="3911" y="5571"/>
                </a:lnTo>
                <a:lnTo>
                  <a:pt x="3921" y="5581"/>
                </a:lnTo>
                <a:lnTo>
                  <a:pt x="3926" y="5586"/>
                </a:lnTo>
                <a:lnTo>
                  <a:pt x="3933" y="5590"/>
                </a:lnTo>
                <a:lnTo>
                  <a:pt x="3940" y="5594"/>
                </a:lnTo>
                <a:lnTo>
                  <a:pt x="3946" y="5597"/>
                </a:lnTo>
                <a:lnTo>
                  <a:pt x="3954" y="5598"/>
                </a:lnTo>
                <a:lnTo>
                  <a:pt x="3962" y="5599"/>
                </a:lnTo>
                <a:lnTo>
                  <a:pt x="3962" y="5599"/>
                </a:lnTo>
                <a:lnTo>
                  <a:pt x="3970" y="5598"/>
                </a:lnTo>
                <a:lnTo>
                  <a:pt x="3979" y="5595"/>
                </a:lnTo>
                <a:lnTo>
                  <a:pt x="3987" y="5592"/>
                </a:lnTo>
                <a:lnTo>
                  <a:pt x="3996" y="5588"/>
                </a:lnTo>
                <a:lnTo>
                  <a:pt x="4005" y="5582"/>
                </a:lnTo>
                <a:lnTo>
                  <a:pt x="4014" y="5576"/>
                </a:lnTo>
                <a:lnTo>
                  <a:pt x="4035" y="5559"/>
                </a:lnTo>
                <a:lnTo>
                  <a:pt x="4055" y="5542"/>
                </a:lnTo>
                <a:lnTo>
                  <a:pt x="4077" y="5522"/>
                </a:lnTo>
                <a:lnTo>
                  <a:pt x="4122" y="5479"/>
                </a:lnTo>
                <a:lnTo>
                  <a:pt x="4144" y="5457"/>
                </a:lnTo>
                <a:lnTo>
                  <a:pt x="4166" y="5437"/>
                </a:lnTo>
                <a:lnTo>
                  <a:pt x="4187" y="5417"/>
                </a:lnTo>
                <a:lnTo>
                  <a:pt x="4208" y="5402"/>
                </a:lnTo>
                <a:lnTo>
                  <a:pt x="4227" y="5389"/>
                </a:lnTo>
                <a:lnTo>
                  <a:pt x="4236" y="5384"/>
                </a:lnTo>
                <a:lnTo>
                  <a:pt x="4245" y="5380"/>
                </a:lnTo>
                <a:lnTo>
                  <a:pt x="4254" y="5376"/>
                </a:lnTo>
                <a:lnTo>
                  <a:pt x="4262" y="5374"/>
                </a:lnTo>
                <a:lnTo>
                  <a:pt x="4270" y="5374"/>
                </a:lnTo>
                <a:lnTo>
                  <a:pt x="4277" y="5375"/>
                </a:lnTo>
                <a:lnTo>
                  <a:pt x="4277" y="5375"/>
                </a:lnTo>
                <a:lnTo>
                  <a:pt x="4278" y="5376"/>
                </a:lnTo>
                <a:lnTo>
                  <a:pt x="4279" y="5379"/>
                </a:lnTo>
                <a:lnTo>
                  <a:pt x="4278" y="5382"/>
                </a:lnTo>
                <a:lnTo>
                  <a:pt x="4277" y="5384"/>
                </a:lnTo>
                <a:lnTo>
                  <a:pt x="4272" y="5391"/>
                </a:lnTo>
                <a:lnTo>
                  <a:pt x="4264" y="5399"/>
                </a:lnTo>
                <a:lnTo>
                  <a:pt x="4241" y="5420"/>
                </a:lnTo>
                <a:lnTo>
                  <a:pt x="4212" y="5447"/>
                </a:lnTo>
                <a:lnTo>
                  <a:pt x="4181" y="5477"/>
                </a:lnTo>
                <a:lnTo>
                  <a:pt x="4167" y="5492"/>
                </a:lnTo>
                <a:lnTo>
                  <a:pt x="4152" y="5508"/>
                </a:lnTo>
                <a:lnTo>
                  <a:pt x="4140" y="5525"/>
                </a:lnTo>
                <a:lnTo>
                  <a:pt x="4129" y="5542"/>
                </a:lnTo>
                <a:lnTo>
                  <a:pt x="4121" y="5558"/>
                </a:lnTo>
                <a:lnTo>
                  <a:pt x="4118" y="5567"/>
                </a:lnTo>
                <a:lnTo>
                  <a:pt x="4116" y="5576"/>
                </a:lnTo>
                <a:lnTo>
                  <a:pt x="4116" y="5576"/>
                </a:lnTo>
                <a:lnTo>
                  <a:pt x="4114" y="5588"/>
                </a:lnTo>
                <a:lnTo>
                  <a:pt x="4114" y="5599"/>
                </a:lnTo>
                <a:lnTo>
                  <a:pt x="4115" y="5611"/>
                </a:lnTo>
                <a:lnTo>
                  <a:pt x="4119" y="5620"/>
                </a:lnTo>
                <a:lnTo>
                  <a:pt x="4123" y="5628"/>
                </a:lnTo>
                <a:lnTo>
                  <a:pt x="4129" y="5636"/>
                </a:lnTo>
                <a:lnTo>
                  <a:pt x="4135" y="5643"/>
                </a:lnTo>
                <a:lnTo>
                  <a:pt x="4142" y="5649"/>
                </a:lnTo>
                <a:lnTo>
                  <a:pt x="4157" y="5663"/>
                </a:lnTo>
                <a:lnTo>
                  <a:pt x="4163" y="5669"/>
                </a:lnTo>
                <a:lnTo>
                  <a:pt x="4169" y="5676"/>
                </a:lnTo>
                <a:lnTo>
                  <a:pt x="4175" y="5683"/>
                </a:lnTo>
                <a:lnTo>
                  <a:pt x="4179" y="5690"/>
                </a:lnTo>
                <a:lnTo>
                  <a:pt x="4182" y="5699"/>
                </a:lnTo>
                <a:lnTo>
                  <a:pt x="4183" y="5708"/>
                </a:lnTo>
                <a:lnTo>
                  <a:pt x="4183" y="5708"/>
                </a:lnTo>
                <a:lnTo>
                  <a:pt x="4184" y="5718"/>
                </a:lnTo>
                <a:lnTo>
                  <a:pt x="4186" y="5729"/>
                </a:lnTo>
                <a:lnTo>
                  <a:pt x="4189" y="5738"/>
                </a:lnTo>
                <a:lnTo>
                  <a:pt x="4193" y="5749"/>
                </a:lnTo>
                <a:lnTo>
                  <a:pt x="4198" y="5758"/>
                </a:lnTo>
                <a:lnTo>
                  <a:pt x="4205" y="5767"/>
                </a:lnTo>
                <a:lnTo>
                  <a:pt x="4212" y="5775"/>
                </a:lnTo>
                <a:lnTo>
                  <a:pt x="4220" y="5783"/>
                </a:lnTo>
                <a:lnTo>
                  <a:pt x="4228" y="5792"/>
                </a:lnTo>
                <a:lnTo>
                  <a:pt x="4237" y="5799"/>
                </a:lnTo>
                <a:lnTo>
                  <a:pt x="4257" y="5812"/>
                </a:lnTo>
                <a:lnTo>
                  <a:pt x="4278" y="5824"/>
                </a:lnTo>
                <a:lnTo>
                  <a:pt x="4300" y="5835"/>
                </a:lnTo>
                <a:lnTo>
                  <a:pt x="4322" y="5844"/>
                </a:lnTo>
                <a:lnTo>
                  <a:pt x="4344" y="5852"/>
                </a:lnTo>
                <a:lnTo>
                  <a:pt x="4364" y="5857"/>
                </a:lnTo>
                <a:lnTo>
                  <a:pt x="4382" y="5862"/>
                </a:lnTo>
                <a:lnTo>
                  <a:pt x="4399" y="5864"/>
                </a:lnTo>
                <a:lnTo>
                  <a:pt x="4412" y="5865"/>
                </a:lnTo>
                <a:lnTo>
                  <a:pt x="4421" y="5865"/>
                </a:lnTo>
                <a:lnTo>
                  <a:pt x="4424" y="5864"/>
                </a:lnTo>
                <a:lnTo>
                  <a:pt x="4426" y="5863"/>
                </a:lnTo>
                <a:lnTo>
                  <a:pt x="4426" y="5863"/>
                </a:lnTo>
                <a:lnTo>
                  <a:pt x="4427" y="5861"/>
                </a:lnTo>
                <a:lnTo>
                  <a:pt x="4427" y="5859"/>
                </a:lnTo>
                <a:lnTo>
                  <a:pt x="4425" y="5853"/>
                </a:lnTo>
                <a:lnTo>
                  <a:pt x="4420" y="5846"/>
                </a:lnTo>
                <a:lnTo>
                  <a:pt x="4412" y="5836"/>
                </a:lnTo>
                <a:lnTo>
                  <a:pt x="4393" y="5813"/>
                </a:lnTo>
                <a:lnTo>
                  <a:pt x="4369" y="5786"/>
                </a:lnTo>
                <a:lnTo>
                  <a:pt x="4358" y="5773"/>
                </a:lnTo>
                <a:lnTo>
                  <a:pt x="4348" y="5759"/>
                </a:lnTo>
                <a:lnTo>
                  <a:pt x="4339" y="5745"/>
                </a:lnTo>
                <a:lnTo>
                  <a:pt x="4330" y="5731"/>
                </a:lnTo>
                <a:lnTo>
                  <a:pt x="4325" y="5718"/>
                </a:lnTo>
                <a:lnTo>
                  <a:pt x="4324" y="5712"/>
                </a:lnTo>
                <a:lnTo>
                  <a:pt x="4323" y="5706"/>
                </a:lnTo>
                <a:lnTo>
                  <a:pt x="4323" y="5700"/>
                </a:lnTo>
                <a:lnTo>
                  <a:pt x="4324" y="5694"/>
                </a:lnTo>
                <a:lnTo>
                  <a:pt x="4326" y="5689"/>
                </a:lnTo>
                <a:lnTo>
                  <a:pt x="4329" y="5684"/>
                </a:lnTo>
                <a:lnTo>
                  <a:pt x="4329" y="5684"/>
                </a:lnTo>
                <a:lnTo>
                  <a:pt x="4333" y="5680"/>
                </a:lnTo>
                <a:lnTo>
                  <a:pt x="4337" y="5677"/>
                </a:lnTo>
                <a:lnTo>
                  <a:pt x="4343" y="5676"/>
                </a:lnTo>
                <a:lnTo>
                  <a:pt x="4347" y="5675"/>
                </a:lnTo>
                <a:lnTo>
                  <a:pt x="4352" y="5675"/>
                </a:lnTo>
                <a:lnTo>
                  <a:pt x="4358" y="5676"/>
                </a:lnTo>
                <a:lnTo>
                  <a:pt x="4370" y="5678"/>
                </a:lnTo>
                <a:lnTo>
                  <a:pt x="4384" y="5681"/>
                </a:lnTo>
                <a:lnTo>
                  <a:pt x="4392" y="5682"/>
                </a:lnTo>
                <a:lnTo>
                  <a:pt x="4399" y="5682"/>
                </a:lnTo>
                <a:lnTo>
                  <a:pt x="4408" y="5682"/>
                </a:lnTo>
                <a:lnTo>
                  <a:pt x="4416" y="5681"/>
                </a:lnTo>
                <a:lnTo>
                  <a:pt x="4425" y="5679"/>
                </a:lnTo>
                <a:lnTo>
                  <a:pt x="4436" y="5675"/>
                </a:lnTo>
                <a:lnTo>
                  <a:pt x="4436" y="5675"/>
                </a:lnTo>
                <a:lnTo>
                  <a:pt x="4437" y="5673"/>
                </a:lnTo>
                <a:lnTo>
                  <a:pt x="4438" y="5670"/>
                </a:lnTo>
                <a:lnTo>
                  <a:pt x="4438" y="5663"/>
                </a:lnTo>
                <a:lnTo>
                  <a:pt x="4436" y="5652"/>
                </a:lnTo>
                <a:lnTo>
                  <a:pt x="4434" y="5637"/>
                </a:lnTo>
                <a:lnTo>
                  <a:pt x="4431" y="5621"/>
                </a:lnTo>
                <a:lnTo>
                  <a:pt x="4428" y="5602"/>
                </a:lnTo>
                <a:lnTo>
                  <a:pt x="4426" y="5581"/>
                </a:lnTo>
                <a:lnTo>
                  <a:pt x="4426" y="5557"/>
                </a:lnTo>
                <a:lnTo>
                  <a:pt x="4428" y="5533"/>
                </a:lnTo>
                <a:lnTo>
                  <a:pt x="4431" y="5520"/>
                </a:lnTo>
                <a:lnTo>
                  <a:pt x="4434" y="5505"/>
                </a:lnTo>
                <a:lnTo>
                  <a:pt x="4437" y="5492"/>
                </a:lnTo>
                <a:lnTo>
                  <a:pt x="4441" y="5477"/>
                </a:lnTo>
                <a:lnTo>
                  <a:pt x="4446" y="5462"/>
                </a:lnTo>
                <a:lnTo>
                  <a:pt x="4453" y="5447"/>
                </a:lnTo>
                <a:lnTo>
                  <a:pt x="4460" y="5432"/>
                </a:lnTo>
                <a:lnTo>
                  <a:pt x="4469" y="5416"/>
                </a:lnTo>
                <a:lnTo>
                  <a:pt x="4479" y="5400"/>
                </a:lnTo>
                <a:lnTo>
                  <a:pt x="4490" y="5384"/>
                </a:lnTo>
                <a:lnTo>
                  <a:pt x="4503" y="5367"/>
                </a:lnTo>
                <a:lnTo>
                  <a:pt x="4516" y="5351"/>
                </a:lnTo>
                <a:lnTo>
                  <a:pt x="4533" y="5334"/>
                </a:lnTo>
                <a:lnTo>
                  <a:pt x="4550" y="5317"/>
                </a:lnTo>
                <a:lnTo>
                  <a:pt x="4550" y="5317"/>
                </a:lnTo>
                <a:lnTo>
                  <a:pt x="4557" y="5328"/>
                </a:lnTo>
                <a:lnTo>
                  <a:pt x="4566" y="5340"/>
                </a:lnTo>
                <a:lnTo>
                  <a:pt x="4578" y="5353"/>
                </a:lnTo>
                <a:lnTo>
                  <a:pt x="4586" y="5360"/>
                </a:lnTo>
                <a:lnTo>
                  <a:pt x="4594" y="5367"/>
                </a:lnTo>
                <a:lnTo>
                  <a:pt x="4603" y="5373"/>
                </a:lnTo>
                <a:lnTo>
                  <a:pt x="4614" y="5381"/>
                </a:lnTo>
                <a:lnTo>
                  <a:pt x="4624" y="5386"/>
                </a:lnTo>
                <a:lnTo>
                  <a:pt x="4636" y="5390"/>
                </a:lnTo>
                <a:lnTo>
                  <a:pt x="4648" y="5394"/>
                </a:lnTo>
                <a:lnTo>
                  <a:pt x="4662" y="5396"/>
                </a:lnTo>
                <a:lnTo>
                  <a:pt x="4662" y="5396"/>
                </a:lnTo>
                <a:lnTo>
                  <a:pt x="4668" y="5397"/>
                </a:lnTo>
                <a:lnTo>
                  <a:pt x="4673" y="5399"/>
                </a:lnTo>
                <a:lnTo>
                  <a:pt x="4677" y="5402"/>
                </a:lnTo>
                <a:lnTo>
                  <a:pt x="4681" y="5405"/>
                </a:lnTo>
                <a:lnTo>
                  <a:pt x="4685" y="5409"/>
                </a:lnTo>
                <a:lnTo>
                  <a:pt x="4688" y="5413"/>
                </a:lnTo>
                <a:lnTo>
                  <a:pt x="4692" y="5425"/>
                </a:lnTo>
                <a:lnTo>
                  <a:pt x="4696" y="5437"/>
                </a:lnTo>
                <a:lnTo>
                  <a:pt x="4698" y="5450"/>
                </a:lnTo>
                <a:lnTo>
                  <a:pt x="4698" y="5463"/>
                </a:lnTo>
                <a:lnTo>
                  <a:pt x="4698" y="5478"/>
                </a:lnTo>
                <a:lnTo>
                  <a:pt x="4696" y="5506"/>
                </a:lnTo>
                <a:lnTo>
                  <a:pt x="4694" y="5531"/>
                </a:lnTo>
                <a:lnTo>
                  <a:pt x="4692" y="5548"/>
                </a:lnTo>
                <a:lnTo>
                  <a:pt x="4692" y="5553"/>
                </a:lnTo>
                <a:lnTo>
                  <a:pt x="4693" y="5554"/>
                </a:lnTo>
                <a:lnTo>
                  <a:pt x="4694" y="5554"/>
                </a:lnTo>
                <a:lnTo>
                  <a:pt x="4694" y="5554"/>
                </a:lnTo>
                <a:lnTo>
                  <a:pt x="4697" y="5553"/>
                </a:lnTo>
                <a:lnTo>
                  <a:pt x="4702" y="5550"/>
                </a:lnTo>
                <a:lnTo>
                  <a:pt x="4708" y="5545"/>
                </a:lnTo>
                <a:lnTo>
                  <a:pt x="4714" y="5538"/>
                </a:lnTo>
                <a:lnTo>
                  <a:pt x="4721" y="5529"/>
                </a:lnTo>
                <a:lnTo>
                  <a:pt x="4729" y="5519"/>
                </a:lnTo>
                <a:lnTo>
                  <a:pt x="4736" y="5505"/>
                </a:lnTo>
                <a:lnTo>
                  <a:pt x="4743" y="5492"/>
                </a:lnTo>
                <a:lnTo>
                  <a:pt x="4751" y="5477"/>
                </a:lnTo>
                <a:lnTo>
                  <a:pt x="4758" y="5459"/>
                </a:lnTo>
                <a:lnTo>
                  <a:pt x="4763" y="5442"/>
                </a:lnTo>
                <a:lnTo>
                  <a:pt x="4768" y="5422"/>
                </a:lnTo>
                <a:lnTo>
                  <a:pt x="4771" y="5402"/>
                </a:lnTo>
                <a:lnTo>
                  <a:pt x="4773" y="5382"/>
                </a:lnTo>
                <a:lnTo>
                  <a:pt x="4772" y="5360"/>
                </a:lnTo>
                <a:lnTo>
                  <a:pt x="4770" y="5338"/>
                </a:lnTo>
                <a:lnTo>
                  <a:pt x="4770" y="5338"/>
                </a:lnTo>
                <a:lnTo>
                  <a:pt x="4778" y="5330"/>
                </a:lnTo>
                <a:lnTo>
                  <a:pt x="4798" y="5313"/>
                </a:lnTo>
                <a:lnTo>
                  <a:pt x="4809" y="5302"/>
                </a:lnTo>
                <a:lnTo>
                  <a:pt x="4819" y="5290"/>
                </a:lnTo>
                <a:lnTo>
                  <a:pt x="4827" y="5276"/>
                </a:lnTo>
                <a:lnTo>
                  <a:pt x="4830" y="5270"/>
                </a:lnTo>
                <a:lnTo>
                  <a:pt x="4832" y="5264"/>
                </a:lnTo>
                <a:lnTo>
                  <a:pt x="4832" y="5264"/>
                </a:lnTo>
                <a:lnTo>
                  <a:pt x="4834" y="5255"/>
                </a:lnTo>
                <a:lnTo>
                  <a:pt x="4835" y="5246"/>
                </a:lnTo>
                <a:lnTo>
                  <a:pt x="4836" y="5237"/>
                </a:lnTo>
                <a:lnTo>
                  <a:pt x="4835" y="5230"/>
                </a:lnTo>
                <a:lnTo>
                  <a:pt x="4834" y="5224"/>
                </a:lnTo>
                <a:lnTo>
                  <a:pt x="4832" y="5218"/>
                </a:lnTo>
                <a:lnTo>
                  <a:pt x="4830" y="5213"/>
                </a:lnTo>
                <a:lnTo>
                  <a:pt x="4827" y="5208"/>
                </a:lnTo>
                <a:lnTo>
                  <a:pt x="4819" y="5199"/>
                </a:lnTo>
                <a:lnTo>
                  <a:pt x="4810" y="5189"/>
                </a:lnTo>
                <a:lnTo>
                  <a:pt x="4800" y="5180"/>
                </a:lnTo>
                <a:lnTo>
                  <a:pt x="4789" y="5169"/>
                </a:lnTo>
                <a:lnTo>
                  <a:pt x="4778" y="5156"/>
                </a:lnTo>
                <a:lnTo>
                  <a:pt x="4772" y="5148"/>
                </a:lnTo>
                <a:lnTo>
                  <a:pt x="4767" y="5139"/>
                </a:lnTo>
                <a:lnTo>
                  <a:pt x="4762" y="5130"/>
                </a:lnTo>
                <a:lnTo>
                  <a:pt x="4757" y="5120"/>
                </a:lnTo>
                <a:lnTo>
                  <a:pt x="4753" y="5108"/>
                </a:lnTo>
                <a:lnTo>
                  <a:pt x="4749" y="5095"/>
                </a:lnTo>
                <a:lnTo>
                  <a:pt x="4744" y="5081"/>
                </a:lnTo>
                <a:lnTo>
                  <a:pt x="4741" y="5065"/>
                </a:lnTo>
                <a:lnTo>
                  <a:pt x="4738" y="5048"/>
                </a:lnTo>
                <a:lnTo>
                  <a:pt x="4736" y="5029"/>
                </a:lnTo>
                <a:lnTo>
                  <a:pt x="4735" y="5008"/>
                </a:lnTo>
                <a:lnTo>
                  <a:pt x="4734" y="4986"/>
                </a:lnTo>
                <a:lnTo>
                  <a:pt x="4734" y="4961"/>
                </a:lnTo>
                <a:lnTo>
                  <a:pt x="4735" y="4935"/>
                </a:lnTo>
                <a:lnTo>
                  <a:pt x="4735" y="4935"/>
                </a:lnTo>
                <a:lnTo>
                  <a:pt x="4735" y="4917"/>
                </a:lnTo>
                <a:lnTo>
                  <a:pt x="4734" y="4911"/>
                </a:lnTo>
                <a:lnTo>
                  <a:pt x="4733" y="4906"/>
                </a:lnTo>
                <a:lnTo>
                  <a:pt x="4731" y="4901"/>
                </a:lnTo>
                <a:lnTo>
                  <a:pt x="4729" y="4897"/>
                </a:lnTo>
                <a:lnTo>
                  <a:pt x="4727" y="4894"/>
                </a:lnTo>
                <a:lnTo>
                  <a:pt x="4724" y="4891"/>
                </a:lnTo>
                <a:lnTo>
                  <a:pt x="4716" y="4885"/>
                </a:lnTo>
                <a:lnTo>
                  <a:pt x="4706" y="4878"/>
                </a:lnTo>
                <a:lnTo>
                  <a:pt x="4693" y="4868"/>
                </a:lnTo>
                <a:lnTo>
                  <a:pt x="4679" y="4856"/>
                </a:lnTo>
                <a:lnTo>
                  <a:pt x="4679" y="4856"/>
                </a:lnTo>
                <a:lnTo>
                  <a:pt x="4671" y="4846"/>
                </a:lnTo>
                <a:lnTo>
                  <a:pt x="4664" y="4836"/>
                </a:lnTo>
                <a:lnTo>
                  <a:pt x="4659" y="4825"/>
                </a:lnTo>
                <a:lnTo>
                  <a:pt x="4655" y="4815"/>
                </a:lnTo>
                <a:lnTo>
                  <a:pt x="4654" y="4807"/>
                </a:lnTo>
                <a:lnTo>
                  <a:pt x="4654" y="4804"/>
                </a:lnTo>
                <a:lnTo>
                  <a:pt x="4654" y="4802"/>
                </a:lnTo>
                <a:lnTo>
                  <a:pt x="4657" y="4800"/>
                </a:lnTo>
                <a:lnTo>
                  <a:pt x="4659" y="4799"/>
                </a:lnTo>
                <a:lnTo>
                  <a:pt x="4661" y="4799"/>
                </a:lnTo>
                <a:lnTo>
                  <a:pt x="4665" y="4800"/>
                </a:lnTo>
                <a:lnTo>
                  <a:pt x="4665" y="4800"/>
                </a:lnTo>
                <a:lnTo>
                  <a:pt x="4679" y="4806"/>
                </a:lnTo>
                <a:lnTo>
                  <a:pt x="4693" y="4810"/>
                </a:lnTo>
                <a:lnTo>
                  <a:pt x="4708" y="4813"/>
                </a:lnTo>
                <a:lnTo>
                  <a:pt x="4723" y="4814"/>
                </a:lnTo>
                <a:lnTo>
                  <a:pt x="4737" y="4815"/>
                </a:lnTo>
                <a:lnTo>
                  <a:pt x="4752" y="4816"/>
                </a:lnTo>
                <a:lnTo>
                  <a:pt x="4765" y="4815"/>
                </a:lnTo>
                <a:lnTo>
                  <a:pt x="4778" y="4814"/>
                </a:lnTo>
                <a:lnTo>
                  <a:pt x="4802" y="4811"/>
                </a:lnTo>
                <a:lnTo>
                  <a:pt x="4819" y="4807"/>
                </a:lnTo>
                <a:lnTo>
                  <a:pt x="4835" y="4803"/>
                </a:lnTo>
                <a:lnTo>
                  <a:pt x="4835" y="4803"/>
                </a:lnTo>
                <a:lnTo>
                  <a:pt x="4844" y="4707"/>
                </a:lnTo>
                <a:lnTo>
                  <a:pt x="4849" y="4632"/>
                </a:lnTo>
                <a:lnTo>
                  <a:pt x="4851" y="4577"/>
                </a:lnTo>
                <a:lnTo>
                  <a:pt x="4851" y="4539"/>
                </a:lnTo>
                <a:lnTo>
                  <a:pt x="4849" y="4514"/>
                </a:lnTo>
                <a:lnTo>
                  <a:pt x="4847" y="4499"/>
                </a:lnTo>
                <a:lnTo>
                  <a:pt x="4845" y="4493"/>
                </a:lnTo>
                <a:lnTo>
                  <a:pt x="4844" y="4491"/>
                </a:lnTo>
                <a:lnTo>
                  <a:pt x="4844" y="4491"/>
                </a:lnTo>
                <a:lnTo>
                  <a:pt x="4825" y="4492"/>
                </a:lnTo>
                <a:lnTo>
                  <a:pt x="4808" y="4491"/>
                </a:lnTo>
                <a:lnTo>
                  <a:pt x="4791" y="4490"/>
                </a:lnTo>
                <a:lnTo>
                  <a:pt x="4776" y="4489"/>
                </a:lnTo>
                <a:lnTo>
                  <a:pt x="4763" y="4487"/>
                </a:lnTo>
                <a:lnTo>
                  <a:pt x="4750" y="4484"/>
                </a:lnTo>
                <a:lnTo>
                  <a:pt x="4737" y="4481"/>
                </a:lnTo>
                <a:lnTo>
                  <a:pt x="4726" y="4477"/>
                </a:lnTo>
                <a:lnTo>
                  <a:pt x="4716" y="4473"/>
                </a:lnTo>
                <a:lnTo>
                  <a:pt x="4707" y="4469"/>
                </a:lnTo>
                <a:lnTo>
                  <a:pt x="4698" y="4463"/>
                </a:lnTo>
                <a:lnTo>
                  <a:pt x="4690" y="4458"/>
                </a:lnTo>
                <a:lnTo>
                  <a:pt x="4683" y="4452"/>
                </a:lnTo>
                <a:lnTo>
                  <a:pt x="4676" y="4447"/>
                </a:lnTo>
                <a:lnTo>
                  <a:pt x="4665" y="4434"/>
                </a:lnTo>
                <a:lnTo>
                  <a:pt x="4665" y="4434"/>
                </a:lnTo>
                <a:lnTo>
                  <a:pt x="4677" y="4437"/>
                </a:lnTo>
                <a:lnTo>
                  <a:pt x="4690" y="4439"/>
                </a:lnTo>
                <a:lnTo>
                  <a:pt x="4717" y="4441"/>
                </a:lnTo>
                <a:lnTo>
                  <a:pt x="4742" y="4441"/>
                </a:lnTo>
                <a:lnTo>
                  <a:pt x="4768" y="4439"/>
                </a:lnTo>
                <a:lnTo>
                  <a:pt x="4790" y="4435"/>
                </a:lnTo>
                <a:lnTo>
                  <a:pt x="4812" y="4429"/>
                </a:lnTo>
                <a:lnTo>
                  <a:pt x="4821" y="4426"/>
                </a:lnTo>
                <a:lnTo>
                  <a:pt x="4829" y="4422"/>
                </a:lnTo>
                <a:lnTo>
                  <a:pt x="4838" y="4416"/>
                </a:lnTo>
                <a:lnTo>
                  <a:pt x="4844" y="4412"/>
                </a:lnTo>
                <a:lnTo>
                  <a:pt x="4844" y="4412"/>
                </a:lnTo>
                <a:lnTo>
                  <a:pt x="4843" y="4364"/>
                </a:lnTo>
                <a:lnTo>
                  <a:pt x="4841" y="4316"/>
                </a:lnTo>
                <a:lnTo>
                  <a:pt x="4838" y="4261"/>
                </a:lnTo>
                <a:lnTo>
                  <a:pt x="4833" y="4206"/>
                </a:lnTo>
                <a:lnTo>
                  <a:pt x="4831" y="4181"/>
                </a:lnTo>
                <a:lnTo>
                  <a:pt x="4828" y="4159"/>
                </a:lnTo>
                <a:lnTo>
                  <a:pt x="4825" y="4140"/>
                </a:lnTo>
                <a:lnTo>
                  <a:pt x="4822" y="4126"/>
                </a:lnTo>
                <a:lnTo>
                  <a:pt x="4820" y="4121"/>
                </a:lnTo>
                <a:lnTo>
                  <a:pt x="4818" y="4118"/>
                </a:lnTo>
                <a:lnTo>
                  <a:pt x="4816" y="4116"/>
                </a:lnTo>
                <a:lnTo>
                  <a:pt x="4814" y="4116"/>
                </a:lnTo>
                <a:lnTo>
                  <a:pt x="4814" y="4116"/>
                </a:lnTo>
                <a:lnTo>
                  <a:pt x="4786" y="4123"/>
                </a:lnTo>
                <a:lnTo>
                  <a:pt x="4760" y="4128"/>
                </a:lnTo>
                <a:lnTo>
                  <a:pt x="4746" y="4129"/>
                </a:lnTo>
                <a:lnTo>
                  <a:pt x="4734" y="4130"/>
                </a:lnTo>
                <a:lnTo>
                  <a:pt x="4722" y="4130"/>
                </a:lnTo>
                <a:lnTo>
                  <a:pt x="4711" y="4129"/>
                </a:lnTo>
                <a:lnTo>
                  <a:pt x="4698" y="4127"/>
                </a:lnTo>
                <a:lnTo>
                  <a:pt x="4687" y="4125"/>
                </a:lnTo>
                <a:lnTo>
                  <a:pt x="4675" y="4122"/>
                </a:lnTo>
                <a:lnTo>
                  <a:pt x="4664" y="4118"/>
                </a:lnTo>
                <a:lnTo>
                  <a:pt x="4652" y="4113"/>
                </a:lnTo>
                <a:lnTo>
                  <a:pt x="4640" y="4108"/>
                </a:lnTo>
                <a:lnTo>
                  <a:pt x="4629" y="4100"/>
                </a:lnTo>
                <a:lnTo>
                  <a:pt x="4618" y="4093"/>
                </a:lnTo>
                <a:lnTo>
                  <a:pt x="4618" y="4093"/>
                </a:lnTo>
                <a:lnTo>
                  <a:pt x="4613" y="4090"/>
                </a:lnTo>
                <a:lnTo>
                  <a:pt x="4608" y="4086"/>
                </a:lnTo>
                <a:lnTo>
                  <a:pt x="4602" y="4078"/>
                </a:lnTo>
                <a:lnTo>
                  <a:pt x="4597" y="4069"/>
                </a:lnTo>
                <a:lnTo>
                  <a:pt x="4594" y="4059"/>
                </a:lnTo>
                <a:lnTo>
                  <a:pt x="4592" y="4047"/>
                </a:lnTo>
                <a:lnTo>
                  <a:pt x="4591" y="4037"/>
                </a:lnTo>
                <a:lnTo>
                  <a:pt x="4590" y="4015"/>
                </a:lnTo>
                <a:lnTo>
                  <a:pt x="4589" y="3993"/>
                </a:lnTo>
                <a:lnTo>
                  <a:pt x="4587" y="3984"/>
                </a:lnTo>
                <a:lnTo>
                  <a:pt x="4585" y="3976"/>
                </a:lnTo>
                <a:lnTo>
                  <a:pt x="4581" y="3969"/>
                </a:lnTo>
                <a:lnTo>
                  <a:pt x="4575" y="3962"/>
                </a:lnTo>
                <a:lnTo>
                  <a:pt x="4571" y="3959"/>
                </a:lnTo>
                <a:lnTo>
                  <a:pt x="4567" y="3957"/>
                </a:lnTo>
                <a:lnTo>
                  <a:pt x="4561" y="3956"/>
                </a:lnTo>
                <a:lnTo>
                  <a:pt x="4556" y="3955"/>
                </a:lnTo>
                <a:lnTo>
                  <a:pt x="4556" y="3955"/>
                </a:lnTo>
                <a:lnTo>
                  <a:pt x="4534" y="3948"/>
                </a:lnTo>
                <a:lnTo>
                  <a:pt x="4511" y="3941"/>
                </a:lnTo>
                <a:lnTo>
                  <a:pt x="4489" y="3933"/>
                </a:lnTo>
                <a:lnTo>
                  <a:pt x="4468" y="3923"/>
                </a:lnTo>
                <a:lnTo>
                  <a:pt x="4448" y="3913"/>
                </a:lnTo>
                <a:lnTo>
                  <a:pt x="4428" y="3902"/>
                </a:lnTo>
                <a:lnTo>
                  <a:pt x="4410" y="3892"/>
                </a:lnTo>
                <a:lnTo>
                  <a:pt x="4394" y="3881"/>
                </a:lnTo>
                <a:lnTo>
                  <a:pt x="4377" y="3869"/>
                </a:lnTo>
                <a:lnTo>
                  <a:pt x="4363" y="3859"/>
                </a:lnTo>
                <a:lnTo>
                  <a:pt x="4337" y="3839"/>
                </a:lnTo>
                <a:lnTo>
                  <a:pt x="4318" y="3820"/>
                </a:lnTo>
                <a:lnTo>
                  <a:pt x="4306" y="3805"/>
                </a:lnTo>
                <a:lnTo>
                  <a:pt x="4306" y="3805"/>
                </a:lnTo>
                <a:lnTo>
                  <a:pt x="4297" y="3793"/>
                </a:lnTo>
                <a:lnTo>
                  <a:pt x="4288" y="3780"/>
                </a:lnTo>
                <a:lnTo>
                  <a:pt x="4282" y="3769"/>
                </a:lnTo>
                <a:lnTo>
                  <a:pt x="4277" y="3758"/>
                </a:lnTo>
                <a:lnTo>
                  <a:pt x="4273" y="3748"/>
                </a:lnTo>
                <a:lnTo>
                  <a:pt x="4270" y="3739"/>
                </a:lnTo>
                <a:lnTo>
                  <a:pt x="4266" y="3722"/>
                </a:lnTo>
                <a:lnTo>
                  <a:pt x="4265" y="3709"/>
                </a:lnTo>
                <a:lnTo>
                  <a:pt x="4265" y="3699"/>
                </a:lnTo>
                <a:lnTo>
                  <a:pt x="4266" y="3690"/>
                </a:lnTo>
                <a:lnTo>
                  <a:pt x="4266" y="3690"/>
                </a:lnTo>
                <a:lnTo>
                  <a:pt x="4284" y="3700"/>
                </a:lnTo>
                <a:lnTo>
                  <a:pt x="4302" y="3706"/>
                </a:lnTo>
                <a:lnTo>
                  <a:pt x="4321" y="3711"/>
                </a:lnTo>
                <a:lnTo>
                  <a:pt x="4340" y="3714"/>
                </a:lnTo>
                <a:lnTo>
                  <a:pt x="4358" y="3716"/>
                </a:lnTo>
                <a:lnTo>
                  <a:pt x="4377" y="3715"/>
                </a:lnTo>
                <a:lnTo>
                  <a:pt x="4396" y="3712"/>
                </a:lnTo>
                <a:lnTo>
                  <a:pt x="4414" y="3708"/>
                </a:lnTo>
                <a:lnTo>
                  <a:pt x="4434" y="3468"/>
                </a:lnTo>
                <a:lnTo>
                  <a:pt x="4434" y="3468"/>
                </a:lnTo>
                <a:lnTo>
                  <a:pt x="4425" y="3467"/>
                </a:lnTo>
                <a:lnTo>
                  <a:pt x="4405" y="3464"/>
                </a:lnTo>
                <a:lnTo>
                  <a:pt x="4392" y="3461"/>
                </a:lnTo>
                <a:lnTo>
                  <a:pt x="4377" y="3457"/>
                </a:lnTo>
                <a:lnTo>
                  <a:pt x="4362" y="3453"/>
                </a:lnTo>
                <a:lnTo>
                  <a:pt x="4348" y="3447"/>
                </a:lnTo>
                <a:lnTo>
                  <a:pt x="4348" y="3447"/>
                </a:lnTo>
                <a:lnTo>
                  <a:pt x="4339" y="3443"/>
                </a:lnTo>
                <a:lnTo>
                  <a:pt x="4331" y="3438"/>
                </a:lnTo>
                <a:lnTo>
                  <a:pt x="4323" y="3432"/>
                </a:lnTo>
                <a:lnTo>
                  <a:pt x="4316" y="3426"/>
                </a:lnTo>
                <a:lnTo>
                  <a:pt x="4302" y="3412"/>
                </a:lnTo>
                <a:lnTo>
                  <a:pt x="4289" y="3399"/>
                </a:lnTo>
                <a:lnTo>
                  <a:pt x="4280" y="3386"/>
                </a:lnTo>
                <a:lnTo>
                  <a:pt x="4273" y="3376"/>
                </a:lnTo>
                <a:lnTo>
                  <a:pt x="4267" y="3366"/>
                </a:lnTo>
                <a:lnTo>
                  <a:pt x="4267" y="3366"/>
                </a:lnTo>
                <a:lnTo>
                  <a:pt x="4274" y="3369"/>
                </a:lnTo>
                <a:lnTo>
                  <a:pt x="4293" y="3377"/>
                </a:lnTo>
                <a:lnTo>
                  <a:pt x="4321" y="3385"/>
                </a:lnTo>
                <a:lnTo>
                  <a:pt x="4339" y="3389"/>
                </a:lnTo>
                <a:lnTo>
                  <a:pt x="4356" y="3392"/>
                </a:lnTo>
                <a:lnTo>
                  <a:pt x="4356" y="3392"/>
                </a:lnTo>
                <a:lnTo>
                  <a:pt x="4375" y="3394"/>
                </a:lnTo>
                <a:lnTo>
                  <a:pt x="4392" y="3395"/>
                </a:lnTo>
                <a:lnTo>
                  <a:pt x="4407" y="3393"/>
                </a:lnTo>
                <a:lnTo>
                  <a:pt x="4419" y="3391"/>
                </a:lnTo>
                <a:lnTo>
                  <a:pt x="4430" y="3389"/>
                </a:lnTo>
                <a:lnTo>
                  <a:pt x="4438" y="3387"/>
                </a:lnTo>
                <a:lnTo>
                  <a:pt x="4444" y="3384"/>
                </a:lnTo>
                <a:lnTo>
                  <a:pt x="4477" y="3113"/>
                </a:lnTo>
                <a:lnTo>
                  <a:pt x="4477" y="3113"/>
                </a:lnTo>
                <a:lnTo>
                  <a:pt x="4451" y="3114"/>
                </a:lnTo>
                <a:lnTo>
                  <a:pt x="4427" y="3113"/>
                </a:lnTo>
                <a:lnTo>
                  <a:pt x="4408" y="3111"/>
                </a:lnTo>
                <a:lnTo>
                  <a:pt x="4392" y="3106"/>
                </a:lnTo>
                <a:lnTo>
                  <a:pt x="4377" y="3100"/>
                </a:lnTo>
                <a:lnTo>
                  <a:pt x="4365" y="3093"/>
                </a:lnTo>
                <a:lnTo>
                  <a:pt x="4356" y="3085"/>
                </a:lnTo>
                <a:lnTo>
                  <a:pt x="4348" y="3077"/>
                </a:lnTo>
                <a:lnTo>
                  <a:pt x="4343" y="3069"/>
                </a:lnTo>
                <a:lnTo>
                  <a:pt x="4337" y="3060"/>
                </a:lnTo>
                <a:lnTo>
                  <a:pt x="4335" y="3051"/>
                </a:lnTo>
                <a:lnTo>
                  <a:pt x="4333" y="3043"/>
                </a:lnTo>
                <a:lnTo>
                  <a:pt x="4332" y="3035"/>
                </a:lnTo>
                <a:lnTo>
                  <a:pt x="4331" y="3029"/>
                </a:lnTo>
                <a:lnTo>
                  <a:pt x="4332" y="3020"/>
                </a:lnTo>
                <a:lnTo>
                  <a:pt x="4332" y="3020"/>
                </a:lnTo>
                <a:lnTo>
                  <a:pt x="4357" y="3015"/>
                </a:lnTo>
                <a:lnTo>
                  <a:pt x="4381" y="3009"/>
                </a:lnTo>
                <a:lnTo>
                  <a:pt x="4405" y="3001"/>
                </a:lnTo>
                <a:lnTo>
                  <a:pt x="4428" y="2994"/>
                </a:lnTo>
                <a:lnTo>
                  <a:pt x="4451" y="2985"/>
                </a:lnTo>
                <a:lnTo>
                  <a:pt x="4473" y="2975"/>
                </a:lnTo>
                <a:lnTo>
                  <a:pt x="4495" y="2964"/>
                </a:lnTo>
                <a:lnTo>
                  <a:pt x="4515" y="2951"/>
                </a:lnTo>
                <a:lnTo>
                  <a:pt x="4536" y="2939"/>
                </a:lnTo>
                <a:lnTo>
                  <a:pt x="4555" y="2926"/>
                </a:lnTo>
                <a:lnTo>
                  <a:pt x="4574" y="2911"/>
                </a:lnTo>
                <a:lnTo>
                  <a:pt x="4592" y="2896"/>
                </a:lnTo>
                <a:lnTo>
                  <a:pt x="4609" y="2881"/>
                </a:lnTo>
                <a:lnTo>
                  <a:pt x="4627" y="2864"/>
                </a:lnTo>
                <a:lnTo>
                  <a:pt x="4642" y="2848"/>
                </a:lnTo>
                <a:lnTo>
                  <a:pt x="4659" y="2831"/>
                </a:lnTo>
                <a:lnTo>
                  <a:pt x="4673" y="2812"/>
                </a:lnTo>
                <a:lnTo>
                  <a:pt x="4688" y="2794"/>
                </a:lnTo>
                <a:lnTo>
                  <a:pt x="4702" y="2775"/>
                </a:lnTo>
                <a:lnTo>
                  <a:pt x="4715" y="2756"/>
                </a:lnTo>
                <a:lnTo>
                  <a:pt x="4727" y="2737"/>
                </a:lnTo>
                <a:lnTo>
                  <a:pt x="4738" y="2717"/>
                </a:lnTo>
                <a:lnTo>
                  <a:pt x="4750" y="2698"/>
                </a:lnTo>
                <a:lnTo>
                  <a:pt x="4760" y="2677"/>
                </a:lnTo>
                <a:lnTo>
                  <a:pt x="4770" y="2657"/>
                </a:lnTo>
                <a:lnTo>
                  <a:pt x="4779" y="2636"/>
                </a:lnTo>
                <a:lnTo>
                  <a:pt x="4787" y="2616"/>
                </a:lnTo>
                <a:lnTo>
                  <a:pt x="4796" y="2595"/>
                </a:lnTo>
                <a:lnTo>
                  <a:pt x="4803" y="2575"/>
                </a:lnTo>
                <a:lnTo>
                  <a:pt x="4809" y="2555"/>
                </a:lnTo>
                <a:lnTo>
                  <a:pt x="4815" y="2534"/>
                </a:lnTo>
                <a:lnTo>
                  <a:pt x="4820" y="2515"/>
                </a:lnTo>
                <a:lnTo>
                  <a:pt x="4820" y="2515"/>
                </a:lnTo>
                <a:lnTo>
                  <a:pt x="4831" y="2521"/>
                </a:lnTo>
                <a:lnTo>
                  <a:pt x="4847" y="2527"/>
                </a:lnTo>
                <a:lnTo>
                  <a:pt x="4864" y="2533"/>
                </a:lnTo>
                <a:lnTo>
                  <a:pt x="4882" y="2538"/>
                </a:lnTo>
                <a:lnTo>
                  <a:pt x="4903" y="2541"/>
                </a:lnTo>
                <a:lnTo>
                  <a:pt x="4913" y="2542"/>
                </a:lnTo>
                <a:lnTo>
                  <a:pt x="4923" y="2543"/>
                </a:lnTo>
                <a:lnTo>
                  <a:pt x="4935" y="2542"/>
                </a:lnTo>
                <a:lnTo>
                  <a:pt x="4945" y="2541"/>
                </a:lnTo>
                <a:lnTo>
                  <a:pt x="4955" y="2539"/>
                </a:lnTo>
                <a:lnTo>
                  <a:pt x="4965" y="2536"/>
                </a:lnTo>
                <a:lnTo>
                  <a:pt x="4965" y="2536"/>
                </a:lnTo>
                <a:lnTo>
                  <a:pt x="4967" y="2508"/>
                </a:lnTo>
                <a:lnTo>
                  <a:pt x="4970" y="2441"/>
                </a:lnTo>
                <a:lnTo>
                  <a:pt x="4972" y="2405"/>
                </a:lnTo>
                <a:lnTo>
                  <a:pt x="4973" y="2371"/>
                </a:lnTo>
                <a:lnTo>
                  <a:pt x="4972" y="2343"/>
                </a:lnTo>
                <a:lnTo>
                  <a:pt x="4972" y="2333"/>
                </a:lnTo>
                <a:lnTo>
                  <a:pt x="4970" y="2327"/>
                </a:lnTo>
                <a:lnTo>
                  <a:pt x="4970" y="2327"/>
                </a:lnTo>
                <a:lnTo>
                  <a:pt x="4955" y="2325"/>
                </a:lnTo>
                <a:lnTo>
                  <a:pt x="4938" y="2322"/>
                </a:lnTo>
                <a:lnTo>
                  <a:pt x="4919" y="2317"/>
                </a:lnTo>
                <a:lnTo>
                  <a:pt x="4911" y="2314"/>
                </a:lnTo>
                <a:lnTo>
                  <a:pt x="4902" y="2311"/>
                </a:lnTo>
                <a:lnTo>
                  <a:pt x="4893" y="2306"/>
                </a:lnTo>
                <a:lnTo>
                  <a:pt x="4885" y="2302"/>
                </a:lnTo>
                <a:lnTo>
                  <a:pt x="4876" y="2296"/>
                </a:lnTo>
                <a:lnTo>
                  <a:pt x="4868" y="2289"/>
                </a:lnTo>
                <a:lnTo>
                  <a:pt x="4861" y="2282"/>
                </a:lnTo>
                <a:lnTo>
                  <a:pt x="4854" y="2273"/>
                </a:lnTo>
                <a:lnTo>
                  <a:pt x="4848" y="2264"/>
                </a:lnTo>
                <a:lnTo>
                  <a:pt x="4842" y="225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86" name="Freeform 37"/>
          <p:cNvSpPr>
            <a:spLocks/>
          </p:cNvSpPr>
          <p:nvPr userDrawn="1"/>
        </p:nvSpPr>
        <p:spPr bwMode="auto">
          <a:xfrm>
            <a:off x="8332788" y="-385340"/>
            <a:ext cx="276225" cy="73025"/>
          </a:xfrm>
          <a:custGeom>
            <a:avLst/>
            <a:gdLst>
              <a:gd name="T0" fmla="*/ 0 w 349"/>
              <a:gd name="T1" fmla="*/ 34 h 91"/>
              <a:gd name="T2" fmla="*/ 0 w 349"/>
              <a:gd name="T3" fmla="*/ 34 h 91"/>
              <a:gd name="T4" fmla="*/ 20 w 349"/>
              <a:gd name="T5" fmla="*/ 49 h 91"/>
              <a:gd name="T6" fmla="*/ 38 w 349"/>
              <a:gd name="T7" fmla="*/ 60 h 91"/>
              <a:gd name="T8" fmla="*/ 38 w 349"/>
              <a:gd name="T9" fmla="*/ 60 h 91"/>
              <a:gd name="T10" fmla="*/ 69 w 349"/>
              <a:gd name="T11" fmla="*/ 71 h 91"/>
              <a:gd name="T12" fmla="*/ 89 w 349"/>
              <a:gd name="T13" fmla="*/ 78 h 91"/>
              <a:gd name="T14" fmla="*/ 111 w 349"/>
              <a:gd name="T15" fmla="*/ 84 h 91"/>
              <a:gd name="T16" fmla="*/ 137 w 349"/>
              <a:gd name="T17" fmla="*/ 87 h 91"/>
              <a:gd name="T18" fmla="*/ 164 w 349"/>
              <a:gd name="T19" fmla="*/ 91 h 91"/>
              <a:gd name="T20" fmla="*/ 194 w 349"/>
              <a:gd name="T21" fmla="*/ 91 h 91"/>
              <a:gd name="T22" fmla="*/ 226 w 349"/>
              <a:gd name="T23" fmla="*/ 89 h 91"/>
              <a:gd name="T24" fmla="*/ 226 w 349"/>
              <a:gd name="T25" fmla="*/ 89 h 91"/>
              <a:gd name="T26" fmla="*/ 256 w 349"/>
              <a:gd name="T27" fmla="*/ 86 h 91"/>
              <a:gd name="T28" fmla="*/ 279 w 349"/>
              <a:gd name="T29" fmla="*/ 80 h 91"/>
              <a:gd name="T30" fmla="*/ 301 w 349"/>
              <a:gd name="T31" fmla="*/ 75 h 91"/>
              <a:gd name="T32" fmla="*/ 318 w 349"/>
              <a:gd name="T33" fmla="*/ 69 h 91"/>
              <a:gd name="T34" fmla="*/ 342 w 349"/>
              <a:gd name="T35" fmla="*/ 56 h 91"/>
              <a:gd name="T36" fmla="*/ 349 w 349"/>
              <a:gd name="T37" fmla="*/ 53 h 91"/>
              <a:gd name="T38" fmla="*/ 349 w 349"/>
              <a:gd name="T39" fmla="*/ 53 h 91"/>
              <a:gd name="T40" fmla="*/ 338 w 349"/>
              <a:gd name="T41" fmla="*/ 49 h 91"/>
              <a:gd name="T42" fmla="*/ 329 w 349"/>
              <a:gd name="T43" fmla="*/ 44 h 91"/>
              <a:gd name="T44" fmla="*/ 314 w 349"/>
              <a:gd name="T45" fmla="*/ 31 h 91"/>
              <a:gd name="T46" fmla="*/ 314 w 349"/>
              <a:gd name="T47" fmla="*/ 31 h 91"/>
              <a:gd name="T48" fmla="*/ 312 w 349"/>
              <a:gd name="T49" fmla="*/ 38 h 91"/>
              <a:gd name="T50" fmla="*/ 312 w 349"/>
              <a:gd name="T51" fmla="*/ 38 h 91"/>
              <a:gd name="T52" fmla="*/ 311 w 349"/>
              <a:gd name="T53" fmla="*/ 51 h 91"/>
              <a:gd name="T54" fmla="*/ 311 w 349"/>
              <a:gd name="T55" fmla="*/ 51 h 91"/>
              <a:gd name="T56" fmla="*/ 303 w 349"/>
              <a:gd name="T57" fmla="*/ 49 h 91"/>
              <a:gd name="T58" fmla="*/ 303 w 349"/>
              <a:gd name="T59" fmla="*/ 49 h 91"/>
              <a:gd name="T60" fmla="*/ 298 w 349"/>
              <a:gd name="T61" fmla="*/ 45 h 91"/>
              <a:gd name="T62" fmla="*/ 292 w 349"/>
              <a:gd name="T63" fmla="*/ 40 h 91"/>
              <a:gd name="T64" fmla="*/ 289 w 349"/>
              <a:gd name="T65" fmla="*/ 33 h 91"/>
              <a:gd name="T66" fmla="*/ 287 w 349"/>
              <a:gd name="T67" fmla="*/ 23 h 91"/>
              <a:gd name="T68" fmla="*/ 287 w 349"/>
              <a:gd name="T69" fmla="*/ 23 h 91"/>
              <a:gd name="T70" fmla="*/ 287 w 349"/>
              <a:gd name="T71" fmla="*/ 22 h 91"/>
              <a:gd name="T72" fmla="*/ 287 w 349"/>
              <a:gd name="T73" fmla="*/ 22 h 91"/>
              <a:gd name="T74" fmla="*/ 272 w 349"/>
              <a:gd name="T75" fmla="*/ 27 h 91"/>
              <a:gd name="T76" fmla="*/ 252 w 349"/>
              <a:gd name="T77" fmla="*/ 33 h 91"/>
              <a:gd name="T78" fmla="*/ 228 w 349"/>
              <a:gd name="T79" fmla="*/ 38 h 91"/>
              <a:gd name="T80" fmla="*/ 205 w 349"/>
              <a:gd name="T81" fmla="*/ 40 h 91"/>
              <a:gd name="T82" fmla="*/ 205 w 349"/>
              <a:gd name="T83" fmla="*/ 40 h 91"/>
              <a:gd name="T84" fmla="*/ 161 w 349"/>
              <a:gd name="T85" fmla="*/ 38 h 91"/>
              <a:gd name="T86" fmla="*/ 139 w 349"/>
              <a:gd name="T87" fmla="*/ 36 h 91"/>
              <a:gd name="T88" fmla="*/ 117 w 349"/>
              <a:gd name="T89" fmla="*/ 33 h 91"/>
              <a:gd name="T90" fmla="*/ 95 w 349"/>
              <a:gd name="T91" fmla="*/ 29 h 91"/>
              <a:gd name="T92" fmla="*/ 73 w 349"/>
              <a:gd name="T93" fmla="*/ 22 h 91"/>
              <a:gd name="T94" fmla="*/ 51 w 349"/>
              <a:gd name="T95" fmla="*/ 14 h 91"/>
              <a:gd name="T96" fmla="*/ 31 w 349"/>
              <a:gd name="T97" fmla="*/ 7 h 91"/>
              <a:gd name="T98" fmla="*/ 31 w 349"/>
              <a:gd name="T99" fmla="*/ 7 h 91"/>
              <a:gd name="T100" fmla="*/ 15 w 349"/>
              <a:gd name="T101" fmla="*/ 0 h 91"/>
              <a:gd name="T102" fmla="*/ 15 w 349"/>
              <a:gd name="T103" fmla="*/ 0 h 91"/>
              <a:gd name="T104" fmla="*/ 15 w 349"/>
              <a:gd name="T105" fmla="*/ 1 h 91"/>
              <a:gd name="T106" fmla="*/ 15 w 349"/>
              <a:gd name="T107" fmla="*/ 5 h 91"/>
              <a:gd name="T108" fmla="*/ 18 w 349"/>
              <a:gd name="T109" fmla="*/ 14 h 91"/>
              <a:gd name="T110" fmla="*/ 25 w 349"/>
              <a:gd name="T111" fmla="*/ 25 h 91"/>
              <a:gd name="T112" fmla="*/ 25 w 349"/>
              <a:gd name="T113" fmla="*/ 25 h 91"/>
              <a:gd name="T114" fmla="*/ 16 w 349"/>
              <a:gd name="T115" fmla="*/ 23 h 91"/>
              <a:gd name="T116" fmla="*/ 7 w 349"/>
              <a:gd name="T117" fmla="*/ 27 h 91"/>
              <a:gd name="T118" fmla="*/ 7 w 349"/>
              <a:gd name="T119" fmla="*/ 27 h 91"/>
              <a:gd name="T120" fmla="*/ 2 w 349"/>
              <a:gd name="T121" fmla="*/ 31 h 91"/>
              <a:gd name="T122" fmla="*/ 0 w 349"/>
              <a:gd name="T123" fmla="*/ 3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9" h="91">
                <a:moveTo>
                  <a:pt x="0" y="34"/>
                </a:moveTo>
                <a:lnTo>
                  <a:pt x="0" y="34"/>
                </a:lnTo>
                <a:lnTo>
                  <a:pt x="20" y="49"/>
                </a:lnTo>
                <a:lnTo>
                  <a:pt x="38" y="60"/>
                </a:lnTo>
                <a:lnTo>
                  <a:pt x="38" y="60"/>
                </a:lnTo>
                <a:lnTo>
                  <a:pt x="69" y="71"/>
                </a:lnTo>
                <a:lnTo>
                  <a:pt x="89" y="78"/>
                </a:lnTo>
                <a:lnTo>
                  <a:pt x="111" y="84"/>
                </a:lnTo>
                <a:lnTo>
                  <a:pt x="137" y="87"/>
                </a:lnTo>
                <a:lnTo>
                  <a:pt x="164" y="91"/>
                </a:lnTo>
                <a:lnTo>
                  <a:pt x="194" y="91"/>
                </a:lnTo>
                <a:lnTo>
                  <a:pt x="226" y="89"/>
                </a:lnTo>
                <a:lnTo>
                  <a:pt x="226" y="89"/>
                </a:lnTo>
                <a:lnTo>
                  <a:pt x="256" y="86"/>
                </a:lnTo>
                <a:lnTo>
                  <a:pt x="279" y="80"/>
                </a:lnTo>
                <a:lnTo>
                  <a:pt x="301" y="75"/>
                </a:lnTo>
                <a:lnTo>
                  <a:pt x="318" y="69"/>
                </a:lnTo>
                <a:lnTo>
                  <a:pt x="342" y="56"/>
                </a:lnTo>
                <a:lnTo>
                  <a:pt x="349" y="53"/>
                </a:lnTo>
                <a:lnTo>
                  <a:pt x="349" y="53"/>
                </a:lnTo>
                <a:lnTo>
                  <a:pt x="338" y="49"/>
                </a:lnTo>
                <a:lnTo>
                  <a:pt x="329" y="44"/>
                </a:lnTo>
                <a:lnTo>
                  <a:pt x="314" y="31"/>
                </a:lnTo>
                <a:lnTo>
                  <a:pt x="314" y="31"/>
                </a:lnTo>
                <a:lnTo>
                  <a:pt x="312" y="38"/>
                </a:lnTo>
                <a:lnTo>
                  <a:pt x="312" y="38"/>
                </a:lnTo>
                <a:lnTo>
                  <a:pt x="311" y="51"/>
                </a:lnTo>
                <a:lnTo>
                  <a:pt x="311" y="51"/>
                </a:lnTo>
                <a:lnTo>
                  <a:pt x="303" y="49"/>
                </a:lnTo>
                <a:lnTo>
                  <a:pt x="303" y="49"/>
                </a:lnTo>
                <a:lnTo>
                  <a:pt x="298" y="45"/>
                </a:lnTo>
                <a:lnTo>
                  <a:pt x="292" y="40"/>
                </a:lnTo>
                <a:lnTo>
                  <a:pt x="289" y="33"/>
                </a:lnTo>
                <a:lnTo>
                  <a:pt x="287" y="23"/>
                </a:lnTo>
                <a:lnTo>
                  <a:pt x="287" y="23"/>
                </a:lnTo>
                <a:lnTo>
                  <a:pt x="287" y="22"/>
                </a:lnTo>
                <a:lnTo>
                  <a:pt x="287" y="22"/>
                </a:lnTo>
                <a:lnTo>
                  <a:pt x="272" y="27"/>
                </a:lnTo>
                <a:lnTo>
                  <a:pt x="252" y="33"/>
                </a:lnTo>
                <a:lnTo>
                  <a:pt x="228" y="38"/>
                </a:lnTo>
                <a:lnTo>
                  <a:pt x="205" y="40"/>
                </a:lnTo>
                <a:lnTo>
                  <a:pt x="205" y="40"/>
                </a:lnTo>
                <a:lnTo>
                  <a:pt x="161" y="38"/>
                </a:lnTo>
                <a:lnTo>
                  <a:pt x="139" y="36"/>
                </a:lnTo>
                <a:lnTo>
                  <a:pt x="117" y="33"/>
                </a:lnTo>
                <a:lnTo>
                  <a:pt x="95" y="29"/>
                </a:lnTo>
                <a:lnTo>
                  <a:pt x="73" y="22"/>
                </a:lnTo>
                <a:lnTo>
                  <a:pt x="51" y="14"/>
                </a:lnTo>
                <a:lnTo>
                  <a:pt x="31" y="7"/>
                </a:lnTo>
                <a:lnTo>
                  <a:pt x="31" y="7"/>
                </a:lnTo>
                <a:lnTo>
                  <a:pt x="15" y="0"/>
                </a:lnTo>
                <a:lnTo>
                  <a:pt x="15" y="0"/>
                </a:lnTo>
                <a:lnTo>
                  <a:pt x="15" y="1"/>
                </a:lnTo>
                <a:lnTo>
                  <a:pt x="15" y="5"/>
                </a:lnTo>
                <a:lnTo>
                  <a:pt x="18" y="14"/>
                </a:lnTo>
                <a:lnTo>
                  <a:pt x="25" y="25"/>
                </a:lnTo>
                <a:lnTo>
                  <a:pt x="25" y="25"/>
                </a:lnTo>
                <a:lnTo>
                  <a:pt x="16" y="23"/>
                </a:lnTo>
                <a:lnTo>
                  <a:pt x="7" y="27"/>
                </a:lnTo>
                <a:lnTo>
                  <a:pt x="7" y="27"/>
                </a:lnTo>
                <a:lnTo>
                  <a:pt x="2" y="31"/>
                </a:lnTo>
                <a:lnTo>
                  <a:pt x="0" y="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87" name="Freeform 38"/>
          <p:cNvSpPr>
            <a:spLocks/>
          </p:cNvSpPr>
          <p:nvPr userDrawn="1"/>
        </p:nvSpPr>
        <p:spPr bwMode="auto">
          <a:xfrm>
            <a:off x="8270875" y="-618703"/>
            <a:ext cx="282575" cy="201613"/>
          </a:xfrm>
          <a:custGeom>
            <a:avLst/>
            <a:gdLst>
              <a:gd name="T0" fmla="*/ 326 w 357"/>
              <a:gd name="T1" fmla="*/ 20 h 253"/>
              <a:gd name="T2" fmla="*/ 320 w 357"/>
              <a:gd name="T3" fmla="*/ 3 h 253"/>
              <a:gd name="T4" fmla="*/ 311 w 357"/>
              <a:gd name="T5" fmla="*/ 0 h 253"/>
              <a:gd name="T6" fmla="*/ 227 w 357"/>
              <a:gd name="T7" fmla="*/ 40 h 253"/>
              <a:gd name="T8" fmla="*/ 207 w 357"/>
              <a:gd name="T9" fmla="*/ 53 h 253"/>
              <a:gd name="T10" fmla="*/ 176 w 357"/>
              <a:gd name="T11" fmla="*/ 53 h 253"/>
              <a:gd name="T12" fmla="*/ 181 w 357"/>
              <a:gd name="T13" fmla="*/ 71 h 253"/>
              <a:gd name="T14" fmla="*/ 172 w 357"/>
              <a:gd name="T15" fmla="*/ 78 h 253"/>
              <a:gd name="T16" fmla="*/ 181 w 357"/>
              <a:gd name="T17" fmla="*/ 93 h 253"/>
              <a:gd name="T18" fmla="*/ 198 w 357"/>
              <a:gd name="T19" fmla="*/ 91 h 253"/>
              <a:gd name="T20" fmla="*/ 189 w 357"/>
              <a:gd name="T21" fmla="*/ 115 h 253"/>
              <a:gd name="T22" fmla="*/ 147 w 357"/>
              <a:gd name="T23" fmla="*/ 146 h 253"/>
              <a:gd name="T24" fmla="*/ 101 w 357"/>
              <a:gd name="T25" fmla="*/ 155 h 253"/>
              <a:gd name="T26" fmla="*/ 79 w 357"/>
              <a:gd name="T27" fmla="*/ 137 h 253"/>
              <a:gd name="T28" fmla="*/ 68 w 357"/>
              <a:gd name="T29" fmla="*/ 126 h 253"/>
              <a:gd name="T30" fmla="*/ 50 w 357"/>
              <a:gd name="T31" fmla="*/ 126 h 253"/>
              <a:gd name="T32" fmla="*/ 28 w 357"/>
              <a:gd name="T33" fmla="*/ 137 h 253"/>
              <a:gd name="T34" fmla="*/ 48 w 357"/>
              <a:gd name="T35" fmla="*/ 140 h 253"/>
              <a:gd name="T36" fmla="*/ 44 w 357"/>
              <a:gd name="T37" fmla="*/ 149 h 253"/>
              <a:gd name="T38" fmla="*/ 75 w 357"/>
              <a:gd name="T39" fmla="*/ 169 h 253"/>
              <a:gd name="T40" fmla="*/ 75 w 357"/>
              <a:gd name="T41" fmla="*/ 171 h 253"/>
              <a:gd name="T42" fmla="*/ 39 w 357"/>
              <a:gd name="T43" fmla="*/ 160 h 253"/>
              <a:gd name="T44" fmla="*/ 28 w 357"/>
              <a:gd name="T45" fmla="*/ 164 h 253"/>
              <a:gd name="T46" fmla="*/ 8 w 357"/>
              <a:gd name="T47" fmla="*/ 171 h 253"/>
              <a:gd name="T48" fmla="*/ 2 w 357"/>
              <a:gd name="T49" fmla="*/ 193 h 253"/>
              <a:gd name="T50" fmla="*/ 17 w 357"/>
              <a:gd name="T51" fmla="*/ 180 h 253"/>
              <a:gd name="T52" fmla="*/ 22 w 357"/>
              <a:gd name="T53" fmla="*/ 188 h 253"/>
              <a:gd name="T54" fmla="*/ 26 w 357"/>
              <a:gd name="T55" fmla="*/ 197 h 253"/>
              <a:gd name="T56" fmla="*/ 66 w 357"/>
              <a:gd name="T57" fmla="*/ 195 h 253"/>
              <a:gd name="T58" fmla="*/ 75 w 357"/>
              <a:gd name="T59" fmla="*/ 197 h 253"/>
              <a:gd name="T60" fmla="*/ 39 w 357"/>
              <a:gd name="T61" fmla="*/ 206 h 253"/>
              <a:gd name="T62" fmla="*/ 37 w 357"/>
              <a:gd name="T63" fmla="*/ 213 h 253"/>
              <a:gd name="T64" fmla="*/ 28 w 357"/>
              <a:gd name="T65" fmla="*/ 233 h 253"/>
              <a:gd name="T66" fmla="*/ 35 w 357"/>
              <a:gd name="T67" fmla="*/ 248 h 253"/>
              <a:gd name="T68" fmla="*/ 41 w 357"/>
              <a:gd name="T69" fmla="*/ 244 h 253"/>
              <a:gd name="T70" fmla="*/ 42 w 357"/>
              <a:gd name="T71" fmla="*/ 235 h 253"/>
              <a:gd name="T72" fmla="*/ 55 w 357"/>
              <a:gd name="T73" fmla="*/ 243 h 253"/>
              <a:gd name="T74" fmla="*/ 72 w 357"/>
              <a:gd name="T75" fmla="*/ 232 h 253"/>
              <a:gd name="T76" fmla="*/ 94 w 357"/>
              <a:gd name="T77" fmla="*/ 213 h 253"/>
              <a:gd name="T78" fmla="*/ 108 w 357"/>
              <a:gd name="T79" fmla="*/ 211 h 253"/>
              <a:gd name="T80" fmla="*/ 110 w 357"/>
              <a:gd name="T81" fmla="*/ 222 h 253"/>
              <a:gd name="T82" fmla="*/ 115 w 357"/>
              <a:gd name="T83" fmla="*/ 233 h 253"/>
              <a:gd name="T84" fmla="*/ 114 w 357"/>
              <a:gd name="T85" fmla="*/ 243 h 253"/>
              <a:gd name="T86" fmla="*/ 136 w 357"/>
              <a:gd name="T87" fmla="*/ 224 h 253"/>
              <a:gd name="T88" fmla="*/ 141 w 357"/>
              <a:gd name="T89" fmla="*/ 219 h 253"/>
              <a:gd name="T90" fmla="*/ 145 w 357"/>
              <a:gd name="T91" fmla="*/ 211 h 253"/>
              <a:gd name="T92" fmla="*/ 147 w 357"/>
              <a:gd name="T93" fmla="*/ 200 h 253"/>
              <a:gd name="T94" fmla="*/ 167 w 357"/>
              <a:gd name="T95" fmla="*/ 193 h 253"/>
              <a:gd name="T96" fmla="*/ 170 w 357"/>
              <a:gd name="T97" fmla="*/ 180 h 253"/>
              <a:gd name="T98" fmla="*/ 181 w 357"/>
              <a:gd name="T99" fmla="*/ 179 h 253"/>
              <a:gd name="T100" fmla="*/ 199 w 357"/>
              <a:gd name="T101" fmla="*/ 197 h 253"/>
              <a:gd name="T102" fmla="*/ 231 w 357"/>
              <a:gd name="T103" fmla="*/ 182 h 253"/>
              <a:gd name="T104" fmla="*/ 227 w 357"/>
              <a:gd name="T105" fmla="*/ 169 h 253"/>
              <a:gd name="T106" fmla="*/ 223 w 357"/>
              <a:gd name="T107" fmla="*/ 155 h 253"/>
              <a:gd name="T108" fmla="*/ 245 w 357"/>
              <a:gd name="T109" fmla="*/ 173 h 253"/>
              <a:gd name="T110" fmla="*/ 276 w 357"/>
              <a:gd name="T111" fmla="*/ 155 h 253"/>
              <a:gd name="T112" fmla="*/ 273 w 357"/>
              <a:gd name="T113" fmla="*/ 149 h 253"/>
              <a:gd name="T114" fmla="*/ 263 w 357"/>
              <a:gd name="T115" fmla="*/ 131 h 253"/>
              <a:gd name="T116" fmla="*/ 262 w 357"/>
              <a:gd name="T117" fmla="*/ 115 h 253"/>
              <a:gd name="T118" fmla="*/ 262 w 357"/>
              <a:gd name="T119" fmla="*/ 98 h 253"/>
              <a:gd name="T120" fmla="*/ 353 w 357"/>
              <a:gd name="T121" fmla="*/ 45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7" h="253">
                <a:moveTo>
                  <a:pt x="344" y="31"/>
                </a:moveTo>
                <a:lnTo>
                  <a:pt x="344" y="31"/>
                </a:lnTo>
                <a:lnTo>
                  <a:pt x="335" y="23"/>
                </a:lnTo>
                <a:lnTo>
                  <a:pt x="326" y="20"/>
                </a:lnTo>
                <a:lnTo>
                  <a:pt x="309" y="12"/>
                </a:lnTo>
                <a:lnTo>
                  <a:pt x="309" y="12"/>
                </a:lnTo>
                <a:lnTo>
                  <a:pt x="316" y="7"/>
                </a:lnTo>
                <a:lnTo>
                  <a:pt x="320" y="3"/>
                </a:lnTo>
                <a:lnTo>
                  <a:pt x="320" y="1"/>
                </a:lnTo>
                <a:lnTo>
                  <a:pt x="320" y="1"/>
                </a:lnTo>
                <a:lnTo>
                  <a:pt x="315" y="0"/>
                </a:lnTo>
                <a:lnTo>
                  <a:pt x="311" y="0"/>
                </a:lnTo>
                <a:lnTo>
                  <a:pt x="311" y="0"/>
                </a:lnTo>
                <a:lnTo>
                  <a:pt x="280" y="12"/>
                </a:lnTo>
                <a:lnTo>
                  <a:pt x="252" y="25"/>
                </a:lnTo>
                <a:lnTo>
                  <a:pt x="227" y="40"/>
                </a:lnTo>
                <a:lnTo>
                  <a:pt x="209" y="53"/>
                </a:lnTo>
                <a:lnTo>
                  <a:pt x="209" y="53"/>
                </a:lnTo>
                <a:lnTo>
                  <a:pt x="207" y="53"/>
                </a:lnTo>
                <a:lnTo>
                  <a:pt x="207" y="53"/>
                </a:lnTo>
                <a:lnTo>
                  <a:pt x="201" y="56"/>
                </a:lnTo>
                <a:lnTo>
                  <a:pt x="196" y="56"/>
                </a:lnTo>
                <a:lnTo>
                  <a:pt x="185" y="54"/>
                </a:lnTo>
                <a:lnTo>
                  <a:pt x="176" y="53"/>
                </a:lnTo>
                <a:lnTo>
                  <a:pt x="174" y="51"/>
                </a:lnTo>
                <a:lnTo>
                  <a:pt x="170" y="67"/>
                </a:lnTo>
                <a:lnTo>
                  <a:pt x="170" y="67"/>
                </a:lnTo>
                <a:lnTo>
                  <a:pt x="181" y="71"/>
                </a:lnTo>
                <a:lnTo>
                  <a:pt x="189" y="74"/>
                </a:lnTo>
                <a:lnTo>
                  <a:pt x="189" y="74"/>
                </a:lnTo>
                <a:lnTo>
                  <a:pt x="178" y="76"/>
                </a:lnTo>
                <a:lnTo>
                  <a:pt x="172" y="78"/>
                </a:lnTo>
                <a:lnTo>
                  <a:pt x="168" y="82"/>
                </a:lnTo>
                <a:lnTo>
                  <a:pt x="174" y="96"/>
                </a:lnTo>
                <a:lnTo>
                  <a:pt x="174" y="96"/>
                </a:lnTo>
                <a:lnTo>
                  <a:pt x="181" y="93"/>
                </a:lnTo>
                <a:lnTo>
                  <a:pt x="189" y="91"/>
                </a:lnTo>
                <a:lnTo>
                  <a:pt x="198" y="89"/>
                </a:lnTo>
                <a:lnTo>
                  <a:pt x="198" y="89"/>
                </a:lnTo>
                <a:lnTo>
                  <a:pt x="198" y="91"/>
                </a:lnTo>
                <a:lnTo>
                  <a:pt x="198" y="91"/>
                </a:lnTo>
                <a:lnTo>
                  <a:pt x="198" y="98"/>
                </a:lnTo>
                <a:lnTo>
                  <a:pt x="194" y="105"/>
                </a:lnTo>
                <a:lnTo>
                  <a:pt x="189" y="115"/>
                </a:lnTo>
                <a:lnTo>
                  <a:pt x="181" y="122"/>
                </a:lnTo>
                <a:lnTo>
                  <a:pt x="165" y="137"/>
                </a:lnTo>
                <a:lnTo>
                  <a:pt x="156" y="142"/>
                </a:lnTo>
                <a:lnTo>
                  <a:pt x="147" y="146"/>
                </a:lnTo>
                <a:lnTo>
                  <a:pt x="147" y="146"/>
                </a:lnTo>
                <a:lnTo>
                  <a:pt x="128" y="151"/>
                </a:lnTo>
                <a:lnTo>
                  <a:pt x="112" y="155"/>
                </a:lnTo>
                <a:lnTo>
                  <a:pt x="101" y="155"/>
                </a:lnTo>
                <a:lnTo>
                  <a:pt x="95" y="153"/>
                </a:lnTo>
                <a:lnTo>
                  <a:pt x="95" y="153"/>
                </a:lnTo>
                <a:lnTo>
                  <a:pt x="84" y="144"/>
                </a:lnTo>
                <a:lnTo>
                  <a:pt x="79" y="137"/>
                </a:lnTo>
                <a:lnTo>
                  <a:pt x="73" y="129"/>
                </a:lnTo>
                <a:lnTo>
                  <a:pt x="72" y="126"/>
                </a:lnTo>
                <a:lnTo>
                  <a:pt x="68" y="126"/>
                </a:lnTo>
                <a:lnTo>
                  <a:pt x="68" y="126"/>
                </a:lnTo>
                <a:lnTo>
                  <a:pt x="64" y="126"/>
                </a:lnTo>
                <a:lnTo>
                  <a:pt x="61" y="127"/>
                </a:lnTo>
                <a:lnTo>
                  <a:pt x="61" y="127"/>
                </a:lnTo>
                <a:lnTo>
                  <a:pt x="50" y="126"/>
                </a:lnTo>
                <a:lnTo>
                  <a:pt x="41" y="127"/>
                </a:lnTo>
                <a:lnTo>
                  <a:pt x="33" y="131"/>
                </a:lnTo>
                <a:lnTo>
                  <a:pt x="30" y="133"/>
                </a:lnTo>
                <a:lnTo>
                  <a:pt x="28" y="137"/>
                </a:lnTo>
                <a:lnTo>
                  <a:pt x="28" y="137"/>
                </a:lnTo>
                <a:lnTo>
                  <a:pt x="41" y="137"/>
                </a:lnTo>
                <a:lnTo>
                  <a:pt x="48" y="138"/>
                </a:lnTo>
                <a:lnTo>
                  <a:pt x="48" y="140"/>
                </a:lnTo>
                <a:lnTo>
                  <a:pt x="46" y="142"/>
                </a:lnTo>
                <a:lnTo>
                  <a:pt x="46" y="142"/>
                </a:lnTo>
                <a:lnTo>
                  <a:pt x="42" y="146"/>
                </a:lnTo>
                <a:lnTo>
                  <a:pt x="44" y="149"/>
                </a:lnTo>
                <a:lnTo>
                  <a:pt x="46" y="153"/>
                </a:lnTo>
                <a:lnTo>
                  <a:pt x="52" y="157"/>
                </a:lnTo>
                <a:lnTo>
                  <a:pt x="75" y="169"/>
                </a:lnTo>
                <a:lnTo>
                  <a:pt x="75" y="169"/>
                </a:lnTo>
                <a:lnTo>
                  <a:pt x="75" y="169"/>
                </a:lnTo>
                <a:lnTo>
                  <a:pt x="75" y="171"/>
                </a:lnTo>
                <a:lnTo>
                  <a:pt x="75" y="171"/>
                </a:lnTo>
                <a:lnTo>
                  <a:pt x="75" y="171"/>
                </a:lnTo>
                <a:lnTo>
                  <a:pt x="68" y="171"/>
                </a:lnTo>
                <a:lnTo>
                  <a:pt x="59" y="168"/>
                </a:lnTo>
                <a:lnTo>
                  <a:pt x="39" y="160"/>
                </a:lnTo>
                <a:lnTo>
                  <a:pt x="39" y="160"/>
                </a:lnTo>
                <a:lnTo>
                  <a:pt x="35" y="160"/>
                </a:lnTo>
                <a:lnTo>
                  <a:pt x="31" y="160"/>
                </a:lnTo>
                <a:lnTo>
                  <a:pt x="28" y="164"/>
                </a:lnTo>
                <a:lnTo>
                  <a:pt x="28" y="164"/>
                </a:lnTo>
                <a:lnTo>
                  <a:pt x="24" y="164"/>
                </a:lnTo>
                <a:lnTo>
                  <a:pt x="19" y="164"/>
                </a:lnTo>
                <a:lnTo>
                  <a:pt x="11" y="168"/>
                </a:lnTo>
                <a:lnTo>
                  <a:pt x="8" y="171"/>
                </a:lnTo>
                <a:lnTo>
                  <a:pt x="2" y="175"/>
                </a:lnTo>
                <a:lnTo>
                  <a:pt x="0" y="180"/>
                </a:lnTo>
                <a:lnTo>
                  <a:pt x="0" y="186"/>
                </a:lnTo>
                <a:lnTo>
                  <a:pt x="2" y="193"/>
                </a:lnTo>
                <a:lnTo>
                  <a:pt x="2" y="193"/>
                </a:lnTo>
                <a:lnTo>
                  <a:pt x="8" y="186"/>
                </a:lnTo>
                <a:lnTo>
                  <a:pt x="13" y="180"/>
                </a:lnTo>
                <a:lnTo>
                  <a:pt x="17" y="180"/>
                </a:lnTo>
                <a:lnTo>
                  <a:pt x="20" y="180"/>
                </a:lnTo>
                <a:lnTo>
                  <a:pt x="20" y="180"/>
                </a:lnTo>
                <a:lnTo>
                  <a:pt x="22" y="182"/>
                </a:lnTo>
                <a:lnTo>
                  <a:pt x="22" y="188"/>
                </a:lnTo>
                <a:lnTo>
                  <a:pt x="22" y="191"/>
                </a:lnTo>
                <a:lnTo>
                  <a:pt x="24" y="195"/>
                </a:lnTo>
                <a:lnTo>
                  <a:pt x="26" y="197"/>
                </a:lnTo>
                <a:lnTo>
                  <a:pt x="26" y="197"/>
                </a:lnTo>
                <a:lnTo>
                  <a:pt x="30" y="199"/>
                </a:lnTo>
                <a:lnTo>
                  <a:pt x="37" y="199"/>
                </a:lnTo>
                <a:lnTo>
                  <a:pt x="52" y="197"/>
                </a:lnTo>
                <a:lnTo>
                  <a:pt x="66" y="195"/>
                </a:lnTo>
                <a:lnTo>
                  <a:pt x="73" y="195"/>
                </a:lnTo>
                <a:lnTo>
                  <a:pt x="75" y="195"/>
                </a:lnTo>
                <a:lnTo>
                  <a:pt x="75" y="195"/>
                </a:lnTo>
                <a:lnTo>
                  <a:pt x="75" y="197"/>
                </a:lnTo>
                <a:lnTo>
                  <a:pt x="72" y="199"/>
                </a:lnTo>
                <a:lnTo>
                  <a:pt x="59" y="200"/>
                </a:lnTo>
                <a:lnTo>
                  <a:pt x="44" y="202"/>
                </a:lnTo>
                <a:lnTo>
                  <a:pt x="39" y="206"/>
                </a:lnTo>
                <a:lnTo>
                  <a:pt x="37" y="208"/>
                </a:lnTo>
                <a:lnTo>
                  <a:pt x="37" y="208"/>
                </a:lnTo>
                <a:lnTo>
                  <a:pt x="37" y="213"/>
                </a:lnTo>
                <a:lnTo>
                  <a:pt x="37" y="213"/>
                </a:lnTo>
                <a:lnTo>
                  <a:pt x="37" y="215"/>
                </a:lnTo>
                <a:lnTo>
                  <a:pt x="33" y="219"/>
                </a:lnTo>
                <a:lnTo>
                  <a:pt x="30" y="226"/>
                </a:lnTo>
                <a:lnTo>
                  <a:pt x="28" y="233"/>
                </a:lnTo>
                <a:lnTo>
                  <a:pt x="28" y="233"/>
                </a:lnTo>
                <a:lnTo>
                  <a:pt x="28" y="237"/>
                </a:lnTo>
                <a:lnTo>
                  <a:pt x="30" y="243"/>
                </a:lnTo>
                <a:lnTo>
                  <a:pt x="35" y="248"/>
                </a:lnTo>
                <a:lnTo>
                  <a:pt x="41" y="253"/>
                </a:lnTo>
                <a:lnTo>
                  <a:pt x="41" y="253"/>
                </a:lnTo>
                <a:lnTo>
                  <a:pt x="42" y="252"/>
                </a:lnTo>
                <a:lnTo>
                  <a:pt x="41" y="244"/>
                </a:lnTo>
                <a:lnTo>
                  <a:pt x="41" y="239"/>
                </a:lnTo>
                <a:lnTo>
                  <a:pt x="42" y="237"/>
                </a:lnTo>
                <a:lnTo>
                  <a:pt x="42" y="235"/>
                </a:lnTo>
                <a:lnTo>
                  <a:pt x="42" y="235"/>
                </a:lnTo>
                <a:lnTo>
                  <a:pt x="46" y="235"/>
                </a:lnTo>
                <a:lnTo>
                  <a:pt x="48" y="237"/>
                </a:lnTo>
                <a:lnTo>
                  <a:pt x="52" y="241"/>
                </a:lnTo>
                <a:lnTo>
                  <a:pt x="55" y="243"/>
                </a:lnTo>
                <a:lnTo>
                  <a:pt x="55" y="243"/>
                </a:lnTo>
                <a:lnTo>
                  <a:pt x="59" y="241"/>
                </a:lnTo>
                <a:lnTo>
                  <a:pt x="62" y="239"/>
                </a:lnTo>
                <a:lnTo>
                  <a:pt x="72" y="232"/>
                </a:lnTo>
                <a:lnTo>
                  <a:pt x="81" y="222"/>
                </a:lnTo>
                <a:lnTo>
                  <a:pt x="86" y="217"/>
                </a:lnTo>
                <a:lnTo>
                  <a:pt x="94" y="213"/>
                </a:lnTo>
                <a:lnTo>
                  <a:pt x="94" y="213"/>
                </a:lnTo>
                <a:lnTo>
                  <a:pt x="103" y="210"/>
                </a:lnTo>
                <a:lnTo>
                  <a:pt x="106" y="208"/>
                </a:lnTo>
                <a:lnTo>
                  <a:pt x="108" y="210"/>
                </a:lnTo>
                <a:lnTo>
                  <a:pt x="108" y="211"/>
                </a:lnTo>
                <a:lnTo>
                  <a:pt x="108" y="217"/>
                </a:lnTo>
                <a:lnTo>
                  <a:pt x="108" y="221"/>
                </a:lnTo>
                <a:lnTo>
                  <a:pt x="110" y="222"/>
                </a:lnTo>
                <a:lnTo>
                  <a:pt x="110" y="222"/>
                </a:lnTo>
                <a:lnTo>
                  <a:pt x="115" y="224"/>
                </a:lnTo>
                <a:lnTo>
                  <a:pt x="117" y="226"/>
                </a:lnTo>
                <a:lnTo>
                  <a:pt x="117" y="230"/>
                </a:lnTo>
                <a:lnTo>
                  <a:pt x="115" y="233"/>
                </a:lnTo>
                <a:lnTo>
                  <a:pt x="112" y="239"/>
                </a:lnTo>
                <a:lnTo>
                  <a:pt x="108" y="243"/>
                </a:lnTo>
                <a:lnTo>
                  <a:pt x="108" y="243"/>
                </a:lnTo>
                <a:lnTo>
                  <a:pt x="114" y="243"/>
                </a:lnTo>
                <a:lnTo>
                  <a:pt x="121" y="241"/>
                </a:lnTo>
                <a:lnTo>
                  <a:pt x="128" y="233"/>
                </a:lnTo>
                <a:lnTo>
                  <a:pt x="132" y="230"/>
                </a:lnTo>
                <a:lnTo>
                  <a:pt x="136" y="224"/>
                </a:lnTo>
                <a:lnTo>
                  <a:pt x="136" y="224"/>
                </a:lnTo>
                <a:lnTo>
                  <a:pt x="136" y="221"/>
                </a:lnTo>
                <a:lnTo>
                  <a:pt x="137" y="221"/>
                </a:lnTo>
                <a:lnTo>
                  <a:pt x="141" y="219"/>
                </a:lnTo>
                <a:lnTo>
                  <a:pt x="143" y="217"/>
                </a:lnTo>
                <a:lnTo>
                  <a:pt x="143" y="217"/>
                </a:lnTo>
                <a:lnTo>
                  <a:pt x="145" y="215"/>
                </a:lnTo>
                <a:lnTo>
                  <a:pt x="145" y="211"/>
                </a:lnTo>
                <a:lnTo>
                  <a:pt x="145" y="208"/>
                </a:lnTo>
                <a:lnTo>
                  <a:pt x="145" y="204"/>
                </a:lnTo>
                <a:lnTo>
                  <a:pt x="145" y="204"/>
                </a:lnTo>
                <a:lnTo>
                  <a:pt x="147" y="200"/>
                </a:lnTo>
                <a:lnTo>
                  <a:pt x="150" y="199"/>
                </a:lnTo>
                <a:lnTo>
                  <a:pt x="157" y="197"/>
                </a:lnTo>
                <a:lnTo>
                  <a:pt x="165" y="195"/>
                </a:lnTo>
                <a:lnTo>
                  <a:pt x="167" y="193"/>
                </a:lnTo>
                <a:lnTo>
                  <a:pt x="167" y="191"/>
                </a:lnTo>
                <a:lnTo>
                  <a:pt x="167" y="191"/>
                </a:lnTo>
                <a:lnTo>
                  <a:pt x="167" y="186"/>
                </a:lnTo>
                <a:lnTo>
                  <a:pt x="170" y="180"/>
                </a:lnTo>
                <a:lnTo>
                  <a:pt x="176" y="179"/>
                </a:lnTo>
                <a:lnTo>
                  <a:pt x="179" y="177"/>
                </a:lnTo>
                <a:lnTo>
                  <a:pt x="179" y="177"/>
                </a:lnTo>
                <a:lnTo>
                  <a:pt x="181" y="179"/>
                </a:lnTo>
                <a:lnTo>
                  <a:pt x="183" y="184"/>
                </a:lnTo>
                <a:lnTo>
                  <a:pt x="189" y="190"/>
                </a:lnTo>
                <a:lnTo>
                  <a:pt x="194" y="193"/>
                </a:lnTo>
                <a:lnTo>
                  <a:pt x="199" y="197"/>
                </a:lnTo>
                <a:lnTo>
                  <a:pt x="199" y="197"/>
                </a:lnTo>
                <a:lnTo>
                  <a:pt x="221" y="186"/>
                </a:lnTo>
                <a:lnTo>
                  <a:pt x="221" y="186"/>
                </a:lnTo>
                <a:lnTo>
                  <a:pt x="231" y="182"/>
                </a:lnTo>
                <a:lnTo>
                  <a:pt x="234" y="179"/>
                </a:lnTo>
                <a:lnTo>
                  <a:pt x="234" y="179"/>
                </a:lnTo>
                <a:lnTo>
                  <a:pt x="231" y="173"/>
                </a:lnTo>
                <a:lnTo>
                  <a:pt x="227" y="169"/>
                </a:lnTo>
                <a:lnTo>
                  <a:pt x="225" y="164"/>
                </a:lnTo>
                <a:lnTo>
                  <a:pt x="225" y="164"/>
                </a:lnTo>
                <a:lnTo>
                  <a:pt x="223" y="158"/>
                </a:lnTo>
                <a:lnTo>
                  <a:pt x="223" y="155"/>
                </a:lnTo>
                <a:lnTo>
                  <a:pt x="223" y="155"/>
                </a:lnTo>
                <a:lnTo>
                  <a:pt x="229" y="162"/>
                </a:lnTo>
                <a:lnTo>
                  <a:pt x="236" y="168"/>
                </a:lnTo>
                <a:lnTo>
                  <a:pt x="245" y="173"/>
                </a:lnTo>
                <a:lnTo>
                  <a:pt x="245" y="173"/>
                </a:lnTo>
                <a:lnTo>
                  <a:pt x="271" y="157"/>
                </a:lnTo>
                <a:lnTo>
                  <a:pt x="271" y="157"/>
                </a:lnTo>
                <a:lnTo>
                  <a:pt x="276" y="155"/>
                </a:lnTo>
                <a:lnTo>
                  <a:pt x="276" y="155"/>
                </a:lnTo>
                <a:lnTo>
                  <a:pt x="276" y="155"/>
                </a:lnTo>
                <a:lnTo>
                  <a:pt x="276" y="155"/>
                </a:lnTo>
                <a:lnTo>
                  <a:pt x="273" y="149"/>
                </a:lnTo>
                <a:lnTo>
                  <a:pt x="267" y="144"/>
                </a:lnTo>
                <a:lnTo>
                  <a:pt x="262" y="137"/>
                </a:lnTo>
                <a:lnTo>
                  <a:pt x="262" y="133"/>
                </a:lnTo>
                <a:lnTo>
                  <a:pt x="263" y="131"/>
                </a:lnTo>
                <a:lnTo>
                  <a:pt x="263" y="131"/>
                </a:lnTo>
                <a:lnTo>
                  <a:pt x="265" y="129"/>
                </a:lnTo>
                <a:lnTo>
                  <a:pt x="265" y="126"/>
                </a:lnTo>
                <a:lnTo>
                  <a:pt x="262" y="115"/>
                </a:lnTo>
                <a:lnTo>
                  <a:pt x="258" y="105"/>
                </a:lnTo>
                <a:lnTo>
                  <a:pt x="258" y="100"/>
                </a:lnTo>
                <a:lnTo>
                  <a:pt x="262" y="98"/>
                </a:lnTo>
                <a:lnTo>
                  <a:pt x="262" y="98"/>
                </a:lnTo>
                <a:lnTo>
                  <a:pt x="313" y="73"/>
                </a:lnTo>
                <a:lnTo>
                  <a:pt x="357" y="51"/>
                </a:lnTo>
                <a:lnTo>
                  <a:pt x="357" y="51"/>
                </a:lnTo>
                <a:lnTo>
                  <a:pt x="353" y="45"/>
                </a:lnTo>
                <a:lnTo>
                  <a:pt x="349" y="38"/>
                </a:lnTo>
                <a:lnTo>
                  <a:pt x="344" y="3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88" name="Freeform 39"/>
          <p:cNvSpPr>
            <a:spLocks/>
          </p:cNvSpPr>
          <p:nvPr userDrawn="1"/>
        </p:nvSpPr>
        <p:spPr bwMode="auto">
          <a:xfrm>
            <a:off x="8229600" y="-437728"/>
            <a:ext cx="120650" cy="115888"/>
          </a:xfrm>
          <a:custGeom>
            <a:avLst/>
            <a:gdLst>
              <a:gd name="T0" fmla="*/ 0 w 152"/>
              <a:gd name="T1" fmla="*/ 42 h 144"/>
              <a:gd name="T2" fmla="*/ 2 w 152"/>
              <a:gd name="T3" fmla="*/ 51 h 144"/>
              <a:gd name="T4" fmla="*/ 4 w 152"/>
              <a:gd name="T5" fmla="*/ 57 h 144"/>
              <a:gd name="T6" fmla="*/ 15 w 152"/>
              <a:gd name="T7" fmla="*/ 60 h 144"/>
              <a:gd name="T8" fmla="*/ 18 w 152"/>
              <a:gd name="T9" fmla="*/ 58 h 144"/>
              <a:gd name="T10" fmla="*/ 20 w 152"/>
              <a:gd name="T11" fmla="*/ 51 h 144"/>
              <a:gd name="T12" fmla="*/ 22 w 152"/>
              <a:gd name="T13" fmla="*/ 44 h 144"/>
              <a:gd name="T14" fmla="*/ 24 w 152"/>
              <a:gd name="T15" fmla="*/ 42 h 144"/>
              <a:gd name="T16" fmla="*/ 26 w 152"/>
              <a:gd name="T17" fmla="*/ 42 h 144"/>
              <a:gd name="T18" fmla="*/ 28 w 152"/>
              <a:gd name="T19" fmla="*/ 40 h 144"/>
              <a:gd name="T20" fmla="*/ 68 w 152"/>
              <a:gd name="T21" fmla="*/ 60 h 144"/>
              <a:gd name="T22" fmla="*/ 106 w 152"/>
              <a:gd name="T23" fmla="*/ 86 h 144"/>
              <a:gd name="T24" fmla="*/ 112 w 152"/>
              <a:gd name="T25" fmla="*/ 89 h 144"/>
              <a:gd name="T26" fmla="*/ 106 w 152"/>
              <a:gd name="T27" fmla="*/ 100 h 144"/>
              <a:gd name="T28" fmla="*/ 95 w 152"/>
              <a:gd name="T29" fmla="*/ 128 h 144"/>
              <a:gd name="T30" fmla="*/ 93 w 152"/>
              <a:gd name="T31" fmla="*/ 135 h 144"/>
              <a:gd name="T32" fmla="*/ 97 w 152"/>
              <a:gd name="T33" fmla="*/ 142 h 144"/>
              <a:gd name="T34" fmla="*/ 104 w 152"/>
              <a:gd name="T35" fmla="*/ 144 h 144"/>
              <a:gd name="T36" fmla="*/ 110 w 152"/>
              <a:gd name="T37" fmla="*/ 144 h 144"/>
              <a:gd name="T38" fmla="*/ 117 w 152"/>
              <a:gd name="T39" fmla="*/ 139 h 144"/>
              <a:gd name="T40" fmla="*/ 119 w 152"/>
              <a:gd name="T41" fmla="*/ 135 h 144"/>
              <a:gd name="T42" fmla="*/ 119 w 152"/>
              <a:gd name="T43" fmla="*/ 130 h 144"/>
              <a:gd name="T44" fmla="*/ 112 w 152"/>
              <a:gd name="T45" fmla="*/ 122 h 144"/>
              <a:gd name="T46" fmla="*/ 110 w 152"/>
              <a:gd name="T47" fmla="*/ 122 h 144"/>
              <a:gd name="T48" fmla="*/ 115 w 152"/>
              <a:gd name="T49" fmla="*/ 110 h 144"/>
              <a:gd name="T50" fmla="*/ 123 w 152"/>
              <a:gd name="T51" fmla="*/ 93 h 144"/>
              <a:gd name="T52" fmla="*/ 132 w 152"/>
              <a:gd name="T53" fmla="*/ 86 h 144"/>
              <a:gd name="T54" fmla="*/ 141 w 152"/>
              <a:gd name="T55" fmla="*/ 84 h 144"/>
              <a:gd name="T56" fmla="*/ 139 w 152"/>
              <a:gd name="T57" fmla="*/ 80 h 144"/>
              <a:gd name="T58" fmla="*/ 135 w 152"/>
              <a:gd name="T59" fmla="*/ 69 h 144"/>
              <a:gd name="T60" fmla="*/ 137 w 152"/>
              <a:gd name="T61" fmla="*/ 57 h 144"/>
              <a:gd name="T62" fmla="*/ 141 w 152"/>
              <a:gd name="T63" fmla="*/ 49 h 144"/>
              <a:gd name="T64" fmla="*/ 152 w 152"/>
              <a:gd name="T65" fmla="*/ 18 h 144"/>
              <a:gd name="T66" fmla="*/ 152 w 152"/>
              <a:gd name="T67" fmla="*/ 13 h 144"/>
              <a:gd name="T68" fmla="*/ 146 w 152"/>
              <a:gd name="T69" fmla="*/ 5 h 144"/>
              <a:gd name="T70" fmla="*/ 141 w 152"/>
              <a:gd name="T71" fmla="*/ 4 h 144"/>
              <a:gd name="T72" fmla="*/ 132 w 152"/>
              <a:gd name="T73" fmla="*/ 7 h 144"/>
              <a:gd name="T74" fmla="*/ 128 w 152"/>
              <a:gd name="T75" fmla="*/ 15 h 144"/>
              <a:gd name="T76" fmla="*/ 128 w 152"/>
              <a:gd name="T77" fmla="*/ 20 h 144"/>
              <a:gd name="T78" fmla="*/ 134 w 152"/>
              <a:gd name="T79" fmla="*/ 27 h 144"/>
              <a:gd name="T80" fmla="*/ 137 w 152"/>
              <a:gd name="T81" fmla="*/ 29 h 144"/>
              <a:gd name="T82" fmla="*/ 132 w 152"/>
              <a:gd name="T83" fmla="*/ 46 h 144"/>
              <a:gd name="T84" fmla="*/ 124 w 152"/>
              <a:gd name="T85" fmla="*/ 55 h 144"/>
              <a:gd name="T86" fmla="*/ 117 w 152"/>
              <a:gd name="T87" fmla="*/ 51 h 144"/>
              <a:gd name="T88" fmla="*/ 60 w 152"/>
              <a:gd name="T89" fmla="*/ 24 h 144"/>
              <a:gd name="T90" fmla="*/ 40 w 152"/>
              <a:gd name="T91" fmla="*/ 18 h 144"/>
              <a:gd name="T92" fmla="*/ 42 w 152"/>
              <a:gd name="T93" fmla="*/ 13 h 144"/>
              <a:gd name="T94" fmla="*/ 50 w 152"/>
              <a:gd name="T95" fmla="*/ 0 h 144"/>
              <a:gd name="T96" fmla="*/ 46 w 152"/>
              <a:gd name="T97" fmla="*/ 2 h 144"/>
              <a:gd name="T98" fmla="*/ 39 w 152"/>
              <a:gd name="T99" fmla="*/ 5 h 144"/>
              <a:gd name="T100" fmla="*/ 24 w 152"/>
              <a:gd name="T101" fmla="*/ 11 h 144"/>
              <a:gd name="T102" fmla="*/ 18 w 152"/>
              <a:gd name="T103" fmla="*/ 11 h 144"/>
              <a:gd name="T104" fmla="*/ 15 w 152"/>
              <a:gd name="T105" fmla="*/ 11 h 144"/>
              <a:gd name="T106" fmla="*/ 9 w 152"/>
              <a:gd name="T107" fmla="*/ 22 h 144"/>
              <a:gd name="T108" fmla="*/ 6 w 152"/>
              <a:gd name="T109" fmla="*/ 33 h 144"/>
              <a:gd name="T110" fmla="*/ 2 w 152"/>
              <a:gd name="T111" fmla="*/ 3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2" h="144">
                <a:moveTo>
                  <a:pt x="0" y="42"/>
                </a:moveTo>
                <a:lnTo>
                  <a:pt x="0" y="42"/>
                </a:lnTo>
                <a:lnTo>
                  <a:pt x="0" y="47"/>
                </a:lnTo>
                <a:lnTo>
                  <a:pt x="2" y="51"/>
                </a:lnTo>
                <a:lnTo>
                  <a:pt x="4" y="57"/>
                </a:lnTo>
                <a:lnTo>
                  <a:pt x="4" y="57"/>
                </a:lnTo>
                <a:lnTo>
                  <a:pt x="11" y="58"/>
                </a:lnTo>
                <a:lnTo>
                  <a:pt x="15" y="60"/>
                </a:lnTo>
                <a:lnTo>
                  <a:pt x="18" y="58"/>
                </a:lnTo>
                <a:lnTo>
                  <a:pt x="18" y="58"/>
                </a:lnTo>
                <a:lnTo>
                  <a:pt x="20" y="55"/>
                </a:lnTo>
                <a:lnTo>
                  <a:pt x="20" y="51"/>
                </a:lnTo>
                <a:lnTo>
                  <a:pt x="20" y="47"/>
                </a:lnTo>
                <a:lnTo>
                  <a:pt x="22" y="44"/>
                </a:lnTo>
                <a:lnTo>
                  <a:pt x="22" y="44"/>
                </a:lnTo>
                <a:lnTo>
                  <a:pt x="24" y="42"/>
                </a:lnTo>
                <a:lnTo>
                  <a:pt x="26" y="42"/>
                </a:lnTo>
                <a:lnTo>
                  <a:pt x="26" y="42"/>
                </a:lnTo>
                <a:lnTo>
                  <a:pt x="28" y="40"/>
                </a:lnTo>
                <a:lnTo>
                  <a:pt x="28" y="40"/>
                </a:lnTo>
                <a:lnTo>
                  <a:pt x="48" y="49"/>
                </a:lnTo>
                <a:lnTo>
                  <a:pt x="68" y="60"/>
                </a:lnTo>
                <a:lnTo>
                  <a:pt x="106" y="86"/>
                </a:lnTo>
                <a:lnTo>
                  <a:pt x="106" y="86"/>
                </a:lnTo>
                <a:lnTo>
                  <a:pt x="112" y="89"/>
                </a:lnTo>
                <a:lnTo>
                  <a:pt x="112" y="89"/>
                </a:lnTo>
                <a:lnTo>
                  <a:pt x="106" y="100"/>
                </a:lnTo>
                <a:lnTo>
                  <a:pt x="106" y="100"/>
                </a:lnTo>
                <a:lnTo>
                  <a:pt x="97" y="119"/>
                </a:lnTo>
                <a:lnTo>
                  <a:pt x="95" y="128"/>
                </a:lnTo>
                <a:lnTo>
                  <a:pt x="93" y="135"/>
                </a:lnTo>
                <a:lnTo>
                  <a:pt x="93" y="135"/>
                </a:lnTo>
                <a:lnTo>
                  <a:pt x="95" y="139"/>
                </a:lnTo>
                <a:lnTo>
                  <a:pt x="97" y="142"/>
                </a:lnTo>
                <a:lnTo>
                  <a:pt x="101" y="144"/>
                </a:lnTo>
                <a:lnTo>
                  <a:pt x="104" y="144"/>
                </a:lnTo>
                <a:lnTo>
                  <a:pt x="104" y="144"/>
                </a:lnTo>
                <a:lnTo>
                  <a:pt x="110" y="144"/>
                </a:lnTo>
                <a:lnTo>
                  <a:pt x="113" y="142"/>
                </a:lnTo>
                <a:lnTo>
                  <a:pt x="117" y="139"/>
                </a:lnTo>
                <a:lnTo>
                  <a:pt x="119" y="135"/>
                </a:lnTo>
                <a:lnTo>
                  <a:pt x="119" y="135"/>
                </a:lnTo>
                <a:lnTo>
                  <a:pt x="119" y="131"/>
                </a:lnTo>
                <a:lnTo>
                  <a:pt x="119" y="130"/>
                </a:lnTo>
                <a:lnTo>
                  <a:pt x="115" y="124"/>
                </a:lnTo>
                <a:lnTo>
                  <a:pt x="112" y="122"/>
                </a:lnTo>
                <a:lnTo>
                  <a:pt x="110" y="122"/>
                </a:lnTo>
                <a:lnTo>
                  <a:pt x="110" y="122"/>
                </a:lnTo>
                <a:lnTo>
                  <a:pt x="115" y="110"/>
                </a:lnTo>
                <a:lnTo>
                  <a:pt x="115" y="110"/>
                </a:lnTo>
                <a:lnTo>
                  <a:pt x="119" y="100"/>
                </a:lnTo>
                <a:lnTo>
                  <a:pt x="123" y="93"/>
                </a:lnTo>
                <a:lnTo>
                  <a:pt x="128" y="89"/>
                </a:lnTo>
                <a:lnTo>
                  <a:pt x="132" y="86"/>
                </a:lnTo>
                <a:lnTo>
                  <a:pt x="137" y="84"/>
                </a:lnTo>
                <a:lnTo>
                  <a:pt x="141" y="84"/>
                </a:lnTo>
                <a:lnTo>
                  <a:pt x="141" y="84"/>
                </a:lnTo>
                <a:lnTo>
                  <a:pt x="139" y="80"/>
                </a:lnTo>
                <a:lnTo>
                  <a:pt x="135" y="75"/>
                </a:lnTo>
                <a:lnTo>
                  <a:pt x="135" y="69"/>
                </a:lnTo>
                <a:lnTo>
                  <a:pt x="135" y="64"/>
                </a:lnTo>
                <a:lnTo>
                  <a:pt x="137" y="57"/>
                </a:lnTo>
                <a:lnTo>
                  <a:pt x="141" y="49"/>
                </a:lnTo>
                <a:lnTo>
                  <a:pt x="141" y="49"/>
                </a:lnTo>
                <a:lnTo>
                  <a:pt x="148" y="31"/>
                </a:lnTo>
                <a:lnTo>
                  <a:pt x="152" y="18"/>
                </a:lnTo>
                <a:lnTo>
                  <a:pt x="152" y="18"/>
                </a:lnTo>
                <a:lnTo>
                  <a:pt x="152" y="13"/>
                </a:lnTo>
                <a:lnTo>
                  <a:pt x="150" y="9"/>
                </a:lnTo>
                <a:lnTo>
                  <a:pt x="146" y="5"/>
                </a:lnTo>
                <a:lnTo>
                  <a:pt x="141" y="4"/>
                </a:lnTo>
                <a:lnTo>
                  <a:pt x="141" y="4"/>
                </a:lnTo>
                <a:lnTo>
                  <a:pt x="137" y="5"/>
                </a:lnTo>
                <a:lnTo>
                  <a:pt x="132" y="7"/>
                </a:lnTo>
                <a:lnTo>
                  <a:pt x="130" y="11"/>
                </a:lnTo>
                <a:lnTo>
                  <a:pt x="128" y="15"/>
                </a:lnTo>
                <a:lnTo>
                  <a:pt x="128" y="15"/>
                </a:lnTo>
                <a:lnTo>
                  <a:pt x="128" y="20"/>
                </a:lnTo>
                <a:lnTo>
                  <a:pt x="130" y="24"/>
                </a:lnTo>
                <a:lnTo>
                  <a:pt x="134" y="27"/>
                </a:lnTo>
                <a:lnTo>
                  <a:pt x="137" y="29"/>
                </a:lnTo>
                <a:lnTo>
                  <a:pt x="137" y="29"/>
                </a:lnTo>
                <a:lnTo>
                  <a:pt x="137" y="29"/>
                </a:lnTo>
                <a:lnTo>
                  <a:pt x="132" y="46"/>
                </a:lnTo>
                <a:lnTo>
                  <a:pt x="124" y="55"/>
                </a:lnTo>
                <a:lnTo>
                  <a:pt x="124" y="55"/>
                </a:lnTo>
                <a:lnTo>
                  <a:pt x="117" y="51"/>
                </a:lnTo>
                <a:lnTo>
                  <a:pt x="117" y="51"/>
                </a:lnTo>
                <a:lnTo>
                  <a:pt x="81" y="31"/>
                </a:lnTo>
                <a:lnTo>
                  <a:pt x="60" y="24"/>
                </a:lnTo>
                <a:lnTo>
                  <a:pt x="40" y="18"/>
                </a:lnTo>
                <a:lnTo>
                  <a:pt x="40" y="18"/>
                </a:lnTo>
                <a:lnTo>
                  <a:pt x="42" y="13"/>
                </a:lnTo>
                <a:lnTo>
                  <a:pt x="42" y="13"/>
                </a:lnTo>
                <a:lnTo>
                  <a:pt x="48" y="4"/>
                </a:lnTo>
                <a:lnTo>
                  <a:pt x="50" y="0"/>
                </a:lnTo>
                <a:lnTo>
                  <a:pt x="50" y="0"/>
                </a:lnTo>
                <a:lnTo>
                  <a:pt x="46" y="2"/>
                </a:lnTo>
                <a:lnTo>
                  <a:pt x="39" y="5"/>
                </a:lnTo>
                <a:lnTo>
                  <a:pt x="39" y="5"/>
                </a:lnTo>
                <a:lnTo>
                  <a:pt x="29" y="9"/>
                </a:lnTo>
                <a:lnTo>
                  <a:pt x="24" y="11"/>
                </a:lnTo>
                <a:lnTo>
                  <a:pt x="24" y="11"/>
                </a:lnTo>
                <a:lnTo>
                  <a:pt x="18" y="11"/>
                </a:lnTo>
                <a:lnTo>
                  <a:pt x="15" y="11"/>
                </a:lnTo>
                <a:lnTo>
                  <a:pt x="15" y="11"/>
                </a:lnTo>
                <a:lnTo>
                  <a:pt x="13" y="13"/>
                </a:lnTo>
                <a:lnTo>
                  <a:pt x="9" y="22"/>
                </a:lnTo>
                <a:lnTo>
                  <a:pt x="9" y="22"/>
                </a:lnTo>
                <a:lnTo>
                  <a:pt x="6" y="33"/>
                </a:lnTo>
                <a:lnTo>
                  <a:pt x="6" y="33"/>
                </a:lnTo>
                <a:lnTo>
                  <a:pt x="2" y="38"/>
                </a:lnTo>
                <a:lnTo>
                  <a:pt x="0" y="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89" name="Freeform 40"/>
          <p:cNvSpPr>
            <a:spLocks/>
          </p:cNvSpPr>
          <p:nvPr userDrawn="1"/>
        </p:nvSpPr>
        <p:spPr bwMode="auto">
          <a:xfrm>
            <a:off x="8226425" y="-921915"/>
            <a:ext cx="30163" cy="34925"/>
          </a:xfrm>
          <a:custGeom>
            <a:avLst/>
            <a:gdLst>
              <a:gd name="T0" fmla="*/ 12 w 36"/>
              <a:gd name="T1" fmla="*/ 44 h 44"/>
              <a:gd name="T2" fmla="*/ 12 w 36"/>
              <a:gd name="T3" fmla="*/ 44 h 44"/>
              <a:gd name="T4" fmla="*/ 27 w 36"/>
              <a:gd name="T5" fmla="*/ 42 h 44"/>
              <a:gd name="T6" fmla="*/ 36 w 36"/>
              <a:gd name="T7" fmla="*/ 40 h 44"/>
              <a:gd name="T8" fmla="*/ 36 w 36"/>
              <a:gd name="T9" fmla="*/ 3 h 44"/>
              <a:gd name="T10" fmla="*/ 36 w 36"/>
              <a:gd name="T11" fmla="*/ 3 h 44"/>
              <a:gd name="T12" fmla="*/ 16 w 36"/>
              <a:gd name="T13" fmla="*/ 0 h 44"/>
              <a:gd name="T14" fmla="*/ 16 w 36"/>
              <a:gd name="T15" fmla="*/ 0 h 44"/>
              <a:gd name="T16" fmla="*/ 11 w 36"/>
              <a:gd name="T17" fmla="*/ 0 h 44"/>
              <a:gd name="T18" fmla="*/ 7 w 36"/>
              <a:gd name="T19" fmla="*/ 2 h 44"/>
              <a:gd name="T20" fmla="*/ 3 w 36"/>
              <a:gd name="T21" fmla="*/ 3 h 44"/>
              <a:gd name="T22" fmla="*/ 1 w 36"/>
              <a:gd name="T23" fmla="*/ 7 h 44"/>
              <a:gd name="T24" fmla="*/ 0 w 36"/>
              <a:gd name="T25" fmla="*/ 13 h 44"/>
              <a:gd name="T26" fmla="*/ 0 w 36"/>
              <a:gd name="T27" fmla="*/ 16 h 44"/>
              <a:gd name="T28" fmla="*/ 0 w 36"/>
              <a:gd name="T29" fmla="*/ 27 h 44"/>
              <a:gd name="T30" fmla="*/ 0 w 36"/>
              <a:gd name="T31" fmla="*/ 27 h 44"/>
              <a:gd name="T32" fmla="*/ 1 w 36"/>
              <a:gd name="T33" fmla="*/ 34 h 44"/>
              <a:gd name="T34" fmla="*/ 5 w 36"/>
              <a:gd name="T35" fmla="*/ 40 h 44"/>
              <a:gd name="T36" fmla="*/ 9 w 36"/>
              <a:gd name="T37" fmla="*/ 42 h 44"/>
              <a:gd name="T38" fmla="*/ 12 w 36"/>
              <a:gd name="T3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 h="44">
                <a:moveTo>
                  <a:pt x="12" y="44"/>
                </a:moveTo>
                <a:lnTo>
                  <a:pt x="12" y="44"/>
                </a:lnTo>
                <a:lnTo>
                  <a:pt x="27" y="42"/>
                </a:lnTo>
                <a:lnTo>
                  <a:pt x="36" y="40"/>
                </a:lnTo>
                <a:lnTo>
                  <a:pt x="36" y="3"/>
                </a:lnTo>
                <a:lnTo>
                  <a:pt x="36" y="3"/>
                </a:lnTo>
                <a:lnTo>
                  <a:pt x="16" y="0"/>
                </a:lnTo>
                <a:lnTo>
                  <a:pt x="16" y="0"/>
                </a:lnTo>
                <a:lnTo>
                  <a:pt x="11" y="0"/>
                </a:lnTo>
                <a:lnTo>
                  <a:pt x="7" y="2"/>
                </a:lnTo>
                <a:lnTo>
                  <a:pt x="3" y="3"/>
                </a:lnTo>
                <a:lnTo>
                  <a:pt x="1" y="7"/>
                </a:lnTo>
                <a:lnTo>
                  <a:pt x="0" y="13"/>
                </a:lnTo>
                <a:lnTo>
                  <a:pt x="0" y="16"/>
                </a:lnTo>
                <a:lnTo>
                  <a:pt x="0" y="27"/>
                </a:lnTo>
                <a:lnTo>
                  <a:pt x="0" y="27"/>
                </a:lnTo>
                <a:lnTo>
                  <a:pt x="1" y="34"/>
                </a:lnTo>
                <a:lnTo>
                  <a:pt x="5" y="40"/>
                </a:lnTo>
                <a:lnTo>
                  <a:pt x="9" y="42"/>
                </a:lnTo>
                <a:lnTo>
                  <a:pt x="12" y="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0" name="Freeform 41"/>
          <p:cNvSpPr>
            <a:spLocks/>
          </p:cNvSpPr>
          <p:nvPr userDrawn="1"/>
        </p:nvSpPr>
        <p:spPr bwMode="auto">
          <a:xfrm>
            <a:off x="8262938" y="-928265"/>
            <a:ext cx="44450" cy="41275"/>
          </a:xfrm>
          <a:custGeom>
            <a:avLst/>
            <a:gdLst>
              <a:gd name="T0" fmla="*/ 55 w 55"/>
              <a:gd name="T1" fmla="*/ 38 h 53"/>
              <a:gd name="T2" fmla="*/ 55 w 55"/>
              <a:gd name="T3" fmla="*/ 27 h 53"/>
              <a:gd name="T4" fmla="*/ 55 w 55"/>
              <a:gd name="T5" fmla="*/ 7 h 53"/>
              <a:gd name="T6" fmla="*/ 55 w 55"/>
              <a:gd name="T7" fmla="*/ 1 h 53"/>
              <a:gd name="T8" fmla="*/ 53 w 55"/>
              <a:gd name="T9" fmla="*/ 0 h 53"/>
              <a:gd name="T10" fmla="*/ 46 w 55"/>
              <a:gd name="T11" fmla="*/ 0 h 53"/>
              <a:gd name="T12" fmla="*/ 40 w 55"/>
              <a:gd name="T13" fmla="*/ 0 h 53"/>
              <a:gd name="T14" fmla="*/ 29 w 55"/>
              <a:gd name="T15" fmla="*/ 0 h 53"/>
              <a:gd name="T16" fmla="*/ 28 w 55"/>
              <a:gd name="T17" fmla="*/ 7 h 53"/>
              <a:gd name="T18" fmla="*/ 26 w 55"/>
              <a:gd name="T19" fmla="*/ 0 h 53"/>
              <a:gd name="T20" fmla="*/ 17 w 55"/>
              <a:gd name="T21" fmla="*/ 0 h 53"/>
              <a:gd name="T22" fmla="*/ 11 w 55"/>
              <a:gd name="T23" fmla="*/ 0 h 53"/>
              <a:gd name="T24" fmla="*/ 4 w 55"/>
              <a:gd name="T25" fmla="*/ 0 h 53"/>
              <a:gd name="T26" fmla="*/ 2 w 55"/>
              <a:gd name="T27" fmla="*/ 1 h 53"/>
              <a:gd name="T28" fmla="*/ 0 w 55"/>
              <a:gd name="T29" fmla="*/ 7 h 53"/>
              <a:gd name="T30" fmla="*/ 0 w 55"/>
              <a:gd name="T31" fmla="*/ 27 h 53"/>
              <a:gd name="T32" fmla="*/ 0 w 55"/>
              <a:gd name="T33" fmla="*/ 49 h 53"/>
              <a:gd name="T34" fmla="*/ 6 w 55"/>
              <a:gd name="T35" fmla="*/ 49 h 53"/>
              <a:gd name="T36" fmla="*/ 9 w 55"/>
              <a:gd name="T37" fmla="*/ 47 h 53"/>
              <a:gd name="T38" fmla="*/ 13 w 55"/>
              <a:gd name="T39" fmla="*/ 40 h 53"/>
              <a:gd name="T40" fmla="*/ 13 w 55"/>
              <a:gd name="T41" fmla="*/ 53 h 53"/>
              <a:gd name="T42" fmla="*/ 17 w 55"/>
              <a:gd name="T43" fmla="*/ 53 h 53"/>
              <a:gd name="T44" fmla="*/ 24 w 55"/>
              <a:gd name="T45" fmla="*/ 49 h 53"/>
              <a:gd name="T46" fmla="*/ 26 w 55"/>
              <a:gd name="T47" fmla="*/ 43 h 53"/>
              <a:gd name="T48" fmla="*/ 28 w 55"/>
              <a:gd name="T49" fmla="*/ 40 h 53"/>
              <a:gd name="T50" fmla="*/ 28 w 55"/>
              <a:gd name="T51" fmla="*/ 53 h 53"/>
              <a:gd name="T52" fmla="*/ 39 w 55"/>
              <a:gd name="T53" fmla="*/ 49 h 53"/>
              <a:gd name="T54" fmla="*/ 42 w 55"/>
              <a:gd name="T55" fmla="*/ 43 h 53"/>
              <a:gd name="T56" fmla="*/ 42 w 55"/>
              <a:gd name="T57" fmla="*/ 40 h 53"/>
              <a:gd name="T58" fmla="*/ 42 w 55"/>
              <a:gd name="T59" fmla="*/ 49 h 53"/>
              <a:gd name="T60" fmla="*/ 46 w 55"/>
              <a:gd name="T61" fmla="*/ 47 h 53"/>
              <a:gd name="T62" fmla="*/ 51 w 55"/>
              <a:gd name="T63" fmla="*/ 45 h 53"/>
              <a:gd name="T64" fmla="*/ 55 w 55"/>
              <a:gd name="T65" fmla="*/ 38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5" h="53">
                <a:moveTo>
                  <a:pt x="55" y="38"/>
                </a:moveTo>
                <a:lnTo>
                  <a:pt x="55" y="38"/>
                </a:lnTo>
                <a:lnTo>
                  <a:pt x="55" y="27"/>
                </a:lnTo>
                <a:lnTo>
                  <a:pt x="55" y="27"/>
                </a:lnTo>
                <a:lnTo>
                  <a:pt x="55" y="7"/>
                </a:lnTo>
                <a:lnTo>
                  <a:pt x="55" y="7"/>
                </a:lnTo>
                <a:lnTo>
                  <a:pt x="55" y="3"/>
                </a:lnTo>
                <a:lnTo>
                  <a:pt x="55" y="1"/>
                </a:lnTo>
                <a:lnTo>
                  <a:pt x="53" y="0"/>
                </a:lnTo>
                <a:lnTo>
                  <a:pt x="53" y="0"/>
                </a:lnTo>
                <a:lnTo>
                  <a:pt x="46" y="0"/>
                </a:lnTo>
                <a:lnTo>
                  <a:pt x="46" y="0"/>
                </a:lnTo>
                <a:lnTo>
                  <a:pt x="42" y="7"/>
                </a:lnTo>
                <a:lnTo>
                  <a:pt x="40" y="0"/>
                </a:lnTo>
                <a:lnTo>
                  <a:pt x="40" y="0"/>
                </a:lnTo>
                <a:lnTo>
                  <a:pt x="29" y="0"/>
                </a:lnTo>
                <a:lnTo>
                  <a:pt x="29" y="0"/>
                </a:lnTo>
                <a:lnTo>
                  <a:pt x="28" y="7"/>
                </a:lnTo>
                <a:lnTo>
                  <a:pt x="26" y="0"/>
                </a:lnTo>
                <a:lnTo>
                  <a:pt x="26" y="0"/>
                </a:lnTo>
                <a:lnTo>
                  <a:pt x="17" y="0"/>
                </a:lnTo>
                <a:lnTo>
                  <a:pt x="17" y="0"/>
                </a:lnTo>
                <a:lnTo>
                  <a:pt x="13" y="7"/>
                </a:lnTo>
                <a:lnTo>
                  <a:pt x="11" y="0"/>
                </a:lnTo>
                <a:lnTo>
                  <a:pt x="11" y="0"/>
                </a:lnTo>
                <a:lnTo>
                  <a:pt x="4" y="0"/>
                </a:lnTo>
                <a:lnTo>
                  <a:pt x="4" y="0"/>
                </a:lnTo>
                <a:lnTo>
                  <a:pt x="2" y="1"/>
                </a:lnTo>
                <a:lnTo>
                  <a:pt x="0" y="3"/>
                </a:lnTo>
                <a:lnTo>
                  <a:pt x="0" y="7"/>
                </a:lnTo>
                <a:lnTo>
                  <a:pt x="0" y="7"/>
                </a:lnTo>
                <a:lnTo>
                  <a:pt x="0" y="27"/>
                </a:lnTo>
                <a:lnTo>
                  <a:pt x="0" y="27"/>
                </a:lnTo>
                <a:lnTo>
                  <a:pt x="0" y="49"/>
                </a:lnTo>
                <a:lnTo>
                  <a:pt x="0" y="49"/>
                </a:lnTo>
                <a:lnTo>
                  <a:pt x="6" y="49"/>
                </a:lnTo>
                <a:lnTo>
                  <a:pt x="9" y="47"/>
                </a:lnTo>
                <a:lnTo>
                  <a:pt x="9" y="47"/>
                </a:lnTo>
                <a:lnTo>
                  <a:pt x="11" y="42"/>
                </a:lnTo>
                <a:lnTo>
                  <a:pt x="13" y="40"/>
                </a:lnTo>
                <a:lnTo>
                  <a:pt x="13" y="40"/>
                </a:lnTo>
                <a:lnTo>
                  <a:pt x="13" y="53"/>
                </a:lnTo>
                <a:lnTo>
                  <a:pt x="13" y="53"/>
                </a:lnTo>
                <a:lnTo>
                  <a:pt x="17" y="53"/>
                </a:lnTo>
                <a:lnTo>
                  <a:pt x="20" y="51"/>
                </a:lnTo>
                <a:lnTo>
                  <a:pt x="24" y="49"/>
                </a:lnTo>
                <a:lnTo>
                  <a:pt x="24" y="49"/>
                </a:lnTo>
                <a:lnTo>
                  <a:pt x="26" y="43"/>
                </a:lnTo>
                <a:lnTo>
                  <a:pt x="28" y="40"/>
                </a:lnTo>
                <a:lnTo>
                  <a:pt x="28" y="40"/>
                </a:lnTo>
                <a:lnTo>
                  <a:pt x="28" y="53"/>
                </a:lnTo>
                <a:lnTo>
                  <a:pt x="28" y="53"/>
                </a:lnTo>
                <a:lnTo>
                  <a:pt x="33" y="51"/>
                </a:lnTo>
                <a:lnTo>
                  <a:pt x="39" y="49"/>
                </a:lnTo>
                <a:lnTo>
                  <a:pt x="39" y="49"/>
                </a:lnTo>
                <a:lnTo>
                  <a:pt x="42" y="43"/>
                </a:lnTo>
                <a:lnTo>
                  <a:pt x="42" y="40"/>
                </a:lnTo>
                <a:lnTo>
                  <a:pt x="42" y="40"/>
                </a:lnTo>
                <a:lnTo>
                  <a:pt x="42" y="49"/>
                </a:lnTo>
                <a:lnTo>
                  <a:pt x="42" y="49"/>
                </a:lnTo>
                <a:lnTo>
                  <a:pt x="46" y="47"/>
                </a:lnTo>
                <a:lnTo>
                  <a:pt x="46" y="47"/>
                </a:lnTo>
                <a:lnTo>
                  <a:pt x="51" y="45"/>
                </a:lnTo>
                <a:lnTo>
                  <a:pt x="51" y="45"/>
                </a:lnTo>
                <a:lnTo>
                  <a:pt x="53" y="43"/>
                </a:lnTo>
                <a:lnTo>
                  <a:pt x="55" y="3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1" name="Freeform 42"/>
          <p:cNvSpPr>
            <a:spLocks/>
          </p:cNvSpPr>
          <p:nvPr userDrawn="1"/>
        </p:nvSpPr>
        <p:spPr bwMode="auto">
          <a:xfrm>
            <a:off x="8269288" y="-926678"/>
            <a:ext cx="53975" cy="60325"/>
          </a:xfrm>
          <a:custGeom>
            <a:avLst/>
            <a:gdLst>
              <a:gd name="T0" fmla="*/ 67 w 67"/>
              <a:gd name="T1" fmla="*/ 57 h 77"/>
              <a:gd name="T2" fmla="*/ 67 w 67"/>
              <a:gd name="T3" fmla="*/ 44 h 77"/>
              <a:gd name="T4" fmla="*/ 67 w 67"/>
              <a:gd name="T5" fmla="*/ 44 h 77"/>
              <a:gd name="T6" fmla="*/ 65 w 67"/>
              <a:gd name="T7" fmla="*/ 42 h 77"/>
              <a:gd name="T8" fmla="*/ 63 w 67"/>
              <a:gd name="T9" fmla="*/ 37 h 77"/>
              <a:gd name="T10" fmla="*/ 63 w 67"/>
              <a:gd name="T11" fmla="*/ 30 h 77"/>
              <a:gd name="T12" fmla="*/ 63 w 67"/>
              <a:gd name="T13" fmla="*/ 30 h 77"/>
              <a:gd name="T14" fmla="*/ 63 w 67"/>
              <a:gd name="T15" fmla="*/ 26 h 77"/>
              <a:gd name="T16" fmla="*/ 65 w 67"/>
              <a:gd name="T17" fmla="*/ 21 h 77"/>
              <a:gd name="T18" fmla="*/ 67 w 67"/>
              <a:gd name="T19" fmla="*/ 17 h 77"/>
              <a:gd name="T20" fmla="*/ 67 w 67"/>
              <a:gd name="T21" fmla="*/ 6 h 77"/>
              <a:gd name="T22" fmla="*/ 67 w 67"/>
              <a:gd name="T23" fmla="*/ 6 h 77"/>
              <a:gd name="T24" fmla="*/ 63 w 67"/>
              <a:gd name="T25" fmla="*/ 2 h 77"/>
              <a:gd name="T26" fmla="*/ 60 w 67"/>
              <a:gd name="T27" fmla="*/ 0 h 77"/>
              <a:gd name="T28" fmla="*/ 56 w 67"/>
              <a:gd name="T29" fmla="*/ 0 h 77"/>
              <a:gd name="T30" fmla="*/ 56 w 67"/>
              <a:gd name="T31" fmla="*/ 41 h 77"/>
              <a:gd name="T32" fmla="*/ 56 w 67"/>
              <a:gd name="T33" fmla="*/ 41 h 77"/>
              <a:gd name="T34" fmla="*/ 54 w 67"/>
              <a:gd name="T35" fmla="*/ 46 h 77"/>
              <a:gd name="T36" fmla="*/ 51 w 67"/>
              <a:gd name="T37" fmla="*/ 52 h 77"/>
              <a:gd name="T38" fmla="*/ 45 w 67"/>
              <a:gd name="T39" fmla="*/ 55 h 77"/>
              <a:gd name="T40" fmla="*/ 38 w 67"/>
              <a:gd name="T41" fmla="*/ 57 h 77"/>
              <a:gd name="T42" fmla="*/ 38 w 67"/>
              <a:gd name="T43" fmla="*/ 57 h 77"/>
              <a:gd name="T44" fmla="*/ 23 w 67"/>
              <a:gd name="T45" fmla="*/ 59 h 77"/>
              <a:gd name="T46" fmla="*/ 10 w 67"/>
              <a:gd name="T47" fmla="*/ 61 h 77"/>
              <a:gd name="T48" fmla="*/ 0 w 67"/>
              <a:gd name="T49" fmla="*/ 61 h 77"/>
              <a:gd name="T50" fmla="*/ 0 w 67"/>
              <a:gd name="T51" fmla="*/ 61 h 77"/>
              <a:gd name="T52" fmla="*/ 1 w 67"/>
              <a:gd name="T53" fmla="*/ 70 h 77"/>
              <a:gd name="T54" fmla="*/ 1 w 67"/>
              <a:gd name="T55" fmla="*/ 70 h 77"/>
              <a:gd name="T56" fmla="*/ 5 w 67"/>
              <a:gd name="T57" fmla="*/ 75 h 77"/>
              <a:gd name="T58" fmla="*/ 7 w 67"/>
              <a:gd name="T59" fmla="*/ 77 h 77"/>
              <a:gd name="T60" fmla="*/ 54 w 67"/>
              <a:gd name="T61" fmla="*/ 77 h 77"/>
              <a:gd name="T62" fmla="*/ 67 w 67"/>
              <a:gd name="T63" fmla="*/ 5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7" h="77">
                <a:moveTo>
                  <a:pt x="67" y="57"/>
                </a:moveTo>
                <a:lnTo>
                  <a:pt x="67" y="44"/>
                </a:lnTo>
                <a:lnTo>
                  <a:pt x="67" y="44"/>
                </a:lnTo>
                <a:lnTo>
                  <a:pt x="65" y="42"/>
                </a:lnTo>
                <a:lnTo>
                  <a:pt x="63" y="37"/>
                </a:lnTo>
                <a:lnTo>
                  <a:pt x="63" y="30"/>
                </a:lnTo>
                <a:lnTo>
                  <a:pt x="63" y="30"/>
                </a:lnTo>
                <a:lnTo>
                  <a:pt x="63" y="26"/>
                </a:lnTo>
                <a:lnTo>
                  <a:pt x="65" y="21"/>
                </a:lnTo>
                <a:lnTo>
                  <a:pt x="67" y="17"/>
                </a:lnTo>
                <a:lnTo>
                  <a:pt x="67" y="6"/>
                </a:lnTo>
                <a:lnTo>
                  <a:pt x="67" y="6"/>
                </a:lnTo>
                <a:lnTo>
                  <a:pt x="63" y="2"/>
                </a:lnTo>
                <a:lnTo>
                  <a:pt x="60" y="0"/>
                </a:lnTo>
                <a:lnTo>
                  <a:pt x="56" y="0"/>
                </a:lnTo>
                <a:lnTo>
                  <a:pt x="56" y="41"/>
                </a:lnTo>
                <a:lnTo>
                  <a:pt x="56" y="41"/>
                </a:lnTo>
                <a:lnTo>
                  <a:pt x="54" y="46"/>
                </a:lnTo>
                <a:lnTo>
                  <a:pt x="51" y="52"/>
                </a:lnTo>
                <a:lnTo>
                  <a:pt x="45" y="55"/>
                </a:lnTo>
                <a:lnTo>
                  <a:pt x="38" y="57"/>
                </a:lnTo>
                <a:lnTo>
                  <a:pt x="38" y="57"/>
                </a:lnTo>
                <a:lnTo>
                  <a:pt x="23" y="59"/>
                </a:lnTo>
                <a:lnTo>
                  <a:pt x="10" y="61"/>
                </a:lnTo>
                <a:lnTo>
                  <a:pt x="0" y="61"/>
                </a:lnTo>
                <a:lnTo>
                  <a:pt x="0" y="61"/>
                </a:lnTo>
                <a:lnTo>
                  <a:pt x="1" y="70"/>
                </a:lnTo>
                <a:lnTo>
                  <a:pt x="1" y="70"/>
                </a:lnTo>
                <a:lnTo>
                  <a:pt x="5" y="75"/>
                </a:lnTo>
                <a:lnTo>
                  <a:pt x="7" y="77"/>
                </a:lnTo>
                <a:lnTo>
                  <a:pt x="54" y="77"/>
                </a:lnTo>
                <a:lnTo>
                  <a:pt x="67" y="5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2" name="Freeform 43"/>
          <p:cNvSpPr>
            <a:spLocks/>
          </p:cNvSpPr>
          <p:nvPr userDrawn="1"/>
        </p:nvSpPr>
        <p:spPr bwMode="auto">
          <a:xfrm>
            <a:off x="8272463" y="-858415"/>
            <a:ext cx="42863" cy="14288"/>
          </a:xfrm>
          <a:custGeom>
            <a:avLst/>
            <a:gdLst>
              <a:gd name="T0" fmla="*/ 4 w 55"/>
              <a:gd name="T1" fmla="*/ 19 h 19"/>
              <a:gd name="T2" fmla="*/ 51 w 55"/>
              <a:gd name="T3" fmla="*/ 19 h 19"/>
              <a:gd name="T4" fmla="*/ 51 w 55"/>
              <a:gd name="T5" fmla="*/ 19 h 19"/>
              <a:gd name="T6" fmla="*/ 55 w 55"/>
              <a:gd name="T7" fmla="*/ 9 h 19"/>
              <a:gd name="T8" fmla="*/ 53 w 55"/>
              <a:gd name="T9" fmla="*/ 0 h 19"/>
              <a:gd name="T10" fmla="*/ 4 w 55"/>
              <a:gd name="T11" fmla="*/ 0 h 19"/>
              <a:gd name="T12" fmla="*/ 0 w 55"/>
              <a:gd name="T13" fmla="*/ 9 h 19"/>
              <a:gd name="T14" fmla="*/ 4 w 55"/>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19">
                <a:moveTo>
                  <a:pt x="4" y="19"/>
                </a:moveTo>
                <a:lnTo>
                  <a:pt x="51" y="19"/>
                </a:lnTo>
                <a:lnTo>
                  <a:pt x="51" y="19"/>
                </a:lnTo>
                <a:lnTo>
                  <a:pt x="55" y="9"/>
                </a:lnTo>
                <a:lnTo>
                  <a:pt x="53" y="0"/>
                </a:lnTo>
                <a:lnTo>
                  <a:pt x="4" y="0"/>
                </a:lnTo>
                <a:lnTo>
                  <a:pt x="0" y="9"/>
                </a:lnTo>
                <a:lnTo>
                  <a:pt x="4" y="1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3" name="Freeform 44"/>
          <p:cNvSpPr>
            <a:spLocks/>
          </p:cNvSpPr>
          <p:nvPr userDrawn="1"/>
        </p:nvSpPr>
        <p:spPr bwMode="auto">
          <a:xfrm>
            <a:off x="8274050" y="-837778"/>
            <a:ext cx="44450" cy="50800"/>
          </a:xfrm>
          <a:custGeom>
            <a:avLst/>
            <a:gdLst>
              <a:gd name="T0" fmla="*/ 47 w 55"/>
              <a:gd name="T1" fmla="*/ 0 h 64"/>
              <a:gd name="T2" fmla="*/ 0 w 55"/>
              <a:gd name="T3" fmla="*/ 0 h 64"/>
              <a:gd name="T4" fmla="*/ 0 w 55"/>
              <a:gd name="T5" fmla="*/ 62 h 64"/>
              <a:gd name="T6" fmla="*/ 42 w 55"/>
              <a:gd name="T7" fmla="*/ 64 h 64"/>
              <a:gd name="T8" fmla="*/ 55 w 55"/>
              <a:gd name="T9" fmla="*/ 53 h 64"/>
              <a:gd name="T10" fmla="*/ 47 w 55"/>
              <a:gd name="T11" fmla="*/ 0 h 64"/>
            </a:gdLst>
            <a:ahLst/>
            <a:cxnLst>
              <a:cxn ang="0">
                <a:pos x="T0" y="T1"/>
              </a:cxn>
              <a:cxn ang="0">
                <a:pos x="T2" y="T3"/>
              </a:cxn>
              <a:cxn ang="0">
                <a:pos x="T4" y="T5"/>
              </a:cxn>
              <a:cxn ang="0">
                <a:pos x="T6" y="T7"/>
              </a:cxn>
              <a:cxn ang="0">
                <a:pos x="T8" y="T9"/>
              </a:cxn>
              <a:cxn ang="0">
                <a:pos x="T10" y="T11"/>
              </a:cxn>
            </a:cxnLst>
            <a:rect l="0" t="0" r="r" b="b"/>
            <a:pathLst>
              <a:path w="55" h="64">
                <a:moveTo>
                  <a:pt x="47" y="0"/>
                </a:moveTo>
                <a:lnTo>
                  <a:pt x="0" y="0"/>
                </a:lnTo>
                <a:lnTo>
                  <a:pt x="0" y="62"/>
                </a:lnTo>
                <a:lnTo>
                  <a:pt x="42" y="64"/>
                </a:lnTo>
                <a:lnTo>
                  <a:pt x="55" y="53"/>
                </a:lnTo>
                <a:lnTo>
                  <a:pt x="4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4" name="Freeform 45"/>
          <p:cNvSpPr>
            <a:spLocks/>
          </p:cNvSpPr>
          <p:nvPr userDrawn="1"/>
        </p:nvSpPr>
        <p:spPr bwMode="auto">
          <a:xfrm>
            <a:off x="8274050" y="-788565"/>
            <a:ext cx="57150" cy="50800"/>
          </a:xfrm>
          <a:custGeom>
            <a:avLst/>
            <a:gdLst>
              <a:gd name="T0" fmla="*/ 73 w 73"/>
              <a:gd name="T1" fmla="*/ 16 h 64"/>
              <a:gd name="T2" fmla="*/ 73 w 73"/>
              <a:gd name="T3" fmla="*/ 16 h 64"/>
              <a:gd name="T4" fmla="*/ 64 w 73"/>
              <a:gd name="T5" fmla="*/ 9 h 64"/>
              <a:gd name="T6" fmla="*/ 64 w 73"/>
              <a:gd name="T7" fmla="*/ 9 h 64"/>
              <a:gd name="T8" fmla="*/ 62 w 73"/>
              <a:gd name="T9" fmla="*/ 0 h 64"/>
              <a:gd name="T10" fmla="*/ 48 w 73"/>
              <a:gd name="T11" fmla="*/ 11 h 64"/>
              <a:gd name="T12" fmla="*/ 0 w 73"/>
              <a:gd name="T13" fmla="*/ 11 h 64"/>
              <a:gd name="T14" fmla="*/ 0 w 73"/>
              <a:gd name="T15" fmla="*/ 11 h 64"/>
              <a:gd name="T16" fmla="*/ 0 w 73"/>
              <a:gd name="T17" fmla="*/ 27 h 64"/>
              <a:gd name="T18" fmla="*/ 0 w 73"/>
              <a:gd name="T19" fmla="*/ 45 h 64"/>
              <a:gd name="T20" fmla="*/ 0 w 73"/>
              <a:gd name="T21" fmla="*/ 45 h 64"/>
              <a:gd name="T22" fmla="*/ 11 w 73"/>
              <a:gd name="T23" fmla="*/ 55 h 64"/>
              <a:gd name="T24" fmla="*/ 24 w 73"/>
              <a:gd name="T25" fmla="*/ 64 h 64"/>
              <a:gd name="T26" fmla="*/ 55 w 73"/>
              <a:gd name="T27" fmla="*/ 25 h 64"/>
              <a:gd name="T28" fmla="*/ 73 w 73"/>
              <a:gd name="T29"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64">
                <a:moveTo>
                  <a:pt x="73" y="16"/>
                </a:moveTo>
                <a:lnTo>
                  <a:pt x="73" y="16"/>
                </a:lnTo>
                <a:lnTo>
                  <a:pt x="64" y="9"/>
                </a:lnTo>
                <a:lnTo>
                  <a:pt x="64" y="9"/>
                </a:lnTo>
                <a:lnTo>
                  <a:pt x="62" y="0"/>
                </a:lnTo>
                <a:lnTo>
                  <a:pt x="48" y="11"/>
                </a:lnTo>
                <a:lnTo>
                  <a:pt x="0" y="11"/>
                </a:lnTo>
                <a:lnTo>
                  <a:pt x="0" y="11"/>
                </a:lnTo>
                <a:lnTo>
                  <a:pt x="0" y="27"/>
                </a:lnTo>
                <a:lnTo>
                  <a:pt x="0" y="45"/>
                </a:lnTo>
                <a:lnTo>
                  <a:pt x="0" y="45"/>
                </a:lnTo>
                <a:lnTo>
                  <a:pt x="11" y="55"/>
                </a:lnTo>
                <a:lnTo>
                  <a:pt x="24" y="64"/>
                </a:lnTo>
                <a:lnTo>
                  <a:pt x="55" y="25"/>
                </a:lnTo>
                <a:lnTo>
                  <a:pt x="73"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5" name="Freeform 46"/>
          <p:cNvSpPr>
            <a:spLocks/>
          </p:cNvSpPr>
          <p:nvPr userDrawn="1"/>
        </p:nvSpPr>
        <p:spPr bwMode="auto">
          <a:xfrm>
            <a:off x="8301038" y="-769515"/>
            <a:ext cx="85725" cy="50800"/>
          </a:xfrm>
          <a:custGeom>
            <a:avLst/>
            <a:gdLst>
              <a:gd name="T0" fmla="*/ 27 w 108"/>
              <a:gd name="T1" fmla="*/ 7 h 63"/>
              <a:gd name="T2" fmla="*/ 0 w 108"/>
              <a:gd name="T3" fmla="*/ 43 h 63"/>
              <a:gd name="T4" fmla="*/ 45 w 108"/>
              <a:gd name="T5" fmla="*/ 63 h 63"/>
              <a:gd name="T6" fmla="*/ 45 w 108"/>
              <a:gd name="T7" fmla="*/ 63 h 63"/>
              <a:gd name="T8" fmla="*/ 65 w 108"/>
              <a:gd name="T9" fmla="*/ 51 h 63"/>
              <a:gd name="T10" fmla="*/ 86 w 108"/>
              <a:gd name="T11" fmla="*/ 38 h 63"/>
              <a:gd name="T12" fmla="*/ 108 w 108"/>
              <a:gd name="T13" fmla="*/ 23 h 63"/>
              <a:gd name="T14" fmla="*/ 44 w 108"/>
              <a:gd name="T15" fmla="*/ 0 h 63"/>
              <a:gd name="T16" fmla="*/ 27 w 108"/>
              <a:gd name="T17" fmla="*/ 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63">
                <a:moveTo>
                  <a:pt x="27" y="7"/>
                </a:moveTo>
                <a:lnTo>
                  <a:pt x="0" y="43"/>
                </a:lnTo>
                <a:lnTo>
                  <a:pt x="45" y="63"/>
                </a:lnTo>
                <a:lnTo>
                  <a:pt x="45" y="63"/>
                </a:lnTo>
                <a:lnTo>
                  <a:pt x="65" y="51"/>
                </a:lnTo>
                <a:lnTo>
                  <a:pt x="86" y="38"/>
                </a:lnTo>
                <a:lnTo>
                  <a:pt x="108" y="23"/>
                </a:lnTo>
                <a:lnTo>
                  <a:pt x="44" y="0"/>
                </a:lnTo>
                <a:lnTo>
                  <a:pt x="2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6" name="Freeform 47"/>
          <p:cNvSpPr>
            <a:spLocks/>
          </p:cNvSpPr>
          <p:nvPr userDrawn="1"/>
        </p:nvSpPr>
        <p:spPr bwMode="auto">
          <a:xfrm>
            <a:off x="8324850" y="-952078"/>
            <a:ext cx="22225" cy="93663"/>
          </a:xfrm>
          <a:custGeom>
            <a:avLst/>
            <a:gdLst>
              <a:gd name="T0" fmla="*/ 22 w 27"/>
              <a:gd name="T1" fmla="*/ 50 h 117"/>
              <a:gd name="T2" fmla="*/ 22 w 27"/>
              <a:gd name="T3" fmla="*/ 50 h 117"/>
              <a:gd name="T4" fmla="*/ 22 w 27"/>
              <a:gd name="T5" fmla="*/ 11 h 117"/>
              <a:gd name="T6" fmla="*/ 22 w 27"/>
              <a:gd name="T7" fmla="*/ 11 h 117"/>
              <a:gd name="T8" fmla="*/ 24 w 27"/>
              <a:gd name="T9" fmla="*/ 8 h 117"/>
              <a:gd name="T10" fmla="*/ 24 w 27"/>
              <a:gd name="T11" fmla="*/ 8 h 117"/>
              <a:gd name="T12" fmla="*/ 24 w 27"/>
              <a:gd name="T13" fmla="*/ 4 h 117"/>
              <a:gd name="T14" fmla="*/ 24 w 27"/>
              <a:gd name="T15" fmla="*/ 0 h 117"/>
              <a:gd name="T16" fmla="*/ 2 w 27"/>
              <a:gd name="T17" fmla="*/ 0 h 117"/>
              <a:gd name="T18" fmla="*/ 2 w 27"/>
              <a:gd name="T19" fmla="*/ 0 h 117"/>
              <a:gd name="T20" fmla="*/ 2 w 27"/>
              <a:gd name="T21" fmla="*/ 6 h 117"/>
              <a:gd name="T22" fmla="*/ 2 w 27"/>
              <a:gd name="T23" fmla="*/ 6 h 117"/>
              <a:gd name="T24" fmla="*/ 2 w 27"/>
              <a:gd name="T25" fmla="*/ 9 h 117"/>
              <a:gd name="T26" fmla="*/ 3 w 27"/>
              <a:gd name="T27" fmla="*/ 11 h 117"/>
              <a:gd name="T28" fmla="*/ 3 w 27"/>
              <a:gd name="T29" fmla="*/ 50 h 117"/>
              <a:gd name="T30" fmla="*/ 3 w 27"/>
              <a:gd name="T31" fmla="*/ 50 h 117"/>
              <a:gd name="T32" fmla="*/ 2 w 27"/>
              <a:gd name="T33" fmla="*/ 52 h 117"/>
              <a:gd name="T34" fmla="*/ 0 w 27"/>
              <a:gd name="T35" fmla="*/ 61 h 117"/>
              <a:gd name="T36" fmla="*/ 0 w 27"/>
              <a:gd name="T37" fmla="*/ 61 h 117"/>
              <a:gd name="T38" fmla="*/ 0 w 27"/>
              <a:gd name="T39" fmla="*/ 66 h 117"/>
              <a:gd name="T40" fmla="*/ 2 w 27"/>
              <a:gd name="T41" fmla="*/ 72 h 117"/>
              <a:gd name="T42" fmla="*/ 5 w 27"/>
              <a:gd name="T43" fmla="*/ 75 h 117"/>
              <a:gd name="T44" fmla="*/ 3 w 27"/>
              <a:gd name="T45" fmla="*/ 106 h 117"/>
              <a:gd name="T46" fmla="*/ 3 w 27"/>
              <a:gd name="T47" fmla="*/ 106 h 117"/>
              <a:gd name="T48" fmla="*/ 3 w 27"/>
              <a:gd name="T49" fmla="*/ 108 h 117"/>
              <a:gd name="T50" fmla="*/ 2 w 27"/>
              <a:gd name="T51" fmla="*/ 112 h 117"/>
              <a:gd name="T52" fmla="*/ 2 w 27"/>
              <a:gd name="T53" fmla="*/ 112 h 117"/>
              <a:gd name="T54" fmla="*/ 2 w 27"/>
              <a:gd name="T55" fmla="*/ 117 h 117"/>
              <a:gd name="T56" fmla="*/ 24 w 27"/>
              <a:gd name="T57" fmla="*/ 117 h 117"/>
              <a:gd name="T58" fmla="*/ 24 w 27"/>
              <a:gd name="T59" fmla="*/ 117 h 117"/>
              <a:gd name="T60" fmla="*/ 24 w 27"/>
              <a:gd name="T61" fmla="*/ 110 h 117"/>
              <a:gd name="T62" fmla="*/ 24 w 27"/>
              <a:gd name="T63" fmla="*/ 110 h 117"/>
              <a:gd name="T64" fmla="*/ 22 w 27"/>
              <a:gd name="T65" fmla="*/ 106 h 117"/>
              <a:gd name="T66" fmla="*/ 22 w 27"/>
              <a:gd name="T67" fmla="*/ 75 h 117"/>
              <a:gd name="T68" fmla="*/ 22 w 27"/>
              <a:gd name="T69" fmla="*/ 75 h 117"/>
              <a:gd name="T70" fmla="*/ 25 w 27"/>
              <a:gd name="T71" fmla="*/ 70 h 117"/>
              <a:gd name="T72" fmla="*/ 25 w 27"/>
              <a:gd name="T73" fmla="*/ 66 h 117"/>
              <a:gd name="T74" fmla="*/ 27 w 27"/>
              <a:gd name="T75" fmla="*/ 62 h 117"/>
              <a:gd name="T76" fmla="*/ 27 w 27"/>
              <a:gd name="T77" fmla="*/ 62 h 117"/>
              <a:gd name="T78" fmla="*/ 24 w 27"/>
              <a:gd name="T79" fmla="*/ 53 h 117"/>
              <a:gd name="T80" fmla="*/ 22 w 27"/>
              <a:gd name="T81" fmla="*/ 5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7" h="117">
                <a:moveTo>
                  <a:pt x="22" y="50"/>
                </a:moveTo>
                <a:lnTo>
                  <a:pt x="22" y="50"/>
                </a:lnTo>
                <a:lnTo>
                  <a:pt x="22" y="11"/>
                </a:lnTo>
                <a:lnTo>
                  <a:pt x="22" y="11"/>
                </a:lnTo>
                <a:lnTo>
                  <a:pt x="24" y="8"/>
                </a:lnTo>
                <a:lnTo>
                  <a:pt x="24" y="8"/>
                </a:lnTo>
                <a:lnTo>
                  <a:pt x="24" y="4"/>
                </a:lnTo>
                <a:lnTo>
                  <a:pt x="24" y="0"/>
                </a:lnTo>
                <a:lnTo>
                  <a:pt x="2" y="0"/>
                </a:lnTo>
                <a:lnTo>
                  <a:pt x="2" y="0"/>
                </a:lnTo>
                <a:lnTo>
                  <a:pt x="2" y="6"/>
                </a:lnTo>
                <a:lnTo>
                  <a:pt x="2" y="6"/>
                </a:lnTo>
                <a:lnTo>
                  <a:pt x="2" y="9"/>
                </a:lnTo>
                <a:lnTo>
                  <a:pt x="3" y="11"/>
                </a:lnTo>
                <a:lnTo>
                  <a:pt x="3" y="50"/>
                </a:lnTo>
                <a:lnTo>
                  <a:pt x="3" y="50"/>
                </a:lnTo>
                <a:lnTo>
                  <a:pt x="2" y="52"/>
                </a:lnTo>
                <a:lnTo>
                  <a:pt x="0" y="61"/>
                </a:lnTo>
                <a:lnTo>
                  <a:pt x="0" y="61"/>
                </a:lnTo>
                <a:lnTo>
                  <a:pt x="0" y="66"/>
                </a:lnTo>
                <a:lnTo>
                  <a:pt x="2" y="72"/>
                </a:lnTo>
                <a:lnTo>
                  <a:pt x="5" y="75"/>
                </a:lnTo>
                <a:lnTo>
                  <a:pt x="3" y="106"/>
                </a:lnTo>
                <a:lnTo>
                  <a:pt x="3" y="106"/>
                </a:lnTo>
                <a:lnTo>
                  <a:pt x="3" y="108"/>
                </a:lnTo>
                <a:lnTo>
                  <a:pt x="2" y="112"/>
                </a:lnTo>
                <a:lnTo>
                  <a:pt x="2" y="112"/>
                </a:lnTo>
                <a:lnTo>
                  <a:pt x="2" y="117"/>
                </a:lnTo>
                <a:lnTo>
                  <a:pt x="24" y="117"/>
                </a:lnTo>
                <a:lnTo>
                  <a:pt x="24" y="117"/>
                </a:lnTo>
                <a:lnTo>
                  <a:pt x="24" y="110"/>
                </a:lnTo>
                <a:lnTo>
                  <a:pt x="24" y="110"/>
                </a:lnTo>
                <a:lnTo>
                  <a:pt x="22" y="106"/>
                </a:lnTo>
                <a:lnTo>
                  <a:pt x="22" y="75"/>
                </a:lnTo>
                <a:lnTo>
                  <a:pt x="22" y="75"/>
                </a:lnTo>
                <a:lnTo>
                  <a:pt x="25" y="70"/>
                </a:lnTo>
                <a:lnTo>
                  <a:pt x="25" y="66"/>
                </a:lnTo>
                <a:lnTo>
                  <a:pt x="27" y="62"/>
                </a:lnTo>
                <a:lnTo>
                  <a:pt x="27" y="62"/>
                </a:lnTo>
                <a:lnTo>
                  <a:pt x="24" y="53"/>
                </a:lnTo>
                <a:lnTo>
                  <a:pt x="22" y="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7" name="Freeform 48"/>
          <p:cNvSpPr>
            <a:spLocks/>
          </p:cNvSpPr>
          <p:nvPr userDrawn="1"/>
        </p:nvSpPr>
        <p:spPr bwMode="auto">
          <a:xfrm>
            <a:off x="8347075" y="-923503"/>
            <a:ext cx="60325" cy="42863"/>
          </a:xfrm>
          <a:custGeom>
            <a:avLst/>
            <a:gdLst>
              <a:gd name="T0" fmla="*/ 42 w 77"/>
              <a:gd name="T1" fmla="*/ 46 h 55"/>
              <a:gd name="T2" fmla="*/ 77 w 77"/>
              <a:gd name="T3" fmla="*/ 9 h 55"/>
              <a:gd name="T4" fmla="*/ 77 w 77"/>
              <a:gd name="T5" fmla="*/ 9 h 55"/>
              <a:gd name="T6" fmla="*/ 26 w 77"/>
              <a:gd name="T7" fmla="*/ 9 h 55"/>
              <a:gd name="T8" fmla="*/ 26 w 77"/>
              <a:gd name="T9" fmla="*/ 9 h 55"/>
              <a:gd name="T10" fmla="*/ 20 w 77"/>
              <a:gd name="T11" fmla="*/ 7 h 55"/>
              <a:gd name="T12" fmla="*/ 15 w 77"/>
              <a:gd name="T13" fmla="*/ 4 h 55"/>
              <a:gd name="T14" fmla="*/ 7 w 77"/>
              <a:gd name="T15" fmla="*/ 0 h 55"/>
              <a:gd name="T16" fmla="*/ 6 w 77"/>
              <a:gd name="T17" fmla="*/ 0 h 55"/>
              <a:gd name="T18" fmla="*/ 6 w 77"/>
              <a:gd name="T19" fmla="*/ 0 h 55"/>
              <a:gd name="T20" fmla="*/ 0 w 77"/>
              <a:gd name="T21" fmla="*/ 11 h 55"/>
              <a:gd name="T22" fmla="*/ 0 w 77"/>
              <a:gd name="T23" fmla="*/ 11 h 55"/>
              <a:gd name="T24" fmla="*/ 4 w 77"/>
              <a:gd name="T25" fmla="*/ 17 h 55"/>
              <a:gd name="T26" fmla="*/ 6 w 77"/>
              <a:gd name="T27" fmla="*/ 20 h 55"/>
              <a:gd name="T28" fmla="*/ 7 w 77"/>
              <a:gd name="T29" fmla="*/ 27 h 55"/>
              <a:gd name="T30" fmla="*/ 7 w 77"/>
              <a:gd name="T31" fmla="*/ 27 h 55"/>
              <a:gd name="T32" fmla="*/ 7 w 77"/>
              <a:gd name="T33" fmla="*/ 33 h 55"/>
              <a:gd name="T34" fmla="*/ 4 w 77"/>
              <a:gd name="T35" fmla="*/ 38 h 55"/>
              <a:gd name="T36" fmla="*/ 0 w 77"/>
              <a:gd name="T37" fmla="*/ 42 h 55"/>
              <a:gd name="T38" fmla="*/ 0 w 77"/>
              <a:gd name="T39" fmla="*/ 42 h 55"/>
              <a:gd name="T40" fmla="*/ 7 w 77"/>
              <a:gd name="T41" fmla="*/ 55 h 55"/>
              <a:gd name="T42" fmla="*/ 7 w 77"/>
              <a:gd name="T43" fmla="*/ 55 h 55"/>
              <a:gd name="T44" fmla="*/ 13 w 77"/>
              <a:gd name="T45" fmla="*/ 51 h 55"/>
              <a:gd name="T46" fmla="*/ 28 w 77"/>
              <a:gd name="T47" fmla="*/ 46 h 55"/>
              <a:gd name="T48" fmla="*/ 28 w 77"/>
              <a:gd name="T49" fmla="*/ 46 h 55"/>
              <a:gd name="T50" fmla="*/ 42 w 77"/>
              <a:gd name="T51" fmla="*/ 4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7" h="55">
                <a:moveTo>
                  <a:pt x="42" y="46"/>
                </a:moveTo>
                <a:lnTo>
                  <a:pt x="77" y="9"/>
                </a:lnTo>
                <a:lnTo>
                  <a:pt x="77" y="9"/>
                </a:lnTo>
                <a:lnTo>
                  <a:pt x="26" y="9"/>
                </a:lnTo>
                <a:lnTo>
                  <a:pt x="26" y="9"/>
                </a:lnTo>
                <a:lnTo>
                  <a:pt x="20" y="7"/>
                </a:lnTo>
                <a:lnTo>
                  <a:pt x="15" y="4"/>
                </a:lnTo>
                <a:lnTo>
                  <a:pt x="7" y="0"/>
                </a:lnTo>
                <a:lnTo>
                  <a:pt x="6" y="0"/>
                </a:lnTo>
                <a:lnTo>
                  <a:pt x="6" y="0"/>
                </a:lnTo>
                <a:lnTo>
                  <a:pt x="0" y="11"/>
                </a:lnTo>
                <a:lnTo>
                  <a:pt x="0" y="11"/>
                </a:lnTo>
                <a:lnTo>
                  <a:pt x="4" y="17"/>
                </a:lnTo>
                <a:lnTo>
                  <a:pt x="6" y="20"/>
                </a:lnTo>
                <a:lnTo>
                  <a:pt x="7" y="27"/>
                </a:lnTo>
                <a:lnTo>
                  <a:pt x="7" y="27"/>
                </a:lnTo>
                <a:lnTo>
                  <a:pt x="7" y="33"/>
                </a:lnTo>
                <a:lnTo>
                  <a:pt x="4" y="38"/>
                </a:lnTo>
                <a:lnTo>
                  <a:pt x="0" y="42"/>
                </a:lnTo>
                <a:lnTo>
                  <a:pt x="0" y="42"/>
                </a:lnTo>
                <a:lnTo>
                  <a:pt x="7" y="55"/>
                </a:lnTo>
                <a:lnTo>
                  <a:pt x="7" y="55"/>
                </a:lnTo>
                <a:lnTo>
                  <a:pt x="13" y="51"/>
                </a:lnTo>
                <a:lnTo>
                  <a:pt x="28" y="46"/>
                </a:lnTo>
                <a:lnTo>
                  <a:pt x="28" y="46"/>
                </a:lnTo>
                <a:lnTo>
                  <a:pt x="42" y="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8" name="Freeform 49"/>
          <p:cNvSpPr>
            <a:spLocks/>
          </p:cNvSpPr>
          <p:nvPr userDrawn="1"/>
        </p:nvSpPr>
        <p:spPr bwMode="auto">
          <a:xfrm>
            <a:off x="8423275" y="-982240"/>
            <a:ext cx="119063" cy="93663"/>
          </a:xfrm>
          <a:custGeom>
            <a:avLst/>
            <a:gdLst>
              <a:gd name="T0" fmla="*/ 152 w 152"/>
              <a:gd name="T1" fmla="*/ 60 h 119"/>
              <a:gd name="T2" fmla="*/ 148 w 152"/>
              <a:gd name="T3" fmla="*/ 58 h 119"/>
              <a:gd name="T4" fmla="*/ 139 w 152"/>
              <a:gd name="T5" fmla="*/ 62 h 119"/>
              <a:gd name="T6" fmla="*/ 135 w 152"/>
              <a:gd name="T7" fmla="*/ 64 h 119"/>
              <a:gd name="T8" fmla="*/ 134 w 152"/>
              <a:gd name="T9" fmla="*/ 75 h 119"/>
              <a:gd name="T10" fmla="*/ 130 w 152"/>
              <a:gd name="T11" fmla="*/ 71 h 119"/>
              <a:gd name="T12" fmla="*/ 121 w 152"/>
              <a:gd name="T13" fmla="*/ 69 h 119"/>
              <a:gd name="T14" fmla="*/ 113 w 152"/>
              <a:gd name="T15" fmla="*/ 71 h 119"/>
              <a:gd name="T16" fmla="*/ 117 w 152"/>
              <a:gd name="T17" fmla="*/ 80 h 119"/>
              <a:gd name="T18" fmla="*/ 113 w 152"/>
              <a:gd name="T19" fmla="*/ 90 h 119"/>
              <a:gd name="T20" fmla="*/ 110 w 152"/>
              <a:gd name="T21" fmla="*/ 90 h 119"/>
              <a:gd name="T22" fmla="*/ 103 w 152"/>
              <a:gd name="T23" fmla="*/ 84 h 119"/>
              <a:gd name="T24" fmla="*/ 103 w 152"/>
              <a:gd name="T25" fmla="*/ 79 h 119"/>
              <a:gd name="T26" fmla="*/ 93 w 152"/>
              <a:gd name="T27" fmla="*/ 82 h 119"/>
              <a:gd name="T28" fmla="*/ 88 w 152"/>
              <a:gd name="T29" fmla="*/ 79 h 119"/>
              <a:gd name="T30" fmla="*/ 90 w 152"/>
              <a:gd name="T31" fmla="*/ 69 h 119"/>
              <a:gd name="T32" fmla="*/ 104 w 152"/>
              <a:gd name="T33" fmla="*/ 66 h 119"/>
              <a:gd name="T34" fmla="*/ 103 w 152"/>
              <a:gd name="T35" fmla="*/ 60 h 119"/>
              <a:gd name="T36" fmla="*/ 97 w 152"/>
              <a:gd name="T37" fmla="*/ 53 h 119"/>
              <a:gd name="T38" fmla="*/ 92 w 152"/>
              <a:gd name="T39" fmla="*/ 51 h 119"/>
              <a:gd name="T40" fmla="*/ 82 w 152"/>
              <a:gd name="T41" fmla="*/ 53 h 119"/>
              <a:gd name="T42" fmla="*/ 86 w 152"/>
              <a:gd name="T43" fmla="*/ 51 h 119"/>
              <a:gd name="T44" fmla="*/ 90 w 152"/>
              <a:gd name="T45" fmla="*/ 44 h 119"/>
              <a:gd name="T46" fmla="*/ 90 w 152"/>
              <a:gd name="T47" fmla="*/ 35 h 119"/>
              <a:gd name="T48" fmla="*/ 84 w 152"/>
              <a:gd name="T49" fmla="*/ 26 h 119"/>
              <a:gd name="T50" fmla="*/ 84 w 152"/>
              <a:gd name="T51" fmla="*/ 26 h 119"/>
              <a:gd name="T52" fmla="*/ 79 w 152"/>
              <a:gd name="T53" fmla="*/ 27 h 119"/>
              <a:gd name="T54" fmla="*/ 68 w 152"/>
              <a:gd name="T55" fmla="*/ 33 h 119"/>
              <a:gd name="T56" fmla="*/ 66 w 152"/>
              <a:gd name="T57" fmla="*/ 38 h 119"/>
              <a:gd name="T58" fmla="*/ 66 w 152"/>
              <a:gd name="T59" fmla="*/ 46 h 119"/>
              <a:gd name="T60" fmla="*/ 62 w 152"/>
              <a:gd name="T61" fmla="*/ 40 h 119"/>
              <a:gd name="T62" fmla="*/ 55 w 152"/>
              <a:gd name="T63" fmla="*/ 35 h 119"/>
              <a:gd name="T64" fmla="*/ 50 w 152"/>
              <a:gd name="T65" fmla="*/ 35 h 119"/>
              <a:gd name="T66" fmla="*/ 42 w 152"/>
              <a:gd name="T67" fmla="*/ 38 h 119"/>
              <a:gd name="T68" fmla="*/ 48 w 152"/>
              <a:gd name="T69" fmla="*/ 46 h 119"/>
              <a:gd name="T70" fmla="*/ 48 w 152"/>
              <a:gd name="T71" fmla="*/ 57 h 119"/>
              <a:gd name="T72" fmla="*/ 42 w 152"/>
              <a:gd name="T73" fmla="*/ 58 h 119"/>
              <a:gd name="T74" fmla="*/ 35 w 152"/>
              <a:gd name="T75" fmla="*/ 53 h 119"/>
              <a:gd name="T76" fmla="*/ 33 w 152"/>
              <a:gd name="T77" fmla="*/ 47 h 119"/>
              <a:gd name="T78" fmla="*/ 26 w 152"/>
              <a:gd name="T79" fmla="*/ 53 h 119"/>
              <a:gd name="T80" fmla="*/ 20 w 152"/>
              <a:gd name="T81" fmla="*/ 51 h 119"/>
              <a:gd name="T82" fmla="*/ 17 w 152"/>
              <a:gd name="T83" fmla="*/ 42 h 119"/>
              <a:gd name="T84" fmla="*/ 31 w 152"/>
              <a:gd name="T85" fmla="*/ 35 h 119"/>
              <a:gd name="T86" fmla="*/ 29 w 152"/>
              <a:gd name="T87" fmla="*/ 33 h 119"/>
              <a:gd name="T88" fmla="*/ 22 w 152"/>
              <a:gd name="T89" fmla="*/ 24 h 119"/>
              <a:gd name="T90" fmla="*/ 15 w 152"/>
              <a:gd name="T91" fmla="*/ 24 h 119"/>
              <a:gd name="T92" fmla="*/ 18 w 152"/>
              <a:gd name="T93" fmla="*/ 18 h 119"/>
              <a:gd name="T94" fmla="*/ 20 w 152"/>
              <a:gd name="T95" fmla="*/ 9 h 119"/>
              <a:gd name="T96" fmla="*/ 18 w 152"/>
              <a:gd name="T97" fmla="*/ 5 h 119"/>
              <a:gd name="T98" fmla="*/ 13 w 152"/>
              <a:gd name="T99" fmla="*/ 0 h 119"/>
              <a:gd name="T100" fmla="*/ 35 w 152"/>
              <a:gd name="T101" fmla="*/ 88 h 119"/>
              <a:gd name="T102" fmla="*/ 46 w 152"/>
              <a:gd name="T103" fmla="*/ 82 h 119"/>
              <a:gd name="T104" fmla="*/ 51 w 152"/>
              <a:gd name="T105" fmla="*/ 79 h 119"/>
              <a:gd name="T106" fmla="*/ 66 w 152"/>
              <a:gd name="T107" fmla="*/ 80 h 119"/>
              <a:gd name="T108" fmla="*/ 71 w 152"/>
              <a:gd name="T109" fmla="*/ 82 h 119"/>
              <a:gd name="T110" fmla="*/ 82 w 152"/>
              <a:gd name="T111" fmla="*/ 90 h 119"/>
              <a:gd name="T112" fmla="*/ 84 w 152"/>
              <a:gd name="T113" fmla="*/ 99 h 119"/>
              <a:gd name="T114" fmla="*/ 84 w 152"/>
              <a:gd name="T115" fmla="*/ 104 h 119"/>
              <a:gd name="T116" fmla="*/ 106 w 152"/>
              <a:gd name="T117"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2" h="119">
                <a:moveTo>
                  <a:pt x="106" y="119"/>
                </a:moveTo>
                <a:lnTo>
                  <a:pt x="152" y="60"/>
                </a:lnTo>
                <a:lnTo>
                  <a:pt x="152" y="60"/>
                </a:lnTo>
                <a:lnTo>
                  <a:pt x="148" y="58"/>
                </a:lnTo>
                <a:lnTo>
                  <a:pt x="145" y="60"/>
                </a:lnTo>
                <a:lnTo>
                  <a:pt x="139" y="62"/>
                </a:lnTo>
                <a:lnTo>
                  <a:pt x="139" y="62"/>
                </a:lnTo>
                <a:lnTo>
                  <a:pt x="135" y="64"/>
                </a:lnTo>
                <a:lnTo>
                  <a:pt x="134" y="69"/>
                </a:lnTo>
                <a:lnTo>
                  <a:pt x="134" y="75"/>
                </a:lnTo>
                <a:lnTo>
                  <a:pt x="134" y="75"/>
                </a:lnTo>
                <a:lnTo>
                  <a:pt x="130" y="71"/>
                </a:lnTo>
                <a:lnTo>
                  <a:pt x="128" y="69"/>
                </a:lnTo>
                <a:lnTo>
                  <a:pt x="121" y="69"/>
                </a:lnTo>
                <a:lnTo>
                  <a:pt x="115" y="69"/>
                </a:lnTo>
                <a:lnTo>
                  <a:pt x="113" y="71"/>
                </a:lnTo>
                <a:lnTo>
                  <a:pt x="113" y="71"/>
                </a:lnTo>
                <a:lnTo>
                  <a:pt x="117" y="80"/>
                </a:lnTo>
                <a:lnTo>
                  <a:pt x="117" y="86"/>
                </a:lnTo>
                <a:lnTo>
                  <a:pt x="113" y="90"/>
                </a:lnTo>
                <a:lnTo>
                  <a:pt x="110" y="90"/>
                </a:lnTo>
                <a:lnTo>
                  <a:pt x="110" y="90"/>
                </a:lnTo>
                <a:lnTo>
                  <a:pt x="104" y="88"/>
                </a:lnTo>
                <a:lnTo>
                  <a:pt x="103" y="84"/>
                </a:lnTo>
                <a:lnTo>
                  <a:pt x="103" y="79"/>
                </a:lnTo>
                <a:lnTo>
                  <a:pt x="103" y="79"/>
                </a:lnTo>
                <a:lnTo>
                  <a:pt x="97" y="82"/>
                </a:lnTo>
                <a:lnTo>
                  <a:pt x="93" y="82"/>
                </a:lnTo>
                <a:lnTo>
                  <a:pt x="88" y="79"/>
                </a:lnTo>
                <a:lnTo>
                  <a:pt x="88" y="79"/>
                </a:lnTo>
                <a:lnTo>
                  <a:pt x="86" y="75"/>
                </a:lnTo>
                <a:lnTo>
                  <a:pt x="90" y="69"/>
                </a:lnTo>
                <a:lnTo>
                  <a:pt x="95" y="68"/>
                </a:lnTo>
                <a:lnTo>
                  <a:pt x="104" y="66"/>
                </a:lnTo>
                <a:lnTo>
                  <a:pt x="104" y="66"/>
                </a:lnTo>
                <a:lnTo>
                  <a:pt x="103" y="60"/>
                </a:lnTo>
                <a:lnTo>
                  <a:pt x="101" y="57"/>
                </a:lnTo>
                <a:lnTo>
                  <a:pt x="97" y="53"/>
                </a:lnTo>
                <a:lnTo>
                  <a:pt x="97" y="53"/>
                </a:lnTo>
                <a:lnTo>
                  <a:pt x="92" y="51"/>
                </a:lnTo>
                <a:lnTo>
                  <a:pt x="88" y="51"/>
                </a:lnTo>
                <a:lnTo>
                  <a:pt x="82" y="53"/>
                </a:lnTo>
                <a:lnTo>
                  <a:pt x="82" y="53"/>
                </a:lnTo>
                <a:lnTo>
                  <a:pt x="86" y="51"/>
                </a:lnTo>
                <a:lnTo>
                  <a:pt x="88" y="47"/>
                </a:lnTo>
                <a:lnTo>
                  <a:pt x="90" y="44"/>
                </a:lnTo>
                <a:lnTo>
                  <a:pt x="90" y="44"/>
                </a:lnTo>
                <a:lnTo>
                  <a:pt x="90" y="35"/>
                </a:lnTo>
                <a:lnTo>
                  <a:pt x="88" y="31"/>
                </a:lnTo>
                <a:lnTo>
                  <a:pt x="84" y="26"/>
                </a:lnTo>
                <a:lnTo>
                  <a:pt x="84" y="26"/>
                </a:lnTo>
                <a:lnTo>
                  <a:pt x="84" y="26"/>
                </a:lnTo>
                <a:lnTo>
                  <a:pt x="84" y="26"/>
                </a:lnTo>
                <a:lnTo>
                  <a:pt x="79" y="27"/>
                </a:lnTo>
                <a:lnTo>
                  <a:pt x="73" y="29"/>
                </a:lnTo>
                <a:lnTo>
                  <a:pt x="68" y="33"/>
                </a:lnTo>
                <a:lnTo>
                  <a:pt x="68" y="33"/>
                </a:lnTo>
                <a:lnTo>
                  <a:pt x="66" y="38"/>
                </a:lnTo>
                <a:lnTo>
                  <a:pt x="66" y="42"/>
                </a:lnTo>
                <a:lnTo>
                  <a:pt x="66" y="46"/>
                </a:lnTo>
                <a:lnTo>
                  <a:pt x="66" y="46"/>
                </a:lnTo>
                <a:lnTo>
                  <a:pt x="62" y="40"/>
                </a:lnTo>
                <a:lnTo>
                  <a:pt x="60" y="37"/>
                </a:lnTo>
                <a:lnTo>
                  <a:pt x="55" y="35"/>
                </a:lnTo>
                <a:lnTo>
                  <a:pt x="55" y="35"/>
                </a:lnTo>
                <a:lnTo>
                  <a:pt x="50" y="35"/>
                </a:lnTo>
                <a:lnTo>
                  <a:pt x="46" y="37"/>
                </a:lnTo>
                <a:lnTo>
                  <a:pt x="42" y="38"/>
                </a:lnTo>
                <a:lnTo>
                  <a:pt x="42" y="38"/>
                </a:lnTo>
                <a:lnTo>
                  <a:pt x="48" y="46"/>
                </a:lnTo>
                <a:lnTo>
                  <a:pt x="48" y="53"/>
                </a:lnTo>
                <a:lnTo>
                  <a:pt x="48" y="57"/>
                </a:lnTo>
                <a:lnTo>
                  <a:pt x="42" y="58"/>
                </a:lnTo>
                <a:lnTo>
                  <a:pt x="42" y="58"/>
                </a:lnTo>
                <a:lnTo>
                  <a:pt x="37" y="57"/>
                </a:lnTo>
                <a:lnTo>
                  <a:pt x="35" y="53"/>
                </a:lnTo>
                <a:lnTo>
                  <a:pt x="33" y="47"/>
                </a:lnTo>
                <a:lnTo>
                  <a:pt x="33" y="47"/>
                </a:lnTo>
                <a:lnTo>
                  <a:pt x="29" y="51"/>
                </a:lnTo>
                <a:lnTo>
                  <a:pt x="26" y="53"/>
                </a:lnTo>
                <a:lnTo>
                  <a:pt x="20" y="51"/>
                </a:lnTo>
                <a:lnTo>
                  <a:pt x="20" y="51"/>
                </a:lnTo>
                <a:lnTo>
                  <a:pt x="17" y="47"/>
                </a:lnTo>
                <a:lnTo>
                  <a:pt x="17" y="42"/>
                </a:lnTo>
                <a:lnTo>
                  <a:pt x="22" y="38"/>
                </a:lnTo>
                <a:lnTo>
                  <a:pt x="31" y="35"/>
                </a:lnTo>
                <a:lnTo>
                  <a:pt x="31" y="35"/>
                </a:lnTo>
                <a:lnTo>
                  <a:pt x="29" y="33"/>
                </a:lnTo>
                <a:lnTo>
                  <a:pt x="28" y="27"/>
                </a:lnTo>
                <a:lnTo>
                  <a:pt x="22" y="24"/>
                </a:lnTo>
                <a:lnTo>
                  <a:pt x="18" y="22"/>
                </a:lnTo>
                <a:lnTo>
                  <a:pt x="15" y="24"/>
                </a:lnTo>
                <a:lnTo>
                  <a:pt x="15" y="24"/>
                </a:lnTo>
                <a:lnTo>
                  <a:pt x="18" y="18"/>
                </a:lnTo>
                <a:lnTo>
                  <a:pt x="20" y="15"/>
                </a:lnTo>
                <a:lnTo>
                  <a:pt x="20" y="9"/>
                </a:lnTo>
                <a:lnTo>
                  <a:pt x="20" y="9"/>
                </a:lnTo>
                <a:lnTo>
                  <a:pt x="18" y="5"/>
                </a:lnTo>
                <a:lnTo>
                  <a:pt x="17" y="2"/>
                </a:lnTo>
                <a:lnTo>
                  <a:pt x="13" y="0"/>
                </a:lnTo>
                <a:lnTo>
                  <a:pt x="0" y="73"/>
                </a:lnTo>
                <a:lnTo>
                  <a:pt x="35" y="88"/>
                </a:lnTo>
                <a:lnTo>
                  <a:pt x="35" y="88"/>
                </a:lnTo>
                <a:lnTo>
                  <a:pt x="46" y="82"/>
                </a:lnTo>
                <a:lnTo>
                  <a:pt x="46" y="82"/>
                </a:lnTo>
                <a:lnTo>
                  <a:pt x="51" y="79"/>
                </a:lnTo>
                <a:lnTo>
                  <a:pt x="59" y="79"/>
                </a:lnTo>
                <a:lnTo>
                  <a:pt x="66" y="80"/>
                </a:lnTo>
                <a:lnTo>
                  <a:pt x="71" y="82"/>
                </a:lnTo>
                <a:lnTo>
                  <a:pt x="71" y="82"/>
                </a:lnTo>
                <a:lnTo>
                  <a:pt x="79" y="86"/>
                </a:lnTo>
                <a:lnTo>
                  <a:pt x="82" y="90"/>
                </a:lnTo>
                <a:lnTo>
                  <a:pt x="84" y="95"/>
                </a:lnTo>
                <a:lnTo>
                  <a:pt x="84" y="99"/>
                </a:lnTo>
                <a:lnTo>
                  <a:pt x="84" y="99"/>
                </a:lnTo>
                <a:lnTo>
                  <a:pt x="84" y="104"/>
                </a:lnTo>
                <a:lnTo>
                  <a:pt x="81" y="110"/>
                </a:lnTo>
                <a:lnTo>
                  <a:pt x="106" y="11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9" name="Freeform 50"/>
          <p:cNvSpPr>
            <a:spLocks/>
          </p:cNvSpPr>
          <p:nvPr userDrawn="1"/>
        </p:nvSpPr>
        <p:spPr bwMode="auto">
          <a:xfrm>
            <a:off x="8520113" y="-917153"/>
            <a:ext cx="142875" cy="25400"/>
          </a:xfrm>
          <a:custGeom>
            <a:avLst/>
            <a:gdLst>
              <a:gd name="T0" fmla="*/ 151 w 180"/>
              <a:gd name="T1" fmla="*/ 28 h 31"/>
              <a:gd name="T2" fmla="*/ 180 w 180"/>
              <a:gd name="T3" fmla="*/ 15 h 31"/>
              <a:gd name="T4" fmla="*/ 151 w 180"/>
              <a:gd name="T5" fmla="*/ 2 h 31"/>
              <a:gd name="T6" fmla="*/ 151 w 180"/>
              <a:gd name="T7" fmla="*/ 2 h 31"/>
              <a:gd name="T8" fmla="*/ 102 w 180"/>
              <a:gd name="T9" fmla="*/ 2 h 31"/>
              <a:gd name="T10" fmla="*/ 23 w 180"/>
              <a:gd name="T11" fmla="*/ 0 h 31"/>
              <a:gd name="T12" fmla="*/ 0 w 180"/>
              <a:gd name="T13" fmla="*/ 31 h 31"/>
              <a:gd name="T14" fmla="*/ 0 w 180"/>
              <a:gd name="T15" fmla="*/ 31 h 31"/>
              <a:gd name="T16" fmla="*/ 151 w 180"/>
              <a:gd name="T17"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31">
                <a:moveTo>
                  <a:pt x="151" y="28"/>
                </a:moveTo>
                <a:lnTo>
                  <a:pt x="180" y="15"/>
                </a:lnTo>
                <a:lnTo>
                  <a:pt x="151" y="2"/>
                </a:lnTo>
                <a:lnTo>
                  <a:pt x="151" y="2"/>
                </a:lnTo>
                <a:lnTo>
                  <a:pt x="102" y="2"/>
                </a:lnTo>
                <a:lnTo>
                  <a:pt x="23" y="0"/>
                </a:lnTo>
                <a:lnTo>
                  <a:pt x="0" y="31"/>
                </a:lnTo>
                <a:lnTo>
                  <a:pt x="0" y="31"/>
                </a:lnTo>
                <a:lnTo>
                  <a:pt x="151"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00" name="Freeform 51"/>
          <p:cNvSpPr>
            <a:spLocks/>
          </p:cNvSpPr>
          <p:nvPr userDrawn="1"/>
        </p:nvSpPr>
        <p:spPr bwMode="auto">
          <a:xfrm>
            <a:off x="8566150" y="-855240"/>
            <a:ext cx="85725" cy="84138"/>
          </a:xfrm>
          <a:custGeom>
            <a:avLst/>
            <a:gdLst>
              <a:gd name="T0" fmla="*/ 55 w 108"/>
              <a:gd name="T1" fmla="*/ 106 h 106"/>
              <a:gd name="T2" fmla="*/ 55 w 108"/>
              <a:gd name="T3" fmla="*/ 106 h 106"/>
              <a:gd name="T4" fmla="*/ 38 w 108"/>
              <a:gd name="T5" fmla="*/ 97 h 106"/>
              <a:gd name="T6" fmla="*/ 26 w 108"/>
              <a:gd name="T7" fmla="*/ 89 h 106"/>
              <a:gd name="T8" fmla="*/ 13 w 108"/>
              <a:gd name="T9" fmla="*/ 80 h 106"/>
              <a:gd name="T10" fmla="*/ 4 w 108"/>
              <a:gd name="T11" fmla="*/ 69 h 106"/>
              <a:gd name="T12" fmla="*/ 4 w 108"/>
              <a:gd name="T13" fmla="*/ 69 h 106"/>
              <a:gd name="T14" fmla="*/ 0 w 108"/>
              <a:gd name="T15" fmla="*/ 62 h 106"/>
              <a:gd name="T16" fmla="*/ 0 w 108"/>
              <a:gd name="T17" fmla="*/ 53 h 106"/>
              <a:gd name="T18" fmla="*/ 0 w 108"/>
              <a:gd name="T19" fmla="*/ 45 h 106"/>
              <a:gd name="T20" fmla="*/ 0 w 108"/>
              <a:gd name="T21" fmla="*/ 36 h 106"/>
              <a:gd name="T22" fmla="*/ 4 w 108"/>
              <a:gd name="T23" fmla="*/ 27 h 106"/>
              <a:gd name="T24" fmla="*/ 7 w 108"/>
              <a:gd name="T25" fmla="*/ 20 h 106"/>
              <a:gd name="T26" fmla="*/ 15 w 108"/>
              <a:gd name="T27" fmla="*/ 13 h 106"/>
              <a:gd name="T28" fmla="*/ 22 w 108"/>
              <a:gd name="T29" fmla="*/ 7 h 106"/>
              <a:gd name="T30" fmla="*/ 22 w 108"/>
              <a:gd name="T31" fmla="*/ 7 h 106"/>
              <a:gd name="T32" fmla="*/ 26 w 108"/>
              <a:gd name="T33" fmla="*/ 11 h 106"/>
              <a:gd name="T34" fmla="*/ 27 w 108"/>
              <a:gd name="T35" fmla="*/ 14 h 106"/>
              <a:gd name="T36" fmla="*/ 27 w 108"/>
              <a:gd name="T37" fmla="*/ 18 h 106"/>
              <a:gd name="T38" fmla="*/ 27 w 108"/>
              <a:gd name="T39" fmla="*/ 18 h 106"/>
              <a:gd name="T40" fmla="*/ 51 w 108"/>
              <a:gd name="T41" fmla="*/ 16 h 106"/>
              <a:gd name="T42" fmla="*/ 51 w 108"/>
              <a:gd name="T43" fmla="*/ 16 h 106"/>
              <a:gd name="T44" fmla="*/ 51 w 108"/>
              <a:gd name="T45" fmla="*/ 9 h 106"/>
              <a:gd name="T46" fmla="*/ 51 w 108"/>
              <a:gd name="T47" fmla="*/ 3 h 106"/>
              <a:gd name="T48" fmla="*/ 49 w 108"/>
              <a:gd name="T49" fmla="*/ 0 h 106"/>
              <a:gd name="T50" fmla="*/ 49 w 108"/>
              <a:gd name="T51" fmla="*/ 0 h 106"/>
              <a:gd name="T52" fmla="*/ 57 w 108"/>
              <a:gd name="T53" fmla="*/ 5 h 106"/>
              <a:gd name="T54" fmla="*/ 59 w 108"/>
              <a:gd name="T55" fmla="*/ 11 h 106"/>
              <a:gd name="T56" fmla="*/ 60 w 108"/>
              <a:gd name="T57" fmla="*/ 16 h 106"/>
              <a:gd name="T58" fmla="*/ 60 w 108"/>
              <a:gd name="T59" fmla="*/ 16 h 106"/>
              <a:gd name="T60" fmla="*/ 82 w 108"/>
              <a:gd name="T61" fmla="*/ 18 h 106"/>
              <a:gd name="T62" fmla="*/ 82 w 108"/>
              <a:gd name="T63" fmla="*/ 18 h 106"/>
              <a:gd name="T64" fmla="*/ 82 w 108"/>
              <a:gd name="T65" fmla="*/ 11 h 106"/>
              <a:gd name="T66" fmla="*/ 79 w 108"/>
              <a:gd name="T67" fmla="*/ 3 h 106"/>
              <a:gd name="T68" fmla="*/ 79 w 108"/>
              <a:gd name="T69" fmla="*/ 3 h 106"/>
              <a:gd name="T70" fmla="*/ 86 w 108"/>
              <a:gd name="T71" fmla="*/ 9 h 106"/>
              <a:gd name="T72" fmla="*/ 93 w 108"/>
              <a:gd name="T73" fmla="*/ 13 h 106"/>
              <a:gd name="T74" fmla="*/ 99 w 108"/>
              <a:gd name="T75" fmla="*/ 20 h 106"/>
              <a:gd name="T76" fmla="*/ 102 w 108"/>
              <a:gd name="T77" fmla="*/ 25 h 106"/>
              <a:gd name="T78" fmla="*/ 106 w 108"/>
              <a:gd name="T79" fmla="*/ 38 h 106"/>
              <a:gd name="T80" fmla="*/ 108 w 108"/>
              <a:gd name="T81" fmla="*/ 49 h 106"/>
              <a:gd name="T82" fmla="*/ 108 w 108"/>
              <a:gd name="T83" fmla="*/ 49 h 106"/>
              <a:gd name="T84" fmla="*/ 106 w 108"/>
              <a:gd name="T85" fmla="*/ 62 h 106"/>
              <a:gd name="T86" fmla="*/ 102 w 108"/>
              <a:gd name="T87" fmla="*/ 73 h 106"/>
              <a:gd name="T88" fmla="*/ 95 w 108"/>
              <a:gd name="T89" fmla="*/ 82 h 106"/>
              <a:gd name="T90" fmla="*/ 86 w 108"/>
              <a:gd name="T91" fmla="*/ 89 h 106"/>
              <a:gd name="T92" fmla="*/ 86 w 108"/>
              <a:gd name="T93" fmla="*/ 89 h 106"/>
              <a:gd name="T94" fmla="*/ 69 w 108"/>
              <a:gd name="T95" fmla="*/ 98 h 106"/>
              <a:gd name="T96" fmla="*/ 55 w 108"/>
              <a:gd name="T97"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 h="106">
                <a:moveTo>
                  <a:pt x="55" y="106"/>
                </a:moveTo>
                <a:lnTo>
                  <a:pt x="55" y="106"/>
                </a:lnTo>
                <a:lnTo>
                  <a:pt x="38" y="97"/>
                </a:lnTo>
                <a:lnTo>
                  <a:pt x="26" y="89"/>
                </a:lnTo>
                <a:lnTo>
                  <a:pt x="13" y="80"/>
                </a:lnTo>
                <a:lnTo>
                  <a:pt x="4" y="69"/>
                </a:lnTo>
                <a:lnTo>
                  <a:pt x="4" y="69"/>
                </a:lnTo>
                <a:lnTo>
                  <a:pt x="0" y="62"/>
                </a:lnTo>
                <a:lnTo>
                  <a:pt x="0" y="53"/>
                </a:lnTo>
                <a:lnTo>
                  <a:pt x="0" y="45"/>
                </a:lnTo>
                <a:lnTo>
                  <a:pt x="0" y="36"/>
                </a:lnTo>
                <a:lnTo>
                  <a:pt x="4" y="27"/>
                </a:lnTo>
                <a:lnTo>
                  <a:pt x="7" y="20"/>
                </a:lnTo>
                <a:lnTo>
                  <a:pt x="15" y="13"/>
                </a:lnTo>
                <a:lnTo>
                  <a:pt x="22" y="7"/>
                </a:lnTo>
                <a:lnTo>
                  <a:pt x="22" y="7"/>
                </a:lnTo>
                <a:lnTo>
                  <a:pt x="26" y="11"/>
                </a:lnTo>
                <a:lnTo>
                  <a:pt x="27" y="14"/>
                </a:lnTo>
                <a:lnTo>
                  <a:pt x="27" y="18"/>
                </a:lnTo>
                <a:lnTo>
                  <a:pt x="27" y="18"/>
                </a:lnTo>
                <a:lnTo>
                  <a:pt x="51" y="16"/>
                </a:lnTo>
                <a:lnTo>
                  <a:pt x="51" y="16"/>
                </a:lnTo>
                <a:lnTo>
                  <a:pt x="51" y="9"/>
                </a:lnTo>
                <a:lnTo>
                  <a:pt x="51" y="3"/>
                </a:lnTo>
                <a:lnTo>
                  <a:pt x="49" y="0"/>
                </a:lnTo>
                <a:lnTo>
                  <a:pt x="49" y="0"/>
                </a:lnTo>
                <a:lnTo>
                  <a:pt x="57" y="5"/>
                </a:lnTo>
                <a:lnTo>
                  <a:pt x="59" y="11"/>
                </a:lnTo>
                <a:lnTo>
                  <a:pt x="60" y="16"/>
                </a:lnTo>
                <a:lnTo>
                  <a:pt x="60" y="16"/>
                </a:lnTo>
                <a:lnTo>
                  <a:pt x="82" y="18"/>
                </a:lnTo>
                <a:lnTo>
                  <a:pt x="82" y="18"/>
                </a:lnTo>
                <a:lnTo>
                  <a:pt x="82" y="11"/>
                </a:lnTo>
                <a:lnTo>
                  <a:pt x="79" y="3"/>
                </a:lnTo>
                <a:lnTo>
                  <a:pt x="79" y="3"/>
                </a:lnTo>
                <a:lnTo>
                  <a:pt x="86" y="9"/>
                </a:lnTo>
                <a:lnTo>
                  <a:pt x="93" y="13"/>
                </a:lnTo>
                <a:lnTo>
                  <a:pt x="99" y="20"/>
                </a:lnTo>
                <a:lnTo>
                  <a:pt x="102" y="25"/>
                </a:lnTo>
                <a:lnTo>
                  <a:pt x="106" y="38"/>
                </a:lnTo>
                <a:lnTo>
                  <a:pt x="108" y="49"/>
                </a:lnTo>
                <a:lnTo>
                  <a:pt x="108" y="49"/>
                </a:lnTo>
                <a:lnTo>
                  <a:pt x="106" y="62"/>
                </a:lnTo>
                <a:lnTo>
                  <a:pt x="102" y="73"/>
                </a:lnTo>
                <a:lnTo>
                  <a:pt x="95" y="82"/>
                </a:lnTo>
                <a:lnTo>
                  <a:pt x="86" y="89"/>
                </a:lnTo>
                <a:lnTo>
                  <a:pt x="86" y="89"/>
                </a:lnTo>
                <a:lnTo>
                  <a:pt x="69" y="98"/>
                </a:lnTo>
                <a:lnTo>
                  <a:pt x="55" y="1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01" name="Freeform 52"/>
          <p:cNvSpPr>
            <a:spLocks/>
          </p:cNvSpPr>
          <p:nvPr userDrawn="1"/>
        </p:nvSpPr>
        <p:spPr bwMode="auto">
          <a:xfrm>
            <a:off x="8589963" y="-648865"/>
            <a:ext cx="1588" cy="1588"/>
          </a:xfrm>
          <a:custGeom>
            <a:avLst/>
            <a:gdLst>
              <a:gd name="T0" fmla="*/ 4 w 4"/>
              <a:gd name="T1" fmla="*/ 2 h 2"/>
              <a:gd name="T2" fmla="*/ 4 w 4"/>
              <a:gd name="T3" fmla="*/ 2 h 2"/>
              <a:gd name="T4" fmla="*/ 2 w 4"/>
              <a:gd name="T5" fmla="*/ 0 h 2"/>
              <a:gd name="T6" fmla="*/ 2 w 4"/>
              <a:gd name="T7" fmla="*/ 0 h 2"/>
              <a:gd name="T8" fmla="*/ 0 w 4"/>
              <a:gd name="T9" fmla="*/ 0 h 2"/>
              <a:gd name="T10" fmla="*/ 0 w 4"/>
              <a:gd name="T11" fmla="*/ 0 h 2"/>
              <a:gd name="T12" fmla="*/ 4 w 4"/>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2"/>
                </a:moveTo>
                <a:lnTo>
                  <a:pt x="4" y="2"/>
                </a:lnTo>
                <a:lnTo>
                  <a:pt x="2" y="0"/>
                </a:lnTo>
                <a:lnTo>
                  <a:pt x="2" y="0"/>
                </a:lnTo>
                <a:lnTo>
                  <a:pt x="0" y="0"/>
                </a:lnTo>
                <a:lnTo>
                  <a:pt x="0" y="0"/>
                </a:lnTo>
                <a:lnTo>
                  <a:pt x="4"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02" name="Freeform 53"/>
          <p:cNvSpPr>
            <a:spLocks/>
          </p:cNvSpPr>
          <p:nvPr userDrawn="1"/>
        </p:nvSpPr>
        <p:spPr bwMode="auto">
          <a:xfrm>
            <a:off x="8405813" y="-885403"/>
            <a:ext cx="15875" cy="9525"/>
          </a:xfrm>
          <a:custGeom>
            <a:avLst/>
            <a:gdLst>
              <a:gd name="T0" fmla="*/ 20 w 20"/>
              <a:gd name="T1" fmla="*/ 10 h 11"/>
              <a:gd name="T2" fmla="*/ 20 w 20"/>
              <a:gd name="T3" fmla="*/ 10 h 11"/>
              <a:gd name="T4" fmla="*/ 19 w 20"/>
              <a:gd name="T5" fmla="*/ 10 h 11"/>
              <a:gd name="T6" fmla="*/ 11 w 20"/>
              <a:gd name="T7" fmla="*/ 11 h 11"/>
              <a:gd name="T8" fmla="*/ 2 w 20"/>
              <a:gd name="T9" fmla="*/ 11 h 11"/>
              <a:gd name="T10" fmla="*/ 2 w 20"/>
              <a:gd name="T11" fmla="*/ 11 h 11"/>
              <a:gd name="T12" fmla="*/ 0 w 20"/>
              <a:gd name="T13" fmla="*/ 8 h 11"/>
              <a:gd name="T14" fmla="*/ 0 w 20"/>
              <a:gd name="T15" fmla="*/ 0 h 11"/>
              <a:gd name="T16" fmla="*/ 0 w 20"/>
              <a:gd name="T17" fmla="*/ 0 h 11"/>
              <a:gd name="T18" fmla="*/ 4 w 20"/>
              <a:gd name="T19" fmla="*/ 0 h 11"/>
              <a:gd name="T20" fmla="*/ 11 w 20"/>
              <a:gd name="T21" fmla="*/ 2 h 11"/>
              <a:gd name="T22" fmla="*/ 17 w 20"/>
              <a:gd name="T23" fmla="*/ 4 h 11"/>
              <a:gd name="T24" fmla="*/ 20 w 20"/>
              <a:gd name="T25"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1">
                <a:moveTo>
                  <a:pt x="20" y="10"/>
                </a:moveTo>
                <a:lnTo>
                  <a:pt x="20" y="10"/>
                </a:lnTo>
                <a:lnTo>
                  <a:pt x="19" y="10"/>
                </a:lnTo>
                <a:lnTo>
                  <a:pt x="11" y="11"/>
                </a:lnTo>
                <a:lnTo>
                  <a:pt x="2" y="11"/>
                </a:lnTo>
                <a:lnTo>
                  <a:pt x="2" y="11"/>
                </a:lnTo>
                <a:lnTo>
                  <a:pt x="0" y="8"/>
                </a:lnTo>
                <a:lnTo>
                  <a:pt x="0" y="0"/>
                </a:lnTo>
                <a:lnTo>
                  <a:pt x="0" y="0"/>
                </a:lnTo>
                <a:lnTo>
                  <a:pt x="4" y="0"/>
                </a:lnTo>
                <a:lnTo>
                  <a:pt x="11" y="2"/>
                </a:lnTo>
                <a:lnTo>
                  <a:pt x="17" y="4"/>
                </a:lnTo>
                <a:lnTo>
                  <a:pt x="20"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03" name="Freeform 54"/>
          <p:cNvSpPr>
            <a:spLocks/>
          </p:cNvSpPr>
          <p:nvPr userDrawn="1"/>
        </p:nvSpPr>
        <p:spPr bwMode="auto">
          <a:xfrm>
            <a:off x="8197850" y="-917153"/>
            <a:ext cx="492125" cy="579438"/>
          </a:xfrm>
          <a:custGeom>
            <a:avLst/>
            <a:gdLst>
              <a:gd name="T0" fmla="*/ 592 w 619"/>
              <a:gd name="T1" fmla="*/ 245 h 729"/>
              <a:gd name="T2" fmla="*/ 588 w 619"/>
              <a:gd name="T3" fmla="*/ 150 h 729"/>
              <a:gd name="T4" fmla="*/ 513 w 619"/>
              <a:gd name="T5" fmla="*/ 57 h 729"/>
              <a:gd name="T6" fmla="*/ 446 w 619"/>
              <a:gd name="T7" fmla="*/ 150 h 729"/>
              <a:gd name="T8" fmla="*/ 460 w 619"/>
              <a:gd name="T9" fmla="*/ 243 h 729"/>
              <a:gd name="T10" fmla="*/ 490 w 619"/>
              <a:gd name="T11" fmla="*/ 256 h 729"/>
              <a:gd name="T12" fmla="*/ 506 w 619"/>
              <a:gd name="T13" fmla="*/ 240 h 729"/>
              <a:gd name="T14" fmla="*/ 568 w 619"/>
              <a:gd name="T15" fmla="*/ 250 h 729"/>
              <a:gd name="T16" fmla="*/ 533 w 619"/>
              <a:gd name="T17" fmla="*/ 345 h 729"/>
              <a:gd name="T18" fmla="*/ 429 w 619"/>
              <a:gd name="T19" fmla="*/ 291 h 729"/>
              <a:gd name="T20" fmla="*/ 417 w 619"/>
              <a:gd name="T21" fmla="*/ 198 h 729"/>
              <a:gd name="T22" fmla="*/ 418 w 619"/>
              <a:gd name="T23" fmla="*/ 183 h 729"/>
              <a:gd name="T24" fmla="*/ 375 w 619"/>
              <a:gd name="T25" fmla="*/ 121 h 729"/>
              <a:gd name="T26" fmla="*/ 424 w 619"/>
              <a:gd name="T27" fmla="*/ 77 h 729"/>
              <a:gd name="T28" fmla="*/ 353 w 619"/>
              <a:gd name="T29" fmla="*/ 28 h 729"/>
              <a:gd name="T30" fmla="*/ 247 w 619"/>
              <a:gd name="T31" fmla="*/ 33 h 729"/>
              <a:gd name="T32" fmla="*/ 225 w 619"/>
              <a:gd name="T33" fmla="*/ 73 h 729"/>
              <a:gd name="T34" fmla="*/ 243 w 619"/>
              <a:gd name="T35" fmla="*/ 104 h 729"/>
              <a:gd name="T36" fmla="*/ 292 w 619"/>
              <a:gd name="T37" fmla="*/ 88 h 729"/>
              <a:gd name="T38" fmla="*/ 219 w 619"/>
              <a:gd name="T39" fmla="*/ 115 h 729"/>
              <a:gd name="T40" fmla="*/ 190 w 619"/>
              <a:gd name="T41" fmla="*/ 110 h 729"/>
              <a:gd name="T42" fmla="*/ 258 w 619"/>
              <a:gd name="T43" fmla="*/ 112 h 729"/>
              <a:gd name="T44" fmla="*/ 261 w 619"/>
              <a:gd name="T45" fmla="*/ 128 h 729"/>
              <a:gd name="T46" fmla="*/ 238 w 619"/>
              <a:gd name="T47" fmla="*/ 152 h 729"/>
              <a:gd name="T48" fmla="*/ 259 w 619"/>
              <a:gd name="T49" fmla="*/ 192 h 729"/>
              <a:gd name="T50" fmla="*/ 133 w 619"/>
              <a:gd name="T51" fmla="*/ 276 h 729"/>
              <a:gd name="T52" fmla="*/ 53 w 619"/>
              <a:gd name="T53" fmla="*/ 252 h 729"/>
              <a:gd name="T54" fmla="*/ 42 w 619"/>
              <a:gd name="T55" fmla="*/ 267 h 729"/>
              <a:gd name="T56" fmla="*/ 51 w 619"/>
              <a:gd name="T57" fmla="*/ 287 h 729"/>
              <a:gd name="T58" fmla="*/ 2 w 619"/>
              <a:gd name="T59" fmla="*/ 305 h 729"/>
              <a:gd name="T60" fmla="*/ 58 w 619"/>
              <a:gd name="T61" fmla="*/ 313 h 729"/>
              <a:gd name="T62" fmla="*/ 37 w 619"/>
              <a:gd name="T63" fmla="*/ 331 h 729"/>
              <a:gd name="T64" fmla="*/ 53 w 619"/>
              <a:gd name="T65" fmla="*/ 345 h 729"/>
              <a:gd name="T66" fmla="*/ 104 w 619"/>
              <a:gd name="T67" fmla="*/ 345 h 729"/>
              <a:gd name="T68" fmla="*/ 117 w 619"/>
              <a:gd name="T69" fmla="*/ 347 h 729"/>
              <a:gd name="T70" fmla="*/ 163 w 619"/>
              <a:gd name="T71" fmla="*/ 309 h 729"/>
              <a:gd name="T72" fmla="*/ 214 w 619"/>
              <a:gd name="T73" fmla="*/ 300 h 729"/>
              <a:gd name="T74" fmla="*/ 283 w 619"/>
              <a:gd name="T75" fmla="*/ 325 h 729"/>
              <a:gd name="T76" fmla="*/ 417 w 619"/>
              <a:gd name="T77" fmla="*/ 386 h 729"/>
              <a:gd name="T78" fmla="*/ 466 w 619"/>
              <a:gd name="T79" fmla="*/ 492 h 729"/>
              <a:gd name="T80" fmla="*/ 464 w 619"/>
              <a:gd name="T81" fmla="*/ 517 h 729"/>
              <a:gd name="T82" fmla="*/ 512 w 619"/>
              <a:gd name="T83" fmla="*/ 526 h 729"/>
              <a:gd name="T84" fmla="*/ 526 w 619"/>
              <a:gd name="T85" fmla="*/ 627 h 729"/>
              <a:gd name="T86" fmla="*/ 462 w 619"/>
              <a:gd name="T87" fmla="*/ 638 h 729"/>
              <a:gd name="T88" fmla="*/ 491 w 619"/>
              <a:gd name="T89" fmla="*/ 651 h 729"/>
              <a:gd name="T90" fmla="*/ 479 w 619"/>
              <a:gd name="T91" fmla="*/ 663 h 729"/>
              <a:gd name="T92" fmla="*/ 475 w 619"/>
              <a:gd name="T93" fmla="*/ 711 h 729"/>
              <a:gd name="T94" fmla="*/ 502 w 619"/>
              <a:gd name="T95" fmla="*/ 693 h 729"/>
              <a:gd name="T96" fmla="*/ 513 w 619"/>
              <a:gd name="T97" fmla="*/ 700 h 729"/>
              <a:gd name="T98" fmla="*/ 544 w 619"/>
              <a:gd name="T99" fmla="*/ 720 h 729"/>
              <a:gd name="T100" fmla="*/ 554 w 619"/>
              <a:gd name="T101" fmla="*/ 678 h 729"/>
              <a:gd name="T102" fmla="*/ 586 w 619"/>
              <a:gd name="T103" fmla="*/ 689 h 729"/>
              <a:gd name="T104" fmla="*/ 590 w 619"/>
              <a:gd name="T105" fmla="*/ 625 h 729"/>
              <a:gd name="T106" fmla="*/ 603 w 619"/>
              <a:gd name="T107" fmla="*/ 598 h 729"/>
              <a:gd name="T108" fmla="*/ 599 w 619"/>
              <a:gd name="T109" fmla="*/ 552 h 729"/>
              <a:gd name="T110" fmla="*/ 574 w 619"/>
              <a:gd name="T111" fmla="*/ 508 h 729"/>
              <a:gd name="T112" fmla="*/ 532 w 619"/>
              <a:gd name="T113" fmla="*/ 462 h 729"/>
              <a:gd name="T114" fmla="*/ 532 w 619"/>
              <a:gd name="T115" fmla="*/ 419 h 729"/>
              <a:gd name="T116" fmla="*/ 539 w 619"/>
              <a:gd name="T117" fmla="*/ 377 h 729"/>
              <a:gd name="T118" fmla="*/ 618 w 619"/>
              <a:gd name="T119" fmla="*/ 316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9" h="729">
                <a:moveTo>
                  <a:pt x="603" y="280"/>
                </a:moveTo>
                <a:lnTo>
                  <a:pt x="603" y="280"/>
                </a:lnTo>
                <a:lnTo>
                  <a:pt x="612" y="282"/>
                </a:lnTo>
                <a:lnTo>
                  <a:pt x="619" y="280"/>
                </a:lnTo>
                <a:lnTo>
                  <a:pt x="619" y="280"/>
                </a:lnTo>
                <a:lnTo>
                  <a:pt x="618" y="269"/>
                </a:lnTo>
                <a:lnTo>
                  <a:pt x="616" y="252"/>
                </a:lnTo>
                <a:lnTo>
                  <a:pt x="616" y="252"/>
                </a:lnTo>
                <a:lnTo>
                  <a:pt x="610" y="252"/>
                </a:lnTo>
                <a:lnTo>
                  <a:pt x="605" y="252"/>
                </a:lnTo>
                <a:lnTo>
                  <a:pt x="599" y="250"/>
                </a:lnTo>
                <a:lnTo>
                  <a:pt x="592" y="245"/>
                </a:lnTo>
                <a:lnTo>
                  <a:pt x="592" y="245"/>
                </a:lnTo>
                <a:lnTo>
                  <a:pt x="588" y="238"/>
                </a:lnTo>
                <a:lnTo>
                  <a:pt x="588" y="238"/>
                </a:lnTo>
                <a:lnTo>
                  <a:pt x="577" y="223"/>
                </a:lnTo>
                <a:lnTo>
                  <a:pt x="565" y="212"/>
                </a:lnTo>
                <a:lnTo>
                  <a:pt x="552" y="203"/>
                </a:lnTo>
                <a:lnTo>
                  <a:pt x="541" y="196"/>
                </a:lnTo>
                <a:lnTo>
                  <a:pt x="541" y="196"/>
                </a:lnTo>
                <a:lnTo>
                  <a:pt x="559" y="185"/>
                </a:lnTo>
                <a:lnTo>
                  <a:pt x="572" y="174"/>
                </a:lnTo>
                <a:lnTo>
                  <a:pt x="581" y="165"/>
                </a:lnTo>
                <a:lnTo>
                  <a:pt x="585" y="157"/>
                </a:lnTo>
                <a:lnTo>
                  <a:pt x="585" y="157"/>
                </a:lnTo>
                <a:lnTo>
                  <a:pt x="588" y="150"/>
                </a:lnTo>
                <a:lnTo>
                  <a:pt x="592" y="139"/>
                </a:lnTo>
                <a:lnTo>
                  <a:pt x="592" y="128"/>
                </a:lnTo>
                <a:lnTo>
                  <a:pt x="592" y="115"/>
                </a:lnTo>
                <a:lnTo>
                  <a:pt x="588" y="103"/>
                </a:lnTo>
                <a:lnTo>
                  <a:pt x="583" y="90"/>
                </a:lnTo>
                <a:lnTo>
                  <a:pt x="574" y="79"/>
                </a:lnTo>
                <a:lnTo>
                  <a:pt x="566" y="73"/>
                </a:lnTo>
                <a:lnTo>
                  <a:pt x="559" y="68"/>
                </a:lnTo>
                <a:lnTo>
                  <a:pt x="559" y="68"/>
                </a:lnTo>
                <a:lnTo>
                  <a:pt x="548" y="62"/>
                </a:lnTo>
                <a:lnTo>
                  <a:pt x="535" y="59"/>
                </a:lnTo>
                <a:lnTo>
                  <a:pt x="524" y="57"/>
                </a:lnTo>
                <a:lnTo>
                  <a:pt x="513" y="57"/>
                </a:lnTo>
                <a:lnTo>
                  <a:pt x="495" y="60"/>
                </a:lnTo>
                <a:lnTo>
                  <a:pt x="481" y="64"/>
                </a:lnTo>
                <a:lnTo>
                  <a:pt x="481" y="64"/>
                </a:lnTo>
                <a:lnTo>
                  <a:pt x="471" y="70"/>
                </a:lnTo>
                <a:lnTo>
                  <a:pt x="462" y="77"/>
                </a:lnTo>
                <a:lnTo>
                  <a:pt x="455" y="84"/>
                </a:lnTo>
                <a:lnTo>
                  <a:pt x="449" y="93"/>
                </a:lnTo>
                <a:lnTo>
                  <a:pt x="446" y="104"/>
                </a:lnTo>
                <a:lnTo>
                  <a:pt x="442" y="115"/>
                </a:lnTo>
                <a:lnTo>
                  <a:pt x="442" y="126"/>
                </a:lnTo>
                <a:lnTo>
                  <a:pt x="442" y="141"/>
                </a:lnTo>
                <a:lnTo>
                  <a:pt x="442" y="141"/>
                </a:lnTo>
                <a:lnTo>
                  <a:pt x="446" y="150"/>
                </a:lnTo>
                <a:lnTo>
                  <a:pt x="449" y="159"/>
                </a:lnTo>
                <a:lnTo>
                  <a:pt x="455" y="168"/>
                </a:lnTo>
                <a:lnTo>
                  <a:pt x="460" y="174"/>
                </a:lnTo>
                <a:lnTo>
                  <a:pt x="477" y="185"/>
                </a:lnTo>
                <a:lnTo>
                  <a:pt x="495" y="196"/>
                </a:lnTo>
                <a:lnTo>
                  <a:pt x="495" y="196"/>
                </a:lnTo>
                <a:lnTo>
                  <a:pt x="481" y="203"/>
                </a:lnTo>
                <a:lnTo>
                  <a:pt x="470" y="214"/>
                </a:lnTo>
                <a:lnTo>
                  <a:pt x="466" y="219"/>
                </a:lnTo>
                <a:lnTo>
                  <a:pt x="464" y="227"/>
                </a:lnTo>
                <a:lnTo>
                  <a:pt x="462" y="234"/>
                </a:lnTo>
                <a:lnTo>
                  <a:pt x="460" y="243"/>
                </a:lnTo>
                <a:lnTo>
                  <a:pt x="460" y="243"/>
                </a:lnTo>
                <a:lnTo>
                  <a:pt x="462" y="254"/>
                </a:lnTo>
                <a:lnTo>
                  <a:pt x="466" y="267"/>
                </a:lnTo>
                <a:lnTo>
                  <a:pt x="468" y="282"/>
                </a:lnTo>
                <a:lnTo>
                  <a:pt x="468" y="291"/>
                </a:lnTo>
                <a:lnTo>
                  <a:pt x="466" y="300"/>
                </a:lnTo>
                <a:lnTo>
                  <a:pt x="466" y="300"/>
                </a:lnTo>
                <a:lnTo>
                  <a:pt x="468" y="300"/>
                </a:lnTo>
                <a:lnTo>
                  <a:pt x="475" y="298"/>
                </a:lnTo>
                <a:lnTo>
                  <a:pt x="484" y="291"/>
                </a:lnTo>
                <a:lnTo>
                  <a:pt x="484" y="291"/>
                </a:lnTo>
                <a:lnTo>
                  <a:pt x="488" y="280"/>
                </a:lnTo>
                <a:lnTo>
                  <a:pt x="490" y="269"/>
                </a:lnTo>
                <a:lnTo>
                  <a:pt x="490" y="256"/>
                </a:lnTo>
                <a:lnTo>
                  <a:pt x="490" y="256"/>
                </a:lnTo>
                <a:lnTo>
                  <a:pt x="493" y="261"/>
                </a:lnTo>
                <a:lnTo>
                  <a:pt x="495" y="271"/>
                </a:lnTo>
                <a:lnTo>
                  <a:pt x="495" y="278"/>
                </a:lnTo>
                <a:lnTo>
                  <a:pt x="493" y="285"/>
                </a:lnTo>
                <a:lnTo>
                  <a:pt x="493" y="285"/>
                </a:lnTo>
                <a:lnTo>
                  <a:pt x="501" y="282"/>
                </a:lnTo>
                <a:lnTo>
                  <a:pt x="504" y="278"/>
                </a:lnTo>
                <a:lnTo>
                  <a:pt x="508" y="274"/>
                </a:lnTo>
                <a:lnTo>
                  <a:pt x="508" y="274"/>
                </a:lnTo>
                <a:lnTo>
                  <a:pt x="510" y="261"/>
                </a:lnTo>
                <a:lnTo>
                  <a:pt x="510" y="249"/>
                </a:lnTo>
                <a:lnTo>
                  <a:pt x="506" y="240"/>
                </a:lnTo>
                <a:lnTo>
                  <a:pt x="504" y="232"/>
                </a:lnTo>
                <a:lnTo>
                  <a:pt x="504" y="232"/>
                </a:lnTo>
                <a:lnTo>
                  <a:pt x="502" y="225"/>
                </a:lnTo>
                <a:lnTo>
                  <a:pt x="504" y="218"/>
                </a:lnTo>
                <a:lnTo>
                  <a:pt x="510" y="210"/>
                </a:lnTo>
                <a:lnTo>
                  <a:pt x="515" y="207"/>
                </a:lnTo>
                <a:lnTo>
                  <a:pt x="515" y="207"/>
                </a:lnTo>
                <a:lnTo>
                  <a:pt x="533" y="216"/>
                </a:lnTo>
                <a:lnTo>
                  <a:pt x="533" y="216"/>
                </a:lnTo>
                <a:lnTo>
                  <a:pt x="541" y="221"/>
                </a:lnTo>
                <a:lnTo>
                  <a:pt x="552" y="230"/>
                </a:lnTo>
                <a:lnTo>
                  <a:pt x="563" y="243"/>
                </a:lnTo>
                <a:lnTo>
                  <a:pt x="568" y="250"/>
                </a:lnTo>
                <a:lnTo>
                  <a:pt x="572" y="260"/>
                </a:lnTo>
                <a:lnTo>
                  <a:pt x="572" y="260"/>
                </a:lnTo>
                <a:lnTo>
                  <a:pt x="577" y="271"/>
                </a:lnTo>
                <a:lnTo>
                  <a:pt x="579" y="282"/>
                </a:lnTo>
                <a:lnTo>
                  <a:pt x="579" y="291"/>
                </a:lnTo>
                <a:lnTo>
                  <a:pt x="579" y="300"/>
                </a:lnTo>
                <a:lnTo>
                  <a:pt x="576" y="313"/>
                </a:lnTo>
                <a:lnTo>
                  <a:pt x="572" y="320"/>
                </a:lnTo>
                <a:lnTo>
                  <a:pt x="572" y="320"/>
                </a:lnTo>
                <a:lnTo>
                  <a:pt x="565" y="329"/>
                </a:lnTo>
                <a:lnTo>
                  <a:pt x="557" y="338"/>
                </a:lnTo>
                <a:lnTo>
                  <a:pt x="546" y="344"/>
                </a:lnTo>
                <a:lnTo>
                  <a:pt x="533" y="345"/>
                </a:lnTo>
                <a:lnTo>
                  <a:pt x="533" y="345"/>
                </a:lnTo>
                <a:lnTo>
                  <a:pt x="532" y="345"/>
                </a:lnTo>
                <a:lnTo>
                  <a:pt x="532" y="345"/>
                </a:lnTo>
                <a:lnTo>
                  <a:pt x="517" y="345"/>
                </a:lnTo>
                <a:lnTo>
                  <a:pt x="517" y="345"/>
                </a:lnTo>
                <a:lnTo>
                  <a:pt x="504" y="342"/>
                </a:lnTo>
                <a:lnTo>
                  <a:pt x="504" y="342"/>
                </a:lnTo>
                <a:lnTo>
                  <a:pt x="493" y="338"/>
                </a:lnTo>
                <a:lnTo>
                  <a:pt x="493" y="338"/>
                </a:lnTo>
                <a:lnTo>
                  <a:pt x="482" y="333"/>
                </a:lnTo>
                <a:lnTo>
                  <a:pt x="466" y="322"/>
                </a:lnTo>
                <a:lnTo>
                  <a:pt x="448" y="309"/>
                </a:lnTo>
                <a:lnTo>
                  <a:pt x="429" y="291"/>
                </a:lnTo>
                <a:lnTo>
                  <a:pt x="429" y="291"/>
                </a:lnTo>
                <a:lnTo>
                  <a:pt x="406" y="261"/>
                </a:lnTo>
                <a:lnTo>
                  <a:pt x="389" y="241"/>
                </a:lnTo>
                <a:lnTo>
                  <a:pt x="389" y="241"/>
                </a:lnTo>
                <a:lnTo>
                  <a:pt x="398" y="245"/>
                </a:lnTo>
                <a:lnTo>
                  <a:pt x="406" y="245"/>
                </a:lnTo>
                <a:lnTo>
                  <a:pt x="415" y="245"/>
                </a:lnTo>
                <a:lnTo>
                  <a:pt x="415" y="245"/>
                </a:lnTo>
                <a:lnTo>
                  <a:pt x="417" y="229"/>
                </a:lnTo>
                <a:lnTo>
                  <a:pt x="417" y="212"/>
                </a:lnTo>
                <a:lnTo>
                  <a:pt x="417" y="212"/>
                </a:lnTo>
                <a:lnTo>
                  <a:pt x="417" y="198"/>
                </a:lnTo>
                <a:lnTo>
                  <a:pt x="417" y="198"/>
                </a:lnTo>
                <a:lnTo>
                  <a:pt x="411" y="198"/>
                </a:lnTo>
                <a:lnTo>
                  <a:pt x="398" y="194"/>
                </a:lnTo>
                <a:lnTo>
                  <a:pt x="393" y="192"/>
                </a:lnTo>
                <a:lnTo>
                  <a:pt x="386" y="188"/>
                </a:lnTo>
                <a:lnTo>
                  <a:pt x="380" y="185"/>
                </a:lnTo>
                <a:lnTo>
                  <a:pt x="376" y="179"/>
                </a:lnTo>
                <a:lnTo>
                  <a:pt x="376" y="179"/>
                </a:lnTo>
                <a:lnTo>
                  <a:pt x="382" y="181"/>
                </a:lnTo>
                <a:lnTo>
                  <a:pt x="387" y="183"/>
                </a:lnTo>
                <a:lnTo>
                  <a:pt x="395" y="185"/>
                </a:lnTo>
                <a:lnTo>
                  <a:pt x="395" y="185"/>
                </a:lnTo>
                <a:lnTo>
                  <a:pt x="411" y="183"/>
                </a:lnTo>
                <a:lnTo>
                  <a:pt x="418" y="183"/>
                </a:lnTo>
                <a:lnTo>
                  <a:pt x="418" y="183"/>
                </a:lnTo>
                <a:lnTo>
                  <a:pt x="420" y="166"/>
                </a:lnTo>
                <a:lnTo>
                  <a:pt x="420" y="152"/>
                </a:lnTo>
                <a:lnTo>
                  <a:pt x="420" y="152"/>
                </a:lnTo>
                <a:lnTo>
                  <a:pt x="420" y="137"/>
                </a:lnTo>
                <a:lnTo>
                  <a:pt x="420" y="137"/>
                </a:lnTo>
                <a:lnTo>
                  <a:pt x="409" y="137"/>
                </a:lnTo>
                <a:lnTo>
                  <a:pt x="396" y="135"/>
                </a:lnTo>
                <a:lnTo>
                  <a:pt x="396" y="135"/>
                </a:lnTo>
                <a:lnTo>
                  <a:pt x="384" y="130"/>
                </a:lnTo>
                <a:lnTo>
                  <a:pt x="378" y="126"/>
                </a:lnTo>
                <a:lnTo>
                  <a:pt x="375" y="121"/>
                </a:lnTo>
                <a:lnTo>
                  <a:pt x="375" y="121"/>
                </a:lnTo>
                <a:lnTo>
                  <a:pt x="380" y="123"/>
                </a:lnTo>
                <a:lnTo>
                  <a:pt x="395" y="126"/>
                </a:lnTo>
                <a:lnTo>
                  <a:pt x="395" y="126"/>
                </a:lnTo>
                <a:lnTo>
                  <a:pt x="404" y="126"/>
                </a:lnTo>
                <a:lnTo>
                  <a:pt x="413" y="124"/>
                </a:lnTo>
                <a:lnTo>
                  <a:pt x="420" y="124"/>
                </a:lnTo>
                <a:lnTo>
                  <a:pt x="422" y="123"/>
                </a:lnTo>
                <a:lnTo>
                  <a:pt x="422" y="123"/>
                </a:lnTo>
                <a:lnTo>
                  <a:pt x="422" y="93"/>
                </a:lnTo>
                <a:lnTo>
                  <a:pt x="422" y="93"/>
                </a:lnTo>
                <a:lnTo>
                  <a:pt x="424" y="86"/>
                </a:lnTo>
                <a:lnTo>
                  <a:pt x="424" y="77"/>
                </a:lnTo>
                <a:lnTo>
                  <a:pt x="424" y="77"/>
                </a:lnTo>
                <a:lnTo>
                  <a:pt x="418" y="77"/>
                </a:lnTo>
                <a:lnTo>
                  <a:pt x="407" y="75"/>
                </a:lnTo>
                <a:lnTo>
                  <a:pt x="395" y="70"/>
                </a:lnTo>
                <a:lnTo>
                  <a:pt x="389" y="66"/>
                </a:lnTo>
                <a:lnTo>
                  <a:pt x="382" y="60"/>
                </a:lnTo>
                <a:lnTo>
                  <a:pt x="382" y="60"/>
                </a:lnTo>
                <a:lnTo>
                  <a:pt x="380" y="57"/>
                </a:lnTo>
                <a:lnTo>
                  <a:pt x="380" y="53"/>
                </a:lnTo>
                <a:lnTo>
                  <a:pt x="382" y="46"/>
                </a:lnTo>
                <a:lnTo>
                  <a:pt x="382" y="46"/>
                </a:lnTo>
                <a:lnTo>
                  <a:pt x="349" y="31"/>
                </a:lnTo>
                <a:lnTo>
                  <a:pt x="349" y="31"/>
                </a:lnTo>
                <a:lnTo>
                  <a:pt x="353" y="28"/>
                </a:lnTo>
                <a:lnTo>
                  <a:pt x="356" y="22"/>
                </a:lnTo>
                <a:lnTo>
                  <a:pt x="356" y="18"/>
                </a:lnTo>
                <a:lnTo>
                  <a:pt x="356" y="18"/>
                </a:lnTo>
                <a:lnTo>
                  <a:pt x="354" y="13"/>
                </a:lnTo>
                <a:lnTo>
                  <a:pt x="349" y="9"/>
                </a:lnTo>
                <a:lnTo>
                  <a:pt x="343" y="8"/>
                </a:lnTo>
                <a:lnTo>
                  <a:pt x="336" y="8"/>
                </a:lnTo>
                <a:lnTo>
                  <a:pt x="336" y="8"/>
                </a:lnTo>
                <a:lnTo>
                  <a:pt x="329" y="9"/>
                </a:lnTo>
                <a:lnTo>
                  <a:pt x="325" y="13"/>
                </a:lnTo>
                <a:lnTo>
                  <a:pt x="320" y="18"/>
                </a:lnTo>
                <a:lnTo>
                  <a:pt x="280" y="0"/>
                </a:lnTo>
                <a:lnTo>
                  <a:pt x="247" y="33"/>
                </a:lnTo>
                <a:lnTo>
                  <a:pt x="247" y="33"/>
                </a:lnTo>
                <a:lnTo>
                  <a:pt x="245" y="35"/>
                </a:lnTo>
                <a:lnTo>
                  <a:pt x="245" y="39"/>
                </a:lnTo>
                <a:lnTo>
                  <a:pt x="245" y="42"/>
                </a:lnTo>
                <a:lnTo>
                  <a:pt x="245" y="42"/>
                </a:lnTo>
                <a:lnTo>
                  <a:pt x="245" y="44"/>
                </a:lnTo>
                <a:lnTo>
                  <a:pt x="243" y="46"/>
                </a:lnTo>
                <a:lnTo>
                  <a:pt x="243" y="46"/>
                </a:lnTo>
                <a:lnTo>
                  <a:pt x="234" y="57"/>
                </a:lnTo>
                <a:lnTo>
                  <a:pt x="234" y="57"/>
                </a:lnTo>
                <a:lnTo>
                  <a:pt x="228" y="66"/>
                </a:lnTo>
                <a:lnTo>
                  <a:pt x="228" y="66"/>
                </a:lnTo>
                <a:lnTo>
                  <a:pt x="225" y="73"/>
                </a:lnTo>
                <a:lnTo>
                  <a:pt x="223" y="79"/>
                </a:lnTo>
                <a:lnTo>
                  <a:pt x="223" y="79"/>
                </a:lnTo>
                <a:lnTo>
                  <a:pt x="221" y="81"/>
                </a:lnTo>
                <a:lnTo>
                  <a:pt x="221" y="84"/>
                </a:lnTo>
                <a:lnTo>
                  <a:pt x="225" y="92"/>
                </a:lnTo>
                <a:lnTo>
                  <a:pt x="234" y="99"/>
                </a:lnTo>
                <a:lnTo>
                  <a:pt x="234" y="101"/>
                </a:lnTo>
                <a:lnTo>
                  <a:pt x="234" y="101"/>
                </a:lnTo>
                <a:lnTo>
                  <a:pt x="236" y="99"/>
                </a:lnTo>
                <a:lnTo>
                  <a:pt x="238" y="99"/>
                </a:lnTo>
                <a:lnTo>
                  <a:pt x="238" y="99"/>
                </a:lnTo>
                <a:lnTo>
                  <a:pt x="243" y="104"/>
                </a:lnTo>
                <a:lnTo>
                  <a:pt x="243" y="104"/>
                </a:lnTo>
                <a:lnTo>
                  <a:pt x="245" y="101"/>
                </a:lnTo>
                <a:lnTo>
                  <a:pt x="248" y="95"/>
                </a:lnTo>
                <a:lnTo>
                  <a:pt x="248" y="95"/>
                </a:lnTo>
                <a:lnTo>
                  <a:pt x="254" y="88"/>
                </a:lnTo>
                <a:lnTo>
                  <a:pt x="261" y="82"/>
                </a:lnTo>
                <a:lnTo>
                  <a:pt x="261" y="82"/>
                </a:lnTo>
                <a:lnTo>
                  <a:pt x="269" y="79"/>
                </a:lnTo>
                <a:lnTo>
                  <a:pt x="276" y="79"/>
                </a:lnTo>
                <a:lnTo>
                  <a:pt x="276" y="79"/>
                </a:lnTo>
                <a:lnTo>
                  <a:pt x="283" y="79"/>
                </a:lnTo>
                <a:lnTo>
                  <a:pt x="289" y="82"/>
                </a:lnTo>
                <a:lnTo>
                  <a:pt x="289" y="82"/>
                </a:lnTo>
                <a:lnTo>
                  <a:pt x="292" y="88"/>
                </a:lnTo>
                <a:lnTo>
                  <a:pt x="294" y="95"/>
                </a:lnTo>
                <a:lnTo>
                  <a:pt x="294" y="103"/>
                </a:lnTo>
                <a:lnTo>
                  <a:pt x="294" y="108"/>
                </a:lnTo>
                <a:lnTo>
                  <a:pt x="294" y="108"/>
                </a:lnTo>
                <a:lnTo>
                  <a:pt x="290" y="104"/>
                </a:lnTo>
                <a:lnTo>
                  <a:pt x="290" y="104"/>
                </a:lnTo>
                <a:lnTo>
                  <a:pt x="285" y="103"/>
                </a:lnTo>
                <a:lnTo>
                  <a:pt x="276" y="101"/>
                </a:lnTo>
                <a:lnTo>
                  <a:pt x="265" y="101"/>
                </a:lnTo>
                <a:lnTo>
                  <a:pt x="254" y="103"/>
                </a:lnTo>
                <a:lnTo>
                  <a:pt x="254" y="103"/>
                </a:lnTo>
                <a:lnTo>
                  <a:pt x="241" y="108"/>
                </a:lnTo>
                <a:lnTo>
                  <a:pt x="219" y="115"/>
                </a:lnTo>
                <a:lnTo>
                  <a:pt x="219" y="115"/>
                </a:lnTo>
                <a:lnTo>
                  <a:pt x="214" y="117"/>
                </a:lnTo>
                <a:lnTo>
                  <a:pt x="208" y="117"/>
                </a:lnTo>
                <a:lnTo>
                  <a:pt x="205" y="113"/>
                </a:lnTo>
                <a:lnTo>
                  <a:pt x="203" y="110"/>
                </a:lnTo>
                <a:lnTo>
                  <a:pt x="203" y="110"/>
                </a:lnTo>
                <a:lnTo>
                  <a:pt x="203" y="104"/>
                </a:lnTo>
                <a:lnTo>
                  <a:pt x="203" y="101"/>
                </a:lnTo>
                <a:lnTo>
                  <a:pt x="205" y="97"/>
                </a:lnTo>
                <a:lnTo>
                  <a:pt x="205" y="97"/>
                </a:lnTo>
                <a:lnTo>
                  <a:pt x="199" y="101"/>
                </a:lnTo>
                <a:lnTo>
                  <a:pt x="194" y="104"/>
                </a:lnTo>
                <a:lnTo>
                  <a:pt x="190" y="110"/>
                </a:lnTo>
                <a:lnTo>
                  <a:pt x="190" y="110"/>
                </a:lnTo>
                <a:lnTo>
                  <a:pt x="190" y="117"/>
                </a:lnTo>
                <a:lnTo>
                  <a:pt x="192" y="124"/>
                </a:lnTo>
                <a:lnTo>
                  <a:pt x="195" y="128"/>
                </a:lnTo>
                <a:lnTo>
                  <a:pt x="201" y="132"/>
                </a:lnTo>
                <a:lnTo>
                  <a:pt x="201" y="132"/>
                </a:lnTo>
                <a:lnTo>
                  <a:pt x="208" y="132"/>
                </a:lnTo>
                <a:lnTo>
                  <a:pt x="217" y="130"/>
                </a:lnTo>
                <a:lnTo>
                  <a:pt x="234" y="123"/>
                </a:lnTo>
                <a:lnTo>
                  <a:pt x="234" y="123"/>
                </a:lnTo>
                <a:lnTo>
                  <a:pt x="250" y="113"/>
                </a:lnTo>
                <a:lnTo>
                  <a:pt x="250" y="113"/>
                </a:lnTo>
                <a:lnTo>
                  <a:pt x="258" y="112"/>
                </a:lnTo>
                <a:lnTo>
                  <a:pt x="263" y="110"/>
                </a:lnTo>
                <a:lnTo>
                  <a:pt x="270" y="112"/>
                </a:lnTo>
                <a:lnTo>
                  <a:pt x="278" y="113"/>
                </a:lnTo>
                <a:lnTo>
                  <a:pt x="278" y="113"/>
                </a:lnTo>
                <a:lnTo>
                  <a:pt x="285" y="119"/>
                </a:lnTo>
                <a:lnTo>
                  <a:pt x="289" y="121"/>
                </a:lnTo>
                <a:lnTo>
                  <a:pt x="289" y="121"/>
                </a:lnTo>
                <a:lnTo>
                  <a:pt x="285" y="126"/>
                </a:lnTo>
                <a:lnTo>
                  <a:pt x="281" y="130"/>
                </a:lnTo>
                <a:lnTo>
                  <a:pt x="274" y="130"/>
                </a:lnTo>
                <a:lnTo>
                  <a:pt x="274" y="130"/>
                </a:lnTo>
                <a:lnTo>
                  <a:pt x="267" y="130"/>
                </a:lnTo>
                <a:lnTo>
                  <a:pt x="261" y="128"/>
                </a:lnTo>
                <a:lnTo>
                  <a:pt x="256" y="124"/>
                </a:lnTo>
                <a:lnTo>
                  <a:pt x="254" y="121"/>
                </a:lnTo>
                <a:lnTo>
                  <a:pt x="254" y="121"/>
                </a:lnTo>
                <a:lnTo>
                  <a:pt x="250" y="128"/>
                </a:lnTo>
                <a:lnTo>
                  <a:pt x="250" y="128"/>
                </a:lnTo>
                <a:lnTo>
                  <a:pt x="248" y="132"/>
                </a:lnTo>
                <a:lnTo>
                  <a:pt x="248" y="135"/>
                </a:lnTo>
                <a:lnTo>
                  <a:pt x="250" y="137"/>
                </a:lnTo>
                <a:lnTo>
                  <a:pt x="248" y="141"/>
                </a:lnTo>
                <a:lnTo>
                  <a:pt x="248" y="141"/>
                </a:lnTo>
                <a:lnTo>
                  <a:pt x="247" y="143"/>
                </a:lnTo>
                <a:lnTo>
                  <a:pt x="245" y="146"/>
                </a:lnTo>
                <a:lnTo>
                  <a:pt x="238" y="152"/>
                </a:lnTo>
                <a:lnTo>
                  <a:pt x="238" y="152"/>
                </a:lnTo>
                <a:lnTo>
                  <a:pt x="227" y="157"/>
                </a:lnTo>
                <a:lnTo>
                  <a:pt x="219" y="159"/>
                </a:lnTo>
                <a:lnTo>
                  <a:pt x="219" y="159"/>
                </a:lnTo>
                <a:lnTo>
                  <a:pt x="227" y="176"/>
                </a:lnTo>
                <a:lnTo>
                  <a:pt x="227" y="176"/>
                </a:lnTo>
                <a:lnTo>
                  <a:pt x="232" y="187"/>
                </a:lnTo>
                <a:lnTo>
                  <a:pt x="236" y="194"/>
                </a:lnTo>
                <a:lnTo>
                  <a:pt x="239" y="199"/>
                </a:lnTo>
                <a:lnTo>
                  <a:pt x="239" y="199"/>
                </a:lnTo>
                <a:lnTo>
                  <a:pt x="247" y="198"/>
                </a:lnTo>
                <a:lnTo>
                  <a:pt x="259" y="192"/>
                </a:lnTo>
                <a:lnTo>
                  <a:pt x="259" y="192"/>
                </a:lnTo>
                <a:lnTo>
                  <a:pt x="269" y="185"/>
                </a:lnTo>
                <a:lnTo>
                  <a:pt x="274" y="177"/>
                </a:lnTo>
                <a:lnTo>
                  <a:pt x="274" y="177"/>
                </a:lnTo>
                <a:lnTo>
                  <a:pt x="267" y="194"/>
                </a:lnTo>
                <a:lnTo>
                  <a:pt x="261" y="203"/>
                </a:lnTo>
                <a:lnTo>
                  <a:pt x="254" y="210"/>
                </a:lnTo>
                <a:lnTo>
                  <a:pt x="248" y="216"/>
                </a:lnTo>
                <a:lnTo>
                  <a:pt x="248" y="216"/>
                </a:lnTo>
                <a:lnTo>
                  <a:pt x="225" y="232"/>
                </a:lnTo>
                <a:lnTo>
                  <a:pt x="192" y="250"/>
                </a:lnTo>
                <a:lnTo>
                  <a:pt x="172" y="261"/>
                </a:lnTo>
                <a:lnTo>
                  <a:pt x="153" y="269"/>
                </a:lnTo>
                <a:lnTo>
                  <a:pt x="133" y="276"/>
                </a:lnTo>
                <a:lnTo>
                  <a:pt x="113" y="280"/>
                </a:lnTo>
                <a:lnTo>
                  <a:pt x="113" y="280"/>
                </a:lnTo>
                <a:lnTo>
                  <a:pt x="108" y="278"/>
                </a:lnTo>
                <a:lnTo>
                  <a:pt x="100" y="276"/>
                </a:lnTo>
                <a:lnTo>
                  <a:pt x="88" y="267"/>
                </a:lnTo>
                <a:lnTo>
                  <a:pt x="75" y="258"/>
                </a:lnTo>
                <a:lnTo>
                  <a:pt x="68" y="249"/>
                </a:lnTo>
                <a:lnTo>
                  <a:pt x="68" y="249"/>
                </a:lnTo>
                <a:lnTo>
                  <a:pt x="66" y="249"/>
                </a:lnTo>
                <a:lnTo>
                  <a:pt x="62" y="247"/>
                </a:lnTo>
                <a:lnTo>
                  <a:pt x="58" y="249"/>
                </a:lnTo>
                <a:lnTo>
                  <a:pt x="53" y="252"/>
                </a:lnTo>
                <a:lnTo>
                  <a:pt x="53" y="252"/>
                </a:lnTo>
                <a:lnTo>
                  <a:pt x="49" y="252"/>
                </a:lnTo>
                <a:lnTo>
                  <a:pt x="42" y="252"/>
                </a:lnTo>
                <a:lnTo>
                  <a:pt x="31" y="254"/>
                </a:lnTo>
                <a:lnTo>
                  <a:pt x="27" y="258"/>
                </a:lnTo>
                <a:lnTo>
                  <a:pt x="24" y="261"/>
                </a:lnTo>
                <a:lnTo>
                  <a:pt x="24" y="261"/>
                </a:lnTo>
                <a:lnTo>
                  <a:pt x="24" y="263"/>
                </a:lnTo>
                <a:lnTo>
                  <a:pt x="29" y="263"/>
                </a:lnTo>
                <a:lnTo>
                  <a:pt x="35" y="261"/>
                </a:lnTo>
                <a:lnTo>
                  <a:pt x="42" y="263"/>
                </a:lnTo>
                <a:lnTo>
                  <a:pt x="42" y="263"/>
                </a:lnTo>
                <a:lnTo>
                  <a:pt x="44" y="265"/>
                </a:lnTo>
                <a:lnTo>
                  <a:pt x="42" y="267"/>
                </a:lnTo>
                <a:lnTo>
                  <a:pt x="40" y="269"/>
                </a:lnTo>
                <a:lnTo>
                  <a:pt x="40" y="272"/>
                </a:lnTo>
                <a:lnTo>
                  <a:pt x="40" y="272"/>
                </a:lnTo>
                <a:lnTo>
                  <a:pt x="40" y="274"/>
                </a:lnTo>
                <a:lnTo>
                  <a:pt x="44" y="278"/>
                </a:lnTo>
                <a:lnTo>
                  <a:pt x="53" y="282"/>
                </a:lnTo>
                <a:lnTo>
                  <a:pt x="71" y="289"/>
                </a:lnTo>
                <a:lnTo>
                  <a:pt x="71" y="289"/>
                </a:lnTo>
                <a:lnTo>
                  <a:pt x="73" y="291"/>
                </a:lnTo>
                <a:lnTo>
                  <a:pt x="73" y="293"/>
                </a:lnTo>
                <a:lnTo>
                  <a:pt x="73" y="293"/>
                </a:lnTo>
                <a:lnTo>
                  <a:pt x="60" y="291"/>
                </a:lnTo>
                <a:lnTo>
                  <a:pt x="51" y="287"/>
                </a:lnTo>
                <a:lnTo>
                  <a:pt x="38" y="282"/>
                </a:lnTo>
                <a:lnTo>
                  <a:pt x="38" y="282"/>
                </a:lnTo>
                <a:lnTo>
                  <a:pt x="29" y="280"/>
                </a:lnTo>
                <a:lnTo>
                  <a:pt x="24" y="280"/>
                </a:lnTo>
                <a:lnTo>
                  <a:pt x="22" y="283"/>
                </a:lnTo>
                <a:lnTo>
                  <a:pt x="20" y="287"/>
                </a:lnTo>
                <a:lnTo>
                  <a:pt x="20" y="287"/>
                </a:lnTo>
                <a:lnTo>
                  <a:pt x="18" y="289"/>
                </a:lnTo>
                <a:lnTo>
                  <a:pt x="16" y="289"/>
                </a:lnTo>
                <a:lnTo>
                  <a:pt x="11" y="293"/>
                </a:lnTo>
                <a:lnTo>
                  <a:pt x="7" y="294"/>
                </a:lnTo>
                <a:lnTo>
                  <a:pt x="4" y="300"/>
                </a:lnTo>
                <a:lnTo>
                  <a:pt x="2" y="305"/>
                </a:lnTo>
                <a:lnTo>
                  <a:pt x="0" y="314"/>
                </a:lnTo>
                <a:lnTo>
                  <a:pt x="0" y="314"/>
                </a:lnTo>
                <a:lnTo>
                  <a:pt x="4" y="313"/>
                </a:lnTo>
                <a:lnTo>
                  <a:pt x="9" y="307"/>
                </a:lnTo>
                <a:lnTo>
                  <a:pt x="15" y="303"/>
                </a:lnTo>
                <a:lnTo>
                  <a:pt x="18" y="302"/>
                </a:lnTo>
                <a:lnTo>
                  <a:pt x="18" y="303"/>
                </a:lnTo>
                <a:lnTo>
                  <a:pt x="18" y="303"/>
                </a:lnTo>
                <a:lnTo>
                  <a:pt x="22" y="311"/>
                </a:lnTo>
                <a:lnTo>
                  <a:pt x="27" y="314"/>
                </a:lnTo>
                <a:lnTo>
                  <a:pt x="35" y="314"/>
                </a:lnTo>
                <a:lnTo>
                  <a:pt x="42" y="314"/>
                </a:lnTo>
                <a:lnTo>
                  <a:pt x="58" y="313"/>
                </a:lnTo>
                <a:lnTo>
                  <a:pt x="66" y="313"/>
                </a:lnTo>
                <a:lnTo>
                  <a:pt x="69" y="313"/>
                </a:lnTo>
                <a:lnTo>
                  <a:pt x="69" y="313"/>
                </a:lnTo>
                <a:lnTo>
                  <a:pt x="69" y="314"/>
                </a:lnTo>
                <a:lnTo>
                  <a:pt x="69" y="314"/>
                </a:lnTo>
                <a:lnTo>
                  <a:pt x="66" y="316"/>
                </a:lnTo>
                <a:lnTo>
                  <a:pt x="53" y="318"/>
                </a:lnTo>
                <a:lnTo>
                  <a:pt x="46" y="320"/>
                </a:lnTo>
                <a:lnTo>
                  <a:pt x="38" y="324"/>
                </a:lnTo>
                <a:lnTo>
                  <a:pt x="37" y="325"/>
                </a:lnTo>
                <a:lnTo>
                  <a:pt x="35" y="329"/>
                </a:lnTo>
                <a:lnTo>
                  <a:pt x="37" y="331"/>
                </a:lnTo>
                <a:lnTo>
                  <a:pt x="37" y="331"/>
                </a:lnTo>
                <a:lnTo>
                  <a:pt x="33" y="335"/>
                </a:lnTo>
                <a:lnTo>
                  <a:pt x="29" y="342"/>
                </a:lnTo>
                <a:lnTo>
                  <a:pt x="27" y="345"/>
                </a:lnTo>
                <a:lnTo>
                  <a:pt x="27" y="351"/>
                </a:lnTo>
                <a:lnTo>
                  <a:pt x="29" y="356"/>
                </a:lnTo>
                <a:lnTo>
                  <a:pt x="35" y="364"/>
                </a:lnTo>
                <a:lnTo>
                  <a:pt x="35" y="364"/>
                </a:lnTo>
                <a:lnTo>
                  <a:pt x="37" y="353"/>
                </a:lnTo>
                <a:lnTo>
                  <a:pt x="40" y="347"/>
                </a:lnTo>
                <a:lnTo>
                  <a:pt x="42" y="345"/>
                </a:lnTo>
                <a:lnTo>
                  <a:pt x="46" y="345"/>
                </a:lnTo>
                <a:lnTo>
                  <a:pt x="46" y="345"/>
                </a:lnTo>
                <a:lnTo>
                  <a:pt x="53" y="345"/>
                </a:lnTo>
                <a:lnTo>
                  <a:pt x="58" y="349"/>
                </a:lnTo>
                <a:lnTo>
                  <a:pt x="64" y="349"/>
                </a:lnTo>
                <a:lnTo>
                  <a:pt x="71" y="345"/>
                </a:lnTo>
                <a:lnTo>
                  <a:pt x="71" y="345"/>
                </a:lnTo>
                <a:lnTo>
                  <a:pt x="79" y="340"/>
                </a:lnTo>
                <a:lnTo>
                  <a:pt x="84" y="336"/>
                </a:lnTo>
                <a:lnTo>
                  <a:pt x="95" y="333"/>
                </a:lnTo>
                <a:lnTo>
                  <a:pt x="95" y="333"/>
                </a:lnTo>
                <a:lnTo>
                  <a:pt x="95" y="336"/>
                </a:lnTo>
                <a:lnTo>
                  <a:pt x="99" y="342"/>
                </a:lnTo>
                <a:lnTo>
                  <a:pt x="99" y="342"/>
                </a:lnTo>
                <a:lnTo>
                  <a:pt x="102" y="344"/>
                </a:lnTo>
                <a:lnTo>
                  <a:pt x="104" y="345"/>
                </a:lnTo>
                <a:lnTo>
                  <a:pt x="104" y="345"/>
                </a:lnTo>
                <a:lnTo>
                  <a:pt x="104" y="345"/>
                </a:lnTo>
                <a:lnTo>
                  <a:pt x="102" y="351"/>
                </a:lnTo>
                <a:lnTo>
                  <a:pt x="99" y="356"/>
                </a:lnTo>
                <a:lnTo>
                  <a:pt x="95" y="360"/>
                </a:lnTo>
                <a:lnTo>
                  <a:pt x="95" y="360"/>
                </a:lnTo>
                <a:lnTo>
                  <a:pt x="97" y="360"/>
                </a:lnTo>
                <a:lnTo>
                  <a:pt x="102" y="360"/>
                </a:lnTo>
                <a:lnTo>
                  <a:pt x="108" y="358"/>
                </a:lnTo>
                <a:lnTo>
                  <a:pt x="111" y="355"/>
                </a:lnTo>
                <a:lnTo>
                  <a:pt x="115" y="349"/>
                </a:lnTo>
                <a:lnTo>
                  <a:pt x="115" y="349"/>
                </a:lnTo>
                <a:lnTo>
                  <a:pt x="117" y="347"/>
                </a:lnTo>
                <a:lnTo>
                  <a:pt x="119" y="347"/>
                </a:lnTo>
                <a:lnTo>
                  <a:pt x="124" y="347"/>
                </a:lnTo>
                <a:lnTo>
                  <a:pt x="124" y="347"/>
                </a:lnTo>
                <a:lnTo>
                  <a:pt x="128" y="345"/>
                </a:lnTo>
                <a:lnTo>
                  <a:pt x="130" y="344"/>
                </a:lnTo>
                <a:lnTo>
                  <a:pt x="130" y="338"/>
                </a:lnTo>
                <a:lnTo>
                  <a:pt x="130" y="333"/>
                </a:lnTo>
                <a:lnTo>
                  <a:pt x="130" y="329"/>
                </a:lnTo>
                <a:lnTo>
                  <a:pt x="132" y="327"/>
                </a:lnTo>
                <a:lnTo>
                  <a:pt x="132" y="327"/>
                </a:lnTo>
                <a:lnTo>
                  <a:pt x="139" y="322"/>
                </a:lnTo>
                <a:lnTo>
                  <a:pt x="146" y="316"/>
                </a:lnTo>
                <a:lnTo>
                  <a:pt x="163" y="309"/>
                </a:lnTo>
                <a:lnTo>
                  <a:pt x="163" y="309"/>
                </a:lnTo>
                <a:lnTo>
                  <a:pt x="161" y="316"/>
                </a:lnTo>
                <a:lnTo>
                  <a:pt x="161" y="324"/>
                </a:lnTo>
                <a:lnTo>
                  <a:pt x="164" y="333"/>
                </a:lnTo>
                <a:lnTo>
                  <a:pt x="205" y="322"/>
                </a:lnTo>
                <a:lnTo>
                  <a:pt x="205" y="322"/>
                </a:lnTo>
                <a:lnTo>
                  <a:pt x="203" y="313"/>
                </a:lnTo>
                <a:lnTo>
                  <a:pt x="205" y="305"/>
                </a:lnTo>
                <a:lnTo>
                  <a:pt x="210" y="296"/>
                </a:lnTo>
                <a:lnTo>
                  <a:pt x="216" y="287"/>
                </a:lnTo>
                <a:lnTo>
                  <a:pt x="216" y="287"/>
                </a:lnTo>
                <a:lnTo>
                  <a:pt x="216" y="291"/>
                </a:lnTo>
                <a:lnTo>
                  <a:pt x="214" y="300"/>
                </a:lnTo>
                <a:lnTo>
                  <a:pt x="214" y="311"/>
                </a:lnTo>
                <a:lnTo>
                  <a:pt x="214" y="316"/>
                </a:lnTo>
                <a:lnTo>
                  <a:pt x="216" y="318"/>
                </a:lnTo>
                <a:lnTo>
                  <a:pt x="256" y="309"/>
                </a:lnTo>
                <a:lnTo>
                  <a:pt x="256" y="309"/>
                </a:lnTo>
                <a:lnTo>
                  <a:pt x="254" y="303"/>
                </a:lnTo>
                <a:lnTo>
                  <a:pt x="254" y="296"/>
                </a:lnTo>
                <a:lnTo>
                  <a:pt x="258" y="283"/>
                </a:lnTo>
                <a:lnTo>
                  <a:pt x="258" y="283"/>
                </a:lnTo>
                <a:lnTo>
                  <a:pt x="261" y="298"/>
                </a:lnTo>
                <a:lnTo>
                  <a:pt x="269" y="311"/>
                </a:lnTo>
                <a:lnTo>
                  <a:pt x="278" y="322"/>
                </a:lnTo>
                <a:lnTo>
                  <a:pt x="283" y="325"/>
                </a:lnTo>
                <a:lnTo>
                  <a:pt x="289" y="329"/>
                </a:lnTo>
                <a:lnTo>
                  <a:pt x="289" y="329"/>
                </a:lnTo>
                <a:lnTo>
                  <a:pt x="311" y="338"/>
                </a:lnTo>
                <a:lnTo>
                  <a:pt x="334" y="345"/>
                </a:lnTo>
                <a:lnTo>
                  <a:pt x="391" y="362"/>
                </a:lnTo>
                <a:lnTo>
                  <a:pt x="391" y="362"/>
                </a:lnTo>
                <a:lnTo>
                  <a:pt x="407" y="367"/>
                </a:lnTo>
                <a:lnTo>
                  <a:pt x="420" y="373"/>
                </a:lnTo>
                <a:lnTo>
                  <a:pt x="420" y="373"/>
                </a:lnTo>
                <a:lnTo>
                  <a:pt x="424" y="375"/>
                </a:lnTo>
                <a:lnTo>
                  <a:pt x="424" y="377"/>
                </a:lnTo>
                <a:lnTo>
                  <a:pt x="422" y="382"/>
                </a:lnTo>
                <a:lnTo>
                  <a:pt x="417" y="386"/>
                </a:lnTo>
                <a:lnTo>
                  <a:pt x="417" y="386"/>
                </a:lnTo>
                <a:lnTo>
                  <a:pt x="424" y="391"/>
                </a:lnTo>
                <a:lnTo>
                  <a:pt x="438" y="400"/>
                </a:lnTo>
                <a:lnTo>
                  <a:pt x="438" y="400"/>
                </a:lnTo>
                <a:lnTo>
                  <a:pt x="448" y="409"/>
                </a:lnTo>
                <a:lnTo>
                  <a:pt x="453" y="420"/>
                </a:lnTo>
                <a:lnTo>
                  <a:pt x="459" y="435"/>
                </a:lnTo>
                <a:lnTo>
                  <a:pt x="462" y="450"/>
                </a:lnTo>
                <a:lnTo>
                  <a:pt x="462" y="450"/>
                </a:lnTo>
                <a:lnTo>
                  <a:pt x="466" y="462"/>
                </a:lnTo>
                <a:lnTo>
                  <a:pt x="466" y="475"/>
                </a:lnTo>
                <a:lnTo>
                  <a:pt x="466" y="486"/>
                </a:lnTo>
                <a:lnTo>
                  <a:pt x="466" y="492"/>
                </a:lnTo>
                <a:lnTo>
                  <a:pt x="464" y="493"/>
                </a:lnTo>
                <a:lnTo>
                  <a:pt x="464" y="493"/>
                </a:lnTo>
                <a:lnTo>
                  <a:pt x="460" y="497"/>
                </a:lnTo>
                <a:lnTo>
                  <a:pt x="457" y="499"/>
                </a:lnTo>
                <a:lnTo>
                  <a:pt x="451" y="501"/>
                </a:lnTo>
                <a:lnTo>
                  <a:pt x="440" y="504"/>
                </a:lnTo>
                <a:lnTo>
                  <a:pt x="444" y="519"/>
                </a:lnTo>
                <a:lnTo>
                  <a:pt x="444" y="519"/>
                </a:lnTo>
                <a:lnTo>
                  <a:pt x="451" y="519"/>
                </a:lnTo>
                <a:lnTo>
                  <a:pt x="459" y="517"/>
                </a:lnTo>
                <a:lnTo>
                  <a:pt x="466" y="515"/>
                </a:lnTo>
                <a:lnTo>
                  <a:pt x="466" y="515"/>
                </a:lnTo>
                <a:lnTo>
                  <a:pt x="464" y="517"/>
                </a:lnTo>
                <a:lnTo>
                  <a:pt x="464" y="517"/>
                </a:lnTo>
                <a:lnTo>
                  <a:pt x="459" y="526"/>
                </a:lnTo>
                <a:lnTo>
                  <a:pt x="457" y="534"/>
                </a:lnTo>
                <a:lnTo>
                  <a:pt x="473" y="545"/>
                </a:lnTo>
                <a:lnTo>
                  <a:pt x="473" y="545"/>
                </a:lnTo>
                <a:lnTo>
                  <a:pt x="481" y="526"/>
                </a:lnTo>
                <a:lnTo>
                  <a:pt x="484" y="521"/>
                </a:lnTo>
                <a:lnTo>
                  <a:pt x="488" y="517"/>
                </a:lnTo>
                <a:lnTo>
                  <a:pt x="488" y="517"/>
                </a:lnTo>
                <a:lnTo>
                  <a:pt x="491" y="517"/>
                </a:lnTo>
                <a:lnTo>
                  <a:pt x="497" y="519"/>
                </a:lnTo>
                <a:lnTo>
                  <a:pt x="504" y="523"/>
                </a:lnTo>
                <a:lnTo>
                  <a:pt x="512" y="526"/>
                </a:lnTo>
                <a:lnTo>
                  <a:pt x="521" y="534"/>
                </a:lnTo>
                <a:lnTo>
                  <a:pt x="528" y="543"/>
                </a:lnTo>
                <a:lnTo>
                  <a:pt x="535" y="552"/>
                </a:lnTo>
                <a:lnTo>
                  <a:pt x="541" y="563"/>
                </a:lnTo>
                <a:lnTo>
                  <a:pt x="541" y="563"/>
                </a:lnTo>
                <a:lnTo>
                  <a:pt x="543" y="572"/>
                </a:lnTo>
                <a:lnTo>
                  <a:pt x="544" y="581"/>
                </a:lnTo>
                <a:lnTo>
                  <a:pt x="544" y="590"/>
                </a:lnTo>
                <a:lnTo>
                  <a:pt x="543" y="601"/>
                </a:lnTo>
                <a:lnTo>
                  <a:pt x="541" y="610"/>
                </a:lnTo>
                <a:lnTo>
                  <a:pt x="537" y="618"/>
                </a:lnTo>
                <a:lnTo>
                  <a:pt x="532" y="623"/>
                </a:lnTo>
                <a:lnTo>
                  <a:pt x="526" y="627"/>
                </a:lnTo>
                <a:lnTo>
                  <a:pt x="526" y="627"/>
                </a:lnTo>
                <a:lnTo>
                  <a:pt x="521" y="627"/>
                </a:lnTo>
                <a:lnTo>
                  <a:pt x="517" y="625"/>
                </a:lnTo>
                <a:lnTo>
                  <a:pt x="504" y="620"/>
                </a:lnTo>
                <a:lnTo>
                  <a:pt x="493" y="614"/>
                </a:lnTo>
                <a:lnTo>
                  <a:pt x="490" y="614"/>
                </a:lnTo>
                <a:lnTo>
                  <a:pt x="486" y="618"/>
                </a:lnTo>
                <a:lnTo>
                  <a:pt x="486" y="618"/>
                </a:lnTo>
                <a:lnTo>
                  <a:pt x="484" y="620"/>
                </a:lnTo>
                <a:lnTo>
                  <a:pt x="479" y="623"/>
                </a:lnTo>
                <a:lnTo>
                  <a:pt x="470" y="629"/>
                </a:lnTo>
                <a:lnTo>
                  <a:pt x="466" y="632"/>
                </a:lnTo>
                <a:lnTo>
                  <a:pt x="462" y="638"/>
                </a:lnTo>
                <a:lnTo>
                  <a:pt x="462" y="645"/>
                </a:lnTo>
                <a:lnTo>
                  <a:pt x="464" y="654"/>
                </a:lnTo>
                <a:lnTo>
                  <a:pt x="464" y="654"/>
                </a:lnTo>
                <a:lnTo>
                  <a:pt x="473" y="645"/>
                </a:lnTo>
                <a:lnTo>
                  <a:pt x="477" y="641"/>
                </a:lnTo>
                <a:lnTo>
                  <a:pt x="481" y="641"/>
                </a:lnTo>
                <a:lnTo>
                  <a:pt x="481" y="641"/>
                </a:lnTo>
                <a:lnTo>
                  <a:pt x="482" y="643"/>
                </a:lnTo>
                <a:lnTo>
                  <a:pt x="482" y="645"/>
                </a:lnTo>
                <a:lnTo>
                  <a:pt x="486" y="649"/>
                </a:lnTo>
                <a:lnTo>
                  <a:pt x="486" y="649"/>
                </a:lnTo>
                <a:lnTo>
                  <a:pt x="488" y="651"/>
                </a:lnTo>
                <a:lnTo>
                  <a:pt x="491" y="651"/>
                </a:lnTo>
                <a:lnTo>
                  <a:pt x="502" y="651"/>
                </a:lnTo>
                <a:lnTo>
                  <a:pt x="512" y="649"/>
                </a:lnTo>
                <a:lnTo>
                  <a:pt x="515" y="649"/>
                </a:lnTo>
                <a:lnTo>
                  <a:pt x="517" y="651"/>
                </a:lnTo>
                <a:lnTo>
                  <a:pt x="517" y="651"/>
                </a:lnTo>
                <a:lnTo>
                  <a:pt x="517" y="652"/>
                </a:lnTo>
                <a:lnTo>
                  <a:pt x="515" y="652"/>
                </a:lnTo>
                <a:lnTo>
                  <a:pt x="510" y="652"/>
                </a:lnTo>
                <a:lnTo>
                  <a:pt x="510" y="652"/>
                </a:lnTo>
                <a:lnTo>
                  <a:pt x="491" y="656"/>
                </a:lnTo>
                <a:lnTo>
                  <a:pt x="484" y="660"/>
                </a:lnTo>
                <a:lnTo>
                  <a:pt x="479" y="663"/>
                </a:lnTo>
                <a:lnTo>
                  <a:pt x="479" y="663"/>
                </a:lnTo>
                <a:lnTo>
                  <a:pt x="479" y="665"/>
                </a:lnTo>
                <a:lnTo>
                  <a:pt x="479" y="669"/>
                </a:lnTo>
                <a:lnTo>
                  <a:pt x="479" y="669"/>
                </a:lnTo>
                <a:lnTo>
                  <a:pt x="475" y="674"/>
                </a:lnTo>
                <a:lnTo>
                  <a:pt x="470" y="678"/>
                </a:lnTo>
                <a:lnTo>
                  <a:pt x="466" y="683"/>
                </a:lnTo>
                <a:lnTo>
                  <a:pt x="464" y="689"/>
                </a:lnTo>
                <a:lnTo>
                  <a:pt x="464" y="694"/>
                </a:lnTo>
                <a:lnTo>
                  <a:pt x="464" y="694"/>
                </a:lnTo>
                <a:lnTo>
                  <a:pt x="466" y="702"/>
                </a:lnTo>
                <a:lnTo>
                  <a:pt x="470" y="705"/>
                </a:lnTo>
                <a:lnTo>
                  <a:pt x="475" y="711"/>
                </a:lnTo>
                <a:lnTo>
                  <a:pt x="475" y="711"/>
                </a:lnTo>
                <a:lnTo>
                  <a:pt x="475" y="707"/>
                </a:lnTo>
                <a:lnTo>
                  <a:pt x="477" y="702"/>
                </a:lnTo>
                <a:lnTo>
                  <a:pt x="479" y="694"/>
                </a:lnTo>
                <a:lnTo>
                  <a:pt x="479" y="691"/>
                </a:lnTo>
                <a:lnTo>
                  <a:pt x="482" y="691"/>
                </a:lnTo>
                <a:lnTo>
                  <a:pt x="482" y="691"/>
                </a:lnTo>
                <a:lnTo>
                  <a:pt x="484" y="691"/>
                </a:lnTo>
                <a:lnTo>
                  <a:pt x="488" y="693"/>
                </a:lnTo>
                <a:lnTo>
                  <a:pt x="490" y="696"/>
                </a:lnTo>
                <a:lnTo>
                  <a:pt x="493" y="696"/>
                </a:lnTo>
                <a:lnTo>
                  <a:pt x="493" y="696"/>
                </a:lnTo>
                <a:lnTo>
                  <a:pt x="497" y="696"/>
                </a:lnTo>
                <a:lnTo>
                  <a:pt x="502" y="693"/>
                </a:lnTo>
                <a:lnTo>
                  <a:pt x="513" y="682"/>
                </a:lnTo>
                <a:lnTo>
                  <a:pt x="524" y="672"/>
                </a:lnTo>
                <a:lnTo>
                  <a:pt x="528" y="669"/>
                </a:lnTo>
                <a:lnTo>
                  <a:pt x="532" y="669"/>
                </a:lnTo>
                <a:lnTo>
                  <a:pt x="532" y="669"/>
                </a:lnTo>
                <a:lnTo>
                  <a:pt x="533" y="671"/>
                </a:lnTo>
                <a:lnTo>
                  <a:pt x="532" y="672"/>
                </a:lnTo>
                <a:lnTo>
                  <a:pt x="524" y="678"/>
                </a:lnTo>
                <a:lnTo>
                  <a:pt x="517" y="685"/>
                </a:lnTo>
                <a:lnTo>
                  <a:pt x="513" y="689"/>
                </a:lnTo>
                <a:lnTo>
                  <a:pt x="512" y="694"/>
                </a:lnTo>
                <a:lnTo>
                  <a:pt x="512" y="694"/>
                </a:lnTo>
                <a:lnTo>
                  <a:pt x="513" y="700"/>
                </a:lnTo>
                <a:lnTo>
                  <a:pt x="515" y="704"/>
                </a:lnTo>
                <a:lnTo>
                  <a:pt x="519" y="707"/>
                </a:lnTo>
                <a:lnTo>
                  <a:pt x="521" y="711"/>
                </a:lnTo>
                <a:lnTo>
                  <a:pt x="521" y="711"/>
                </a:lnTo>
                <a:lnTo>
                  <a:pt x="523" y="715"/>
                </a:lnTo>
                <a:lnTo>
                  <a:pt x="526" y="720"/>
                </a:lnTo>
                <a:lnTo>
                  <a:pt x="530" y="724"/>
                </a:lnTo>
                <a:lnTo>
                  <a:pt x="535" y="725"/>
                </a:lnTo>
                <a:lnTo>
                  <a:pt x="546" y="729"/>
                </a:lnTo>
                <a:lnTo>
                  <a:pt x="552" y="729"/>
                </a:lnTo>
                <a:lnTo>
                  <a:pt x="552" y="729"/>
                </a:lnTo>
                <a:lnTo>
                  <a:pt x="550" y="725"/>
                </a:lnTo>
                <a:lnTo>
                  <a:pt x="544" y="720"/>
                </a:lnTo>
                <a:lnTo>
                  <a:pt x="539" y="713"/>
                </a:lnTo>
                <a:lnTo>
                  <a:pt x="539" y="711"/>
                </a:lnTo>
                <a:lnTo>
                  <a:pt x="539" y="707"/>
                </a:lnTo>
                <a:lnTo>
                  <a:pt x="539" y="707"/>
                </a:lnTo>
                <a:lnTo>
                  <a:pt x="541" y="705"/>
                </a:lnTo>
                <a:lnTo>
                  <a:pt x="544" y="707"/>
                </a:lnTo>
                <a:lnTo>
                  <a:pt x="548" y="707"/>
                </a:lnTo>
                <a:lnTo>
                  <a:pt x="552" y="705"/>
                </a:lnTo>
                <a:lnTo>
                  <a:pt x="552" y="705"/>
                </a:lnTo>
                <a:lnTo>
                  <a:pt x="552" y="702"/>
                </a:lnTo>
                <a:lnTo>
                  <a:pt x="552" y="691"/>
                </a:lnTo>
                <a:lnTo>
                  <a:pt x="552" y="685"/>
                </a:lnTo>
                <a:lnTo>
                  <a:pt x="554" y="678"/>
                </a:lnTo>
                <a:lnTo>
                  <a:pt x="559" y="671"/>
                </a:lnTo>
                <a:lnTo>
                  <a:pt x="566" y="662"/>
                </a:lnTo>
                <a:lnTo>
                  <a:pt x="566" y="662"/>
                </a:lnTo>
                <a:lnTo>
                  <a:pt x="570" y="667"/>
                </a:lnTo>
                <a:lnTo>
                  <a:pt x="574" y="669"/>
                </a:lnTo>
                <a:lnTo>
                  <a:pt x="581" y="671"/>
                </a:lnTo>
                <a:lnTo>
                  <a:pt x="581" y="671"/>
                </a:lnTo>
                <a:lnTo>
                  <a:pt x="583" y="672"/>
                </a:lnTo>
                <a:lnTo>
                  <a:pt x="585" y="674"/>
                </a:lnTo>
                <a:lnTo>
                  <a:pt x="585" y="682"/>
                </a:lnTo>
                <a:lnTo>
                  <a:pt x="585" y="691"/>
                </a:lnTo>
                <a:lnTo>
                  <a:pt x="585" y="691"/>
                </a:lnTo>
                <a:lnTo>
                  <a:pt x="586" y="689"/>
                </a:lnTo>
                <a:lnTo>
                  <a:pt x="590" y="683"/>
                </a:lnTo>
                <a:lnTo>
                  <a:pt x="594" y="674"/>
                </a:lnTo>
                <a:lnTo>
                  <a:pt x="594" y="663"/>
                </a:lnTo>
                <a:lnTo>
                  <a:pt x="594" y="663"/>
                </a:lnTo>
                <a:lnTo>
                  <a:pt x="597" y="662"/>
                </a:lnTo>
                <a:lnTo>
                  <a:pt x="601" y="654"/>
                </a:lnTo>
                <a:lnTo>
                  <a:pt x="601" y="654"/>
                </a:lnTo>
                <a:lnTo>
                  <a:pt x="603" y="651"/>
                </a:lnTo>
                <a:lnTo>
                  <a:pt x="601" y="649"/>
                </a:lnTo>
                <a:lnTo>
                  <a:pt x="596" y="643"/>
                </a:lnTo>
                <a:lnTo>
                  <a:pt x="594" y="640"/>
                </a:lnTo>
                <a:lnTo>
                  <a:pt x="592" y="634"/>
                </a:lnTo>
                <a:lnTo>
                  <a:pt x="590" y="625"/>
                </a:lnTo>
                <a:lnTo>
                  <a:pt x="590" y="614"/>
                </a:lnTo>
                <a:lnTo>
                  <a:pt x="590" y="614"/>
                </a:lnTo>
                <a:lnTo>
                  <a:pt x="590" y="610"/>
                </a:lnTo>
                <a:lnTo>
                  <a:pt x="588" y="609"/>
                </a:lnTo>
                <a:lnTo>
                  <a:pt x="583" y="605"/>
                </a:lnTo>
                <a:lnTo>
                  <a:pt x="583" y="605"/>
                </a:lnTo>
                <a:lnTo>
                  <a:pt x="579" y="599"/>
                </a:lnTo>
                <a:lnTo>
                  <a:pt x="579" y="598"/>
                </a:lnTo>
                <a:lnTo>
                  <a:pt x="581" y="598"/>
                </a:lnTo>
                <a:lnTo>
                  <a:pt x="581" y="598"/>
                </a:lnTo>
                <a:lnTo>
                  <a:pt x="588" y="599"/>
                </a:lnTo>
                <a:lnTo>
                  <a:pt x="596" y="599"/>
                </a:lnTo>
                <a:lnTo>
                  <a:pt x="603" y="598"/>
                </a:lnTo>
                <a:lnTo>
                  <a:pt x="603" y="598"/>
                </a:lnTo>
                <a:lnTo>
                  <a:pt x="603" y="576"/>
                </a:lnTo>
                <a:lnTo>
                  <a:pt x="605" y="565"/>
                </a:lnTo>
                <a:lnTo>
                  <a:pt x="603" y="559"/>
                </a:lnTo>
                <a:lnTo>
                  <a:pt x="603" y="559"/>
                </a:lnTo>
                <a:lnTo>
                  <a:pt x="596" y="559"/>
                </a:lnTo>
                <a:lnTo>
                  <a:pt x="588" y="557"/>
                </a:lnTo>
                <a:lnTo>
                  <a:pt x="585" y="556"/>
                </a:lnTo>
                <a:lnTo>
                  <a:pt x="581" y="552"/>
                </a:lnTo>
                <a:lnTo>
                  <a:pt x="581" y="552"/>
                </a:lnTo>
                <a:lnTo>
                  <a:pt x="586" y="552"/>
                </a:lnTo>
                <a:lnTo>
                  <a:pt x="594" y="552"/>
                </a:lnTo>
                <a:lnTo>
                  <a:pt x="599" y="552"/>
                </a:lnTo>
                <a:lnTo>
                  <a:pt x="603" y="548"/>
                </a:lnTo>
                <a:lnTo>
                  <a:pt x="603" y="548"/>
                </a:lnTo>
                <a:lnTo>
                  <a:pt x="603" y="530"/>
                </a:lnTo>
                <a:lnTo>
                  <a:pt x="601" y="517"/>
                </a:lnTo>
                <a:lnTo>
                  <a:pt x="601" y="514"/>
                </a:lnTo>
                <a:lnTo>
                  <a:pt x="599" y="512"/>
                </a:lnTo>
                <a:lnTo>
                  <a:pt x="599" y="512"/>
                </a:lnTo>
                <a:lnTo>
                  <a:pt x="592" y="514"/>
                </a:lnTo>
                <a:lnTo>
                  <a:pt x="586" y="514"/>
                </a:lnTo>
                <a:lnTo>
                  <a:pt x="581" y="512"/>
                </a:lnTo>
                <a:lnTo>
                  <a:pt x="576" y="510"/>
                </a:lnTo>
                <a:lnTo>
                  <a:pt x="576" y="510"/>
                </a:lnTo>
                <a:lnTo>
                  <a:pt x="574" y="508"/>
                </a:lnTo>
                <a:lnTo>
                  <a:pt x="572" y="504"/>
                </a:lnTo>
                <a:lnTo>
                  <a:pt x="572" y="499"/>
                </a:lnTo>
                <a:lnTo>
                  <a:pt x="570" y="495"/>
                </a:lnTo>
                <a:lnTo>
                  <a:pt x="570" y="493"/>
                </a:lnTo>
                <a:lnTo>
                  <a:pt x="568" y="492"/>
                </a:lnTo>
                <a:lnTo>
                  <a:pt x="568" y="492"/>
                </a:lnTo>
                <a:lnTo>
                  <a:pt x="557" y="488"/>
                </a:lnTo>
                <a:lnTo>
                  <a:pt x="546" y="482"/>
                </a:lnTo>
                <a:lnTo>
                  <a:pt x="541" y="477"/>
                </a:lnTo>
                <a:lnTo>
                  <a:pt x="535" y="473"/>
                </a:lnTo>
                <a:lnTo>
                  <a:pt x="535" y="473"/>
                </a:lnTo>
                <a:lnTo>
                  <a:pt x="532" y="468"/>
                </a:lnTo>
                <a:lnTo>
                  <a:pt x="532" y="462"/>
                </a:lnTo>
                <a:lnTo>
                  <a:pt x="532" y="459"/>
                </a:lnTo>
                <a:lnTo>
                  <a:pt x="532" y="459"/>
                </a:lnTo>
                <a:lnTo>
                  <a:pt x="541" y="462"/>
                </a:lnTo>
                <a:lnTo>
                  <a:pt x="544" y="462"/>
                </a:lnTo>
                <a:lnTo>
                  <a:pt x="550" y="461"/>
                </a:lnTo>
                <a:lnTo>
                  <a:pt x="552" y="431"/>
                </a:lnTo>
                <a:lnTo>
                  <a:pt x="552" y="431"/>
                </a:lnTo>
                <a:lnTo>
                  <a:pt x="548" y="431"/>
                </a:lnTo>
                <a:lnTo>
                  <a:pt x="541" y="430"/>
                </a:lnTo>
                <a:lnTo>
                  <a:pt x="541" y="430"/>
                </a:lnTo>
                <a:lnTo>
                  <a:pt x="537" y="426"/>
                </a:lnTo>
                <a:lnTo>
                  <a:pt x="533" y="422"/>
                </a:lnTo>
                <a:lnTo>
                  <a:pt x="532" y="419"/>
                </a:lnTo>
                <a:lnTo>
                  <a:pt x="532" y="419"/>
                </a:lnTo>
                <a:lnTo>
                  <a:pt x="535" y="420"/>
                </a:lnTo>
                <a:lnTo>
                  <a:pt x="543" y="422"/>
                </a:lnTo>
                <a:lnTo>
                  <a:pt x="543" y="422"/>
                </a:lnTo>
                <a:lnTo>
                  <a:pt x="550" y="422"/>
                </a:lnTo>
                <a:lnTo>
                  <a:pt x="554" y="420"/>
                </a:lnTo>
                <a:lnTo>
                  <a:pt x="557" y="387"/>
                </a:lnTo>
                <a:lnTo>
                  <a:pt x="557" y="387"/>
                </a:lnTo>
                <a:lnTo>
                  <a:pt x="552" y="387"/>
                </a:lnTo>
                <a:lnTo>
                  <a:pt x="546" y="386"/>
                </a:lnTo>
                <a:lnTo>
                  <a:pt x="541" y="384"/>
                </a:lnTo>
                <a:lnTo>
                  <a:pt x="539" y="378"/>
                </a:lnTo>
                <a:lnTo>
                  <a:pt x="539" y="377"/>
                </a:lnTo>
                <a:lnTo>
                  <a:pt x="539" y="377"/>
                </a:lnTo>
                <a:lnTo>
                  <a:pt x="552" y="373"/>
                </a:lnTo>
                <a:lnTo>
                  <a:pt x="563" y="367"/>
                </a:lnTo>
                <a:lnTo>
                  <a:pt x="572" y="360"/>
                </a:lnTo>
                <a:lnTo>
                  <a:pt x="579" y="353"/>
                </a:lnTo>
                <a:lnTo>
                  <a:pt x="586" y="344"/>
                </a:lnTo>
                <a:lnTo>
                  <a:pt x="592" y="333"/>
                </a:lnTo>
                <a:lnTo>
                  <a:pt x="597" y="324"/>
                </a:lnTo>
                <a:lnTo>
                  <a:pt x="599" y="313"/>
                </a:lnTo>
                <a:lnTo>
                  <a:pt x="599" y="313"/>
                </a:lnTo>
                <a:lnTo>
                  <a:pt x="608" y="316"/>
                </a:lnTo>
                <a:lnTo>
                  <a:pt x="614" y="316"/>
                </a:lnTo>
                <a:lnTo>
                  <a:pt x="618" y="316"/>
                </a:lnTo>
                <a:lnTo>
                  <a:pt x="618" y="316"/>
                </a:lnTo>
                <a:lnTo>
                  <a:pt x="619" y="303"/>
                </a:lnTo>
                <a:lnTo>
                  <a:pt x="619" y="289"/>
                </a:lnTo>
                <a:lnTo>
                  <a:pt x="619" y="289"/>
                </a:lnTo>
                <a:lnTo>
                  <a:pt x="610" y="287"/>
                </a:lnTo>
                <a:lnTo>
                  <a:pt x="607" y="285"/>
                </a:lnTo>
                <a:lnTo>
                  <a:pt x="603" y="28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pic>
        <p:nvPicPr>
          <p:cNvPr id="53" name="Picture 3">
            <a:extLst>
              <a:ext uri="{FF2B5EF4-FFF2-40B4-BE49-F238E27FC236}">
                <a16:creationId xmlns:a16="http://schemas.microsoft.com/office/drawing/2014/main" id="{F1689B57-8BAA-BF42-B648-10782572357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804248" y="4443958"/>
            <a:ext cx="2088034" cy="397877"/>
          </a:xfrm>
          <a:prstGeom prst="rect">
            <a:avLst/>
          </a:prstGeom>
        </p:spPr>
      </p:pic>
      <p:pic>
        <p:nvPicPr>
          <p:cNvPr id="55" name="Picture 5">
            <a:extLst>
              <a:ext uri="{FF2B5EF4-FFF2-40B4-BE49-F238E27FC236}">
                <a16:creationId xmlns:a16="http://schemas.microsoft.com/office/drawing/2014/main" id="{4F591584-9FCE-5A4F-A985-77C337C3AB8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04448" y="235340"/>
            <a:ext cx="305495" cy="419486"/>
          </a:xfrm>
          <a:prstGeom prst="rect">
            <a:avLst/>
          </a:prstGeom>
        </p:spPr>
      </p:pic>
    </p:spTree>
    <p:extLst>
      <p:ext uri="{BB962C8B-B14F-4D97-AF65-F5344CB8AC3E}">
        <p14:creationId xmlns:p14="http://schemas.microsoft.com/office/powerpoint/2010/main" val="67591666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3_Väliotsikko">
    <p:spTree>
      <p:nvGrpSpPr>
        <p:cNvPr id="1" name=""/>
        <p:cNvGrpSpPr/>
        <p:nvPr/>
      </p:nvGrpSpPr>
      <p:grpSpPr>
        <a:xfrm>
          <a:off x="0" y="0"/>
          <a:ext cx="0" cy="0"/>
          <a:chOff x="0" y="0"/>
          <a:chExt cx="0" cy="0"/>
        </a:xfrm>
      </p:grpSpPr>
      <p:pic>
        <p:nvPicPr>
          <p:cNvPr id="52" name="Kuva 51" descr="Sote_PPT_GrafiikkaPelastustoimi.png"/>
          <p:cNvPicPr>
            <a:picLocks noChangeAspect="1"/>
          </p:cNvPicPr>
          <p:nvPr userDrawn="1"/>
        </p:nvPicPr>
        <p:blipFill>
          <a:blip r:embed="rId2"/>
          <a:stretch>
            <a:fillRect/>
          </a:stretch>
        </p:blipFill>
        <p:spPr>
          <a:xfrm>
            <a:off x="-23722" y="-5793"/>
            <a:ext cx="9191445" cy="5155087"/>
          </a:xfrm>
          <a:prstGeom prst="rect">
            <a:avLst/>
          </a:prstGeom>
        </p:spPr>
      </p:pic>
      <p:sp>
        <p:nvSpPr>
          <p:cNvPr id="51" name="Rectangle 50"/>
          <p:cNvSpPr/>
          <p:nvPr userDrawn="1"/>
        </p:nvSpPr>
        <p:spPr>
          <a:xfrm rot="10800000" flipV="1">
            <a:off x="-10667" y="-21804"/>
            <a:ext cx="4582667" cy="5165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0" name="Otsikko 1"/>
          <p:cNvSpPr>
            <a:spLocks noGrp="1"/>
          </p:cNvSpPr>
          <p:nvPr userDrawn="1">
            <p:ph type="ctrTitle"/>
          </p:nvPr>
        </p:nvSpPr>
        <p:spPr>
          <a:xfrm>
            <a:off x="366651" y="411510"/>
            <a:ext cx="3485269" cy="2967062"/>
          </a:xfrm>
        </p:spPr>
        <p:txBody>
          <a:bodyPr anchor="b" anchorCtr="0">
            <a:noAutofit/>
          </a:bodyPr>
          <a:lstStyle>
            <a:lvl1pPr algn="l">
              <a:defRPr sz="4000">
                <a:solidFill>
                  <a:schemeClr val="accent4"/>
                </a:solidFill>
              </a:defRPr>
            </a:lvl1pPr>
          </a:lstStyle>
          <a:p>
            <a:r>
              <a:rPr lang="en-US" dirty="0"/>
              <a:t>Click to edit Master title style</a:t>
            </a:r>
            <a:endParaRPr lang="fi-FI" dirty="0"/>
          </a:p>
        </p:txBody>
      </p:sp>
      <p:sp>
        <p:nvSpPr>
          <p:cNvPr id="11" name="Alaotsikko 2"/>
          <p:cNvSpPr>
            <a:spLocks noGrp="1"/>
          </p:cNvSpPr>
          <p:nvPr userDrawn="1">
            <p:ph type="subTitle" idx="1"/>
          </p:nvPr>
        </p:nvSpPr>
        <p:spPr>
          <a:xfrm>
            <a:off x="366651" y="3507854"/>
            <a:ext cx="3485270" cy="1512168"/>
          </a:xfrm>
        </p:spPr>
        <p:txBody>
          <a:bodyPr>
            <a:normAutofit/>
          </a:bodyPr>
          <a:lstStyle>
            <a:lvl1pPr marL="0" indent="0" algn="l">
              <a:spcBef>
                <a:spcPts val="0"/>
              </a:spcBef>
              <a:buNone/>
              <a:defRPr sz="1800">
                <a:solidFill>
                  <a:srgbClr val="59596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fi-FI" dirty="0"/>
          </a:p>
        </p:txBody>
      </p:sp>
      <p:sp>
        <p:nvSpPr>
          <p:cNvPr id="32" name="Freeform 30"/>
          <p:cNvSpPr>
            <a:spLocks/>
          </p:cNvSpPr>
          <p:nvPr userDrawn="1"/>
        </p:nvSpPr>
        <p:spPr bwMode="auto">
          <a:xfrm>
            <a:off x="7331075" y="1931690"/>
            <a:ext cx="371475" cy="98425"/>
          </a:xfrm>
          <a:custGeom>
            <a:avLst/>
            <a:gdLst>
              <a:gd name="T0" fmla="*/ 87 w 2807"/>
              <a:gd name="T1" fmla="*/ 343 h 743"/>
              <a:gd name="T2" fmla="*/ 203 w 2807"/>
              <a:gd name="T3" fmla="*/ 417 h 743"/>
              <a:gd name="T4" fmla="*/ 319 w 2807"/>
              <a:gd name="T5" fmla="*/ 479 h 743"/>
              <a:gd name="T6" fmla="*/ 430 w 2807"/>
              <a:gd name="T7" fmla="*/ 529 h 743"/>
              <a:gd name="T8" fmla="*/ 603 w 2807"/>
              <a:gd name="T9" fmla="*/ 595 h 743"/>
              <a:gd name="T10" fmla="*/ 724 w 2807"/>
              <a:gd name="T11" fmla="*/ 633 h 743"/>
              <a:gd name="T12" fmla="*/ 857 w 2807"/>
              <a:gd name="T13" fmla="*/ 666 h 743"/>
              <a:gd name="T14" fmla="*/ 1001 w 2807"/>
              <a:gd name="T15" fmla="*/ 696 h 743"/>
              <a:gd name="T16" fmla="*/ 1157 w 2807"/>
              <a:gd name="T17" fmla="*/ 719 h 743"/>
              <a:gd name="T18" fmla="*/ 1324 w 2807"/>
              <a:gd name="T19" fmla="*/ 736 h 743"/>
              <a:gd name="T20" fmla="*/ 1502 w 2807"/>
              <a:gd name="T21" fmla="*/ 743 h 743"/>
              <a:gd name="T22" fmla="*/ 1689 w 2807"/>
              <a:gd name="T23" fmla="*/ 738 h 743"/>
              <a:gd name="T24" fmla="*/ 1819 w 2807"/>
              <a:gd name="T25" fmla="*/ 729 h 743"/>
              <a:gd name="T26" fmla="*/ 1999 w 2807"/>
              <a:gd name="T27" fmla="*/ 706 h 743"/>
              <a:gd name="T28" fmla="*/ 2159 w 2807"/>
              <a:gd name="T29" fmla="*/ 678 h 743"/>
              <a:gd name="T30" fmla="*/ 2302 w 2807"/>
              <a:gd name="T31" fmla="*/ 643 h 743"/>
              <a:gd name="T32" fmla="*/ 2426 w 2807"/>
              <a:gd name="T33" fmla="*/ 605 h 743"/>
              <a:gd name="T34" fmla="*/ 2533 w 2807"/>
              <a:gd name="T35" fmla="*/ 566 h 743"/>
              <a:gd name="T36" fmla="*/ 2672 w 2807"/>
              <a:gd name="T37" fmla="*/ 505 h 743"/>
              <a:gd name="T38" fmla="*/ 2773 w 2807"/>
              <a:gd name="T39" fmla="*/ 449 h 743"/>
              <a:gd name="T40" fmla="*/ 2807 w 2807"/>
              <a:gd name="T41" fmla="*/ 426 h 743"/>
              <a:gd name="T42" fmla="*/ 2745 w 2807"/>
              <a:gd name="T43" fmla="*/ 402 h 743"/>
              <a:gd name="T44" fmla="*/ 2688 w 2807"/>
              <a:gd name="T45" fmla="*/ 372 h 743"/>
              <a:gd name="T46" fmla="*/ 2586 w 2807"/>
              <a:gd name="T47" fmla="*/ 303 h 743"/>
              <a:gd name="T48" fmla="*/ 2529 w 2807"/>
              <a:gd name="T49" fmla="*/ 256 h 743"/>
              <a:gd name="T50" fmla="*/ 2518 w 2807"/>
              <a:gd name="T51" fmla="*/ 294 h 743"/>
              <a:gd name="T52" fmla="*/ 2507 w 2807"/>
              <a:gd name="T53" fmla="*/ 381 h 743"/>
              <a:gd name="T54" fmla="*/ 2499 w 2807"/>
              <a:gd name="T55" fmla="*/ 413 h 743"/>
              <a:gd name="T56" fmla="*/ 2443 w 2807"/>
              <a:gd name="T57" fmla="*/ 391 h 743"/>
              <a:gd name="T58" fmla="*/ 2423 w 2807"/>
              <a:gd name="T59" fmla="*/ 381 h 743"/>
              <a:gd name="T60" fmla="*/ 2392 w 2807"/>
              <a:gd name="T61" fmla="*/ 357 h 743"/>
              <a:gd name="T62" fmla="*/ 2361 w 2807"/>
              <a:gd name="T63" fmla="*/ 324 h 743"/>
              <a:gd name="T64" fmla="*/ 2334 w 2807"/>
              <a:gd name="T65" fmla="*/ 283 h 743"/>
              <a:gd name="T66" fmla="*/ 2316 w 2807"/>
              <a:gd name="T67" fmla="*/ 235 h 743"/>
              <a:gd name="T68" fmla="*/ 2310 w 2807"/>
              <a:gd name="T69" fmla="*/ 199 h 743"/>
              <a:gd name="T70" fmla="*/ 2252 w 2807"/>
              <a:gd name="T71" fmla="*/ 195 h 743"/>
              <a:gd name="T72" fmla="*/ 2110 w 2807"/>
              <a:gd name="T73" fmla="*/ 243 h 743"/>
              <a:gd name="T74" fmla="*/ 1984 w 2807"/>
              <a:gd name="T75" fmla="*/ 277 h 743"/>
              <a:gd name="T76" fmla="*/ 1843 w 2807"/>
              <a:gd name="T77" fmla="*/ 303 h 743"/>
              <a:gd name="T78" fmla="*/ 1697 w 2807"/>
              <a:gd name="T79" fmla="*/ 319 h 743"/>
              <a:gd name="T80" fmla="*/ 1558 w 2807"/>
              <a:gd name="T81" fmla="*/ 322 h 743"/>
              <a:gd name="T82" fmla="*/ 1293 w 2807"/>
              <a:gd name="T83" fmla="*/ 312 h 743"/>
              <a:gd name="T84" fmla="*/ 1030 w 2807"/>
              <a:gd name="T85" fmla="*/ 282 h 743"/>
              <a:gd name="T86" fmla="*/ 855 w 2807"/>
              <a:gd name="T87" fmla="*/ 251 h 743"/>
              <a:gd name="T88" fmla="*/ 725 w 2807"/>
              <a:gd name="T89" fmla="*/ 221 h 743"/>
              <a:gd name="T90" fmla="*/ 594 w 2807"/>
              <a:gd name="T91" fmla="*/ 185 h 743"/>
              <a:gd name="T92" fmla="*/ 465 w 2807"/>
              <a:gd name="T93" fmla="*/ 143 h 743"/>
              <a:gd name="T94" fmla="*/ 336 w 2807"/>
              <a:gd name="T95" fmla="*/ 94 h 743"/>
              <a:gd name="T96" fmla="*/ 251 w 2807"/>
              <a:gd name="T97" fmla="*/ 58 h 743"/>
              <a:gd name="T98" fmla="*/ 122 w 2807"/>
              <a:gd name="T99" fmla="*/ 0 h 743"/>
              <a:gd name="T100" fmla="*/ 119 w 2807"/>
              <a:gd name="T101" fmla="*/ 19 h 743"/>
              <a:gd name="T102" fmla="*/ 121 w 2807"/>
              <a:gd name="T103" fmla="*/ 51 h 743"/>
              <a:gd name="T104" fmla="*/ 136 w 2807"/>
              <a:gd name="T105" fmla="*/ 96 h 743"/>
              <a:gd name="T106" fmla="*/ 171 w 2807"/>
              <a:gd name="T107" fmla="*/ 156 h 743"/>
              <a:gd name="T108" fmla="*/ 207 w 2807"/>
              <a:gd name="T109" fmla="*/ 204 h 743"/>
              <a:gd name="T110" fmla="*/ 151 w 2807"/>
              <a:gd name="T111" fmla="*/ 199 h 743"/>
              <a:gd name="T112" fmla="*/ 98 w 2807"/>
              <a:gd name="T113" fmla="*/ 204 h 743"/>
              <a:gd name="T114" fmla="*/ 69 w 2807"/>
              <a:gd name="T115" fmla="*/ 215 h 743"/>
              <a:gd name="T116" fmla="*/ 32 w 2807"/>
              <a:gd name="T117" fmla="*/ 244 h 743"/>
              <a:gd name="T118" fmla="*/ 7 w 2807"/>
              <a:gd name="T119" fmla="*/ 272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07" h="743">
                <a:moveTo>
                  <a:pt x="0" y="284"/>
                </a:moveTo>
                <a:lnTo>
                  <a:pt x="0" y="284"/>
                </a:lnTo>
                <a:lnTo>
                  <a:pt x="87" y="343"/>
                </a:lnTo>
                <a:lnTo>
                  <a:pt x="127" y="369"/>
                </a:lnTo>
                <a:lnTo>
                  <a:pt x="166" y="394"/>
                </a:lnTo>
                <a:lnTo>
                  <a:pt x="203" y="417"/>
                </a:lnTo>
                <a:lnTo>
                  <a:pt x="241" y="438"/>
                </a:lnTo>
                <a:lnTo>
                  <a:pt x="280" y="460"/>
                </a:lnTo>
                <a:lnTo>
                  <a:pt x="319" y="479"/>
                </a:lnTo>
                <a:lnTo>
                  <a:pt x="319" y="479"/>
                </a:lnTo>
                <a:lnTo>
                  <a:pt x="372" y="504"/>
                </a:lnTo>
                <a:lnTo>
                  <a:pt x="430" y="529"/>
                </a:lnTo>
                <a:lnTo>
                  <a:pt x="495" y="556"/>
                </a:lnTo>
                <a:lnTo>
                  <a:pt x="565" y="581"/>
                </a:lnTo>
                <a:lnTo>
                  <a:pt x="603" y="595"/>
                </a:lnTo>
                <a:lnTo>
                  <a:pt x="642" y="607"/>
                </a:lnTo>
                <a:lnTo>
                  <a:pt x="682" y="620"/>
                </a:lnTo>
                <a:lnTo>
                  <a:pt x="724" y="633"/>
                </a:lnTo>
                <a:lnTo>
                  <a:pt x="767" y="644"/>
                </a:lnTo>
                <a:lnTo>
                  <a:pt x="811" y="655"/>
                </a:lnTo>
                <a:lnTo>
                  <a:pt x="857" y="666"/>
                </a:lnTo>
                <a:lnTo>
                  <a:pt x="903" y="677"/>
                </a:lnTo>
                <a:lnTo>
                  <a:pt x="952" y="687"/>
                </a:lnTo>
                <a:lnTo>
                  <a:pt x="1001" y="696"/>
                </a:lnTo>
                <a:lnTo>
                  <a:pt x="1052" y="705"/>
                </a:lnTo>
                <a:lnTo>
                  <a:pt x="1104" y="713"/>
                </a:lnTo>
                <a:lnTo>
                  <a:pt x="1157" y="719"/>
                </a:lnTo>
                <a:lnTo>
                  <a:pt x="1212" y="727"/>
                </a:lnTo>
                <a:lnTo>
                  <a:pt x="1267" y="732"/>
                </a:lnTo>
                <a:lnTo>
                  <a:pt x="1324" y="736"/>
                </a:lnTo>
                <a:lnTo>
                  <a:pt x="1382" y="739"/>
                </a:lnTo>
                <a:lnTo>
                  <a:pt x="1442" y="741"/>
                </a:lnTo>
                <a:lnTo>
                  <a:pt x="1502" y="743"/>
                </a:lnTo>
                <a:lnTo>
                  <a:pt x="1563" y="742"/>
                </a:lnTo>
                <a:lnTo>
                  <a:pt x="1626" y="741"/>
                </a:lnTo>
                <a:lnTo>
                  <a:pt x="1689" y="738"/>
                </a:lnTo>
                <a:lnTo>
                  <a:pt x="1754" y="734"/>
                </a:lnTo>
                <a:lnTo>
                  <a:pt x="1819" y="729"/>
                </a:lnTo>
                <a:lnTo>
                  <a:pt x="1819" y="729"/>
                </a:lnTo>
                <a:lnTo>
                  <a:pt x="1881" y="723"/>
                </a:lnTo>
                <a:lnTo>
                  <a:pt x="1941" y="714"/>
                </a:lnTo>
                <a:lnTo>
                  <a:pt x="1999" y="706"/>
                </a:lnTo>
                <a:lnTo>
                  <a:pt x="2054" y="697"/>
                </a:lnTo>
                <a:lnTo>
                  <a:pt x="2108" y="688"/>
                </a:lnTo>
                <a:lnTo>
                  <a:pt x="2159" y="678"/>
                </a:lnTo>
                <a:lnTo>
                  <a:pt x="2209" y="666"/>
                </a:lnTo>
                <a:lnTo>
                  <a:pt x="2257" y="655"/>
                </a:lnTo>
                <a:lnTo>
                  <a:pt x="2302" y="643"/>
                </a:lnTo>
                <a:lnTo>
                  <a:pt x="2346" y="631"/>
                </a:lnTo>
                <a:lnTo>
                  <a:pt x="2387" y="618"/>
                </a:lnTo>
                <a:lnTo>
                  <a:pt x="2426" y="605"/>
                </a:lnTo>
                <a:lnTo>
                  <a:pt x="2464" y="593"/>
                </a:lnTo>
                <a:lnTo>
                  <a:pt x="2500" y="579"/>
                </a:lnTo>
                <a:lnTo>
                  <a:pt x="2533" y="566"/>
                </a:lnTo>
                <a:lnTo>
                  <a:pt x="2564" y="554"/>
                </a:lnTo>
                <a:lnTo>
                  <a:pt x="2622" y="528"/>
                </a:lnTo>
                <a:lnTo>
                  <a:pt x="2672" y="505"/>
                </a:lnTo>
                <a:lnTo>
                  <a:pt x="2713" y="483"/>
                </a:lnTo>
                <a:lnTo>
                  <a:pt x="2747" y="465"/>
                </a:lnTo>
                <a:lnTo>
                  <a:pt x="2773" y="449"/>
                </a:lnTo>
                <a:lnTo>
                  <a:pt x="2792" y="436"/>
                </a:lnTo>
                <a:lnTo>
                  <a:pt x="2807" y="426"/>
                </a:lnTo>
                <a:lnTo>
                  <a:pt x="2807" y="426"/>
                </a:lnTo>
                <a:lnTo>
                  <a:pt x="2786" y="419"/>
                </a:lnTo>
                <a:lnTo>
                  <a:pt x="2766" y="410"/>
                </a:lnTo>
                <a:lnTo>
                  <a:pt x="2745" y="402"/>
                </a:lnTo>
                <a:lnTo>
                  <a:pt x="2726" y="391"/>
                </a:lnTo>
                <a:lnTo>
                  <a:pt x="2706" y="382"/>
                </a:lnTo>
                <a:lnTo>
                  <a:pt x="2688" y="372"/>
                </a:lnTo>
                <a:lnTo>
                  <a:pt x="2651" y="349"/>
                </a:lnTo>
                <a:lnTo>
                  <a:pt x="2618" y="327"/>
                </a:lnTo>
                <a:lnTo>
                  <a:pt x="2586" y="303"/>
                </a:lnTo>
                <a:lnTo>
                  <a:pt x="2556" y="280"/>
                </a:lnTo>
                <a:lnTo>
                  <a:pt x="2529" y="256"/>
                </a:lnTo>
                <a:lnTo>
                  <a:pt x="2529" y="256"/>
                </a:lnTo>
                <a:lnTo>
                  <a:pt x="2524" y="266"/>
                </a:lnTo>
                <a:lnTo>
                  <a:pt x="2521" y="279"/>
                </a:lnTo>
                <a:lnTo>
                  <a:pt x="2518" y="294"/>
                </a:lnTo>
                <a:lnTo>
                  <a:pt x="2515" y="312"/>
                </a:lnTo>
                <a:lnTo>
                  <a:pt x="2515" y="312"/>
                </a:lnTo>
                <a:lnTo>
                  <a:pt x="2507" y="381"/>
                </a:lnTo>
                <a:lnTo>
                  <a:pt x="2503" y="414"/>
                </a:lnTo>
                <a:lnTo>
                  <a:pt x="2503" y="414"/>
                </a:lnTo>
                <a:lnTo>
                  <a:pt x="2499" y="413"/>
                </a:lnTo>
                <a:lnTo>
                  <a:pt x="2489" y="410"/>
                </a:lnTo>
                <a:lnTo>
                  <a:pt x="2470" y="403"/>
                </a:lnTo>
                <a:lnTo>
                  <a:pt x="2443" y="391"/>
                </a:lnTo>
                <a:lnTo>
                  <a:pt x="2443" y="391"/>
                </a:lnTo>
                <a:lnTo>
                  <a:pt x="2433" y="387"/>
                </a:lnTo>
                <a:lnTo>
                  <a:pt x="2423" y="381"/>
                </a:lnTo>
                <a:lnTo>
                  <a:pt x="2413" y="374"/>
                </a:lnTo>
                <a:lnTo>
                  <a:pt x="2403" y="366"/>
                </a:lnTo>
                <a:lnTo>
                  <a:pt x="2392" y="357"/>
                </a:lnTo>
                <a:lnTo>
                  <a:pt x="2381" y="347"/>
                </a:lnTo>
                <a:lnTo>
                  <a:pt x="2371" y="336"/>
                </a:lnTo>
                <a:lnTo>
                  <a:pt x="2361" y="324"/>
                </a:lnTo>
                <a:lnTo>
                  <a:pt x="2351" y="312"/>
                </a:lnTo>
                <a:lnTo>
                  <a:pt x="2342" y="297"/>
                </a:lnTo>
                <a:lnTo>
                  <a:pt x="2334" y="283"/>
                </a:lnTo>
                <a:lnTo>
                  <a:pt x="2326" y="268"/>
                </a:lnTo>
                <a:lnTo>
                  <a:pt x="2320" y="251"/>
                </a:lnTo>
                <a:lnTo>
                  <a:pt x="2316" y="235"/>
                </a:lnTo>
                <a:lnTo>
                  <a:pt x="2312" y="216"/>
                </a:lnTo>
                <a:lnTo>
                  <a:pt x="2310" y="199"/>
                </a:lnTo>
                <a:lnTo>
                  <a:pt x="2310" y="199"/>
                </a:lnTo>
                <a:lnTo>
                  <a:pt x="2309" y="174"/>
                </a:lnTo>
                <a:lnTo>
                  <a:pt x="2309" y="174"/>
                </a:lnTo>
                <a:lnTo>
                  <a:pt x="2252" y="195"/>
                </a:lnTo>
                <a:lnTo>
                  <a:pt x="2186" y="218"/>
                </a:lnTo>
                <a:lnTo>
                  <a:pt x="2149" y="231"/>
                </a:lnTo>
                <a:lnTo>
                  <a:pt x="2110" y="243"/>
                </a:lnTo>
                <a:lnTo>
                  <a:pt x="2069" y="254"/>
                </a:lnTo>
                <a:lnTo>
                  <a:pt x="2028" y="266"/>
                </a:lnTo>
                <a:lnTo>
                  <a:pt x="1984" y="277"/>
                </a:lnTo>
                <a:lnTo>
                  <a:pt x="1938" y="286"/>
                </a:lnTo>
                <a:lnTo>
                  <a:pt x="1892" y="295"/>
                </a:lnTo>
                <a:lnTo>
                  <a:pt x="1843" y="303"/>
                </a:lnTo>
                <a:lnTo>
                  <a:pt x="1795" y="311"/>
                </a:lnTo>
                <a:lnTo>
                  <a:pt x="1746" y="316"/>
                </a:lnTo>
                <a:lnTo>
                  <a:pt x="1697" y="319"/>
                </a:lnTo>
                <a:lnTo>
                  <a:pt x="1647" y="321"/>
                </a:lnTo>
                <a:lnTo>
                  <a:pt x="1647" y="321"/>
                </a:lnTo>
                <a:lnTo>
                  <a:pt x="1558" y="322"/>
                </a:lnTo>
                <a:lnTo>
                  <a:pt x="1470" y="321"/>
                </a:lnTo>
                <a:lnTo>
                  <a:pt x="1382" y="317"/>
                </a:lnTo>
                <a:lnTo>
                  <a:pt x="1293" y="312"/>
                </a:lnTo>
                <a:lnTo>
                  <a:pt x="1205" y="304"/>
                </a:lnTo>
                <a:lnTo>
                  <a:pt x="1118" y="294"/>
                </a:lnTo>
                <a:lnTo>
                  <a:pt x="1030" y="282"/>
                </a:lnTo>
                <a:lnTo>
                  <a:pt x="943" y="268"/>
                </a:lnTo>
                <a:lnTo>
                  <a:pt x="899" y="259"/>
                </a:lnTo>
                <a:lnTo>
                  <a:pt x="855" y="251"/>
                </a:lnTo>
                <a:lnTo>
                  <a:pt x="812" y="241"/>
                </a:lnTo>
                <a:lnTo>
                  <a:pt x="768" y="231"/>
                </a:lnTo>
                <a:lnTo>
                  <a:pt x="725" y="221"/>
                </a:lnTo>
                <a:lnTo>
                  <a:pt x="681" y="209"/>
                </a:lnTo>
                <a:lnTo>
                  <a:pt x="638" y="197"/>
                </a:lnTo>
                <a:lnTo>
                  <a:pt x="594" y="185"/>
                </a:lnTo>
                <a:lnTo>
                  <a:pt x="551" y="171"/>
                </a:lnTo>
                <a:lnTo>
                  <a:pt x="508" y="157"/>
                </a:lnTo>
                <a:lnTo>
                  <a:pt x="465" y="143"/>
                </a:lnTo>
                <a:lnTo>
                  <a:pt x="422" y="127"/>
                </a:lnTo>
                <a:lnTo>
                  <a:pt x="379" y="111"/>
                </a:lnTo>
                <a:lnTo>
                  <a:pt x="336" y="94"/>
                </a:lnTo>
                <a:lnTo>
                  <a:pt x="294" y="76"/>
                </a:lnTo>
                <a:lnTo>
                  <a:pt x="251" y="58"/>
                </a:lnTo>
                <a:lnTo>
                  <a:pt x="251" y="58"/>
                </a:lnTo>
                <a:lnTo>
                  <a:pt x="165" y="19"/>
                </a:lnTo>
                <a:lnTo>
                  <a:pt x="122" y="0"/>
                </a:lnTo>
                <a:lnTo>
                  <a:pt x="122" y="0"/>
                </a:lnTo>
                <a:lnTo>
                  <a:pt x="121" y="3"/>
                </a:lnTo>
                <a:lnTo>
                  <a:pt x="119" y="12"/>
                </a:lnTo>
                <a:lnTo>
                  <a:pt x="119" y="19"/>
                </a:lnTo>
                <a:lnTo>
                  <a:pt x="119" y="28"/>
                </a:lnTo>
                <a:lnTo>
                  <a:pt x="119" y="39"/>
                </a:lnTo>
                <a:lnTo>
                  <a:pt x="121" y="51"/>
                </a:lnTo>
                <a:lnTo>
                  <a:pt x="125" y="64"/>
                </a:lnTo>
                <a:lnTo>
                  <a:pt x="129" y="79"/>
                </a:lnTo>
                <a:lnTo>
                  <a:pt x="136" y="96"/>
                </a:lnTo>
                <a:lnTo>
                  <a:pt x="145" y="114"/>
                </a:lnTo>
                <a:lnTo>
                  <a:pt x="156" y="135"/>
                </a:lnTo>
                <a:lnTo>
                  <a:pt x="171" y="156"/>
                </a:lnTo>
                <a:lnTo>
                  <a:pt x="187" y="180"/>
                </a:lnTo>
                <a:lnTo>
                  <a:pt x="207" y="204"/>
                </a:lnTo>
                <a:lnTo>
                  <a:pt x="207" y="204"/>
                </a:lnTo>
                <a:lnTo>
                  <a:pt x="189" y="201"/>
                </a:lnTo>
                <a:lnTo>
                  <a:pt x="170" y="199"/>
                </a:lnTo>
                <a:lnTo>
                  <a:pt x="151" y="199"/>
                </a:lnTo>
                <a:lnTo>
                  <a:pt x="132" y="199"/>
                </a:lnTo>
                <a:lnTo>
                  <a:pt x="114" y="201"/>
                </a:lnTo>
                <a:lnTo>
                  <a:pt x="98" y="204"/>
                </a:lnTo>
                <a:lnTo>
                  <a:pt x="83" y="209"/>
                </a:lnTo>
                <a:lnTo>
                  <a:pt x="69" y="215"/>
                </a:lnTo>
                <a:lnTo>
                  <a:pt x="69" y="215"/>
                </a:lnTo>
                <a:lnTo>
                  <a:pt x="55" y="224"/>
                </a:lnTo>
                <a:lnTo>
                  <a:pt x="42" y="234"/>
                </a:lnTo>
                <a:lnTo>
                  <a:pt x="32" y="244"/>
                </a:lnTo>
                <a:lnTo>
                  <a:pt x="21" y="253"/>
                </a:lnTo>
                <a:lnTo>
                  <a:pt x="13" y="262"/>
                </a:lnTo>
                <a:lnTo>
                  <a:pt x="7" y="272"/>
                </a:lnTo>
                <a:lnTo>
                  <a:pt x="0" y="28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3" name="Freeform 31"/>
          <p:cNvSpPr>
            <a:spLocks/>
          </p:cNvSpPr>
          <p:nvPr userDrawn="1"/>
        </p:nvSpPr>
        <p:spPr bwMode="auto">
          <a:xfrm>
            <a:off x="7248525" y="1618953"/>
            <a:ext cx="377825" cy="271463"/>
          </a:xfrm>
          <a:custGeom>
            <a:avLst/>
            <a:gdLst>
              <a:gd name="T0" fmla="*/ 2491 w 2863"/>
              <a:gd name="T1" fmla="*/ 103 h 2054"/>
              <a:gd name="T2" fmla="*/ 2575 w 2863"/>
              <a:gd name="T3" fmla="*/ 23 h 2054"/>
              <a:gd name="T4" fmla="*/ 2196 w 2863"/>
              <a:gd name="T5" fmla="*/ 132 h 2054"/>
              <a:gd name="T6" fmla="*/ 1671 w 2863"/>
              <a:gd name="T7" fmla="*/ 429 h 2054"/>
              <a:gd name="T8" fmla="*/ 1528 w 2863"/>
              <a:gd name="T9" fmla="*/ 462 h 2054"/>
              <a:gd name="T10" fmla="*/ 1416 w 2863"/>
              <a:gd name="T11" fmla="*/ 568 h 2054"/>
              <a:gd name="T12" fmla="*/ 1409 w 2863"/>
              <a:gd name="T13" fmla="*/ 634 h 2054"/>
              <a:gd name="T14" fmla="*/ 1479 w 2863"/>
              <a:gd name="T15" fmla="*/ 748 h 2054"/>
              <a:gd name="T16" fmla="*/ 1586 w 2863"/>
              <a:gd name="T17" fmla="*/ 787 h 2054"/>
              <a:gd name="T18" fmla="*/ 1476 w 2863"/>
              <a:gd name="T19" fmla="*/ 974 h 2054"/>
              <a:gd name="T20" fmla="*/ 1133 w 2863"/>
              <a:gd name="T21" fmla="*/ 1199 h 2054"/>
              <a:gd name="T22" fmla="*/ 799 w 2863"/>
              <a:gd name="T23" fmla="*/ 1254 h 2054"/>
              <a:gd name="T24" fmla="*/ 634 w 2863"/>
              <a:gd name="T25" fmla="*/ 1102 h 2054"/>
              <a:gd name="T26" fmla="*/ 539 w 2863"/>
              <a:gd name="T27" fmla="*/ 1015 h 2054"/>
              <a:gd name="T28" fmla="*/ 406 w 2863"/>
              <a:gd name="T29" fmla="*/ 1023 h 2054"/>
              <a:gd name="T30" fmla="*/ 231 w 2863"/>
              <a:gd name="T31" fmla="*/ 1090 h 2054"/>
              <a:gd name="T32" fmla="*/ 382 w 2863"/>
              <a:gd name="T33" fmla="*/ 1121 h 2054"/>
              <a:gd name="T34" fmla="*/ 351 w 2863"/>
              <a:gd name="T35" fmla="*/ 1168 h 2054"/>
              <a:gd name="T36" fmla="*/ 418 w 2863"/>
              <a:gd name="T37" fmla="*/ 1270 h 2054"/>
              <a:gd name="T38" fmla="*/ 608 w 2863"/>
              <a:gd name="T39" fmla="*/ 1387 h 2054"/>
              <a:gd name="T40" fmla="*/ 314 w 2863"/>
              <a:gd name="T41" fmla="*/ 1296 h 2054"/>
              <a:gd name="T42" fmla="*/ 234 w 2863"/>
              <a:gd name="T43" fmla="*/ 1324 h 2054"/>
              <a:gd name="T44" fmla="*/ 77 w 2863"/>
              <a:gd name="T45" fmla="*/ 1367 h 2054"/>
              <a:gd name="T46" fmla="*/ 0 w 2863"/>
              <a:gd name="T47" fmla="*/ 1480 h 2054"/>
              <a:gd name="T48" fmla="*/ 63 w 2863"/>
              <a:gd name="T49" fmla="*/ 1501 h 2054"/>
              <a:gd name="T50" fmla="*/ 166 w 2863"/>
              <a:gd name="T51" fmla="*/ 1461 h 2054"/>
              <a:gd name="T52" fmla="*/ 187 w 2863"/>
              <a:gd name="T53" fmla="*/ 1573 h 2054"/>
              <a:gd name="T54" fmla="*/ 354 w 2863"/>
              <a:gd name="T55" fmla="*/ 1597 h 2054"/>
              <a:gd name="T56" fmla="*/ 616 w 2863"/>
              <a:gd name="T57" fmla="*/ 1588 h 2054"/>
              <a:gd name="T58" fmla="*/ 382 w 2863"/>
              <a:gd name="T59" fmla="*/ 1636 h 2054"/>
              <a:gd name="T60" fmla="*/ 295 w 2863"/>
              <a:gd name="T61" fmla="*/ 1696 h 2054"/>
              <a:gd name="T62" fmla="*/ 254 w 2863"/>
              <a:gd name="T63" fmla="*/ 1795 h 2054"/>
              <a:gd name="T64" fmla="*/ 239 w 2863"/>
              <a:gd name="T65" fmla="*/ 1953 h 2054"/>
              <a:gd name="T66" fmla="*/ 335 w 2863"/>
              <a:gd name="T67" fmla="*/ 2045 h 2054"/>
              <a:gd name="T68" fmla="*/ 341 w 2863"/>
              <a:gd name="T69" fmla="*/ 1906 h 2054"/>
              <a:gd name="T70" fmla="*/ 417 w 2863"/>
              <a:gd name="T71" fmla="*/ 1946 h 2054"/>
              <a:gd name="T72" fmla="*/ 509 w 2863"/>
              <a:gd name="T73" fmla="*/ 1935 h 2054"/>
              <a:gd name="T74" fmla="*/ 732 w 2863"/>
              <a:gd name="T75" fmla="*/ 1733 h 2054"/>
              <a:gd name="T76" fmla="*/ 874 w 2863"/>
              <a:gd name="T77" fmla="*/ 1691 h 2054"/>
              <a:gd name="T78" fmla="*/ 870 w 2863"/>
              <a:gd name="T79" fmla="*/ 1786 h 2054"/>
              <a:gd name="T80" fmla="*/ 945 w 2863"/>
              <a:gd name="T81" fmla="*/ 1834 h 2054"/>
              <a:gd name="T82" fmla="*/ 875 w 2863"/>
              <a:gd name="T83" fmla="*/ 1948 h 2054"/>
              <a:gd name="T84" fmla="*/ 1004 w 2863"/>
              <a:gd name="T85" fmla="*/ 1919 h 2054"/>
              <a:gd name="T86" fmla="*/ 1100 w 2863"/>
              <a:gd name="T87" fmla="*/ 1787 h 2054"/>
              <a:gd name="T88" fmla="*/ 1159 w 2863"/>
              <a:gd name="T89" fmla="*/ 1734 h 2054"/>
              <a:gd name="T90" fmla="*/ 1183 w 2863"/>
              <a:gd name="T91" fmla="*/ 1628 h 2054"/>
              <a:gd name="T92" fmla="*/ 1338 w 2863"/>
              <a:gd name="T93" fmla="*/ 1564 h 2054"/>
              <a:gd name="T94" fmla="*/ 1370 w 2863"/>
              <a:gd name="T95" fmla="*/ 1465 h 2054"/>
              <a:gd name="T96" fmla="*/ 1461 w 2863"/>
              <a:gd name="T97" fmla="*/ 1462 h 2054"/>
              <a:gd name="T98" fmla="*/ 1684 w 2863"/>
              <a:gd name="T99" fmla="*/ 1556 h 2054"/>
              <a:gd name="T100" fmla="*/ 1888 w 2863"/>
              <a:gd name="T101" fmla="*/ 1440 h 2054"/>
              <a:gd name="T102" fmla="*/ 1799 w 2863"/>
              <a:gd name="T103" fmla="*/ 1308 h 2054"/>
              <a:gd name="T104" fmla="*/ 1857 w 2863"/>
              <a:gd name="T105" fmla="*/ 1327 h 2054"/>
              <a:gd name="T106" fmla="*/ 2183 w 2863"/>
              <a:gd name="T107" fmla="*/ 1273 h 2054"/>
              <a:gd name="T108" fmla="*/ 2142 w 2863"/>
              <a:gd name="T109" fmla="*/ 1164 h 2054"/>
              <a:gd name="T110" fmla="*/ 2112 w 2863"/>
              <a:gd name="T111" fmla="*/ 1069 h 2054"/>
              <a:gd name="T112" fmla="*/ 2121 w 2863"/>
              <a:gd name="T113" fmla="*/ 977 h 2054"/>
              <a:gd name="T114" fmla="*/ 2085 w 2863"/>
              <a:gd name="T115" fmla="*/ 807 h 2054"/>
              <a:gd name="T116" fmla="*/ 2859 w 2863"/>
              <a:gd name="T117" fmla="*/ 408 h 2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63" h="2054">
                <a:moveTo>
                  <a:pt x="2759" y="252"/>
                </a:moveTo>
                <a:lnTo>
                  <a:pt x="2759" y="252"/>
                </a:lnTo>
                <a:lnTo>
                  <a:pt x="2742" y="239"/>
                </a:lnTo>
                <a:lnTo>
                  <a:pt x="2725" y="227"/>
                </a:lnTo>
                <a:lnTo>
                  <a:pt x="2708" y="214"/>
                </a:lnTo>
                <a:lnTo>
                  <a:pt x="2690" y="203"/>
                </a:lnTo>
                <a:lnTo>
                  <a:pt x="2655" y="184"/>
                </a:lnTo>
                <a:lnTo>
                  <a:pt x="2621" y="165"/>
                </a:lnTo>
                <a:lnTo>
                  <a:pt x="2586" y="148"/>
                </a:lnTo>
                <a:lnTo>
                  <a:pt x="2553" y="133"/>
                </a:lnTo>
                <a:lnTo>
                  <a:pt x="2522" y="118"/>
                </a:lnTo>
                <a:lnTo>
                  <a:pt x="2491" y="103"/>
                </a:lnTo>
                <a:lnTo>
                  <a:pt x="2491" y="103"/>
                </a:lnTo>
                <a:lnTo>
                  <a:pt x="2507" y="93"/>
                </a:lnTo>
                <a:lnTo>
                  <a:pt x="2523" y="82"/>
                </a:lnTo>
                <a:lnTo>
                  <a:pt x="2540" y="68"/>
                </a:lnTo>
                <a:lnTo>
                  <a:pt x="2556" y="54"/>
                </a:lnTo>
                <a:lnTo>
                  <a:pt x="2570" y="41"/>
                </a:lnTo>
                <a:lnTo>
                  <a:pt x="2574" y="35"/>
                </a:lnTo>
                <a:lnTo>
                  <a:pt x="2577" y="30"/>
                </a:lnTo>
                <a:lnTo>
                  <a:pt x="2577" y="26"/>
                </a:lnTo>
                <a:lnTo>
                  <a:pt x="2577" y="24"/>
                </a:lnTo>
                <a:lnTo>
                  <a:pt x="2575" y="23"/>
                </a:lnTo>
                <a:lnTo>
                  <a:pt x="2575" y="23"/>
                </a:lnTo>
                <a:lnTo>
                  <a:pt x="2562" y="16"/>
                </a:lnTo>
                <a:lnTo>
                  <a:pt x="2550" y="10"/>
                </a:lnTo>
                <a:lnTo>
                  <a:pt x="2538" y="6"/>
                </a:lnTo>
                <a:lnTo>
                  <a:pt x="2527" y="4"/>
                </a:lnTo>
                <a:lnTo>
                  <a:pt x="2508" y="1"/>
                </a:lnTo>
                <a:lnTo>
                  <a:pt x="2501" y="0"/>
                </a:lnTo>
                <a:lnTo>
                  <a:pt x="2501" y="0"/>
                </a:lnTo>
                <a:lnTo>
                  <a:pt x="2440" y="24"/>
                </a:lnTo>
                <a:lnTo>
                  <a:pt x="2377" y="50"/>
                </a:lnTo>
                <a:lnTo>
                  <a:pt x="2317" y="76"/>
                </a:lnTo>
                <a:lnTo>
                  <a:pt x="2256" y="103"/>
                </a:lnTo>
                <a:lnTo>
                  <a:pt x="2196" y="132"/>
                </a:lnTo>
                <a:lnTo>
                  <a:pt x="2138" y="160"/>
                </a:lnTo>
                <a:lnTo>
                  <a:pt x="2081" y="189"/>
                </a:lnTo>
                <a:lnTo>
                  <a:pt x="2026" y="219"/>
                </a:lnTo>
                <a:lnTo>
                  <a:pt x="1972" y="247"/>
                </a:lnTo>
                <a:lnTo>
                  <a:pt x="1921" y="276"/>
                </a:lnTo>
                <a:lnTo>
                  <a:pt x="1872" y="303"/>
                </a:lnTo>
                <a:lnTo>
                  <a:pt x="1825" y="331"/>
                </a:lnTo>
                <a:lnTo>
                  <a:pt x="1782" y="358"/>
                </a:lnTo>
                <a:lnTo>
                  <a:pt x="1741" y="383"/>
                </a:lnTo>
                <a:lnTo>
                  <a:pt x="1705" y="407"/>
                </a:lnTo>
                <a:lnTo>
                  <a:pt x="1671" y="429"/>
                </a:lnTo>
                <a:lnTo>
                  <a:pt x="1671" y="429"/>
                </a:lnTo>
                <a:lnTo>
                  <a:pt x="1666" y="432"/>
                </a:lnTo>
                <a:lnTo>
                  <a:pt x="1666" y="432"/>
                </a:lnTo>
                <a:lnTo>
                  <a:pt x="1654" y="439"/>
                </a:lnTo>
                <a:lnTo>
                  <a:pt x="1643" y="446"/>
                </a:lnTo>
                <a:lnTo>
                  <a:pt x="1632" y="451"/>
                </a:lnTo>
                <a:lnTo>
                  <a:pt x="1620" y="455"/>
                </a:lnTo>
                <a:lnTo>
                  <a:pt x="1608" y="458"/>
                </a:lnTo>
                <a:lnTo>
                  <a:pt x="1597" y="461"/>
                </a:lnTo>
                <a:lnTo>
                  <a:pt x="1585" y="462"/>
                </a:lnTo>
                <a:lnTo>
                  <a:pt x="1574" y="463"/>
                </a:lnTo>
                <a:lnTo>
                  <a:pt x="1550" y="464"/>
                </a:lnTo>
                <a:lnTo>
                  <a:pt x="1528" y="462"/>
                </a:lnTo>
                <a:lnTo>
                  <a:pt x="1505" y="459"/>
                </a:lnTo>
                <a:lnTo>
                  <a:pt x="1485" y="454"/>
                </a:lnTo>
                <a:lnTo>
                  <a:pt x="1465" y="449"/>
                </a:lnTo>
                <a:lnTo>
                  <a:pt x="1448" y="442"/>
                </a:lnTo>
                <a:lnTo>
                  <a:pt x="1433" y="436"/>
                </a:lnTo>
                <a:lnTo>
                  <a:pt x="1418" y="430"/>
                </a:lnTo>
                <a:lnTo>
                  <a:pt x="1399" y="420"/>
                </a:lnTo>
                <a:lnTo>
                  <a:pt x="1393" y="416"/>
                </a:lnTo>
                <a:lnTo>
                  <a:pt x="1372" y="544"/>
                </a:lnTo>
                <a:lnTo>
                  <a:pt x="1372" y="544"/>
                </a:lnTo>
                <a:lnTo>
                  <a:pt x="1395" y="557"/>
                </a:lnTo>
                <a:lnTo>
                  <a:pt x="1416" y="568"/>
                </a:lnTo>
                <a:lnTo>
                  <a:pt x="1437" y="577"/>
                </a:lnTo>
                <a:lnTo>
                  <a:pt x="1454" y="586"/>
                </a:lnTo>
                <a:lnTo>
                  <a:pt x="1470" y="592"/>
                </a:lnTo>
                <a:lnTo>
                  <a:pt x="1486" y="596"/>
                </a:lnTo>
                <a:lnTo>
                  <a:pt x="1499" y="600"/>
                </a:lnTo>
                <a:lnTo>
                  <a:pt x="1510" y="602"/>
                </a:lnTo>
                <a:lnTo>
                  <a:pt x="1510" y="602"/>
                </a:lnTo>
                <a:lnTo>
                  <a:pt x="1491" y="606"/>
                </a:lnTo>
                <a:lnTo>
                  <a:pt x="1470" y="611"/>
                </a:lnTo>
                <a:lnTo>
                  <a:pt x="1450" y="617"/>
                </a:lnTo>
                <a:lnTo>
                  <a:pt x="1428" y="625"/>
                </a:lnTo>
                <a:lnTo>
                  <a:pt x="1409" y="634"/>
                </a:lnTo>
                <a:lnTo>
                  <a:pt x="1391" y="645"/>
                </a:lnTo>
                <a:lnTo>
                  <a:pt x="1381" y="650"/>
                </a:lnTo>
                <a:lnTo>
                  <a:pt x="1373" y="656"/>
                </a:lnTo>
                <a:lnTo>
                  <a:pt x="1366" y="663"/>
                </a:lnTo>
                <a:lnTo>
                  <a:pt x="1360" y="670"/>
                </a:lnTo>
                <a:lnTo>
                  <a:pt x="1404" y="788"/>
                </a:lnTo>
                <a:lnTo>
                  <a:pt x="1404" y="788"/>
                </a:lnTo>
                <a:lnTo>
                  <a:pt x="1416" y="779"/>
                </a:lnTo>
                <a:lnTo>
                  <a:pt x="1432" y="770"/>
                </a:lnTo>
                <a:lnTo>
                  <a:pt x="1453" y="758"/>
                </a:lnTo>
                <a:lnTo>
                  <a:pt x="1465" y="753"/>
                </a:lnTo>
                <a:lnTo>
                  <a:pt x="1479" y="748"/>
                </a:lnTo>
                <a:lnTo>
                  <a:pt x="1494" y="743"/>
                </a:lnTo>
                <a:lnTo>
                  <a:pt x="1509" y="738"/>
                </a:lnTo>
                <a:lnTo>
                  <a:pt x="1527" y="734"/>
                </a:lnTo>
                <a:lnTo>
                  <a:pt x="1545" y="731"/>
                </a:lnTo>
                <a:lnTo>
                  <a:pt x="1564" y="729"/>
                </a:lnTo>
                <a:lnTo>
                  <a:pt x="1585" y="728"/>
                </a:lnTo>
                <a:lnTo>
                  <a:pt x="1585" y="728"/>
                </a:lnTo>
                <a:lnTo>
                  <a:pt x="1588" y="744"/>
                </a:lnTo>
                <a:lnTo>
                  <a:pt x="1588" y="744"/>
                </a:lnTo>
                <a:lnTo>
                  <a:pt x="1588" y="758"/>
                </a:lnTo>
                <a:lnTo>
                  <a:pt x="1588" y="773"/>
                </a:lnTo>
                <a:lnTo>
                  <a:pt x="1586" y="787"/>
                </a:lnTo>
                <a:lnTo>
                  <a:pt x="1583" y="802"/>
                </a:lnTo>
                <a:lnTo>
                  <a:pt x="1578" y="818"/>
                </a:lnTo>
                <a:lnTo>
                  <a:pt x="1573" y="833"/>
                </a:lnTo>
                <a:lnTo>
                  <a:pt x="1565" y="848"/>
                </a:lnTo>
                <a:lnTo>
                  <a:pt x="1557" y="864"/>
                </a:lnTo>
                <a:lnTo>
                  <a:pt x="1549" y="880"/>
                </a:lnTo>
                <a:lnTo>
                  <a:pt x="1539" y="895"/>
                </a:lnTo>
                <a:lnTo>
                  <a:pt x="1528" y="912"/>
                </a:lnTo>
                <a:lnTo>
                  <a:pt x="1516" y="927"/>
                </a:lnTo>
                <a:lnTo>
                  <a:pt x="1503" y="943"/>
                </a:lnTo>
                <a:lnTo>
                  <a:pt x="1490" y="959"/>
                </a:lnTo>
                <a:lnTo>
                  <a:pt x="1476" y="974"/>
                </a:lnTo>
                <a:lnTo>
                  <a:pt x="1461" y="989"/>
                </a:lnTo>
                <a:lnTo>
                  <a:pt x="1429" y="1020"/>
                </a:lnTo>
                <a:lnTo>
                  <a:pt x="1396" y="1049"/>
                </a:lnTo>
                <a:lnTo>
                  <a:pt x="1360" y="1076"/>
                </a:lnTo>
                <a:lnTo>
                  <a:pt x="1323" y="1102"/>
                </a:lnTo>
                <a:lnTo>
                  <a:pt x="1285" y="1126"/>
                </a:lnTo>
                <a:lnTo>
                  <a:pt x="1247" y="1148"/>
                </a:lnTo>
                <a:lnTo>
                  <a:pt x="1209" y="1167"/>
                </a:lnTo>
                <a:lnTo>
                  <a:pt x="1189" y="1177"/>
                </a:lnTo>
                <a:lnTo>
                  <a:pt x="1171" y="1185"/>
                </a:lnTo>
                <a:lnTo>
                  <a:pt x="1171" y="1185"/>
                </a:lnTo>
                <a:lnTo>
                  <a:pt x="1133" y="1199"/>
                </a:lnTo>
                <a:lnTo>
                  <a:pt x="1095" y="1211"/>
                </a:lnTo>
                <a:lnTo>
                  <a:pt x="1060" y="1223"/>
                </a:lnTo>
                <a:lnTo>
                  <a:pt x="1026" y="1232"/>
                </a:lnTo>
                <a:lnTo>
                  <a:pt x="993" y="1240"/>
                </a:lnTo>
                <a:lnTo>
                  <a:pt x="962" y="1246"/>
                </a:lnTo>
                <a:lnTo>
                  <a:pt x="933" y="1250"/>
                </a:lnTo>
                <a:lnTo>
                  <a:pt x="905" y="1254"/>
                </a:lnTo>
                <a:lnTo>
                  <a:pt x="879" y="1256"/>
                </a:lnTo>
                <a:lnTo>
                  <a:pt x="856" y="1257"/>
                </a:lnTo>
                <a:lnTo>
                  <a:pt x="834" y="1257"/>
                </a:lnTo>
                <a:lnTo>
                  <a:pt x="815" y="1256"/>
                </a:lnTo>
                <a:lnTo>
                  <a:pt x="799" y="1254"/>
                </a:lnTo>
                <a:lnTo>
                  <a:pt x="785" y="1251"/>
                </a:lnTo>
                <a:lnTo>
                  <a:pt x="774" y="1247"/>
                </a:lnTo>
                <a:lnTo>
                  <a:pt x="765" y="1243"/>
                </a:lnTo>
                <a:lnTo>
                  <a:pt x="765" y="1243"/>
                </a:lnTo>
                <a:lnTo>
                  <a:pt x="741" y="1227"/>
                </a:lnTo>
                <a:lnTo>
                  <a:pt x="720" y="1209"/>
                </a:lnTo>
                <a:lnTo>
                  <a:pt x="701" y="1191"/>
                </a:lnTo>
                <a:lnTo>
                  <a:pt x="685" y="1172"/>
                </a:lnTo>
                <a:lnTo>
                  <a:pt x="670" y="1155"/>
                </a:lnTo>
                <a:lnTo>
                  <a:pt x="656" y="1137"/>
                </a:lnTo>
                <a:lnTo>
                  <a:pt x="645" y="1119"/>
                </a:lnTo>
                <a:lnTo>
                  <a:pt x="634" y="1102"/>
                </a:lnTo>
                <a:lnTo>
                  <a:pt x="615" y="1071"/>
                </a:lnTo>
                <a:lnTo>
                  <a:pt x="605" y="1057"/>
                </a:lnTo>
                <a:lnTo>
                  <a:pt x="596" y="1045"/>
                </a:lnTo>
                <a:lnTo>
                  <a:pt x="587" y="1033"/>
                </a:lnTo>
                <a:lnTo>
                  <a:pt x="577" y="1025"/>
                </a:lnTo>
                <a:lnTo>
                  <a:pt x="565" y="1018"/>
                </a:lnTo>
                <a:lnTo>
                  <a:pt x="559" y="1015"/>
                </a:lnTo>
                <a:lnTo>
                  <a:pt x="553" y="1013"/>
                </a:lnTo>
                <a:lnTo>
                  <a:pt x="553" y="1013"/>
                </a:lnTo>
                <a:lnTo>
                  <a:pt x="549" y="1013"/>
                </a:lnTo>
                <a:lnTo>
                  <a:pt x="546" y="1013"/>
                </a:lnTo>
                <a:lnTo>
                  <a:pt x="539" y="1015"/>
                </a:lnTo>
                <a:lnTo>
                  <a:pt x="532" y="1018"/>
                </a:lnTo>
                <a:lnTo>
                  <a:pt x="524" y="1022"/>
                </a:lnTo>
                <a:lnTo>
                  <a:pt x="516" y="1026"/>
                </a:lnTo>
                <a:lnTo>
                  <a:pt x="507" y="1029"/>
                </a:lnTo>
                <a:lnTo>
                  <a:pt x="499" y="1031"/>
                </a:lnTo>
                <a:lnTo>
                  <a:pt x="494" y="1031"/>
                </a:lnTo>
                <a:lnTo>
                  <a:pt x="489" y="1031"/>
                </a:lnTo>
                <a:lnTo>
                  <a:pt x="489" y="1031"/>
                </a:lnTo>
                <a:lnTo>
                  <a:pt x="468" y="1028"/>
                </a:lnTo>
                <a:lnTo>
                  <a:pt x="448" y="1025"/>
                </a:lnTo>
                <a:lnTo>
                  <a:pt x="427" y="1024"/>
                </a:lnTo>
                <a:lnTo>
                  <a:pt x="406" y="1023"/>
                </a:lnTo>
                <a:lnTo>
                  <a:pt x="386" y="1023"/>
                </a:lnTo>
                <a:lnTo>
                  <a:pt x="366" y="1025"/>
                </a:lnTo>
                <a:lnTo>
                  <a:pt x="347" y="1027"/>
                </a:lnTo>
                <a:lnTo>
                  <a:pt x="327" y="1031"/>
                </a:lnTo>
                <a:lnTo>
                  <a:pt x="309" y="1035"/>
                </a:lnTo>
                <a:lnTo>
                  <a:pt x="292" y="1043"/>
                </a:lnTo>
                <a:lnTo>
                  <a:pt x="276" y="1050"/>
                </a:lnTo>
                <a:lnTo>
                  <a:pt x="262" y="1059"/>
                </a:lnTo>
                <a:lnTo>
                  <a:pt x="248" y="1070"/>
                </a:lnTo>
                <a:lnTo>
                  <a:pt x="242" y="1076"/>
                </a:lnTo>
                <a:lnTo>
                  <a:pt x="236" y="1082"/>
                </a:lnTo>
                <a:lnTo>
                  <a:pt x="231" y="1090"/>
                </a:lnTo>
                <a:lnTo>
                  <a:pt x="227" y="1098"/>
                </a:lnTo>
                <a:lnTo>
                  <a:pt x="223" y="1105"/>
                </a:lnTo>
                <a:lnTo>
                  <a:pt x="219" y="1114"/>
                </a:lnTo>
                <a:lnTo>
                  <a:pt x="219" y="1114"/>
                </a:lnTo>
                <a:lnTo>
                  <a:pt x="257" y="1112"/>
                </a:lnTo>
                <a:lnTo>
                  <a:pt x="292" y="1111"/>
                </a:lnTo>
                <a:lnTo>
                  <a:pt x="312" y="1111"/>
                </a:lnTo>
                <a:lnTo>
                  <a:pt x="331" y="1112"/>
                </a:lnTo>
                <a:lnTo>
                  <a:pt x="349" y="1113"/>
                </a:lnTo>
                <a:lnTo>
                  <a:pt x="364" y="1116"/>
                </a:lnTo>
                <a:lnTo>
                  <a:pt x="377" y="1119"/>
                </a:lnTo>
                <a:lnTo>
                  <a:pt x="382" y="1121"/>
                </a:lnTo>
                <a:lnTo>
                  <a:pt x="387" y="1123"/>
                </a:lnTo>
                <a:lnTo>
                  <a:pt x="389" y="1126"/>
                </a:lnTo>
                <a:lnTo>
                  <a:pt x="391" y="1130"/>
                </a:lnTo>
                <a:lnTo>
                  <a:pt x="391" y="1133"/>
                </a:lnTo>
                <a:lnTo>
                  <a:pt x="389" y="1137"/>
                </a:lnTo>
                <a:lnTo>
                  <a:pt x="386" y="1141"/>
                </a:lnTo>
                <a:lnTo>
                  <a:pt x="381" y="1146"/>
                </a:lnTo>
                <a:lnTo>
                  <a:pt x="374" y="1151"/>
                </a:lnTo>
                <a:lnTo>
                  <a:pt x="366" y="1156"/>
                </a:lnTo>
                <a:lnTo>
                  <a:pt x="366" y="1156"/>
                </a:lnTo>
                <a:lnTo>
                  <a:pt x="357" y="1162"/>
                </a:lnTo>
                <a:lnTo>
                  <a:pt x="351" y="1168"/>
                </a:lnTo>
                <a:lnTo>
                  <a:pt x="346" y="1175"/>
                </a:lnTo>
                <a:lnTo>
                  <a:pt x="344" y="1182"/>
                </a:lnTo>
                <a:lnTo>
                  <a:pt x="343" y="1189"/>
                </a:lnTo>
                <a:lnTo>
                  <a:pt x="344" y="1195"/>
                </a:lnTo>
                <a:lnTo>
                  <a:pt x="346" y="1202"/>
                </a:lnTo>
                <a:lnTo>
                  <a:pt x="349" y="1209"/>
                </a:lnTo>
                <a:lnTo>
                  <a:pt x="354" y="1217"/>
                </a:lnTo>
                <a:lnTo>
                  <a:pt x="360" y="1225"/>
                </a:lnTo>
                <a:lnTo>
                  <a:pt x="368" y="1232"/>
                </a:lnTo>
                <a:lnTo>
                  <a:pt x="376" y="1239"/>
                </a:lnTo>
                <a:lnTo>
                  <a:pt x="396" y="1254"/>
                </a:lnTo>
                <a:lnTo>
                  <a:pt x="418" y="1270"/>
                </a:lnTo>
                <a:lnTo>
                  <a:pt x="442" y="1285"/>
                </a:lnTo>
                <a:lnTo>
                  <a:pt x="467" y="1299"/>
                </a:lnTo>
                <a:lnTo>
                  <a:pt x="519" y="1327"/>
                </a:lnTo>
                <a:lnTo>
                  <a:pt x="565" y="1350"/>
                </a:lnTo>
                <a:lnTo>
                  <a:pt x="585" y="1361"/>
                </a:lnTo>
                <a:lnTo>
                  <a:pt x="601" y="1370"/>
                </a:lnTo>
                <a:lnTo>
                  <a:pt x="601" y="1370"/>
                </a:lnTo>
                <a:lnTo>
                  <a:pt x="608" y="1375"/>
                </a:lnTo>
                <a:lnTo>
                  <a:pt x="611" y="1379"/>
                </a:lnTo>
                <a:lnTo>
                  <a:pt x="613" y="1382"/>
                </a:lnTo>
                <a:lnTo>
                  <a:pt x="611" y="1385"/>
                </a:lnTo>
                <a:lnTo>
                  <a:pt x="608" y="1387"/>
                </a:lnTo>
                <a:lnTo>
                  <a:pt x="604" y="1389"/>
                </a:lnTo>
                <a:lnTo>
                  <a:pt x="598" y="1390"/>
                </a:lnTo>
                <a:lnTo>
                  <a:pt x="598" y="1390"/>
                </a:lnTo>
                <a:lnTo>
                  <a:pt x="588" y="1390"/>
                </a:lnTo>
                <a:lnTo>
                  <a:pt x="576" y="1388"/>
                </a:lnTo>
                <a:lnTo>
                  <a:pt x="561" y="1385"/>
                </a:lnTo>
                <a:lnTo>
                  <a:pt x="545" y="1380"/>
                </a:lnTo>
                <a:lnTo>
                  <a:pt x="509" y="1369"/>
                </a:lnTo>
                <a:lnTo>
                  <a:pt x="469" y="1354"/>
                </a:lnTo>
                <a:lnTo>
                  <a:pt x="387" y="1323"/>
                </a:lnTo>
                <a:lnTo>
                  <a:pt x="349" y="1307"/>
                </a:lnTo>
                <a:lnTo>
                  <a:pt x="314" y="1296"/>
                </a:lnTo>
                <a:lnTo>
                  <a:pt x="314" y="1296"/>
                </a:lnTo>
                <a:lnTo>
                  <a:pt x="303" y="1293"/>
                </a:lnTo>
                <a:lnTo>
                  <a:pt x="292" y="1291"/>
                </a:lnTo>
                <a:lnTo>
                  <a:pt x="283" y="1291"/>
                </a:lnTo>
                <a:lnTo>
                  <a:pt x="275" y="1292"/>
                </a:lnTo>
                <a:lnTo>
                  <a:pt x="268" y="1294"/>
                </a:lnTo>
                <a:lnTo>
                  <a:pt x="262" y="1297"/>
                </a:lnTo>
                <a:lnTo>
                  <a:pt x="257" y="1300"/>
                </a:lnTo>
                <a:lnTo>
                  <a:pt x="253" y="1303"/>
                </a:lnTo>
                <a:lnTo>
                  <a:pt x="244" y="1312"/>
                </a:lnTo>
                <a:lnTo>
                  <a:pt x="238" y="1319"/>
                </a:lnTo>
                <a:lnTo>
                  <a:pt x="234" y="1324"/>
                </a:lnTo>
                <a:lnTo>
                  <a:pt x="231" y="1325"/>
                </a:lnTo>
                <a:lnTo>
                  <a:pt x="229" y="1326"/>
                </a:lnTo>
                <a:lnTo>
                  <a:pt x="229" y="1326"/>
                </a:lnTo>
                <a:lnTo>
                  <a:pt x="220" y="1325"/>
                </a:lnTo>
                <a:lnTo>
                  <a:pt x="210" y="1324"/>
                </a:lnTo>
                <a:lnTo>
                  <a:pt x="198" y="1325"/>
                </a:lnTo>
                <a:lnTo>
                  <a:pt x="188" y="1325"/>
                </a:lnTo>
                <a:lnTo>
                  <a:pt x="166" y="1329"/>
                </a:lnTo>
                <a:lnTo>
                  <a:pt x="143" y="1335"/>
                </a:lnTo>
                <a:lnTo>
                  <a:pt x="121" y="1343"/>
                </a:lnTo>
                <a:lnTo>
                  <a:pt x="98" y="1353"/>
                </a:lnTo>
                <a:lnTo>
                  <a:pt x="77" y="1367"/>
                </a:lnTo>
                <a:lnTo>
                  <a:pt x="66" y="1374"/>
                </a:lnTo>
                <a:lnTo>
                  <a:pt x="57" y="1381"/>
                </a:lnTo>
                <a:lnTo>
                  <a:pt x="48" y="1389"/>
                </a:lnTo>
                <a:lnTo>
                  <a:pt x="40" y="1397"/>
                </a:lnTo>
                <a:lnTo>
                  <a:pt x="32" y="1407"/>
                </a:lnTo>
                <a:lnTo>
                  <a:pt x="25" y="1416"/>
                </a:lnTo>
                <a:lnTo>
                  <a:pt x="18" y="1426"/>
                </a:lnTo>
                <a:lnTo>
                  <a:pt x="12" y="1435"/>
                </a:lnTo>
                <a:lnTo>
                  <a:pt x="8" y="1446"/>
                </a:lnTo>
                <a:lnTo>
                  <a:pt x="4" y="1458"/>
                </a:lnTo>
                <a:lnTo>
                  <a:pt x="2" y="1469"/>
                </a:lnTo>
                <a:lnTo>
                  <a:pt x="0" y="1480"/>
                </a:lnTo>
                <a:lnTo>
                  <a:pt x="0" y="1492"/>
                </a:lnTo>
                <a:lnTo>
                  <a:pt x="0" y="1505"/>
                </a:lnTo>
                <a:lnTo>
                  <a:pt x="3" y="1518"/>
                </a:lnTo>
                <a:lnTo>
                  <a:pt x="6" y="1530"/>
                </a:lnTo>
                <a:lnTo>
                  <a:pt x="11" y="1544"/>
                </a:lnTo>
                <a:lnTo>
                  <a:pt x="17" y="1558"/>
                </a:lnTo>
                <a:lnTo>
                  <a:pt x="17" y="1558"/>
                </a:lnTo>
                <a:lnTo>
                  <a:pt x="20" y="1553"/>
                </a:lnTo>
                <a:lnTo>
                  <a:pt x="30" y="1540"/>
                </a:lnTo>
                <a:lnTo>
                  <a:pt x="45" y="1521"/>
                </a:lnTo>
                <a:lnTo>
                  <a:pt x="53" y="1511"/>
                </a:lnTo>
                <a:lnTo>
                  <a:pt x="63" y="1501"/>
                </a:lnTo>
                <a:lnTo>
                  <a:pt x="75" y="1490"/>
                </a:lnTo>
                <a:lnTo>
                  <a:pt x="86" y="1481"/>
                </a:lnTo>
                <a:lnTo>
                  <a:pt x="98" y="1473"/>
                </a:lnTo>
                <a:lnTo>
                  <a:pt x="111" y="1466"/>
                </a:lnTo>
                <a:lnTo>
                  <a:pt x="125" y="1461"/>
                </a:lnTo>
                <a:lnTo>
                  <a:pt x="131" y="1459"/>
                </a:lnTo>
                <a:lnTo>
                  <a:pt x="138" y="1458"/>
                </a:lnTo>
                <a:lnTo>
                  <a:pt x="145" y="1458"/>
                </a:lnTo>
                <a:lnTo>
                  <a:pt x="151" y="1458"/>
                </a:lnTo>
                <a:lnTo>
                  <a:pt x="159" y="1459"/>
                </a:lnTo>
                <a:lnTo>
                  <a:pt x="166" y="1461"/>
                </a:lnTo>
                <a:lnTo>
                  <a:pt x="166" y="1461"/>
                </a:lnTo>
                <a:lnTo>
                  <a:pt x="171" y="1463"/>
                </a:lnTo>
                <a:lnTo>
                  <a:pt x="174" y="1467"/>
                </a:lnTo>
                <a:lnTo>
                  <a:pt x="175" y="1473"/>
                </a:lnTo>
                <a:lnTo>
                  <a:pt x="176" y="1479"/>
                </a:lnTo>
                <a:lnTo>
                  <a:pt x="176" y="1496"/>
                </a:lnTo>
                <a:lnTo>
                  <a:pt x="174" y="1514"/>
                </a:lnTo>
                <a:lnTo>
                  <a:pt x="174" y="1524"/>
                </a:lnTo>
                <a:lnTo>
                  <a:pt x="174" y="1534"/>
                </a:lnTo>
                <a:lnTo>
                  <a:pt x="176" y="1545"/>
                </a:lnTo>
                <a:lnTo>
                  <a:pt x="178" y="1554"/>
                </a:lnTo>
                <a:lnTo>
                  <a:pt x="182" y="1564"/>
                </a:lnTo>
                <a:lnTo>
                  <a:pt x="187" y="1573"/>
                </a:lnTo>
                <a:lnTo>
                  <a:pt x="195" y="1581"/>
                </a:lnTo>
                <a:lnTo>
                  <a:pt x="205" y="1589"/>
                </a:lnTo>
                <a:lnTo>
                  <a:pt x="205" y="1589"/>
                </a:lnTo>
                <a:lnTo>
                  <a:pt x="213" y="1593"/>
                </a:lnTo>
                <a:lnTo>
                  <a:pt x="221" y="1596"/>
                </a:lnTo>
                <a:lnTo>
                  <a:pt x="231" y="1599"/>
                </a:lnTo>
                <a:lnTo>
                  <a:pt x="242" y="1600"/>
                </a:lnTo>
                <a:lnTo>
                  <a:pt x="254" y="1602"/>
                </a:lnTo>
                <a:lnTo>
                  <a:pt x="267" y="1602"/>
                </a:lnTo>
                <a:lnTo>
                  <a:pt x="293" y="1602"/>
                </a:lnTo>
                <a:lnTo>
                  <a:pt x="323" y="1600"/>
                </a:lnTo>
                <a:lnTo>
                  <a:pt x="354" y="1597"/>
                </a:lnTo>
                <a:lnTo>
                  <a:pt x="418" y="1589"/>
                </a:lnTo>
                <a:lnTo>
                  <a:pt x="481" y="1580"/>
                </a:lnTo>
                <a:lnTo>
                  <a:pt x="510" y="1576"/>
                </a:lnTo>
                <a:lnTo>
                  <a:pt x="538" y="1574"/>
                </a:lnTo>
                <a:lnTo>
                  <a:pt x="562" y="1573"/>
                </a:lnTo>
                <a:lnTo>
                  <a:pt x="583" y="1574"/>
                </a:lnTo>
                <a:lnTo>
                  <a:pt x="592" y="1575"/>
                </a:lnTo>
                <a:lnTo>
                  <a:pt x="600" y="1577"/>
                </a:lnTo>
                <a:lnTo>
                  <a:pt x="607" y="1580"/>
                </a:lnTo>
                <a:lnTo>
                  <a:pt x="613" y="1585"/>
                </a:lnTo>
                <a:lnTo>
                  <a:pt x="613" y="1585"/>
                </a:lnTo>
                <a:lnTo>
                  <a:pt x="616" y="1588"/>
                </a:lnTo>
                <a:lnTo>
                  <a:pt x="617" y="1591"/>
                </a:lnTo>
                <a:lnTo>
                  <a:pt x="616" y="1593"/>
                </a:lnTo>
                <a:lnTo>
                  <a:pt x="611" y="1596"/>
                </a:lnTo>
                <a:lnTo>
                  <a:pt x="607" y="1598"/>
                </a:lnTo>
                <a:lnTo>
                  <a:pt x="600" y="1601"/>
                </a:lnTo>
                <a:lnTo>
                  <a:pt x="583" y="1605"/>
                </a:lnTo>
                <a:lnTo>
                  <a:pt x="560" y="1609"/>
                </a:lnTo>
                <a:lnTo>
                  <a:pt x="535" y="1612"/>
                </a:lnTo>
                <a:lnTo>
                  <a:pt x="474" y="1620"/>
                </a:lnTo>
                <a:lnTo>
                  <a:pt x="443" y="1624"/>
                </a:lnTo>
                <a:lnTo>
                  <a:pt x="412" y="1629"/>
                </a:lnTo>
                <a:lnTo>
                  <a:pt x="382" y="1636"/>
                </a:lnTo>
                <a:lnTo>
                  <a:pt x="356" y="1642"/>
                </a:lnTo>
                <a:lnTo>
                  <a:pt x="344" y="1646"/>
                </a:lnTo>
                <a:lnTo>
                  <a:pt x="332" y="1650"/>
                </a:lnTo>
                <a:lnTo>
                  <a:pt x="322" y="1654"/>
                </a:lnTo>
                <a:lnTo>
                  <a:pt x="314" y="1659"/>
                </a:lnTo>
                <a:lnTo>
                  <a:pt x="307" y="1664"/>
                </a:lnTo>
                <a:lnTo>
                  <a:pt x="302" y="1669"/>
                </a:lnTo>
                <a:lnTo>
                  <a:pt x="298" y="1676"/>
                </a:lnTo>
                <a:lnTo>
                  <a:pt x="296" y="1682"/>
                </a:lnTo>
                <a:lnTo>
                  <a:pt x="296" y="1682"/>
                </a:lnTo>
                <a:lnTo>
                  <a:pt x="295" y="1687"/>
                </a:lnTo>
                <a:lnTo>
                  <a:pt x="295" y="1696"/>
                </a:lnTo>
                <a:lnTo>
                  <a:pt x="296" y="1707"/>
                </a:lnTo>
                <a:lnTo>
                  <a:pt x="298" y="1713"/>
                </a:lnTo>
                <a:lnTo>
                  <a:pt x="300" y="1718"/>
                </a:lnTo>
                <a:lnTo>
                  <a:pt x="300" y="1718"/>
                </a:lnTo>
                <a:lnTo>
                  <a:pt x="301" y="1725"/>
                </a:lnTo>
                <a:lnTo>
                  <a:pt x="301" y="1731"/>
                </a:lnTo>
                <a:lnTo>
                  <a:pt x="298" y="1737"/>
                </a:lnTo>
                <a:lnTo>
                  <a:pt x="293" y="1743"/>
                </a:lnTo>
                <a:lnTo>
                  <a:pt x="283" y="1757"/>
                </a:lnTo>
                <a:lnTo>
                  <a:pt x="269" y="1775"/>
                </a:lnTo>
                <a:lnTo>
                  <a:pt x="261" y="1785"/>
                </a:lnTo>
                <a:lnTo>
                  <a:pt x="254" y="1795"/>
                </a:lnTo>
                <a:lnTo>
                  <a:pt x="246" y="1807"/>
                </a:lnTo>
                <a:lnTo>
                  <a:pt x="240" y="1820"/>
                </a:lnTo>
                <a:lnTo>
                  <a:pt x="234" y="1834"/>
                </a:lnTo>
                <a:lnTo>
                  <a:pt x="230" y="1849"/>
                </a:lnTo>
                <a:lnTo>
                  <a:pt x="226" y="1866"/>
                </a:lnTo>
                <a:lnTo>
                  <a:pt x="225" y="1884"/>
                </a:lnTo>
                <a:lnTo>
                  <a:pt x="225" y="1884"/>
                </a:lnTo>
                <a:lnTo>
                  <a:pt x="225" y="1893"/>
                </a:lnTo>
                <a:lnTo>
                  <a:pt x="225" y="1902"/>
                </a:lnTo>
                <a:lnTo>
                  <a:pt x="228" y="1920"/>
                </a:lnTo>
                <a:lnTo>
                  <a:pt x="233" y="1937"/>
                </a:lnTo>
                <a:lnTo>
                  <a:pt x="239" y="1953"/>
                </a:lnTo>
                <a:lnTo>
                  <a:pt x="247" y="1968"/>
                </a:lnTo>
                <a:lnTo>
                  <a:pt x="257" y="1982"/>
                </a:lnTo>
                <a:lnTo>
                  <a:pt x="267" y="1995"/>
                </a:lnTo>
                <a:lnTo>
                  <a:pt x="277" y="2007"/>
                </a:lnTo>
                <a:lnTo>
                  <a:pt x="287" y="2017"/>
                </a:lnTo>
                <a:lnTo>
                  <a:pt x="298" y="2026"/>
                </a:lnTo>
                <a:lnTo>
                  <a:pt x="315" y="2042"/>
                </a:lnTo>
                <a:lnTo>
                  <a:pt x="327" y="2050"/>
                </a:lnTo>
                <a:lnTo>
                  <a:pt x="332" y="2054"/>
                </a:lnTo>
                <a:lnTo>
                  <a:pt x="332" y="2054"/>
                </a:lnTo>
                <a:lnTo>
                  <a:pt x="334" y="2050"/>
                </a:lnTo>
                <a:lnTo>
                  <a:pt x="335" y="2045"/>
                </a:lnTo>
                <a:lnTo>
                  <a:pt x="335" y="2036"/>
                </a:lnTo>
                <a:lnTo>
                  <a:pt x="334" y="2027"/>
                </a:lnTo>
                <a:lnTo>
                  <a:pt x="331" y="2006"/>
                </a:lnTo>
                <a:lnTo>
                  <a:pt x="328" y="1980"/>
                </a:lnTo>
                <a:lnTo>
                  <a:pt x="327" y="1968"/>
                </a:lnTo>
                <a:lnTo>
                  <a:pt x="326" y="1955"/>
                </a:lnTo>
                <a:lnTo>
                  <a:pt x="326" y="1943"/>
                </a:lnTo>
                <a:lnTo>
                  <a:pt x="328" y="1932"/>
                </a:lnTo>
                <a:lnTo>
                  <a:pt x="330" y="1922"/>
                </a:lnTo>
                <a:lnTo>
                  <a:pt x="334" y="1913"/>
                </a:lnTo>
                <a:lnTo>
                  <a:pt x="337" y="1910"/>
                </a:lnTo>
                <a:lnTo>
                  <a:pt x="341" y="1906"/>
                </a:lnTo>
                <a:lnTo>
                  <a:pt x="344" y="1904"/>
                </a:lnTo>
                <a:lnTo>
                  <a:pt x="348" y="1901"/>
                </a:lnTo>
                <a:lnTo>
                  <a:pt x="348" y="1901"/>
                </a:lnTo>
                <a:lnTo>
                  <a:pt x="353" y="1900"/>
                </a:lnTo>
                <a:lnTo>
                  <a:pt x="357" y="1900"/>
                </a:lnTo>
                <a:lnTo>
                  <a:pt x="362" y="1901"/>
                </a:lnTo>
                <a:lnTo>
                  <a:pt x="366" y="1905"/>
                </a:lnTo>
                <a:lnTo>
                  <a:pt x="375" y="1912"/>
                </a:lnTo>
                <a:lnTo>
                  <a:pt x="386" y="1921"/>
                </a:lnTo>
                <a:lnTo>
                  <a:pt x="397" y="1932"/>
                </a:lnTo>
                <a:lnTo>
                  <a:pt x="410" y="1941"/>
                </a:lnTo>
                <a:lnTo>
                  <a:pt x="417" y="1946"/>
                </a:lnTo>
                <a:lnTo>
                  <a:pt x="424" y="1950"/>
                </a:lnTo>
                <a:lnTo>
                  <a:pt x="434" y="1953"/>
                </a:lnTo>
                <a:lnTo>
                  <a:pt x="442" y="1955"/>
                </a:lnTo>
                <a:lnTo>
                  <a:pt x="442" y="1955"/>
                </a:lnTo>
                <a:lnTo>
                  <a:pt x="451" y="1955"/>
                </a:lnTo>
                <a:lnTo>
                  <a:pt x="460" y="1955"/>
                </a:lnTo>
                <a:lnTo>
                  <a:pt x="468" y="1954"/>
                </a:lnTo>
                <a:lnTo>
                  <a:pt x="478" y="1952"/>
                </a:lnTo>
                <a:lnTo>
                  <a:pt x="486" y="1948"/>
                </a:lnTo>
                <a:lnTo>
                  <a:pt x="494" y="1944"/>
                </a:lnTo>
                <a:lnTo>
                  <a:pt x="501" y="1940"/>
                </a:lnTo>
                <a:lnTo>
                  <a:pt x="509" y="1935"/>
                </a:lnTo>
                <a:lnTo>
                  <a:pt x="525" y="1923"/>
                </a:lnTo>
                <a:lnTo>
                  <a:pt x="539" y="1909"/>
                </a:lnTo>
                <a:lnTo>
                  <a:pt x="554" y="1892"/>
                </a:lnTo>
                <a:lnTo>
                  <a:pt x="571" y="1875"/>
                </a:lnTo>
                <a:lnTo>
                  <a:pt x="604" y="1836"/>
                </a:lnTo>
                <a:lnTo>
                  <a:pt x="624" y="1817"/>
                </a:lnTo>
                <a:lnTo>
                  <a:pt x="644" y="1797"/>
                </a:lnTo>
                <a:lnTo>
                  <a:pt x="667" y="1777"/>
                </a:lnTo>
                <a:lnTo>
                  <a:pt x="691" y="1758"/>
                </a:lnTo>
                <a:lnTo>
                  <a:pt x="705" y="1749"/>
                </a:lnTo>
                <a:lnTo>
                  <a:pt x="718" y="1741"/>
                </a:lnTo>
                <a:lnTo>
                  <a:pt x="732" y="1733"/>
                </a:lnTo>
                <a:lnTo>
                  <a:pt x="747" y="1725"/>
                </a:lnTo>
                <a:lnTo>
                  <a:pt x="747" y="1725"/>
                </a:lnTo>
                <a:lnTo>
                  <a:pt x="787" y="1706"/>
                </a:lnTo>
                <a:lnTo>
                  <a:pt x="819" y="1694"/>
                </a:lnTo>
                <a:lnTo>
                  <a:pt x="831" y="1689"/>
                </a:lnTo>
                <a:lnTo>
                  <a:pt x="843" y="1686"/>
                </a:lnTo>
                <a:lnTo>
                  <a:pt x="852" y="1685"/>
                </a:lnTo>
                <a:lnTo>
                  <a:pt x="859" y="1684"/>
                </a:lnTo>
                <a:lnTo>
                  <a:pt x="865" y="1684"/>
                </a:lnTo>
                <a:lnTo>
                  <a:pt x="869" y="1686"/>
                </a:lnTo>
                <a:lnTo>
                  <a:pt x="872" y="1688"/>
                </a:lnTo>
                <a:lnTo>
                  <a:pt x="874" y="1691"/>
                </a:lnTo>
                <a:lnTo>
                  <a:pt x="876" y="1694"/>
                </a:lnTo>
                <a:lnTo>
                  <a:pt x="876" y="1698"/>
                </a:lnTo>
                <a:lnTo>
                  <a:pt x="875" y="1708"/>
                </a:lnTo>
                <a:lnTo>
                  <a:pt x="872" y="1720"/>
                </a:lnTo>
                <a:lnTo>
                  <a:pt x="868" y="1734"/>
                </a:lnTo>
                <a:lnTo>
                  <a:pt x="865" y="1747"/>
                </a:lnTo>
                <a:lnTo>
                  <a:pt x="863" y="1759"/>
                </a:lnTo>
                <a:lnTo>
                  <a:pt x="863" y="1765"/>
                </a:lnTo>
                <a:lnTo>
                  <a:pt x="863" y="1772"/>
                </a:lnTo>
                <a:lnTo>
                  <a:pt x="865" y="1777"/>
                </a:lnTo>
                <a:lnTo>
                  <a:pt x="867" y="1782"/>
                </a:lnTo>
                <a:lnTo>
                  <a:pt x="870" y="1786"/>
                </a:lnTo>
                <a:lnTo>
                  <a:pt x="875" y="1790"/>
                </a:lnTo>
                <a:lnTo>
                  <a:pt x="881" y="1793"/>
                </a:lnTo>
                <a:lnTo>
                  <a:pt x="889" y="1795"/>
                </a:lnTo>
                <a:lnTo>
                  <a:pt x="889" y="1795"/>
                </a:lnTo>
                <a:lnTo>
                  <a:pt x="901" y="1799"/>
                </a:lnTo>
                <a:lnTo>
                  <a:pt x="912" y="1802"/>
                </a:lnTo>
                <a:lnTo>
                  <a:pt x="921" y="1807"/>
                </a:lnTo>
                <a:lnTo>
                  <a:pt x="928" y="1811"/>
                </a:lnTo>
                <a:lnTo>
                  <a:pt x="935" y="1817"/>
                </a:lnTo>
                <a:lnTo>
                  <a:pt x="940" y="1822"/>
                </a:lnTo>
                <a:lnTo>
                  <a:pt x="943" y="1828"/>
                </a:lnTo>
                <a:lnTo>
                  <a:pt x="945" y="1834"/>
                </a:lnTo>
                <a:lnTo>
                  <a:pt x="947" y="1840"/>
                </a:lnTo>
                <a:lnTo>
                  <a:pt x="947" y="1846"/>
                </a:lnTo>
                <a:lnTo>
                  <a:pt x="946" y="1853"/>
                </a:lnTo>
                <a:lnTo>
                  <a:pt x="945" y="1860"/>
                </a:lnTo>
                <a:lnTo>
                  <a:pt x="943" y="1867"/>
                </a:lnTo>
                <a:lnTo>
                  <a:pt x="940" y="1874"/>
                </a:lnTo>
                <a:lnTo>
                  <a:pt x="932" y="1887"/>
                </a:lnTo>
                <a:lnTo>
                  <a:pt x="922" y="1900"/>
                </a:lnTo>
                <a:lnTo>
                  <a:pt x="912" y="1913"/>
                </a:lnTo>
                <a:lnTo>
                  <a:pt x="902" y="1924"/>
                </a:lnTo>
                <a:lnTo>
                  <a:pt x="892" y="1934"/>
                </a:lnTo>
                <a:lnTo>
                  <a:pt x="875" y="1948"/>
                </a:lnTo>
                <a:lnTo>
                  <a:pt x="869" y="1955"/>
                </a:lnTo>
                <a:lnTo>
                  <a:pt x="869" y="1955"/>
                </a:lnTo>
                <a:lnTo>
                  <a:pt x="877" y="1959"/>
                </a:lnTo>
                <a:lnTo>
                  <a:pt x="888" y="1961"/>
                </a:lnTo>
                <a:lnTo>
                  <a:pt x="899" y="1962"/>
                </a:lnTo>
                <a:lnTo>
                  <a:pt x="912" y="1961"/>
                </a:lnTo>
                <a:lnTo>
                  <a:pt x="926" y="1958"/>
                </a:lnTo>
                <a:lnTo>
                  <a:pt x="941" y="1954"/>
                </a:lnTo>
                <a:lnTo>
                  <a:pt x="957" y="1947"/>
                </a:lnTo>
                <a:lnTo>
                  <a:pt x="972" y="1939"/>
                </a:lnTo>
                <a:lnTo>
                  <a:pt x="989" y="1930"/>
                </a:lnTo>
                <a:lnTo>
                  <a:pt x="1004" y="1919"/>
                </a:lnTo>
                <a:lnTo>
                  <a:pt x="1019" y="1906"/>
                </a:lnTo>
                <a:lnTo>
                  <a:pt x="1035" y="1891"/>
                </a:lnTo>
                <a:lnTo>
                  <a:pt x="1048" y="1874"/>
                </a:lnTo>
                <a:lnTo>
                  <a:pt x="1061" y="1855"/>
                </a:lnTo>
                <a:lnTo>
                  <a:pt x="1073" y="1835"/>
                </a:lnTo>
                <a:lnTo>
                  <a:pt x="1083" y="1814"/>
                </a:lnTo>
                <a:lnTo>
                  <a:pt x="1083" y="1814"/>
                </a:lnTo>
                <a:lnTo>
                  <a:pt x="1086" y="1805"/>
                </a:lnTo>
                <a:lnTo>
                  <a:pt x="1089" y="1799"/>
                </a:lnTo>
                <a:lnTo>
                  <a:pt x="1092" y="1794"/>
                </a:lnTo>
                <a:lnTo>
                  <a:pt x="1096" y="1790"/>
                </a:lnTo>
                <a:lnTo>
                  <a:pt x="1100" y="1787"/>
                </a:lnTo>
                <a:lnTo>
                  <a:pt x="1103" y="1784"/>
                </a:lnTo>
                <a:lnTo>
                  <a:pt x="1111" y="1781"/>
                </a:lnTo>
                <a:lnTo>
                  <a:pt x="1120" y="1778"/>
                </a:lnTo>
                <a:lnTo>
                  <a:pt x="1129" y="1774"/>
                </a:lnTo>
                <a:lnTo>
                  <a:pt x="1138" y="1768"/>
                </a:lnTo>
                <a:lnTo>
                  <a:pt x="1143" y="1763"/>
                </a:lnTo>
                <a:lnTo>
                  <a:pt x="1148" y="1758"/>
                </a:lnTo>
                <a:lnTo>
                  <a:pt x="1148" y="1758"/>
                </a:lnTo>
                <a:lnTo>
                  <a:pt x="1151" y="1752"/>
                </a:lnTo>
                <a:lnTo>
                  <a:pt x="1154" y="1746"/>
                </a:lnTo>
                <a:lnTo>
                  <a:pt x="1158" y="1740"/>
                </a:lnTo>
                <a:lnTo>
                  <a:pt x="1159" y="1734"/>
                </a:lnTo>
                <a:lnTo>
                  <a:pt x="1160" y="1719"/>
                </a:lnTo>
                <a:lnTo>
                  <a:pt x="1160" y="1705"/>
                </a:lnTo>
                <a:lnTo>
                  <a:pt x="1160" y="1690"/>
                </a:lnTo>
                <a:lnTo>
                  <a:pt x="1160" y="1676"/>
                </a:lnTo>
                <a:lnTo>
                  <a:pt x="1162" y="1661"/>
                </a:lnTo>
                <a:lnTo>
                  <a:pt x="1164" y="1655"/>
                </a:lnTo>
                <a:lnTo>
                  <a:pt x="1166" y="1649"/>
                </a:lnTo>
                <a:lnTo>
                  <a:pt x="1166" y="1649"/>
                </a:lnTo>
                <a:lnTo>
                  <a:pt x="1170" y="1643"/>
                </a:lnTo>
                <a:lnTo>
                  <a:pt x="1174" y="1638"/>
                </a:lnTo>
                <a:lnTo>
                  <a:pt x="1178" y="1633"/>
                </a:lnTo>
                <a:lnTo>
                  <a:pt x="1183" y="1628"/>
                </a:lnTo>
                <a:lnTo>
                  <a:pt x="1195" y="1620"/>
                </a:lnTo>
                <a:lnTo>
                  <a:pt x="1209" y="1614"/>
                </a:lnTo>
                <a:lnTo>
                  <a:pt x="1223" y="1609"/>
                </a:lnTo>
                <a:lnTo>
                  <a:pt x="1237" y="1605"/>
                </a:lnTo>
                <a:lnTo>
                  <a:pt x="1268" y="1597"/>
                </a:lnTo>
                <a:lnTo>
                  <a:pt x="1298" y="1591"/>
                </a:lnTo>
                <a:lnTo>
                  <a:pt x="1310" y="1587"/>
                </a:lnTo>
                <a:lnTo>
                  <a:pt x="1321" y="1581"/>
                </a:lnTo>
                <a:lnTo>
                  <a:pt x="1329" y="1575"/>
                </a:lnTo>
                <a:lnTo>
                  <a:pt x="1333" y="1572"/>
                </a:lnTo>
                <a:lnTo>
                  <a:pt x="1335" y="1568"/>
                </a:lnTo>
                <a:lnTo>
                  <a:pt x="1338" y="1564"/>
                </a:lnTo>
                <a:lnTo>
                  <a:pt x="1340" y="1559"/>
                </a:lnTo>
                <a:lnTo>
                  <a:pt x="1340" y="1554"/>
                </a:lnTo>
                <a:lnTo>
                  <a:pt x="1340" y="1549"/>
                </a:lnTo>
                <a:lnTo>
                  <a:pt x="1340" y="1549"/>
                </a:lnTo>
                <a:lnTo>
                  <a:pt x="1338" y="1534"/>
                </a:lnTo>
                <a:lnTo>
                  <a:pt x="1338" y="1521"/>
                </a:lnTo>
                <a:lnTo>
                  <a:pt x="1341" y="1509"/>
                </a:lnTo>
                <a:lnTo>
                  <a:pt x="1345" y="1499"/>
                </a:lnTo>
                <a:lnTo>
                  <a:pt x="1350" y="1488"/>
                </a:lnTo>
                <a:lnTo>
                  <a:pt x="1355" y="1480"/>
                </a:lnTo>
                <a:lnTo>
                  <a:pt x="1362" y="1472"/>
                </a:lnTo>
                <a:lnTo>
                  <a:pt x="1370" y="1465"/>
                </a:lnTo>
                <a:lnTo>
                  <a:pt x="1378" y="1459"/>
                </a:lnTo>
                <a:lnTo>
                  <a:pt x="1388" y="1453"/>
                </a:lnTo>
                <a:lnTo>
                  <a:pt x="1406" y="1443"/>
                </a:lnTo>
                <a:lnTo>
                  <a:pt x="1424" y="1435"/>
                </a:lnTo>
                <a:lnTo>
                  <a:pt x="1441" y="1428"/>
                </a:lnTo>
                <a:lnTo>
                  <a:pt x="1441" y="1428"/>
                </a:lnTo>
                <a:lnTo>
                  <a:pt x="1443" y="1428"/>
                </a:lnTo>
                <a:lnTo>
                  <a:pt x="1444" y="1429"/>
                </a:lnTo>
                <a:lnTo>
                  <a:pt x="1447" y="1431"/>
                </a:lnTo>
                <a:lnTo>
                  <a:pt x="1449" y="1436"/>
                </a:lnTo>
                <a:lnTo>
                  <a:pt x="1453" y="1443"/>
                </a:lnTo>
                <a:lnTo>
                  <a:pt x="1461" y="1462"/>
                </a:lnTo>
                <a:lnTo>
                  <a:pt x="1467" y="1473"/>
                </a:lnTo>
                <a:lnTo>
                  <a:pt x="1474" y="1485"/>
                </a:lnTo>
                <a:lnTo>
                  <a:pt x="1484" y="1498"/>
                </a:lnTo>
                <a:lnTo>
                  <a:pt x="1494" y="1511"/>
                </a:lnTo>
                <a:lnTo>
                  <a:pt x="1506" y="1525"/>
                </a:lnTo>
                <a:lnTo>
                  <a:pt x="1522" y="1539"/>
                </a:lnTo>
                <a:lnTo>
                  <a:pt x="1539" y="1552"/>
                </a:lnTo>
                <a:lnTo>
                  <a:pt x="1559" y="1564"/>
                </a:lnTo>
                <a:lnTo>
                  <a:pt x="1583" y="1576"/>
                </a:lnTo>
                <a:lnTo>
                  <a:pt x="1609" y="1587"/>
                </a:lnTo>
                <a:lnTo>
                  <a:pt x="1609" y="1587"/>
                </a:lnTo>
                <a:lnTo>
                  <a:pt x="1684" y="1556"/>
                </a:lnTo>
                <a:lnTo>
                  <a:pt x="1730" y="1534"/>
                </a:lnTo>
                <a:lnTo>
                  <a:pt x="1757" y="1521"/>
                </a:lnTo>
                <a:lnTo>
                  <a:pt x="1786" y="1506"/>
                </a:lnTo>
                <a:lnTo>
                  <a:pt x="1786" y="1506"/>
                </a:lnTo>
                <a:lnTo>
                  <a:pt x="1818" y="1489"/>
                </a:lnTo>
                <a:lnTo>
                  <a:pt x="1848" y="1472"/>
                </a:lnTo>
                <a:lnTo>
                  <a:pt x="1860" y="1464"/>
                </a:lnTo>
                <a:lnTo>
                  <a:pt x="1871" y="1457"/>
                </a:lnTo>
                <a:lnTo>
                  <a:pt x="1881" y="1449"/>
                </a:lnTo>
                <a:lnTo>
                  <a:pt x="1889" y="1442"/>
                </a:lnTo>
                <a:lnTo>
                  <a:pt x="1889" y="1442"/>
                </a:lnTo>
                <a:lnTo>
                  <a:pt x="1888" y="1440"/>
                </a:lnTo>
                <a:lnTo>
                  <a:pt x="1887" y="1438"/>
                </a:lnTo>
                <a:lnTo>
                  <a:pt x="1879" y="1431"/>
                </a:lnTo>
                <a:lnTo>
                  <a:pt x="1868" y="1420"/>
                </a:lnTo>
                <a:lnTo>
                  <a:pt x="1855" y="1406"/>
                </a:lnTo>
                <a:lnTo>
                  <a:pt x="1840" y="1388"/>
                </a:lnTo>
                <a:lnTo>
                  <a:pt x="1825" y="1369"/>
                </a:lnTo>
                <a:lnTo>
                  <a:pt x="1818" y="1358"/>
                </a:lnTo>
                <a:lnTo>
                  <a:pt x="1812" y="1345"/>
                </a:lnTo>
                <a:lnTo>
                  <a:pt x="1807" y="1334"/>
                </a:lnTo>
                <a:lnTo>
                  <a:pt x="1802" y="1321"/>
                </a:lnTo>
                <a:lnTo>
                  <a:pt x="1802" y="1321"/>
                </a:lnTo>
                <a:lnTo>
                  <a:pt x="1799" y="1308"/>
                </a:lnTo>
                <a:lnTo>
                  <a:pt x="1796" y="1297"/>
                </a:lnTo>
                <a:lnTo>
                  <a:pt x="1794" y="1288"/>
                </a:lnTo>
                <a:lnTo>
                  <a:pt x="1794" y="1279"/>
                </a:lnTo>
                <a:lnTo>
                  <a:pt x="1794" y="1272"/>
                </a:lnTo>
                <a:lnTo>
                  <a:pt x="1794" y="1267"/>
                </a:lnTo>
                <a:lnTo>
                  <a:pt x="1795" y="1263"/>
                </a:lnTo>
                <a:lnTo>
                  <a:pt x="1796" y="1261"/>
                </a:lnTo>
                <a:lnTo>
                  <a:pt x="1796" y="1261"/>
                </a:lnTo>
                <a:lnTo>
                  <a:pt x="1809" y="1278"/>
                </a:lnTo>
                <a:lnTo>
                  <a:pt x="1824" y="1295"/>
                </a:lnTo>
                <a:lnTo>
                  <a:pt x="1845" y="1316"/>
                </a:lnTo>
                <a:lnTo>
                  <a:pt x="1857" y="1327"/>
                </a:lnTo>
                <a:lnTo>
                  <a:pt x="1869" y="1338"/>
                </a:lnTo>
                <a:lnTo>
                  <a:pt x="1883" y="1349"/>
                </a:lnTo>
                <a:lnTo>
                  <a:pt x="1899" y="1361"/>
                </a:lnTo>
                <a:lnTo>
                  <a:pt x="1915" y="1372"/>
                </a:lnTo>
                <a:lnTo>
                  <a:pt x="1932" y="1381"/>
                </a:lnTo>
                <a:lnTo>
                  <a:pt x="1949" y="1390"/>
                </a:lnTo>
                <a:lnTo>
                  <a:pt x="1967" y="1398"/>
                </a:lnTo>
                <a:lnTo>
                  <a:pt x="1967" y="1398"/>
                </a:lnTo>
                <a:lnTo>
                  <a:pt x="2021" y="1370"/>
                </a:lnTo>
                <a:lnTo>
                  <a:pt x="2075" y="1340"/>
                </a:lnTo>
                <a:lnTo>
                  <a:pt x="2129" y="1307"/>
                </a:lnTo>
                <a:lnTo>
                  <a:pt x="2183" y="1273"/>
                </a:lnTo>
                <a:lnTo>
                  <a:pt x="2183" y="1273"/>
                </a:lnTo>
                <a:lnTo>
                  <a:pt x="2218" y="1249"/>
                </a:lnTo>
                <a:lnTo>
                  <a:pt x="2218" y="1249"/>
                </a:lnTo>
                <a:lnTo>
                  <a:pt x="2219" y="1248"/>
                </a:lnTo>
                <a:lnTo>
                  <a:pt x="2219" y="1248"/>
                </a:lnTo>
                <a:lnTo>
                  <a:pt x="2220" y="1246"/>
                </a:lnTo>
                <a:lnTo>
                  <a:pt x="2219" y="1244"/>
                </a:lnTo>
                <a:lnTo>
                  <a:pt x="2215" y="1237"/>
                </a:lnTo>
                <a:lnTo>
                  <a:pt x="2207" y="1228"/>
                </a:lnTo>
                <a:lnTo>
                  <a:pt x="2196" y="1217"/>
                </a:lnTo>
                <a:lnTo>
                  <a:pt x="2171" y="1193"/>
                </a:lnTo>
                <a:lnTo>
                  <a:pt x="2142" y="1164"/>
                </a:lnTo>
                <a:lnTo>
                  <a:pt x="2129" y="1150"/>
                </a:lnTo>
                <a:lnTo>
                  <a:pt x="2118" y="1136"/>
                </a:lnTo>
                <a:lnTo>
                  <a:pt x="2108" y="1121"/>
                </a:lnTo>
                <a:lnTo>
                  <a:pt x="2104" y="1114"/>
                </a:lnTo>
                <a:lnTo>
                  <a:pt x="2101" y="1108"/>
                </a:lnTo>
                <a:lnTo>
                  <a:pt x="2100" y="1101"/>
                </a:lnTo>
                <a:lnTo>
                  <a:pt x="2099" y="1095"/>
                </a:lnTo>
                <a:lnTo>
                  <a:pt x="2099" y="1089"/>
                </a:lnTo>
                <a:lnTo>
                  <a:pt x="2100" y="1084"/>
                </a:lnTo>
                <a:lnTo>
                  <a:pt x="2102" y="1078"/>
                </a:lnTo>
                <a:lnTo>
                  <a:pt x="2106" y="1073"/>
                </a:lnTo>
                <a:lnTo>
                  <a:pt x="2112" y="1069"/>
                </a:lnTo>
                <a:lnTo>
                  <a:pt x="2119" y="1065"/>
                </a:lnTo>
                <a:lnTo>
                  <a:pt x="2119" y="1065"/>
                </a:lnTo>
                <a:lnTo>
                  <a:pt x="2125" y="1061"/>
                </a:lnTo>
                <a:lnTo>
                  <a:pt x="2130" y="1056"/>
                </a:lnTo>
                <a:lnTo>
                  <a:pt x="2133" y="1051"/>
                </a:lnTo>
                <a:lnTo>
                  <a:pt x="2135" y="1045"/>
                </a:lnTo>
                <a:lnTo>
                  <a:pt x="2136" y="1039"/>
                </a:lnTo>
                <a:lnTo>
                  <a:pt x="2136" y="1030"/>
                </a:lnTo>
                <a:lnTo>
                  <a:pt x="2136" y="1023"/>
                </a:lnTo>
                <a:lnTo>
                  <a:pt x="2134" y="1014"/>
                </a:lnTo>
                <a:lnTo>
                  <a:pt x="2129" y="997"/>
                </a:lnTo>
                <a:lnTo>
                  <a:pt x="2121" y="977"/>
                </a:lnTo>
                <a:lnTo>
                  <a:pt x="2102" y="935"/>
                </a:lnTo>
                <a:lnTo>
                  <a:pt x="2093" y="914"/>
                </a:lnTo>
                <a:lnTo>
                  <a:pt x="2085" y="893"/>
                </a:lnTo>
                <a:lnTo>
                  <a:pt x="2078" y="873"/>
                </a:lnTo>
                <a:lnTo>
                  <a:pt x="2076" y="863"/>
                </a:lnTo>
                <a:lnTo>
                  <a:pt x="2074" y="853"/>
                </a:lnTo>
                <a:lnTo>
                  <a:pt x="2074" y="844"/>
                </a:lnTo>
                <a:lnTo>
                  <a:pt x="2074" y="836"/>
                </a:lnTo>
                <a:lnTo>
                  <a:pt x="2075" y="828"/>
                </a:lnTo>
                <a:lnTo>
                  <a:pt x="2077" y="821"/>
                </a:lnTo>
                <a:lnTo>
                  <a:pt x="2080" y="814"/>
                </a:lnTo>
                <a:lnTo>
                  <a:pt x="2085" y="807"/>
                </a:lnTo>
                <a:lnTo>
                  <a:pt x="2091" y="801"/>
                </a:lnTo>
                <a:lnTo>
                  <a:pt x="2099" y="797"/>
                </a:lnTo>
                <a:lnTo>
                  <a:pt x="2099" y="797"/>
                </a:lnTo>
                <a:lnTo>
                  <a:pt x="2200" y="744"/>
                </a:lnTo>
                <a:lnTo>
                  <a:pt x="2306" y="693"/>
                </a:lnTo>
                <a:lnTo>
                  <a:pt x="2410" y="642"/>
                </a:lnTo>
                <a:lnTo>
                  <a:pt x="2513" y="592"/>
                </a:lnTo>
                <a:lnTo>
                  <a:pt x="2705" y="501"/>
                </a:lnTo>
                <a:lnTo>
                  <a:pt x="2788" y="461"/>
                </a:lnTo>
                <a:lnTo>
                  <a:pt x="2863" y="424"/>
                </a:lnTo>
                <a:lnTo>
                  <a:pt x="2863" y="424"/>
                </a:lnTo>
                <a:lnTo>
                  <a:pt x="2859" y="408"/>
                </a:lnTo>
                <a:lnTo>
                  <a:pt x="2853" y="389"/>
                </a:lnTo>
                <a:lnTo>
                  <a:pt x="2843" y="366"/>
                </a:lnTo>
                <a:lnTo>
                  <a:pt x="2836" y="354"/>
                </a:lnTo>
                <a:lnTo>
                  <a:pt x="2829" y="339"/>
                </a:lnTo>
                <a:lnTo>
                  <a:pt x="2821" y="325"/>
                </a:lnTo>
                <a:lnTo>
                  <a:pt x="2812" y="311"/>
                </a:lnTo>
                <a:lnTo>
                  <a:pt x="2801" y="296"/>
                </a:lnTo>
                <a:lnTo>
                  <a:pt x="2788" y="281"/>
                </a:lnTo>
                <a:lnTo>
                  <a:pt x="2774" y="267"/>
                </a:lnTo>
                <a:lnTo>
                  <a:pt x="2759" y="25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5" name="Freeform 32"/>
          <p:cNvSpPr>
            <a:spLocks/>
          </p:cNvSpPr>
          <p:nvPr userDrawn="1"/>
        </p:nvSpPr>
        <p:spPr bwMode="auto">
          <a:xfrm>
            <a:off x="7194550" y="1861840"/>
            <a:ext cx="161925" cy="153988"/>
          </a:xfrm>
          <a:custGeom>
            <a:avLst/>
            <a:gdLst>
              <a:gd name="T0" fmla="*/ 2 w 1226"/>
              <a:gd name="T1" fmla="*/ 386 h 1168"/>
              <a:gd name="T2" fmla="*/ 22 w 1226"/>
              <a:gd name="T3" fmla="*/ 434 h 1168"/>
              <a:gd name="T4" fmla="*/ 61 w 1226"/>
              <a:gd name="T5" fmla="*/ 466 h 1168"/>
              <a:gd name="T6" fmla="*/ 120 w 1226"/>
              <a:gd name="T7" fmla="*/ 479 h 1168"/>
              <a:gd name="T8" fmla="*/ 142 w 1226"/>
              <a:gd name="T9" fmla="*/ 469 h 1168"/>
              <a:gd name="T10" fmla="*/ 160 w 1226"/>
              <a:gd name="T11" fmla="*/ 436 h 1168"/>
              <a:gd name="T12" fmla="*/ 164 w 1226"/>
              <a:gd name="T13" fmla="*/ 370 h 1168"/>
              <a:gd name="T14" fmla="*/ 174 w 1226"/>
              <a:gd name="T15" fmla="*/ 344 h 1168"/>
              <a:gd name="T16" fmla="*/ 198 w 1226"/>
              <a:gd name="T17" fmla="*/ 331 h 1168"/>
              <a:gd name="T18" fmla="*/ 223 w 1226"/>
              <a:gd name="T19" fmla="*/ 318 h 1168"/>
              <a:gd name="T20" fmla="*/ 427 w 1226"/>
              <a:gd name="T21" fmla="*/ 416 h 1168"/>
              <a:gd name="T22" fmla="*/ 628 w 1226"/>
              <a:gd name="T23" fmla="*/ 534 h 1168"/>
              <a:gd name="T24" fmla="*/ 876 w 1226"/>
              <a:gd name="T25" fmla="*/ 703 h 1168"/>
              <a:gd name="T26" fmla="*/ 868 w 1226"/>
              <a:gd name="T27" fmla="*/ 783 h 1168"/>
              <a:gd name="T28" fmla="*/ 779 w 1226"/>
              <a:gd name="T29" fmla="*/ 957 h 1168"/>
              <a:gd name="T30" fmla="*/ 753 w 1226"/>
              <a:gd name="T31" fmla="*/ 1040 h 1168"/>
              <a:gd name="T32" fmla="*/ 754 w 1226"/>
              <a:gd name="T33" fmla="*/ 1090 h 1168"/>
              <a:gd name="T34" fmla="*/ 771 w 1226"/>
              <a:gd name="T35" fmla="*/ 1130 h 1168"/>
              <a:gd name="T36" fmla="*/ 801 w 1226"/>
              <a:gd name="T37" fmla="*/ 1157 h 1168"/>
              <a:gd name="T38" fmla="*/ 842 w 1226"/>
              <a:gd name="T39" fmla="*/ 1168 h 1168"/>
              <a:gd name="T40" fmla="*/ 880 w 1226"/>
              <a:gd name="T41" fmla="*/ 1163 h 1168"/>
              <a:gd name="T42" fmla="*/ 919 w 1226"/>
              <a:gd name="T43" fmla="*/ 1140 h 1168"/>
              <a:gd name="T44" fmla="*/ 944 w 1226"/>
              <a:gd name="T45" fmla="*/ 1107 h 1168"/>
              <a:gd name="T46" fmla="*/ 952 w 1226"/>
              <a:gd name="T47" fmla="*/ 1060 h 1168"/>
              <a:gd name="T48" fmla="*/ 930 w 1226"/>
              <a:gd name="T49" fmla="*/ 1010 h 1168"/>
              <a:gd name="T50" fmla="*/ 885 w 1226"/>
              <a:gd name="T51" fmla="*/ 989 h 1168"/>
              <a:gd name="T52" fmla="*/ 919 w 1226"/>
              <a:gd name="T53" fmla="*/ 879 h 1168"/>
              <a:gd name="T54" fmla="*/ 954 w 1226"/>
              <a:gd name="T55" fmla="*/ 807 h 1168"/>
              <a:gd name="T56" fmla="*/ 1024 w 1226"/>
              <a:gd name="T57" fmla="*/ 715 h 1168"/>
              <a:gd name="T58" fmla="*/ 1095 w 1226"/>
              <a:gd name="T59" fmla="*/ 673 h 1168"/>
              <a:gd name="T60" fmla="*/ 1125 w 1226"/>
              <a:gd name="T61" fmla="*/ 670 h 1168"/>
              <a:gd name="T62" fmla="*/ 1099 w 1226"/>
              <a:gd name="T63" fmla="*/ 633 h 1168"/>
              <a:gd name="T64" fmla="*/ 1083 w 1226"/>
              <a:gd name="T65" fmla="*/ 543 h 1168"/>
              <a:gd name="T66" fmla="*/ 1096 w 1226"/>
              <a:gd name="T67" fmla="*/ 477 h 1168"/>
              <a:gd name="T68" fmla="*/ 1132 w 1226"/>
              <a:gd name="T69" fmla="*/ 395 h 1168"/>
              <a:gd name="T70" fmla="*/ 1195 w 1226"/>
              <a:gd name="T71" fmla="*/ 258 h 1168"/>
              <a:gd name="T72" fmla="*/ 1225 w 1226"/>
              <a:gd name="T73" fmla="*/ 141 h 1168"/>
              <a:gd name="T74" fmla="*/ 1217 w 1226"/>
              <a:gd name="T75" fmla="*/ 95 h 1168"/>
              <a:gd name="T76" fmla="*/ 1187 w 1226"/>
              <a:gd name="T77" fmla="*/ 55 h 1168"/>
              <a:gd name="T78" fmla="*/ 1144 w 1226"/>
              <a:gd name="T79" fmla="*/ 34 h 1168"/>
              <a:gd name="T80" fmla="*/ 1104 w 1226"/>
              <a:gd name="T81" fmla="*/ 35 h 1168"/>
              <a:gd name="T82" fmla="*/ 1061 w 1226"/>
              <a:gd name="T83" fmla="*/ 57 h 1168"/>
              <a:gd name="T84" fmla="*/ 1033 w 1226"/>
              <a:gd name="T85" fmla="*/ 94 h 1168"/>
              <a:gd name="T86" fmla="*/ 1025 w 1226"/>
              <a:gd name="T87" fmla="*/ 139 h 1168"/>
              <a:gd name="T88" fmla="*/ 1048 w 1226"/>
              <a:gd name="T89" fmla="*/ 205 h 1168"/>
              <a:gd name="T90" fmla="*/ 1095 w 1226"/>
              <a:gd name="T91" fmla="*/ 230 h 1168"/>
              <a:gd name="T92" fmla="*/ 1107 w 1226"/>
              <a:gd name="T93" fmla="*/ 240 h 1168"/>
              <a:gd name="T94" fmla="*/ 1044 w 1226"/>
              <a:gd name="T95" fmla="*/ 390 h 1168"/>
              <a:gd name="T96" fmla="*/ 975 w 1226"/>
              <a:gd name="T97" fmla="*/ 431 h 1168"/>
              <a:gd name="T98" fmla="*/ 717 w 1226"/>
              <a:gd name="T99" fmla="*/ 289 h 1168"/>
              <a:gd name="T100" fmla="*/ 529 w 1226"/>
              <a:gd name="T101" fmla="*/ 205 h 1168"/>
              <a:gd name="T102" fmla="*/ 317 w 1226"/>
              <a:gd name="T103" fmla="*/ 140 h 1168"/>
              <a:gd name="T104" fmla="*/ 378 w 1226"/>
              <a:gd name="T105" fmla="*/ 31 h 1168"/>
              <a:gd name="T106" fmla="*/ 389 w 1226"/>
              <a:gd name="T107" fmla="*/ 0 h 1168"/>
              <a:gd name="T108" fmla="*/ 367 w 1226"/>
              <a:gd name="T109" fmla="*/ 10 h 1168"/>
              <a:gd name="T110" fmla="*/ 285 w 1226"/>
              <a:gd name="T111" fmla="*/ 57 h 1168"/>
              <a:gd name="T112" fmla="*/ 211 w 1226"/>
              <a:gd name="T113" fmla="*/ 85 h 1168"/>
              <a:gd name="T114" fmla="*/ 147 w 1226"/>
              <a:gd name="T115" fmla="*/ 85 h 1168"/>
              <a:gd name="T116" fmla="*/ 114 w 1226"/>
              <a:gd name="T117" fmla="*/ 85 h 1168"/>
              <a:gd name="T118" fmla="*/ 87 w 1226"/>
              <a:gd name="T119" fmla="*/ 134 h 1168"/>
              <a:gd name="T120" fmla="*/ 42 w 1226"/>
              <a:gd name="T121" fmla="*/ 261 h 1168"/>
              <a:gd name="T122" fmla="*/ 6 w 1226"/>
              <a:gd name="T123" fmla="*/ 327 h 1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6" h="1168">
                <a:moveTo>
                  <a:pt x="1" y="345"/>
                </a:moveTo>
                <a:lnTo>
                  <a:pt x="1" y="345"/>
                </a:lnTo>
                <a:lnTo>
                  <a:pt x="0" y="359"/>
                </a:lnTo>
                <a:lnTo>
                  <a:pt x="0" y="370"/>
                </a:lnTo>
                <a:lnTo>
                  <a:pt x="2" y="386"/>
                </a:lnTo>
                <a:lnTo>
                  <a:pt x="5" y="401"/>
                </a:lnTo>
                <a:lnTo>
                  <a:pt x="8" y="409"/>
                </a:lnTo>
                <a:lnTo>
                  <a:pt x="11" y="417"/>
                </a:lnTo>
                <a:lnTo>
                  <a:pt x="16" y="425"/>
                </a:lnTo>
                <a:lnTo>
                  <a:pt x="22" y="434"/>
                </a:lnTo>
                <a:lnTo>
                  <a:pt x="28" y="442"/>
                </a:lnTo>
                <a:lnTo>
                  <a:pt x="36" y="449"/>
                </a:lnTo>
                <a:lnTo>
                  <a:pt x="36" y="449"/>
                </a:lnTo>
                <a:lnTo>
                  <a:pt x="48" y="458"/>
                </a:lnTo>
                <a:lnTo>
                  <a:pt x="61" y="466"/>
                </a:lnTo>
                <a:lnTo>
                  <a:pt x="76" y="473"/>
                </a:lnTo>
                <a:lnTo>
                  <a:pt x="91" y="478"/>
                </a:lnTo>
                <a:lnTo>
                  <a:pt x="105" y="480"/>
                </a:lnTo>
                <a:lnTo>
                  <a:pt x="113" y="480"/>
                </a:lnTo>
                <a:lnTo>
                  <a:pt x="120" y="479"/>
                </a:lnTo>
                <a:lnTo>
                  <a:pt x="126" y="478"/>
                </a:lnTo>
                <a:lnTo>
                  <a:pt x="132" y="476"/>
                </a:lnTo>
                <a:lnTo>
                  <a:pt x="137" y="473"/>
                </a:lnTo>
                <a:lnTo>
                  <a:pt x="142" y="469"/>
                </a:lnTo>
                <a:lnTo>
                  <a:pt x="142" y="469"/>
                </a:lnTo>
                <a:lnTo>
                  <a:pt x="147" y="464"/>
                </a:lnTo>
                <a:lnTo>
                  <a:pt x="152" y="457"/>
                </a:lnTo>
                <a:lnTo>
                  <a:pt x="155" y="451"/>
                </a:lnTo>
                <a:lnTo>
                  <a:pt x="158" y="444"/>
                </a:lnTo>
                <a:lnTo>
                  <a:pt x="160" y="436"/>
                </a:lnTo>
                <a:lnTo>
                  <a:pt x="161" y="428"/>
                </a:lnTo>
                <a:lnTo>
                  <a:pt x="162" y="411"/>
                </a:lnTo>
                <a:lnTo>
                  <a:pt x="162" y="395"/>
                </a:lnTo>
                <a:lnTo>
                  <a:pt x="163" y="378"/>
                </a:lnTo>
                <a:lnTo>
                  <a:pt x="164" y="370"/>
                </a:lnTo>
                <a:lnTo>
                  <a:pt x="166" y="362"/>
                </a:lnTo>
                <a:lnTo>
                  <a:pt x="168" y="355"/>
                </a:lnTo>
                <a:lnTo>
                  <a:pt x="172" y="347"/>
                </a:lnTo>
                <a:lnTo>
                  <a:pt x="172" y="347"/>
                </a:lnTo>
                <a:lnTo>
                  <a:pt x="174" y="344"/>
                </a:lnTo>
                <a:lnTo>
                  <a:pt x="178" y="341"/>
                </a:lnTo>
                <a:lnTo>
                  <a:pt x="187" y="335"/>
                </a:lnTo>
                <a:lnTo>
                  <a:pt x="195" y="332"/>
                </a:lnTo>
                <a:lnTo>
                  <a:pt x="198" y="331"/>
                </a:lnTo>
                <a:lnTo>
                  <a:pt x="198" y="331"/>
                </a:lnTo>
                <a:lnTo>
                  <a:pt x="205" y="329"/>
                </a:lnTo>
                <a:lnTo>
                  <a:pt x="211" y="326"/>
                </a:lnTo>
                <a:lnTo>
                  <a:pt x="217" y="323"/>
                </a:lnTo>
                <a:lnTo>
                  <a:pt x="223" y="318"/>
                </a:lnTo>
                <a:lnTo>
                  <a:pt x="223" y="318"/>
                </a:lnTo>
                <a:lnTo>
                  <a:pt x="264" y="337"/>
                </a:lnTo>
                <a:lnTo>
                  <a:pt x="305" y="355"/>
                </a:lnTo>
                <a:lnTo>
                  <a:pt x="347" y="374"/>
                </a:lnTo>
                <a:lnTo>
                  <a:pt x="388" y="395"/>
                </a:lnTo>
                <a:lnTo>
                  <a:pt x="427" y="416"/>
                </a:lnTo>
                <a:lnTo>
                  <a:pt x="468" y="439"/>
                </a:lnTo>
                <a:lnTo>
                  <a:pt x="509" y="461"/>
                </a:lnTo>
                <a:lnTo>
                  <a:pt x="549" y="485"/>
                </a:lnTo>
                <a:lnTo>
                  <a:pt x="589" y="509"/>
                </a:lnTo>
                <a:lnTo>
                  <a:pt x="628" y="534"/>
                </a:lnTo>
                <a:lnTo>
                  <a:pt x="706" y="584"/>
                </a:lnTo>
                <a:lnTo>
                  <a:pt x="782" y="636"/>
                </a:lnTo>
                <a:lnTo>
                  <a:pt x="857" y="689"/>
                </a:lnTo>
                <a:lnTo>
                  <a:pt x="857" y="689"/>
                </a:lnTo>
                <a:lnTo>
                  <a:pt x="876" y="703"/>
                </a:lnTo>
                <a:lnTo>
                  <a:pt x="894" y="714"/>
                </a:lnTo>
                <a:lnTo>
                  <a:pt x="894" y="714"/>
                </a:lnTo>
                <a:lnTo>
                  <a:pt x="887" y="736"/>
                </a:lnTo>
                <a:lnTo>
                  <a:pt x="878" y="759"/>
                </a:lnTo>
                <a:lnTo>
                  <a:pt x="868" y="783"/>
                </a:lnTo>
                <a:lnTo>
                  <a:pt x="856" y="809"/>
                </a:lnTo>
                <a:lnTo>
                  <a:pt x="856" y="809"/>
                </a:lnTo>
                <a:lnTo>
                  <a:pt x="816" y="885"/>
                </a:lnTo>
                <a:lnTo>
                  <a:pt x="797" y="921"/>
                </a:lnTo>
                <a:lnTo>
                  <a:pt x="779" y="957"/>
                </a:lnTo>
                <a:lnTo>
                  <a:pt x="772" y="975"/>
                </a:lnTo>
                <a:lnTo>
                  <a:pt x="766" y="992"/>
                </a:lnTo>
                <a:lnTo>
                  <a:pt x="760" y="1008"/>
                </a:lnTo>
                <a:lnTo>
                  <a:pt x="756" y="1025"/>
                </a:lnTo>
                <a:lnTo>
                  <a:pt x="753" y="1040"/>
                </a:lnTo>
                <a:lnTo>
                  <a:pt x="751" y="1054"/>
                </a:lnTo>
                <a:lnTo>
                  <a:pt x="751" y="1069"/>
                </a:lnTo>
                <a:lnTo>
                  <a:pt x="752" y="1081"/>
                </a:lnTo>
                <a:lnTo>
                  <a:pt x="752" y="1081"/>
                </a:lnTo>
                <a:lnTo>
                  <a:pt x="754" y="1090"/>
                </a:lnTo>
                <a:lnTo>
                  <a:pt x="756" y="1099"/>
                </a:lnTo>
                <a:lnTo>
                  <a:pt x="759" y="1107"/>
                </a:lnTo>
                <a:lnTo>
                  <a:pt x="762" y="1116"/>
                </a:lnTo>
                <a:lnTo>
                  <a:pt x="766" y="1123"/>
                </a:lnTo>
                <a:lnTo>
                  <a:pt x="771" y="1130"/>
                </a:lnTo>
                <a:lnTo>
                  <a:pt x="776" y="1136"/>
                </a:lnTo>
                <a:lnTo>
                  <a:pt x="781" y="1142"/>
                </a:lnTo>
                <a:lnTo>
                  <a:pt x="787" y="1147"/>
                </a:lnTo>
                <a:lnTo>
                  <a:pt x="794" y="1152"/>
                </a:lnTo>
                <a:lnTo>
                  <a:pt x="801" y="1157"/>
                </a:lnTo>
                <a:lnTo>
                  <a:pt x="808" y="1160"/>
                </a:lnTo>
                <a:lnTo>
                  <a:pt x="816" y="1163"/>
                </a:lnTo>
                <a:lnTo>
                  <a:pt x="824" y="1165"/>
                </a:lnTo>
                <a:lnTo>
                  <a:pt x="833" y="1167"/>
                </a:lnTo>
                <a:lnTo>
                  <a:pt x="842" y="1168"/>
                </a:lnTo>
                <a:lnTo>
                  <a:pt x="842" y="1168"/>
                </a:lnTo>
                <a:lnTo>
                  <a:pt x="852" y="1168"/>
                </a:lnTo>
                <a:lnTo>
                  <a:pt x="862" y="1167"/>
                </a:lnTo>
                <a:lnTo>
                  <a:pt x="871" y="1165"/>
                </a:lnTo>
                <a:lnTo>
                  <a:pt x="880" y="1163"/>
                </a:lnTo>
                <a:lnTo>
                  <a:pt x="889" y="1160"/>
                </a:lnTo>
                <a:lnTo>
                  <a:pt x="897" y="1155"/>
                </a:lnTo>
                <a:lnTo>
                  <a:pt x="905" y="1151"/>
                </a:lnTo>
                <a:lnTo>
                  <a:pt x="912" y="1146"/>
                </a:lnTo>
                <a:lnTo>
                  <a:pt x="919" y="1140"/>
                </a:lnTo>
                <a:lnTo>
                  <a:pt x="925" y="1135"/>
                </a:lnTo>
                <a:lnTo>
                  <a:pt x="931" y="1129"/>
                </a:lnTo>
                <a:lnTo>
                  <a:pt x="936" y="1122"/>
                </a:lnTo>
                <a:lnTo>
                  <a:pt x="940" y="1115"/>
                </a:lnTo>
                <a:lnTo>
                  <a:pt x="944" y="1107"/>
                </a:lnTo>
                <a:lnTo>
                  <a:pt x="947" y="1100"/>
                </a:lnTo>
                <a:lnTo>
                  <a:pt x="949" y="1092"/>
                </a:lnTo>
                <a:lnTo>
                  <a:pt x="949" y="1092"/>
                </a:lnTo>
                <a:lnTo>
                  <a:pt x="951" y="1076"/>
                </a:lnTo>
                <a:lnTo>
                  <a:pt x="952" y="1060"/>
                </a:lnTo>
                <a:lnTo>
                  <a:pt x="950" y="1048"/>
                </a:lnTo>
                <a:lnTo>
                  <a:pt x="947" y="1036"/>
                </a:lnTo>
                <a:lnTo>
                  <a:pt x="942" y="1027"/>
                </a:lnTo>
                <a:lnTo>
                  <a:pt x="937" y="1017"/>
                </a:lnTo>
                <a:lnTo>
                  <a:pt x="930" y="1010"/>
                </a:lnTo>
                <a:lnTo>
                  <a:pt x="922" y="1005"/>
                </a:lnTo>
                <a:lnTo>
                  <a:pt x="915" y="1000"/>
                </a:lnTo>
                <a:lnTo>
                  <a:pt x="908" y="996"/>
                </a:lnTo>
                <a:lnTo>
                  <a:pt x="894" y="991"/>
                </a:lnTo>
                <a:lnTo>
                  <a:pt x="885" y="989"/>
                </a:lnTo>
                <a:lnTo>
                  <a:pt x="880" y="989"/>
                </a:lnTo>
                <a:lnTo>
                  <a:pt x="880" y="989"/>
                </a:lnTo>
                <a:lnTo>
                  <a:pt x="896" y="944"/>
                </a:lnTo>
                <a:lnTo>
                  <a:pt x="908" y="908"/>
                </a:lnTo>
                <a:lnTo>
                  <a:pt x="919" y="879"/>
                </a:lnTo>
                <a:lnTo>
                  <a:pt x="919" y="879"/>
                </a:lnTo>
                <a:lnTo>
                  <a:pt x="927" y="859"/>
                </a:lnTo>
                <a:lnTo>
                  <a:pt x="937" y="841"/>
                </a:lnTo>
                <a:lnTo>
                  <a:pt x="945" y="823"/>
                </a:lnTo>
                <a:lnTo>
                  <a:pt x="954" y="807"/>
                </a:lnTo>
                <a:lnTo>
                  <a:pt x="962" y="792"/>
                </a:lnTo>
                <a:lnTo>
                  <a:pt x="971" y="777"/>
                </a:lnTo>
                <a:lnTo>
                  <a:pt x="989" y="753"/>
                </a:lnTo>
                <a:lnTo>
                  <a:pt x="1006" y="732"/>
                </a:lnTo>
                <a:lnTo>
                  <a:pt x="1024" y="715"/>
                </a:lnTo>
                <a:lnTo>
                  <a:pt x="1040" y="702"/>
                </a:lnTo>
                <a:lnTo>
                  <a:pt x="1055" y="690"/>
                </a:lnTo>
                <a:lnTo>
                  <a:pt x="1070" y="683"/>
                </a:lnTo>
                <a:lnTo>
                  <a:pt x="1083" y="677"/>
                </a:lnTo>
                <a:lnTo>
                  <a:pt x="1095" y="673"/>
                </a:lnTo>
                <a:lnTo>
                  <a:pt x="1105" y="671"/>
                </a:lnTo>
                <a:lnTo>
                  <a:pt x="1114" y="670"/>
                </a:lnTo>
                <a:lnTo>
                  <a:pt x="1120" y="670"/>
                </a:lnTo>
                <a:lnTo>
                  <a:pt x="1125" y="670"/>
                </a:lnTo>
                <a:lnTo>
                  <a:pt x="1125" y="670"/>
                </a:lnTo>
                <a:lnTo>
                  <a:pt x="1121" y="666"/>
                </a:lnTo>
                <a:lnTo>
                  <a:pt x="1116" y="661"/>
                </a:lnTo>
                <a:lnTo>
                  <a:pt x="1111" y="653"/>
                </a:lnTo>
                <a:lnTo>
                  <a:pt x="1104" y="644"/>
                </a:lnTo>
                <a:lnTo>
                  <a:pt x="1099" y="633"/>
                </a:lnTo>
                <a:lnTo>
                  <a:pt x="1093" y="620"/>
                </a:lnTo>
                <a:lnTo>
                  <a:pt x="1088" y="603"/>
                </a:lnTo>
                <a:lnTo>
                  <a:pt x="1085" y="586"/>
                </a:lnTo>
                <a:lnTo>
                  <a:pt x="1083" y="566"/>
                </a:lnTo>
                <a:lnTo>
                  <a:pt x="1083" y="543"/>
                </a:lnTo>
                <a:lnTo>
                  <a:pt x="1084" y="531"/>
                </a:lnTo>
                <a:lnTo>
                  <a:pt x="1086" y="519"/>
                </a:lnTo>
                <a:lnTo>
                  <a:pt x="1088" y="505"/>
                </a:lnTo>
                <a:lnTo>
                  <a:pt x="1092" y="491"/>
                </a:lnTo>
                <a:lnTo>
                  <a:pt x="1096" y="477"/>
                </a:lnTo>
                <a:lnTo>
                  <a:pt x="1101" y="461"/>
                </a:lnTo>
                <a:lnTo>
                  <a:pt x="1107" y="446"/>
                </a:lnTo>
                <a:lnTo>
                  <a:pt x="1115" y="430"/>
                </a:lnTo>
                <a:lnTo>
                  <a:pt x="1123" y="412"/>
                </a:lnTo>
                <a:lnTo>
                  <a:pt x="1132" y="395"/>
                </a:lnTo>
                <a:lnTo>
                  <a:pt x="1132" y="395"/>
                </a:lnTo>
                <a:lnTo>
                  <a:pt x="1152" y="358"/>
                </a:lnTo>
                <a:lnTo>
                  <a:pt x="1169" y="322"/>
                </a:lnTo>
                <a:lnTo>
                  <a:pt x="1184" y="289"/>
                </a:lnTo>
                <a:lnTo>
                  <a:pt x="1195" y="258"/>
                </a:lnTo>
                <a:lnTo>
                  <a:pt x="1206" y="227"/>
                </a:lnTo>
                <a:lnTo>
                  <a:pt x="1214" y="197"/>
                </a:lnTo>
                <a:lnTo>
                  <a:pt x="1220" y="169"/>
                </a:lnTo>
                <a:lnTo>
                  <a:pt x="1225" y="141"/>
                </a:lnTo>
                <a:lnTo>
                  <a:pt x="1225" y="141"/>
                </a:lnTo>
                <a:lnTo>
                  <a:pt x="1226" y="132"/>
                </a:lnTo>
                <a:lnTo>
                  <a:pt x="1225" y="123"/>
                </a:lnTo>
                <a:lnTo>
                  <a:pt x="1224" y="114"/>
                </a:lnTo>
                <a:lnTo>
                  <a:pt x="1221" y="104"/>
                </a:lnTo>
                <a:lnTo>
                  <a:pt x="1217" y="95"/>
                </a:lnTo>
                <a:lnTo>
                  <a:pt x="1213" y="87"/>
                </a:lnTo>
                <a:lnTo>
                  <a:pt x="1208" y="78"/>
                </a:lnTo>
                <a:lnTo>
                  <a:pt x="1202" y="70"/>
                </a:lnTo>
                <a:lnTo>
                  <a:pt x="1194" y="63"/>
                </a:lnTo>
                <a:lnTo>
                  <a:pt x="1187" y="55"/>
                </a:lnTo>
                <a:lnTo>
                  <a:pt x="1179" y="49"/>
                </a:lnTo>
                <a:lnTo>
                  <a:pt x="1171" y="44"/>
                </a:lnTo>
                <a:lnTo>
                  <a:pt x="1163" y="39"/>
                </a:lnTo>
                <a:lnTo>
                  <a:pt x="1153" y="36"/>
                </a:lnTo>
                <a:lnTo>
                  <a:pt x="1144" y="34"/>
                </a:lnTo>
                <a:lnTo>
                  <a:pt x="1134" y="32"/>
                </a:lnTo>
                <a:lnTo>
                  <a:pt x="1134" y="32"/>
                </a:lnTo>
                <a:lnTo>
                  <a:pt x="1124" y="32"/>
                </a:lnTo>
                <a:lnTo>
                  <a:pt x="1115" y="33"/>
                </a:lnTo>
                <a:lnTo>
                  <a:pt x="1104" y="35"/>
                </a:lnTo>
                <a:lnTo>
                  <a:pt x="1095" y="38"/>
                </a:lnTo>
                <a:lnTo>
                  <a:pt x="1086" y="42"/>
                </a:lnTo>
                <a:lnTo>
                  <a:pt x="1078" y="46"/>
                </a:lnTo>
                <a:lnTo>
                  <a:pt x="1070" y="52"/>
                </a:lnTo>
                <a:lnTo>
                  <a:pt x="1061" y="57"/>
                </a:lnTo>
                <a:lnTo>
                  <a:pt x="1054" y="65"/>
                </a:lnTo>
                <a:lnTo>
                  <a:pt x="1048" y="71"/>
                </a:lnTo>
                <a:lnTo>
                  <a:pt x="1042" y="78"/>
                </a:lnTo>
                <a:lnTo>
                  <a:pt x="1037" y="86"/>
                </a:lnTo>
                <a:lnTo>
                  <a:pt x="1033" y="94"/>
                </a:lnTo>
                <a:lnTo>
                  <a:pt x="1029" y="102"/>
                </a:lnTo>
                <a:lnTo>
                  <a:pt x="1027" y="111"/>
                </a:lnTo>
                <a:lnTo>
                  <a:pt x="1026" y="119"/>
                </a:lnTo>
                <a:lnTo>
                  <a:pt x="1026" y="119"/>
                </a:lnTo>
                <a:lnTo>
                  <a:pt x="1025" y="139"/>
                </a:lnTo>
                <a:lnTo>
                  <a:pt x="1026" y="158"/>
                </a:lnTo>
                <a:lnTo>
                  <a:pt x="1030" y="173"/>
                </a:lnTo>
                <a:lnTo>
                  <a:pt x="1035" y="185"/>
                </a:lnTo>
                <a:lnTo>
                  <a:pt x="1041" y="195"/>
                </a:lnTo>
                <a:lnTo>
                  <a:pt x="1048" y="205"/>
                </a:lnTo>
                <a:lnTo>
                  <a:pt x="1056" y="212"/>
                </a:lnTo>
                <a:lnTo>
                  <a:pt x="1065" y="217"/>
                </a:lnTo>
                <a:lnTo>
                  <a:pt x="1073" y="221"/>
                </a:lnTo>
                <a:lnTo>
                  <a:pt x="1081" y="225"/>
                </a:lnTo>
                <a:lnTo>
                  <a:pt x="1095" y="230"/>
                </a:lnTo>
                <a:lnTo>
                  <a:pt x="1101" y="232"/>
                </a:lnTo>
                <a:lnTo>
                  <a:pt x="1104" y="234"/>
                </a:lnTo>
                <a:lnTo>
                  <a:pt x="1107" y="237"/>
                </a:lnTo>
                <a:lnTo>
                  <a:pt x="1107" y="240"/>
                </a:lnTo>
                <a:lnTo>
                  <a:pt x="1107" y="240"/>
                </a:lnTo>
                <a:lnTo>
                  <a:pt x="1096" y="276"/>
                </a:lnTo>
                <a:lnTo>
                  <a:pt x="1084" y="309"/>
                </a:lnTo>
                <a:lnTo>
                  <a:pt x="1071" y="339"/>
                </a:lnTo>
                <a:lnTo>
                  <a:pt x="1057" y="365"/>
                </a:lnTo>
                <a:lnTo>
                  <a:pt x="1044" y="390"/>
                </a:lnTo>
                <a:lnTo>
                  <a:pt x="1031" y="411"/>
                </a:lnTo>
                <a:lnTo>
                  <a:pt x="1016" y="431"/>
                </a:lnTo>
                <a:lnTo>
                  <a:pt x="1002" y="447"/>
                </a:lnTo>
                <a:lnTo>
                  <a:pt x="1002" y="447"/>
                </a:lnTo>
                <a:lnTo>
                  <a:pt x="975" y="431"/>
                </a:lnTo>
                <a:lnTo>
                  <a:pt x="942" y="411"/>
                </a:lnTo>
                <a:lnTo>
                  <a:pt x="942" y="411"/>
                </a:lnTo>
                <a:lnTo>
                  <a:pt x="865" y="369"/>
                </a:lnTo>
                <a:lnTo>
                  <a:pt x="790" y="328"/>
                </a:lnTo>
                <a:lnTo>
                  <a:pt x="717" y="289"/>
                </a:lnTo>
                <a:lnTo>
                  <a:pt x="680" y="271"/>
                </a:lnTo>
                <a:lnTo>
                  <a:pt x="643" y="254"/>
                </a:lnTo>
                <a:lnTo>
                  <a:pt x="606" y="236"/>
                </a:lnTo>
                <a:lnTo>
                  <a:pt x="568" y="221"/>
                </a:lnTo>
                <a:lnTo>
                  <a:pt x="529" y="205"/>
                </a:lnTo>
                <a:lnTo>
                  <a:pt x="489" y="190"/>
                </a:lnTo>
                <a:lnTo>
                  <a:pt x="448" y="176"/>
                </a:lnTo>
                <a:lnTo>
                  <a:pt x="406" y="164"/>
                </a:lnTo>
                <a:lnTo>
                  <a:pt x="362" y="151"/>
                </a:lnTo>
                <a:lnTo>
                  <a:pt x="317" y="140"/>
                </a:lnTo>
                <a:lnTo>
                  <a:pt x="317" y="140"/>
                </a:lnTo>
                <a:lnTo>
                  <a:pt x="334" y="107"/>
                </a:lnTo>
                <a:lnTo>
                  <a:pt x="334" y="107"/>
                </a:lnTo>
                <a:lnTo>
                  <a:pt x="360" y="63"/>
                </a:lnTo>
                <a:lnTo>
                  <a:pt x="378" y="31"/>
                </a:lnTo>
                <a:lnTo>
                  <a:pt x="385" y="20"/>
                </a:lnTo>
                <a:lnTo>
                  <a:pt x="389" y="10"/>
                </a:lnTo>
                <a:lnTo>
                  <a:pt x="391" y="4"/>
                </a:lnTo>
                <a:lnTo>
                  <a:pt x="390" y="2"/>
                </a:lnTo>
                <a:lnTo>
                  <a:pt x="389" y="0"/>
                </a:lnTo>
                <a:lnTo>
                  <a:pt x="389" y="0"/>
                </a:lnTo>
                <a:lnTo>
                  <a:pt x="388" y="0"/>
                </a:lnTo>
                <a:lnTo>
                  <a:pt x="387" y="0"/>
                </a:lnTo>
                <a:lnTo>
                  <a:pt x="381" y="1"/>
                </a:lnTo>
                <a:lnTo>
                  <a:pt x="367" y="10"/>
                </a:lnTo>
                <a:lnTo>
                  <a:pt x="343" y="26"/>
                </a:lnTo>
                <a:lnTo>
                  <a:pt x="326" y="35"/>
                </a:lnTo>
                <a:lnTo>
                  <a:pt x="307" y="46"/>
                </a:lnTo>
                <a:lnTo>
                  <a:pt x="307" y="46"/>
                </a:lnTo>
                <a:lnTo>
                  <a:pt x="285" y="57"/>
                </a:lnTo>
                <a:lnTo>
                  <a:pt x="267" y="67"/>
                </a:lnTo>
                <a:lnTo>
                  <a:pt x="252" y="73"/>
                </a:lnTo>
                <a:lnTo>
                  <a:pt x="237" y="78"/>
                </a:lnTo>
                <a:lnTo>
                  <a:pt x="224" y="82"/>
                </a:lnTo>
                <a:lnTo>
                  <a:pt x="211" y="85"/>
                </a:lnTo>
                <a:lnTo>
                  <a:pt x="183" y="89"/>
                </a:lnTo>
                <a:lnTo>
                  <a:pt x="183" y="89"/>
                </a:lnTo>
                <a:lnTo>
                  <a:pt x="174" y="89"/>
                </a:lnTo>
                <a:lnTo>
                  <a:pt x="165" y="88"/>
                </a:lnTo>
                <a:lnTo>
                  <a:pt x="147" y="85"/>
                </a:lnTo>
                <a:lnTo>
                  <a:pt x="132" y="81"/>
                </a:lnTo>
                <a:lnTo>
                  <a:pt x="125" y="81"/>
                </a:lnTo>
                <a:lnTo>
                  <a:pt x="120" y="82"/>
                </a:lnTo>
                <a:lnTo>
                  <a:pt x="120" y="82"/>
                </a:lnTo>
                <a:lnTo>
                  <a:pt x="114" y="85"/>
                </a:lnTo>
                <a:lnTo>
                  <a:pt x="107" y="91"/>
                </a:lnTo>
                <a:lnTo>
                  <a:pt x="102" y="98"/>
                </a:lnTo>
                <a:lnTo>
                  <a:pt x="97" y="107"/>
                </a:lnTo>
                <a:lnTo>
                  <a:pt x="92" y="120"/>
                </a:lnTo>
                <a:lnTo>
                  <a:pt x="87" y="134"/>
                </a:lnTo>
                <a:lnTo>
                  <a:pt x="74" y="171"/>
                </a:lnTo>
                <a:lnTo>
                  <a:pt x="74" y="171"/>
                </a:lnTo>
                <a:lnTo>
                  <a:pt x="49" y="242"/>
                </a:lnTo>
                <a:lnTo>
                  <a:pt x="42" y="261"/>
                </a:lnTo>
                <a:lnTo>
                  <a:pt x="42" y="261"/>
                </a:lnTo>
                <a:lnTo>
                  <a:pt x="34" y="279"/>
                </a:lnTo>
                <a:lnTo>
                  <a:pt x="27" y="293"/>
                </a:lnTo>
                <a:lnTo>
                  <a:pt x="14" y="312"/>
                </a:lnTo>
                <a:lnTo>
                  <a:pt x="10" y="320"/>
                </a:lnTo>
                <a:lnTo>
                  <a:pt x="6" y="327"/>
                </a:lnTo>
                <a:lnTo>
                  <a:pt x="3" y="335"/>
                </a:lnTo>
                <a:lnTo>
                  <a:pt x="1" y="34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6" name="Freeform 33"/>
          <p:cNvSpPr>
            <a:spLocks/>
          </p:cNvSpPr>
          <p:nvPr userDrawn="1"/>
        </p:nvSpPr>
        <p:spPr bwMode="auto">
          <a:xfrm>
            <a:off x="7189787" y="1214140"/>
            <a:ext cx="39688" cy="46038"/>
          </a:xfrm>
          <a:custGeom>
            <a:avLst/>
            <a:gdLst>
              <a:gd name="T0" fmla="*/ 103 w 296"/>
              <a:gd name="T1" fmla="*/ 350 h 350"/>
              <a:gd name="T2" fmla="*/ 103 w 296"/>
              <a:gd name="T3" fmla="*/ 350 h 350"/>
              <a:gd name="T4" fmla="*/ 132 w 296"/>
              <a:gd name="T5" fmla="*/ 349 h 350"/>
              <a:gd name="T6" fmla="*/ 164 w 296"/>
              <a:gd name="T7" fmla="*/ 346 h 350"/>
              <a:gd name="T8" fmla="*/ 196 w 296"/>
              <a:gd name="T9" fmla="*/ 343 h 350"/>
              <a:gd name="T10" fmla="*/ 226 w 296"/>
              <a:gd name="T11" fmla="*/ 339 h 350"/>
              <a:gd name="T12" fmla="*/ 276 w 296"/>
              <a:gd name="T13" fmla="*/ 333 h 350"/>
              <a:gd name="T14" fmla="*/ 296 w 296"/>
              <a:gd name="T15" fmla="*/ 329 h 350"/>
              <a:gd name="T16" fmla="*/ 293 w 296"/>
              <a:gd name="T17" fmla="*/ 25 h 350"/>
              <a:gd name="T18" fmla="*/ 293 w 296"/>
              <a:gd name="T19" fmla="*/ 25 h 350"/>
              <a:gd name="T20" fmla="*/ 244 w 296"/>
              <a:gd name="T21" fmla="*/ 18 h 350"/>
              <a:gd name="T22" fmla="*/ 142 w 296"/>
              <a:gd name="T23" fmla="*/ 2 h 350"/>
              <a:gd name="T24" fmla="*/ 142 w 296"/>
              <a:gd name="T25" fmla="*/ 2 h 350"/>
              <a:gd name="T26" fmla="*/ 129 w 296"/>
              <a:gd name="T27" fmla="*/ 1 h 350"/>
              <a:gd name="T28" fmla="*/ 117 w 296"/>
              <a:gd name="T29" fmla="*/ 0 h 350"/>
              <a:gd name="T30" fmla="*/ 105 w 296"/>
              <a:gd name="T31" fmla="*/ 0 h 350"/>
              <a:gd name="T32" fmla="*/ 94 w 296"/>
              <a:gd name="T33" fmla="*/ 1 h 350"/>
              <a:gd name="T34" fmla="*/ 84 w 296"/>
              <a:gd name="T35" fmla="*/ 3 h 350"/>
              <a:gd name="T36" fmla="*/ 75 w 296"/>
              <a:gd name="T37" fmla="*/ 6 h 350"/>
              <a:gd name="T38" fmla="*/ 66 w 296"/>
              <a:gd name="T39" fmla="*/ 9 h 350"/>
              <a:gd name="T40" fmla="*/ 59 w 296"/>
              <a:gd name="T41" fmla="*/ 13 h 350"/>
              <a:gd name="T42" fmla="*/ 51 w 296"/>
              <a:gd name="T43" fmla="*/ 17 h 350"/>
              <a:gd name="T44" fmla="*/ 44 w 296"/>
              <a:gd name="T45" fmla="*/ 22 h 350"/>
              <a:gd name="T46" fmla="*/ 38 w 296"/>
              <a:gd name="T47" fmla="*/ 27 h 350"/>
              <a:gd name="T48" fmla="*/ 33 w 296"/>
              <a:gd name="T49" fmla="*/ 32 h 350"/>
              <a:gd name="T50" fmla="*/ 24 w 296"/>
              <a:gd name="T51" fmla="*/ 45 h 350"/>
              <a:gd name="T52" fmla="*/ 17 w 296"/>
              <a:gd name="T53" fmla="*/ 57 h 350"/>
              <a:gd name="T54" fmla="*/ 11 w 296"/>
              <a:gd name="T55" fmla="*/ 70 h 350"/>
              <a:gd name="T56" fmla="*/ 6 w 296"/>
              <a:gd name="T57" fmla="*/ 83 h 350"/>
              <a:gd name="T58" fmla="*/ 3 w 296"/>
              <a:gd name="T59" fmla="*/ 96 h 350"/>
              <a:gd name="T60" fmla="*/ 1 w 296"/>
              <a:gd name="T61" fmla="*/ 106 h 350"/>
              <a:gd name="T62" fmla="*/ 0 w 296"/>
              <a:gd name="T63" fmla="*/ 123 h 350"/>
              <a:gd name="T64" fmla="*/ 0 w 296"/>
              <a:gd name="T65" fmla="*/ 129 h 350"/>
              <a:gd name="T66" fmla="*/ 4 w 296"/>
              <a:gd name="T67" fmla="*/ 213 h 350"/>
              <a:gd name="T68" fmla="*/ 4 w 296"/>
              <a:gd name="T69" fmla="*/ 213 h 350"/>
              <a:gd name="T70" fmla="*/ 4 w 296"/>
              <a:gd name="T71" fmla="*/ 219 h 350"/>
              <a:gd name="T72" fmla="*/ 6 w 296"/>
              <a:gd name="T73" fmla="*/ 235 h 350"/>
              <a:gd name="T74" fmla="*/ 11 w 296"/>
              <a:gd name="T75" fmla="*/ 256 h 350"/>
              <a:gd name="T76" fmla="*/ 15 w 296"/>
              <a:gd name="T77" fmla="*/ 268 h 350"/>
              <a:gd name="T78" fmla="*/ 19 w 296"/>
              <a:gd name="T79" fmla="*/ 282 h 350"/>
              <a:gd name="T80" fmla="*/ 24 w 296"/>
              <a:gd name="T81" fmla="*/ 294 h 350"/>
              <a:gd name="T82" fmla="*/ 31 w 296"/>
              <a:gd name="T83" fmla="*/ 306 h 350"/>
              <a:gd name="T84" fmla="*/ 39 w 296"/>
              <a:gd name="T85" fmla="*/ 319 h 350"/>
              <a:gd name="T86" fmla="*/ 48 w 296"/>
              <a:gd name="T87" fmla="*/ 329 h 350"/>
              <a:gd name="T88" fmla="*/ 53 w 296"/>
              <a:gd name="T89" fmla="*/ 333 h 350"/>
              <a:gd name="T90" fmla="*/ 60 w 296"/>
              <a:gd name="T91" fmla="*/ 337 h 350"/>
              <a:gd name="T92" fmla="*/ 66 w 296"/>
              <a:gd name="T93" fmla="*/ 341 h 350"/>
              <a:gd name="T94" fmla="*/ 72 w 296"/>
              <a:gd name="T95" fmla="*/ 344 h 350"/>
              <a:gd name="T96" fmla="*/ 79 w 296"/>
              <a:gd name="T97" fmla="*/ 346 h 350"/>
              <a:gd name="T98" fmla="*/ 86 w 296"/>
              <a:gd name="T99" fmla="*/ 348 h 350"/>
              <a:gd name="T100" fmla="*/ 94 w 296"/>
              <a:gd name="T101" fmla="*/ 349 h 350"/>
              <a:gd name="T102" fmla="*/ 103 w 296"/>
              <a:gd name="T103" fmla="*/ 35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6" h="350">
                <a:moveTo>
                  <a:pt x="103" y="350"/>
                </a:moveTo>
                <a:lnTo>
                  <a:pt x="103" y="350"/>
                </a:lnTo>
                <a:lnTo>
                  <a:pt x="132" y="349"/>
                </a:lnTo>
                <a:lnTo>
                  <a:pt x="164" y="346"/>
                </a:lnTo>
                <a:lnTo>
                  <a:pt x="196" y="343"/>
                </a:lnTo>
                <a:lnTo>
                  <a:pt x="226" y="339"/>
                </a:lnTo>
                <a:lnTo>
                  <a:pt x="276" y="333"/>
                </a:lnTo>
                <a:lnTo>
                  <a:pt x="296" y="329"/>
                </a:lnTo>
                <a:lnTo>
                  <a:pt x="293" y="25"/>
                </a:lnTo>
                <a:lnTo>
                  <a:pt x="293" y="25"/>
                </a:lnTo>
                <a:lnTo>
                  <a:pt x="244" y="18"/>
                </a:lnTo>
                <a:lnTo>
                  <a:pt x="142" y="2"/>
                </a:lnTo>
                <a:lnTo>
                  <a:pt x="142" y="2"/>
                </a:lnTo>
                <a:lnTo>
                  <a:pt x="129" y="1"/>
                </a:lnTo>
                <a:lnTo>
                  <a:pt x="117" y="0"/>
                </a:lnTo>
                <a:lnTo>
                  <a:pt x="105" y="0"/>
                </a:lnTo>
                <a:lnTo>
                  <a:pt x="94" y="1"/>
                </a:lnTo>
                <a:lnTo>
                  <a:pt x="84" y="3"/>
                </a:lnTo>
                <a:lnTo>
                  <a:pt x="75" y="6"/>
                </a:lnTo>
                <a:lnTo>
                  <a:pt x="66" y="9"/>
                </a:lnTo>
                <a:lnTo>
                  <a:pt x="59" y="13"/>
                </a:lnTo>
                <a:lnTo>
                  <a:pt x="51" y="17"/>
                </a:lnTo>
                <a:lnTo>
                  <a:pt x="44" y="22"/>
                </a:lnTo>
                <a:lnTo>
                  <a:pt x="38" y="27"/>
                </a:lnTo>
                <a:lnTo>
                  <a:pt x="33" y="32"/>
                </a:lnTo>
                <a:lnTo>
                  <a:pt x="24" y="45"/>
                </a:lnTo>
                <a:lnTo>
                  <a:pt x="17" y="57"/>
                </a:lnTo>
                <a:lnTo>
                  <a:pt x="11" y="70"/>
                </a:lnTo>
                <a:lnTo>
                  <a:pt x="6" y="83"/>
                </a:lnTo>
                <a:lnTo>
                  <a:pt x="3" y="96"/>
                </a:lnTo>
                <a:lnTo>
                  <a:pt x="1" y="106"/>
                </a:lnTo>
                <a:lnTo>
                  <a:pt x="0" y="123"/>
                </a:lnTo>
                <a:lnTo>
                  <a:pt x="0" y="129"/>
                </a:lnTo>
                <a:lnTo>
                  <a:pt x="4" y="213"/>
                </a:lnTo>
                <a:lnTo>
                  <a:pt x="4" y="213"/>
                </a:lnTo>
                <a:lnTo>
                  <a:pt x="4" y="219"/>
                </a:lnTo>
                <a:lnTo>
                  <a:pt x="6" y="235"/>
                </a:lnTo>
                <a:lnTo>
                  <a:pt x="11" y="256"/>
                </a:lnTo>
                <a:lnTo>
                  <a:pt x="15" y="268"/>
                </a:lnTo>
                <a:lnTo>
                  <a:pt x="19" y="282"/>
                </a:lnTo>
                <a:lnTo>
                  <a:pt x="24" y="294"/>
                </a:lnTo>
                <a:lnTo>
                  <a:pt x="31" y="306"/>
                </a:lnTo>
                <a:lnTo>
                  <a:pt x="39" y="319"/>
                </a:lnTo>
                <a:lnTo>
                  <a:pt x="48" y="329"/>
                </a:lnTo>
                <a:lnTo>
                  <a:pt x="53" y="333"/>
                </a:lnTo>
                <a:lnTo>
                  <a:pt x="60" y="337"/>
                </a:lnTo>
                <a:lnTo>
                  <a:pt x="66" y="341"/>
                </a:lnTo>
                <a:lnTo>
                  <a:pt x="72" y="344"/>
                </a:lnTo>
                <a:lnTo>
                  <a:pt x="79" y="346"/>
                </a:lnTo>
                <a:lnTo>
                  <a:pt x="86" y="348"/>
                </a:lnTo>
                <a:lnTo>
                  <a:pt x="94" y="349"/>
                </a:lnTo>
                <a:lnTo>
                  <a:pt x="103" y="3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7" name="Freeform 34"/>
          <p:cNvSpPr>
            <a:spLocks/>
          </p:cNvSpPr>
          <p:nvPr userDrawn="1"/>
        </p:nvSpPr>
        <p:spPr bwMode="auto">
          <a:xfrm>
            <a:off x="7237412" y="1203028"/>
            <a:ext cx="60325" cy="57150"/>
          </a:xfrm>
          <a:custGeom>
            <a:avLst/>
            <a:gdLst>
              <a:gd name="T0" fmla="*/ 450 w 450"/>
              <a:gd name="T1" fmla="*/ 290 h 425"/>
              <a:gd name="T2" fmla="*/ 450 w 450"/>
              <a:gd name="T3" fmla="*/ 225 h 425"/>
              <a:gd name="T4" fmla="*/ 449 w 450"/>
              <a:gd name="T5" fmla="*/ 54 h 425"/>
              <a:gd name="T6" fmla="*/ 444 w 450"/>
              <a:gd name="T7" fmla="*/ 20 h 425"/>
              <a:gd name="T8" fmla="*/ 436 w 450"/>
              <a:gd name="T9" fmla="*/ 3 h 425"/>
              <a:gd name="T10" fmla="*/ 429 w 450"/>
              <a:gd name="T11" fmla="*/ 0 h 425"/>
              <a:gd name="T12" fmla="*/ 367 w 450"/>
              <a:gd name="T13" fmla="*/ 2 h 425"/>
              <a:gd name="T14" fmla="*/ 362 w 450"/>
              <a:gd name="T15" fmla="*/ 14 h 425"/>
              <a:gd name="T16" fmla="*/ 347 w 450"/>
              <a:gd name="T17" fmla="*/ 59 h 425"/>
              <a:gd name="T18" fmla="*/ 325 w 450"/>
              <a:gd name="T19" fmla="*/ 2 h 425"/>
              <a:gd name="T20" fmla="*/ 261 w 450"/>
              <a:gd name="T21" fmla="*/ 2 h 425"/>
              <a:gd name="T22" fmla="*/ 242 w 450"/>
              <a:gd name="T23" fmla="*/ 16 h 425"/>
              <a:gd name="T24" fmla="*/ 224 w 450"/>
              <a:gd name="T25" fmla="*/ 64 h 425"/>
              <a:gd name="T26" fmla="*/ 192 w 450"/>
              <a:gd name="T27" fmla="*/ 4 h 425"/>
              <a:gd name="T28" fmla="*/ 135 w 450"/>
              <a:gd name="T29" fmla="*/ 6 h 425"/>
              <a:gd name="T30" fmla="*/ 127 w 450"/>
              <a:gd name="T31" fmla="*/ 11 h 425"/>
              <a:gd name="T32" fmla="*/ 110 w 450"/>
              <a:gd name="T33" fmla="*/ 53 h 425"/>
              <a:gd name="T34" fmla="*/ 86 w 450"/>
              <a:gd name="T35" fmla="*/ 6 h 425"/>
              <a:gd name="T36" fmla="*/ 38 w 450"/>
              <a:gd name="T37" fmla="*/ 6 h 425"/>
              <a:gd name="T38" fmla="*/ 25 w 450"/>
              <a:gd name="T39" fmla="*/ 10 h 425"/>
              <a:gd name="T40" fmla="*/ 10 w 450"/>
              <a:gd name="T41" fmla="*/ 28 h 425"/>
              <a:gd name="T42" fmla="*/ 1 w 450"/>
              <a:gd name="T43" fmla="*/ 55 h 425"/>
              <a:gd name="T44" fmla="*/ 1 w 450"/>
              <a:gd name="T45" fmla="*/ 141 h 425"/>
              <a:gd name="T46" fmla="*/ 5 w 450"/>
              <a:gd name="T47" fmla="*/ 324 h 425"/>
              <a:gd name="T48" fmla="*/ 27 w 450"/>
              <a:gd name="T49" fmla="*/ 401 h 425"/>
              <a:gd name="T50" fmla="*/ 54 w 450"/>
              <a:gd name="T51" fmla="*/ 396 h 425"/>
              <a:gd name="T52" fmla="*/ 74 w 450"/>
              <a:gd name="T53" fmla="*/ 384 h 425"/>
              <a:gd name="T54" fmla="*/ 83 w 450"/>
              <a:gd name="T55" fmla="*/ 374 h 425"/>
              <a:gd name="T56" fmla="*/ 100 w 450"/>
              <a:gd name="T57" fmla="*/ 341 h 425"/>
              <a:gd name="T58" fmla="*/ 105 w 450"/>
              <a:gd name="T59" fmla="*/ 317 h 425"/>
              <a:gd name="T60" fmla="*/ 105 w 450"/>
              <a:gd name="T61" fmla="*/ 367 h 425"/>
              <a:gd name="T62" fmla="*/ 108 w 450"/>
              <a:gd name="T63" fmla="*/ 420 h 425"/>
              <a:gd name="T64" fmla="*/ 116 w 450"/>
              <a:gd name="T65" fmla="*/ 424 h 425"/>
              <a:gd name="T66" fmla="*/ 150 w 450"/>
              <a:gd name="T67" fmla="*/ 423 h 425"/>
              <a:gd name="T68" fmla="*/ 176 w 450"/>
              <a:gd name="T69" fmla="*/ 412 h 425"/>
              <a:gd name="T70" fmla="*/ 189 w 450"/>
              <a:gd name="T71" fmla="*/ 402 h 425"/>
              <a:gd name="T72" fmla="*/ 209 w 450"/>
              <a:gd name="T73" fmla="*/ 368 h 425"/>
              <a:gd name="T74" fmla="*/ 224 w 450"/>
              <a:gd name="T75" fmla="*/ 317 h 425"/>
              <a:gd name="T76" fmla="*/ 225 w 450"/>
              <a:gd name="T77" fmla="*/ 381 h 425"/>
              <a:gd name="T78" fmla="*/ 229 w 450"/>
              <a:gd name="T79" fmla="*/ 419 h 425"/>
              <a:gd name="T80" fmla="*/ 237 w 450"/>
              <a:gd name="T81" fmla="*/ 421 h 425"/>
              <a:gd name="T82" fmla="*/ 266 w 450"/>
              <a:gd name="T83" fmla="*/ 418 h 425"/>
              <a:gd name="T84" fmla="*/ 300 w 450"/>
              <a:gd name="T85" fmla="*/ 405 h 425"/>
              <a:gd name="T86" fmla="*/ 309 w 450"/>
              <a:gd name="T87" fmla="*/ 397 h 425"/>
              <a:gd name="T88" fmla="*/ 331 w 450"/>
              <a:gd name="T89" fmla="*/ 367 h 425"/>
              <a:gd name="T90" fmla="*/ 342 w 450"/>
              <a:gd name="T91" fmla="*/ 334 h 425"/>
              <a:gd name="T92" fmla="*/ 345 w 450"/>
              <a:gd name="T93" fmla="*/ 346 h 425"/>
              <a:gd name="T94" fmla="*/ 348 w 450"/>
              <a:gd name="T95" fmla="*/ 391 h 425"/>
              <a:gd name="T96" fmla="*/ 379 w 450"/>
              <a:gd name="T97" fmla="*/ 386 h 425"/>
              <a:gd name="T98" fmla="*/ 404 w 450"/>
              <a:gd name="T99" fmla="*/ 375 h 425"/>
              <a:gd name="T100" fmla="*/ 425 w 450"/>
              <a:gd name="T101" fmla="*/ 360 h 425"/>
              <a:gd name="T102" fmla="*/ 439 w 450"/>
              <a:gd name="T103" fmla="*/ 342 h 425"/>
              <a:gd name="T104" fmla="*/ 448 w 450"/>
              <a:gd name="T105" fmla="*/ 311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0" h="425">
                <a:moveTo>
                  <a:pt x="448" y="311"/>
                </a:moveTo>
                <a:lnTo>
                  <a:pt x="448" y="311"/>
                </a:lnTo>
                <a:lnTo>
                  <a:pt x="450" y="290"/>
                </a:lnTo>
                <a:lnTo>
                  <a:pt x="450" y="268"/>
                </a:lnTo>
                <a:lnTo>
                  <a:pt x="450" y="225"/>
                </a:lnTo>
                <a:lnTo>
                  <a:pt x="450" y="225"/>
                </a:lnTo>
                <a:lnTo>
                  <a:pt x="449" y="64"/>
                </a:lnTo>
                <a:lnTo>
                  <a:pt x="449" y="64"/>
                </a:lnTo>
                <a:lnTo>
                  <a:pt x="449" y="54"/>
                </a:lnTo>
                <a:lnTo>
                  <a:pt x="448" y="44"/>
                </a:lnTo>
                <a:lnTo>
                  <a:pt x="447" y="33"/>
                </a:lnTo>
                <a:lnTo>
                  <a:pt x="444" y="20"/>
                </a:lnTo>
                <a:lnTo>
                  <a:pt x="441" y="10"/>
                </a:lnTo>
                <a:lnTo>
                  <a:pt x="439" y="6"/>
                </a:lnTo>
                <a:lnTo>
                  <a:pt x="436" y="3"/>
                </a:lnTo>
                <a:lnTo>
                  <a:pt x="433" y="1"/>
                </a:lnTo>
                <a:lnTo>
                  <a:pt x="429" y="0"/>
                </a:lnTo>
                <a:lnTo>
                  <a:pt x="429" y="0"/>
                </a:lnTo>
                <a:lnTo>
                  <a:pt x="396" y="0"/>
                </a:lnTo>
                <a:lnTo>
                  <a:pt x="378" y="1"/>
                </a:lnTo>
                <a:lnTo>
                  <a:pt x="367" y="2"/>
                </a:lnTo>
                <a:lnTo>
                  <a:pt x="367" y="2"/>
                </a:lnTo>
                <a:lnTo>
                  <a:pt x="364" y="7"/>
                </a:lnTo>
                <a:lnTo>
                  <a:pt x="362" y="14"/>
                </a:lnTo>
                <a:lnTo>
                  <a:pt x="356" y="33"/>
                </a:lnTo>
                <a:lnTo>
                  <a:pt x="350" y="52"/>
                </a:lnTo>
                <a:lnTo>
                  <a:pt x="347" y="59"/>
                </a:lnTo>
                <a:lnTo>
                  <a:pt x="345" y="64"/>
                </a:lnTo>
                <a:lnTo>
                  <a:pt x="325" y="2"/>
                </a:lnTo>
                <a:lnTo>
                  <a:pt x="325" y="2"/>
                </a:lnTo>
                <a:lnTo>
                  <a:pt x="309" y="1"/>
                </a:lnTo>
                <a:lnTo>
                  <a:pt x="286" y="1"/>
                </a:lnTo>
                <a:lnTo>
                  <a:pt x="261" y="2"/>
                </a:lnTo>
                <a:lnTo>
                  <a:pt x="247" y="4"/>
                </a:lnTo>
                <a:lnTo>
                  <a:pt x="247" y="4"/>
                </a:lnTo>
                <a:lnTo>
                  <a:pt x="242" y="16"/>
                </a:lnTo>
                <a:lnTo>
                  <a:pt x="236" y="34"/>
                </a:lnTo>
                <a:lnTo>
                  <a:pt x="229" y="52"/>
                </a:lnTo>
                <a:lnTo>
                  <a:pt x="224" y="64"/>
                </a:lnTo>
                <a:lnTo>
                  <a:pt x="205" y="5"/>
                </a:lnTo>
                <a:lnTo>
                  <a:pt x="205" y="5"/>
                </a:lnTo>
                <a:lnTo>
                  <a:pt x="192" y="4"/>
                </a:lnTo>
                <a:lnTo>
                  <a:pt x="168" y="4"/>
                </a:lnTo>
                <a:lnTo>
                  <a:pt x="144" y="5"/>
                </a:lnTo>
                <a:lnTo>
                  <a:pt x="135" y="6"/>
                </a:lnTo>
                <a:lnTo>
                  <a:pt x="131" y="6"/>
                </a:lnTo>
                <a:lnTo>
                  <a:pt x="131" y="6"/>
                </a:lnTo>
                <a:lnTo>
                  <a:pt x="127" y="11"/>
                </a:lnTo>
                <a:lnTo>
                  <a:pt x="124" y="18"/>
                </a:lnTo>
                <a:lnTo>
                  <a:pt x="117" y="36"/>
                </a:lnTo>
                <a:lnTo>
                  <a:pt x="110" y="53"/>
                </a:lnTo>
                <a:lnTo>
                  <a:pt x="105" y="64"/>
                </a:lnTo>
                <a:lnTo>
                  <a:pt x="86" y="6"/>
                </a:lnTo>
                <a:lnTo>
                  <a:pt x="86" y="6"/>
                </a:lnTo>
                <a:lnTo>
                  <a:pt x="69" y="6"/>
                </a:lnTo>
                <a:lnTo>
                  <a:pt x="38" y="6"/>
                </a:lnTo>
                <a:lnTo>
                  <a:pt x="38" y="6"/>
                </a:lnTo>
                <a:lnTo>
                  <a:pt x="33" y="7"/>
                </a:lnTo>
                <a:lnTo>
                  <a:pt x="29" y="8"/>
                </a:lnTo>
                <a:lnTo>
                  <a:pt x="25" y="10"/>
                </a:lnTo>
                <a:lnTo>
                  <a:pt x="21" y="12"/>
                </a:lnTo>
                <a:lnTo>
                  <a:pt x="15" y="19"/>
                </a:lnTo>
                <a:lnTo>
                  <a:pt x="10" y="28"/>
                </a:lnTo>
                <a:lnTo>
                  <a:pt x="5" y="36"/>
                </a:lnTo>
                <a:lnTo>
                  <a:pt x="2" y="46"/>
                </a:lnTo>
                <a:lnTo>
                  <a:pt x="1" y="55"/>
                </a:lnTo>
                <a:lnTo>
                  <a:pt x="0" y="63"/>
                </a:lnTo>
                <a:lnTo>
                  <a:pt x="0" y="63"/>
                </a:lnTo>
                <a:lnTo>
                  <a:pt x="1" y="141"/>
                </a:lnTo>
                <a:lnTo>
                  <a:pt x="2" y="220"/>
                </a:lnTo>
                <a:lnTo>
                  <a:pt x="2" y="220"/>
                </a:lnTo>
                <a:lnTo>
                  <a:pt x="5" y="324"/>
                </a:lnTo>
                <a:lnTo>
                  <a:pt x="8" y="402"/>
                </a:lnTo>
                <a:lnTo>
                  <a:pt x="8" y="402"/>
                </a:lnTo>
                <a:lnTo>
                  <a:pt x="27" y="401"/>
                </a:lnTo>
                <a:lnTo>
                  <a:pt x="37" y="399"/>
                </a:lnTo>
                <a:lnTo>
                  <a:pt x="45" y="398"/>
                </a:lnTo>
                <a:lnTo>
                  <a:pt x="54" y="396"/>
                </a:lnTo>
                <a:lnTo>
                  <a:pt x="62" y="393"/>
                </a:lnTo>
                <a:lnTo>
                  <a:pt x="68" y="388"/>
                </a:lnTo>
                <a:lnTo>
                  <a:pt x="74" y="384"/>
                </a:lnTo>
                <a:lnTo>
                  <a:pt x="74" y="384"/>
                </a:lnTo>
                <a:lnTo>
                  <a:pt x="79" y="379"/>
                </a:lnTo>
                <a:lnTo>
                  <a:pt x="83" y="374"/>
                </a:lnTo>
                <a:lnTo>
                  <a:pt x="90" y="363"/>
                </a:lnTo>
                <a:lnTo>
                  <a:pt x="95" y="352"/>
                </a:lnTo>
                <a:lnTo>
                  <a:pt x="100" y="341"/>
                </a:lnTo>
                <a:lnTo>
                  <a:pt x="103" y="331"/>
                </a:lnTo>
                <a:lnTo>
                  <a:pt x="104" y="324"/>
                </a:lnTo>
                <a:lnTo>
                  <a:pt x="105" y="317"/>
                </a:lnTo>
                <a:lnTo>
                  <a:pt x="105" y="317"/>
                </a:lnTo>
                <a:lnTo>
                  <a:pt x="105" y="337"/>
                </a:lnTo>
                <a:lnTo>
                  <a:pt x="105" y="367"/>
                </a:lnTo>
                <a:lnTo>
                  <a:pt x="106" y="397"/>
                </a:lnTo>
                <a:lnTo>
                  <a:pt x="108" y="420"/>
                </a:lnTo>
                <a:lnTo>
                  <a:pt x="108" y="420"/>
                </a:lnTo>
                <a:lnTo>
                  <a:pt x="108" y="421"/>
                </a:lnTo>
                <a:lnTo>
                  <a:pt x="110" y="422"/>
                </a:lnTo>
                <a:lnTo>
                  <a:pt x="116" y="424"/>
                </a:lnTo>
                <a:lnTo>
                  <a:pt x="125" y="425"/>
                </a:lnTo>
                <a:lnTo>
                  <a:pt x="136" y="425"/>
                </a:lnTo>
                <a:lnTo>
                  <a:pt x="150" y="423"/>
                </a:lnTo>
                <a:lnTo>
                  <a:pt x="163" y="418"/>
                </a:lnTo>
                <a:lnTo>
                  <a:pt x="169" y="415"/>
                </a:lnTo>
                <a:lnTo>
                  <a:pt x="176" y="412"/>
                </a:lnTo>
                <a:lnTo>
                  <a:pt x="182" y="407"/>
                </a:lnTo>
                <a:lnTo>
                  <a:pt x="189" y="402"/>
                </a:lnTo>
                <a:lnTo>
                  <a:pt x="189" y="402"/>
                </a:lnTo>
                <a:lnTo>
                  <a:pt x="197" y="392"/>
                </a:lnTo>
                <a:lnTo>
                  <a:pt x="204" y="380"/>
                </a:lnTo>
                <a:lnTo>
                  <a:pt x="209" y="368"/>
                </a:lnTo>
                <a:lnTo>
                  <a:pt x="213" y="356"/>
                </a:lnTo>
                <a:lnTo>
                  <a:pt x="220" y="333"/>
                </a:lnTo>
                <a:lnTo>
                  <a:pt x="224" y="317"/>
                </a:lnTo>
                <a:lnTo>
                  <a:pt x="224" y="317"/>
                </a:lnTo>
                <a:lnTo>
                  <a:pt x="224" y="348"/>
                </a:lnTo>
                <a:lnTo>
                  <a:pt x="225" y="381"/>
                </a:lnTo>
                <a:lnTo>
                  <a:pt x="227" y="408"/>
                </a:lnTo>
                <a:lnTo>
                  <a:pt x="228" y="417"/>
                </a:lnTo>
                <a:lnTo>
                  <a:pt x="229" y="419"/>
                </a:lnTo>
                <a:lnTo>
                  <a:pt x="230" y="420"/>
                </a:lnTo>
                <a:lnTo>
                  <a:pt x="230" y="420"/>
                </a:lnTo>
                <a:lnTo>
                  <a:pt x="237" y="421"/>
                </a:lnTo>
                <a:lnTo>
                  <a:pt x="245" y="421"/>
                </a:lnTo>
                <a:lnTo>
                  <a:pt x="255" y="420"/>
                </a:lnTo>
                <a:lnTo>
                  <a:pt x="266" y="418"/>
                </a:lnTo>
                <a:lnTo>
                  <a:pt x="277" y="415"/>
                </a:lnTo>
                <a:lnTo>
                  <a:pt x="289" y="411"/>
                </a:lnTo>
                <a:lnTo>
                  <a:pt x="300" y="405"/>
                </a:lnTo>
                <a:lnTo>
                  <a:pt x="305" y="401"/>
                </a:lnTo>
                <a:lnTo>
                  <a:pt x="309" y="397"/>
                </a:lnTo>
                <a:lnTo>
                  <a:pt x="309" y="397"/>
                </a:lnTo>
                <a:lnTo>
                  <a:pt x="317" y="387"/>
                </a:lnTo>
                <a:lnTo>
                  <a:pt x="325" y="377"/>
                </a:lnTo>
                <a:lnTo>
                  <a:pt x="331" y="367"/>
                </a:lnTo>
                <a:lnTo>
                  <a:pt x="336" y="356"/>
                </a:lnTo>
                <a:lnTo>
                  <a:pt x="339" y="345"/>
                </a:lnTo>
                <a:lnTo>
                  <a:pt x="342" y="334"/>
                </a:lnTo>
                <a:lnTo>
                  <a:pt x="345" y="317"/>
                </a:lnTo>
                <a:lnTo>
                  <a:pt x="345" y="317"/>
                </a:lnTo>
                <a:lnTo>
                  <a:pt x="345" y="346"/>
                </a:lnTo>
                <a:lnTo>
                  <a:pt x="346" y="370"/>
                </a:lnTo>
                <a:lnTo>
                  <a:pt x="348" y="391"/>
                </a:lnTo>
                <a:lnTo>
                  <a:pt x="348" y="391"/>
                </a:lnTo>
                <a:lnTo>
                  <a:pt x="362" y="390"/>
                </a:lnTo>
                <a:lnTo>
                  <a:pt x="371" y="388"/>
                </a:lnTo>
                <a:lnTo>
                  <a:pt x="379" y="386"/>
                </a:lnTo>
                <a:lnTo>
                  <a:pt x="379" y="386"/>
                </a:lnTo>
                <a:lnTo>
                  <a:pt x="393" y="380"/>
                </a:lnTo>
                <a:lnTo>
                  <a:pt x="404" y="375"/>
                </a:lnTo>
                <a:lnTo>
                  <a:pt x="415" y="368"/>
                </a:lnTo>
                <a:lnTo>
                  <a:pt x="415" y="368"/>
                </a:lnTo>
                <a:lnTo>
                  <a:pt x="425" y="360"/>
                </a:lnTo>
                <a:lnTo>
                  <a:pt x="430" y="355"/>
                </a:lnTo>
                <a:lnTo>
                  <a:pt x="435" y="349"/>
                </a:lnTo>
                <a:lnTo>
                  <a:pt x="439" y="342"/>
                </a:lnTo>
                <a:lnTo>
                  <a:pt x="443" y="333"/>
                </a:lnTo>
                <a:lnTo>
                  <a:pt x="446" y="323"/>
                </a:lnTo>
                <a:lnTo>
                  <a:pt x="448" y="3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8" name="Freeform 35"/>
          <p:cNvSpPr>
            <a:spLocks/>
          </p:cNvSpPr>
          <p:nvPr userDrawn="1"/>
        </p:nvSpPr>
        <p:spPr bwMode="auto">
          <a:xfrm>
            <a:off x="7245350" y="1206203"/>
            <a:ext cx="73025" cy="80963"/>
          </a:xfrm>
          <a:custGeom>
            <a:avLst/>
            <a:gdLst>
              <a:gd name="T0" fmla="*/ 554 w 554"/>
              <a:gd name="T1" fmla="*/ 356 h 620"/>
              <a:gd name="T2" fmla="*/ 549 w 554"/>
              <a:gd name="T3" fmla="*/ 350 h 620"/>
              <a:gd name="T4" fmla="*/ 535 w 554"/>
              <a:gd name="T5" fmla="*/ 331 h 620"/>
              <a:gd name="T6" fmla="*/ 525 w 554"/>
              <a:gd name="T7" fmla="*/ 306 h 620"/>
              <a:gd name="T8" fmla="*/ 520 w 554"/>
              <a:gd name="T9" fmla="*/ 285 h 620"/>
              <a:gd name="T10" fmla="*/ 516 w 554"/>
              <a:gd name="T11" fmla="*/ 258 h 620"/>
              <a:gd name="T12" fmla="*/ 515 w 554"/>
              <a:gd name="T13" fmla="*/ 243 h 620"/>
              <a:gd name="T14" fmla="*/ 516 w 554"/>
              <a:gd name="T15" fmla="*/ 222 h 620"/>
              <a:gd name="T16" fmla="*/ 520 w 554"/>
              <a:gd name="T17" fmla="*/ 202 h 620"/>
              <a:gd name="T18" fmla="*/ 532 w 554"/>
              <a:gd name="T19" fmla="*/ 167 h 620"/>
              <a:gd name="T20" fmla="*/ 546 w 554"/>
              <a:gd name="T21" fmla="*/ 142 h 620"/>
              <a:gd name="T22" fmla="*/ 551 w 554"/>
              <a:gd name="T23" fmla="*/ 43 h 620"/>
              <a:gd name="T24" fmla="*/ 542 w 554"/>
              <a:gd name="T25" fmla="*/ 36 h 620"/>
              <a:gd name="T26" fmla="*/ 504 w 554"/>
              <a:gd name="T27" fmla="*/ 13 h 620"/>
              <a:gd name="T28" fmla="*/ 482 w 554"/>
              <a:gd name="T29" fmla="*/ 2 h 620"/>
              <a:gd name="T30" fmla="*/ 470 w 554"/>
              <a:gd name="T31" fmla="*/ 0 h 620"/>
              <a:gd name="T32" fmla="*/ 465 w 554"/>
              <a:gd name="T33" fmla="*/ 327 h 620"/>
              <a:gd name="T34" fmla="*/ 465 w 554"/>
              <a:gd name="T35" fmla="*/ 339 h 620"/>
              <a:gd name="T36" fmla="*/ 458 w 554"/>
              <a:gd name="T37" fmla="*/ 360 h 620"/>
              <a:gd name="T38" fmla="*/ 444 w 554"/>
              <a:gd name="T39" fmla="*/ 382 h 620"/>
              <a:gd name="T40" fmla="*/ 426 w 554"/>
              <a:gd name="T41" fmla="*/ 402 h 620"/>
              <a:gd name="T42" fmla="*/ 405 w 554"/>
              <a:gd name="T43" fmla="*/ 421 h 620"/>
              <a:gd name="T44" fmla="*/ 380 w 554"/>
              <a:gd name="T45" fmla="*/ 437 h 620"/>
              <a:gd name="T46" fmla="*/ 353 w 554"/>
              <a:gd name="T47" fmla="*/ 449 h 620"/>
              <a:gd name="T48" fmla="*/ 327 w 554"/>
              <a:gd name="T49" fmla="*/ 458 h 620"/>
              <a:gd name="T50" fmla="*/ 314 w 554"/>
              <a:gd name="T51" fmla="*/ 461 h 620"/>
              <a:gd name="T52" fmla="*/ 255 w 554"/>
              <a:gd name="T53" fmla="*/ 471 h 620"/>
              <a:gd name="T54" fmla="*/ 199 w 554"/>
              <a:gd name="T55" fmla="*/ 477 h 620"/>
              <a:gd name="T56" fmla="*/ 98 w 554"/>
              <a:gd name="T57" fmla="*/ 482 h 620"/>
              <a:gd name="T58" fmla="*/ 27 w 554"/>
              <a:gd name="T59" fmla="*/ 482 h 620"/>
              <a:gd name="T60" fmla="*/ 0 w 554"/>
              <a:gd name="T61" fmla="*/ 481 h 620"/>
              <a:gd name="T62" fmla="*/ 4 w 554"/>
              <a:gd name="T63" fmla="*/ 508 h 620"/>
              <a:gd name="T64" fmla="*/ 13 w 554"/>
              <a:gd name="T65" fmla="*/ 550 h 620"/>
              <a:gd name="T66" fmla="*/ 18 w 554"/>
              <a:gd name="T67" fmla="*/ 566 h 620"/>
              <a:gd name="T68" fmla="*/ 29 w 554"/>
              <a:gd name="T69" fmla="*/ 586 h 620"/>
              <a:gd name="T70" fmla="*/ 44 w 554"/>
              <a:gd name="T71" fmla="*/ 604 h 620"/>
              <a:gd name="T72" fmla="*/ 62 w 554"/>
              <a:gd name="T73" fmla="*/ 620 h 620"/>
              <a:gd name="T74" fmla="*/ 554 w 554"/>
              <a:gd name="T75" fmla="*/ 450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4" h="620">
                <a:moveTo>
                  <a:pt x="554" y="450"/>
                </a:moveTo>
                <a:lnTo>
                  <a:pt x="554" y="356"/>
                </a:lnTo>
                <a:lnTo>
                  <a:pt x="554" y="356"/>
                </a:lnTo>
                <a:lnTo>
                  <a:pt x="549" y="350"/>
                </a:lnTo>
                <a:lnTo>
                  <a:pt x="543" y="342"/>
                </a:lnTo>
                <a:lnTo>
                  <a:pt x="535" y="331"/>
                </a:lnTo>
                <a:lnTo>
                  <a:pt x="528" y="315"/>
                </a:lnTo>
                <a:lnTo>
                  <a:pt x="525" y="306"/>
                </a:lnTo>
                <a:lnTo>
                  <a:pt x="522" y="296"/>
                </a:lnTo>
                <a:lnTo>
                  <a:pt x="520" y="285"/>
                </a:lnTo>
                <a:lnTo>
                  <a:pt x="517" y="271"/>
                </a:lnTo>
                <a:lnTo>
                  <a:pt x="516" y="258"/>
                </a:lnTo>
                <a:lnTo>
                  <a:pt x="515" y="243"/>
                </a:lnTo>
                <a:lnTo>
                  <a:pt x="515" y="243"/>
                </a:lnTo>
                <a:lnTo>
                  <a:pt x="515" y="232"/>
                </a:lnTo>
                <a:lnTo>
                  <a:pt x="516" y="222"/>
                </a:lnTo>
                <a:lnTo>
                  <a:pt x="517" y="212"/>
                </a:lnTo>
                <a:lnTo>
                  <a:pt x="520" y="202"/>
                </a:lnTo>
                <a:lnTo>
                  <a:pt x="526" y="183"/>
                </a:lnTo>
                <a:lnTo>
                  <a:pt x="532" y="167"/>
                </a:lnTo>
                <a:lnTo>
                  <a:pt x="540" y="154"/>
                </a:lnTo>
                <a:lnTo>
                  <a:pt x="546" y="142"/>
                </a:lnTo>
                <a:lnTo>
                  <a:pt x="552" y="133"/>
                </a:lnTo>
                <a:lnTo>
                  <a:pt x="551" y="43"/>
                </a:lnTo>
                <a:lnTo>
                  <a:pt x="551" y="43"/>
                </a:lnTo>
                <a:lnTo>
                  <a:pt x="542" y="36"/>
                </a:lnTo>
                <a:lnTo>
                  <a:pt x="518" y="21"/>
                </a:lnTo>
                <a:lnTo>
                  <a:pt x="504" y="13"/>
                </a:lnTo>
                <a:lnTo>
                  <a:pt x="489" y="5"/>
                </a:lnTo>
                <a:lnTo>
                  <a:pt x="482" y="2"/>
                </a:lnTo>
                <a:lnTo>
                  <a:pt x="476" y="1"/>
                </a:lnTo>
                <a:lnTo>
                  <a:pt x="470" y="0"/>
                </a:lnTo>
                <a:lnTo>
                  <a:pt x="464" y="0"/>
                </a:lnTo>
                <a:lnTo>
                  <a:pt x="465" y="327"/>
                </a:lnTo>
                <a:lnTo>
                  <a:pt x="465" y="327"/>
                </a:lnTo>
                <a:lnTo>
                  <a:pt x="465" y="339"/>
                </a:lnTo>
                <a:lnTo>
                  <a:pt x="462" y="349"/>
                </a:lnTo>
                <a:lnTo>
                  <a:pt x="458" y="360"/>
                </a:lnTo>
                <a:lnTo>
                  <a:pt x="452" y="370"/>
                </a:lnTo>
                <a:lnTo>
                  <a:pt x="444" y="382"/>
                </a:lnTo>
                <a:lnTo>
                  <a:pt x="436" y="392"/>
                </a:lnTo>
                <a:lnTo>
                  <a:pt x="426" y="402"/>
                </a:lnTo>
                <a:lnTo>
                  <a:pt x="416" y="411"/>
                </a:lnTo>
                <a:lnTo>
                  <a:pt x="405" y="421"/>
                </a:lnTo>
                <a:lnTo>
                  <a:pt x="392" y="429"/>
                </a:lnTo>
                <a:lnTo>
                  <a:pt x="380" y="437"/>
                </a:lnTo>
                <a:lnTo>
                  <a:pt x="367" y="443"/>
                </a:lnTo>
                <a:lnTo>
                  <a:pt x="353" y="449"/>
                </a:lnTo>
                <a:lnTo>
                  <a:pt x="340" y="454"/>
                </a:lnTo>
                <a:lnTo>
                  <a:pt x="327" y="458"/>
                </a:lnTo>
                <a:lnTo>
                  <a:pt x="314" y="461"/>
                </a:lnTo>
                <a:lnTo>
                  <a:pt x="314" y="461"/>
                </a:lnTo>
                <a:lnTo>
                  <a:pt x="284" y="467"/>
                </a:lnTo>
                <a:lnTo>
                  <a:pt x="255" y="471"/>
                </a:lnTo>
                <a:lnTo>
                  <a:pt x="227" y="474"/>
                </a:lnTo>
                <a:lnTo>
                  <a:pt x="199" y="477"/>
                </a:lnTo>
                <a:lnTo>
                  <a:pt x="146" y="480"/>
                </a:lnTo>
                <a:lnTo>
                  <a:pt x="98" y="482"/>
                </a:lnTo>
                <a:lnTo>
                  <a:pt x="58" y="482"/>
                </a:lnTo>
                <a:lnTo>
                  <a:pt x="27" y="482"/>
                </a:lnTo>
                <a:lnTo>
                  <a:pt x="0" y="481"/>
                </a:lnTo>
                <a:lnTo>
                  <a:pt x="0" y="481"/>
                </a:lnTo>
                <a:lnTo>
                  <a:pt x="1" y="488"/>
                </a:lnTo>
                <a:lnTo>
                  <a:pt x="4" y="508"/>
                </a:lnTo>
                <a:lnTo>
                  <a:pt x="10" y="535"/>
                </a:lnTo>
                <a:lnTo>
                  <a:pt x="13" y="550"/>
                </a:lnTo>
                <a:lnTo>
                  <a:pt x="18" y="566"/>
                </a:lnTo>
                <a:lnTo>
                  <a:pt x="18" y="566"/>
                </a:lnTo>
                <a:lnTo>
                  <a:pt x="23" y="576"/>
                </a:lnTo>
                <a:lnTo>
                  <a:pt x="29" y="586"/>
                </a:lnTo>
                <a:lnTo>
                  <a:pt x="36" y="595"/>
                </a:lnTo>
                <a:lnTo>
                  <a:pt x="44" y="604"/>
                </a:lnTo>
                <a:lnTo>
                  <a:pt x="57" y="616"/>
                </a:lnTo>
                <a:lnTo>
                  <a:pt x="62" y="620"/>
                </a:lnTo>
                <a:lnTo>
                  <a:pt x="451" y="620"/>
                </a:lnTo>
                <a:lnTo>
                  <a:pt x="554" y="4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9" name="Freeform 36"/>
          <p:cNvSpPr>
            <a:spLocks/>
          </p:cNvSpPr>
          <p:nvPr userDrawn="1"/>
        </p:nvSpPr>
        <p:spPr bwMode="auto">
          <a:xfrm>
            <a:off x="7251700" y="1298278"/>
            <a:ext cx="57150" cy="17463"/>
          </a:xfrm>
          <a:custGeom>
            <a:avLst/>
            <a:gdLst>
              <a:gd name="T0" fmla="*/ 20 w 435"/>
              <a:gd name="T1" fmla="*/ 142 h 142"/>
              <a:gd name="T2" fmla="*/ 411 w 435"/>
              <a:gd name="T3" fmla="*/ 142 h 142"/>
              <a:gd name="T4" fmla="*/ 411 w 435"/>
              <a:gd name="T5" fmla="*/ 142 h 142"/>
              <a:gd name="T6" fmla="*/ 422 w 435"/>
              <a:gd name="T7" fmla="*/ 109 h 142"/>
              <a:gd name="T8" fmla="*/ 430 w 435"/>
              <a:gd name="T9" fmla="*/ 83 h 142"/>
              <a:gd name="T10" fmla="*/ 433 w 435"/>
              <a:gd name="T11" fmla="*/ 72 h 142"/>
              <a:gd name="T12" fmla="*/ 435 w 435"/>
              <a:gd name="T13" fmla="*/ 63 h 142"/>
              <a:gd name="T14" fmla="*/ 417 w 435"/>
              <a:gd name="T15" fmla="*/ 0 h 142"/>
              <a:gd name="T16" fmla="*/ 22 w 435"/>
              <a:gd name="T17" fmla="*/ 0 h 142"/>
              <a:gd name="T18" fmla="*/ 0 w 435"/>
              <a:gd name="T19" fmla="*/ 65 h 142"/>
              <a:gd name="T20" fmla="*/ 20 w 435"/>
              <a:gd name="T2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5" h="142">
                <a:moveTo>
                  <a:pt x="20" y="142"/>
                </a:moveTo>
                <a:lnTo>
                  <a:pt x="411" y="142"/>
                </a:lnTo>
                <a:lnTo>
                  <a:pt x="411" y="142"/>
                </a:lnTo>
                <a:lnTo>
                  <a:pt x="422" y="109"/>
                </a:lnTo>
                <a:lnTo>
                  <a:pt x="430" y="83"/>
                </a:lnTo>
                <a:lnTo>
                  <a:pt x="433" y="72"/>
                </a:lnTo>
                <a:lnTo>
                  <a:pt x="435" y="63"/>
                </a:lnTo>
                <a:lnTo>
                  <a:pt x="417" y="0"/>
                </a:lnTo>
                <a:lnTo>
                  <a:pt x="22" y="0"/>
                </a:lnTo>
                <a:lnTo>
                  <a:pt x="0" y="65"/>
                </a:lnTo>
                <a:lnTo>
                  <a:pt x="20" y="1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0" name="Freeform 37"/>
          <p:cNvSpPr>
            <a:spLocks/>
          </p:cNvSpPr>
          <p:nvPr userDrawn="1"/>
        </p:nvSpPr>
        <p:spPr bwMode="auto">
          <a:xfrm>
            <a:off x="7254875" y="1326853"/>
            <a:ext cx="57150" cy="66675"/>
          </a:xfrm>
          <a:custGeom>
            <a:avLst/>
            <a:gdLst>
              <a:gd name="T0" fmla="*/ 384 w 436"/>
              <a:gd name="T1" fmla="*/ 0 h 514"/>
              <a:gd name="T2" fmla="*/ 2 w 436"/>
              <a:gd name="T3" fmla="*/ 0 h 514"/>
              <a:gd name="T4" fmla="*/ 0 w 436"/>
              <a:gd name="T5" fmla="*/ 505 h 514"/>
              <a:gd name="T6" fmla="*/ 331 w 436"/>
              <a:gd name="T7" fmla="*/ 514 h 514"/>
              <a:gd name="T8" fmla="*/ 436 w 436"/>
              <a:gd name="T9" fmla="*/ 431 h 514"/>
              <a:gd name="T10" fmla="*/ 384 w 436"/>
              <a:gd name="T11" fmla="*/ 0 h 514"/>
            </a:gdLst>
            <a:ahLst/>
            <a:cxnLst>
              <a:cxn ang="0">
                <a:pos x="T0" y="T1"/>
              </a:cxn>
              <a:cxn ang="0">
                <a:pos x="T2" y="T3"/>
              </a:cxn>
              <a:cxn ang="0">
                <a:pos x="T4" y="T5"/>
              </a:cxn>
              <a:cxn ang="0">
                <a:pos x="T6" y="T7"/>
              </a:cxn>
              <a:cxn ang="0">
                <a:pos x="T8" y="T9"/>
              </a:cxn>
              <a:cxn ang="0">
                <a:pos x="T10" y="T11"/>
              </a:cxn>
            </a:cxnLst>
            <a:rect l="0" t="0" r="r" b="b"/>
            <a:pathLst>
              <a:path w="436" h="514">
                <a:moveTo>
                  <a:pt x="384" y="0"/>
                </a:moveTo>
                <a:lnTo>
                  <a:pt x="2" y="0"/>
                </a:lnTo>
                <a:lnTo>
                  <a:pt x="0" y="505"/>
                </a:lnTo>
                <a:lnTo>
                  <a:pt x="331" y="514"/>
                </a:lnTo>
                <a:lnTo>
                  <a:pt x="436" y="431"/>
                </a:lnTo>
                <a:lnTo>
                  <a:pt x="3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1" name="Freeform 38"/>
          <p:cNvSpPr>
            <a:spLocks/>
          </p:cNvSpPr>
          <p:nvPr userDrawn="1"/>
        </p:nvSpPr>
        <p:spPr bwMode="auto">
          <a:xfrm>
            <a:off x="7251700" y="1391940"/>
            <a:ext cx="77788" cy="68263"/>
          </a:xfrm>
          <a:custGeom>
            <a:avLst/>
            <a:gdLst>
              <a:gd name="T0" fmla="*/ 586 w 586"/>
              <a:gd name="T1" fmla="*/ 139 h 523"/>
              <a:gd name="T2" fmla="*/ 586 w 586"/>
              <a:gd name="T3" fmla="*/ 139 h 523"/>
              <a:gd name="T4" fmla="*/ 552 w 586"/>
              <a:gd name="T5" fmla="*/ 115 h 523"/>
              <a:gd name="T6" fmla="*/ 527 w 586"/>
              <a:gd name="T7" fmla="*/ 97 h 523"/>
              <a:gd name="T8" fmla="*/ 519 w 586"/>
              <a:gd name="T9" fmla="*/ 90 h 523"/>
              <a:gd name="T10" fmla="*/ 514 w 586"/>
              <a:gd name="T11" fmla="*/ 85 h 523"/>
              <a:gd name="T12" fmla="*/ 514 w 586"/>
              <a:gd name="T13" fmla="*/ 85 h 523"/>
              <a:gd name="T14" fmla="*/ 512 w 586"/>
              <a:gd name="T15" fmla="*/ 79 h 523"/>
              <a:gd name="T16" fmla="*/ 510 w 586"/>
              <a:gd name="T17" fmla="*/ 69 h 523"/>
              <a:gd name="T18" fmla="*/ 506 w 586"/>
              <a:gd name="T19" fmla="*/ 40 h 523"/>
              <a:gd name="T20" fmla="*/ 503 w 586"/>
              <a:gd name="T21" fmla="*/ 0 h 523"/>
              <a:gd name="T22" fmla="*/ 381 w 586"/>
              <a:gd name="T23" fmla="*/ 98 h 523"/>
              <a:gd name="T24" fmla="*/ 8 w 586"/>
              <a:gd name="T25" fmla="*/ 97 h 523"/>
              <a:gd name="T26" fmla="*/ 8 w 586"/>
              <a:gd name="T27" fmla="*/ 97 h 523"/>
              <a:gd name="T28" fmla="*/ 8 w 586"/>
              <a:gd name="T29" fmla="*/ 98 h 523"/>
              <a:gd name="T30" fmla="*/ 7 w 586"/>
              <a:gd name="T31" fmla="*/ 100 h 523"/>
              <a:gd name="T32" fmla="*/ 5 w 586"/>
              <a:gd name="T33" fmla="*/ 108 h 523"/>
              <a:gd name="T34" fmla="*/ 3 w 586"/>
              <a:gd name="T35" fmla="*/ 139 h 523"/>
              <a:gd name="T36" fmla="*/ 2 w 586"/>
              <a:gd name="T37" fmla="*/ 183 h 523"/>
              <a:gd name="T38" fmla="*/ 1 w 586"/>
              <a:gd name="T39" fmla="*/ 233 h 523"/>
              <a:gd name="T40" fmla="*/ 0 w 586"/>
              <a:gd name="T41" fmla="*/ 327 h 523"/>
              <a:gd name="T42" fmla="*/ 0 w 586"/>
              <a:gd name="T43" fmla="*/ 369 h 523"/>
              <a:gd name="T44" fmla="*/ 0 w 586"/>
              <a:gd name="T45" fmla="*/ 369 h 523"/>
              <a:gd name="T46" fmla="*/ 29 w 586"/>
              <a:gd name="T47" fmla="*/ 395 h 523"/>
              <a:gd name="T48" fmla="*/ 95 w 586"/>
              <a:gd name="T49" fmla="*/ 448 h 523"/>
              <a:gd name="T50" fmla="*/ 131 w 586"/>
              <a:gd name="T51" fmla="*/ 477 h 523"/>
              <a:gd name="T52" fmla="*/ 162 w 586"/>
              <a:gd name="T53" fmla="*/ 501 h 523"/>
              <a:gd name="T54" fmla="*/ 186 w 586"/>
              <a:gd name="T55" fmla="*/ 517 h 523"/>
              <a:gd name="T56" fmla="*/ 193 w 586"/>
              <a:gd name="T57" fmla="*/ 522 h 523"/>
              <a:gd name="T58" fmla="*/ 195 w 586"/>
              <a:gd name="T59" fmla="*/ 523 h 523"/>
              <a:gd name="T60" fmla="*/ 197 w 586"/>
              <a:gd name="T61" fmla="*/ 523 h 523"/>
              <a:gd name="T62" fmla="*/ 448 w 586"/>
              <a:gd name="T63" fmla="*/ 206 h 523"/>
              <a:gd name="T64" fmla="*/ 586 w 586"/>
              <a:gd name="T65" fmla="*/ 139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86" h="523">
                <a:moveTo>
                  <a:pt x="586" y="139"/>
                </a:moveTo>
                <a:lnTo>
                  <a:pt x="586" y="139"/>
                </a:lnTo>
                <a:lnTo>
                  <a:pt x="552" y="115"/>
                </a:lnTo>
                <a:lnTo>
                  <a:pt x="527" y="97"/>
                </a:lnTo>
                <a:lnTo>
                  <a:pt x="519" y="90"/>
                </a:lnTo>
                <a:lnTo>
                  <a:pt x="514" y="85"/>
                </a:lnTo>
                <a:lnTo>
                  <a:pt x="514" y="85"/>
                </a:lnTo>
                <a:lnTo>
                  <a:pt x="512" y="79"/>
                </a:lnTo>
                <a:lnTo>
                  <a:pt x="510" y="69"/>
                </a:lnTo>
                <a:lnTo>
                  <a:pt x="506" y="40"/>
                </a:lnTo>
                <a:lnTo>
                  <a:pt x="503" y="0"/>
                </a:lnTo>
                <a:lnTo>
                  <a:pt x="381" y="98"/>
                </a:lnTo>
                <a:lnTo>
                  <a:pt x="8" y="97"/>
                </a:lnTo>
                <a:lnTo>
                  <a:pt x="8" y="97"/>
                </a:lnTo>
                <a:lnTo>
                  <a:pt x="8" y="98"/>
                </a:lnTo>
                <a:lnTo>
                  <a:pt x="7" y="100"/>
                </a:lnTo>
                <a:lnTo>
                  <a:pt x="5" y="108"/>
                </a:lnTo>
                <a:lnTo>
                  <a:pt x="3" y="139"/>
                </a:lnTo>
                <a:lnTo>
                  <a:pt x="2" y="183"/>
                </a:lnTo>
                <a:lnTo>
                  <a:pt x="1" y="233"/>
                </a:lnTo>
                <a:lnTo>
                  <a:pt x="0" y="327"/>
                </a:lnTo>
                <a:lnTo>
                  <a:pt x="0" y="369"/>
                </a:lnTo>
                <a:lnTo>
                  <a:pt x="0" y="369"/>
                </a:lnTo>
                <a:lnTo>
                  <a:pt x="29" y="395"/>
                </a:lnTo>
                <a:lnTo>
                  <a:pt x="95" y="448"/>
                </a:lnTo>
                <a:lnTo>
                  <a:pt x="131" y="477"/>
                </a:lnTo>
                <a:lnTo>
                  <a:pt x="162" y="501"/>
                </a:lnTo>
                <a:lnTo>
                  <a:pt x="186" y="517"/>
                </a:lnTo>
                <a:lnTo>
                  <a:pt x="193" y="522"/>
                </a:lnTo>
                <a:lnTo>
                  <a:pt x="195" y="523"/>
                </a:lnTo>
                <a:lnTo>
                  <a:pt x="197" y="523"/>
                </a:lnTo>
                <a:lnTo>
                  <a:pt x="448" y="206"/>
                </a:lnTo>
                <a:lnTo>
                  <a:pt x="586" y="13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2" name="Freeform 39"/>
          <p:cNvSpPr>
            <a:spLocks/>
          </p:cNvSpPr>
          <p:nvPr userDrawn="1"/>
        </p:nvSpPr>
        <p:spPr bwMode="auto">
          <a:xfrm>
            <a:off x="7288212" y="1417340"/>
            <a:ext cx="115888" cy="66675"/>
          </a:xfrm>
          <a:custGeom>
            <a:avLst/>
            <a:gdLst>
              <a:gd name="T0" fmla="*/ 226 w 879"/>
              <a:gd name="T1" fmla="*/ 65 h 509"/>
              <a:gd name="T2" fmla="*/ 0 w 879"/>
              <a:gd name="T3" fmla="*/ 355 h 509"/>
              <a:gd name="T4" fmla="*/ 369 w 879"/>
              <a:gd name="T5" fmla="*/ 509 h 509"/>
              <a:gd name="T6" fmla="*/ 369 w 879"/>
              <a:gd name="T7" fmla="*/ 509 h 509"/>
              <a:gd name="T8" fmla="*/ 409 w 879"/>
              <a:gd name="T9" fmla="*/ 487 h 509"/>
              <a:gd name="T10" fmla="*/ 452 w 879"/>
              <a:gd name="T11" fmla="*/ 464 h 509"/>
              <a:gd name="T12" fmla="*/ 495 w 879"/>
              <a:gd name="T13" fmla="*/ 439 h 509"/>
              <a:gd name="T14" fmla="*/ 538 w 879"/>
              <a:gd name="T15" fmla="*/ 413 h 509"/>
              <a:gd name="T16" fmla="*/ 623 w 879"/>
              <a:gd name="T17" fmla="*/ 361 h 509"/>
              <a:gd name="T18" fmla="*/ 703 w 879"/>
              <a:gd name="T19" fmla="*/ 311 h 509"/>
              <a:gd name="T20" fmla="*/ 773 w 879"/>
              <a:gd name="T21" fmla="*/ 266 h 509"/>
              <a:gd name="T22" fmla="*/ 829 w 879"/>
              <a:gd name="T23" fmla="*/ 229 h 509"/>
              <a:gd name="T24" fmla="*/ 879 w 879"/>
              <a:gd name="T25" fmla="*/ 196 h 509"/>
              <a:gd name="T26" fmla="*/ 359 w 879"/>
              <a:gd name="T27" fmla="*/ 0 h 509"/>
              <a:gd name="T28" fmla="*/ 226 w 879"/>
              <a:gd name="T29" fmla="*/ 65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9" h="509">
                <a:moveTo>
                  <a:pt x="226" y="65"/>
                </a:moveTo>
                <a:lnTo>
                  <a:pt x="0" y="355"/>
                </a:lnTo>
                <a:lnTo>
                  <a:pt x="369" y="509"/>
                </a:lnTo>
                <a:lnTo>
                  <a:pt x="369" y="509"/>
                </a:lnTo>
                <a:lnTo>
                  <a:pt x="409" y="487"/>
                </a:lnTo>
                <a:lnTo>
                  <a:pt x="452" y="464"/>
                </a:lnTo>
                <a:lnTo>
                  <a:pt x="495" y="439"/>
                </a:lnTo>
                <a:lnTo>
                  <a:pt x="538" y="413"/>
                </a:lnTo>
                <a:lnTo>
                  <a:pt x="623" y="361"/>
                </a:lnTo>
                <a:lnTo>
                  <a:pt x="703" y="311"/>
                </a:lnTo>
                <a:lnTo>
                  <a:pt x="773" y="266"/>
                </a:lnTo>
                <a:lnTo>
                  <a:pt x="829" y="229"/>
                </a:lnTo>
                <a:lnTo>
                  <a:pt x="879" y="196"/>
                </a:lnTo>
                <a:lnTo>
                  <a:pt x="359" y="0"/>
                </a:lnTo>
                <a:lnTo>
                  <a:pt x="226" y="6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3" name="Freeform 40"/>
          <p:cNvSpPr>
            <a:spLocks/>
          </p:cNvSpPr>
          <p:nvPr userDrawn="1"/>
        </p:nvSpPr>
        <p:spPr bwMode="auto">
          <a:xfrm>
            <a:off x="7323137" y="1172865"/>
            <a:ext cx="26988" cy="123825"/>
          </a:xfrm>
          <a:custGeom>
            <a:avLst/>
            <a:gdLst>
              <a:gd name="T0" fmla="*/ 170 w 211"/>
              <a:gd name="T1" fmla="*/ 388 h 928"/>
              <a:gd name="T2" fmla="*/ 169 w 211"/>
              <a:gd name="T3" fmla="*/ 133 h 928"/>
              <a:gd name="T4" fmla="*/ 171 w 211"/>
              <a:gd name="T5" fmla="*/ 84 h 928"/>
              <a:gd name="T6" fmla="*/ 172 w 211"/>
              <a:gd name="T7" fmla="*/ 79 h 928"/>
              <a:gd name="T8" fmla="*/ 182 w 211"/>
              <a:gd name="T9" fmla="*/ 64 h 928"/>
              <a:gd name="T10" fmla="*/ 188 w 211"/>
              <a:gd name="T11" fmla="*/ 53 h 928"/>
              <a:gd name="T12" fmla="*/ 192 w 211"/>
              <a:gd name="T13" fmla="*/ 36 h 928"/>
              <a:gd name="T14" fmla="*/ 191 w 211"/>
              <a:gd name="T15" fmla="*/ 18 h 928"/>
              <a:gd name="T16" fmla="*/ 188 w 211"/>
              <a:gd name="T17" fmla="*/ 0 h 928"/>
              <a:gd name="T18" fmla="*/ 6 w 211"/>
              <a:gd name="T19" fmla="*/ 0 h 928"/>
              <a:gd name="T20" fmla="*/ 4 w 211"/>
              <a:gd name="T21" fmla="*/ 8 h 928"/>
              <a:gd name="T22" fmla="*/ 5 w 211"/>
              <a:gd name="T23" fmla="*/ 33 h 928"/>
              <a:gd name="T24" fmla="*/ 7 w 211"/>
              <a:gd name="T25" fmla="*/ 43 h 928"/>
              <a:gd name="T26" fmla="*/ 17 w 211"/>
              <a:gd name="T27" fmla="*/ 65 h 928"/>
              <a:gd name="T28" fmla="*/ 28 w 211"/>
              <a:gd name="T29" fmla="*/ 80 h 928"/>
              <a:gd name="T30" fmla="*/ 33 w 211"/>
              <a:gd name="T31" fmla="*/ 388 h 928"/>
              <a:gd name="T32" fmla="*/ 29 w 211"/>
              <a:gd name="T33" fmla="*/ 395 h 928"/>
              <a:gd name="T34" fmla="*/ 19 w 211"/>
              <a:gd name="T35" fmla="*/ 412 h 928"/>
              <a:gd name="T36" fmla="*/ 9 w 211"/>
              <a:gd name="T37" fmla="*/ 443 h 928"/>
              <a:gd name="T38" fmla="*/ 0 w 211"/>
              <a:gd name="T39" fmla="*/ 487 h 928"/>
              <a:gd name="T40" fmla="*/ 0 w 211"/>
              <a:gd name="T41" fmla="*/ 498 h 928"/>
              <a:gd name="T42" fmla="*/ 1 w 211"/>
              <a:gd name="T43" fmla="*/ 518 h 928"/>
              <a:gd name="T44" fmla="*/ 10 w 211"/>
              <a:gd name="T45" fmla="*/ 546 h 928"/>
              <a:gd name="T46" fmla="*/ 23 w 211"/>
              <a:gd name="T47" fmla="*/ 576 h 928"/>
              <a:gd name="T48" fmla="*/ 35 w 211"/>
              <a:gd name="T49" fmla="*/ 594 h 928"/>
              <a:gd name="T50" fmla="*/ 31 w 211"/>
              <a:gd name="T51" fmla="*/ 850 h 928"/>
              <a:gd name="T52" fmla="*/ 23 w 211"/>
              <a:gd name="T53" fmla="*/ 859 h 928"/>
              <a:gd name="T54" fmla="*/ 18 w 211"/>
              <a:gd name="T55" fmla="*/ 871 h 928"/>
              <a:gd name="T56" fmla="*/ 14 w 211"/>
              <a:gd name="T57" fmla="*/ 888 h 928"/>
              <a:gd name="T58" fmla="*/ 14 w 211"/>
              <a:gd name="T59" fmla="*/ 898 h 928"/>
              <a:gd name="T60" fmla="*/ 15 w 211"/>
              <a:gd name="T61" fmla="*/ 919 h 928"/>
              <a:gd name="T62" fmla="*/ 18 w 211"/>
              <a:gd name="T63" fmla="*/ 928 h 928"/>
              <a:gd name="T64" fmla="*/ 188 w 211"/>
              <a:gd name="T65" fmla="*/ 928 h 928"/>
              <a:gd name="T66" fmla="*/ 191 w 211"/>
              <a:gd name="T67" fmla="*/ 906 h 928"/>
              <a:gd name="T68" fmla="*/ 190 w 211"/>
              <a:gd name="T69" fmla="*/ 881 h 928"/>
              <a:gd name="T70" fmla="*/ 188 w 211"/>
              <a:gd name="T71" fmla="*/ 873 h 928"/>
              <a:gd name="T72" fmla="*/ 179 w 211"/>
              <a:gd name="T73" fmla="*/ 857 h 928"/>
              <a:gd name="T74" fmla="*/ 169 w 211"/>
              <a:gd name="T75" fmla="*/ 846 h 928"/>
              <a:gd name="T76" fmla="*/ 168 w 211"/>
              <a:gd name="T77" fmla="*/ 594 h 928"/>
              <a:gd name="T78" fmla="*/ 190 w 211"/>
              <a:gd name="T79" fmla="*/ 561 h 928"/>
              <a:gd name="T80" fmla="*/ 202 w 211"/>
              <a:gd name="T81" fmla="*/ 537 h 928"/>
              <a:gd name="T82" fmla="*/ 210 w 211"/>
              <a:gd name="T83" fmla="*/ 507 h 928"/>
              <a:gd name="T84" fmla="*/ 211 w 211"/>
              <a:gd name="T85" fmla="*/ 491 h 928"/>
              <a:gd name="T86" fmla="*/ 211 w 211"/>
              <a:gd name="T87" fmla="*/ 482 h 928"/>
              <a:gd name="T88" fmla="*/ 206 w 211"/>
              <a:gd name="T89" fmla="*/ 458 h 928"/>
              <a:gd name="T90" fmla="*/ 195 w 211"/>
              <a:gd name="T91" fmla="*/ 428 h 928"/>
              <a:gd name="T92" fmla="*/ 181 w 211"/>
              <a:gd name="T93" fmla="*/ 405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1" h="928">
                <a:moveTo>
                  <a:pt x="170" y="388"/>
                </a:moveTo>
                <a:lnTo>
                  <a:pt x="170" y="388"/>
                </a:lnTo>
                <a:lnTo>
                  <a:pt x="169" y="238"/>
                </a:lnTo>
                <a:lnTo>
                  <a:pt x="169" y="133"/>
                </a:lnTo>
                <a:lnTo>
                  <a:pt x="170" y="96"/>
                </a:lnTo>
                <a:lnTo>
                  <a:pt x="171" y="84"/>
                </a:lnTo>
                <a:lnTo>
                  <a:pt x="172" y="79"/>
                </a:lnTo>
                <a:lnTo>
                  <a:pt x="172" y="79"/>
                </a:lnTo>
                <a:lnTo>
                  <a:pt x="177" y="71"/>
                </a:lnTo>
                <a:lnTo>
                  <a:pt x="182" y="64"/>
                </a:lnTo>
                <a:lnTo>
                  <a:pt x="188" y="53"/>
                </a:lnTo>
                <a:lnTo>
                  <a:pt x="188" y="53"/>
                </a:lnTo>
                <a:lnTo>
                  <a:pt x="191" y="45"/>
                </a:lnTo>
                <a:lnTo>
                  <a:pt x="192" y="36"/>
                </a:lnTo>
                <a:lnTo>
                  <a:pt x="192" y="28"/>
                </a:lnTo>
                <a:lnTo>
                  <a:pt x="191" y="18"/>
                </a:lnTo>
                <a:lnTo>
                  <a:pt x="189" y="5"/>
                </a:lnTo>
                <a:lnTo>
                  <a:pt x="188" y="0"/>
                </a:lnTo>
                <a:lnTo>
                  <a:pt x="6" y="0"/>
                </a:lnTo>
                <a:lnTo>
                  <a:pt x="6" y="0"/>
                </a:lnTo>
                <a:lnTo>
                  <a:pt x="5" y="4"/>
                </a:lnTo>
                <a:lnTo>
                  <a:pt x="4" y="8"/>
                </a:lnTo>
                <a:lnTo>
                  <a:pt x="4" y="20"/>
                </a:lnTo>
                <a:lnTo>
                  <a:pt x="5" y="33"/>
                </a:lnTo>
                <a:lnTo>
                  <a:pt x="7" y="43"/>
                </a:lnTo>
                <a:lnTo>
                  <a:pt x="7" y="43"/>
                </a:lnTo>
                <a:lnTo>
                  <a:pt x="11" y="54"/>
                </a:lnTo>
                <a:lnTo>
                  <a:pt x="17" y="65"/>
                </a:lnTo>
                <a:lnTo>
                  <a:pt x="24" y="76"/>
                </a:lnTo>
                <a:lnTo>
                  <a:pt x="28" y="80"/>
                </a:lnTo>
                <a:lnTo>
                  <a:pt x="33" y="83"/>
                </a:lnTo>
                <a:lnTo>
                  <a:pt x="33" y="388"/>
                </a:lnTo>
                <a:lnTo>
                  <a:pt x="33" y="388"/>
                </a:lnTo>
                <a:lnTo>
                  <a:pt x="29" y="395"/>
                </a:lnTo>
                <a:lnTo>
                  <a:pt x="24" y="402"/>
                </a:lnTo>
                <a:lnTo>
                  <a:pt x="19" y="412"/>
                </a:lnTo>
                <a:lnTo>
                  <a:pt x="14" y="426"/>
                </a:lnTo>
                <a:lnTo>
                  <a:pt x="9" y="443"/>
                </a:lnTo>
                <a:lnTo>
                  <a:pt x="4" y="463"/>
                </a:lnTo>
                <a:lnTo>
                  <a:pt x="0" y="487"/>
                </a:lnTo>
                <a:lnTo>
                  <a:pt x="0" y="487"/>
                </a:lnTo>
                <a:lnTo>
                  <a:pt x="0" y="498"/>
                </a:lnTo>
                <a:lnTo>
                  <a:pt x="0" y="508"/>
                </a:lnTo>
                <a:lnTo>
                  <a:pt x="1" y="518"/>
                </a:lnTo>
                <a:lnTo>
                  <a:pt x="4" y="529"/>
                </a:lnTo>
                <a:lnTo>
                  <a:pt x="10" y="546"/>
                </a:lnTo>
                <a:lnTo>
                  <a:pt x="16" y="562"/>
                </a:lnTo>
                <a:lnTo>
                  <a:pt x="23" y="576"/>
                </a:lnTo>
                <a:lnTo>
                  <a:pt x="29" y="585"/>
                </a:lnTo>
                <a:lnTo>
                  <a:pt x="35" y="594"/>
                </a:lnTo>
                <a:lnTo>
                  <a:pt x="31" y="850"/>
                </a:lnTo>
                <a:lnTo>
                  <a:pt x="31" y="850"/>
                </a:lnTo>
                <a:lnTo>
                  <a:pt x="29" y="852"/>
                </a:lnTo>
                <a:lnTo>
                  <a:pt x="23" y="859"/>
                </a:lnTo>
                <a:lnTo>
                  <a:pt x="20" y="864"/>
                </a:lnTo>
                <a:lnTo>
                  <a:pt x="18" y="871"/>
                </a:lnTo>
                <a:lnTo>
                  <a:pt x="15" y="879"/>
                </a:lnTo>
                <a:lnTo>
                  <a:pt x="14" y="888"/>
                </a:lnTo>
                <a:lnTo>
                  <a:pt x="14" y="888"/>
                </a:lnTo>
                <a:lnTo>
                  <a:pt x="14" y="898"/>
                </a:lnTo>
                <a:lnTo>
                  <a:pt x="14" y="906"/>
                </a:lnTo>
                <a:lnTo>
                  <a:pt x="15" y="919"/>
                </a:lnTo>
                <a:lnTo>
                  <a:pt x="17" y="926"/>
                </a:lnTo>
                <a:lnTo>
                  <a:pt x="18" y="928"/>
                </a:lnTo>
                <a:lnTo>
                  <a:pt x="188" y="928"/>
                </a:lnTo>
                <a:lnTo>
                  <a:pt x="188" y="928"/>
                </a:lnTo>
                <a:lnTo>
                  <a:pt x="190" y="920"/>
                </a:lnTo>
                <a:lnTo>
                  <a:pt x="191" y="906"/>
                </a:lnTo>
                <a:lnTo>
                  <a:pt x="190" y="889"/>
                </a:lnTo>
                <a:lnTo>
                  <a:pt x="190" y="881"/>
                </a:lnTo>
                <a:lnTo>
                  <a:pt x="188" y="873"/>
                </a:lnTo>
                <a:lnTo>
                  <a:pt x="188" y="873"/>
                </a:lnTo>
                <a:lnTo>
                  <a:pt x="185" y="864"/>
                </a:lnTo>
                <a:lnTo>
                  <a:pt x="179" y="857"/>
                </a:lnTo>
                <a:lnTo>
                  <a:pt x="174" y="851"/>
                </a:lnTo>
                <a:lnTo>
                  <a:pt x="169" y="846"/>
                </a:lnTo>
                <a:lnTo>
                  <a:pt x="168" y="594"/>
                </a:lnTo>
                <a:lnTo>
                  <a:pt x="168" y="594"/>
                </a:lnTo>
                <a:lnTo>
                  <a:pt x="181" y="573"/>
                </a:lnTo>
                <a:lnTo>
                  <a:pt x="190" y="561"/>
                </a:lnTo>
                <a:lnTo>
                  <a:pt x="196" y="550"/>
                </a:lnTo>
                <a:lnTo>
                  <a:pt x="202" y="537"/>
                </a:lnTo>
                <a:lnTo>
                  <a:pt x="207" y="522"/>
                </a:lnTo>
                <a:lnTo>
                  <a:pt x="210" y="507"/>
                </a:lnTo>
                <a:lnTo>
                  <a:pt x="211" y="499"/>
                </a:lnTo>
                <a:lnTo>
                  <a:pt x="211" y="491"/>
                </a:lnTo>
                <a:lnTo>
                  <a:pt x="211" y="491"/>
                </a:lnTo>
                <a:lnTo>
                  <a:pt x="211" y="482"/>
                </a:lnTo>
                <a:lnTo>
                  <a:pt x="210" y="473"/>
                </a:lnTo>
                <a:lnTo>
                  <a:pt x="206" y="458"/>
                </a:lnTo>
                <a:lnTo>
                  <a:pt x="201" y="443"/>
                </a:lnTo>
                <a:lnTo>
                  <a:pt x="195" y="428"/>
                </a:lnTo>
                <a:lnTo>
                  <a:pt x="189" y="416"/>
                </a:lnTo>
                <a:lnTo>
                  <a:pt x="181" y="405"/>
                </a:lnTo>
                <a:lnTo>
                  <a:pt x="170" y="3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4" name="Freeform 41"/>
          <p:cNvSpPr>
            <a:spLocks/>
          </p:cNvSpPr>
          <p:nvPr userDrawn="1"/>
        </p:nvSpPr>
        <p:spPr bwMode="auto">
          <a:xfrm>
            <a:off x="7351712" y="1209378"/>
            <a:ext cx="80963" cy="58738"/>
          </a:xfrm>
          <a:custGeom>
            <a:avLst/>
            <a:gdLst>
              <a:gd name="T0" fmla="*/ 617 w 617"/>
              <a:gd name="T1" fmla="*/ 73 h 442"/>
              <a:gd name="T2" fmla="*/ 433 w 617"/>
              <a:gd name="T3" fmla="*/ 70 h 442"/>
              <a:gd name="T4" fmla="*/ 202 w 617"/>
              <a:gd name="T5" fmla="*/ 68 h 442"/>
              <a:gd name="T6" fmla="*/ 195 w 617"/>
              <a:gd name="T7" fmla="*/ 67 h 442"/>
              <a:gd name="T8" fmla="*/ 174 w 617"/>
              <a:gd name="T9" fmla="*/ 61 h 442"/>
              <a:gd name="T10" fmla="*/ 137 w 617"/>
              <a:gd name="T11" fmla="*/ 44 h 442"/>
              <a:gd name="T12" fmla="*/ 84 w 617"/>
              <a:gd name="T13" fmla="*/ 16 h 442"/>
              <a:gd name="T14" fmla="*/ 53 w 617"/>
              <a:gd name="T15" fmla="*/ 2 h 442"/>
              <a:gd name="T16" fmla="*/ 40 w 617"/>
              <a:gd name="T17" fmla="*/ 0 h 442"/>
              <a:gd name="T18" fmla="*/ 37 w 617"/>
              <a:gd name="T19" fmla="*/ 2 h 442"/>
              <a:gd name="T20" fmla="*/ 22 w 617"/>
              <a:gd name="T21" fmla="*/ 38 h 442"/>
              <a:gd name="T22" fmla="*/ 1 w 617"/>
              <a:gd name="T23" fmla="*/ 91 h 442"/>
              <a:gd name="T24" fmla="*/ 19 w 617"/>
              <a:gd name="T25" fmla="*/ 113 h 442"/>
              <a:gd name="T26" fmla="*/ 38 w 617"/>
              <a:gd name="T27" fmla="*/ 147 h 442"/>
              <a:gd name="T28" fmla="*/ 47 w 617"/>
              <a:gd name="T29" fmla="*/ 169 h 442"/>
              <a:gd name="T30" fmla="*/ 52 w 617"/>
              <a:gd name="T31" fmla="*/ 191 h 442"/>
              <a:gd name="T32" fmla="*/ 55 w 617"/>
              <a:gd name="T33" fmla="*/ 216 h 442"/>
              <a:gd name="T34" fmla="*/ 53 w 617"/>
              <a:gd name="T35" fmla="*/ 235 h 442"/>
              <a:gd name="T36" fmla="*/ 48 w 617"/>
              <a:gd name="T37" fmla="*/ 265 h 442"/>
              <a:gd name="T38" fmla="*/ 42 w 617"/>
              <a:gd name="T39" fmla="*/ 283 h 442"/>
              <a:gd name="T40" fmla="*/ 32 w 617"/>
              <a:gd name="T41" fmla="*/ 304 h 442"/>
              <a:gd name="T42" fmla="*/ 19 w 617"/>
              <a:gd name="T43" fmla="*/ 324 h 442"/>
              <a:gd name="T44" fmla="*/ 0 w 617"/>
              <a:gd name="T45" fmla="*/ 345 h 442"/>
              <a:gd name="T46" fmla="*/ 23 w 617"/>
              <a:gd name="T47" fmla="*/ 391 h 442"/>
              <a:gd name="T48" fmla="*/ 47 w 617"/>
              <a:gd name="T49" fmla="*/ 435 h 442"/>
              <a:gd name="T50" fmla="*/ 52 w 617"/>
              <a:gd name="T51" fmla="*/ 442 h 442"/>
              <a:gd name="T52" fmla="*/ 84 w 617"/>
              <a:gd name="T53" fmla="*/ 423 h 442"/>
              <a:gd name="T54" fmla="*/ 129 w 617"/>
              <a:gd name="T55" fmla="*/ 400 h 442"/>
              <a:gd name="T56" fmla="*/ 183 w 617"/>
              <a:gd name="T57" fmla="*/ 378 h 442"/>
              <a:gd name="T58" fmla="*/ 211 w 617"/>
              <a:gd name="T59" fmla="*/ 371 h 442"/>
              <a:gd name="T60" fmla="*/ 224 w 617"/>
              <a:gd name="T61" fmla="*/ 369 h 442"/>
              <a:gd name="T62" fmla="*/ 330 w 617"/>
              <a:gd name="T63" fmla="*/ 363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17" h="442">
                <a:moveTo>
                  <a:pt x="330" y="363"/>
                </a:moveTo>
                <a:lnTo>
                  <a:pt x="617" y="73"/>
                </a:lnTo>
                <a:lnTo>
                  <a:pt x="617" y="73"/>
                </a:lnTo>
                <a:lnTo>
                  <a:pt x="433" y="70"/>
                </a:lnTo>
                <a:lnTo>
                  <a:pt x="324" y="69"/>
                </a:lnTo>
                <a:lnTo>
                  <a:pt x="202" y="68"/>
                </a:lnTo>
                <a:lnTo>
                  <a:pt x="202" y="68"/>
                </a:lnTo>
                <a:lnTo>
                  <a:pt x="195" y="67"/>
                </a:lnTo>
                <a:lnTo>
                  <a:pt x="185" y="65"/>
                </a:lnTo>
                <a:lnTo>
                  <a:pt x="174" y="61"/>
                </a:lnTo>
                <a:lnTo>
                  <a:pt x="163" y="56"/>
                </a:lnTo>
                <a:lnTo>
                  <a:pt x="137" y="44"/>
                </a:lnTo>
                <a:lnTo>
                  <a:pt x="110" y="30"/>
                </a:lnTo>
                <a:lnTo>
                  <a:pt x="84" y="16"/>
                </a:lnTo>
                <a:lnTo>
                  <a:pt x="63" y="6"/>
                </a:lnTo>
                <a:lnTo>
                  <a:pt x="53" y="2"/>
                </a:lnTo>
                <a:lnTo>
                  <a:pt x="45" y="1"/>
                </a:lnTo>
                <a:lnTo>
                  <a:pt x="40" y="0"/>
                </a:lnTo>
                <a:lnTo>
                  <a:pt x="38" y="1"/>
                </a:lnTo>
                <a:lnTo>
                  <a:pt x="37" y="2"/>
                </a:lnTo>
                <a:lnTo>
                  <a:pt x="37" y="2"/>
                </a:lnTo>
                <a:lnTo>
                  <a:pt x="22" y="38"/>
                </a:lnTo>
                <a:lnTo>
                  <a:pt x="1" y="91"/>
                </a:lnTo>
                <a:lnTo>
                  <a:pt x="1" y="91"/>
                </a:lnTo>
                <a:lnTo>
                  <a:pt x="10" y="101"/>
                </a:lnTo>
                <a:lnTo>
                  <a:pt x="19" y="113"/>
                </a:lnTo>
                <a:lnTo>
                  <a:pt x="29" y="129"/>
                </a:lnTo>
                <a:lnTo>
                  <a:pt x="38" y="147"/>
                </a:lnTo>
                <a:lnTo>
                  <a:pt x="43" y="157"/>
                </a:lnTo>
                <a:lnTo>
                  <a:pt x="47" y="169"/>
                </a:lnTo>
                <a:lnTo>
                  <a:pt x="50" y="180"/>
                </a:lnTo>
                <a:lnTo>
                  <a:pt x="52" y="191"/>
                </a:lnTo>
                <a:lnTo>
                  <a:pt x="55" y="203"/>
                </a:lnTo>
                <a:lnTo>
                  <a:pt x="55" y="216"/>
                </a:lnTo>
                <a:lnTo>
                  <a:pt x="55" y="216"/>
                </a:lnTo>
                <a:lnTo>
                  <a:pt x="53" y="235"/>
                </a:lnTo>
                <a:lnTo>
                  <a:pt x="51" y="248"/>
                </a:lnTo>
                <a:lnTo>
                  <a:pt x="48" y="265"/>
                </a:lnTo>
                <a:lnTo>
                  <a:pt x="45" y="274"/>
                </a:lnTo>
                <a:lnTo>
                  <a:pt x="42" y="283"/>
                </a:lnTo>
                <a:lnTo>
                  <a:pt x="38" y="293"/>
                </a:lnTo>
                <a:lnTo>
                  <a:pt x="32" y="304"/>
                </a:lnTo>
                <a:lnTo>
                  <a:pt x="26" y="313"/>
                </a:lnTo>
                <a:lnTo>
                  <a:pt x="19" y="324"/>
                </a:lnTo>
                <a:lnTo>
                  <a:pt x="11" y="334"/>
                </a:lnTo>
                <a:lnTo>
                  <a:pt x="0" y="345"/>
                </a:lnTo>
                <a:lnTo>
                  <a:pt x="0" y="345"/>
                </a:lnTo>
                <a:lnTo>
                  <a:pt x="23" y="391"/>
                </a:lnTo>
                <a:lnTo>
                  <a:pt x="40" y="423"/>
                </a:lnTo>
                <a:lnTo>
                  <a:pt x="47" y="435"/>
                </a:lnTo>
                <a:lnTo>
                  <a:pt x="52" y="442"/>
                </a:lnTo>
                <a:lnTo>
                  <a:pt x="52" y="442"/>
                </a:lnTo>
                <a:lnTo>
                  <a:pt x="67" y="433"/>
                </a:lnTo>
                <a:lnTo>
                  <a:pt x="84" y="423"/>
                </a:lnTo>
                <a:lnTo>
                  <a:pt x="105" y="412"/>
                </a:lnTo>
                <a:lnTo>
                  <a:pt x="129" y="400"/>
                </a:lnTo>
                <a:lnTo>
                  <a:pt x="156" y="388"/>
                </a:lnTo>
                <a:lnTo>
                  <a:pt x="183" y="378"/>
                </a:lnTo>
                <a:lnTo>
                  <a:pt x="198" y="374"/>
                </a:lnTo>
                <a:lnTo>
                  <a:pt x="211" y="371"/>
                </a:lnTo>
                <a:lnTo>
                  <a:pt x="211" y="371"/>
                </a:lnTo>
                <a:lnTo>
                  <a:pt x="224" y="369"/>
                </a:lnTo>
                <a:lnTo>
                  <a:pt x="248" y="367"/>
                </a:lnTo>
                <a:lnTo>
                  <a:pt x="330" y="36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5" name="Freeform 42"/>
          <p:cNvSpPr>
            <a:spLocks/>
          </p:cNvSpPr>
          <p:nvPr userDrawn="1"/>
        </p:nvSpPr>
        <p:spPr bwMode="auto">
          <a:xfrm>
            <a:off x="7453312" y="1131590"/>
            <a:ext cx="158750" cy="127000"/>
          </a:xfrm>
          <a:custGeom>
            <a:avLst/>
            <a:gdLst>
              <a:gd name="T0" fmla="*/ 1179 w 1207"/>
              <a:gd name="T1" fmla="*/ 480 h 962"/>
              <a:gd name="T2" fmla="*/ 1115 w 1207"/>
              <a:gd name="T3" fmla="*/ 496 h 962"/>
              <a:gd name="T4" fmla="*/ 1079 w 1207"/>
              <a:gd name="T5" fmla="*/ 532 h 962"/>
              <a:gd name="T6" fmla="*/ 1057 w 1207"/>
              <a:gd name="T7" fmla="*/ 600 h 962"/>
              <a:gd name="T8" fmla="*/ 1046 w 1207"/>
              <a:gd name="T9" fmla="*/ 585 h 962"/>
              <a:gd name="T10" fmla="*/ 1007 w 1207"/>
              <a:gd name="T11" fmla="*/ 556 h 962"/>
              <a:gd name="T12" fmla="*/ 935 w 1207"/>
              <a:gd name="T13" fmla="*/ 562 h 962"/>
              <a:gd name="T14" fmla="*/ 930 w 1207"/>
              <a:gd name="T15" fmla="*/ 613 h 962"/>
              <a:gd name="T16" fmla="*/ 935 w 1207"/>
              <a:gd name="T17" fmla="*/ 696 h 962"/>
              <a:gd name="T18" fmla="*/ 890 w 1207"/>
              <a:gd name="T19" fmla="*/ 725 h 962"/>
              <a:gd name="T20" fmla="*/ 842 w 1207"/>
              <a:gd name="T21" fmla="*/ 709 h 962"/>
              <a:gd name="T22" fmla="*/ 816 w 1207"/>
              <a:gd name="T23" fmla="*/ 658 h 962"/>
              <a:gd name="T24" fmla="*/ 805 w 1207"/>
              <a:gd name="T25" fmla="*/ 643 h 962"/>
              <a:gd name="T26" fmla="*/ 749 w 1207"/>
              <a:gd name="T27" fmla="*/ 659 h 962"/>
              <a:gd name="T28" fmla="*/ 701 w 1207"/>
              <a:gd name="T29" fmla="*/ 634 h 962"/>
              <a:gd name="T30" fmla="*/ 694 w 1207"/>
              <a:gd name="T31" fmla="*/ 581 h 962"/>
              <a:gd name="T32" fmla="*/ 754 w 1207"/>
              <a:gd name="T33" fmla="*/ 540 h 962"/>
              <a:gd name="T34" fmla="*/ 824 w 1207"/>
              <a:gd name="T35" fmla="*/ 520 h 962"/>
              <a:gd name="T36" fmla="*/ 805 w 1207"/>
              <a:gd name="T37" fmla="*/ 460 h 962"/>
              <a:gd name="T38" fmla="*/ 764 w 1207"/>
              <a:gd name="T39" fmla="*/ 421 h 962"/>
              <a:gd name="T40" fmla="*/ 698 w 1207"/>
              <a:gd name="T41" fmla="*/ 414 h 962"/>
              <a:gd name="T42" fmla="*/ 672 w 1207"/>
              <a:gd name="T43" fmla="*/ 415 h 962"/>
              <a:gd name="T44" fmla="*/ 712 w 1207"/>
              <a:gd name="T45" fmla="*/ 360 h 962"/>
              <a:gd name="T46" fmla="*/ 709 w 1207"/>
              <a:gd name="T47" fmla="*/ 285 h 962"/>
              <a:gd name="T48" fmla="*/ 668 w 1207"/>
              <a:gd name="T49" fmla="*/ 214 h 962"/>
              <a:gd name="T50" fmla="*/ 606 w 1207"/>
              <a:gd name="T51" fmla="*/ 224 h 962"/>
              <a:gd name="T52" fmla="*/ 535 w 1207"/>
              <a:gd name="T53" fmla="*/ 272 h 962"/>
              <a:gd name="T54" fmla="*/ 516 w 1207"/>
              <a:gd name="T55" fmla="*/ 334 h 962"/>
              <a:gd name="T56" fmla="*/ 508 w 1207"/>
              <a:gd name="T57" fmla="*/ 341 h 962"/>
              <a:gd name="T58" fmla="*/ 458 w 1207"/>
              <a:gd name="T59" fmla="*/ 287 h 962"/>
              <a:gd name="T60" fmla="*/ 404 w 1207"/>
              <a:gd name="T61" fmla="*/ 278 h 962"/>
              <a:gd name="T62" fmla="*/ 345 w 1207"/>
              <a:gd name="T63" fmla="*/ 300 h 962"/>
              <a:gd name="T64" fmla="*/ 362 w 1207"/>
              <a:gd name="T65" fmla="*/ 357 h 962"/>
              <a:gd name="T66" fmla="*/ 382 w 1207"/>
              <a:gd name="T67" fmla="*/ 432 h 962"/>
              <a:gd name="T68" fmla="*/ 347 w 1207"/>
              <a:gd name="T69" fmla="*/ 472 h 962"/>
              <a:gd name="T70" fmla="*/ 292 w 1207"/>
              <a:gd name="T71" fmla="*/ 462 h 962"/>
              <a:gd name="T72" fmla="*/ 262 w 1207"/>
              <a:gd name="T73" fmla="*/ 417 h 962"/>
              <a:gd name="T74" fmla="*/ 249 w 1207"/>
              <a:gd name="T75" fmla="*/ 398 h 962"/>
              <a:gd name="T76" fmla="*/ 194 w 1207"/>
              <a:gd name="T77" fmla="*/ 421 h 962"/>
              <a:gd name="T78" fmla="*/ 147 w 1207"/>
              <a:gd name="T79" fmla="*/ 404 h 962"/>
              <a:gd name="T80" fmla="*/ 128 w 1207"/>
              <a:gd name="T81" fmla="*/ 354 h 962"/>
              <a:gd name="T82" fmla="*/ 178 w 1207"/>
              <a:gd name="T83" fmla="*/ 300 h 962"/>
              <a:gd name="T84" fmla="*/ 233 w 1207"/>
              <a:gd name="T85" fmla="*/ 262 h 962"/>
              <a:gd name="T86" fmla="*/ 195 w 1207"/>
              <a:gd name="T87" fmla="*/ 203 h 962"/>
              <a:gd name="T88" fmla="*/ 145 w 1207"/>
              <a:gd name="T89" fmla="*/ 185 h 962"/>
              <a:gd name="T90" fmla="*/ 115 w 1207"/>
              <a:gd name="T91" fmla="*/ 191 h 962"/>
              <a:gd name="T92" fmla="*/ 153 w 1207"/>
              <a:gd name="T93" fmla="*/ 136 h 962"/>
              <a:gd name="T94" fmla="*/ 157 w 1207"/>
              <a:gd name="T95" fmla="*/ 76 h 962"/>
              <a:gd name="T96" fmla="*/ 134 w 1207"/>
              <a:gd name="T97" fmla="*/ 28 h 962"/>
              <a:gd name="T98" fmla="*/ 269 w 1207"/>
              <a:gd name="T99" fmla="*/ 712 h 962"/>
              <a:gd name="T100" fmla="*/ 354 w 1207"/>
              <a:gd name="T101" fmla="*/ 656 h 962"/>
              <a:gd name="T102" fmla="*/ 437 w 1207"/>
              <a:gd name="T103" fmla="*/ 636 h 962"/>
              <a:gd name="T104" fmla="*/ 517 w 1207"/>
              <a:gd name="T105" fmla="*/ 643 h 962"/>
              <a:gd name="T106" fmla="*/ 610 w 1207"/>
              <a:gd name="T107" fmla="*/ 683 h 962"/>
              <a:gd name="T108" fmla="*/ 658 w 1207"/>
              <a:gd name="T109" fmla="*/ 735 h 962"/>
              <a:gd name="T110" fmla="*/ 673 w 1207"/>
              <a:gd name="T111" fmla="*/ 793 h 962"/>
              <a:gd name="T112" fmla="*/ 646 w 1207"/>
              <a:gd name="T113" fmla="*/ 877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07" h="962">
                <a:moveTo>
                  <a:pt x="841" y="962"/>
                </a:moveTo>
                <a:lnTo>
                  <a:pt x="1207" y="484"/>
                </a:lnTo>
                <a:lnTo>
                  <a:pt x="1207" y="484"/>
                </a:lnTo>
                <a:lnTo>
                  <a:pt x="1200" y="482"/>
                </a:lnTo>
                <a:lnTo>
                  <a:pt x="1190" y="481"/>
                </a:lnTo>
                <a:lnTo>
                  <a:pt x="1179" y="480"/>
                </a:lnTo>
                <a:lnTo>
                  <a:pt x="1166" y="480"/>
                </a:lnTo>
                <a:lnTo>
                  <a:pt x="1149" y="483"/>
                </a:lnTo>
                <a:lnTo>
                  <a:pt x="1141" y="485"/>
                </a:lnTo>
                <a:lnTo>
                  <a:pt x="1133" y="488"/>
                </a:lnTo>
                <a:lnTo>
                  <a:pt x="1124" y="492"/>
                </a:lnTo>
                <a:lnTo>
                  <a:pt x="1115" y="496"/>
                </a:lnTo>
                <a:lnTo>
                  <a:pt x="1115" y="496"/>
                </a:lnTo>
                <a:lnTo>
                  <a:pt x="1106" y="502"/>
                </a:lnTo>
                <a:lnTo>
                  <a:pt x="1097" y="508"/>
                </a:lnTo>
                <a:lnTo>
                  <a:pt x="1090" y="515"/>
                </a:lnTo>
                <a:lnTo>
                  <a:pt x="1084" y="523"/>
                </a:lnTo>
                <a:lnTo>
                  <a:pt x="1079" y="532"/>
                </a:lnTo>
                <a:lnTo>
                  <a:pt x="1074" y="540"/>
                </a:lnTo>
                <a:lnTo>
                  <a:pt x="1070" y="548"/>
                </a:lnTo>
                <a:lnTo>
                  <a:pt x="1067" y="557"/>
                </a:lnTo>
                <a:lnTo>
                  <a:pt x="1062" y="574"/>
                </a:lnTo>
                <a:lnTo>
                  <a:pt x="1058" y="589"/>
                </a:lnTo>
                <a:lnTo>
                  <a:pt x="1057" y="600"/>
                </a:lnTo>
                <a:lnTo>
                  <a:pt x="1058" y="605"/>
                </a:lnTo>
                <a:lnTo>
                  <a:pt x="1059" y="608"/>
                </a:lnTo>
                <a:lnTo>
                  <a:pt x="1059" y="608"/>
                </a:lnTo>
                <a:lnTo>
                  <a:pt x="1055" y="599"/>
                </a:lnTo>
                <a:lnTo>
                  <a:pt x="1051" y="592"/>
                </a:lnTo>
                <a:lnTo>
                  <a:pt x="1046" y="585"/>
                </a:lnTo>
                <a:lnTo>
                  <a:pt x="1041" y="579"/>
                </a:lnTo>
                <a:lnTo>
                  <a:pt x="1036" y="574"/>
                </a:lnTo>
                <a:lnTo>
                  <a:pt x="1031" y="568"/>
                </a:lnTo>
                <a:lnTo>
                  <a:pt x="1025" y="564"/>
                </a:lnTo>
                <a:lnTo>
                  <a:pt x="1020" y="561"/>
                </a:lnTo>
                <a:lnTo>
                  <a:pt x="1007" y="556"/>
                </a:lnTo>
                <a:lnTo>
                  <a:pt x="994" y="554"/>
                </a:lnTo>
                <a:lnTo>
                  <a:pt x="982" y="553"/>
                </a:lnTo>
                <a:lnTo>
                  <a:pt x="970" y="554"/>
                </a:lnTo>
                <a:lnTo>
                  <a:pt x="957" y="556"/>
                </a:lnTo>
                <a:lnTo>
                  <a:pt x="946" y="558"/>
                </a:lnTo>
                <a:lnTo>
                  <a:pt x="935" y="562"/>
                </a:lnTo>
                <a:lnTo>
                  <a:pt x="927" y="565"/>
                </a:lnTo>
                <a:lnTo>
                  <a:pt x="913" y="572"/>
                </a:lnTo>
                <a:lnTo>
                  <a:pt x="908" y="574"/>
                </a:lnTo>
                <a:lnTo>
                  <a:pt x="908" y="574"/>
                </a:lnTo>
                <a:lnTo>
                  <a:pt x="920" y="594"/>
                </a:lnTo>
                <a:lnTo>
                  <a:pt x="930" y="613"/>
                </a:lnTo>
                <a:lnTo>
                  <a:pt x="936" y="632"/>
                </a:lnTo>
                <a:lnTo>
                  <a:pt x="940" y="647"/>
                </a:lnTo>
                <a:lnTo>
                  <a:pt x="941" y="663"/>
                </a:lnTo>
                <a:lnTo>
                  <a:pt x="941" y="675"/>
                </a:lnTo>
                <a:lnTo>
                  <a:pt x="939" y="687"/>
                </a:lnTo>
                <a:lnTo>
                  <a:pt x="935" y="696"/>
                </a:lnTo>
                <a:lnTo>
                  <a:pt x="930" y="705"/>
                </a:lnTo>
                <a:lnTo>
                  <a:pt x="924" y="712"/>
                </a:lnTo>
                <a:lnTo>
                  <a:pt x="915" y="718"/>
                </a:lnTo>
                <a:lnTo>
                  <a:pt x="907" y="722"/>
                </a:lnTo>
                <a:lnTo>
                  <a:pt x="899" y="724"/>
                </a:lnTo>
                <a:lnTo>
                  <a:pt x="890" y="725"/>
                </a:lnTo>
                <a:lnTo>
                  <a:pt x="881" y="725"/>
                </a:lnTo>
                <a:lnTo>
                  <a:pt x="871" y="724"/>
                </a:lnTo>
                <a:lnTo>
                  <a:pt x="871" y="724"/>
                </a:lnTo>
                <a:lnTo>
                  <a:pt x="859" y="720"/>
                </a:lnTo>
                <a:lnTo>
                  <a:pt x="850" y="715"/>
                </a:lnTo>
                <a:lnTo>
                  <a:pt x="842" y="709"/>
                </a:lnTo>
                <a:lnTo>
                  <a:pt x="835" y="702"/>
                </a:lnTo>
                <a:lnTo>
                  <a:pt x="829" y="695"/>
                </a:lnTo>
                <a:lnTo>
                  <a:pt x="825" y="688"/>
                </a:lnTo>
                <a:lnTo>
                  <a:pt x="821" y="680"/>
                </a:lnTo>
                <a:lnTo>
                  <a:pt x="819" y="673"/>
                </a:lnTo>
                <a:lnTo>
                  <a:pt x="816" y="658"/>
                </a:lnTo>
                <a:lnTo>
                  <a:pt x="816" y="646"/>
                </a:lnTo>
                <a:lnTo>
                  <a:pt x="816" y="638"/>
                </a:lnTo>
                <a:lnTo>
                  <a:pt x="816" y="635"/>
                </a:lnTo>
                <a:lnTo>
                  <a:pt x="816" y="635"/>
                </a:lnTo>
                <a:lnTo>
                  <a:pt x="813" y="637"/>
                </a:lnTo>
                <a:lnTo>
                  <a:pt x="805" y="643"/>
                </a:lnTo>
                <a:lnTo>
                  <a:pt x="793" y="650"/>
                </a:lnTo>
                <a:lnTo>
                  <a:pt x="785" y="653"/>
                </a:lnTo>
                <a:lnTo>
                  <a:pt x="777" y="656"/>
                </a:lnTo>
                <a:lnTo>
                  <a:pt x="768" y="658"/>
                </a:lnTo>
                <a:lnTo>
                  <a:pt x="759" y="659"/>
                </a:lnTo>
                <a:lnTo>
                  <a:pt x="749" y="659"/>
                </a:lnTo>
                <a:lnTo>
                  <a:pt x="739" y="658"/>
                </a:lnTo>
                <a:lnTo>
                  <a:pt x="729" y="655"/>
                </a:lnTo>
                <a:lnTo>
                  <a:pt x="720" y="650"/>
                </a:lnTo>
                <a:lnTo>
                  <a:pt x="710" y="643"/>
                </a:lnTo>
                <a:lnTo>
                  <a:pt x="701" y="634"/>
                </a:lnTo>
                <a:lnTo>
                  <a:pt x="701" y="634"/>
                </a:lnTo>
                <a:lnTo>
                  <a:pt x="694" y="625"/>
                </a:lnTo>
                <a:lnTo>
                  <a:pt x="690" y="616"/>
                </a:lnTo>
                <a:lnTo>
                  <a:pt x="688" y="607"/>
                </a:lnTo>
                <a:lnTo>
                  <a:pt x="689" y="598"/>
                </a:lnTo>
                <a:lnTo>
                  <a:pt x="690" y="589"/>
                </a:lnTo>
                <a:lnTo>
                  <a:pt x="694" y="581"/>
                </a:lnTo>
                <a:lnTo>
                  <a:pt x="701" y="572"/>
                </a:lnTo>
                <a:lnTo>
                  <a:pt x="708" y="564"/>
                </a:lnTo>
                <a:lnTo>
                  <a:pt x="717" y="557"/>
                </a:lnTo>
                <a:lnTo>
                  <a:pt x="727" y="550"/>
                </a:lnTo>
                <a:lnTo>
                  <a:pt x="740" y="544"/>
                </a:lnTo>
                <a:lnTo>
                  <a:pt x="754" y="540"/>
                </a:lnTo>
                <a:lnTo>
                  <a:pt x="769" y="536"/>
                </a:lnTo>
                <a:lnTo>
                  <a:pt x="786" y="533"/>
                </a:lnTo>
                <a:lnTo>
                  <a:pt x="804" y="532"/>
                </a:lnTo>
                <a:lnTo>
                  <a:pt x="823" y="531"/>
                </a:lnTo>
                <a:lnTo>
                  <a:pt x="823" y="531"/>
                </a:lnTo>
                <a:lnTo>
                  <a:pt x="824" y="520"/>
                </a:lnTo>
                <a:lnTo>
                  <a:pt x="823" y="509"/>
                </a:lnTo>
                <a:lnTo>
                  <a:pt x="820" y="494"/>
                </a:lnTo>
                <a:lnTo>
                  <a:pt x="817" y="486"/>
                </a:lnTo>
                <a:lnTo>
                  <a:pt x="814" y="477"/>
                </a:lnTo>
                <a:lnTo>
                  <a:pt x="810" y="469"/>
                </a:lnTo>
                <a:lnTo>
                  <a:pt x="805" y="460"/>
                </a:lnTo>
                <a:lnTo>
                  <a:pt x="799" y="451"/>
                </a:lnTo>
                <a:lnTo>
                  <a:pt x="792" y="443"/>
                </a:lnTo>
                <a:lnTo>
                  <a:pt x="782" y="435"/>
                </a:lnTo>
                <a:lnTo>
                  <a:pt x="772" y="426"/>
                </a:lnTo>
                <a:lnTo>
                  <a:pt x="772" y="426"/>
                </a:lnTo>
                <a:lnTo>
                  <a:pt x="764" y="421"/>
                </a:lnTo>
                <a:lnTo>
                  <a:pt x="755" y="417"/>
                </a:lnTo>
                <a:lnTo>
                  <a:pt x="745" y="415"/>
                </a:lnTo>
                <a:lnTo>
                  <a:pt x="735" y="413"/>
                </a:lnTo>
                <a:lnTo>
                  <a:pt x="725" y="412"/>
                </a:lnTo>
                <a:lnTo>
                  <a:pt x="716" y="412"/>
                </a:lnTo>
                <a:lnTo>
                  <a:pt x="698" y="414"/>
                </a:lnTo>
                <a:lnTo>
                  <a:pt x="681" y="418"/>
                </a:lnTo>
                <a:lnTo>
                  <a:pt x="668" y="421"/>
                </a:lnTo>
                <a:lnTo>
                  <a:pt x="657" y="425"/>
                </a:lnTo>
                <a:lnTo>
                  <a:pt x="657" y="425"/>
                </a:lnTo>
                <a:lnTo>
                  <a:pt x="664" y="421"/>
                </a:lnTo>
                <a:lnTo>
                  <a:pt x="672" y="415"/>
                </a:lnTo>
                <a:lnTo>
                  <a:pt x="681" y="408"/>
                </a:lnTo>
                <a:lnTo>
                  <a:pt x="691" y="397"/>
                </a:lnTo>
                <a:lnTo>
                  <a:pt x="701" y="384"/>
                </a:lnTo>
                <a:lnTo>
                  <a:pt x="705" y="376"/>
                </a:lnTo>
                <a:lnTo>
                  <a:pt x="709" y="369"/>
                </a:lnTo>
                <a:lnTo>
                  <a:pt x="712" y="360"/>
                </a:lnTo>
                <a:lnTo>
                  <a:pt x="714" y="351"/>
                </a:lnTo>
                <a:lnTo>
                  <a:pt x="714" y="351"/>
                </a:lnTo>
                <a:lnTo>
                  <a:pt x="716" y="336"/>
                </a:lnTo>
                <a:lnTo>
                  <a:pt x="715" y="320"/>
                </a:lnTo>
                <a:lnTo>
                  <a:pt x="713" y="303"/>
                </a:lnTo>
                <a:lnTo>
                  <a:pt x="709" y="285"/>
                </a:lnTo>
                <a:lnTo>
                  <a:pt x="702" y="267"/>
                </a:lnTo>
                <a:lnTo>
                  <a:pt x="693" y="249"/>
                </a:lnTo>
                <a:lnTo>
                  <a:pt x="682" y="232"/>
                </a:lnTo>
                <a:lnTo>
                  <a:pt x="676" y="223"/>
                </a:lnTo>
                <a:lnTo>
                  <a:pt x="669" y="216"/>
                </a:lnTo>
                <a:lnTo>
                  <a:pt x="668" y="214"/>
                </a:lnTo>
                <a:lnTo>
                  <a:pt x="665" y="214"/>
                </a:lnTo>
                <a:lnTo>
                  <a:pt x="665" y="214"/>
                </a:lnTo>
                <a:lnTo>
                  <a:pt x="655" y="214"/>
                </a:lnTo>
                <a:lnTo>
                  <a:pt x="644" y="215"/>
                </a:lnTo>
                <a:lnTo>
                  <a:pt x="624" y="219"/>
                </a:lnTo>
                <a:lnTo>
                  <a:pt x="606" y="224"/>
                </a:lnTo>
                <a:lnTo>
                  <a:pt x="587" y="232"/>
                </a:lnTo>
                <a:lnTo>
                  <a:pt x="572" y="240"/>
                </a:lnTo>
                <a:lnTo>
                  <a:pt x="557" y="250"/>
                </a:lnTo>
                <a:lnTo>
                  <a:pt x="545" y="261"/>
                </a:lnTo>
                <a:lnTo>
                  <a:pt x="535" y="272"/>
                </a:lnTo>
                <a:lnTo>
                  <a:pt x="535" y="272"/>
                </a:lnTo>
                <a:lnTo>
                  <a:pt x="530" y="280"/>
                </a:lnTo>
                <a:lnTo>
                  <a:pt x="526" y="288"/>
                </a:lnTo>
                <a:lnTo>
                  <a:pt x="523" y="297"/>
                </a:lnTo>
                <a:lnTo>
                  <a:pt x="520" y="305"/>
                </a:lnTo>
                <a:lnTo>
                  <a:pt x="517" y="320"/>
                </a:lnTo>
                <a:lnTo>
                  <a:pt x="516" y="334"/>
                </a:lnTo>
                <a:lnTo>
                  <a:pt x="516" y="347"/>
                </a:lnTo>
                <a:lnTo>
                  <a:pt x="517" y="357"/>
                </a:lnTo>
                <a:lnTo>
                  <a:pt x="519" y="365"/>
                </a:lnTo>
                <a:lnTo>
                  <a:pt x="519" y="365"/>
                </a:lnTo>
                <a:lnTo>
                  <a:pt x="513" y="354"/>
                </a:lnTo>
                <a:lnTo>
                  <a:pt x="508" y="341"/>
                </a:lnTo>
                <a:lnTo>
                  <a:pt x="499" y="327"/>
                </a:lnTo>
                <a:lnTo>
                  <a:pt x="488" y="313"/>
                </a:lnTo>
                <a:lnTo>
                  <a:pt x="482" y="306"/>
                </a:lnTo>
                <a:lnTo>
                  <a:pt x="475" y="299"/>
                </a:lnTo>
                <a:lnTo>
                  <a:pt x="467" y="292"/>
                </a:lnTo>
                <a:lnTo>
                  <a:pt x="458" y="287"/>
                </a:lnTo>
                <a:lnTo>
                  <a:pt x="450" y="283"/>
                </a:lnTo>
                <a:lnTo>
                  <a:pt x="440" y="281"/>
                </a:lnTo>
                <a:lnTo>
                  <a:pt x="440" y="281"/>
                </a:lnTo>
                <a:lnTo>
                  <a:pt x="428" y="278"/>
                </a:lnTo>
                <a:lnTo>
                  <a:pt x="415" y="278"/>
                </a:lnTo>
                <a:lnTo>
                  <a:pt x="404" y="278"/>
                </a:lnTo>
                <a:lnTo>
                  <a:pt x="393" y="279"/>
                </a:lnTo>
                <a:lnTo>
                  <a:pt x="384" y="281"/>
                </a:lnTo>
                <a:lnTo>
                  <a:pt x="374" y="284"/>
                </a:lnTo>
                <a:lnTo>
                  <a:pt x="365" y="287"/>
                </a:lnTo>
                <a:lnTo>
                  <a:pt x="358" y="291"/>
                </a:lnTo>
                <a:lnTo>
                  <a:pt x="345" y="300"/>
                </a:lnTo>
                <a:lnTo>
                  <a:pt x="336" y="307"/>
                </a:lnTo>
                <a:lnTo>
                  <a:pt x="328" y="314"/>
                </a:lnTo>
                <a:lnTo>
                  <a:pt x="328" y="314"/>
                </a:lnTo>
                <a:lnTo>
                  <a:pt x="342" y="328"/>
                </a:lnTo>
                <a:lnTo>
                  <a:pt x="353" y="343"/>
                </a:lnTo>
                <a:lnTo>
                  <a:pt x="362" y="357"/>
                </a:lnTo>
                <a:lnTo>
                  <a:pt x="369" y="371"/>
                </a:lnTo>
                <a:lnTo>
                  <a:pt x="375" y="384"/>
                </a:lnTo>
                <a:lnTo>
                  <a:pt x="380" y="398"/>
                </a:lnTo>
                <a:lnTo>
                  <a:pt x="382" y="410"/>
                </a:lnTo>
                <a:lnTo>
                  <a:pt x="383" y="421"/>
                </a:lnTo>
                <a:lnTo>
                  <a:pt x="382" y="432"/>
                </a:lnTo>
                <a:lnTo>
                  <a:pt x="380" y="442"/>
                </a:lnTo>
                <a:lnTo>
                  <a:pt x="375" y="451"/>
                </a:lnTo>
                <a:lnTo>
                  <a:pt x="370" y="458"/>
                </a:lnTo>
                <a:lnTo>
                  <a:pt x="363" y="464"/>
                </a:lnTo>
                <a:lnTo>
                  <a:pt x="356" y="469"/>
                </a:lnTo>
                <a:lnTo>
                  <a:pt x="347" y="472"/>
                </a:lnTo>
                <a:lnTo>
                  <a:pt x="337" y="473"/>
                </a:lnTo>
                <a:lnTo>
                  <a:pt x="337" y="473"/>
                </a:lnTo>
                <a:lnTo>
                  <a:pt x="322" y="473"/>
                </a:lnTo>
                <a:lnTo>
                  <a:pt x="311" y="471"/>
                </a:lnTo>
                <a:lnTo>
                  <a:pt x="301" y="467"/>
                </a:lnTo>
                <a:lnTo>
                  <a:pt x="292" y="462"/>
                </a:lnTo>
                <a:lnTo>
                  <a:pt x="283" y="456"/>
                </a:lnTo>
                <a:lnTo>
                  <a:pt x="277" y="449"/>
                </a:lnTo>
                <a:lnTo>
                  <a:pt x="272" y="441"/>
                </a:lnTo>
                <a:lnTo>
                  <a:pt x="268" y="432"/>
                </a:lnTo>
                <a:lnTo>
                  <a:pt x="264" y="424"/>
                </a:lnTo>
                <a:lnTo>
                  <a:pt x="262" y="417"/>
                </a:lnTo>
                <a:lnTo>
                  <a:pt x="259" y="403"/>
                </a:lnTo>
                <a:lnTo>
                  <a:pt x="257" y="393"/>
                </a:lnTo>
                <a:lnTo>
                  <a:pt x="257" y="390"/>
                </a:lnTo>
                <a:lnTo>
                  <a:pt x="257" y="390"/>
                </a:lnTo>
                <a:lnTo>
                  <a:pt x="255" y="392"/>
                </a:lnTo>
                <a:lnTo>
                  <a:pt x="249" y="398"/>
                </a:lnTo>
                <a:lnTo>
                  <a:pt x="239" y="405"/>
                </a:lnTo>
                <a:lnTo>
                  <a:pt x="227" y="413"/>
                </a:lnTo>
                <a:lnTo>
                  <a:pt x="220" y="416"/>
                </a:lnTo>
                <a:lnTo>
                  <a:pt x="212" y="419"/>
                </a:lnTo>
                <a:lnTo>
                  <a:pt x="204" y="420"/>
                </a:lnTo>
                <a:lnTo>
                  <a:pt x="194" y="421"/>
                </a:lnTo>
                <a:lnTo>
                  <a:pt x="185" y="421"/>
                </a:lnTo>
                <a:lnTo>
                  <a:pt x="175" y="419"/>
                </a:lnTo>
                <a:lnTo>
                  <a:pt x="165" y="415"/>
                </a:lnTo>
                <a:lnTo>
                  <a:pt x="155" y="409"/>
                </a:lnTo>
                <a:lnTo>
                  <a:pt x="155" y="409"/>
                </a:lnTo>
                <a:lnTo>
                  <a:pt x="147" y="404"/>
                </a:lnTo>
                <a:lnTo>
                  <a:pt x="140" y="397"/>
                </a:lnTo>
                <a:lnTo>
                  <a:pt x="135" y="390"/>
                </a:lnTo>
                <a:lnTo>
                  <a:pt x="131" y="381"/>
                </a:lnTo>
                <a:lnTo>
                  <a:pt x="129" y="372"/>
                </a:lnTo>
                <a:lnTo>
                  <a:pt x="128" y="363"/>
                </a:lnTo>
                <a:lnTo>
                  <a:pt x="128" y="354"/>
                </a:lnTo>
                <a:lnTo>
                  <a:pt x="131" y="345"/>
                </a:lnTo>
                <a:lnTo>
                  <a:pt x="136" y="334"/>
                </a:lnTo>
                <a:lnTo>
                  <a:pt x="142" y="325"/>
                </a:lnTo>
                <a:lnTo>
                  <a:pt x="153" y="316"/>
                </a:lnTo>
                <a:lnTo>
                  <a:pt x="164" y="308"/>
                </a:lnTo>
                <a:lnTo>
                  <a:pt x="178" y="300"/>
                </a:lnTo>
                <a:lnTo>
                  <a:pt x="195" y="292"/>
                </a:lnTo>
                <a:lnTo>
                  <a:pt x="216" y="286"/>
                </a:lnTo>
                <a:lnTo>
                  <a:pt x="239" y="280"/>
                </a:lnTo>
                <a:lnTo>
                  <a:pt x="239" y="280"/>
                </a:lnTo>
                <a:lnTo>
                  <a:pt x="238" y="275"/>
                </a:lnTo>
                <a:lnTo>
                  <a:pt x="233" y="262"/>
                </a:lnTo>
                <a:lnTo>
                  <a:pt x="230" y="253"/>
                </a:lnTo>
                <a:lnTo>
                  <a:pt x="225" y="242"/>
                </a:lnTo>
                <a:lnTo>
                  <a:pt x="220" y="232"/>
                </a:lnTo>
                <a:lnTo>
                  <a:pt x="213" y="222"/>
                </a:lnTo>
                <a:lnTo>
                  <a:pt x="205" y="213"/>
                </a:lnTo>
                <a:lnTo>
                  <a:pt x="195" y="203"/>
                </a:lnTo>
                <a:lnTo>
                  <a:pt x="185" y="196"/>
                </a:lnTo>
                <a:lnTo>
                  <a:pt x="173" y="190"/>
                </a:lnTo>
                <a:lnTo>
                  <a:pt x="167" y="188"/>
                </a:lnTo>
                <a:lnTo>
                  <a:pt x="161" y="187"/>
                </a:lnTo>
                <a:lnTo>
                  <a:pt x="154" y="186"/>
                </a:lnTo>
                <a:lnTo>
                  <a:pt x="145" y="185"/>
                </a:lnTo>
                <a:lnTo>
                  <a:pt x="138" y="186"/>
                </a:lnTo>
                <a:lnTo>
                  <a:pt x="129" y="187"/>
                </a:lnTo>
                <a:lnTo>
                  <a:pt x="121" y="190"/>
                </a:lnTo>
                <a:lnTo>
                  <a:pt x="112" y="193"/>
                </a:lnTo>
                <a:lnTo>
                  <a:pt x="112" y="193"/>
                </a:lnTo>
                <a:lnTo>
                  <a:pt x="115" y="191"/>
                </a:lnTo>
                <a:lnTo>
                  <a:pt x="119" y="188"/>
                </a:lnTo>
                <a:lnTo>
                  <a:pt x="127" y="180"/>
                </a:lnTo>
                <a:lnTo>
                  <a:pt x="136" y="168"/>
                </a:lnTo>
                <a:lnTo>
                  <a:pt x="144" y="153"/>
                </a:lnTo>
                <a:lnTo>
                  <a:pt x="148" y="144"/>
                </a:lnTo>
                <a:lnTo>
                  <a:pt x="153" y="136"/>
                </a:lnTo>
                <a:lnTo>
                  <a:pt x="156" y="127"/>
                </a:lnTo>
                <a:lnTo>
                  <a:pt x="158" y="117"/>
                </a:lnTo>
                <a:lnTo>
                  <a:pt x="159" y="106"/>
                </a:lnTo>
                <a:lnTo>
                  <a:pt x="160" y="97"/>
                </a:lnTo>
                <a:lnTo>
                  <a:pt x="159" y="86"/>
                </a:lnTo>
                <a:lnTo>
                  <a:pt x="157" y="76"/>
                </a:lnTo>
                <a:lnTo>
                  <a:pt x="157" y="76"/>
                </a:lnTo>
                <a:lnTo>
                  <a:pt x="155" y="66"/>
                </a:lnTo>
                <a:lnTo>
                  <a:pt x="150" y="57"/>
                </a:lnTo>
                <a:lnTo>
                  <a:pt x="147" y="49"/>
                </a:lnTo>
                <a:lnTo>
                  <a:pt x="143" y="41"/>
                </a:lnTo>
                <a:lnTo>
                  <a:pt x="134" y="28"/>
                </a:lnTo>
                <a:lnTo>
                  <a:pt x="125" y="17"/>
                </a:lnTo>
                <a:lnTo>
                  <a:pt x="117" y="9"/>
                </a:lnTo>
                <a:lnTo>
                  <a:pt x="110" y="4"/>
                </a:lnTo>
                <a:lnTo>
                  <a:pt x="103" y="0"/>
                </a:lnTo>
                <a:lnTo>
                  <a:pt x="0" y="593"/>
                </a:lnTo>
                <a:lnTo>
                  <a:pt x="269" y="712"/>
                </a:lnTo>
                <a:lnTo>
                  <a:pt x="269" y="712"/>
                </a:lnTo>
                <a:lnTo>
                  <a:pt x="293" y="693"/>
                </a:lnTo>
                <a:lnTo>
                  <a:pt x="315" y="677"/>
                </a:lnTo>
                <a:lnTo>
                  <a:pt x="336" y="665"/>
                </a:lnTo>
                <a:lnTo>
                  <a:pt x="354" y="656"/>
                </a:lnTo>
                <a:lnTo>
                  <a:pt x="354" y="656"/>
                </a:lnTo>
                <a:lnTo>
                  <a:pt x="367" y="650"/>
                </a:lnTo>
                <a:lnTo>
                  <a:pt x="382" y="646"/>
                </a:lnTo>
                <a:lnTo>
                  <a:pt x="396" y="642"/>
                </a:lnTo>
                <a:lnTo>
                  <a:pt x="409" y="639"/>
                </a:lnTo>
                <a:lnTo>
                  <a:pt x="423" y="637"/>
                </a:lnTo>
                <a:lnTo>
                  <a:pt x="437" y="636"/>
                </a:lnTo>
                <a:lnTo>
                  <a:pt x="450" y="635"/>
                </a:lnTo>
                <a:lnTo>
                  <a:pt x="464" y="635"/>
                </a:lnTo>
                <a:lnTo>
                  <a:pt x="478" y="636"/>
                </a:lnTo>
                <a:lnTo>
                  <a:pt x="491" y="638"/>
                </a:lnTo>
                <a:lnTo>
                  <a:pt x="504" y="640"/>
                </a:lnTo>
                <a:lnTo>
                  <a:pt x="517" y="643"/>
                </a:lnTo>
                <a:lnTo>
                  <a:pt x="542" y="650"/>
                </a:lnTo>
                <a:lnTo>
                  <a:pt x="566" y="658"/>
                </a:lnTo>
                <a:lnTo>
                  <a:pt x="566" y="658"/>
                </a:lnTo>
                <a:lnTo>
                  <a:pt x="582" y="667"/>
                </a:lnTo>
                <a:lnTo>
                  <a:pt x="596" y="675"/>
                </a:lnTo>
                <a:lnTo>
                  <a:pt x="610" y="683"/>
                </a:lnTo>
                <a:lnTo>
                  <a:pt x="621" y="691"/>
                </a:lnTo>
                <a:lnTo>
                  <a:pt x="631" y="699"/>
                </a:lnTo>
                <a:lnTo>
                  <a:pt x="639" y="709"/>
                </a:lnTo>
                <a:lnTo>
                  <a:pt x="646" y="717"/>
                </a:lnTo>
                <a:lnTo>
                  <a:pt x="653" y="726"/>
                </a:lnTo>
                <a:lnTo>
                  <a:pt x="658" y="735"/>
                </a:lnTo>
                <a:lnTo>
                  <a:pt x="662" y="743"/>
                </a:lnTo>
                <a:lnTo>
                  <a:pt x="665" y="753"/>
                </a:lnTo>
                <a:lnTo>
                  <a:pt x="668" y="761"/>
                </a:lnTo>
                <a:lnTo>
                  <a:pt x="671" y="778"/>
                </a:lnTo>
                <a:lnTo>
                  <a:pt x="673" y="793"/>
                </a:lnTo>
                <a:lnTo>
                  <a:pt x="673" y="793"/>
                </a:lnTo>
                <a:lnTo>
                  <a:pt x="672" y="804"/>
                </a:lnTo>
                <a:lnTo>
                  <a:pt x="670" y="815"/>
                </a:lnTo>
                <a:lnTo>
                  <a:pt x="667" y="827"/>
                </a:lnTo>
                <a:lnTo>
                  <a:pt x="663" y="839"/>
                </a:lnTo>
                <a:lnTo>
                  <a:pt x="654" y="863"/>
                </a:lnTo>
                <a:lnTo>
                  <a:pt x="646" y="877"/>
                </a:lnTo>
                <a:lnTo>
                  <a:pt x="841" y="96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6" name="Freeform 43"/>
          <p:cNvSpPr>
            <a:spLocks/>
          </p:cNvSpPr>
          <p:nvPr userDrawn="1"/>
        </p:nvSpPr>
        <p:spPr bwMode="auto">
          <a:xfrm>
            <a:off x="7581900" y="1218903"/>
            <a:ext cx="193675" cy="33338"/>
          </a:xfrm>
          <a:custGeom>
            <a:avLst/>
            <a:gdLst>
              <a:gd name="T0" fmla="*/ 1228 w 1463"/>
              <a:gd name="T1" fmla="*/ 227 h 256"/>
              <a:gd name="T2" fmla="*/ 1463 w 1463"/>
              <a:gd name="T3" fmla="*/ 113 h 256"/>
              <a:gd name="T4" fmla="*/ 1225 w 1463"/>
              <a:gd name="T5" fmla="*/ 14 h 256"/>
              <a:gd name="T6" fmla="*/ 1225 w 1463"/>
              <a:gd name="T7" fmla="*/ 14 h 256"/>
              <a:gd name="T8" fmla="*/ 1152 w 1463"/>
              <a:gd name="T9" fmla="*/ 15 h 256"/>
              <a:gd name="T10" fmla="*/ 1060 w 1463"/>
              <a:gd name="T11" fmla="*/ 16 h 256"/>
              <a:gd name="T12" fmla="*/ 949 w 1463"/>
              <a:gd name="T13" fmla="*/ 15 h 256"/>
              <a:gd name="T14" fmla="*/ 824 w 1463"/>
              <a:gd name="T15" fmla="*/ 13 h 256"/>
              <a:gd name="T16" fmla="*/ 531 w 1463"/>
              <a:gd name="T17" fmla="*/ 7 h 256"/>
              <a:gd name="T18" fmla="*/ 197 w 1463"/>
              <a:gd name="T19" fmla="*/ 0 h 256"/>
              <a:gd name="T20" fmla="*/ 0 w 1463"/>
              <a:gd name="T21" fmla="*/ 256 h 256"/>
              <a:gd name="T22" fmla="*/ 0 w 1463"/>
              <a:gd name="T23" fmla="*/ 256 h 256"/>
              <a:gd name="T24" fmla="*/ 734 w 1463"/>
              <a:gd name="T25" fmla="*/ 240 h 256"/>
              <a:gd name="T26" fmla="*/ 1024 w 1463"/>
              <a:gd name="T27" fmla="*/ 234 h 256"/>
              <a:gd name="T28" fmla="*/ 1228 w 1463"/>
              <a:gd name="T29" fmla="*/ 22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3" h="256">
                <a:moveTo>
                  <a:pt x="1228" y="227"/>
                </a:moveTo>
                <a:lnTo>
                  <a:pt x="1463" y="113"/>
                </a:lnTo>
                <a:lnTo>
                  <a:pt x="1225" y="14"/>
                </a:lnTo>
                <a:lnTo>
                  <a:pt x="1225" y="14"/>
                </a:lnTo>
                <a:lnTo>
                  <a:pt x="1152" y="15"/>
                </a:lnTo>
                <a:lnTo>
                  <a:pt x="1060" y="16"/>
                </a:lnTo>
                <a:lnTo>
                  <a:pt x="949" y="15"/>
                </a:lnTo>
                <a:lnTo>
                  <a:pt x="824" y="13"/>
                </a:lnTo>
                <a:lnTo>
                  <a:pt x="531" y="7"/>
                </a:lnTo>
                <a:lnTo>
                  <a:pt x="197" y="0"/>
                </a:lnTo>
                <a:lnTo>
                  <a:pt x="0" y="256"/>
                </a:lnTo>
                <a:lnTo>
                  <a:pt x="0" y="256"/>
                </a:lnTo>
                <a:lnTo>
                  <a:pt x="734" y="240"/>
                </a:lnTo>
                <a:lnTo>
                  <a:pt x="1024" y="234"/>
                </a:lnTo>
                <a:lnTo>
                  <a:pt x="1228" y="22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7" name="Freeform 44"/>
          <p:cNvSpPr>
            <a:spLocks/>
          </p:cNvSpPr>
          <p:nvPr userDrawn="1"/>
        </p:nvSpPr>
        <p:spPr bwMode="auto">
          <a:xfrm>
            <a:off x="7643812" y="1301453"/>
            <a:ext cx="114300" cy="112713"/>
          </a:xfrm>
          <a:custGeom>
            <a:avLst/>
            <a:gdLst>
              <a:gd name="T0" fmla="*/ 386 w 869"/>
              <a:gd name="T1" fmla="*/ 818 h 851"/>
              <a:gd name="T2" fmla="*/ 235 w 869"/>
              <a:gd name="T3" fmla="*/ 737 h 851"/>
              <a:gd name="T4" fmla="*/ 156 w 869"/>
              <a:gd name="T5" fmla="*/ 685 h 851"/>
              <a:gd name="T6" fmla="*/ 90 w 869"/>
              <a:gd name="T7" fmla="*/ 626 h 851"/>
              <a:gd name="T8" fmla="*/ 37 w 869"/>
              <a:gd name="T9" fmla="*/ 557 h 851"/>
              <a:gd name="T10" fmla="*/ 24 w 869"/>
              <a:gd name="T11" fmla="*/ 531 h 851"/>
              <a:gd name="T12" fmla="*/ 10 w 869"/>
              <a:gd name="T13" fmla="*/ 487 h 851"/>
              <a:gd name="T14" fmla="*/ 2 w 869"/>
              <a:gd name="T15" fmla="*/ 439 h 851"/>
              <a:gd name="T16" fmla="*/ 0 w 869"/>
              <a:gd name="T17" fmla="*/ 389 h 851"/>
              <a:gd name="T18" fmla="*/ 5 w 869"/>
              <a:gd name="T19" fmla="*/ 336 h 851"/>
              <a:gd name="T20" fmla="*/ 15 w 869"/>
              <a:gd name="T21" fmla="*/ 283 h 851"/>
              <a:gd name="T22" fmla="*/ 34 w 869"/>
              <a:gd name="T23" fmla="*/ 231 h 851"/>
              <a:gd name="T24" fmla="*/ 59 w 869"/>
              <a:gd name="T25" fmla="*/ 182 h 851"/>
              <a:gd name="T26" fmla="*/ 93 w 869"/>
              <a:gd name="T27" fmla="*/ 136 h 851"/>
              <a:gd name="T28" fmla="*/ 134 w 869"/>
              <a:gd name="T29" fmla="*/ 94 h 851"/>
              <a:gd name="T30" fmla="*/ 183 w 869"/>
              <a:gd name="T31" fmla="*/ 59 h 851"/>
              <a:gd name="T32" fmla="*/ 198 w 869"/>
              <a:gd name="T33" fmla="*/ 75 h 851"/>
              <a:gd name="T34" fmla="*/ 217 w 869"/>
              <a:gd name="T35" fmla="*/ 106 h 851"/>
              <a:gd name="T36" fmla="*/ 227 w 869"/>
              <a:gd name="T37" fmla="*/ 141 h 851"/>
              <a:gd name="T38" fmla="*/ 247 w 869"/>
              <a:gd name="T39" fmla="*/ 150 h 851"/>
              <a:gd name="T40" fmla="*/ 379 w 869"/>
              <a:gd name="T41" fmla="*/ 144 h 851"/>
              <a:gd name="T42" fmla="*/ 424 w 869"/>
              <a:gd name="T43" fmla="*/ 143 h 851"/>
              <a:gd name="T44" fmla="*/ 424 w 869"/>
              <a:gd name="T45" fmla="*/ 94 h 851"/>
              <a:gd name="T46" fmla="*/ 414 w 869"/>
              <a:gd name="T47" fmla="*/ 37 h 851"/>
              <a:gd name="T48" fmla="*/ 397 w 869"/>
              <a:gd name="T49" fmla="*/ 0 h 851"/>
              <a:gd name="T50" fmla="*/ 431 w 869"/>
              <a:gd name="T51" fmla="*/ 27 h 851"/>
              <a:gd name="T52" fmla="*/ 459 w 869"/>
              <a:gd name="T53" fmla="*/ 55 h 851"/>
              <a:gd name="T54" fmla="*/ 475 w 869"/>
              <a:gd name="T55" fmla="*/ 82 h 851"/>
              <a:gd name="T56" fmla="*/ 487 w 869"/>
              <a:gd name="T57" fmla="*/ 116 h 851"/>
              <a:gd name="T58" fmla="*/ 493 w 869"/>
              <a:gd name="T59" fmla="*/ 143 h 851"/>
              <a:gd name="T60" fmla="*/ 671 w 869"/>
              <a:gd name="T61" fmla="*/ 133 h 851"/>
              <a:gd name="T62" fmla="*/ 662 w 869"/>
              <a:gd name="T63" fmla="*/ 88 h 851"/>
              <a:gd name="T64" fmla="*/ 643 w 869"/>
              <a:gd name="T65" fmla="*/ 50 h 851"/>
              <a:gd name="T66" fmla="*/ 651 w 869"/>
              <a:gd name="T67" fmla="*/ 46 h 851"/>
              <a:gd name="T68" fmla="*/ 699 w 869"/>
              <a:gd name="T69" fmla="*/ 73 h 851"/>
              <a:gd name="T70" fmla="*/ 740 w 869"/>
              <a:gd name="T71" fmla="*/ 104 h 851"/>
              <a:gd name="T72" fmla="*/ 775 w 869"/>
              <a:gd name="T73" fmla="*/ 138 h 851"/>
              <a:gd name="T74" fmla="*/ 803 w 869"/>
              <a:gd name="T75" fmla="*/ 175 h 851"/>
              <a:gd name="T76" fmla="*/ 837 w 869"/>
              <a:gd name="T77" fmla="*/ 238 h 851"/>
              <a:gd name="T78" fmla="*/ 861 w 869"/>
              <a:gd name="T79" fmla="*/ 312 h 851"/>
              <a:gd name="T80" fmla="*/ 869 w 869"/>
              <a:gd name="T81" fmla="*/ 379 h 851"/>
              <a:gd name="T82" fmla="*/ 869 w 869"/>
              <a:gd name="T83" fmla="*/ 423 h 851"/>
              <a:gd name="T84" fmla="*/ 859 w 869"/>
              <a:gd name="T85" fmla="*/ 499 h 851"/>
              <a:gd name="T86" fmla="*/ 834 w 869"/>
              <a:gd name="T87" fmla="*/ 569 h 851"/>
              <a:gd name="T88" fmla="*/ 796 w 869"/>
              <a:gd name="T89" fmla="*/ 631 h 851"/>
              <a:gd name="T90" fmla="*/ 749 w 869"/>
              <a:gd name="T91" fmla="*/ 684 h 851"/>
              <a:gd name="T92" fmla="*/ 693 w 869"/>
              <a:gd name="T93" fmla="*/ 727 h 851"/>
              <a:gd name="T94" fmla="*/ 626 w 869"/>
              <a:gd name="T95" fmla="*/ 766 h 851"/>
              <a:gd name="T96" fmla="*/ 506 w 869"/>
              <a:gd name="T97" fmla="*/ 826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9" h="851">
                <a:moveTo>
                  <a:pt x="452" y="851"/>
                </a:moveTo>
                <a:lnTo>
                  <a:pt x="452" y="851"/>
                </a:lnTo>
                <a:lnTo>
                  <a:pt x="386" y="818"/>
                </a:lnTo>
                <a:lnTo>
                  <a:pt x="323" y="785"/>
                </a:lnTo>
                <a:lnTo>
                  <a:pt x="264" y="754"/>
                </a:lnTo>
                <a:lnTo>
                  <a:pt x="235" y="737"/>
                </a:lnTo>
                <a:lnTo>
                  <a:pt x="207" y="720"/>
                </a:lnTo>
                <a:lnTo>
                  <a:pt x="181" y="703"/>
                </a:lnTo>
                <a:lnTo>
                  <a:pt x="156" y="685"/>
                </a:lnTo>
                <a:lnTo>
                  <a:pt x="133" y="666"/>
                </a:lnTo>
                <a:lnTo>
                  <a:pt x="110" y="646"/>
                </a:lnTo>
                <a:lnTo>
                  <a:pt x="90" y="626"/>
                </a:lnTo>
                <a:lnTo>
                  <a:pt x="70" y="605"/>
                </a:lnTo>
                <a:lnTo>
                  <a:pt x="53" y="581"/>
                </a:lnTo>
                <a:lnTo>
                  <a:pt x="37" y="557"/>
                </a:lnTo>
                <a:lnTo>
                  <a:pt x="37" y="557"/>
                </a:lnTo>
                <a:lnTo>
                  <a:pt x="31" y="544"/>
                </a:lnTo>
                <a:lnTo>
                  <a:pt x="24" y="531"/>
                </a:lnTo>
                <a:lnTo>
                  <a:pt x="19" y="517"/>
                </a:lnTo>
                <a:lnTo>
                  <a:pt x="14" y="502"/>
                </a:lnTo>
                <a:lnTo>
                  <a:pt x="10" y="487"/>
                </a:lnTo>
                <a:lnTo>
                  <a:pt x="7" y="472"/>
                </a:lnTo>
                <a:lnTo>
                  <a:pt x="4" y="455"/>
                </a:lnTo>
                <a:lnTo>
                  <a:pt x="2" y="439"/>
                </a:lnTo>
                <a:lnTo>
                  <a:pt x="1" y="423"/>
                </a:lnTo>
                <a:lnTo>
                  <a:pt x="0" y="405"/>
                </a:lnTo>
                <a:lnTo>
                  <a:pt x="0" y="389"/>
                </a:lnTo>
                <a:lnTo>
                  <a:pt x="1" y="371"/>
                </a:lnTo>
                <a:lnTo>
                  <a:pt x="2" y="353"/>
                </a:lnTo>
                <a:lnTo>
                  <a:pt x="5" y="336"/>
                </a:lnTo>
                <a:lnTo>
                  <a:pt x="7" y="318"/>
                </a:lnTo>
                <a:lnTo>
                  <a:pt x="11" y="301"/>
                </a:lnTo>
                <a:lnTo>
                  <a:pt x="15" y="283"/>
                </a:lnTo>
                <a:lnTo>
                  <a:pt x="21" y="266"/>
                </a:lnTo>
                <a:lnTo>
                  <a:pt x="26" y="249"/>
                </a:lnTo>
                <a:lnTo>
                  <a:pt x="34" y="231"/>
                </a:lnTo>
                <a:lnTo>
                  <a:pt x="42" y="215"/>
                </a:lnTo>
                <a:lnTo>
                  <a:pt x="50" y="199"/>
                </a:lnTo>
                <a:lnTo>
                  <a:pt x="59" y="182"/>
                </a:lnTo>
                <a:lnTo>
                  <a:pt x="69" y="166"/>
                </a:lnTo>
                <a:lnTo>
                  <a:pt x="81" y="151"/>
                </a:lnTo>
                <a:lnTo>
                  <a:pt x="93" y="136"/>
                </a:lnTo>
                <a:lnTo>
                  <a:pt x="105" y="122"/>
                </a:lnTo>
                <a:lnTo>
                  <a:pt x="120" y="108"/>
                </a:lnTo>
                <a:lnTo>
                  <a:pt x="134" y="94"/>
                </a:lnTo>
                <a:lnTo>
                  <a:pt x="149" y="82"/>
                </a:lnTo>
                <a:lnTo>
                  <a:pt x="166" y="70"/>
                </a:lnTo>
                <a:lnTo>
                  <a:pt x="183" y="59"/>
                </a:lnTo>
                <a:lnTo>
                  <a:pt x="183" y="59"/>
                </a:lnTo>
                <a:lnTo>
                  <a:pt x="191" y="67"/>
                </a:lnTo>
                <a:lnTo>
                  <a:pt x="198" y="75"/>
                </a:lnTo>
                <a:lnTo>
                  <a:pt x="203" y="82"/>
                </a:lnTo>
                <a:lnTo>
                  <a:pt x="208" y="90"/>
                </a:lnTo>
                <a:lnTo>
                  <a:pt x="217" y="106"/>
                </a:lnTo>
                <a:lnTo>
                  <a:pt x="222" y="120"/>
                </a:lnTo>
                <a:lnTo>
                  <a:pt x="225" y="132"/>
                </a:lnTo>
                <a:lnTo>
                  <a:pt x="227" y="141"/>
                </a:lnTo>
                <a:lnTo>
                  <a:pt x="227" y="150"/>
                </a:lnTo>
                <a:lnTo>
                  <a:pt x="227" y="150"/>
                </a:lnTo>
                <a:lnTo>
                  <a:pt x="247" y="150"/>
                </a:lnTo>
                <a:lnTo>
                  <a:pt x="272" y="150"/>
                </a:lnTo>
                <a:lnTo>
                  <a:pt x="325" y="146"/>
                </a:lnTo>
                <a:lnTo>
                  <a:pt x="379" y="144"/>
                </a:lnTo>
                <a:lnTo>
                  <a:pt x="404" y="143"/>
                </a:lnTo>
                <a:lnTo>
                  <a:pt x="424" y="143"/>
                </a:lnTo>
                <a:lnTo>
                  <a:pt x="424" y="143"/>
                </a:lnTo>
                <a:lnTo>
                  <a:pt x="425" y="129"/>
                </a:lnTo>
                <a:lnTo>
                  <a:pt x="425" y="112"/>
                </a:lnTo>
                <a:lnTo>
                  <a:pt x="424" y="94"/>
                </a:lnTo>
                <a:lnTo>
                  <a:pt x="422" y="76"/>
                </a:lnTo>
                <a:lnTo>
                  <a:pt x="419" y="56"/>
                </a:lnTo>
                <a:lnTo>
                  <a:pt x="414" y="37"/>
                </a:lnTo>
                <a:lnTo>
                  <a:pt x="407" y="19"/>
                </a:lnTo>
                <a:lnTo>
                  <a:pt x="402" y="9"/>
                </a:lnTo>
                <a:lnTo>
                  <a:pt x="397" y="0"/>
                </a:lnTo>
                <a:lnTo>
                  <a:pt x="397" y="0"/>
                </a:lnTo>
                <a:lnTo>
                  <a:pt x="415" y="14"/>
                </a:lnTo>
                <a:lnTo>
                  <a:pt x="431" y="27"/>
                </a:lnTo>
                <a:lnTo>
                  <a:pt x="446" y="40"/>
                </a:lnTo>
                <a:lnTo>
                  <a:pt x="453" y="47"/>
                </a:lnTo>
                <a:lnTo>
                  <a:pt x="459" y="55"/>
                </a:lnTo>
                <a:lnTo>
                  <a:pt x="465" y="64"/>
                </a:lnTo>
                <a:lnTo>
                  <a:pt x="470" y="73"/>
                </a:lnTo>
                <a:lnTo>
                  <a:pt x="475" y="82"/>
                </a:lnTo>
                <a:lnTo>
                  <a:pt x="479" y="92"/>
                </a:lnTo>
                <a:lnTo>
                  <a:pt x="484" y="104"/>
                </a:lnTo>
                <a:lnTo>
                  <a:pt x="487" y="116"/>
                </a:lnTo>
                <a:lnTo>
                  <a:pt x="490" y="129"/>
                </a:lnTo>
                <a:lnTo>
                  <a:pt x="493" y="143"/>
                </a:lnTo>
                <a:lnTo>
                  <a:pt x="493" y="143"/>
                </a:lnTo>
                <a:lnTo>
                  <a:pt x="671" y="150"/>
                </a:lnTo>
                <a:lnTo>
                  <a:pt x="671" y="150"/>
                </a:lnTo>
                <a:lnTo>
                  <a:pt x="671" y="133"/>
                </a:lnTo>
                <a:lnTo>
                  <a:pt x="670" y="118"/>
                </a:lnTo>
                <a:lnTo>
                  <a:pt x="667" y="103"/>
                </a:lnTo>
                <a:lnTo>
                  <a:pt x="662" y="88"/>
                </a:lnTo>
                <a:lnTo>
                  <a:pt x="657" y="75"/>
                </a:lnTo>
                <a:lnTo>
                  <a:pt x="651" y="62"/>
                </a:lnTo>
                <a:lnTo>
                  <a:pt x="643" y="50"/>
                </a:lnTo>
                <a:lnTo>
                  <a:pt x="634" y="38"/>
                </a:lnTo>
                <a:lnTo>
                  <a:pt x="634" y="38"/>
                </a:lnTo>
                <a:lnTo>
                  <a:pt x="651" y="46"/>
                </a:lnTo>
                <a:lnTo>
                  <a:pt x="669" y="54"/>
                </a:lnTo>
                <a:lnTo>
                  <a:pt x="684" y="64"/>
                </a:lnTo>
                <a:lnTo>
                  <a:pt x="699" y="73"/>
                </a:lnTo>
                <a:lnTo>
                  <a:pt x="714" y="83"/>
                </a:lnTo>
                <a:lnTo>
                  <a:pt x="728" y="93"/>
                </a:lnTo>
                <a:lnTo>
                  <a:pt x="740" y="104"/>
                </a:lnTo>
                <a:lnTo>
                  <a:pt x="752" y="115"/>
                </a:lnTo>
                <a:lnTo>
                  <a:pt x="764" y="126"/>
                </a:lnTo>
                <a:lnTo>
                  <a:pt x="775" y="138"/>
                </a:lnTo>
                <a:lnTo>
                  <a:pt x="785" y="151"/>
                </a:lnTo>
                <a:lnTo>
                  <a:pt x="794" y="163"/>
                </a:lnTo>
                <a:lnTo>
                  <a:pt x="803" y="175"/>
                </a:lnTo>
                <a:lnTo>
                  <a:pt x="811" y="187"/>
                </a:lnTo>
                <a:lnTo>
                  <a:pt x="825" y="213"/>
                </a:lnTo>
                <a:lnTo>
                  <a:pt x="837" y="238"/>
                </a:lnTo>
                <a:lnTo>
                  <a:pt x="848" y="263"/>
                </a:lnTo>
                <a:lnTo>
                  <a:pt x="855" y="289"/>
                </a:lnTo>
                <a:lnTo>
                  <a:pt x="861" y="312"/>
                </a:lnTo>
                <a:lnTo>
                  <a:pt x="865" y="336"/>
                </a:lnTo>
                <a:lnTo>
                  <a:pt x="868" y="358"/>
                </a:lnTo>
                <a:lnTo>
                  <a:pt x="869" y="379"/>
                </a:lnTo>
                <a:lnTo>
                  <a:pt x="869" y="397"/>
                </a:lnTo>
                <a:lnTo>
                  <a:pt x="869" y="397"/>
                </a:lnTo>
                <a:lnTo>
                  <a:pt x="869" y="423"/>
                </a:lnTo>
                <a:lnTo>
                  <a:pt x="868" y="449"/>
                </a:lnTo>
                <a:lnTo>
                  <a:pt x="864" y="474"/>
                </a:lnTo>
                <a:lnTo>
                  <a:pt x="859" y="499"/>
                </a:lnTo>
                <a:lnTo>
                  <a:pt x="852" y="523"/>
                </a:lnTo>
                <a:lnTo>
                  <a:pt x="843" y="546"/>
                </a:lnTo>
                <a:lnTo>
                  <a:pt x="834" y="569"/>
                </a:lnTo>
                <a:lnTo>
                  <a:pt x="823" y="590"/>
                </a:lnTo>
                <a:lnTo>
                  <a:pt x="811" y="612"/>
                </a:lnTo>
                <a:lnTo>
                  <a:pt x="796" y="631"/>
                </a:lnTo>
                <a:lnTo>
                  <a:pt x="782" y="651"/>
                </a:lnTo>
                <a:lnTo>
                  <a:pt x="766" y="668"/>
                </a:lnTo>
                <a:lnTo>
                  <a:pt x="749" y="684"/>
                </a:lnTo>
                <a:lnTo>
                  <a:pt x="731" y="700"/>
                </a:lnTo>
                <a:lnTo>
                  <a:pt x="713" y="714"/>
                </a:lnTo>
                <a:lnTo>
                  <a:pt x="693" y="727"/>
                </a:lnTo>
                <a:lnTo>
                  <a:pt x="693" y="727"/>
                </a:lnTo>
                <a:lnTo>
                  <a:pt x="658" y="748"/>
                </a:lnTo>
                <a:lnTo>
                  <a:pt x="626" y="766"/>
                </a:lnTo>
                <a:lnTo>
                  <a:pt x="594" y="783"/>
                </a:lnTo>
                <a:lnTo>
                  <a:pt x="563" y="799"/>
                </a:lnTo>
                <a:lnTo>
                  <a:pt x="506" y="826"/>
                </a:lnTo>
                <a:lnTo>
                  <a:pt x="452" y="85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8" name="Freeform 45"/>
          <p:cNvSpPr>
            <a:spLocks/>
          </p:cNvSpPr>
          <p:nvPr userDrawn="1"/>
        </p:nvSpPr>
        <p:spPr bwMode="auto">
          <a:xfrm>
            <a:off x="7677150" y="1579265"/>
            <a:ext cx="1588" cy="0"/>
          </a:xfrm>
          <a:custGeom>
            <a:avLst/>
            <a:gdLst>
              <a:gd name="T0" fmla="*/ 22 w 22"/>
              <a:gd name="T1" fmla="*/ 9 h 9"/>
              <a:gd name="T2" fmla="*/ 22 w 22"/>
              <a:gd name="T3" fmla="*/ 9 h 9"/>
              <a:gd name="T4" fmla="*/ 3 w 22"/>
              <a:gd name="T5" fmla="*/ 2 h 9"/>
              <a:gd name="T6" fmla="*/ 3 w 22"/>
              <a:gd name="T7" fmla="*/ 2 h 9"/>
              <a:gd name="T8" fmla="*/ 0 w 22"/>
              <a:gd name="T9" fmla="*/ 0 h 9"/>
              <a:gd name="T10" fmla="*/ 0 w 22"/>
              <a:gd name="T11" fmla="*/ 0 h 9"/>
              <a:gd name="T12" fmla="*/ 22 w 22"/>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22" h="9">
                <a:moveTo>
                  <a:pt x="22" y="9"/>
                </a:moveTo>
                <a:lnTo>
                  <a:pt x="22" y="9"/>
                </a:lnTo>
                <a:lnTo>
                  <a:pt x="3" y="2"/>
                </a:lnTo>
                <a:lnTo>
                  <a:pt x="3" y="2"/>
                </a:lnTo>
                <a:lnTo>
                  <a:pt x="0" y="0"/>
                </a:lnTo>
                <a:lnTo>
                  <a:pt x="0" y="0"/>
                </a:lnTo>
                <a:lnTo>
                  <a:pt x="22"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9" name="Freeform 46"/>
          <p:cNvSpPr>
            <a:spLocks/>
          </p:cNvSpPr>
          <p:nvPr userDrawn="1"/>
        </p:nvSpPr>
        <p:spPr bwMode="auto">
          <a:xfrm>
            <a:off x="7429500" y="1261765"/>
            <a:ext cx="20638" cy="12700"/>
          </a:xfrm>
          <a:custGeom>
            <a:avLst/>
            <a:gdLst>
              <a:gd name="T0" fmla="*/ 166 w 166"/>
              <a:gd name="T1" fmla="*/ 69 h 96"/>
              <a:gd name="T2" fmla="*/ 166 w 166"/>
              <a:gd name="T3" fmla="*/ 69 h 96"/>
              <a:gd name="T4" fmla="*/ 166 w 166"/>
              <a:gd name="T5" fmla="*/ 70 h 96"/>
              <a:gd name="T6" fmla="*/ 165 w 166"/>
              <a:gd name="T7" fmla="*/ 72 h 96"/>
              <a:gd name="T8" fmla="*/ 161 w 166"/>
              <a:gd name="T9" fmla="*/ 74 h 96"/>
              <a:gd name="T10" fmla="*/ 155 w 166"/>
              <a:gd name="T11" fmla="*/ 77 h 96"/>
              <a:gd name="T12" fmla="*/ 145 w 166"/>
              <a:gd name="T13" fmla="*/ 79 h 96"/>
              <a:gd name="T14" fmla="*/ 123 w 166"/>
              <a:gd name="T15" fmla="*/ 85 h 96"/>
              <a:gd name="T16" fmla="*/ 95 w 166"/>
              <a:gd name="T17" fmla="*/ 90 h 96"/>
              <a:gd name="T18" fmla="*/ 68 w 166"/>
              <a:gd name="T19" fmla="*/ 94 h 96"/>
              <a:gd name="T20" fmla="*/ 42 w 166"/>
              <a:gd name="T21" fmla="*/ 96 h 96"/>
              <a:gd name="T22" fmla="*/ 24 w 166"/>
              <a:gd name="T23" fmla="*/ 96 h 96"/>
              <a:gd name="T24" fmla="*/ 17 w 166"/>
              <a:gd name="T25" fmla="*/ 95 h 96"/>
              <a:gd name="T26" fmla="*/ 13 w 166"/>
              <a:gd name="T27" fmla="*/ 94 h 96"/>
              <a:gd name="T28" fmla="*/ 13 w 166"/>
              <a:gd name="T29" fmla="*/ 94 h 96"/>
              <a:gd name="T30" fmla="*/ 10 w 166"/>
              <a:gd name="T31" fmla="*/ 92 h 96"/>
              <a:gd name="T32" fmla="*/ 8 w 166"/>
              <a:gd name="T33" fmla="*/ 88 h 96"/>
              <a:gd name="T34" fmla="*/ 5 w 166"/>
              <a:gd name="T35" fmla="*/ 77 h 96"/>
              <a:gd name="T36" fmla="*/ 2 w 166"/>
              <a:gd name="T37" fmla="*/ 65 h 96"/>
              <a:gd name="T38" fmla="*/ 0 w 166"/>
              <a:gd name="T39" fmla="*/ 51 h 96"/>
              <a:gd name="T40" fmla="*/ 0 w 166"/>
              <a:gd name="T41" fmla="*/ 36 h 96"/>
              <a:gd name="T42" fmla="*/ 0 w 166"/>
              <a:gd name="T43" fmla="*/ 23 h 96"/>
              <a:gd name="T44" fmla="*/ 1 w 166"/>
              <a:gd name="T45" fmla="*/ 13 h 96"/>
              <a:gd name="T46" fmla="*/ 2 w 166"/>
              <a:gd name="T47" fmla="*/ 8 h 96"/>
              <a:gd name="T48" fmla="*/ 4 w 166"/>
              <a:gd name="T49" fmla="*/ 5 h 96"/>
              <a:gd name="T50" fmla="*/ 4 w 166"/>
              <a:gd name="T51" fmla="*/ 5 h 96"/>
              <a:gd name="T52" fmla="*/ 5 w 166"/>
              <a:gd name="T53" fmla="*/ 4 h 96"/>
              <a:gd name="T54" fmla="*/ 7 w 166"/>
              <a:gd name="T55" fmla="*/ 2 h 96"/>
              <a:gd name="T56" fmla="*/ 13 w 166"/>
              <a:gd name="T57" fmla="*/ 1 h 96"/>
              <a:gd name="T58" fmla="*/ 22 w 166"/>
              <a:gd name="T59" fmla="*/ 0 h 96"/>
              <a:gd name="T60" fmla="*/ 32 w 166"/>
              <a:gd name="T61" fmla="*/ 0 h 96"/>
              <a:gd name="T62" fmla="*/ 43 w 166"/>
              <a:gd name="T63" fmla="*/ 1 h 96"/>
              <a:gd name="T64" fmla="*/ 55 w 166"/>
              <a:gd name="T65" fmla="*/ 3 h 96"/>
              <a:gd name="T66" fmla="*/ 69 w 166"/>
              <a:gd name="T67" fmla="*/ 6 h 96"/>
              <a:gd name="T68" fmla="*/ 83 w 166"/>
              <a:gd name="T69" fmla="*/ 10 h 96"/>
              <a:gd name="T70" fmla="*/ 96 w 166"/>
              <a:gd name="T71" fmla="*/ 15 h 96"/>
              <a:gd name="T72" fmla="*/ 110 w 166"/>
              <a:gd name="T73" fmla="*/ 20 h 96"/>
              <a:gd name="T74" fmla="*/ 123 w 166"/>
              <a:gd name="T75" fmla="*/ 27 h 96"/>
              <a:gd name="T76" fmla="*/ 135 w 166"/>
              <a:gd name="T77" fmla="*/ 34 h 96"/>
              <a:gd name="T78" fmla="*/ 145 w 166"/>
              <a:gd name="T79" fmla="*/ 42 h 96"/>
              <a:gd name="T80" fmla="*/ 155 w 166"/>
              <a:gd name="T81" fmla="*/ 51 h 96"/>
              <a:gd name="T82" fmla="*/ 162 w 166"/>
              <a:gd name="T83" fmla="*/ 60 h 96"/>
              <a:gd name="T84" fmla="*/ 164 w 166"/>
              <a:gd name="T85" fmla="*/ 64 h 96"/>
              <a:gd name="T86" fmla="*/ 166 w 166"/>
              <a:gd name="T87" fmla="*/ 6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6" h="96">
                <a:moveTo>
                  <a:pt x="166" y="69"/>
                </a:moveTo>
                <a:lnTo>
                  <a:pt x="166" y="69"/>
                </a:lnTo>
                <a:lnTo>
                  <a:pt x="166" y="70"/>
                </a:lnTo>
                <a:lnTo>
                  <a:pt x="165" y="72"/>
                </a:lnTo>
                <a:lnTo>
                  <a:pt x="161" y="74"/>
                </a:lnTo>
                <a:lnTo>
                  <a:pt x="155" y="77"/>
                </a:lnTo>
                <a:lnTo>
                  <a:pt x="145" y="79"/>
                </a:lnTo>
                <a:lnTo>
                  <a:pt x="123" y="85"/>
                </a:lnTo>
                <a:lnTo>
                  <a:pt x="95" y="90"/>
                </a:lnTo>
                <a:lnTo>
                  <a:pt x="68" y="94"/>
                </a:lnTo>
                <a:lnTo>
                  <a:pt x="42" y="96"/>
                </a:lnTo>
                <a:lnTo>
                  <a:pt x="24" y="96"/>
                </a:lnTo>
                <a:lnTo>
                  <a:pt x="17" y="95"/>
                </a:lnTo>
                <a:lnTo>
                  <a:pt x="13" y="94"/>
                </a:lnTo>
                <a:lnTo>
                  <a:pt x="13" y="94"/>
                </a:lnTo>
                <a:lnTo>
                  <a:pt x="10" y="92"/>
                </a:lnTo>
                <a:lnTo>
                  <a:pt x="8" y="88"/>
                </a:lnTo>
                <a:lnTo>
                  <a:pt x="5" y="77"/>
                </a:lnTo>
                <a:lnTo>
                  <a:pt x="2" y="65"/>
                </a:lnTo>
                <a:lnTo>
                  <a:pt x="0" y="51"/>
                </a:lnTo>
                <a:lnTo>
                  <a:pt x="0" y="36"/>
                </a:lnTo>
                <a:lnTo>
                  <a:pt x="0" y="23"/>
                </a:lnTo>
                <a:lnTo>
                  <a:pt x="1" y="13"/>
                </a:lnTo>
                <a:lnTo>
                  <a:pt x="2" y="8"/>
                </a:lnTo>
                <a:lnTo>
                  <a:pt x="4" y="5"/>
                </a:lnTo>
                <a:lnTo>
                  <a:pt x="4" y="5"/>
                </a:lnTo>
                <a:lnTo>
                  <a:pt x="5" y="4"/>
                </a:lnTo>
                <a:lnTo>
                  <a:pt x="7" y="2"/>
                </a:lnTo>
                <a:lnTo>
                  <a:pt x="13" y="1"/>
                </a:lnTo>
                <a:lnTo>
                  <a:pt x="22" y="0"/>
                </a:lnTo>
                <a:lnTo>
                  <a:pt x="32" y="0"/>
                </a:lnTo>
                <a:lnTo>
                  <a:pt x="43" y="1"/>
                </a:lnTo>
                <a:lnTo>
                  <a:pt x="55" y="3"/>
                </a:lnTo>
                <a:lnTo>
                  <a:pt x="69" y="6"/>
                </a:lnTo>
                <a:lnTo>
                  <a:pt x="83" y="10"/>
                </a:lnTo>
                <a:lnTo>
                  <a:pt x="96" y="15"/>
                </a:lnTo>
                <a:lnTo>
                  <a:pt x="110" y="20"/>
                </a:lnTo>
                <a:lnTo>
                  <a:pt x="123" y="27"/>
                </a:lnTo>
                <a:lnTo>
                  <a:pt x="135" y="34"/>
                </a:lnTo>
                <a:lnTo>
                  <a:pt x="145" y="42"/>
                </a:lnTo>
                <a:lnTo>
                  <a:pt x="155" y="51"/>
                </a:lnTo>
                <a:lnTo>
                  <a:pt x="162" y="60"/>
                </a:lnTo>
                <a:lnTo>
                  <a:pt x="164" y="64"/>
                </a:lnTo>
                <a:lnTo>
                  <a:pt x="166" y="6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50" name="Freeform 47"/>
          <p:cNvSpPr>
            <a:spLocks/>
          </p:cNvSpPr>
          <p:nvPr userDrawn="1"/>
        </p:nvSpPr>
        <p:spPr bwMode="auto">
          <a:xfrm>
            <a:off x="7151687" y="1218903"/>
            <a:ext cx="657225" cy="776288"/>
          </a:xfrm>
          <a:custGeom>
            <a:avLst/>
            <a:gdLst>
              <a:gd name="T0" fmla="*/ 4703 w 4973"/>
              <a:gd name="T1" fmla="*/ 1877 h 5865"/>
              <a:gd name="T2" fmla="*/ 4733 w 4973"/>
              <a:gd name="T3" fmla="*/ 1183 h 5865"/>
              <a:gd name="T4" fmla="*/ 4302 w 4973"/>
              <a:gd name="T5" fmla="*/ 476 h 5865"/>
              <a:gd name="T6" fmla="*/ 3581 w 4973"/>
              <a:gd name="T7" fmla="*/ 813 h 5865"/>
              <a:gd name="T8" fmla="*/ 3899 w 4973"/>
              <a:gd name="T9" fmla="*/ 1529 h 5865"/>
              <a:gd name="T10" fmla="*/ 3757 w 4973"/>
              <a:gd name="T11" fmla="*/ 2227 h 5865"/>
              <a:gd name="T12" fmla="*/ 3939 w 4973"/>
              <a:gd name="T13" fmla="*/ 2068 h 5865"/>
              <a:gd name="T14" fmla="*/ 4069 w 4973"/>
              <a:gd name="T15" fmla="*/ 1928 h 5865"/>
              <a:gd name="T16" fmla="*/ 4545 w 4973"/>
              <a:gd name="T17" fmla="*/ 1985 h 5865"/>
              <a:gd name="T18" fmla="*/ 4487 w 4973"/>
              <a:gd name="T19" fmla="*/ 2697 h 5865"/>
              <a:gd name="T20" fmla="*/ 3601 w 4973"/>
              <a:gd name="T21" fmla="*/ 2477 h 5865"/>
              <a:gd name="T22" fmla="*/ 3285 w 4973"/>
              <a:gd name="T23" fmla="*/ 1581 h 5865"/>
              <a:gd name="T24" fmla="*/ 3364 w 4973"/>
              <a:gd name="T25" fmla="*/ 1421 h 5865"/>
              <a:gd name="T26" fmla="*/ 3101 w 4973"/>
              <a:gd name="T27" fmla="*/ 996 h 5865"/>
              <a:gd name="T28" fmla="*/ 3251 w 4973"/>
              <a:gd name="T29" fmla="*/ 599 h 5865"/>
              <a:gd name="T30" fmla="*/ 2863 w 4973"/>
              <a:gd name="T31" fmla="*/ 144 h 5865"/>
              <a:gd name="T32" fmla="*/ 1960 w 4973"/>
              <a:gd name="T33" fmla="*/ 304 h 5865"/>
              <a:gd name="T34" fmla="*/ 1819 w 4973"/>
              <a:gd name="T35" fmla="*/ 748 h 5865"/>
              <a:gd name="T36" fmla="*/ 2202 w 4973"/>
              <a:gd name="T37" fmla="*/ 626 h 5865"/>
              <a:gd name="T38" fmla="*/ 2215 w 4973"/>
              <a:gd name="T39" fmla="*/ 803 h 5865"/>
              <a:gd name="T40" fmla="*/ 1623 w 4973"/>
              <a:gd name="T41" fmla="*/ 851 h 5865"/>
              <a:gd name="T42" fmla="*/ 1602 w 4973"/>
              <a:gd name="T43" fmla="*/ 1055 h 5865"/>
              <a:gd name="T44" fmla="*/ 2246 w 4973"/>
              <a:gd name="T45" fmla="*/ 924 h 5865"/>
              <a:gd name="T46" fmla="*/ 2036 w 4973"/>
              <a:gd name="T47" fmla="*/ 981 h 5865"/>
              <a:gd name="T48" fmla="*/ 1754 w 4973"/>
              <a:gd name="T49" fmla="*/ 1278 h 5865"/>
              <a:gd name="T50" fmla="*/ 2105 w 4973"/>
              <a:gd name="T51" fmla="*/ 1619 h 5865"/>
              <a:gd name="T52" fmla="*/ 863 w 4973"/>
              <a:gd name="T53" fmla="*/ 2239 h 5865"/>
              <a:gd name="T54" fmla="*/ 310 w 4973"/>
              <a:gd name="T55" fmla="*/ 2027 h 5865"/>
              <a:gd name="T56" fmla="*/ 319 w 4973"/>
              <a:gd name="T57" fmla="*/ 2172 h 5865"/>
              <a:gd name="T58" fmla="*/ 380 w 4973"/>
              <a:gd name="T59" fmla="*/ 2295 h 5865"/>
              <a:gd name="T60" fmla="*/ 39 w 4973"/>
              <a:gd name="T61" fmla="*/ 2396 h 5865"/>
              <a:gd name="T62" fmla="*/ 189 w 4973"/>
              <a:gd name="T63" fmla="*/ 2511 h 5865"/>
              <a:gd name="T64" fmla="*/ 322 w 4973"/>
              <a:gd name="T65" fmla="*/ 2588 h 5865"/>
              <a:gd name="T66" fmla="*/ 272 w 4973"/>
              <a:gd name="T67" fmla="*/ 2893 h 5865"/>
              <a:gd name="T68" fmla="*/ 630 w 4973"/>
              <a:gd name="T69" fmla="*/ 2730 h 5865"/>
              <a:gd name="T70" fmla="*/ 811 w 4973"/>
              <a:gd name="T71" fmla="*/ 2843 h 5865"/>
              <a:gd name="T72" fmla="*/ 1024 w 4973"/>
              <a:gd name="T73" fmla="*/ 2773 h 5865"/>
              <a:gd name="T74" fmla="*/ 1290 w 4973"/>
              <a:gd name="T75" fmla="*/ 2556 h 5865"/>
              <a:gd name="T76" fmla="*/ 1713 w 4973"/>
              <a:gd name="T77" fmla="*/ 2519 h 5865"/>
              <a:gd name="T78" fmla="*/ 2306 w 4973"/>
              <a:gd name="T79" fmla="*/ 2641 h 5865"/>
              <a:gd name="T80" fmla="*/ 3357 w 4973"/>
              <a:gd name="T81" fmla="*/ 3092 h 5865"/>
              <a:gd name="T82" fmla="*/ 3742 w 4973"/>
              <a:gd name="T83" fmla="*/ 3928 h 5865"/>
              <a:gd name="T84" fmla="*/ 3685 w 4973"/>
              <a:gd name="T85" fmla="*/ 4224 h 5865"/>
              <a:gd name="T86" fmla="*/ 4224 w 4973"/>
              <a:gd name="T87" fmla="*/ 4337 h 5865"/>
              <a:gd name="T88" fmla="*/ 4264 w 4973"/>
              <a:gd name="T89" fmla="*/ 5017 h 5865"/>
              <a:gd name="T90" fmla="*/ 3761 w 4973"/>
              <a:gd name="T91" fmla="*/ 5058 h 5865"/>
              <a:gd name="T92" fmla="*/ 3894 w 4973"/>
              <a:gd name="T93" fmla="*/ 5210 h 5865"/>
              <a:gd name="T94" fmla="*/ 3894 w 4973"/>
              <a:gd name="T95" fmla="*/ 5294 h 5865"/>
              <a:gd name="T96" fmla="*/ 3751 w 4973"/>
              <a:gd name="T97" fmla="*/ 5644 h 5865"/>
              <a:gd name="T98" fmla="*/ 3926 w 4973"/>
              <a:gd name="T99" fmla="*/ 5586 h 5865"/>
              <a:gd name="T100" fmla="*/ 4212 w 4973"/>
              <a:gd name="T101" fmla="*/ 5447 h 5865"/>
              <a:gd name="T102" fmla="*/ 4257 w 4973"/>
              <a:gd name="T103" fmla="*/ 5812 h 5865"/>
              <a:gd name="T104" fmla="*/ 4352 w 4973"/>
              <a:gd name="T105" fmla="*/ 5675 h 5865"/>
              <a:gd name="T106" fmla="*/ 4557 w 4973"/>
              <a:gd name="T107" fmla="*/ 5328 h 5865"/>
              <a:gd name="T108" fmla="*/ 4736 w 4973"/>
              <a:gd name="T109" fmla="*/ 5505 h 5865"/>
              <a:gd name="T110" fmla="*/ 4753 w 4973"/>
              <a:gd name="T111" fmla="*/ 5108 h 5865"/>
              <a:gd name="T112" fmla="*/ 4693 w 4973"/>
              <a:gd name="T113" fmla="*/ 4810 h 5865"/>
              <a:gd name="T114" fmla="*/ 4677 w 4973"/>
              <a:gd name="T115" fmla="*/ 4437 h 5865"/>
              <a:gd name="T116" fmla="*/ 4640 w 4973"/>
              <a:gd name="T117" fmla="*/ 4108 h 5865"/>
              <a:gd name="T118" fmla="*/ 4297 w 4973"/>
              <a:gd name="T119" fmla="*/ 3793 h 5865"/>
              <a:gd name="T120" fmla="*/ 4267 w 4973"/>
              <a:gd name="T121" fmla="*/ 3366 h 5865"/>
              <a:gd name="T122" fmla="*/ 4428 w 4973"/>
              <a:gd name="T123" fmla="*/ 2994 h 5865"/>
              <a:gd name="T124" fmla="*/ 4923 w 4973"/>
              <a:gd name="T125" fmla="*/ 2543 h 5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973" h="5865">
                <a:moveTo>
                  <a:pt x="4842" y="2253"/>
                </a:moveTo>
                <a:lnTo>
                  <a:pt x="4842" y="2253"/>
                </a:lnTo>
                <a:lnTo>
                  <a:pt x="4862" y="2257"/>
                </a:lnTo>
                <a:lnTo>
                  <a:pt x="4881" y="2259"/>
                </a:lnTo>
                <a:lnTo>
                  <a:pt x="4900" y="2260"/>
                </a:lnTo>
                <a:lnTo>
                  <a:pt x="4916" y="2259"/>
                </a:lnTo>
                <a:lnTo>
                  <a:pt x="4932" y="2257"/>
                </a:lnTo>
                <a:lnTo>
                  <a:pt x="4946" y="2254"/>
                </a:lnTo>
                <a:lnTo>
                  <a:pt x="4958" y="2249"/>
                </a:lnTo>
                <a:lnTo>
                  <a:pt x="4969" y="2243"/>
                </a:lnTo>
                <a:lnTo>
                  <a:pt x="4969" y="2243"/>
                </a:lnTo>
                <a:lnTo>
                  <a:pt x="4967" y="2217"/>
                </a:lnTo>
                <a:lnTo>
                  <a:pt x="4960" y="2157"/>
                </a:lnTo>
                <a:lnTo>
                  <a:pt x="4951" y="2084"/>
                </a:lnTo>
                <a:lnTo>
                  <a:pt x="4946" y="2052"/>
                </a:lnTo>
                <a:lnTo>
                  <a:pt x="4940" y="2024"/>
                </a:lnTo>
                <a:lnTo>
                  <a:pt x="4940" y="2024"/>
                </a:lnTo>
                <a:lnTo>
                  <a:pt x="4922" y="2027"/>
                </a:lnTo>
                <a:lnTo>
                  <a:pt x="4902" y="2030"/>
                </a:lnTo>
                <a:lnTo>
                  <a:pt x="4891" y="2030"/>
                </a:lnTo>
                <a:lnTo>
                  <a:pt x="4879" y="2030"/>
                </a:lnTo>
                <a:lnTo>
                  <a:pt x="4867" y="2029"/>
                </a:lnTo>
                <a:lnTo>
                  <a:pt x="4855" y="2027"/>
                </a:lnTo>
                <a:lnTo>
                  <a:pt x="4843" y="2024"/>
                </a:lnTo>
                <a:lnTo>
                  <a:pt x="4830" y="2020"/>
                </a:lnTo>
                <a:lnTo>
                  <a:pt x="4818" y="2015"/>
                </a:lnTo>
                <a:lnTo>
                  <a:pt x="4806" y="2008"/>
                </a:lnTo>
                <a:lnTo>
                  <a:pt x="4794" y="1998"/>
                </a:lnTo>
                <a:lnTo>
                  <a:pt x="4782" y="1988"/>
                </a:lnTo>
                <a:lnTo>
                  <a:pt x="4771" y="1976"/>
                </a:lnTo>
                <a:lnTo>
                  <a:pt x="4761" y="1962"/>
                </a:lnTo>
                <a:lnTo>
                  <a:pt x="4761" y="1962"/>
                </a:lnTo>
                <a:lnTo>
                  <a:pt x="4743" y="1933"/>
                </a:lnTo>
                <a:lnTo>
                  <a:pt x="4724" y="1905"/>
                </a:lnTo>
                <a:lnTo>
                  <a:pt x="4724" y="1905"/>
                </a:lnTo>
                <a:lnTo>
                  <a:pt x="4703" y="1877"/>
                </a:lnTo>
                <a:lnTo>
                  <a:pt x="4680" y="1849"/>
                </a:lnTo>
                <a:lnTo>
                  <a:pt x="4658" y="1823"/>
                </a:lnTo>
                <a:lnTo>
                  <a:pt x="4634" y="1797"/>
                </a:lnTo>
                <a:lnTo>
                  <a:pt x="4611" y="1773"/>
                </a:lnTo>
                <a:lnTo>
                  <a:pt x="4586" y="1750"/>
                </a:lnTo>
                <a:lnTo>
                  <a:pt x="4562" y="1727"/>
                </a:lnTo>
                <a:lnTo>
                  <a:pt x="4538" y="1707"/>
                </a:lnTo>
                <a:lnTo>
                  <a:pt x="4513" y="1687"/>
                </a:lnTo>
                <a:lnTo>
                  <a:pt x="4489" y="1667"/>
                </a:lnTo>
                <a:lnTo>
                  <a:pt x="4463" y="1649"/>
                </a:lnTo>
                <a:lnTo>
                  <a:pt x="4439" y="1630"/>
                </a:lnTo>
                <a:lnTo>
                  <a:pt x="4413" y="1614"/>
                </a:lnTo>
                <a:lnTo>
                  <a:pt x="4389" y="1598"/>
                </a:lnTo>
                <a:lnTo>
                  <a:pt x="4337" y="1566"/>
                </a:lnTo>
                <a:lnTo>
                  <a:pt x="4337" y="1566"/>
                </a:lnTo>
                <a:lnTo>
                  <a:pt x="4381" y="1543"/>
                </a:lnTo>
                <a:lnTo>
                  <a:pt x="4422" y="1521"/>
                </a:lnTo>
                <a:lnTo>
                  <a:pt x="4459" y="1498"/>
                </a:lnTo>
                <a:lnTo>
                  <a:pt x="4492" y="1477"/>
                </a:lnTo>
                <a:lnTo>
                  <a:pt x="4523" y="1455"/>
                </a:lnTo>
                <a:lnTo>
                  <a:pt x="4549" y="1434"/>
                </a:lnTo>
                <a:lnTo>
                  <a:pt x="4574" y="1414"/>
                </a:lnTo>
                <a:lnTo>
                  <a:pt x="4595" y="1393"/>
                </a:lnTo>
                <a:lnTo>
                  <a:pt x="4615" y="1374"/>
                </a:lnTo>
                <a:lnTo>
                  <a:pt x="4632" y="1355"/>
                </a:lnTo>
                <a:lnTo>
                  <a:pt x="4647" y="1337"/>
                </a:lnTo>
                <a:lnTo>
                  <a:pt x="4661" y="1319"/>
                </a:lnTo>
                <a:lnTo>
                  <a:pt x="4673" y="1303"/>
                </a:lnTo>
                <a:lnTo>
                  <a:pt x="4683" y="1288"/>
                </a:lnTo>
                <a:lnTo>
                  <a:pt x="4700" y="1260"/>
                </a:lnTo>
                <a:lnTo>
                  <a:pt x="4700" y="1260"/>
                </a:lnTo>
                <a:lnTo>
                  <a:pt x="4708" y="1248"/>
                </a:lnTo>
                <a:lnTo>
                  <a:pt x="4714" y="1234"/>
                </a:lnTo>
                <a:lnTo>
                  <a:pt x="4721" y="1218"/>
                </a:lnTo>
                <a:lnTo>
                  <a:pt x="4727" y="1202"/>
                </a:lnTo>
                <a:lnTo>
                  <a:pt x="4733" y="1183"/>
                </a:lnTo>
                <a:lnTo>
                  <a:pt x="4739" y="1164"/>
                </a:lnTo>
                <a:lnTo>
                  <a:pt x="4743" y="1144"/>
                </a:lnTo>
                <a:lnTo>
                  <a:pt x="4749" y="1123"/>
                </a:lnTo>
                <a:lnTo>
                  <a:pt x="4753" y="1101"/>
                </a:lnTo>
                <a:lnTo>
                  <a:pt x="4756" y="1078"/>
                </a:lnTo>
                <a:lnTo>
                  <a:pt x="4758" y="1054"/>
                </a:lnTo>
                <a:lnTo>
                  <a:pt x="4759" y="1030"/>
                </a:lnTo>
                <a:lnTo>
                  <a:pt x="4760" y="1005"/>
                </a:lnTo>
                <a:lnTo>
                  <a:pt x="4759" y="980"/>
                </a:lnTo>
                <a:lnTo>
                  <a:pt x="4758" y="954"/>
                </a:lnTo>
                <a:lnTo>
                  <a:pt x="4755" y="928"/>
                </a:lnTo>
                <a:lnTo>
                  <a:pt x="4751" y="902"/>
                </a:lnTo>
                <a:lnTo>
                  <a:pt x="4745" y="876"/>
                </a:lnTo>
                <a:lnTo>
                  <a:pt x="4738" y="849"/>
                </a:lnTo>
                <a:lnTo>
                  <a:pt x="4730" y="824"/>
                </a:lnTo>
                <a:lnTo>
                  <a:pt x="4720" y="797"/>
                </a:lnTo>
                <a:lnTo>
                  <a:pt x="4709" y="771"/>
                </a:lnTo>
                <a:lnTo>
                  <a:pt x="4695" y="746"/>
                </a:lnTo>
                <a:lnTo>
                  <a:pt x="4681" y="721"/>
                </a:lnTo>
                <a:lnTo>
                  <a:pt x="4665" y="697"/>
                </a:lnTo>
                <a:lnTo>
                  <a:pt x="4646" y="672"/>
                </a:lnTo>
                <a:lnTo>
                  <a:pt x="4625" y="649"/>
                </a:lnTo>
                <a:lnTo>
                  <a:pt x="4602" y="626"/>
                </a:lnTo>
                <a:lnTo>
                  <a:pt x="4578" y="605"/>
                </a:lnTo>
                <a:lnTo>
                  <a:pt x="4551" y="584"/>
                </a:lnTo>
                <a:lnTo>
                  <a:pt x="4522" y="565"/>
                </a:lnTo>
                <a:lnTo>
                  <a:pt x="4490" y="545"/>
                </a:lnTo>
                <a:lnTo>
                  <a:pt x="4490" y="545"/>
                </a:lnTo>
                <a:lnTo>
                  <a:pt x="4466" y="533"/>
                </a:lnTo>
                <a:lnTo>
                  <a:pt x="4443" y="522"/>
                </a:lnTo>
                <a:lnTo>
                  <a:pt x="4419" y="512"/>
                </a:lnTo>
                <a:lnTo>
                  <a:pt x="4396" y="503"/>
                </a:lnTo>
                <a:lnTo>
                  <a:pt x="4372" y="494"/>
                </a:lnTo>
                <a:lnTo>
                  <a:pt x="4348" y="487"/>
                </a:lnTo>
                <a:lnTo>
                  <a:pt x="4325" y="481"/>
                </a:lnTo>
                <a:lnTo>
                  <a:pt x="4302" y="476"/>
                </a:lnTo>
                <a:lnTo>
                  <a:pt x="4278" y="471"/>
                </a:lnTo>
                <a:lnTo>
                  <a:pt x="4256" y="468"/>
                </a:lnTo>
                <a:lnTo>
                  <a:pt x="4233" y="465"/>
                </a:lnTo>
                <a:lnTo>
                  <a:pt x="4211" y="463"/>
                </a:lnTo>
                <a:lnTo>
                  <a:pt x="4188" y="461"/>
                </a:lnTo>
                <a:lnTo>
                  <a:pt x="4167" y="461"/>
                </a:lnTo>
                <a:lnTo>
                  <a:pt x="4145" y="461"/>
                </a:lnTo>
                <a:lnTo>
                  <a:pt x="4124" y="461"/>
                </a:lnTo>
                <a:lnTo>
                  <a:pt x="4083" y="464"/>
                </a:lnTo>
                <a:lnTo>
                  <a:pt x="4044" y="468"/>
                </a:lnTo>
                <a:lnTo>
                  <a:pt x="4007" y="474"/>
                </a:lnTo>
                <a:lnTo>
                  <a:pt x="3973" y="482"/>
                </a:lnTo>
                <a:lnTo>
                  <a:pt x="3941" y="490"/>
                </a:lnTo>
                <a:lnTo>
                  <a:pt x="3912" y="499"/>
                </a:lnTo>
                <a:lnTo>
                  <a:pt x="3887" y="510"/>
                </a:lnTo>
                <a:lnTo>
                  <a:pt x="3864" y="519"/>
                </a:lnTo>
                <a:lnTo>
                  <a:pt x="3864" y="519"/>
                </a:lnTo>
                <a:lnTo>
                  <a:pt x="3844" y="529"/>
                </a:lnTo>
                <a:lnTo>
                  <a:pt x="3824" y="539"/>
                </a:lnTo>
                <a:lnTo>
                  <a:pt x="3806" y="551"/>
                </a:lnTo>
                <a:lnTo>
                  <a:pt x="3787" y="562"/>
                </a:lnTo>
                <a:lnTo>
                  <a:pt x="3769" y="575"/>
                </a:lnTo>
                <a:lnTo>
                  <a:pt x="3752" y="587"/>
                </a:lnTo>
                <a:lnTo>
                  <a:pt x="3735" y="602"/>
                </a:lnTo>
                <a:lnTo>
                  <a:pt x="3719" y="616"/>
                </a:lnTo>
                <a:lnTo>
                  <a:pt x="3703" y="631"/>
                </a:lnTo>
                <a:lnTo>
                  <a:pt x="3687" y="647"/>
                </a:lnTo>
                <a:lnTo>
                  <a:pt x="3673" y="663"/>
                </a:lnTo>
                <a:lnTo>
                  <a:pt x="3659" y="679"/>
                </a:lnTo>
                <a:lnTo>
                  <a:pt x="3645" y="697"/>
                </a:lnTo>
                <a:lnTo>
                  <a:pt x="3633" y="715"/>
                </a:lnTo>
                <a:lnTo>
                  <a:pt x="3621" y="734"/>
                </a:lnTo>
                <a:lnTo>
                  <a:pt x="3609" y="753"/>
                </a:lnTo>
                <a:lnTo>
                  <a:pt x="3599" y="772"/>
                </a:lnTo>
                <a:lnTo>
                  <a:pt x="3589" y="793"/>
                </a:lnTo>
                <a:lnTo>
                  <a:pt x="3581" y="813"/>
                </a:lnTo>
                <a:lnTo>
                  <a:pt x="3573" y="835"/>
                </a:lnTo>
                <a:lnTo>
                  <a:pt x="3565" y="856"/>
                </a:lnTo>
                <a:lnTo>
                  <a:pt x="3559" y="879"/>
                </a:lnTo>
                <a:lnTo>
                  <a:pt x="3554" y="901"/>
                </a:lnTo>
                <a:lnTo>
                  <a:pt x="3550" y="924"/>
                </a:lnTo>
                <a:lnTo>
                  <a:pt x="3547" y="947"/>
                </a:lnTo>
                <a:lnTo>
                  <a:pt x="3545" y="972"/>
                </a:lnTo>
                <a:lnTo>
                  <a:pt x="3544" y="996"/>
                </a:lnTo>
                <a:lnTo>
                  <a:pt x="3543" y="1021"/>
                </a:lnTo>
                <a:lnTo>
                  <a:pt x="3544" y="1046"/>
                </a:lnTo>
                <a:lnTo>
                  <a:pt x="3546" y="1072"/>
                </a:lnTo>
                <a:lnTo>
                  <a:pt x="3550" y="1098"/>
                </a:lnTo>
                <a:lnTo>
                  <a:pt x="3554" y="1124"/>
                </a:lnTo>
                <a:lnTo>
                  <a:pt x="3554" y="1124"/>
                </a:lnTo>
                <a:lnTo>
                  <a:pt x="3559" y="1148"/>
                </a:lnTo>
                <a:lnTo>
                  <a:pt x="3564" y="1169"/>
                </a:lnTo>
                <a:lnTo>
                  <a:pt x="3571" y="1191"/>
                </a:lnTo>
                <a:lnTo>
                  <a:pt x="3577" y="1211"/>
                </a:lnTo>
                <a:lnTo>
                  <a:pt x="3585" y="1231"/>
                </a:lnTo>
                <a:lnTo>
                  <a:pt x="3592" y="1249"/>
                </a:lnTo>
                <a:lnTo>
                  <a:pt x="3601" y="1267"/>
                </a:lnTo>
                <a:lnTo>
                  <a:pt x="3610" y="1285"/>
                </a:lnTo>
                <a:lnTo>
                  <a:pt x="3620" y="1301"/>
                </a:lnTo>
                <a:lnTo>
                  <a:pt x="3631" y="1316"/>
                </a:lnTo>
                <a:lnTo>
                  <a:pt x="3641" y="1332"/>
                </a:lnTo>
                <a:lnTo>
                  <a:pt x="3652" y="1347"/>
                </a:lnTo>
                <a:lnTo>
                  <a:pt x="3665" y="1361"/>
                </a:lnTo>
                <a:lnTo>
                  <a:pt x="3677" y="1375"/>
                </a:lnTo>
                <a:lnTo>
                  <a:pt x="3690" y="1388"/>
                </a:lnTo>
                <a:lnTo>
                  <a:pt x="3704" y="1400"/>
                </a:lnTo>
                <a:lnTo>
                  <a:pt x="3732" y="1425"/>
                </a:lnTo>
                <a:lnTo>
                  <a:pt x="3763" y="1447"/>
                </a:lnTo>
                <a:lnTo>
                  <a:pt x="3795" y="1469"/>
                </a:lnTo>
                <a:lnTo>
                  <a:pt x="3828" y="1489"/>
                </a:lnTo>
                <a:lnTo>
                  <a:pt x="3863" y="1510"/>
                </a:lnTo>
                <a:lnTo>
                  <a:pt x="3899" y="1529"/>
                </a:lnTo>
                <a:lnTo>
                  <a:pt x="3976" y="1567"/>
                </a:lnTo>
                <a:lnTo>
                  <a:pt x="3976" y="1567"/>
                </a:lnTo>
                <a:lnTo>
                  <a:pt x="3945" y="1584"/>
                </a:lnTo>
                <a:lnTo>
                  <a:pt x="3916" y="1601"/>
                </a:lnTo>
                <a:lnTo>
                  <a:pt x="3890" y="1618"/>
                </a:lnTo>
                <a:lnTo>
                  <a:pt x="3864" y="1636"/>
                </a:lnTo>
                <a:lnTo>
                  <a:pt x="3840" y="1656"/>
                </a:lnTo>
                <a:lnTo>
                  <a:pt x="3817" y="1675"/>
                </a:lnTo>
                <a:lnTo>
                  <a:pt x="3797" y="1696"/>
                </a:lnTo>
                <a:lnTo>
                  <a:pt x="3778" y="1717"/>
                </a:lnTo>
                <a:lnTo>
                  <a:pt x="3761" y="1741"/>
                </a:lnTo>
                <a:lnTo>
                  <a:pt x="3754" y="1753"/>
                </a:lnTo>
                <a:lnTo>
                  <a:pt x="3746" y="1765"/>
                </a:lnTo>
                <a:lnTo>
                  <a:pt x="3739" y="1778"/>
                </a:lnTo>
                <a:lnTo>
                  <a:pt x="3733" y="1791"/>
                </a:lnTo>
                <a:lnTo>
                  <a:pt x="3728" y="1804"/>
                </a:lnTo>
                <a:lnTo>
                  <a:pt x="3723" y="1818"/>
                </a:lnTo>
                <a:lnTo>
                  <a:pt x="3718" y="1833"/>
                </a:lnTo>
                <a:lnTo>
                  <a:pt x="3714" y="1848"/>
                </a:lnTo>
                <a:lnTo>
                  <a:pt x="3711" y="1863"/>
                </a:lnTo>
                <a:lnTo>
                  <a:pt x="3708" y="1879"/>
                </a:lnTo>
                <a:lnTo>
                  <a:pt x="3706" y="1895"/>
                </a:lnTo>
                <a:lnTo>
                  <a:pt x="3705" y="1912"/>
                </a:lnTo>
                <a:lnTo>
                  <a:pt x="3704" y="1930"/>
                </a:lnTo>
                <a:lnTo>
                  <a:pt x="3703" y="1947"/>
                </a:lnTo>
                <a:lnTo>
                  <a:pt x="3703" y="1947"/>
                </a:lnTo>
                <a:lnTo>
                  <a:pt x="3704" y="1970"/>
                </a:lnTo>
                <a:lnTo>
                  <a:pt x="3707" y="1993"/>
                </a:lnTo>
                <a:lnTo>
                  <a:pt x="3711" y="2016"/>
                </a:lnTo>
                <a:lnTo>
                  <a:pt x="3716" y="2039"/>
                </a:lnTo>
                <a:lnTo>
                  <a:pt x="3729" y="2087"/>
                </a:lnTo>
                <a:lnTo>
                  <a:pt x="3736" y="2113"/>
                </a:lnTo>
                <a:lnTo>
                  <a:pt x="3742" y="2139"/>
                </a:lnTo>
                <a:lnTo>
                  <a:pt x="3749" y="2168"/>
                </a:lnTo>
                <a:lnTo>
                  <a:pt x="3753" y="2197"/>
                </a:lnTo>
                <a:lnTo>
                  <a:pt x="3757" y="2227"/>
                </a:lnTo>
                <a:lnTo>
                  <a:pt x="3758" y="2260"/>
                </a:lnTo>
                <a:lnTo>
                  <a:pt x="3758" y="2295"/>
                </a:lnTo>
                <a:lnTo>
                  <a:pt x="3757" y="2313"/>
                </a:lnTo>
                <a:lnTo>
                  <a:pt x="3755" y="2332"/>
                </a:lnTo>
                <a:lnTo>
                  <a:pt x="3753" y="2350"/>
                </a:lnTo>
                <a:lnTo>
                  <a:pt x="3750" y="2371"/>
                </a:lnTo>
                <a:lnTo>
                  <a:pt x="3745" y="2391"/>
                </a:lnTo>
                <a:lnTo>
                  <a:pt x="3741" y="2411"/>
                </a:lnTo>
                <a:lnTo>
                  <a:pt x="3741" y="2411"/>
                </a:lnTo>
                <a:lnTo>
                  <a:pt x="3741" y="2413"/>
                </a:lnTo>
                <a:lnTo>
                  <a:pt x="3741" y="2414"/>
                </a:lnTo>
                <a:lnTo>
                  <a:pt x="3743" y="2414"/>
                </a:lnTo>
                <a:lnTo>
                  <a:pt x="3745" y="2416"/>
                </a:lnTo>
                <a:lnTo>
                  <a:pt x="3753" y="2413"/>
                </a:lnTo>
                <a:lnTo>
                  <a:pt x="3762" y="2411"/>
                </a:lnTo>
                <a:lnTo>
                  <a:pt x="3785" y="2401"/>
                </a:lnTo>
                <a:lnTo>
                  <a:pt x="3814" y="2389"/>
                </a:lnTo>
                <a:lnTo>
                  <a:pt x="3842" y="2374"/>
                </a:lnTo>
                <a:lnTo>
                  <a:pt x="3867" y="2360"/>
                </a:lnTo>
                <a:lnTo>
                  <a:pt x="3886" y="2349"/>
                </a:lnTo>
                <a:lnTo>
                  <a:pt x="3891" y="2345"/>
                </a:lnTo>
                <a:lnTo>
                  <a:pt x="3894" y="2343"/>
                </a:lnTo>
                <a:lnTo>
                  <a:pt x="3894" y="2343"/>
                </a:lnTo>
                <a:lnTo>
                  <a:pt x="3903" y="2319"/>
                </a:lnTo>
                <a:lnTo>
                  <a:pt x="3910" y="2296"/>
                </a:lnTo>
                <a:lnTo>
                  <a:pt x="3916" y="2272"/>
                </a:lnTo>
                <a:lnTo>
                  <a:pt x="3921" y="2248"/>
                </a:lnTo>
                <a:lnTo>
                  <a:pt x="3925" y="2224"/>
                </a:lnTo>
                <a:lnTo>
                  <a:pt x="3928" y="2201"/>
                </a:lnTo>
                <a:lnTo>
                  <a:pt x="3930" y="2178"/>
                </a:lnTo>
                <a:lnTo>
                  <a:pt x="3932" y="2156"/>
                </a:lnTo>
                <a:lnTo>
                  <a:pt x="3932" y="2117"/>
                </a:lnTo>
                <a:lnTo>
                  <a:pt x="3931" y="2086"/>
                </a:lnTo>
                <a:lnTo>
                  <a:pt x="3928" y="2059"/>
                </a:lnTo>
                <a:lnTo>
                  <a:pt x="3928" y="2059"/>
                </a:lnTo>
                <a:lnTo>
                  <a:pt x="3939" y="2068"/>
                </a:lnTo>
                <a:lnTo>
                  <a:pt x="3947" y="2079"/>
                </a:lnTo>
                <a:lnTo>
                  <a:pt x="3954" y="2091"/>
                </a:lnTo>
                <a:lnTo>
                  <a:pt x="3960" y="2105"/>
                </a:lnTo>
                <a:lnTo>
                  <a:pt x="3964" y="2120"/>
                </a:lnTo>
                <a:lnTo>
                  <a:pt x="3968" y="2135"/>
                </a:lnTo>
                <a:lnTo>
                  <a:pt x="3971" y="2152"/>
                </a:lnTo>
                <a:lnTo>
                  <a:pt x="3973" y="2168"/>
                </a:lnTo>
                <a:lnTo>
                  <a:pt x="3975" y="2185"/>
                </a:lnTo>
                <a:lnTo>
                  <a:pt x="3976" y="2203"/>
                </a:lnTo>
                <a:lnTo>
                  <a:pt x="3976" y="2219"/>
                </a:lnTo>
                <a:lnTo>
                  <a:pt x="3975" y="2237"/>
                </a:lnTo>
                <a:lnTo>
                  <a:pt x="3971" y="2268"/>
                </a:lnTo>
                <a:lnTo>
                  <a:pt x="3965" y="2297"/>
                </a:lnTo>
                <a:lnTo>
                  <a:pt x="3965" y="2297"/>
                </a:lnTo>
                <a:lnTo>
                  <a:pt x="3982" y="2288"/>
                </a:lnTo>
                <a:lnTo>
                  <a:pt x="3998" y="2276"/>
                </a:lnTo>
                <a:lnTo>
                  <a:pt x="4016" y="2263"/>
                </a:lnTo>
                <a:lnTo>
                  <a:pt x="4036" y="2249"/>
                </a:lnTo>
                <a:lnTo>
                  <a:pt x="4053" y="2234"/>
                </a:lnTo>
                <a:lnTo>
                  <a:pt x="4061" y="2226"/>
                </a:lnTo>
                <a:lnTo>
                  <a:pt x="4068" y="2219"/>
                </a:lnTo>
                <a:lnTo>
                  <a:pt x="4072" y="2212"/>
                </a:lnTo>
                <a:lnTo>
                  <a:pt x="4075" y="2206"/>
                </a:lnTo>
                <a:lnTo>
                  <a:pt x="4075" y="2206"/>
                </a:lnTo>
                <a:lnTo>
                  <a:pt x="4083" y="2176"/>
                </a:lnTo>
                <a:lnTo>
                  <a:pt x="4090" y="2148"/>
                </a:lnTo>
                <a:lnTo>
                  <a:pt x="4094" y="2121"/>
                </a:lnTo>
                <a:lnTo>
                  <a:pt x="4096" y="2095"/>
                </a:lnTo>
                <a:lnTo>
                  <a:pt x="4096" y="2071"/>
                </a:lnTo>
                <a:lnTo>
                  <a:pt x="4095" y="2047"/>
                </a:lnTo>
                <a:lnTo>
                  <a:pt x="4093" y="2025"/>
                </a:lnTo>
                <a:lnTo>
                  <a:pt x="4090" y="2003"/>
                </a:lnTo>
                <a:lnTo>
                  <a:pt x="4085" y="1983"/>
                </a:lnTo>
                <a:lnTo>
                  <a:pt x="4080" y="1964"/>
                </a:lnTo>
                <a:lnTo>
                  <a:pt x="4075" y="1945"/>
                </a:lnTo>
                <a:lnTo>
                  <a:pt x="4069" y="1928"/>
                </a:lnTo>
                <a:lnTo>
                  <a:pt x="4055" y="1894"/>
                </a:lnTo>
                <a:lnTo>
                  <a:pt x="4043" y="1862"/>
                </a:lnTo>
                <a:lnTo>
                  <a:pt x="4043" y="1862"/>
                </a:lnTo>
                <a:lnTo>
                  <a:pt x="4038" y="1847"/>
                </a:lnTo>
                <a:lnTo>
                  <a:pt x="4035" y="1832"/>
                </a:lnTo>
                <a:lnTo>
                  <a:pt x="4034" y="1817"/>
                </a:lnTo>
                <a:lnTo>
                  <a:pt x="4035" y="1802"/>
                </a:lnTo>
                <a:lnTo>
                  <a:pt x="4037" y="1788"/>
                </a:lnTo>
                <a:lnTo>
                  <a:pt x="4041" y="1773"/>
                </a:lnTo>
                <a:lnTo>
                  <a:pt x="4046" y="1759"/>
                </a:lnTo>
                <a:lnTo>
                  <a:pt x="4053" y="1746"/>
                </a:lnTo>
                <a:lnTo>
                  <a:pt x="4061" y="1733"/>
                </a:lnTo>
                <a:lnTo>
                  <a:pt x="4071" y="1719"/>
                </a:lnTo>
                <a:lnTo>
                  <a:pt x="4081" y="1707"/>
                </a:lnTo>
                <a:lnTo>
                  <a:pt x="4092" y="1696"/>
                </a:lnTo>
                <a:lnTo>
                  <a:pt x="4103" y="1684"/>
                </a:lnTo>
                <a:lnTo>
                  <a:pt x="4117" y="1673"/>
                </a:lnTo>
                <a:lnTo>
                  <a:pt x="4130" y="1664"/>
                </a:lnTo>
                <a:lnTo>
                  <a:pt x="4145" y="1655"/>
                </a:lnTo>
                <a:lnTo>
                  <a:pt x="4145" y="1655"/>
                </a:lnTo>
                <a:lnTo>
                  <a:pt x="4180" y="1674"/>
                </a:lnTo>
                <a:lnTo>
                  <a:pt x="4215" y="1695"/>
                </a:lnTo>
                <a:lnTo>
                  <a:pt x="4251" y="1716"/>
                </a:lnTo>
                <a:lnTo>
                  <a:pt x="4286" y="1740"/>
                </a:lnTo>
                <a:lnTo>
                  <a:pt x="4286" y="1740"/>
                </a:lnTo>
                <a:lnTo>
                  <a:pt x="4307" y="1754"/>
                </a:lnTo>
                <a:lnTo>
                  <a:pt x="4341" y="1779"/>
                </a:lnTo>
                <a:lnTo>
                  <a:pt x="4361" y="1794"/>
                </a:lnTo>
                <a:lnTo>
                  <a:pt x="4382" y="1812"/>
                </a:lnTo>
                <a:lnTo>
                  <a:pt x="4405" y="1832"/>
                </a:lnTo>
                <a:lnTo>
                  <a:pt x="4430" y="1853"/>
                </a:lnTo>
                <a:lnTo>
                  <a:pt x="4453" y="1877"/>
                </a:lnTo>
                <a:lnTo>
                  <a:pt x="4478" y="1901"/>
                </a:lnTo>
                <a:lnTo>
                  <a:pt x="4501" y="1928"/>
                </a:lnTo>
                <a:lnTo>
                  <a:pt x="4524" y="1956"/>
                </a:lnTo>
                <a:lnTo>
                  <a:pt x="4545" y="1985"/>
                </a:lnTo>
                <a:lnTo>
                  <a:pt x="4564" y="2016"/>
                </a:lnTo>
                <a:lnTo>
                  <a:pt x="4574" y="2031"/>
                </a:lnTo>
                <a:lnTo>
                  <a:pt x="4582" y="2047"/>
                </a:lnTo>
                <a:lnTo>
                  <a:pt x="4590" y="2064"/>
                </a:lnTo>
                <a:lnTo>
                  <a:pt x="4596" y="2080"/>
                </a:lnTo>
                <a:lnTo>
                  <a:pt x="4596" y="2080"/>
                </a:lnTo>
                <a:lnTo>
                  <a:pt x="4606" y="2106"/>
                </a:lnTo>
                <a:lnTo>
                  <a:pt x="4616" y="2130"/>
                </a:lnTo>
                <a:lnTo>
                  <a:pt x="4624" y="2155"/>
                </a:lnTo>
                <a:lnTo>
                  <a:pt x="4630" y="2178"/>
                </a:lnTo>
                <a:lnTo>
                  <a:pt x="4636" y="2202"/>
                </a:lnTo>
                <a:lnTo>
                  <a:pt x="4641" y="2224"/>
                </a:lnTo>
                <a:lnTo>
                  <a:pt x="4645" y="2246"/>
                </a:lnTo>
                <a:lnTo>
                  <a:pt x="4649" y="2266"/>
                </a:lnTo>
                <a:lnTo>
                  <a:pt x="4651" y="2287"/>
                </a:lnTo>
                <a:lnTo>
                  <a:pt x="4653" y="2306"/>
                </a:lnTo>
                <a:lnTo>
                  <a:pt x="4654" y="2325"/>
                </a:lnTo>
                <a:lnTo>
                  <a:pt x="4655" y="2343"/>
                </a:lnTo>
                <a:lnTo>
                  <a:pt x="4654" y="2377"/>
                </a:lnTo>
                <a:lnTo>
                  <a:pt x="4652" y="2408"/>
                </a:lnTo>
                <a:lnTo>
                  <a:pt x="4648" y="2437"/>
                </a:lnTo>
                <a:lnTo>
                  <a:pt x="4642" y="2464"/>
                </a:lnTo>
                <a:lnTo>
                  <a:pt x="4635" y="2487"/>
                </a:lnTo>
                <a:lnTo>
                  <a:pt x="4628" y="2509"/>
                </a:lnTo>
                <a:lnTo>
                  <a:pt x="4620" y="2527"/>
                </a:lnTo>
                <a:lnTo>
                  <a:pt x="4612" y="2544"/>
                </a:lnTo>
                <a:lnTo>
                  <a:pt x="4603" y="2559"/>
                </a:lnTo>
                <a:lnTo>
                  <a:pt x="4596" y="2570"/>
                </a:lnTo>
                <a:lnTo>
                  <a:pt x="4596" y="2570"/>
                </a:lnTo>
                <a:lnTo>
                  <a:pt x="4582" y="2590"/>
                </a:lnTo>
                <a:lnTo>
                  <a:pt x="4568" y="2611"/>
                </a:lnTo>
                <a:lnTo>
                  <a:pt x="4553" y="2629"/>
                </a:lnTo>
                <a:lnTo>
                  <a:pt x="4538" y="2648"/>
                </a:lnTo>
                <a:lnTo>
                  <a:pt x="4522" y="2665"/>
                </a:lnTo>
                <a:lnTo>
                  <a:pt x="4505" y="2681"/>
                </a:lnTo>
                <a:lnTo>
                  <a:pt x="4487" y="2697"/>
                </a:lnTo>
                <a:lnTo>
                  <a:pt x="4469" y="2711"/>
                </a:lnTo>
                <a:lnTo>
                  <a:pt x="4450" y="2724"/>
                </a:lnTo>
                <a:lnTo>
                  <a:pt x="4430" y="2736"/>
                </a:lnTo>
                <a:lnTo>
                  <a:pt x="4409" y="2747"/>
                </a:lnTo>
                <a:lnTo>
                  <a:pt x="4388" y="2756"/>
                </a:lnTo>
                <a:lnTo>
                  <a:pt x="4364" y="2764"/>
                </a:lnTo>
                <a:lnTo>
                  <a:pt x="4341" y="2771"/>
                </a:lnTo>
                <a:lnTo>
                  <a:pt x="4316" y="2776"/>
                </a:lnTo>
                <a:lnTo>
                  <a:pt x="4290" y="2779"/>
                </a:lnTo>
                <a:lnTo>
                  <a:pt x="4290" y="2779"/>
                </a:lnTo>
                <a:lnTo>
                  <a:pt x="4283" y="2778"/>
                </a:lnTo>
                <a:lnTo>
                  <a:pt x="4275" y="2778"/>
                </a:lnTo>
                <a:lnTo>
                  <a:pt x="4275" y="2778"/>
                </a:lnTo>
                <a:lnTo>
                  <a:pt x="4242" y="2779"/>
                </a:lnTo>
                <a:lnTo>
                  <a:pt x="4213" y="2779"/>
                </a:lnTo>
                <a:lnTo>
                  <a:pt x="4185" y="2778"/>
                </a:lnTo>
                <a:lnTo>
                  <a:pt x="4159" y="2775"/>
                </a:lnTo>
                <a:lnTo>
                  <a:pt x="4159" y="2775"/>
                </a:lnTo>
                <a:lnTo>
                  <a:pt x="4131" y="2770"/>
                </a:lnTo>
                <a:lnTo>
                  <a:pt x="4103" y="2765"/>
                </a:lnTo>
                <a:lnTo>
                  <a:pt x="4077" y="2758"/>
                </a:lnTo>
                <a:lnTo>
                  <a:pt x="4052" y="2751"/>
                </a:lnTo>
                <a:lnTo>
                  <a:pt x="4052" y="2751"/>
                </a:lnTo>
                <a:lnTo>
                  <a:pt x="4009" y="2736"/>
                </a:lnTo>
                <a:lnTo>
                  <a:pt x="3965" y="2717"/>
                </a:lnTo>
                <a:lnTo>
                  <a:pt x="3965" y="2717"/>
                </a:lnTo>
                <a:lnTo>
                  <a:pt x="3925" y="2697"/>
                </a:lnTo>
                <a:lnTo>
                  <a:pt x="3874" y="2669"/>
                </a:lnTo>
                <a:lnTo>
                  <a:pt x="3846" y="2652"/>
                </a:lnTo>
                <a:lnTo>
                  <a:pt x="3815" y="2632"/>
                </a:lnTo>
                <a:lnTo>
                  <a:pt x="3782" y="2612"/>
                </a:lnTo>
                <a:lnTo>
                  <a:pt x="3748" y="2588"/>
                </a:lnTo>
                <a:lnTo>
                  <a:pt x="3712" y="2564"/>
                </a:lnTo>
                <a:lnTo>
                  <a:pt x="3676" y="2536"/>
                </a:lnTo>
                <a:lnTo>
                  <a:pt x="3638" y="2508"/>
                </a:lnTo>
                <a:lnTo>
                  <a:pt x="3601" y="2477"/>
                </a:lnTo>
                <a:lnTo>
                  <a:pt x="3563" y="2444"/>
                </a:lnTo>
                <a:lnTo>
                  <a:pt x="3526" y="2409"/>
                </a:lnTo>
                <a:lnTo>
                  <a:pt x="3488" y="2373"/>
                </a:lnTo>
                <a:lnTo>
                  <a:pt x="3451" y="2335"/>
                </a:lnTo>
                <a:lnTo>
                  <a:pt x="3451" y="2335"/>
                </a:lnTo>
                <a:lnTo>
                  <a:pt x="3394" y="2271"/>
                </a:lnTo>
                <a:lnTo>
                  <a:pt x="3342" y="2212"/>
                </a:lnTo>
                <a:lnTo>
                  <a:pt x="3295" y="2157"/>
                </a:lnTo>
                <a:lnTo>
                  <a:pt x="3253" y="2107"/>
                </a:lnTo>
                <a:lnTo>
                  <a:pt x="3215" y="2060"/>
                </a:lnTo>
                <a:lnTo>
                  <a:pt x="3180" y="2017"/>
                </a:lnTo>
                <a:lnTo>
                  <a:pt x="3120" y="1940"/>
                </a:lnTo>
                <a:lnTo>
                  <a:pt x="3120" y="1940"/>
                </a:lnTo>
                <a:lnTo>
                  <a:pt x="3138" y="1947"/>
                </a:lnTo>
                <a:lnTo>
                  <a:pt x="3156" y="1953"/>
                </a:lnTo>
                <a:lnTo>
                  <a:pt x="3175" y="1958"/>
                </a:lnTo>
                <a:lnTo>
                  <a:pt x="3193" y="1963"/>
                </a:lnTo>
                <a:lnTo>
                  <a:pt x="3211" y="1966"/>
                </a:lnTo>
                <a:lnTo>
                  <a:pt x="3229" y="1968"/>
                </a:lnTo>
                <a:lnTo>
                  <a:pt x="3262" y="1971"/>
                </a:lnTo>
                <a:lnTo>
                  <a:pt x="3289" y="1971"/>
                </a:lnTo>
                <a:lnTo>
                  <a:pt x="3312" y="1970"/>
                </a:lnTo>
                <a:lnTo>
                  <a:pt x="3332" y="1968"/>
                </a:lnTo>
                <a:lnTo>
                  <a:pt x="3332" y="1968"/>
                </a:lnTo>
                <a:lnTo>
                  <a:pt x="3336" y="1918"/>
                </a:lnTo>
                <a:lnTo>
                  <a:pt x="3338" y="1873"/>
                </a:lnTo>
                <a:lnTo>
                  <a:pt x="3340" y="1833"/>
                </a:lnTo>
                <a:lnTo>
                  <a:pt x="3346" y="1698"/>
                </a:lnTo>
                <a:lnTo>
                  <a:pt x="3346" y="1698"/>
                </a:lnTo>
                <a:lnTo>
                  <a:pt x="3349" y="1661"/>
                </a:lnTo>
                <a:lnTo>
                  <a:pt x="3351" y="1626"/>
                </a:lnTo>
                <a:lnTo>
                  <a:pt x="3352" y="1589"/>
                </a:lnTo>
                <a:lnTo>
                  <a:pt x="3352" y="1589"/>
                </a:lnTo>
                <a:lnTo>
                  <a:pt x="3340" y="1588"/>
                </a:lnTo>
                <a:lnTo>
                  <a:pt x="3307" y="1584"/>
                </a:lnTo>
                <a:lnTo>
                  <a:pt x="3285" y="1581"/>
                </a:lnTo>
                <a:lnTo>
                  <a:pt x="3260" y="1576"/>
                </a:lnTo>
                <a:lnTo>
                  <a:pt x="3233" y="1571"/>
                </a:lnTo>
                <a:lnTo>
                  <a:pt x="3206" y="1564"/>
                </a:lnTo>
                <a:lnTo>
                  <a:pt x="3176" y="1555"/>
                </a:lnTo>
                <a:lnTo>
                  <a:pt x="3147" y="1544"/>
                </a:lnTo>
                <a:lnTo>
                  <a:pt x="3120" y="1532"/>
                </a:lnTo>
                <a:lnTo>
                  <a:pt x="3106" y="1526"/>
                </a:lnTo>
                <a:lnTo>
                  <a:pt x="3093" y="1519"/>
                </a:lnTo>
                <a:lnTo>
                  <a:pt x="3081" y="1511"/>
                </a:lnTo>
                <a:lnTo>
                  <a:pt x="3070" y="1502"/>
                </a:lnTo>
                <a:lnTo>
                  <a:pt x="3058" y="1493"/>
                </a:lnTo>
                <a:lnTo>
                  <a:pt x="3049" y="1484"/>
                </a:lnTo>
                <a:lnTo>
                  <a:pt x="3040" y="1474"/>
                </a:lnTo>
                <a:lnTo>
                  <a:pt x="3032" y="1463"/>
                </a:lnTo>
                <a:lnTo>
                  <a:pt x="3025" y="1451"/>
                </a:lnTo>
                <a:lnTo>
                  <a:pt x="3019" y="1439"/>
                </a:lnTo>
                <a:lnTo>
                  <a:pt x="3019" y="1439"/>
                </a:lnTo>
                <a:lnTo>
                  <a:pt x="3030" y="1445"/>
                </a:lnTo>
                <a:lnTo>
                  <a:pt x="3042" y="1450"/>
                </a:lnTo>
                <a:lnTo>
                  <a:pt x="3059" y="1457"/>
                </a:lnTo>
                <a:lnTo>
                  <a:pt x="3081" y="1465"/>
                </a:lnTo>
                <a:lnTo>
                  <a:pt x="3106" y="1472"/>
                </a:lnTo>
                <a:lnTo>
                  <a:pt x="3136" y="1477"/>
                </a:lnTo>
                <a:lnTo>
                  <a:pt x="3152" y="1479"/>
                </a:lnTo>
                <a:lnTo>
                  <a:pt x="3169" y="1480"/>
                </a:lnTo>
                <a:lnTo>
                  <a:pt x="3169" y="1480"/>
                </a:lnTo>
                <a:lnTo>
                  <a:pt x="3201" y="1481"/>
                </a:lnTo>
                <a:lnTo>
                  <a:pt x="3234" y="1481"/>
                </a:lnTo>
                <a:lnTo>
                  <a:pt x="3266" y="1479"/>
                </a:lnTo>
                <a:lnTo>
                  <a:pt x="3295" y="1477"/>
                </a:lnTo>
                <a:lnTo>
                  <a:pt x="3340" y="1471"/>
                </a:lnTo>
                <a:lnTo>
                  <a:pt x="3357" y="1469"/>
                </a:lnTo>
                <a:lnTo>
                  <a:pt x="3357" y="1469"/>
                </a:lnTo>
                <a:lnTo>
                  <a:pt x="3359" y="1463"/>
                </a:lnTo>
                <a:lnTo>
                  <a:pt x="3361" y="1451"/>
                </a:lnTo>
                <a:lnTo>
                  <a:pt x="3364" y="1421"/>
                </a:lnTo>
                <a:lnTo>
                  <a:pt x="3367" y="1381"/>
                </a:lnTo>
                <a:lnTo>
                  <a:pt x="3369" y="1337"/>
                </a:lnTo>
                <a:lnTo>
                  <a:pt x="3373" y="1257"/>
                </a:lnTo>
                <a:lnTo>
                  <a:pt x="3375" y="1222"/>
                </a:lnTo>
                <a:lnTo>
                  <a:pt x="3375" y="1222"/>
                </a:lnTo>
                <a:lnTo>
                  <a:pt x="3376" y="1194"/>
                </a:lnTo>
                <a:lnTo>
                  <a:pt x="3377" y="1154"/>
                </a:lnTo>
                <a:lnTo>
                  <a:pt x="3377" y="1105"/>
                </a:lnTo>
                <a:lnTo>
                  <a:pt x="3377" y="1105"/>
                </a:lnTo>
                <a:lnTo>
                  <a:pt x="3369" y="1107"/>
                </a:lnTo>
                <a:lnTo>
                  <a:pt x="3359" y="1108"/>
                </a:lnTo>
                <a:lnTo>
                  <a:pt x="3338" y="1110"/>
                </a:lnTo>
                <a:lnTo>
                  <a:pt x="3315" y="1109"/>
                </a:lnTo>
                <a:lnTo>
                  <a:pt x="3290" y="1107"/>
                </a:lnTo>
                <a:lnTo>
                  <a:pt x="3264" y="1104"/>
                </a:lnTo>
                <a:lnTo>
                  <a:pt x="3236" y="1100"/>
                </a:lnTo>
                <a:lnTo>
                  <a:pt x="3208" y="1094"/>
                </a:lnTo>
                <a:lnTo>
                  <a:pt x="3178" y="1086"/>
                </a:lnTo>
                <a:lnTo>
                  <a:pt x="3178" y="1086"/>
                </a:lnTo>
                <a:lnTo>
                  <a:pt x="3158" y="1080"/>
                </a:lnTo>
                <a:lnTo>
                  <a:pt x="3135" y="1071"/>
                </a:lnTo>
                <a:lnTo>
                  <a:pt x="3112" y="1059"/>
                </a:lnTo>
                <a:lnTo>
                  <a:pt x="3088" y="1044"/>
                </a:lnTo>
                <a:lnTo>
                  <a:pt x="3064" y="1028"/>
                </a:lnTo>
                <a:lnTo>
                  <a:pt x="3053" y="1019"/>
                </a:lnTo>
                <a:lnTo>
                  <a:pt x="3043" y="1010"/>
                </a:lnTo>
                <a:lnTo>
                  <a:pt x="3034" y="999"/>
                </a:lnTo>
                <a:lnTo>
                  <a:pt x="3025" y="990"/>
                </a:lnTo>
                <a:lnTo>
                  <a:pt x="3017" y="980"/>
                </a:lnTo>
                <a:lnTo>
                  <a:pt x="3010" y="969"/>
                </a:lnTo>
                <a:lnTo>
                  <a:pt x="3010" y="969"/>
                </a:lnTo>
                <a:lnTo>
                  <a:pt x="3022" y="974"/>
                </a:lnTo>
                <a:lnTo>
                  <a:pt x="3035" y="978"/>
                </a:lnTo>
                <a:lnTo>
                  <a:pt x="3052" y="984"/>
                </a:lnTo>
                <a:lnTo>
                  <a:pt x="3075" y="990"/>
                </a:lnTo>
                <a:lnTo>
                  <a:pt x="3101" y="996"/>
                </a:lnTo>
                <a:lnTo>
                  <a:pt x="3132" y="1003"/>
                </a:lnTo>
                <a:lnTo>
                  <a:pt x="3167" y="1008"/>
                </a:lnTo>
                <a:lnTo>
                  <a:pt x="3167" y="1008"/>
                </a:lnTo>
                <a:lnTo>
                  <a:pt x="3187" y="1010"/>
                </a:lnTo>
                <a:lnTo>
                  <a:pt x="3207" y="1011"/>
                </a:lnTo>
                <a:lnTo>
                  <a:pt x="3226" y="1012"/>
                </a:lnTo>
                <a:lnTo>
                  <a:pt x="3245" y="1012"/>
                </a:lnTo>
                <a:lnTo>
                  <a:pt x="3283" y="1010"/>
                </a:lnTo>
                <a:lnTo>
                  <a:pt x="3317" y="1007"/>
                </a:lnTo>
                <a:lnTo>
                  <a:pt x="3346" y="1001"/>
                </a:lnTo>
                <a:lnTo>
                  <a:pt x="3369" y="996"/>
                </a:lnTo>
                <a:lnTo>
                  <a:pt x="3377" y="993"/>
                </a:lnTo>
                <a:lnTo>
                  <a:pt x="3383" y="991"/>
                </a:lnTo>
                <a:lnTo>
                  <a:pt x="3388" y="988"/>
                </a:lnTo>
                <a:lnTo>
                  <a:pt x="3390" y="985"/>
                </a:lnTo>
                <a:lnTo>
                  <a:pt x="3390" y="985"/>
                </a:lnTo>
                <a:lnTo>
                  <a:pt x="3392" y="959"/>
                </a:lnTo>
                <a:lnTo>
                  <a:pt x="3393" y="925"/>
                </a:lnTo>
                <a:lnTo>
                  <a:pt x="3394" y="848"/>
                </a:lnTo>
                <a:lnTo>
                  <a:pt x="3394" y="750"/>
                </a:lnTo>
                <a:lnTo>
                  <a:pt x="3394" y="750"/>
                </a:lnTo>
                <a:lnTo>
                  <a:pt x="3399" y="686"/>
                </a:lnTo>
                <a:lnTo>
                  <a:pt x="3400" y="642"/>
                </a:lnTo>
                <a:lnTo>
                  <a:pt x="3400" y="627"/>
                </a:lnTo>
                <a:lnTo>
                  <a:pt x="3399" y="623"/>
                </a:lnTo>
                <a:lnTo>
                  <a:pt x="3398" y="622"/>
                </a:lnTo>
                <a:lnTo>
                  <a:pt x="3398" y="622"/>
                </a:lnTo>
                <a:lnTo>
                  <a:pt x="3392" y="622"/>
                </a:lnTo>
                <a:lnTo>
                  <a:pt x="3381" y="623"/>
                </a:lnTo>
                <a:lnTo>
                  <a:pt x="3368" y="623"/>
                </a:lnTo>
                <a:lnTo>
                  <a:pt x="3354" y="622"/>
                </a:lnTo>
                <a:lnTo>
                  <a:pt x="3336" y="620"/>
                </a:lnTo>
                <a:lnTo>
                  <a:pt x="3317" y="617"/>
                </a:lnTo>
                <a:lnTo>
                  <a:pt x="3297" y="612"/>
                </a:lnTo>
                <a:lnTo>
                  <a:pt x="3274" y="607"/>
                </a:lnTo>
                <a:lnTo>
                  <a:pt x="3251" y="599"/>
                </a:lnTo>
                <a:lnTo>
                  <a:pt x="3226" y="589"/>
                </a:lnTo>
                <a:lnTo>
                  <a:pt x="3200" y="578"/>
                </a:lnTo>
                <a:lnTo>
                  <a:pt x="3175" y="564"/>
                </a:lnTo>
                <a:lnTo>
                  <a:pt x="3149" y="548"/>
                </a:lnTo>
                <a:lnTo>
                  <a:pt x="3123" y="529"/>
                </a:lnTo>
                <a:lnTo>
                  <a:pt x="3110" y="519"/>
                </a:lnTo>
                <a:lnTo>
                  <a:pt x="3097" y="508"/>
                </a:lnTo>
                <a:lnTo>
                  <a:pt x="3085" y="495"/>
                </a:lnTo>
                <a:lnTo>
                  <a:pt x="3073" y="483"/>
                </a:lnTo>
                <a:lnTo>
                  <a:pt x="3073" y="483"/>
                </a:lnTo>
                <a:lnTo>
                  <a:pt x="3071" y="481"/>
                </a:lnTo>
                <a:lnTo>
                  <a:pt x="3065" y="476"/>
                </a:lnTo>
                <a:lnTo>
                  <a:pt x="3059" y="467"/>
                </a:lnTo>
                <a:lnTo>
                  <a:pt x="3056" y="461"/>
                </a:lnTo>
                <a:lnTo>
                  <a:pt x="3053" y="454"/>
                </a:lnTo>
                <a:lnTo>
                  <a:pt x="3051" y="447"/>
                </a:lnTo>
                <a:lnTo>
                  <a:pt x="3050" y="439"/>
                </a:lnTo>
                <a:lnTo>
                  <a:pt x="3049" y="430"/>
                </a:lnTo>
                <a:lnTo>
                  <a:pt x="3050" y="420"/>
                </a:lnTo>
                <a:lnTo>
                  <a:pt x="3053" y="410"/>
                </a:lnTo>
                <a:lnTo>
                  <a:pt x="3056" y="398"/>
                </a:lnTo>
                <a:lnTo>
                  <a:pt x="3062" y="386"/>
                </a:lnTo>
                <a:lnTo>
                  <a:pt x="3071" y="373"/>
                </a:lnTo>
                <a:lnTo>
                  <a:pt x="3071" y="373"/>
                </a:lnTo>
                <a:lnTo>
                  <a:pt x="2806" y="254"/>
                </a:lnTo>
                <a:lnTo>
                  <a:pt x="2806" y="254"/>
                </a:lnTo>
                <a:lnTo>
                  <a:pt x="2815" y="245"/>
                </a:lnTo>
                <a:lnTo>
                  <a:pt x="2824" y="234"/>
                </a:lnTo>
                <a:lnTo>
                  <a:pt x="2834" y="219"/>
                </a:lnTo>
                <a:lnTo>
                  <a:pt x="2845" y="203"/>
                </a:lnTo>
                <a:lnTo>
                  <a:pt x="2850" y="194"/>
                </a:lnTo>
                <a:lnTo>
                  <a:pt x="2854" y="185"/>
                </a:lnTo>
                <a:lnTo>
                  <a:pt x="2858" y="174"/>
                </a:lnTo>
                <a:lnTo>
                  <a:pt x="2861" y="164"/>
                </a:lnTo>
                <a:lnTo>
                  <a:pt x="2863" y="154"/>
                </a:lnTo>
                <a:lnTo>
                  <a:pt x="2863" y="144"/>
                </a:lnTo>
                <a:lnTo>
                  <a:pt x="2863" y="144"/>
                </a:lnTo>
                <a:lnTo>
                  <a:pt x="2863" y="132"/>
                </a:lnTo>
                <a:lnTo>
                  <a:pt x="2860" y="122"/>
                </a:lnTo>
                <a:lnTo>
                  <a:pt x="2855" y="112"/>
                </a:lnTo>
                <a:lnTo>
                  <a:pt x="2849" y="103"/>
                </a:lnTo>
                <a:lnTo>
                  <a:pt x="2841" y="94"/>
                </a:lnTo>
                <a:lnTo>
                  <a:pt x="2830" y="86"/>
                </a:lnTo>
                <a:lnTo>
                  <a:pt x="2820" y="79"/>
                </a:lnTo>
                <a:lnTo>
                  <a:pt x="2808" y="73"/>
                </a:lnTo>
                <a:lnTo>
                  <a:pt x="2795" y="68"/>
                </a:lnTo>
                <a:lnTo>
                  <a:pt x="2781" y="64"/>
                </a:lnTo>
                <a:lnTo>
                  <a:pt x="2767" y="60"/>
                </a:lnTo>
                <a:lnTo>
                  <a:pt x="2753" y="58"/>
                </a:lnTo>
                <a:lnTo>
                  <a:pt x="2738" y="56"/>
                </a:lnTo>
                <a:lnTo>
                  <a:pt x="2723" y="56"/>
                </a:lnTo>
                <a:lnTo>
                  <a:pt x="2709" y="57"/>
                </a:lnTo>
                <a:lnTo>
                  <a:pt x="2694" y="59"/>
                </a:lnTo>
                <a:lnTo>
                  <a:pt x="2694" y="59"/>
                </a:lnTo>
                <a:lnTo>
                  <a:pt x="2681" y="62"/>
                </a:lnTo>
                <a:lnTo>
                  <a:pt x="2669" y="66"/>
                </a:lnTo>
                <a:lnTo>
                  <a:pt x="2656" y="71"/>
                </a:lnTo>
                <a:lnTo>
                  <a:pt x="2644" y="77"/>
                </a:lnTo>
                <a:lnTo>
                  <a:pt x="2634" y="84"/>
                </a:lnTo>
                <a:lnTo>
                  <a:pt x="2623" y="92"/>
                </a:lnTo>
                <a:lnTo>
                  <a:pt x="2604" y="107"/>
                </a:lnTo>
                <a:lnTo>
                  <a:pt x="2589" y="122"/>
                </a:lnTo>
                <a:lnTo>
                  <a:pt x="2578" y="134"/>
                </a:lnTo>
                <a:lnTo>
                  <a:pt x="2569" y="147"/>
                </a:lnTo>
                <a:lnTo>
                  <a:pt x="2238" y="0"/>
                </a:lnTo>
                <a:lnTo>
                  <a:pt x="1977" y="263"/>
                </a:lnTo>
                <a:lnTo>
                  <a:pt x="1977" y="263"/>
                </a:lnTo>
                <a:lnTo>
                  <a:pt x="1972" y="268"/>
                </a:lnTo>
                <a:lnTo>
                  <a:pt x="1966" y="280"/>
                </a:lnTo>
                <a:lnTo>
                  <a:pt x="1963" y="287"/>
                </a:lnTo>
                <a:lnTo>
                  <a:pt x="1961" y="295"/>
                </a:lnTo>
                <a:lnTo>
                  <a:pt x="1960" y="304"/>
                </a:lnTo>
                <a:lnTo>
                  <a:pt x="1960" y="313"/>
                </a:lnTo>
                <a:lnTo>
                  <a:pt x="1964" y="337"/>
                </a:lnTo>
                <a:lnTo>
                  <a:pt x="1964" y="337"/>
                </a:lnTo>
                <a:lnTo>
                  <a:pt x="1964" y="343"/>
                </a:lnTo>
                <a:lnTo>
                  <a:pt x="1963" y="349"/>
                </a:lnTo>
                <a:lnTo>
                  <a:pt x="1962" y="354"/>
                </a:lnTo>
                <a:lnTo>
                  <a:pt x="1961" y="358"/>
                </a:lnTo>
                <a:lnTo>
                  <a:pt x="1957" y="366"/>
                </a:lnTo>
                <a:lnTo>
                  <a:pt x="1955" y="370"/>
                </a:lnTo>
                <a:lnTo>
                  <a:pt x="1955" y="370"/>
                </a:lnTo>
                <a:lnTo>
                  <a:pt x="1936" y="392"/>
                </a:lnTo>
                <a:lnTo>
                  <a:pt x="1916" y="416"/>
                </a:lnTo>
                <a:lnTo>
                  <a:pt x="1896" y="438"/>
                </a:lnTo>
                <a:lnTo>
                  <a:pt x="1876" y="461"/>
                </a:lnTo>
                <a:lnTo>
                  <a:pt x="1876" y="461"/>
                </a:lnTo>
                <a:lnTo>
                  <a:pt x="1847" y="499"/>
                </a:lnTo>
                <a:lnTo>
                  <a:pt x="1836" y="515"/>
                </a:lnTo>
                <a:lnTo>
                  <a:pt x="1828" y="527"/>
                </a:lnTo>
                <a:lnTo>
                  <a:pt x="1828" y="527"/>
                </a:lnTo>
                <a:lnTo>
                  <a:pt x="1819" y="542"/>
                </a:lnTo>
                <a:lnTo>
                  <a:pt x="1811" y="558"/>
                </a:lnTo>
                <a:lnTo>
                  <a:pt x="1799" y="583"/>
                </a:lnTo>
                <a:lnTo>
                  <a:pt x="1789" y="607"/>
                </a:lnTo>
                <a:lnTo>
                  <a:pt x="1781" y="628"/>
                </a:lnTo>
                <a:lnTo>
                  <a:pt x="1781" y="628"/>
                </a:lnTo>
                <a:lnTo>
                  <a:pt x="1780" y="631"/>
                </a:lnTo>
                <a:lnTo>
                  <a:pt x="1778" y="642"/>
                </a:lnTo>
                <a:lnTo>
                  <a:pt x="1778" y="649"/>
                </a:lnTo>
                <a:lnTo>
                  <a:pt x="1777" y="657"/>
                </a:lnTo>
                <a:lnTo>
                  <a:pt x="1778" y="666"/>
                </a:lnTo>
                <a:lnTo>
                  <a:pt x="1780" y="677"/>
                </a:lnTo>
                <a:lnTo>
                  <a:pt x="1784" y="690"/>
                </a:lnTo>
                <a:lnTo>
                  <a:pt x="1789" y="703"/>
                </a:lnTo>
                <a:lnTo>
                  <a:pt x="1797" y="716"/>
                </a:lnTo>
                <a:lnTo>
                  <a:pt x="1807" y="732"/>
                </a:lnTo>
                <a:lnTo>
                  <a:pt x="1819" y="748"/>
                </a:lnTo>
                <a:lnTo>
                  <a:pt x="1833" y="764"/>
                </a:lnTo>
                <a:lnTo>
                  <a:pt x="1852" y="782"/>
                </a:lnTo>
                <a:lnTo>
                  <a:pt x="1874" y="800"/>
                </a:lnTo>
                <a:lnTo>
                  <a:pt x="1881" y="806"/>
                </a:lnTo>
                <a:lnTo>
                  <a:pt x="1881" y="806"/>
                </a:lnTo>
                <a:lnTo>
                  <a:pt x="1894" y="789"/>
                </a:lnTo>
                <a:lnTo>
                  <a:pt x="1905" y="800"/>
                </a:lnTo>
                <a:lnTo>
                  <a:pt x="1905" y="800"/>
                </a:lnTo>
                <a:lnTo>
                  <a:pt x="1914" y="809"/>
                </a:lnTo>
                <a:lnTo>
                  <a:pt x="1926" y="820"/>
                </a:lnTo>
                <a:lnTo>
                  <a:pt x="1941" y="832"/>
                </a:lnTo>
                <a:lnTo>
                  <a:pt x="1957" y="842"/>
                </a:lnTo>
                <a:lnTo>
                  <a:pt x="1957" y="842"/>
                </a:lnTo>
                <a:lnTo>
                  <a:pt x="1959" y="835"/>
                </a:lnTo>
                <a:lnTo>
                  <a:pt x="1964" y="815"/>
                </a:lnTo>
                <a:lnTo>
                  <a:pt x="1969" y="802"/>
                </a:lnTo>
                <a:lnTo>
                  <a:pt x="1975" y="789"/>
                </a:lnTo>
                <a:lnTo>
                  <a:pt x="1983" y="775"/>
                </a:lnTo>
                <a:lnTo>
                  <a:pt x="1991" y="760"/>
                </a:lnTo>
                <a:lnTo>
                  <a:pt x="1991" y="760"/>
                </a:lnTo>
                <a:lnTo>
                  <a:pt x="2000" y="748"/>
                </a:lnTo>
                <a:lnTo>
                  <a:pt x="2011" y="736"/>
                </a:lnTo>
                <a:lnTo>
                  <a:pt x="2025" y="722"/>
                </a:lnTo>
                <a:lnTo>
                  <a:pt x="2038" y="709"/>
                </a:lnTo>
                <a:lnTo>
                  <a:pt x="2052" y="697"/>
                </a:lnTo>
                <a:lnTo>
                  <a:pt x="2065" y="686"/>
                </a:lnTo>
                <a:lnTo>
                  <a:pt x="2080" y="675"/>
                </a:lnTo>
                <a:lnTo>
                  <a:pt x="2092" y="667"/>
                </a:lnTo>
                <a:lnTo>
                  <a:pt x="2092" y="667"/>
                </a:lnTo>
                <a:lnTo>
                  <a:pt x="2107" y="658"/>
                </a:lnTo>
                <a:lnTo>
                  <a:pt x="2123" y="650"/>
                </a:lnTo>
                <a:lnTo>
                  <a:pt x="2138" y="643"/>
                </a:lnTo>
                <a:lnTo>
                  <a:pt x="2154" y="636"/>
                </a:lnTo>
                <a:lnTo>
                  <a:pt x="2170" y="632"/>
                </a:lnTo>
                <a:lnTo>
                  <a:pt x="2186" y="629"/>
                </a:lnTo>
                <a:lnTo>
                  <a:pt x="2202" y="626"/>
                </a:lnTo>
                <a:lnTo>
                  <a:pt x="2220" y="625"/>
                </a:lnTo>
                <a:lnTo>
                  <a:pt x="2220" y="625"/>
                </a:lnTo>
                <a:lnTo>
                  <a:pt x="2234" y="626"/>
                </a:lnTo>
                <a:lnTo>
                  <a:pt x="2247" y="627"/>
                </a:lnTo>
                <a:lnTo>
                  <a:pt x="2261" y="630"/>
                </a:lnTo>
                <a:lnTo>
                  <a:pt x="2272" y="635"/>
                </a:lnTo>
                <a:lnTo>
                  <a:pt x="2283" y="642"/>
                </a:lnTo>
                <a:lnTo>
                  <a:pt x="2295" y="649"/>
                </a:lnTo>
                <a:lnTo>
                  <a:pt x="2305" y="658"/>
                </a:lnTo>
                <a:lnTo>
                  <a:pt x="2316" y="668"/>
                </a:lnTo>
                <a:lnTo>
                  <a:pt x="2316" y="668"/>
                </a:lnTo>
                <a:lnTo>
                  <a:pt x="2323" y="676"/>
                </a:lnTo>
                <a:lnTo>
                  <a:pt x="2330" y="687"/>
                </a:lnTo>
                <a:lnTo>
                  <a:pt x="2336" y="698"/>
                </a:lnTo>
                <a:lnTo>
                  <a:pt x="2342" y="710"/>
                </a:lnTo>
                <a:lnTo>
                  <a:pt x="2347" y="722"/>
                </a:lnTo>
                <a:lnTo>
                  <a:pt x="2351" y="736"/>
                </a:lnTo>
                <a:lnTo>
                  <a:pt x="2355" y="750"/>
                </a:lnTo>
                <a:lnTo>
                  <a:pt x="2358" y="764"/>
                </a:lnTo>
                <a:lnTo>
                  <a:pt x="2360" y="778"/>
                </a:lnTo>
                <a:lnTo>
                  <a:pt x="2362" y="792"/>
                </a:lnTo>
                <a:lnTo>
                  <a:pt x="2363" y="805"/>
                </a:lnTo>
                <a:lnTo>
                  <a:pt x="2364" y="818"/>
                </a:lnTo>
                <a:lnTo>
                  <a:pt x="2364" y="831"/>
                </a:lnTo>
                <a:lnTo>
                  <a:pt x="2363" y="842"/>
                </a:lnTo>
                <a:lnTo>
                  <a:pt x="2361" y="852"/>
                </a:lnTo>
                <a:lnTo>
                  <a:pt x="2359" y="861"/>
                </a:lnTo>
                <a:lnTo>
                  <a:pt x="2359" y="861"/>
                </a:lnTo>
                <a:lnTo>
                  <a:pt x="2330" y="843"/>
                </a:lnTo>
                <a:lnTo>
                  <a:pt x="2330" y="843"/>
                </a:lnTo>
                <a:lnTo>
                  <a:pt x="2309" y="832"/>
                </a:lnTo>
                <a:lnTo>
                  <a:pt x="2281" y="822"/>
                </a:lnTo>
                <a:lnTo>
                  <a:pt x="2266" y="815"/>
                </a:lnTo>
                <a:lnTo>
                  <a:pt x="2251" y="811"/>
                </a:lnTo>
                <a:lnTo>
                  <a:pt x="2233" y="807"/>
                </a:lnTo>
                <a:lnTo>
                  <a:pt x="2215" y="803"/>
                </a:lnTo>
                <a:lnTo>
                  <a:pt x="2195" y="801"/>
                </a:lnTo>
                <a:lnTo>
                  <a:pt x="2175" y="800"/>
                </a:lnTo>
                <a:lnTo>
                  <a:pt x="2154" y="800"/>
                </a:lnTo>
                <a:lnTo>
                  <a:pt x="2132" y="802"/>
                </a:lnTo>
                <a:lnTo>
                  <a:pt x="2109" y="805"/>
                </a:lnTo>
                <a:lnTo>
                  <a:pt x="2086" y="810"/>
                </a:lnTo>
                <a:lnTo>
                  <a:pt x="2062" y="818"/>
                </a:lnTo>
                <a:lnTo>
                  <a:pt x="2037" y="829"/>
                </a:lnTo>
                <a:lnTo>
                  <a:pt x="2037" y="829"/>
                </a:lnTo>
                <a:lnTo>
                  <a:pt x="1995" y="847"/>
                </a:lnTo>
                <a:lnTo>
                  <a:pt x="1967" y="859"/>
                </a:lnTo>
                <a:lnTo>
                  <a:pt x="1936" y="872"/>
                </a:lnTo>
                <a:lnTo>
                  <a:pt x="1900" y="886"/>
                </a:lnTo>
                <a:lnTo>
                  <a:pt x="1860" y="900"/>
                </a:lnTo>
                <a:lnTo>
                  <a:pt x="1814" y="916"/>
                </a:lnTo>
                <a:lnTo>
                  <a:pt x="1764" y="931"/>
                </a:lnTo>
                <a:lnTo>
                  <a:pt x="1764" y="931"/>
                </a:lnTo>
                <a:lnTo>
                  <a:pt x="1737" y="938"/>
                </a:lnTo>
                <a:lnTo>
                  <a:pt x="1725" y="940"/>
                </a:lnTo>
                <a:lnTo>
                  <a:pt x="1713" y="941"/>
                </a:lnTo>
                <a:lnTo>
                  <a:pt x="1701" y="941"/>
                </a:lnTo>
                <a:lnTo>
                  <a:pt x="1691" y="941"/>
                </a:lnTo>
                <a:lnTo>
                  <a:pt x="1681" y="940"/>
                </a:lnTo>
                <a:lnTo>
                  <a:pt x="1672" y="938"/>
                </a:lnTo>
                <a:lnTo>
                  <a:pt x="1664" y="935"/>
                </a:lnTo>
                <a:lnTo>
                  <a:pt x="1655" y="930"/>
                </a:lnTo>
                <a:lnTo>
                  <a:pt x="1649" y="925"/>
                </a:lnTo>
                <a:lnTo>
                  <a:pt x="1642" y="919"/>
                </a:lnTo>
                <a:lnTo>
                  <a:pt x="1637" y="912"/>
                </a:lnTo>
                <a:lnTo>
                  <a:pt x="1633" y="902"/>
                </a:lnTo>
                <a:lnTo>
                  <a:pt x="1629" y="892"/>
                </a:lnTo>
                <a:lnTo>
                  <a:pt x="1626" y="881"/>
                </a:lnTo>
                <a:lnTo>
                  <a:pt x="1626" y="881"/>
                </a:lnTo>
                <a:lnTo>
                  <a:pt x="1624" y="871"/>
                </a:lnTo>
                <a:lnTo>
                  <a:pt x="1623" y="860"/>
                </a:lnTo>
                <a:lnTo>
                  <a:pt x="1623" y="851"/>
                </a:lnTo>
                <a:lnTo>
                  <a:pt x="1623" y="842"/>
                </a:lnTo>
                <a:lnTo>
                  <a:pt x="1625" y="826"/>
                </a:lnTo>
                <a:lnTo>
                  <a:pt x="1629" y="811"/>
                </a:lnTo>
                <a:lnTo>
                  <a:pt x="1633" y="800"/>
                </a:lnTo>
                <a:lnTo>
                  <a:pt x="1636" y="792"/>
                </a:lnTo>
                <a:lnTo>
                  <a:pt x="1640" y="784"/>
                </a:lnTo>
                <a:lnTo>
                  <a:pt x="1640" y="784"/>
                </a:lnTo>
                <a:lnTo>
                  <a:pt x="1636" y="785"/>
                </a:lnTo>
                <a:lnTo>
                  <a:pt x="1626" y="788"/>
                </a:lnTo>
                <a:lnTo>
                  <a:pt x="1610" y="794"/>
                </a:lnTo>
                <a:lnTo>
                  <a:pt x="1601" y="797"/>
                </a:lnTo>
                <a:lnTo>
                  <a:pt x="1592" y="802"/>
                </a:lnTo>
                <a:lnTo>
                  <a:pt x="1582" y="808"/>
                </a:lnTo>
                <a:lnTo>
                  <a:pt x="1573" y="814"/>
                </a:lnTo>
                <a:lnTo>
                  <a:pt x="1563" y="823"/>
                </a:lnTo>
                <a:lnTo>
                  <a:pt x="1554" y="832"/>
                </a:lnTo>
                <a:lnTo>
                  <a:pt x="1546" y="842"/>
                </a:lnTo>
                <a:lnTo>
                  <a:pt x="1539" y="853"/>
                </a:lnTo>
                <a:lnTo>
                  <a:pt x="1533" y="867"/>
                </a:lnTo>
                <a:lnTo>
                  <a:pt x="1528" y="881"/>
                </a:lnTo>
                <a:lnTo>
                  <a:pt x="1528" y="881"/>
                </a:lnTo>
                <a:lnTo>
                  <a:pt x="1525" y="896"/>
                </a:lnTo>
                <a:lnTo>
                  <a:pt x="1523" y="912"/>
                </a:lnTo>
                <a:lnTo>
                  <a:pt x="1523" y="927"/>
                </a:lnTo>
                <a:lnTo>
                  <a:pt x="1523" y="941"/>
                </a:lnTo>
                <a:lnTo>
                  <a:pt x="1524" y="954"/>
                </a:lnTo>
                <a:lnTo>
                  <a:pt x="1527" y="969"/>
                </a:lnTo>
                <a:lnTo>
                  <a:pt x="1531" y="981"/>
                </a:lnTo>
                <a:lnTo>
                  <a:pt x="1536" y="993"/>
                </a:lnTo>
                <a:lnTo>
                  <a:pt x="1542" y="1006"/>
                </a:lnTo>
                <a:lnTo>
                  <a:pt x="1549" y="1016"/>
                </a:lnTo>
                <a:lnTo>
                  <a:pt x="1557" y="1026"/>
                </a:lnTo>
                <a:lnTo>
                  <a:pt x="1568" y="1034"/>
                </a:lnTo>
                <a:lnTo>
                  <a:pt x="1578" y="1042"/>
                </a:lnTo>
                <a:lnTo>
                  <a:pt x="1590" y="1049"/>
                </a:lnTo>
                <a:lnTo>
                  <a:pt x="1602" y="1055"/>
                </a:lnTo>
                <a:lnTo>
                  <a:pt x="1617" y="1059"/>
                </a:lnTo>
                <a:lnTo>
                  <a:pt x="1617" y="1059"/>
                </a:lnTo>
                <a:lnTo>
                  <a:pt x="1630" y="1062"/>
                </a:lnTo>
                <a:lnTo>
                  <a:pt x="1644" y="1063"/>
                </a:lnTo>
                <a:lnTo>
                  <a:pt x="1660" y="1062"/>
                </a:lnTo>
                <a:lnTo>
                  <a:pt x="1676" y="1060"/>
                </a:lnTo>
                <a:lnTo>
                  <a:pt x="1692" y="1058"/>
                </a:lnTo>
                <a:lnTo>
                  <a:pt x="1710" y="1054"/>
                </a:lnTo>
                <a:lnTo>
                  <a:pt x="1727" y="1049"/>
                </a:lnTo>
                <a:lnTo>
                  <a:pt x="1744" y="1043"/>
                </a:lnTo>
                <a:lnTo>
                  <a:pt x="1779" y="1029"/>
                </a:lnTo>
                <a:lnTo>
                  <a:pt x="1815" y="1014"/>
                </a:lnTo>
                <a:lnTo>
                  <a:pt x="1849" y="997"/>
                </a:lnTo>
                <a:lnTo>
                  <a:pt x="1880" y="981"/>
                </a:lnTo>
                <a:lnTo>
                  <a:pt x="1880" y="981"/>
                </a:lnTo>
                <a:lnTo>
                  <a:pt x="1942" y="949"/>
                </a:lnTo>
                <a:lnTo>
                  <a:pt x="1979" y="931"/>
                </a:lnTo>
                <a:lnTo>
                  <a:pt x="2013" y="915"/>
                </a:lnTo>
                <a:lnTo>
                  <a:pt x="2013" y="915"/>
                </a:lnTo>
                <a:lnTo>
                  <a:pt x="2041" y="903"/>
                </a:lnTo>
                <a:lnTo>
                  <a:pt x="2054" y="899"/>
                </a:lnTo>
                <a:lnTo>
                  <a:pt x="2068" y="895"/>
                </a:lnTo>
                <a:lnTo>
                  <a:pt x="2081" y="892"/>
                </a:lnTo>
                <a:lnTo>
                  <a:pt x="2093" y="890"/>
                </a:lnTo>
                <a:lnTo>
                  <a:pt x="2105" y="888"/>
                </a:lnTo>
                <a:lnTo>
                  <a:pt x="2119" y="888"/>
                </a:lnTo>
                <a:lnTo>
                  <a:pt x="2131" y="888"/>
                </a:lnTo>
                <a:lnTo>
                  <a:pt x="2143" y="889"/>
                </a:lnTo>
                <a:lnTo>
                  <a:pt x="2156" y="891"/>
                </a:lnTo>
                <a:lnTo>
                  <a:pt x="2170" y="893"/>
                </a:lnTo>
                <a:lnTo>
                  <a:pt x="2183" y="897"/>
                </a:lnTo>
                <a:lnTo>
                  <a:pt x="2196" y="901"/>
                </a:lnTo>
                <a:lnTo>
                  <a:pt x="2211" y="907"/>
                </a:lnTo>
                <a:lnTo>
                  <a:pt x="2226" y="914"/>
                </a:lnTo>
                <a:lnTo>
                  <a:pt x="2226" y="914"/>
                </a:lnTo>
                <a:lnTo>
                  <a:pt x="2246" y="924"/>
                </a:lnTo>
                <a:lnTo>
                  <a:pt x="2265" y="934"/>
                </a:lnTo>
                <a:lnTo>
                  <a:pt x="2281" y="945"/>
                </a:lnTo>
                <a:lnTo>
                  <a:pt x="2295" y="954"/>
                </a:lnTo>
                <a:lnTo>
                  <a:pt x="2305" y="964"/>
                </a:lnTo>
                <a:lnTo>
                  <a:pt x="2312" y="971"/>
                </a:lnTo>
                <a:lnTo>
                  <a:pt x="2319" y="977"/>
                </a:lnTo>
                <a:lnTo>
                  <a:pt x="2319" y="977"/>
                </a:lnTo>
                <a:lnTo>
                  <a:pt x="2317" y="980"/>
                </a:lnTo>
                <a:lnTo>
                  <a:pt x="2313" y="987"/>
                </a:lnTo>
                <a:lnTo>
                  <a:pt x="2305" y="998"/>
                </a:lnTo>
                <a:lnTo>
                  <a:pt x="2300" y="1005"/>
                </a:lnTo>
                <a:lnTo>
                  <a:pt x="2293" y="1012"/>
                </a:lnTo>
                <a:lnTo>
                  <a:pt x="2285" y="1018"/>
                </a:lnTo>
                <a:lnTo>
                  <a:pt x="2276" y="1025"/>
                </a:lnTo>
                <a:lnTo>
                  <a:pt x="2267" y="1031"/>
                </a:lnTo>
                <a:lnTo>
                  <a:pt x="2255" y="1036"/>
                </a:lnTo>
                <a:lnTo>
                  <a:pt x="2242" y="1041"/>
                </a:lnTo>
                <a:lnTo>
                  <a:pt x="2228" y="1045"/>
                </a:lnTo>
                <a:lnTo>
                  <a:pt x="2212" y="1049"/>
                </a:lnTo>
                <a:lnTo>
                  <a:pt x="2194" y="1050"/>
                </a:lnTo>
                <a:lnTo>
                  <a:pt x="2194" y="1050"/>
                </a:lnTo>
                <a:lnTo>
                  <a:pt x="2180" y="1051"/>
                </a:lnTo>
                <a:lnTo>
                  <a:pt x="2166" y="1050"/>
                </a:lnTo>
                <a:lnTo>
                  <a:pt x="2152" y="1048"/>
                </a:lnTo>
                <a:lnTo>
                  <a:pt x="2139" y="1044"/>
                </a:lnTo>
                <a:lnTo>
                  <a:pt x="2127" y="1041"/>
                </a:lnTo>
                <a:lnTo>
                  <a:pt x="2115" y="1037"/>
                </a:lnTo>
                <a:lnTo>
                  <a:pt x="2103" y="1033"/>
                </a:lnTo>
                <a:lnTo>
                  <a:pt x="2092" y="1027"/>
                </a:lnTo>
                <a:lnTo>
                  <a:pt x="2082" y="1022"/>
                </a:lnTo>
                <a:lnTo>
                  <a:pt x="2073" y="1016"/>
                </a:lnTo>
                <a:lnTo>
                  <a:pt x="2064" y="1010"/>
                </a:lnTo>
                <a:lnTo>
                  <a:pt x="2056" y="1003"/>
                </a:lnTo>
                <a:lnTo>
                  <a:pt x="2048" y="995"/>
                </a:lnTo>
                <a:lnTo>
                  <a:pt x="2042" y="988"/>
                </a:lnTo>
                <a:lnTo>
                  <a:pt x="2036" y="981"/>
                </a:lnTo>
                <a:lnTo>
                  <a:pt x="2031" y="974"/>
                </a:lnTo>
                <a:lnTo>
                  <a:pt x="2031" y="974"/>
                </a:lnTo>
                <a:lnTo>
                  <a:pt x="2022" y="996"/>
                </a:lnTo>
                <a:lnTo>
                  <a:pt x="2013" y="1014"/>
                </a:lnTo>
                <a:lnTo>
                  <a:pt x="2007" y="1027"/>
                </a:lnTo>
                <a:lnTo>
                  <a:pt x="2007" y="1027"/>
                </a:lnTo>
                <a:lnTo>
                  <a:pt x="2003" y="1035"/>
                </a:lnTo>
                <a:lnTo>
                  <a:pt x="2000" y="1042"/>
                </a:lnTo>
                <a:lnTo>
                  <a:pt x="1998" y="1051"/>
                </a:lnTo>
                <a:lnTo>
                  <a:pt x="1997" y="1057"/>
                </a:lnTo>
                <a:lnTo>
                  <a:pt x="1997" y="1064"/>
                </a:lnTo>
                <a:lnTo>
                  <a:pt x="1997" y="1070"/>
                </a:lnTo>
                <a:lnTo>
                  <a:pt x="1999" y="1082"/>
                </a:lnTo>
                <a:lnTo>
                  <a:pt x="2001" y="1094"/>
                </a:lnTo>
                <a:lnTo>
                  <a:pt x="2003" y="1104"/>
                </a:lnTo>
                <a:lnTo>
                  <a:pt x="2004" y="1115"/>
                </a:lnTo>
                <a:lnTo>
                  <a:pt x="2003" y="1121"/>
                </a:lnTo>
                <a:lnTo>
                  <a:pt x="2001" y="1126"/>
                </a:lnTo>
                <a:lnTo>
                  <a:pt x="2001" y="1126"/>
                </a:lnTo>
                <a:lnTo>
                  <a:pt x="1999" y="1132"/>
                </a:lnTo>
                <a:lnTo>
                  <a:pt x="1995" y="1138"/>
                </a:lnTo>
                <a:lnTo>
                  <a:pt x="1986" y="1151"/>
                </a:lnTo>
                <a:lnTo>
                  <a:pt x="1973" y="1163"/>
                </a:lnTo>
                <a:lnTo>
                  <a:pt x="1960" y="1175"/>
                </a:lnTo>
                <a:lnTo>
                  <a:pt x="1945" y="1187"/>
                </a:lnTo>
                <a:lnTo>
                  <a:pt x="1931" y="1198"/>
                </a:lnTo>
                <a:lnTo>
                  <a:pt x="1904" y="1216"/>
                </a:lnTo>
                <a:lnTo>
                  <a:pt x="1904" y="1216"/>
                </a:lnTo>
                <a:lnTo>
                  <a:pt x="1886" y="1227"/>
                </a:lnTo>
                <a:lnTo>
                  <a:pt x="1864" y="1239"/>
                </a:lnTo>
                <a:lnTo>
                  <a:pt x="1842" y="1249"/>
                </a:lnTo>
                <a:lnTo>
                  <a:pt x="1819" y="1257"/>
                </a:lnTo>
                <a:lnTo>
                  <a:pt x="1798" y="1264"/>
                </a:lnTo>
                <a:lnTo>
                  <a:pt x="1779" y="1270"/>
                </a:lnTo>
                <a:lnTo>
                  <a:pt x="1754" y="1278"/>
                </a:lnTo>
                <a:lnTo>
                  <a:pt x="1754" y="1278"/>
                </a:lnTo>
                <a:lnTo>
                  <a:pt x="1779" y="1336"/>
                </a:lnTo>
                <a:lnTo>
                  <a:pt x="1811" y="1404"/>
                </a:lnTo>
                <a:lnTo>
                  <a:pt x="1811" y="1404"/>
                </a:lnTo>
                <a:lnTo>
                  <a:pt x="1833" y="1449"/>
                </a:lnTo>
                <a:lnTo>
                  <a:pt x="1862" y="1504"/>
                </a:lnTo>
                <a:lnTo>
                  <a:pt x="1877" y="1531"/>
                </a:lnTo>
                <a:lnTo>
                  <a:pt x="1893" y="1557"/>
                </a:lnTo>
                <a:lnTo>
                  <a:pt x="1909" y="1578"/>
                </a:lnTo>
                <a:lnTo>
                  <a:pt x="1916" y="1588"/>
                </a:lnTo>
                <a:lnTo>
                  <a:pt x="1924" y="1597"/>
                </a:lnTo>
                <a:lnTo>
                  <a:pt x="1924" y="1597"/>
                </a:lnTo>
                <a:lnTo>
                  <a:pt x="1940" y="1592"/>
                </a:lnTo>
                <a:lnTo>
                  <a:pt x="1957" y="1587"/>
                </a:lnTo>
                <a:lnTo>
                  <a:pt x="1980" y="1581"/>
                </a:lnTo>
                <a:lnTo>
                  <a:pt x="2004" y="1573"/>
                </a:lnTo>
                <a:lnTo>
                  <a:pt x="2031" y="1563"/>
                </a:lnTo>
                <a:lnTo>
                  <a:pt x="2057" y="1551"/>
                </a:lnTo>
                <a:lnTo>
                  <a:pt x="2071" y="1544"/>
                </a:lnTo>
                <a:lnTo>
                  <a:pt x="2083" y="1537"/>
                </a:lnTo>
                <a:lnTo>
                  <a:pt x="2083" y="1537"/>
                </a:lnTo>
                <a:lnTo>
                  <a:pt x="2105" y="1524"/>
                </a:lnTo>
                <a:lnTo>
                  <a:pt x="2126" y="1510"/>
                </a:lnTo>
                <a:lnTo>
                  <a:pt x="2145" y="1495"/>
                </a:lnTo>
                <a:lnTo>
                  <a:pt x="2162" y="1480"/>
                </a:lnTo>
                <a:lnTo>
                  <a:pt x="2177" y="1466"/>
                </a:lnTo>
                <a:lnTo>
                  <a:pt x="2189" y="1451"/>
                </a:lnTo>
                <a:lnTo>
                  <a:pt x="2199" y="1437"/>
                </a:lnTo>
                <a:lnTo>
                  <a:pt x="2207" y="1424"/>
                </a:lnTo>
                <a:lnTo>
                  <a:pt x="2207" y="1424"/>
                </a:lnTo>
                <a:lnTo>
                  <a:pt x="2190" y="1460"/>
                </a:lnTo>
                <a:lnTo>
                  <a:pt x="2175" y="1493"/>
                </a:lnTo>
                <a:lnTo>
                  <a:pt x="2161" y="1523"/>
                </a:lnTo>
                <a:lnTo>
                  <a:pt x="2146" y="1551"/>
                </a:lnTo>
                <a:lnTo>
                  <a:pt x="2132" y="1576"/>
                </a:lnTo>
                <a:lnTo>
                  <a:pt x="2119" y="1599"/>
                </a:lnTo>
                <a:lnTo>
                  <a:pt x="2105" y="1619"/>
                </a:lnTo>
                <a:lnTo>
                  <a:pt x="2092" y="1637"/>
                </a:lnTo>
                <a:lnTo>
                  <a:pt x="2080" y="1655"/>
                </a:lnTo>
                <a:lnTo>
                  <a:pt x="2068" y="1669"/>
                </a:lnTo>
                <a:lnTo>
                  <a:pt x="2055" y="1682"/>
                </a:lnTo>
                <a:lnTo>
                  <a:pt x="2044" y="1694"/>
                </a:lnTo>
                <a:lnTo>
                  <a:pt x="2033" y="1705"/>
                </a:lnTo>
                <a:lnTo>
                  <a:pt x="2022" y="1714"/>
                </a:lnTo>
                <a:lnTo>
                  <a:pt x="2011" y="1721"/>
                </a:lnTo>
                <a:lnTo>
                  <a:pt x="2000" y="1729"/>
                </a:lnTo>
                <a:lnTo>
                  <a:pt x="2000" y="1729"/>
                </a:lnTo>
                <a:lnTo>
                  <a:pt x="1907" y="1790"/>
                </a:lnTo>
                <a:lnTo>
                  <a:pt x="1797" y="1862"/>
                </a:lnTo>
                <a:lnTo>
                  <a:pt x="1735" y="1901"/>
                </a:lnTo>
                <a:lnTo>
                  <a:pt x="1671" y="1940"/>
                </a:lnTo>
                <a:lnTo>
                  <a:pt x="1602" y="1980"/>
                </a:lnTo>
                <a:lnTo>
                  <a:pt x="1532" y="2020"/>
                </a:lnTo>
                <a:lnTo>
                  <a:pt x="1459" y="2058"/>
                </a:lnTo>
                <a:lnTo>
                  <a:pt x="1422" y="2077"/>
                </a:lnTo>
                <a:lnTo>
                  <a:pt x="1384" y="2094"/>
                </a:lnTo>
                <a:lnTo>
                  <a:pt x="1347" y="2112"/>
                </a:lnTo>
                <a:lnTo>
                  <a:pt x="1308" y="2129"/>
                </a:lnTo>
                <a:lnTo>
                  <a:pt x="1269" y="2146"/>
                </a:lnTo>
                <a:lnTo>
                  <a:pt x="1230" y="2161"/>
                </a:lnTo>
                <a:lnTo>
                  <a:pt x="1190" y="2175"/>
                </a:lnTo>
                <a:lnTo>
                  <a:pt x="1151" y="2189"/>
                </a:lnTo>
                <a:lnTo>
                  <a:pt x="1111" y="2202"/>
                </a:lnTo>
                <a:lnTo>
                  <a:pt x="1072" y="2213"/>
                </a:lnTo>
                <a:lnTo>
                  <a:pt x="1032" y="2223"/>
                </a:lnTo>
                <a:lnTo>
                  <a:pt x="992" y="2231"/>
                </a:lnTo>
                <a:lnTo>
                  <a:pt x="952" y="2240"/>
                </a:lnTo>
                <a:lnTo>
                  <a:pt x="913" y="2246"/>
                </a:lnTo>
                <a:lnTo>
                  <a:pt x="913" y="2246"/>
                </a:lnTo>
                <a:lnTo>
                  <a:pt x="901" y="2246"/>
                </a:lnTo>
                <a:lnTo>
                  <a:pt x="889" y="2245"/>
                </a:lnTo>
                <a:lnTo>
                  <a:pt x="876" y="2242"/>
                </a:lnTo>
                <a:lnTo>
                  <a:pt x="863" y="2239"/>
                </a:lnTo>
                <a:lnTo>
                  <a:pt x="850" y="2236"/>
                </a:lnTo>
                <a:lnTo>
                  <a:pt x="836" y="2230"/>
                </a:lnTo>
                <a:lnTo>
                  <a:pt x="809" y="2218"/>
                </a:lnTo>
                <a:lnTo>
                  <a:pt x="781" y="2204"/>
                </a:lnTo>
                <a:lnTo>
                  <a:pt x="754" y="2188"/>
                </a:lnTo>
                <a:lnTo>
                  <a:pt x="726" y="2170"/>
                </a:lnTo>
                <a:lnTo>
                  <a:pt x="698" y="2151"/>
                </a:lnTo>
                <a:lnTo>
                  <a:pt x="672" y="2130"/>
                </a:lnTo>
                <a:lnTo>
                  <a:pt x="646" y="2110"/>
                </a:lnTo>
                <a:lnTo>
                  <a:pt x="623" y="2089"/>
                </a:lnTo>
                <a:lnTo>
                  <a:pt x="600" y="2069"/>
                </a:lnTo>
                <a:lnTo>
                  <a:pt x="581" y="2049"/>
                </a:lnTo>
                <a:lnTo>
                  <a:pt x="563" y="2032"/>
                </a:lnTo>
                <a:lnTo>
                  <a:pt x="548" y="2017"/>
                </a:lnTo>
                <a:lnTo>
                  <a:pt x="537" y="2003"/>
                </a:lnTo>
                <a:lnTo>
                  <a:pt x="537" y="2003"/>
                </a:lnTo>
                <a:lnTo>
                  <a:pt x="533" y="1999"/>
                </a:lnTo>
                <a:lnTo>
                  <a:pt x="530" y="1995"/>
                </a:lnTo>
                <a:lnTo>
                  <a:pt x="520" y="1990"/>
                </a:lnTo>
                <a:lnTo>
                  <a:pt x="512" y="1988"/>
                </a:lnTo>
                <a:lnTo>
                  <a:pt x="502" y="1987"/>
                </a:lnTo>
                <a:lnTo>
                  <a:pt x="493" y="1987"/>
                </a:lnTo>
                <a:lnTo>
                  <a:pt x="483" y="1989"/>
                </a:lnTo>
                <a:lnTo>
                  <a:pt x="473" y="1992"/>
                </a:lnTo>
                <a:lnTo>
                  <a:pt x="464" y="1996"/>
                </a:lnTo>
                <a:lnTo>
                  <a:pt x="447" y="2004"/>
                </a:lnTo>
                <a:lnTo>
                  <a:pt x="433" y="2014"/>
                </a:lnTo>
                <a:lnTo>
                  <a:pt x="419" y="2024"/>
                </a:lnTo>
                <a:lnTo>
                  <a:pt x="419" y="2024"/>
                </a:lnTo>
                <a:lnTo>
                  <a:pt x="412" y="2023"/>
                </a:lnTo>
                <a:lnTo>
                  <a:pt x="393" y="2021"/>
                </a:lnTo>
                <a:lnTo>
                  <a:pt x="379" y="2021"/>
                </a:lnTo>
                <a:lnTo>
                  <a:pt x="364" y="2021"/>
                </a:lnTo>
                <a:lnTo>
                  <a:pt x="348" y="2022"/>
                </a:lnTo>
                <a:lnTo>
                  <a:pt x="329" y="2024"/>
                </a:lnTo>
                <a:lnTo>
                  <a:pt x="310" y="2027"/>
                </a:lnTo>
                <a:lnTo>
                  <a:pt x="290" y="2032"/>
                </a:lnTo>
                <a:lnTo>
                  <a:pt x="271" y="2038"/>
                </a:lnTo>
                <a:lnTo>
                  <a:pt x="252" y="2047"/>
                </a:lnTo>
                <a:lnTo>
                  <a:pt x="242" y="2053"/>
                </a:lnTo>
                <a:lnTo>
                  <a:pt x="233" y="2058"/>
                </a:lnTo>
                <a:lnTo>
                  <a:pt x="224" y="2064"/>
                </a:lnTo>
                <a:lnTo>
                  <a:pt x="216" y="2071"/>
                </a:lnTo>
                <a:lnTo>
                  <a:pt x="207" y="2079"/>
                </a:lnTo>
                <a:lnTo>
                  <a:pt x="199" y="2087"/>
                </a:lnTo>
                <a:lnTo>
                  <a:pt x="191" y="2097"/>
                </a:lnTo>
                <a:lnTo>
                  <a:pt x="184" y="2106"/>
                </a:lnTo>
                <a:lnTo>
                  <a:pt x="184" y="2106"/>
                </a:lnTo>
                <a:lnTo>
                  <a:pt x="183" y="2109"/>
                </a:lnTo>
                <a:lnTo>
                  <a:pt x="185" y="2111"/>
                </a:lnTo>
                <a:lnTo>
                  <a:pt x="188" y="2112"/>
                </a:lnTo>
                <a:lnTo>
                  <a:pt x="193" y="2112"/>
                </a:lnTo>
                <a:lnTo>
                  <a:pt x="210" y="2110"/>
                </a:lnTo>
                <a:lnTo>
                  <a:pt x="230" y="2108"/>
                </a:lnTo>
                <a:lnTo>
                  <a:pt x="255" y="2106"/>
                </a:lnTo>
                <a:lnTo>
                  <a:pt x="280" y="2105"/>
                </a:lnTo>
                <a:lnTo>
                  <a:pt x="293" y="2106"/>
                </a:lnTo>
                <a:lnTo>
                  <a:pt x="307" y="2107"/>
                </a:lnTo>
                <a:lnTo>
                  <a:pt x="319" y="2109"/>
                </a:lnTo>
                <a:lnTo>
                  <a:pt x="331" y="2112"/>
                </a:lnTo>
                <a:lnTo>
                  <a:pt x="331" y="2112"/>
                </a:lnTo>
                <a:lnTo>
                  <a:pt x="338" y="2115"/>
                </a:lnTo>
                <a:lnTo>
                  <a:pt x="343" y="2118"/>
                </a:lnTo>
                <a:lnTo>
                  <a:pt x="346" y="2121"/>
                </a:lnTo>
                <a:lnTo>
                  <a:pt x="347" y="2124"/>
                </a:lnTo>
                <a:lnTo>
                  <a:pt x="347" y="2127"/>
                </a:lnTo>
                <a:lnTo>
                  <a:pt x="345" y="2131"/>
                </a:lnTo>
                <a:lnTo>
                  <a:pt x="339" y="2139"/>
                </a:lnTo>
                <a:lnTo>
                  <a:pt x="332" y="2149"/>
                </a:lnTo>
                <a:lnTo>
                  <a:pt x="325" y="2160"/>
                </a:lnTo>
                <a:lnTo>
                  <a:pt x="321" y="2166"/>
                </a:lnTo>
                <a:lnTo>
                  <a:pt x="319" y="2172"/>
                </a:lnTo>
                <a:lnTo>
                  <a:pt x="317" y="2178"/>
                </a:lnTo>
                <a:lnTo>
                  <a:pt x="317" y="2185"/>
                </a:lnTo>
                <a:lnTo>
                  <a:pt x="317" y="2185"/>
                </a:lnTo>
                <a:lnTo>
                  <a:pt x="317" y="2191"/>
                </a:lnTo>
                <a:lnTo>
                  <a:pt x="319" y="2197"/>
                </a:lnTo>
                <a:lnTo>
                  <a:pt x="321" y="2202"/>
                </a:lnTo>
                <a:lnTo>
                  <a:pt x="324" y="2207"/>
                </a:lnTo>
                <a:lnTo>
                  <a:pt x="328" y="2212"/>
                </a:lnTo>
                <a:lnTo>
                  <a:pt x="333" y="2217"/>
                </a:lnTo>
                <a:lnTo>
                  <a:pt x="346" y="2227"/>
                </a:lnTo>
                <a:lnTo>
                  <a:pt x="361" y="2237"/>
                </a:lnTo>
                <a:lnTo>
                  <a:pt x="377" y="2246"/>
                </a:lnTo>
                <a:lnTo>
                  <a:pt x="397" y="2255"/>
                </a:lnTo>
                <a:lnTo>
                  <a:pt x="416" y="2263"/>
                </a:lnTo>
                <a:lnTo>
                  <a:pt x="458" y="2279"/>
                </a:lnTo>
                <a:lnTo>
                  <a:pt x="500" y="2293"/>
                </a:lnTo>
                <a:lnTo>
                  <a:pt x="571" y="2314"/>
                </a:lnTo>
                <a:lnTo>
                  <a:pt x="571" y="2314"/>
                </a:lnTo>
                <a:lnTo>
                  <a:pt x="579" y="2318"/>
                </a:lnTo>
                <a:lnTo>
                  <a:pt x="585" y="2322"/>
                </a:lnTo>
                <a:lnTo>
                  <a:pt x="588" y="2328"/>
                </a:lnTo>
                <a:lnTo>
                  <a:pt x="590" y="2333"/>
                </a:lnTo>
                <a:lnTo>
                  <a:pt x="590" y="2337"/>
                </a:lnTo>
                <a:lnTo>
                  <a:pt x="588" y="2341"/>
                </a:lnTo>
                <a:lnTo>
                  <a:pt x="585" y="2343"/>
                </a:lnTo>
                <a:lnTo>
                  <a:pt x="581" y="2344"/>
                </a:lnTo>
                <a:lnTo>
                  <a:pt x="581" y="2344"/>
                </a:lnTo>
                <a:lnTo>
                  <a:pt x="556" y="2343"/>
                </a:lnTo>
                <a:lnTo>
                  <a:pt x="532" y="2340"/>
                </a:lnTo>
                <a:lnTo>
                  <a:pt x="509" y="2337"/>
                </a:lnTo>
                <a:lnTo>
                  <a:pt x="488" y="2332"/>
                </a:lnTo>
                <a:lnTo>
                  <a:pt x="467" y="2327"/>
                </a:lnTo>
                <a:lnTo>
                  <a:pt x="448" y="2320"/>
                </a:lnTo>
                <a:lnTo>
                  <a:pt x="429" y="2314"/>
                </a:lnTo>
                <a:lnTo>
                  <a:pt x="412" y="2308"/>
                </a:lnTo>
                <a:lnTo>
                  <a:pt x="380" y="2295"/>
                </a:lnTo>
                <a:lnTo>
                  <a:pt x="352" y="2283"/>
                </a:lnTo>
                <a:lnTo>
                  <a:pt x="327" y="2271"/>
                </a:lnTo>
                <a:lnTo>
                  <a:pt x="316" y="2267"/>
                </a:lnTo>
                <a:lnTo>
                  <a:pt x="305" y="2263"/>
                </a:lnTo>
                <a:lnTo>
                  <a:pt x="305" y="2263"/>
                </a:lnTo>
                <a:lnTo>
                  <a:pt x="286" y="2258"/>
                </a:lnTo>
                <a:lnTo>
                  <a:pt x="268" y="2254"/>
                </a:lnTo>
                <a:lnTo>
                  <a:pt x="253" y="2251"/>
                </a:lnTo>
                <a:lnTo>
                  <a:pt x="237" y="2249"/>
                </a:lnTo>
                <a:lnTo>
                  <a:pt x="224" y="2248"/>
                </a:lnTo>
                <a:lnTo>
                  <a:pt x="213" y="2249"/>
                </a:lnTo>
                <a:lnTo>
                  <a:pt x="202" y="2250"/>
                </a:lnTo>
                <a:lnTo>
                  <a:pt x="192" y="2252"/>
                </a:lnTo>
                <a:lnTo>
                  <a:pt x="185" y="2256"/>
                </a:lnTo>
                <a:lnTo>
                  <a:pt x="178" y="2260"/>
                </a:lnTo>
                <a:lnTo>
                  <a:pt x="172" y="2265"/>
                </a:lnTo>
                <a:lnTo>
                  <a:pt x="167" y="2271"/>
                </a:lnTo>
                <a:lnTo>
                  <a:pt x="163" y="2277"/>
                </a:lnTo>
                <a:lnTo>
                  <a:pt x="160" y="2286"/>
                </a:lnTo>
                <a:lnTo>
                  <a:pt x="156" y="2294"/>
                </a:lnTo>
                <a:lnTo>
                  <a:pt x="155" y="2303"/>
                </a:lnTo>
                <a:lnTo>
                  <a:pt x="155" y="2303"/>
                </a:lnTo>
                <a:lnTo>
                  <a:pt x="154" y="2306"/>
                </a:lnTo>
                <a:lnTo>
                  <a:pt x="152" y="2309"/>
                </a:lnTo>
                <a:lnTo>
                  <a:pt x="150" y="2312"/>
                </a:lnTo>
                <a:lnTo>
                  <a:pt x="147" y="2314"/>
                </a:lnTo>
                <a:lnTo>
                  <a:pt x="140" y="2318"/>
                </a:lnTo>
                <a:lnTo>
                  <a:pt x="132" y="2323"/>
                </a:lnTo>
                <a:lnTo>
                  <a:pt x="109" y="2333"/>
                </a:lnTo>
                <a:lnTo>
                  <a:pt x="97" y="2339"/>
                </a:lnTo>
                <a:lnTo>
                  <a:pt x="84" y="2347"/>
                </a:lnTo>
                <a:lnTo>
                  <a:pt x="71" y="2357"/>
                </a:lnTo>
                <a:lnTo>
                  <a:pt x="57" y="2371"/>
                </a:lnTo>
                <a:lnTo>
                  <a:pt x="51" y="2378"/>
                </a:lnTo>
                <a:lnTo>
                  <a:pt x="45" y="2386"/>
                </a:lnTo>
                <a:lnTo>
                  <a:pt x="39" y="2396"/>
                </a:lnTo>
                <a:lnTo>
                  <a:pt x="33" y="2406"/>
                </a:lnTo>
                <a:lnTo>
                  <a:pt x="28" y="2418"/>
                </a:lnTo>
                <a:lnTo>
                  <a:pt x="22" y="2430"/>
                </a:lnTo>
                <a:lnTo>
                  <a:pt x="17" y="2444"/>
                </a:lnTo>
                <a:lnTo>
                  <a:pt x="13" y="2458"/>
                </a:lnTo>
                <a:lnTo>
                  <a:pt x="9" y="2475"/>
                </a:lnTo>
                <a:lnTo>
                  <a:pt x="6" y="2492"/>
                </a:lnTo>
                <a:lnTo>
                  <a:pt x="3" y="2512"/>
                </a:lnTo>
                <a:lnTo>
                  <a:pt x="0" y="2532"/>
                </a:lnTo>
                <a:lnTo>
                  <a:pt x="0" y="2532"/>
                </a:lnTo>
                <a:lnTo>
                  <a:pt x="1" y="2533"/>
                </a:lnTo>
                <a:lnTo>
                  <a:pt x="2" y="2534"/>
                </a:lnTo>
                <a:lnTo>
                  <a:pt x="6" y="2532"/>
                </a:lnTo>
                <a:lnTo>
                  <a:pt x="12" y="2527"/>
                </a:lnTo>
                <a:lnTo>
                  <a:pt x="20" y="2519"/>
                </a:lnTo>
                <a:lnTo>
                  <a:pt x="43" y="2496"/>
                </a:lnTo>
                <a:lnTo>
                  <a:pt x="69" y="2472"/>
                </a:lnTo>
                <a:lnTo>
                  <a:pt x="82" y="2459"/>
                </a:lnTo>
                <a:lnTo>
                  <a:pt x="95" y="2448"/>
                </a:lnTo>
                <a:lnTo>
                  <a:pt x="107" y="2439"/>
                </a:lnTo>
                <a:lnTo>
                  <a:pt x="119" y="2432"/>
                </a:lnTo>
                <a:lnTo>
                  <a:pt x="124" y="2429"/>
                </a:lnTo>
                <a:lnTo>
                  <a:pt x="129" y="2428"/>
                </a:lnTo>
                <a:lnTo>
                  <a:pt x="133" y="2427"/>
                </a:lnTo>
                <a:lnTo>
                  <a:pt x="137" y="2427"/>
                </a:lnTo>
                <a:lnTo>
                  <a:pt x="140" y="2429"/>
                </a:lnTo>
                <a:lnTo>
                  <a:pt x="143" y="2431"/>
                </a:lnTo>
                <a:lnTo>
                  <a:pt x="144" y="2435"/>
                </a:lnTo>
                <a:lnTo>
                  <a:pt x="146" y="2439"/>
                </a:lnTo>
                <a:lnTo>
                  <a:pt x="146" y="2439"/>
                </a:lnTo>
                <a:lnTo>
                  <a:pt x="149" y="2455"/>
                </a:lnTo>
                <a:lnTo>
                  <a:pt x="154" y="2470"/>
                </a:lnTo>
                <a:lnTo>
                  <a:pt x="162" y="2483"/>
                </a:lnTo>
                <a:lnTo>
                  <a:pt x="170" y="2493"/>
                </a:lnTo>
                <a:lnTo>
                  <a:pt x="179" y="2503"/>
                </a:lnTo>
                <a:lnTo>
                  <a:pt x="189" y="2511"/>
                </a:lnTo>
                <a:lnTo>
                  <a:pt x="200" y="2518"/>
                </a:lnTo>
                <a:lnTo>
                  <a:pt x="214" y="2523"/>
                </a:lnTo>
                <a:lnTo>
                  <a:pt x="227" y="2527"/>
                </a:lnTo>
                <a:lnTo>
                  <a:pt x="241" y="2529"/>
                </a:lnTo>
                <a:lnTo>
                  <a:pt x="256" y="2531"/>
                </a:lnTo>
                <a:lnTo>
                  <a:pt x="271" y="2532"/>
                </a:lnTo>
                <a:lnTo>
                  <a:pt x="287" y="2533"/>
                </a:lnTo>
                <a:lnTo>
                  <a:pt x="304" y="2532"/>
                </a:lnTo>
                <a:lnTo>
                  <a:pt x="337" y="2530"/>
                </a:lnTo>
                <a:lnTo>
                  <a:pt x="371" y="2526"/>
                </a:lnTo>
                <a:lnTo>
                  <a:pt x="405" y="2521"/>
                </a:lnTo>
                <a:lnTo>
                  <a:pt x="438" y="2516"/>
                </a:lnTo>
                <a:lnTo>
                  <a:pt x="468" y="2512"/>
                </a:lnTo>
                <a:lnTo>
                  <a:pt x="496" y="2510"/>
                </a:lnTo>
                <a:lnTo>
                  <a:pt x="509" y="2509"/>
                </a:lnTo>
                <a:lnTo>
                  <a:pt x="520" y="2509"/>
                </a:lnTo>
                <a:lnTo>
                  <a:pt x="531" y="2510"/>
                </a:lnTo>
                <a:lnTo>
                  <a:pt x="541" y="2512"/>
                </a:lnTo>
                <a:lnTo>
                  <a:pt x="549" y="2515"/>
                </a:lnTo>
                <a:lnTo>
                  <a:pt x="555" y="2519"/>
                </a:lnTo>
                <a:lnTo>
                  <a:pt x="555" y="2519"/>
                </a:lnTo>
                <a:lnTo>
                  <a:pt x="558" y="2522"/>
                </a:lnTo>
                <a:lnTo>
                  <a:pt x="559" y="2524"/>
                </a:lnTo>
                <a:lnTo>
                  <a:pt x="557" y="2527"/>
                </a:lnTo>
                <a:lnTo>
                  <a:pt x="554" y="2529"/>
                </a:lnTo>
                <a:lnTo>
                  <a:pt x="549" y="2532"/>
                </a:lnTo>
                <a:lnTo>
                  <a:pt x="542" y="2534"/>
                </a:lnTo>
                <a:lnTo>
                  <a:pt x="525" y="2538"/>
                </a:lnTo>
                <a:lnTo>
                  <a:pt x="475" y="2547"/>
                </a:lnTo>
                <a:lnTo>
                  <a:pt x="447" y="2553"/>
                </a:lnTo>
                <a:lnTo>
                  <a:pt x="417" y="2559"/>
                </a:lnTo>
                <a:lnTo>
                  <a:pt x="388" y="2566"/>
                </a:lnTo>
                <a:lnTo>
                  <a:pt x="359" y="2574"/>
                </a:lnTo>
                <a:lnTo>
                  <a:pt x="346" y="2578"/>
                </a:lnTo>
                <a:lnTo>
                  <a:pt x="333" y="2583"/>
                </a:lnTo>
                <a:lnTo>
                  <a:pt x="322" y="2588"/>
                </a:lnTo>
                <a:lnTo>
                  <a:pt x="312" y="2594"/>
                </a:lnTo>
                <a:lnTo>
                  <a:pt x="303" y="2601"/>
                </a:lnTo>
                <a:lnTo>
                  <a:pt x="294" y="2607"/>
                </a:lnTo>
                <a:lnTo>
                  <a:pt x="288" y="2614"/>
                </a:lnTo>
                <a:lnTo>
                  <a:pt x="284" y="2622"/>
                </a:lnTo>
                <a:lnTo>
                  <a:pt x="282" y="2630"/>
                </a:lnTo>
                <a:lnTo>
                  <a:pt x="281" y="2638"/>
                </a:lnTo>
                <a:lnTo>
                  <a:pt x="283" y="2649"/>
                </a:lnTo>
                <a:lnTo>
                  <a:pt x="287" y="2659"/>
                </a:lnTo>
                <a:lnTo>
                  <a:pt x="287" y="2659"/>
                </a:lnTo>
                <a:lnTo>
                  <a:pt x="287" y="2660"/>
                </a:lnTo>
                <a:lnTo>
                  <a:pt x="286" y="2663"/>
                </a:lnTo>
                <a:lnTo>
                  <a:pt x="283" y="2669"/>
                </a:lnTo>
                <a:lnTo>
                  <a:pt x="268" y="2686"/>
                </a:lnTo>
                <a:lnTo>
                  <a:pt x="258" y="2699"/>
                </a:lnTo>
                <a:lnTo>
                  <a:pt x="247" y="2712"/>
                </a:lnTo>
                <a:lnTo>
                  <a:pt x="237" y="2727"/>
                </a:lnTo>
                <a:lnTo>
                  <a:pt x="228" y="2744"/>
                </a:lnTo>
                <a:lnTo>
                  <a:pt x="220" y="2761"/>
                </a:lnTo>
                <a:lnTo>
                  <a:pt x="217" y="2770"/>
                </a:lnTo>
                <a:lnTo>
                  <a:pt x="214" y="2781"/>
                </a:lnTo>
                <a:lnTo>
                  <a:pt x="213" y="2790"/>
                </a:lnTo>
                <a:lnTo>
                  <a:pt x="212" y="2801"/>
                </a:lnTo>
                <a:lnTo>
                  <a:pt x="212" y="2811"/>
                </a:lnTo>
                <a:lnTo>
                  <a:pt x="213" y="2821"/>
                </a:lnTo>
                <a:lnTo>
                  <a:pt x="215" y="2833"/>
                </a:lnTo>
                <a:lnTo>
                  <a:pt x="219" y="2844"/>
                </a:lnTo>
                <a:lnTo>
                  <a:pt x="223" y="2856"/>
                </a:lnTo>
                <a:lnTo>
                  <a:pt x="229" y="2867"/>
                </a:lnTo>
                <a:lnTo>
                  <a:pt x="237" y="2880"/>
                </a:lnTo>
                <a:lnTo>
                  <a:pt x="246" y="2892"/>
                </a:lnTo>
                <a:lnTo>
                  <a:pt x="257" y="2904"/>
                </a:lnTo>
                <a:lnTo>
                  <a:pt x="270" y="2917"/>
                </a:lnTo>
                <a:lnTo>
                  <a:pt x="270" y="2917"/>
                </a:lnTo>
                <a:lnTo>
                  <a:pt x="270" y="2910"/>
                </a:lnTo>
                <a:lnTo>
                  <a:pt x="272" y="2893"/>
                </a:lnTo>
                <a:lnTo>
                  <a:pt x="277" y="2868"/>
                </a:lnTo>
                <a:lnTo>
                  <a:pt x="281" y="2855"/>
                </a:lnTo>
                <a:lnTo>
                  <a:pt x="285" y="2841"/>
                </a:lnTo>
                <a:lnTo>
                  <a:pt x="291" y="2828"/>
                </a:lnTo>
                <a:lnTo>
                  <a:pt x="298" y="2814"/>
                </a:lnTo>
                <a:lnTo>
                  <a:pt x="306" y="2801"/>
                </a:lnTo>
                <a:lnTo>
                  <a:pt x="315" y="2791"/>
                </a:lnTo>
                <a:lnTo>
                  <a:pt x="321" y="2786"/>
                </a:lnTo>
                <a:lnTo>
                  <a:pt x="326" y="2782"/>
                </a:lnTo>
                <a:lnTo>
                  <a:pt x="332" y="2777"/>
                </a:lnTo>
                <a:lnTo>
                  <a:pt x="339" y="2774"/>
                </a:lnTo>
                <a:lnTo>
                  <a:pt x="346" y="2772"/>
                </a:lnTo>
                <a:lnTo>
                  <a:pt x="354" y="2770"/>
                </a:lnTo>
                <a:lnTo>
                  <a:pt x="361" y="2770"/>
                </a:lnTo>
                <a:lnTo>
                  <a:pt x="369" y="2770"/>
                </a:lnTo>
                <a:lnTo>
                  <a:pt x="369" y="2770"/>
                </a:lnTo>
                <a:lnTo>
                  <a:pt x="383" y="2771"/>
                </a:lnTo>
                <a:lnTo>
                  <a:pt x="396" y="2774"/>
                </a:lnTo>
                <a:lnTo>
                  <a:pt x="408" y="2778"/>
                </a:lnTo>
                <a:lnTo>
                  <a:pt x="420" y="2783"/>
                </a:lnTo>
                <a:lnTo>
                  <a:pt x="443" y="2793"/>
                </a:lnTo>
                <a:lnTo>
                  <a:pt x="454" y="2797"/>
                </a:lnTo>
                <a:lnTo>
                  <a:pt x="465" y="2801"/>
                </a:lnTo>
                <a:lnTo>
                  <a:pt x="476" y="2804"/>
                </a:lnTo>
                <a:lnTo>
                  <a:pt x="489" y="2806"/>
                </a:lnTo>
                <a:lnTo>
                  <a:pt x="501" y="2807"/>
                </a:lnTo>
                <a:lnTo>
                  <a:pt x="514" y="2805"/>
                </a:lnTo>
                <a:lnTo>
                  <a:pt x="528" y="2802"/>
                </a:lnTo>
                <a:lnTo>
                  <a:pt x="542" y="2796"/>
                </a:lnTo>
                <a:lnTo>
                  <a:pt x="558" y="2788"/>
                </a:lnTo>
                <a:lnTo>
                  <a:pt x="575" y="2775"/>
                </a:lnTo>
                <a:lnTo>
                  <a:pt x="575" y="2775"/>
                </a:lnTo>
                <a:lnTo>
                  <a:pt x="588" y="2766"/>
                </a:lnTo>
                <a:lnTo>
                  <a:pt x="600" y="2755"/>
                </a:lnTo>
                <a:lnTo>
                  <a:pt x="614" y="2743"/>
                </a:lnTo>
                <a:lnTo>
                  <a:pt x="630" y="2730"/>
                </a:lnTo>
                <a:lnTo>
                  <a:pt x="651" y="2718"/>
                </a:lnTo>
                <a:lnTo>
                  <a:pt x="664" y="2711"/>
                </a:lnTo>
                <a:lnTo>
                  <a:pt x="678" y="2705"/>
                </a:lnTo>
                <a:lnTo>
                  <a:pt x="693" y="2698"/>
                </a:lnTo>
                <a:lnTo>
                  <a:pt x="712" y="2692"/>
                </a:lnTo>
                <a:lnTo>
                  <a:pt x="732" y="2684"/>
                </a:lnTo>
                <a:lnTo>
                  <a:pt x="754" y="2677"/>
                </a:lnTo>
                <a:lnTo>
                  <a:pt x="754" y="2677"/>
                </a:lnTo>
                <a:lnTo>
                  <a:pt x="756" y="2677"/>
                </a:lnTo>
                <a:lnTo>
                  <a:pt x="757" y="2678"/>
                </a:lnTo>
                <a:lnTo>
                  <a:pt x="760" y="2683"/>
                </a:lnTo>
                <a:lnTo>
                  <a:pt x="762" y="2692"/>
                </a:lnTo>
                <a:lnTo>
                  <a:pt x="765" y="2701"/>
                </a:lnTo>
                <a:lnTo>
                  <a:pt x="768" y="2713"/>
                </a:lnTo>
                <a:lnTo>
                  <a:pt x="772" y="2725"/>
                </a:lnTo>
                <a:lnTo>
                  <a:pt x="777" y="2738"/>
                </a:lnTo>
                <a:lnTo>
                  <a:pt x="783" y="2750"/>
                </a:lnTo>
                <a:lnTo>
                  <a:pt x="783" y="2750"/>
                </a:lnTo>
                <a:lnTo>
                  <a:pt x="786" y="2753"/>
                </a:lnTo>
                <a:lnTo>
                  <a:pt x="789" y="2755"/>
                </a:lnTo>
                <a:lnTo>
                  <a:pt x="797" y="2760"/>
                </a:lnTo>
                <a:lnTo>
                  <a:pt x="805" y="2763"/>
                </a:lnTo>
                <a:lnTo>
                  <a:pt x="813" y="2767"/>
                </a:lnTo>
                <a:lnTo>
                  <a:pt x="821" y="2770"/>
                </a:lnTo>
                <a:lnTo>
                  <a:pt x="827" y="2773"/>
                </a:lnTo>
                <a:lnTo>
                  <a:pt x="830" y="2775"/>
                </a:lnTo>
                <a:lnTo>
                  <a:pt x="831" y="2777"/>
                </a:lnTo>
                <a:lnTo>
                  <a:pt x="833" y="2781"/>
                </a:lnTo>
                <a:lnTo>
                  <a:pt x="833" y="2784"/>
                </a:lnTo>
                <a:lnTo>
                  <a:pt x="833" y="2784"/>
                </a:lnTo>
                <a:lnTo>
                  <a:pt x="832" y="2794"/>
                </a:lnTo>
                <a:lnTo>
                  <a:pt x="830" y="2805"/>
                </a:lnTo>
                <a:lnTo>
                  <a:pt x="826" y="2815"/>
                </a:lnTo>
                <a:lnTo>
                  <a:pt x="822" y="2824"/>
                </a:lnTo>
                <a:lnTo>
                  <a:pt x="817" y="2834"/>
                </a:lnTo>
                <a:lnTo>
                  <a:pt x="811" y="2843"/>
                </a:lnTo>
                <a:lnTo>
                  <a:pt x="798" y="2859"/>
                </a:lnTo>
                <a:lnTo>
                  <a:pt x="784" y="2873"/>
                </a:lnTo>
                <a:lnTo>
                  <a:pt x="773" y="2884"/>
                </a:lnTo>
                <a:lnTo>
                  <a:pt x="765" y="2890"/>
                </a:lnTo>
                <a:lnTo>
                  <a:pt x="763" y="2893"/>
                </a:lnTo>
                <a:lnTo>
                  <a:pt x="763" y="2893"/>
                </a:lnTo>
                <a:lnTo>
                  <a:pt x="767" y="2896"/>
                </a:lnTo>
                <a:lnTo>
                  <a:pt x="778" y="2899"/>
                </a:lnTo>
                <a:lnTo>
                  <a:pt x="785" y="2900"/>
                </a:lnTo>
                <a:lnTo>
                  <a:pt x="794" y="2901"/>
                </a:lnTo>
                <a:lnTo>
                  <a:pt x="804" y="2901"/>
                </a:lnTo>
                <a:lnTo>
                  <a:pt x="815" y="2899"/>
                </a:lnTo>
                <a:lnTo>
                  <a:pt x="826" y="2896"/>
                </a:lnTo>
                <a:lnTo>
                  <a:pt x="839" y="2891"/>
                </a:lnTo>
                <a:lnTo>
                  <a:pt x="852" y="2884"/>
                </a:lnTo>
                <a:lnTo>
                  <a:pt x="865" y="2874"/>
                </a:lnTo>
                <a:lnTo>
                  <a:pt x="879" y="2860"/>
                </a:lnTo>
                <a:lnTo>
                  <a:pt x="894" y="2844"/>
                </a:lnTo>
                <a:lnTo>
                  <a:pt x="907" y="2824"/>
                </a:lnTo>
                <a:lnTo>
                  <a:pt x="921" y="2801"/>
                </a:lnTo>
                <a:lnTo>
                  <a:pt x="921" y="2801"/>
                </a:lnTo>
                <a:lnTo>
                  <a:pt x="924" y="2797"/>
                </a:lnTo>
                <a:lnTo>
                  <a:pt x="927" y="2793"/>
                </a:lnTo>
                <a:lnTo>
                  <a:pt x="930" y="2791"/>
                </a:lnTo>
                <a:lnTo>
                  <a:pt x="935" y="2789"/>
                </a:lnTo>
                <a:lnTo>
                  <a:pt x="939" y="2788"/>
                </a:lnTo>
                <a:lnTo>
                  <a:pt x="943" y="2788"/>
                </a:lnTo>
                <a:lnTo>
                  <a:pt x="951" y="2788"/>
                </a:lnTo>
                <a:lnTo>
                  <a:pt x="970" y="2790"/>
                </a:lnTo>
                <a:lnTo>
                  <a:pt x="982" y="2790"/>
                </a:lnTo>
                <a:lnTo>
                  <a:pt x="987" y="2789"/>
                </a:lnTo>
                <a:lnTo>
                  <a:pt x="992" y="2788"/>
                </a:lnTo>
                <a:lnTo>
                  <a:pt x="992" y="2788"/>
                </a:lnTo>
                <a:lnTo>
                  <a:pt x="1010" y="2782"/>
                </a:lnTo>
                <a:lnTo>
                  <a:pt x="1017" y="2777"/>
                </a:lnTo>
                <a:lnTo>
                  <a:pt x="1024" y="2773"/>
                </a:lnTo>
                <a:lnTo>
                  <a:pt x="1029" y="2770"/>
                </a:lnTo>
                <a:lnTo>
                  <a:pt x="1033" y="2766"/>
                </a:lnTo>
                <a:lnTo>
                  <a:pt x="1036" y="2762"/>
                </a:lnTo>
                <a:lnTo>
                  <a:pt x="1039" y="2757"/>
                </a:lnTo>
                <a:lnTo>
                  <a:pt x="1041" y="2753"/>
                </a:lnTo>
                <a:lnTo>
                  <a:pt x="1042" y="2748"/>
                </a:lnTo>
                <a:lnTo>
                  <a:pt x="1043" y="2739"/>
                </a:lnTo>
                <a:lnTo>
                  <a:pt x="1042" y="2728"/>
                </a:lnTo>
                <a:lnTo>
                  <a:pt x="1040" y="2718"/>
                </a:lnTo>
                <a:lnTo>
                  <a:pt x="1035" y="2696"/>
                </a:lnTo>
                <a:lnTo>
                  <a:pt x="1034" y="2685"/>
                </a:lnTo>
                <a:lnTo>
                  <a:pt x="1033" y="2673"/>
                </a:lnTo>
                <a:lnTo>
                  <a:pt x="1034" y="2662"/>
                </a:lnTo>
                <a:lnTo>
                  <a:pt x="1036" y="2657"/>
                </a:lnTo>
                <a:lnTo>
                  <a:pt x="1038" y="2651"/>
                </a:lnTo>
                <a:lnTo>
                  <a:pt x="1040" y="2646"/>
                </a:lnTo>
                <a:lnTo>
                  <a:pt x="1044" y="2640"/>
                </a:lnTo>
                <a:lnTo>
                  <a:pt x="1048" y="2634"/>
                </a:lnTo>
                <a:lnTo>
                  <a:pt x="1054" y="2629"/>
                </a:lnTo>
                <a:lnTo>
                  <a:pt x="1054" y="2629"/>
                </a:lnTo>
                <a:lnTo>
                  <a:pt x="1069" y="2616"/>
                </a:lnTo>
                <a:lnTo>
                  <a:pt x="1084" y="2603"/>
                </a:lnTo>
                <a:lnTo>
                  <a:pt x="1099" y="2591"/>
                </a:lnTo>
                <a:lnTo>
                  <a:pt x="1115" y="2579"/>
                </a:lnTo>
                <a:lnTo>
                  <a:pt x="1146" y="2559"/>
                </a:lnTo>
                <a:lnTo>
                  <a:pt x="1178" y="2540"/>
                </a:lnTo>
                <a:lnTo>
                  <a:pt x="1210" y="2524"/>
                </a:lnTo>
                <a:lnTo>
                  <a:pt x="1241" y="2509"/>
                </a:lnTo>
                <a:lnTo>
                  <a:pt x="1273" y="2494"/>
                </a:lnTo>
                <a:lnTo>
                  <a:pt x="1304" y="2482"/>
                </a:lnTo>
                <a:lnTo>
                  <a:pt x="1304" y="2482"/>
                </a:lnTo>
                <a:lnTo>
                  <a:pt x="1303" y="2486"/>
                </a:lnTo>
                <a:lnTo>
                  <a:pt x="1299" y="2498"/>
                </a:lnTo>
                <a:lnTo>
                  <a:pt x="1294" y="2518"/>
                </a:lnTo>
                <a:lnTo>
                  <a:pt x="1291" y="2541"/>
                </a:lnTo>
                <a:lnTo>
                  <a:pt x="1290" y="2556"/>
                </a:lnTo>
                <a:lnTo>
                  <a:pt x="1290" y="2570"/>
                </a:lnTo>
                <a:lnTo>
                  <a:pt x="1291" y="2585"/>
                </a:lnTo>
                <a:lnTo>
                  <a:pt x="1292" y="2602"/>
                </a:lnTo>
                <a:lnTo>
                  <a:pt x="1296" y="2618"/>
                </a:lnTo>
                <a:lnTo>
                  <a:pt x="1301" y="2634"/>
                </a:lnTo>
                <a:lnTo>
                  <a:pt x="1306" y="2652"/>
                </a:lnTo>
                <a:lnTo>
                  <a:pt x="1314" y="2669"/>
                </a:lnTo>
                <a:lnTo>
                  <a:pt x="1640" y="2585"/>
                </a:lnTo>
                <a:lnTo>
                  <a:pt x="1640" y="2585"/>
                </a:lnTo>
                <a:lnTo>
                  <a:pt x="1634" y="2569"/>
                </a:lnTo>
                <a:lnTo>
                  <a:pt x="1631" y="2553"/>
                </a:lnTo>
                <a:lnTo>
                  <a:pt x="1629" y="2535"/>
                </a:lnTo>
                <a:lnTo>
                  <a:pt x="1629" y="2518"/>
                </a:lnTo>
                <a:lnTo>
                  <a:pt x="1631" y="2500"/>
                </a:lnTo>
                <a:lnTo>
                  <a:pt x="1634" y="2483"/>
                </a:lnTo>
                <a:lnTo>
                  <a:pt x="1638" y="2466"/>
                </a:lnTo>
                <a:lnTo>
                  <a:pt x="1644" y="2447"/>
                </a:lnTo>
                <a:lnTo>
                  <a:pt x="1651" y="2430"/>
                </a:lnTo>
                <a:lnTo>
                  <a:pt x="1660" y="2411"/>
                </a:lnTo>
                <a:lnTo>
                  <a:pt x="1669" y="2394"/>
                </a:lnTo>
                <a:lnTo>
                  <a:pt x="1679" y="2377"/>
                </a:lnTo>
                <a:lnTo>
                  <a:pt x="1689" y="2359"/>
                </a:lnTo>
                <a:lnTo>
                  <a:pt x="1701" y="2342"/>
                </a:lnTo>
                <a:lnTo>
                  <a:pt x="1725" y="2310"/>
                </a:lnTo>
                <a:lnTo>
                  <a:pt x="1725" y="2310"/>
                </a:lnTo>
                <a:lnTo>
                  <a:pt x="1726" y="2309"/>
                </a:lnTo>
                <a:lnTo>
                  <a:pt x="1727" y="2309"/>
                </a:lnTo>
                <a:lnTo>
                  <a:pt x="1728" y="2313"/>
                </a:lnTo>
                <a:lnTo>
                  <a:pt x="1725" y="2335"/>
                </a:lnTo>
                <a:lnTo>
                  <a:pt x="1721" y="2368"/>
                </a:lnTo>
                <a:lnTo>
                  <a:pt x="1715" y="2410"/>
                </a:lnTo>
                <a:lnTo>
                  <a:pt x="1713" y="2433"/>
                </a:lnTo>
                <a:lnTo>
                  <a:pt x="1711" y="2456"/>
                </a:lnTo>
                <a:lnTo>
                  <a:pt x="1711" y="2478"/>
                </a:lnTo>
                <a:lnTo>
                  <a:pt x="1711" y="2499"/>
                </a:lnTo>
                <a:lnTo>
                  <a:pt x="1713" y="2519"/>
                </a:lnTo>
                <a:lnTo>
                  <a:pt x="1716" y="2536"/>
                </a:lnTo>
                <a:lnTo>
                  <a:pt x="1719" y="2544"/>
                </a:lnTo>
                <a:lnTo>
                  <a:pt x="1722" y="2551"/>
                </a:lnTo>
                <a:lnTo>
                  <a:pt x="1726" y="2557"/>
                </a:lnTo>
                <a:lnTo>
                  <a:pt x="1730" y="2562"/>
                </a:lnTo>
                <a:lnTo>
                  <a:pt x="2050" y="2479"/>
                </a:lnTo>
                <a:lnTo>
                  <a:pt x="2050" y="2479"/>
                </a:lnTo>
                <a:lnTo>
                  <a:pt x="2046" y="2469"/>
                </a:lnTo>
                <a:lnTo>
                  <a:pt x="2043" y="2457"/>
                </a:lnTo>
                <a:lnTo>
                  <a:pt x="2041" y="2446"/>
                </a:lnTo>
                <a:lnTo>
                  <a:pt x="2039" y="2434"/>
                </a:lnTo>
                <a:lnTo>
                  <a:pt x="2038" y="2422"/>
                </a:lnTo>
                <a:lnTo>
                  <a:pt x="2038" y="2409"/>
                </a:lnTo>
                <a:lnTo>
                  <a:pt x="2039" y="2383"/>
                </a:lnTo>
                <a:lnTo>
                  <a:pt x="2043" y="2356"/>
                </a:lnTo>
                <a:lnTo>
                  <a:pt x="2048" y="2330"/>
                </a:lnTo>
                <a:lnTo>
                  <a:pt x="2055" y="2303"/>
                </a:lnTo>
                <a:lnTo>
                  <a:pt x="2064" y="2279"/>
                </a:lnTo>
                <a:lnTo>
                  <a:pt x="2064" y="2279"/>
                </a:lnTo>
                <a:lnTo>
                  <a:pt x="2072" y="2306"/>
                </a:lnTo>
                <a:lnTo>
                  <a:pt x="2079" y="2335"/>
                </a:lnTo>
                <a:lnTo>
                  <a:pt x="2088" y="2362"/>
                </a:lnTo>
                <a:lnTo>
                  <a:pt x="2098" y="2390"/>
                </a:lnTo>
                <a:lnTo>
                  <a:pt x="2108" y="2417"/>
                </a:lnTo>
                <a:lnTo>
                  <a:pt x="2121" y="2443"/>
                </a:lnTo>
                <a:lnTo>
                  <a:pt x="2135" y="2469"/>
                </a:lnTo>
                <a:lnTo>
                  <a:pt x="2149" y="2494"/>
                </a:lnTo>
                <a:lnTo>
                  <a:pt x="2166" y="2519"/>
                </a:lnTo>
                <a:lnTo>
                  <a:pt x="2183" y="2541"/>
                </a:lnTo>
                <a:lnTo>
                  <a:pt x="2201" y="2563"/>
                </a:lnTo>
                <a:lnTo>
                  <a:pt x="2222" y="2583"/>
                </a:lnTo>
                <a:lnTo>
                  <a:pt x="2244" y="2603"/>
                </a:lnTo>
                <a:lnTo>
                  <a:pt x="2268" y="2619"/>
                </a:lnTo>
                <a:lnTo>
                  <a:pt x="2280" y="2627"/>
                </a:lnTo>
                <a:lnTo>
                  <a:pt x="2292" y="2634"/>
                </a:lnTo>
                <a:lnTo>
                  <a:pt x="2306" y="2641"/>
                </a:lnTo>
                <a:lnTo>
                  <a:pt x="2320" y="2648"/>
                </a:lnTo>
                <a:lnTo>
                  <a:pt x="2320" y="2648"/>
                </a:lnTo>
                <a:lnTo>
                  <a:pt x="2365" y="2667"/>
                </a:lnTo>
                <a:lnTo>
                  <a:pt x="2410" y="2685"/>
                </a:lnTo>
                <a:lnTo>
                  <a:pt x="2454" y="2702"/>
                </a:lnTo>
                <a:lnTo>
                  <a:pt x="2499" y="2718"/>
                </a:lnTo>
                <a:lnTo>
                  <a:pt x="2544" y="2733"/>
                </a:lnTo>
                <a:lnTo>
                  <a:pt x="2589" y="2749"/>
                </a:lnTo>
                <a:lnTo>
                  <a:pt x="2683" y="2778"/>
                </a:lnTo>
                <a:lnTo>
                  <a:pt x="2782" y="2807"/>
                </a:lnTo>
                <a:lnTo>
                  <a:pt x="2889" y="2838"/>
                </a:lnTo>
                <a:lnTo>
                  <a:pt x="3005" y="2872"/>
                </a:lnTo>
                <a:lnTo>
                  <a:pt x="3133" y="2908"/>
                </a:lnTo>
                <a:lnTo>
                  <a:pt x="3133" y="2908"/>
                </a:lnTo>
                <a:lnTo>
                  <a:pt x="3205" y="2931"/>
                </a:lnTo>
                <a:lnTo>
                  <a:pt x="3273" y="2954"/>
                </a:lnTo>
                <a:lnTo>
                  <a:pt x="3305" y="2966"/>
                </a:lnTo>
                <a:lnTo>
                  <a:pt x="3333" y="2977"/>
                </a:lnTo>
                <a:lnTo>
                  <a:pt x="3358" y="2987"/>
                </a:lnTo>
                <a:lnTo>
                  <a:pt x="3377" y="2996"/>
                </a:lnTo>
                <a:lnTo>
                  <a:pt x="3377" y="2996"/>
                </a:lnTo>
                <a:lnTo>
                  <a:pt x="3383" y="2999"/>
                </a:lnTo>
                <a:lnTo>
                  <a:pt x="3389" y="3003"/>
                </a:lnTo>
                <a:lnTo>
                  <a:pt x="3393" y="3006"/>
                </a:lnTo>
                <a:lnTo>
                  <a:pt x="3397" y="3011"/>
                </a:lnTo>
                <a:lnTo>
                  <a:pt x="3399" y="3015"/>
                </a:lnTo>
                <a:lnTo>
                  <a:pt x="3401" y="3020"/>
                </a:lnTo>
                <a:lnTo>
                  <a:pt x="3402" y="3024"/>
                </a:lnTo>
                <a:lnTo>
                  <a:pt x="3402" y="3028"/>
                </a:lnTo>
                <a:lnTo>
                  <a:pt x="3401" y="3037"/>
                </a:lnTo>
                <a:lnTo>
                  <a:pt x="3397" y="3046"/>
                </a:lnTo>
                <a:lnTo>
                  <a:pt x="3392" y="3055"/>
                </a:lnTo>
                <a:lnTo>
                  <a:pt x="3386" y="3064"/>
                </a:lnTo>
                <a:lnTo>
                  <a:pt x="3378" y="3072"/>
                </a:lnTo>
                <a:lnTo>
                  <a:pt x="3371" y="3080"/>
                </a:lnTo>
                <a:lnTo>
                  <a:pt x="3357" y="3092"/>
                </a:lnTo>
                <a:lnTo>
                  <a:pt x="3346" y="3102"/>
                </a:lnTo>
                <a:lnTo>
                  <a:pt x="3341" y="3105"/>
                </a:lnTo>
                <a:lnTo>
                  <a:pt x="3341" y="3105"/>
                </a:lnTo>
                <a:lnTo>
                  <a:pt x="3355" y="3113"/>
                </a:lnTo>
                <a:lnTo>
                  <a:pt x="3371" y="3121"/>
                </a:lnTo>
                <a:lnTo>
                  <a:pt x="3411" y="3139"/>
                </a:lnTo>
                <a:lnTo>
                  <a:pt x="3435" y="3152"/>
                </a:lnTo>
                <a:lnTo>
                  <a:pt x="3461" y="3167"/>
                </a:lnTo>
                <a:lnTo>
                  <a:pt x="3492" y="3186"/>
                </a:lnTo>
                <a:lnTo>
                  <a:pt x="3527" y="3211"/>
                </a:lnTo>
                <a:lnTo>
                  <a:pt x="3527" y="3211"/>
                </a:lnTo>
                <a:lnTo>
                  <a:pt x="3545" y="3226"/>
                </a:lnTo>
                <a:lnTo>
                  <a:pt x="3563" y="3244"/>
                </a:lnTo>
                <a:lnTo>
                  <a:pt x="3580" y="3263"/>
                </a:lnTo>
                <a:lnTo>
                  <a:pt x="3595" y="3284"/>
                </a:lnTo>
                <a:lnTo>
                  <a:pt x="3608" y="3305"/>
                </a:lnTo>
                <a:lnTo>
                  <a:pt x="3622" y="3329"/>
                </a:lnTo>
                <a:lnTo>
                  <a:pt x="3634" y="3352"/>
                </a:lnTo>
                <a:lnTo>
                  <a:pt x="3645" y="3378"/>
                </a:lnTo>
                <a:lnTo>
                  <a:pt x="3655" y="3404"/>
                </a:lnTo>
                <a:lnTo>
                  <a:pt x="3665" y="3432"/>
                </a:lnTo>
                <a:lnTo>
                  <a:pt x="3674" y="3460"/>
                </a:lnTo>
                <a:lnTo>
                  <a:pt x="3682" y="3489"/>
                </a:lnTo>
                <a:lnTo>
                  <a:pt x="3698" y="3549"/>
                </a:lnTo>
                <a:lnTo>
                  <a:pt x="3714" y="3612"/>
                </a:lnTo>
                <a:lnTo>
                  <a:pt x="3714" y="3612"/>
                </a:lnTo>
                <a:lnTo>
                  <a:pt x="3725" y="3662"/>
                </a:lnTo>
                <a:lnTo>
                  <a:pt x="3734" y="3715"/>
                </a:lnTo>
                <a:lnTo>
                  <a:pt x="3742" y="3768"/>
                </a:lnTo>
                <a:lnTo>
                  <a:pt x="3744" y="3795"/>
                </a:lnTo>
                <a:lnTo>
                  <a:pt x="3746" y="3819"/>
                </a:lnTo>
                <a:lnTo>
                  <a:pt x="3748" y="3844"/>
                </a:lnTo>
                <a:lnTo>
                  <a:pt x="3749" y="3867"/>
                </a:lnTo>
                <a:lnTo>
                  <a:pt x="3748" y="3889"/>
                </a:lnTo>
                <a:lnTo>
                  <a:pt x="3745" y="3909"/>
                </a:lnTo>
                <a:lnTo>
                  <a:pt x="3742" y="3928"/>
                </a:lnTo>
                <a:lnTo>
                  <a:pt x="3737" y="3944"/>
                </a:lnTo>
                <a:lnTo>
                  <a:pt x="3731" y="3957"/>
                </a:lnTo>
                <a:lnTo>
                  <a:pt x="3728" y="3963"/>
                </a:lnTo>
                <a:lnTo>
                  <a:pt x="3724" y="3969"/>
                </a:lnTo>
                <a:lnTo>
                  <a:pt x="3724" y="3969"/>
                </a:lnTo>
                <a:lnTo>
                  <a:pt x="3715" y="3979"/>
                </a:lnTo>
                <a:lnTo>
                  <a:pt x="3705" y="3989"/>
                </a:lnTo>
                <a:lnTo>
                  <a:pt x="3691" y="3998"/>
                </a:lnTo>
                <a:lnTo>
                  <a:pt x="3683" y="4003"/>
                </a:lnTo>
                <a:lnTo>
                  <a:pt x="3673" y="4008"/>
                </a:lnTo>
                <a:lnTo>
                  <a:pt x="3663" y="4014"/>
                </a:lnTo>
                <a:lnTo>
                  <a:pt x="3650" y="4019"/>
                </a:lnTo>
                <a:lnTo>
                  <a:pt x="3621" y="4028"/>
                </a:lnTo>
                <a:lnTo>
                  <a:pt x="3582" y="4038"/>
                </a:lnTo>
                <a:lnTo>
                  <a:pt x="3535" y="4048"/>
                </a:lnTo>
                <a:lnTo>
                  <a:pt x="3560" y="4171"/>
                </a:lnTo>
                <a:lnTo>
                  <a:pt x="3560" y="4171"/>
                </a:lnTo>
                <a:lnTo>
                  <a:pt x="3579" y="4172"/>
                </a:lnTo>
                <a:lnTo>
                  <a:pt x="3597" y="4172"/>
                </a:lnTo>
                <a:lnTo>
                  <a:pt x="3615" y="4171"/>
                </a:lnTo>
                <a:lnTo>
                  <a:pt x="3631" y="4169"/>
                </a:lnTo>
                <a:lnTo>
                  <a:pt x="3646" y="4167"/>
                </a:lnTo>
                <a:lnTo>
                  <a:pt x="3662" y="4164"/>
                </a:lnTo>
                <a:lnTo>
                  <a:pt x="3688" y="4157"/>
                </a:lnTo>
                <a:lnTo>
                  <a:pt x="3711" y="4150"/>
                </a:lnTo>
                <a:lnTo>
                  <a:pt x="3728" y="4143"/>
                </a:lnTo>
                <a:lnTo>
                  <a:pt x="3742" y="4137"/>
                </a:lnTo>
                <a:lnTo>
                  <a:pt x="3742" y="4137"/>
                </a:lnTo>
                <a:lnTo>
                  <a:pt x="3736" y="4143"/>
                </a:lnTo>
                <a:lnTo>
                  <a:pt x="3730" y="4151"/>
                </a:lnTo>
                <a:lnTo>
                  <a:pt x="3722" y="4161"/>
                </a:lnTo>
                <a:lnTo>
                  <a:pt x="3722" y="4161"/>
                </a:lnTo>
                <a:lnTo>
                  <a:pt x="3711" y="4177"/>
                </a:lnTo>
                <a:lnTo>
                  <a:pt x="3700" y="4194"/>
                </a:lnTo>
                <a:lnTo>
                  <a:pt x="3692" y="4209"/>
                </a:lnTo>
                <a:lnTo>
                  <a:pt x="3685" y="4224"/>
                </a:lnTo>
                <a:lnTo>
                  <a:pt x="3680" y="4240"/>
                </a:lnTo>
                <a:lnTo>
                  <a:pt x="3675" y="4257"/>
                </a:lnTo>
                <a:lnTo>
                  <a:pt x="3672" y="4274"/>
                </a:lnTo>
                <a:lnTo>
                  <a:pt x="3669" y="4295"/>
                </a:lnTo>
                <a:lnTo>
                  <a:pt x="3799" y="4379"/>
                </a:lnTo>
                <a:lnTo>
                  <a:pt x="3799" y="4379"/>
                </a:lnTo>
                <a:lnTo>
                  <a:pt x="3812" y="4338"/>
                </a:lnTo>
                <a:lnTo>
                  <a:pt x="3826" y="4298"/>
                </a:lnTo>
                <a:lnTo>
                  <a:pt x="3841" y="4262"/>
                </a:lnTo>
                <a:lnTo>
                  <a:pt x="3855" y="4229"/>
                </a:lnTo>
                <a:lnTo>
                  <a:pt x="3870" y="4202"/>
                </a:lnTo>
                <a:lnTo>
                  <a:pt x="3877" y="4189"/>
                </a:lnTo>
                <a:lnTo>
                  <a:pt x="3885" y="4179"/>
                </a:lnTo>
                <a:lnTo>
                  <a:pt x="3892" y="4170"/>
                </a:lnTo>
                <a:lnTo>
                  <a:pt x="3899" y="4163"/>
                </a:lnTo>
                <a:lnTo>
                  <a:pt x="3906" y="4158"/>
                </a:lnTo>
                <a:lnTo>
                  <a:pt x="3913" y="4154"/>
                </a:lnTo>
                <a:lnTo>
                  <a:pt x="3913" y="4154"/>
                </a:lnTo>
                <a:lnTo>
                  <a:pt x="3919" y="4152"/>
                </a:lnTo>
                <a:lnTo>
                  <a:pt x="3926" y="4152"/>
                </a:lnTo>
                <a:lnTo>
                  <a:pt x="3935" y="4152"/>
                </a:lnTo>
                <a:lnTo>
                  <a:pt x="3944" y="4153"/>
                </a:lnTo>
                <a:lnTo>
                  <a:pt x="3954" y="4155"/>
                </a:lnTo>
                <a:lnTo>
                  <a:pt x="3965" y="4157"/>
                </a:lnTo>
                <a:lnTo>
                  <a:pt x="3990" y="4166"/>
                </a:lnTo>
                <a:lnTo>
                  <a:pt x="4017" y="4177"/>
                </a:lnTo>
                <a:lnTo>
                  <a:pt x="4047" y="4192"/>
                </a:lnTo>
                <a:lnTo>
                  <a:pt x="4078" y="4212"/>
                </a:lnTo>
                <a:lnTo>
                  <a:pt x="4110" y="4233"/>
                </a:lnTo>
                <a:lnTo>
                  <a:pt x="4127" y="4246"/>
                </a:lnTo>
                <a:lnTo>
                  <a:pt x="4143" y="4259"/>
                </a:lnTo>
                <a:lnTo>
                  <a:pt x="4160" y="4273"/>
                </a:lnTo>
                <a:lnTo>
                  <a:pt x="4176" y="4288"/>
                </a:lnTo>
                <a:lnTo>
                  <a:pt x="4192" y="4303"/>
                </a:lnTo>
                <a:lnTo>
                  <a:pt x="4208" y="4319"/>
                </a:lnTo>
                <a:lnTo>
                  <a:pt x="4224" y="4337"/>
                </a:lnTo>
                <a:lnTo>
                  <a:pt x="4239" y="4355"/>
                </a:lnTo>
                <a:lnTo>
                  <a:pt x="4254" y="4373"/>
                </a:lnTo>
                <a:lnTo>
                  <a:pt x="4268" y="4393"/>
                </a:lnTo>
                <a:lnTo>
                  <a:pt x="4282" y="4413"/>
                </a:lnTo>
                <a:lnTo>
                  <a:pt x="4296" y="4435"/>
                </a:lnTo>
                <a:lnTo>
                  <a:pt x="4308" y="4456"/>
                </a:lnTo>
                <a:lnTo>
                  <a:pt x="4320" y="4479"/>
                </a:lnTo>
                <a:lnTo>
                  <a:pt x="4331" y="4502"/>
                </a:lnTo>
                <a:lnTo>
                  <a:pt x="4342" y="4527"/>
                </a:lnTo>
                <a:lnTo>
                  <a:pt x="4342" y="4527"/>
                </a:lnTo>
                <a:lnTo>
                  <a:pt x="4347" y="4541"/>
                </a:lnTo>
                <a:lnTo>
                  <a:pt x="4352" y="4558"/>
                </a:lnTo>
                <a:lnTo>
                  <a:pt x="4356" y="4574"/>
                </a:lnTo>
                <a:lnTo>
                  <a:pt x="4360" y="4591"/>
                </a:lnTo>
                <a:lnTo>
                  <a:pt x="4363" y="4610"/>
                </a:lnTo>
                <a:lnTo>
                  <a:pt x="4366" y="4628"/>
                </a:lnTo>
                <a:lnTo>
                  <a:pt x="4370" y="4667"/>
                </a:lnTo>
                <a:lnTo>
                  <a:pt x="4372" y="4706"/>
                </a:lnTo>
                <a:lnTo>
                  <a:pt x="4371" y="4747"/>
                </a:lnTo>
                <a:lnTo>
                  <a:pt x="4370" y="4767"/>
                </a:lnTo>
                <a:lnTo>
                  <a:pt x="4369" y="4787"/>
                </a:lnTo>
                <a:lnTo>
                  <a:pt x="4366" y="4807"/>
                </a:lnTo>
                <a:lnTo>
                  <a:pt x="4363" y="4826"/>
                </a:lnTo>
                <a:lnTo>
                  <a:pt x="4360" y="4846"/>
                </a:lnTo>
                <a:lnTo>
                  <a:pt x="4356" y="4864"/>
                </a:lnTo>
                <a:lnTo>
                  <a:pt x="4351" y="4883"/>
                </a:lnTo>
                <a:lnTo>
                  <a:pt x="4345" y="4900"/>
                </a:lnTo>
                <a:lnTo>
                  <a:pt x="4339" y="4917"/>
                </a:lnTo>
                <a:lnTo>
                  <a:pt x="4332" y="4933"/>
                </a:lnTo>
                <a:lnTo>
                  <a:pt x="4324" y="4948"/>
                </a:lnTo>
                <a:lnTo>
                  <a:pt x="4316" y="4962"/>
                </a:lnTo>
                <a:lnTo>
                  <a:pt x="4307" y="4976"/>
                </a:lnTo>
                <a:lnTo>
                  <a:pt x="4298" y="4988"/>
                </a:lnTo>
                <a:lnTo>
                  <a:pt x="4287" y="4999"/>
                </a:lnTo>
                <a:lnTo>
                  <a:pt x="4276" y="5008"/>
                </a:lnTo>
                <a:lnTo>
                  <a:pt x="4264" y="5017"/>
                </a:lnTo>
                <a:lnTo>
                  <a:pt x="4252" y="5024"/>
                </a:lnTo>
                <a:lnTo>
                  <a:pt x="4238" y="5029"/>
                </a:lnTo>
                <a:lnTo>
                  <a:pt x="4224" y="5032"/>
                </a:lnTo>
                <a:lnTo>
                  <a:pt x="4224" y="5032"/>
                </a:lnTo>
                <a:lnTo>
                  <a:pt x="4216" y="5033"/>
                </a:lnTo>
                <a:lnTo>
                  <a:pt x="4208" y="5033"/>
                </a:lnTo>
                <a:lnTo>
                  <a:pt x="4198" y="5032"/>
                </a:lnTo>
                <a:lnTo>
                  <a:pt x="4188" y="5030"/>
                </a:lnTo>
                <a:lnTo>
                  <a:pt x="4168" y="5025"/>
                </a:lnTo>
                <a:lnTo>
                  <a:pt x="4145" y="5017"/>
                </a:lnTo>
                <a:lnTo>
                  <a:pt x="4123" y="5006"/>
                </a:lnTo>
                <a:lnTo>
                  <a:pt x="4099" y="4995"/>
                </a:lnTo>
                <a:lnTo>
                  <a:pt x="4051" y="4973"/>
                </a:lnTo>
                <a:lnTo>
                  <a:pt x="4028" y="4961"/>
                </a:lnTo>
                <a:lnTo>
                  <a:pt x="4005" y="4952"/>
                </a:lnTo>
                <a:lnTo>
                  <a:pt x="3984" y="4945"/>
                </a:lnTo>
                <a:lnTo>
                  <a:pt x="3964" y="4940"/>
                </a:lnTo>
                <a:lnTo>
                  <a:pt x="3955" y="4939"/>
                </a:lnTo>
                <a:lnTo>
                  <a:pt x="3947" y="4938"/>
                </a:lnTo>
                <a:lnTo>
                  <a:pt x="3939" y="4939"/>
                </a:lnTo>
                <a:lnTo>
                  <a:pt x="3932" y="4940"/>
                </a:lnTo>
                <a:lnTo>
                  <a:pt x="3924" y="4943"/>
                </a:lnTo>
                <a:lnTo>
                  <a:pt x="3919" y="4947"/>
                </a:lnTo>
                <a:lnTo>
                  <a:pt x="3914" y="4952"/>
                </a:lnTo>
                <a:lnTo>
                  <a:pt x="3909" y="4958"/>
                </a:lnTo>
                <a:lnTo>
                  <a:pt x="3909" y="4958"/>
                </a:lnTo>
                <a:lnTo>
                  <a:pt x="3905" y="4965"/>
                </a:lnTo>
                <a:lnTo>
                  <a:pt x="3900" y="4973"/>
                </a:lnTo>
                <a:lnTo>
                  <a:pt x="3893" y="4979"/>
                </a:lnTo>
                <a:lnTo>
                  <a:pt x="3886" y="4985"/>
                </a:lnTo>
                <a:lnTo>
                  <a:pt x="3869" y="4996"/>
                </a:lnTo>
                <a:lnTo>
                  <a:pt x="3851" y="5006"/>
                </a:lnTo>
                <a:lnTo>
                  <a:pt x="3810" y="5028"/>
                </a:lnTo>
                <a:lnTo>
                  <a:pt x="3789" y="5039"/>
                </a:lnTo>
                <a:lnTo>
                  <a:pt x="3770" y="5052"/>
                </a:lnTo>
                <a:lnTo>
                  <a:pt x="3761" y="5058"/>
                </a:lnTo>
                <a:lnTo>
                  <a:pt x="3752" y="5067"/>
                </a:lnTo>
                <a:lnTo>
                  <a:pt x="3743" y="5074"/>
                </a:lnTo>
                <a:lnTo>
                  <a:pt x="3735" y="5083"/>
                </a:lnTo>
                <a:lnTo>
                  <a:pt x="3728" y="5092"/>
                </a:lnTo>
                <a:lnTo>
                  <a:pt x="3722" y="5102"/>
                </a:lnTo>
                <a:lnTo>
                  <a:pt x="3717" y="5113"/>
                </a:lnTo>
                <a:lnTo>
                  <a:pt x="3713" y="5125"/>
                </a:lnTo>
                <a:lnTo>
                  <a:pt x="3710" y="5137"/>
                </a:lnTo>
                <a:lnTo>
                  <a:pt x="3708" y="5151"/>
                </a:lnTo>
                <a:lnTo>
                  <a:pt x="3707" y="5165"/>
                </a:lnTo>
                <a:lnTo>
                  <a:pt x="3707" y="5181"/>
                </a:lnTo>
                <a:lnTo>
                  <a:pt x="3709" y="5198"/>
                </a:lnTo>
                <a:lnTo>
                  <a:pt x="3713" y="5215"/>
                </a:lnTo>
                <a:lnTo>
                  <a:pt x="3718" y="5234"/>
                </a:lnTo>
                <a:lnTo>
                  <a:pt x="3724" y="5255"/>
                </a:lnTo>
                <a:lnTo>
                  <a:pt x="3724" y="5255"/>
                </a:lnTo>
                <a:lnTo>
                  <a:pt x="3741" y="5234"/>
                </a:lnTo>
                <a:lnTo>
                  <a:pt x="3759" y="5213"/>
                </a:lnTo>
                <a:lnTo>
                  <a:pt x="3776" y="5194"/>
                </a:lnTo>
                <a:lnTo>
                  <a:pt x="3794" y="5178"/>
                </a:lnTo>
                <a:lnTo>
                  <a:pt x="3802" y="5171"/>
                </a:lnTo>
                <a:lnTo>
                  <a:pt x="3811" y="5165"/>
                </a:lnTo>
                <a:lnTo>
                  <a:pt x="3819" y="5159"/>
                </a:lnTo>
                <a:lnTo>
                  <a:pt x="3827" y="5155"/>
                </a:lnTo>
                <a:lnTo>
                  <a:pt x="3835" y="5153"/>
                </a:lnTo>
                <a:lnTo>
                  <a:pt x="3843" y="5151"/>
                </a:lnTo>
                <a:lnTo>
                  <a:pt x="3850" y="5151"/>
                </a:lnTo>
                <a:lnTo>
                  <a:pt x="3857" y="5153"/>
                </a:lnTo>
                <a:lnTo>
                  <a:pt x="3857" y="5153"/>
                </a:lnTo>
                <a:lnTo>
                  <a:pt x="3861" y="5155"/>
                </a:lnTo>
                <a:lnTo>
                  <a:pt x="3864" y="5157"/>
                </a:lnTo>
                <a:lnTo>
                  <a:pt x="3870" y="5163"/>
                </a:lnTo>
                <a:lnTo>
                  <a:pt x="3875" y="5171"/>
                </a:lnTo>
                <a:lnTo>
                  <a:pt x="3879" y="5179"/>
                </a:lnTo>
                <a:lnTo>
                  <a:pt x="3888" y="5200"/>
                </a:lnTo>
                <a:lnTo>
                  <a:pt x="3894" y="5210"/>
                </a:lnTo>
                <a:lnTo>
                  <a:pt x="3901" y="5220"/>
                </a:lnTo>
                <a:lnTo>
                  <a:pt x="3901" y="5220"/>
                </a:lnTo>
                <a:lnTo>
                  <a:pt x="3904" y="5223"/>
                </a:lnTo>
                <a:lnTo>
                  <a:pt x="3908" y="5225"/>
                </a:lnTo>
                <a:lnTo>
                  <a:pt x="3913" y="5227"/>
                </a:lnTo>
                <a:lnTo>
                  <a:pt x="3919" y="5228"/>
                </a:lnTo>
                <a:lnTo>
                  <a:pt x="3934" y="5230"/>
                </a:lnTo>
                <a:lnTo>
                  <a:pt x="3950" y="5230"/>
                </a:lnTo>
                <a:lnTo>
                  <a:pt x="3968" y="5229"/>
                </a:lnTo>
                <a:lnTo>
                  <a:pt x="3989" y="5227"/>
                </a:lnTo>
                <a:lnTo>
                  <a:pt x="4032" y="5223"/>
                </a:lnTo>
                <a:lnTo>
                  <a:pt x="4074" y="5219"/>
                </a:lnTo>
                <a:lnTo>
                  <a:pt x="4093" y="5217"/>
                </a:lnTo>
                <a:lnTo>
                  <a:pt x="4110" y="5217"/>
                </a:lnTo>
                <a:lnTo>
                  <a:pt x="4126" y="5217"/>
                </a:lnTo>
                <a:lnTo>
                  <a:pt x="4137" y="5219"/>
                </a:lnTo>
                <a:lnTo>
                  <a:pt x="4142" y="5221"/>
                </a:lnTo>
                <a:lnTo>
                  <a:pt x="4146" y="5223"/>
                </a:lnTo>
                <a:lnTo>
                  <a:pt x="4148" y="5225"/>
                </a:lnTo>
                <a:lnTo>
                  <a:pt x="4150" y="5228"/>
                </a:lnTo>
                <a:lnTo>
                  <a:pt x="4150" y="5228"/>
                </a:lnTo>
                <a:lnTo>
                  <a:pt x="4151" y="5231"/>
                </a:lnTo>
                <a:lnTo>
                  <a:pt x="4150" y="5234"/>
                </a:lnTo>
                <a:lnTo>
                  <a:pt x="4149" y="5236"/>
                </a:lnTo>
                <a:lnTo>
                  <a:pt x="4148" y="5238"/>
                </a:lnTo>
                <a:lnTo>
                  <a:pt x="4143" y="5242"/>
                </a:lnTo>
                <a:lnTo>
                  <a:pt x="4136" y="5243"/>
                </a:lnTo>
                <a:lnTo>
                  <a:pt x="4118" y="5246"/>
                </a:lnTo>
                <a:lnTo>
                  <a:pt x="4100" y="5248"/>
                </a:lnTo>
                <a:lnTo>
                  <a:pt x="4100" y="5248"/>
                </a:lnTo>
                <a:lnTo>
                  <a:pt x="4021" y="5262"/>
                </a:lnTo>
                <a:lnTo>
                  <a:pt x="3981" y="5269"/>
                </a:lnTo>
                <a:lnTo>
                  <a:pt x="3943" y="5277"/>
                </a:lnTo>
                <a:lnTo>
                  <a:pt x="3925" y="5282"/>
                </a:lnTo>
                <a:lnTo>
                  <a:pt x="3909" y="5288"/>
                </a:lnTo>
                <a:lnTo>
                  <a:pt x="3894" y="5294"/>
                </a:lnTo>
                <a:lnTo>
                  <a:pt x="3881" y="5300"/>
                </a:lnTo>
                <a:lnTo>
                  <a:pt x="3869" y="5306"/>
                </a:lnTo>
                <a:lnTo>
                  <a:pt x="3860" y="5314"/>
                </a:lnTo>
                <a:lnTo>
                  <a:pt x="3853" y="5322"/>
                </a:lnTo>
                <a:lnTo>
                  <a:pt x="3850" y="5326"/>
                </a:lnTo>
                <a:lnTo>
                  <a:pt x="3848" y="5331"/>
                </a:lnTo>
                <a:lnTo>
                  <a:pt x="3848" y="5331"/>
                </a:lnTo>
                <a:lnTo>
                  <a:pt x="3846" y="5338"/>
                </a:lnTo>
                <a:lnTo>
                  <a:pt x="3846" y="5342"/>
                </a:lnTo>
                <a:lnTo>
                  <a:pt x="3847" y="5352"/>
                </a:lnTo>
                <a:lnTo>
                  <a:pt x="3847" y="5357"/>
                </a:lnTo>
                <a:lnTo>
                  <a:pt x="3846" y="5363"/>
                </a:lnTo>
                <a:lnTo>
                  <a:pt x="3845" y="5371"/>
                </a:lnTo>
                <a:lnTo>
                  <a:pt x="3842" y="5382"/>
                </a:lnTo>
                <a:lnTo>
                  <a:pt x="3842" y="5382"/>
                </a:lnTo>
                <a:lnTo>
                  <a:pt x="3837" y="5393"/>
                </a:lnTo>
                <a:lnTo>
                  <a:pt x="3831" y="5402"/>
                </a:lnTo>
                <a:lnTo>
                  <a:pt x="3823" y="5410"/>
                </a:lnTo>
                <a:lnTo>
                  <a:pt x="3815" y="5418"/>
                </a:lnTo>
                <a:lnTo>
                  <a:pt x="3796" y="5434"/>
                </a:lnTo>
                <a:lnTo>
                  <a:pt x="3786" y="5442"/>
                </a:lnTo>
                <a:lnTo>
                  <a:pt x="3776" y="5451"/>
                </a:lnTo>
                <a:lnTo>
                  <a:pt x="3767" y="5460"/>
                </a:lnTo>
                <a:lnTo>
                  <a:pt x="3758" y="5472"/>
                </a:lnTo>
                <a:lnTo>
                  <a:pt x="3750" y="5485"/>
                </a:lnTo>
                <a:lnTo>
                  <a:pt x="3742" y="5499"/>
                </a:lnTo>
                <a:lnTo>
                  <a:pt x="3736" y="5517"/>
                </a:lnTo>
                <a:lnTo>
                  <a:pt x="3732" y="5536"/>
                </a:lnTo>
                <a:lnTo>
                  <a:pt x="3730" y="5558"/>
                </a:lnTo>
                <a:lnTo>
                  <a:pt x="3730" y="5584"/>
                </a:lnTo>
                <a:lnTo>
                  <a:pt x="3730" y="5584"/>
                </a:lnTo>
                <a:lnTo>
                  <a:pt x="3732" y="5597"/>
                </a:lnTo>
                <a:lnTo>
                  <a:pt x="3735" y="5610"/>
                </a:lnTo>
                <a:lnTo>
                  <a:pt x="3739" y="5622"/>
                </a:lnTo>
                <a:lnTo>
                  <a:pt x="3744" y="5634"/>
                </a:lnTo>
                <a:lnTo>
                  <a:pt x="3751" y="5644"/>
                </a:lnTo>
                <a:lnTo>
                  <a:pt x="3757" y="5656"/>
                </a:lnTo>
                <a:lnTo>
                  <a:pt x="3763" y="5665"/>
                </a:lnTo>
                <a:lnTo>
                  <a:pt x="3770" y="5674"/>
                </a:lnTo>
                <a:lnTo>
                  <a:pt x="3784" y="5689"/>
                </a:lnTo>
                <a:lnTo>
                  <a:pt x="3797" y="5701"/>
                </a:lnTo>
                <a:lnTo>
                  <a:pt x="3807" y="5708"/>
                </a:lnTo>
                <a:lnTo>
                  <a:pt x="3810" y="5710"/>
                </a:lnTo>
                <a:lnTo>
                  <a:pt x="3813" y="5711"/>
                </a:lnTo>
                <a:lnTo>
                  <a:pt x="3813" y="5711"/>
                </a:lnTo>
                <a:lnTo>
                  <a:pt x="3814" y="5710"/>
                </a:lnTo>
                <a:lnTo>
                  <a:pt x="3815" y="5709"/>
                </a:lnTo>
                <a:lnTo>
                  <a:pt x="3816" y="5704"/>
                </a:lnTo>
                <a:lnTo>
                  <a:pt x="3818" y="5696"/>
                </a:lnTo>
                <a:lnTo>
                  <a:pt x="3818" y="5686"/>
                </a:lnTo>
                <a:lnTo>
                  <a:pt x="3820" y="5662"/>
                </a:lnTo>
                <a:lnTo>
                  <a:pt x="3823" y="5633"/>
                </a:lnTo>
                <a:lnTo>
                  <a:pt x="3825" y="5619"/>
                </a:lnTo>
                <a:lnTo>
                  <a:pt x="3828" y="5603"/>
                </a:lnTo>
                <a:lnTo>
                  <a:pt x="3831" y="5590"/>
                </a:lnTo>
                <a:lnTo>
                  <a:pt x="3836" y="5577"/>
                </a:lnTo>
                <a:lnTo>
                  <a:pt x="3843" y="5566"/>
                </a:lnTo>
                <a:lnTo>
                  <a:pt x="3847" y="5562"/>
                </a:lnTo>
                <a:lnTo>
                  <a:pt x="3851" y="5556"/>
                </a:lnTo>
                <a:lnTo>
                  <a:pt x="3855" y="5553"/>
                </a:lnTo>
                <a:lnTo>
                  <a:pt x="3860" y="5550"/>
                </a:lnTo>
                <a:lnTo>
                  <a:pt x="3865" y="5547"/>
                </a:lnTo>
                <a:lnTo>
                  <a:pt x="3871" y="5546"/>
                </a:lnTo>
                <a:lnTo>
                  <a:pt x="3871" y="5546"/>
                </a:lnTo>
                <a:lnTo>
                  <a:pt x="3877" y="5545"/>
                </a:lnTo>
                <a:lnTo>
                  <a:pt x="3882" y="5546"/>
                </a:lnTo>
                <a:lnTo>
                  <a:pt x="3888" y="5548"/>
                </a:lnTo>
                <a:lnTo>
                  <a:pt x="3892" y="5552"/>
                </a:lnTo>
                <a:lnTo>
                  <a:pt x="3902" y="5561"/>
                </a:lnTo>
                <a:lnTo>
                  <a:pt x="3911" y="5571"/>
                </a:lnTo>
                <a:lnTo>
                  <a:pt x="3921" y="5581"/>
                </a:lnTo>
                <a:lnTo>
                  <a:pt x="3926" y="5586"/>
                </a:lnTo>
                <a:lnTo>
                  <a:pt x="3933" y="5590"/>
                </a:lnTo>
                <a:lnTo>
                  <a:pt x="3940" y="5594"/>
                </a:lnTo>
                <a:lnTo>
                  <a:pt x="3946" y="5597"/>
                </a:lnTo>
                <a:lnTo>
                  <a:pt x="3954" y="5598"/>
                </a:lnTo>
                <a:lnTo>
                  <a:pt x="3962" y="5599"/>
                </a:lnTo>
                <a:lnTo>
                  <a:pt x="3962" y="5599"/>
                </a:lnTo>
                <a:lnTo>
                  <a:pt x="3970" y="5598"/>
                </a:lnTo>
                <a:lnTo>
                  <a:pt x="3979" y="5595"/>
                </a:lnTo>
                <a:lnTo>
                  <a:pt x="3987" y="5592"/>
                </a:lnTo>
                <a:lnTo>
                  <a:pt x="3996" y="5588"/>
                </a:lnTo>
                <a:lnTo>
                  <a:pt x="4005" y="5582"/>
                </a:lnTo>
                <a:lnTo>
                  <a:pt x="4014" y="5576"/>
                </a:lnTo>
                <a:lnTo>
                  <a:pt x="4035" y="5559"/>
                </a:lnTo>
                <a:lnTo>
                  <a:pt x="4055" y="5542"/>
                </a:lnTo>
                <a:lnTo>
                  <a:pt x="4077" y="5522"/>
                </a:lnTo>
                <a:lnTo>
                  <a:pt x="4122" y="5479"/>
                </a:lnTo>
                <a:lnTo>
                  <a:pt x="4144" y="5457"/>
                </a:lnTo>
                <a:lnTo>
                  <a:pt x="4166" y="5437"/>
                </a:lnTo>
                <a:lnTo>
                  <a:pt x="4187" y="5417"/>
                </a:lnTo>
                <a:lnTo>
                  <a:pt x="4208" y="5402"/>
                </a:lnTo>
                <a:lnTo>
                  <a:pt x="4227" y="5389"/>
                </a:lnTo>
                <a:lnTo>
                  <a:pt x="4236" y="5384"/>
                </a:lnTo>
                <a:lnTo>
                  <a:pt x="4245" y="5380"/>
                </a:lnTo>
                <a:lnTo>
                  <a:pt x="4254" y="5376"/>
                </a:lnTo>
                <a:lnTo>
                  <a:pt x="4262" y="5374"/>
                </a:lnTo>
                <a:lnTo>
                  <a:pt x="4270" y="5374"/>
                </a:lnTo>
                <a:lnTo>
                  <a:pt x="4277" y="5375"/>
                </a:lnTo>
                <a:lnTo>
                  <a:pt x="4277" y="5375"/>
                </a:lnTo>
                <a:lnTo>
                  <a:pt x="4278" y="5376"/>
                </a:lnTo>
                <a:lnTo>
                  <a:pt x="4279" y="5379"/>
                </a:lnTo>
                <a:lnTo>
                  <a:pt x="4278" y="5382"/>
                </a:lnTo>
                <a:lnTo>
                  <a:pt x="4277" y="5384"/>
                </a:lnTo>
                <a:lnTo>
                  <a:pt x="4272" y="5391"/>
                </a:lnTo>
                <a:lnTo>
                  <a:pt x="4264" y="5399"/>
                </a:lnTo>
                <a:lnTo>
                  <a:pt x="4241" y="5420"/>
                </a:lnTo>
                <a:lnTo>
                  <a:pt x="4212" y="5447"/>
                </a:lnTo>
                <a:lnTo>
                  <a:pt x="4181" y="5477"/>
                </a:lnTo>
                <a:lnTo>
                  <a:pt x="4167" y="5492"/>
                </a:lnTo>
                <a:lnTo>
                  <a:pt x="4152" y="5508"/>
                </a:lnTo>
                <a:lnTo>
                  <a:pt x="4140" y="5525"/>
                </a:lnTo>
                <a:lnTo>
                  <a:pt x="4129" y="5542"/>
                </a:lnTo>
                <a:lnTo>
                  <a:pt x="4121" y="5558"/>
                </a:lnTo>
                <a:lnTo>
                  <a:pt x="4118" y="5567"/>
                </a:lnTo>
                <a:lnTo>
                  <a:pt x="4116" y="5576"/>
                </a:lnTo>
                <a:lnTo>
                  <a:pt x="4116" y="5576"/>
                </a:lnTo>
                <a:lnTo>
                  <a:pt x="4114" y="5588"/>
                </a:lnTo>
                <a:lnTo>
                  <a:pt x="4114" y="5599"/>
                </a:lnTo>
                <a:lnTo>
                  <a:pt x="4115" y="5611"/>
                </a:lnTo>
                <a:lnTo>
                  <a:pt x="4119" y="5620"/>
                </a:lnTo>
                <a:lnTo>
                  <a:pt x="4123" y="5628"/>
                </a:lnTo>
                <a:lnTo>
                  <a:pt x="4129" y="5636"/>
                </a:lnTo>
                <a:lnTo>
                  <a:pt x="4135" y="5643"/>
                </a:lnTo>
                <a:lnTo>
                  <a:pt x="4142" y="5649"/>
                </a:lnTo>
                <a:lnTo>
                  <a:pt x="4157" y="5663"/>
                </a:lnTo>
                <a:lnTo>
                  <a:pt x="4163" y="5669"/>
                </a:lnTo>
                <a:lnTo>
                  <a:pt x="4169" y="5676"/>
                </a:lnTo>
                <a:lnTo>
                  <a:pt x="4175" y="5683"/>
                </a:lnTo>
                <a:lnTo>
                  <a:pt x="4179" y="5690"/>
                </a:lnTo>
                <a:lnTo>
                  <a:pt x="4182" y="5699"/>
                </a:lnTo>
                <a:lnTo>
                  <a:pt x="4183" y="5708"/>
                </a:lnTo>
                <a:lnTo>
                  <a:pt x="4183" y="5708"/>
                </a:lnTo>
                <a:lnTo>
                  <a:pt x="4184" y="5718"/>
                </a:lnTo>
                <a:lnTo>
                  <a:pt x="4186" y="5729"/>
                </a:lnTo>
                <a:lnTo>
                  <a:pt x="4189" y="5738"/>
                </a:lnTo>
                <a:lnTo>
                  <a:pt x="4193" y="5749"/>
                </a:lnTo>
                <a:lnTo>
                  <a:pt x="4198" y="5758"/>
                </a:lnTo>
                <a:lnTo>
                  <a:pt x="4205" y="5767"/>
                </a:lnTo>
                <a:lnTo>
                  <a:pt x="4212" y="5775"/>
                </a:lnTo>
                <a:lnTo>
                  <a:pt x="4220" y="5783"/>
                </a:lnTo>
                <a:lnTo>
                  <a:pt x="4228" y="5792"/>
                </a:lnTo>
                <a:lnTo>
                  <a:pt x="4237" y="5799"/>
                </a:lnTo>
                <a:lnTo>
                  <a:pt x="4257" y="5812"/>
                </a:lnTo>
                <a:lnTo>
                  <a:pt x="4278" y="5824"/>
                </a:lnTo>
                <a:lnTo>
                  <a:pt x="4300" y="5835"/>
                </a:lnTo>
                <a:lnTo>
                  <a:pt x="4322" y="5844"/>
                </a:lnTo>
                <a:lnTo>
                  <a:pt x="4344" y="5852"/>
                </a:lnTo>
                <a:lnTo>
                  <a:pt x="4364" y="5857"/>
                </a:lnTo>
                <a:lnTo>
                  <a:pt x="4382" y="5862"/>
                </a:lnTo>
                <a:lnTo>
                  <a:pt x="4399" y="5864"/>
                </a:lnTo>
                <a:lnTo>
                  <a:pt x="4412" y="5865"/>
                </a:lnTo>
                <a:lnTo>
                  <a:pt x="4421" y="5865"/>
                </a:lnTo>
                <a:lnTo>
                  <a:pt x="4424" y="5864"/>
                </a:lnTo>
                <a:lnTo>
                  <a:pt x="4426" y="5863"/>
                </a:lnTo>
                <a:lnTo>
                  <a:pt x="4426" y="5863"/>
                </a:lnTo>
                <a:lnTo>
                  <a:pt x="4427" y="5861"/>
                </a:lnTo>
                <a:lnTo>
                  <a:pt x="4427" y="5859"/>
                </a:lnTo>
                <a:lnTo>
                  <a:pt x="4425" y="5853"/>
                </a:lnTo>
                <a:lnTo>
                  <a:pt x="4420" y="5846"/>
                </a:lnTo>
                <a:lnTo>
                  <a:pt x="4412" y="5836"/>
                </a:lnTo>
                <a:lnTo>
                  <a:pt x="4393" y="5813"/>
                </a:lnTo>
                <a:lnTo>
                  <a:pt x="4369" y="5786"/>
                </a:lnTo>
                <a:lnTo>
                  <a:pt x="4358" y="5773"/>
                </a:lnTo>
                <a:lnTo>
                  <a:pt x="4348" y="5759"/>
                </a:lnTo>
                <a:lnTo>
                  <a:pt x="4339" y="5745"/>
                </a:lnTo>
                <a:lnTo>
                  <a:pt x="4330" y="5731"/>
                </a:lnTo>
                <a:lnTo>
                  <a:pt x="4325" y="5718"/>
                </a:lnTo>
                <a:lnTo>
                  <a:pt x="4324" y="5712"/>
                </a:lnTo>
                <a:lnTo>
                  <a:pt x="4323" y="5706"/>
                </a:lnTo>
                <a:lnTo>
                  <a:pt x="4323" y="5700"/>
                </a:lnTo>
                <a:lnTo>
                  <a:pt x="4324" y="5694"/>
                </a:lnTo>
                <a:lnTo>
                  <a:pt x="4326" y="5689"/>
                </a:lnTo>
                <a:lnTo>
                  <a:pt x="4329" y="5684"/>
                </a:lnTo>
                <a:lnTo>
                  <a:pt x="4329" y="5684"/>
                </a:lnTo>
                <a:lnTo>
                  <a:pt x="4333" y="5680"/>
                </a:lnTo>
                <a:lnTo>
                  <a:pt x="4337" y="5677"/>
                </a:lnTo>
                <a:lnTo>
                  <a:pt x="4343" y="5676"/>
                </a:lnTo>
                <a:lnTo>
                  <a:pt x="4347" y="5675"/>
                </a:lnTo>
                <a:lnTo>
                  <a:pt x="4352" y="5675"/>
                </a:lnTo>
                <a:lnTo>
                  <a:pt x="4358" y="5676"/>
                </a:lnTo>
                <a:lnTo>
                  <a:pt x="4370" y="5678"/>
                </a:lnTo>
                <a:lnTo>
                  <a:pt x="4384" y="5681"/>
                </a:lnTo>
                <a:lnTo>
                  <a:pt x="4392" y="5682"/>
                </a:lnTo>
                <a:lnTo>
                  <a:pt x="4399" y="5682"/>
                </a:lnTo>
                <a:lnTo>
                  <a:pt x="4408" y="5682"/>
                </a:lnTo>
                <a:lnTo>
                  <a:pt x="4416" y="5681"/>
                </a:lnTo>
                <a:lnTo>
                  <a:pt x="4425" y="5679"/>
                </a:lnTo>
                <a:lnTo>
                  <a:pt x="4436" y="5675"/>
                </a:lnTo>
                <a:lnTo>
                  <a:pt x="4436" y="5675"/>
                </a:lnTo>
                <a:lnTo>
                  <a:pt x="4437" y="5673"/>
                </a:lnTo>
                <a:lnTo>
                  <a:pt x="4438" y="5670"/>
                </a:lnTo>
                <a:lnTo>
                  <a:pt x="4438" y="5663"/>
                </a:lnTo>
                <a:lnTo>
                  <a:pt x="4436" y="5652"/>
                </a:lnTo>
                <a:lnTo>
                  <a:pt x="4434" y="5637"/>
                </a:lnTo>
                <a:lnTo>
                  <a:pt x="4431" y="5621"/>
                </a:lnTo>
                <a:lnTo>
                  <a:pt x="4428" y="5602"/>
                </a:lnTo>
                <a:lnTo>
                  <a:pt x="4426" y="5581"/>
                </a:lnTo>
                <a:lnTo>
                  <a:pt x="4426" y="5557"/>
                </a:lnTo>
                <a:lnTo>
                  <a:pt x="4428" y="5533"/>
                </a:lnTo>
                <a:lnTo>
                  <a:pt x="4431" y="5520"/>
                </a:lnTo>
                <a:lnTo>
                  <a:pt x="4434" y="5505"/>
                </a:lnTo>
                <a:lnTo>
                  <a:pt x="4437" y="5492"/>
                </a:lnTo>
                <a:lnTo>
                  <a:pt x="4441" y="5477"/>
                </a:lnTo>
                <a:lnTo>
                  <a:pt x="4446" y="5462"/>
                </a:lnTo>
                <a:lnTo>
                  <a:pt x="4453" y="5447"/>
                </a:lnTo>
                <a:lnTo>
                  <a:pt x="4460" y="5432"/>
                </a:lnTo>
                <a:lnTo>
                  <a:pt x="4469" y="5416"/>
                </a:lnTo>
                <a:lnTo>
                  <a:pt x="4479" y="5400"/>
                </a:lnTo>
                <a:lnTo>
                  <a:pt x="4490" y="5384"/>
                </a:lnTo>
                <a:lnTo>
                  <a:pt x="4503" y="5367"/>
                </a:lnTo>
                <a:lnTo>
                  <a:pt x="4516" y="5351"/>
                </a:lnTo>
                <a:lnTo>
                  <a:pt x="4533" y="5334"/>
                </a:lnTo>
                <a:lnTo>
                  <a:pt x="4550" y="5317"/>
                </a:lnTo>
                <a:lnTo>
                  <a:pt x="4550" y="5317"/>
                </a:lnTo>
                <a:lnTo>
                  <a:pt x="4557" y="5328"/>
                </a:lnTo>
                <a:lnTo>
                  <a:pt x="4566" y="5340"/>
                </a:lnTo>
                <a:lnTo>
                  <a:pt x="4578" y="5353"/>
                </a:lnTo>
                <a:lnTo>
                  <a:pt x="4586" y="5360"/>
                </a:lnTo>
                <a:lnTo>
                  <a:pt x="4594" y="5367"/>
                </a:lnTo>
                <a:lnTo>
                  <a:pt x="4603" y="5373"/>
                </a:lnTo>
                <a:lnTo>
                  <a:pt x="4614" y="5381"/>
                </a:lnTo>
                <a:lnTo>
                  <a:pt x="4624" y="5386"/>
                </a:lnTo>
                <a:lnTo>
                  <a:pt x="4636" y="5390"/>
                </a:lnTo>
                <a:lnTo>
                  <a:pt x="4648" y="5394"/>
                </a:lnTo>
                <a:lnTo>
                  <a:pt x="4662" y="5396"/>
                </a:lnTo>
                <a:lnTo>
                  <a:pt x="4662" y="5396"/>
                </a:lnTo>
                <a:lnTo>
                  <a:pt x="4668" y="5397"/>
                </a:lnTo>
                <a:lnTo>
                  <a:pt x="4673" y="5399"/>
                </a:lnTo>
                <a:lnTo>
                  <a:pt x="4677" y="5402"/>
                </a:lnTo>
                <a:lnTo>
                  <a:pt x="4681" y="5405"/>
                </a:lnTo>
                <a:lnTo>
                  <a:pt x="4685" y="5409"/>
                </a:lnTo>
                <a:lnTo>
                  <a:pt x="4688" y="5413"/>
                </a:lnTo>
                <a:lnTo>
                  <a:pt x="4692" y="5425"/>
                </a:lnTo>
                <a:lnTo>
                  <a:pt x="4696" y="5437"/>
                </a:lnTo>
                <a:lnTo>
                  <a:pt x="4698" y="5450"/>
                </a:lnTo>
                <a:lnTo>
                  <a:pt x="4698" y="5463"/>
                </a:lnTo>
                <a:lnTo>
                  <a:pt x="4698" y="5478"/>
                </a:lnTo>
                <a:lnTo>
                  <a:pt x="4696" y="5506"/>
                </a:lnTo>
                <a:lnTo>
                  <a:pt x="4694" y="5531"/>
                </a:lnTo>
                <a:lnTo>
                  <a:pt x="4692" y="5548"/>
                </a:lnTo>
                <a:lnTo>
                  <a:pt x="4692" y="5553"/>
                </a:lnTo>
                <a:lnTo>
                  <a:pt x="4693" y="5554"/>
                </a:lnTo>
                <a:lnTo>
                  <a:pt x="4694" y="5554"/>
                </a:lnTo>
                <a:lnTo>
                  <a:pt x="4694" y="5554"/>
                </a:lnTo>
                <a:lnTo>
                  <a:pt x="4697" y="5553"/>
                </a:lnTo>
                <a:lnTo>
                  <a:pt x="4702" y="5550"/>
                </a:lnTo>
                <a:lnTo>
                  <a:pt x="4708" y="5545"/>
                </a:lnTo>
                <a:lnTo>
                  <a:pt x="4714" y="5538"/>
                </a:lnTo>
                <a:lnTo>
                  <a:pt x="4721" y="5529"/>
                </a:lnTo>
                <a:lnTo>
                  <a:pt x="4729" y="5519"/>
                </a:lnTo>
                <a:lnTo>
                  <a:pt x="4736" y="5505"/>
                </a:lnTo>
                <a:lnTo>
                  <a:pt x="4743" y="5492"/>
                </a:lnTo>
                <a:lnTo>
                  <a:pt x="4751" y="5477"/>
                </a:lnTo>
                <a:lnTo>
                  <a:pt x="4758" y="5459"/>
                </a:lnTo>
                <a:lnTo>
                  <a:pt x="4763" y="5442"/>
                </a:lnTo>
                <a:lnTo>
                  <a:pt x="4768" y="5422"/>
                </a:lnTo>
                <a:lnTo>
                  <a:pt x="4771" y="5402"/>
                </a:lnTo>
                <a:lnTo>
                  <a:pt x="4773" y="5382"/>
                </a:lnTo>
                <a:lnTo>
                  <a:pt x="4772" y="5360"/>
                </a:lnTo>
                <a:lnTo>
                  <a:pt x="4770" y="5338"/>
                </a:lnTo>
                <a:lnTo>
                  <a:pt x="4770" y="5338"/>
                </a:lnTo>
                <a:lnTo>
                  <a:pt x="4778" y="5330"/>
                </a:lnTo>
                <a:lnTo>
                  <a:pt x="4798" y="5313"/>
                </a:lnTo>
                <a:lnTo>
                  <a:pt x="4809" y="5302"/>
                </a:lnTo>
                <a:lnTo>
                  <a:pt x="4819" y="5290"/>
                </a:lnTo>
                <a:lnTo>
                  <a:pt x="4827" y="5276"/>
                </a:lnTo>
                <a:lnTo>
                  <a:pt x="4830" y="5270"/>
                </a:lnTo>
                <a:lnTo>
                  <a:pt x="4832" y="5264"/>
                </a:lnTo>
                <a:lnTo>
                  <a:pt x="4832" y="5264"/>
                </a:lnTo>
                <a:lnTo>
                  <a:pt x="4834" y="5255"/>
                </a:lnTo>
                <a:lnTo>
                  <a:pt x="4835" y="5246"/>
                </a:lnTo>
                <a:lnTo>
                  <a:pt x="4836" y="5237"/>
                </a:lnTo>
                <a:lnTo>
                  <a:pt x="4835" y="5230"/>
                </a:lnTo>
                <a:lnTo>
                  <a:pt x="4834" y="5224"/>
                </a:lnTo>
                <a:lnTo>
                  <a:pt x="4832" y="5218"/>
                </a:lnTo>
                <a:lnTo>
                  <a:pt x="4830" y="5213"/>
                </a:lnTo>
                <a:lnTo>
                  <a:pt x="4827" y="5208"/>
                </a:lnTo>
                <a:lnTo>
                  <a:pt x="4819" y="5199"/>
                </a:lnTo>
                <a:lnTo>
                  <a:pt x="4810" y="5189"/>
                </a:lnTo>
                <a:lnTo>
                  <a:pt x="4800" y="5180"/>
                </a:lnTo>
                <a:lnTo>
                  <a:pt x="4789" y="5169"/>
                </a:lnTo>
                <a:lnTo>
                  <a:pt x="4778" y="5156"/>
                </a:lnTo>
                <a:lnTo>
                  <a:pt x="4772" y="5148"/>
                </a:lnTo>
                <a:lnTo>
                  <a:pt x="4767" y="5139"/>
                </a:lnTo>
                <a:lnTo>
                  <a:pt x="4762" y="5130"/>
                </a:lnTo>
                <a:lnTo>
                  <a:pt x="4757" y="5120"/>
                </a:lnTo>
                <a:lnTo>
                  <a:pt x="4753" y="5108"/>
                </a:lnTo>
                <a:lnTo>
                  <a:pt x="4749" y="5095"/>
                </a:lnTo>
                <a:lnTo>
                  <a:pt x="4744" y="5081"/>
                </a:lnTo>
                <a:lnTo>
                  <a:pt x="4741" y="5065"/>
                </a:lnTo>
                <a:lnTo>
                  <a:pt x="4738" y="5048"/>
                </a:lnTo>
                <a:lnTo>
                  <a:pt x="4736" y="5029"/>
                </a:lnTo>
                <a:lnTo>
                  <a:pt x="4735" y="5008"/>
                </a:lnTo>
                <a:lnTo>
                  <a:pt x="4734" y="4986"/>
                </a:lnTo>
                <a:lnTo>
                  <a:pt x="4734" y="4961"/>
                </a:lnTo>
                <a:lnTo>
                  <a:pt x="4735" y="4935"/>
                </a:lnTo>
                <a:lnTo>
                  <a:pt x="4735" y="4935"/>
                </a:lnTo>
                <a:lnTo>
                  <a:pt x="4735" y="4917"/>
                </a:lnTo>
                <a:lnTo>
                  <a:pt x="4734" y="4911"/>
                </a:lnTo>
                <a:lnTo>
                  <a:pt x="4733" y="4906"/>
                </a:lnTo>
                <a:lnTo>
                  <a:pt x="4731" y="4901"/>
                </a:lnTo>
                <a:lnTo>
                  <a:pt x="4729" y="4897"/>
                </a:lnTo>
                <a:lnTo>
                  <a:pt x="4727" y="4894"/>
                </a:lnTo>
                <a:lnTo>
                  <a:pt x="4724" y="4891"/>
                </a:lnTo>
                <a:lnTo>
                  <a:pt x="4716" y="4885"/>
                </a:lnTo>
                <a:lnTo>
                  <a:pt x="4706" y="4878"/>
                </a:lnTo>
                <a:lnTo>
                  <a:pt x="4693" y="4868"/>
                </a:lnTo>
                <a:lnTo>
                  <a:pt x="4679" y="4856"/>
                </a:lnTo>
                <a:lnTo>
                  <a:pt x="4679" y="4856"/>
                </a:lnTo>
                <a:lnTo>
                  <a:pt x="4671" y="4846"/>
                </a:lnTo>
                <a:lnTo>
                  <a:pt x="4664" y="4836"/>
                </a:lnTo>
                <a:lnTo>
                  <a:pt x="4659" y="4825"/>
                </a:lnTo>
                <a:lnTo>
                  <a:pt x="4655" y="4815"/>
                </a:lnTo>
                <a:lnTo>
                  <a:pt x="4654" y="4807"/>
                </a:lnTo>
                <a:lnTo>
                  <a:pt x="4654" y="4804"/>
                </a:lnTo>
                <a:lnTo>
                  <a:pt x="4654" y="4802"/>
                </a:lnTo>
                <a:lnTo>
                  <a:pt x="4657" y="4800"/>
                </a:lnTo>
                <a:lnTo>
                  <a:pt x="4659" y="4799"/>
                </a:lnTo>
                <a:lnTo>
                  <a:pt x="4661" y="4799"/>
                </a:lnTo>
                <a:lnTo>
                  <a:pt x="4665" y="4800"/>
                </a:lnTo>
                <a:lnTo>
                  <a:pt x="4665" y="4800"/>
                </a:lnTo>
                <a:lnTo>
                  <a:pt x="4679" y="4806"/>
                </a:lnTo>
                <a:lnTo>
                  <a:pt x="4693" y="4810"/>
                </a:lnTo>
                <a:lnTo>
                  <a:pt x="4708" y="4813"/>
                </a:lnTo>
                <a:lnTo>
                  <a:pt x="4723" y="4814"/>
                </a:lnTo>
                <a:lnTo>
                  <a:pt x="4737" y="4815"/>
                </a:lnTo>
                <a:lnTo>
                  <a:pt x="4752" y="4816"/>
                </a:lnTo>
                <a:lnTo>
                  <a:pt x="4765" y="4815"/>
                </a:lnTo>
                <a:lnTo>
                  <a:pt x="4778" y="4814"/>
                </a:lnTo>
                <a:lnTo>
                  <a:pt x="4802" y="4811"/>
                </a:lnTo>
                <a:lnTo>
                  <a:pt x="4819" y="4807"/>
                </a:lnTo>
                <a:lnTo>
                  <a:pt x="4835" y="4803"/>
                </a:lnTo>
                <a:lnTo>
                  <a:pt x="4835" y="4803"/>
                </a:lnTo>
                <a:lnTo>
                  <a:pt x="4844" y="4707"/>
                </a:lnTo>
                <a:lnTo>
                  <a:pt x="4849" y="4632"/>
                </a:lnTo>
                <a:lnTo>
                  <a:pt x="4851" y="4577"/>
                </a:lnTo>
                <a:lnTo>
                  <a:pt x="4851" y="4539"/>
                </a:lnTo>
                <a:lnTo>
                  <a:pt x="4849" y="4514"/>
                </a:lnTo>
                <a:lnTo>
                  <a:pt x="4847" y="4499"/>
                </a:lnTo>
                <a:lnTo>
                  <a:pt x="4845" y="4493"/>
                </a:lnTo>
                <a:lnTo>
                  <a:pt x="4844" y="4491"/>
                </a:lnTo>
                <a:lnTo>
                  <a:pt x="4844" y="4491"/>
                </a:lnTo>
                <a:lnTo>
                  <a:pt x="4825" y="4492"/>
                </a:lnTo>
                <a:lnTo>
                  <a:pt x="4808" y="4491"/>
                </a:lnTo>
                <a:lnTo>
                  <a:pt x="4791" y="4490"/>
                </a:lnTo>
                <a:lnTo>
                  <a:pt x="4776" y="4489"/>
                </a:lnTo>
                <a:lnTo>
                  <a:pt x="4763" y="4487"/>
                </a:lnTo>
                <a:lnTo>
                  <a:pt x="4750" y="4484"/>
                </a:lnTo>
                <a:lnTo>
                  <a:pt x="4737" y="4481"/>
                </a:lnTo>
                <a:lnTo>
                  <a:pt x="4726" y="4477"/>
                </a:lnTo>
                <a:lnTo>
                  <a:pt x="4716" y="4473"/>
                </a:lnTo>
                <a:lnTo>
                  <a:pt x="4707" y="4469"/>
                </a:lnTo>
                <a:lnTo>
                  <a:pt x="4698" y="4463"/>
                </a:lnTo>
                <a:lnTo>
                  <a:pt x="4690" y="4458"/>
                </a:lnTo>
                <a:lnTo>
                  <a:pt x="4683" y="4452"/>
                </a:lnTo>
                <a:lnTo>
                  <a:pt x="4676" y="4447"/>
                </a:lnTo>
                <a:lnTo>
                  <a:pt x="4665" y="4434"/>
                </a:lnTo>
                <a:lnTo>
                  <a:pt x="4665" y="4434"/>
                </a:lnTo>
                <a:lnTo>
                  <a:pt x="4677" y="4437"/>
                </a:lnTo>
                <a:lnTo>
                  <a:pt x="4690" y="4439"/>
                </a:lnTo>
                <a:lnTo>
                  <a:pt x="4717" y="4441"/>
                </a:lnTo>
                <a:lnTo>
                  <a:pt x="4742" y="4441"/>
                </a:lnTo>
                <a:lnTo>
                  <a:pt x="4768" y="4439"/>
                </a:lnTo>
                <a:lnTo>
                  <a:pt x="4790" y="4435"/>
                </a:lnTo>
                <a:lnTo>
                  <a:pt x="4812" y="4429"/>
                </a:lnTo>
                <a:lnTo>
                  <a:pt x="4821" y="4426"/>
                </a:lnTo>
                <a:lnTo>
                  <a:pt x="4829" y="4422"/>
                </a:lnTo>
                <a:lnTo>
                  <a:pt x="4838" y="4416"/>
                </a:lnTo>
                <a:lnTo>
                  <a:pt x="4844" y="4412"/>
                </a:lnTo>
                <a:lnTo>
                  <a:pt x="4844" y="4412"/>
                </a:lnTo>
                <a:lnTo>
                  <a:pt x="4843" y="4364"/>
                </a:lnTo>
                <a:lnTo>
                  <a:pt x="4841" y="4316"/>
                </a:lnTo>
                <a:lnTo>
                  <a:pt x="4838" y="4261"/>
                </a:lnTo>
                <a:lnTo>
                  <a:pt x="4833" y="4206"/>
                </a:lnTo>
                <a:lnTo>
                  <a:pt x="4831" y="4181"/>
                </a:lnTo>
                <a:lnTo>
                  <a:pt x="4828" y="4159"/>
                </a:lnTo>
                <a:lnTo>
                  <a:pt x="4825" y="4140"/>
                </a:lnTo>
                <a:lnTo>
                  <a:pt x="4822" y="4126"/>
                </a:lnTo>
                <a:lnTo>
                  <a:pt x="4820" y="4121"/>
                </a:lnTo>
                <a:lnTo>
                  <a:pt x="4818" y="4118"/>
                </a:lnTo>
                <a:lnTo>
                  <a:pt x="4816" y="4116"/>
                </a:lnTo>
                <a:lnTo>
                  <a:pt x="4814" y="4116"/>
                </a:lnTo>
                <a:lnTo>
                  <a:pt x="4814" y="4116"/>
                </a:lnTo>
                <a:lnTo>
                  <a:pt x="4786" y="4123"/>
                </a:lnTo>
                <a:lnTo>
                  <a:pt x="4760" y="4128"/>
                </a:lnTo>
                <a:lnTo>
                  <a:pt x="4746" y="4129"/>
                </a:lnTo>
                <a:lnTo>
                  <a:pt x="4734" y="4130"/>
                </a:lnTo>
                <a:lnTo>
                  <a:pt x="4722" y="4130"/>
                </a:lnTo>
                <a:lnTo>
                  <a:pt x="4711" y="4129"/>
                </a:lnTo>
                <a:lnTo>
                  <a:pt x="4698" y="4127"/>
                </a:lnTo>
                <a:lnTo>
                  <a:pt x="4687" y="4125"/>
                </a:lnTo>
                <a:lnTo>
                  <a:pt x="4675" y="4122"/>
                </a:lnTo>
                <a:lnTo>
                  <a:pt x="4664" y="4118"/>
                </a:lnTo>
                <a:lnTo>
                  <a:pt x="4652" y="4113"/>
                </a:lnTo>
                <a:lnTo>
                  <a:pt x="4640" y="4108"/>
                </a:lnTo>
                <a:lnTo>
                  <a:pt x="4629" y="4100"/>
                </a:lnTo>
                <a:lnTo>
                  <a:pt x="4618" y="4093"/>
                </a:lnTo>
                <a:lnTo>
                  <a:pt x="4618" y="4093"/>
                </a:lnTo>
                <a:lnTo>
                  <a:pt x="4613" y="4090"/>
                </a:lnTo>
                <a:lnTo>
                  <a:pt x="4608" y="4086"/>
                </a:lnTo>
                <a:lnTo>
                  <a:pt x="4602" y="4078"/>
                </a:lnTo>
                <a:lnTo>
                  <a:pt x="4597" y="4069"/>
                </a:lnTo>
                <a:lnTo>
                  <a:pt x="4594" y="4059"/>
                </a:lnTo>
                <a:lnTo>
                  <a:pt x="4592" y="4047"/>
                </a:lnTo>
                <a:lnTo>
                  <a:pt x="4591" y="4037"/>
                </a:lnTo>
                <a:lnTo>
                  <a:pt x="4590" y="4015"/>
                </a:lnTo>
                <a:lnTo>
                  <a:pt x="4589" y="3993"/>
                </a:lnTo>
                <a:lnTo>
                  <a:pt x="4587" y="3984"/>
                </a:lnTo>
                <a:lnTo>
                  <a:pt x="4585" y="3976"/>
                </a:lnTo>
                <a:lnTo>
                  <a:pt x="4581" y="3969"/>
                </a:lnTo>
                <a:lnTo>
                  <a:pt x="4575" y="3962"/>
                </a:lnTo>
                <a:lnTo>
                  <a:pt x="4571" y="3959"/>
                </a:lnTo>
                <a:lnTo>
                  <a:pt x="4567" y="3957"/>
                </a:lnTo>
                <a:lnTo>
                  <a:pt x="4561" y="3956"/>
                </a:lnTo>
                <a:lnTo>
                  <a:pt x="4556" y="3955"/>
                </a:lnTo>
                <a:lnTo>
                  <a:pt x="4556" y="3955"/>
                </a:lnTo>
                <a:lnTo>
                  <a:pt x="4534" y="3948"/>
                </a:lnTo>
                <a:lnTo>
                  <a:pt x="4511" y="3941"/>
                </a:lnTo>
                <a:lnTo>
                  <a:pt x="4489" y="3933"/>
                </a:lnTo>
                <a:lnTo>
                  <a:pt x="4468" y="3923"/>
                </a:lnTo>
                <a:lnTo>
                  <a:pt x="4448" y="3913"/>
                </a:lnTo>
                <a:lnTo>
                  <a:pt x="4428" y="3902"/>
                </a:lnTo>
                <a:lnTo>
                  <a:pt x="4410" y="3892"/>
                </a:lnTo>
                <a:lnTo>
                  <a:pt x="4394" y="3881"/>
                </a:lnTo>
                <a:lnTo>
                  <a:pt x="4377" y="3869"/>
                </a:lnTo>
                <a:lnTo>
                  <a:pt x="4363" y="3859"/>
                </a:lnTo>
                <a:lnTo>
                  <a:pt x="4337" y="3839"/>
                </a:lnTo>
                <a:lnTo>
                  <a:pt x="4318" y="3820"/>
                </a:lnTo>
                <a:lnTo>
                  <a:pt x="4306" y="3805"/>
                </a:lnTo>
                <a:lnTo>
                  <a:pt x="4306" y="3805"/>
                </a:lnTo>
                <a:lnTo>
                  <a:pt x="4297" y="3793"/>
                </a:lnTo>
                <a:lnTo>
                  <a:pt x="4288" y="3780"/>
                </a:lnTo>
                <a:lnTo>
                  <a:pt x="4282" y="3769"/>
                </a:lnTo>
                <a:lnTo>
                  <a:pt x="4277" y="3758"/>
                </a:lnTo>
                <a:lnTo>
                  <a:pt x="4273" y="3748"/>
                </a:lnTo>
                <a:lnTo>
                  <a:pt x="4270" y="3739"/>
                </a:lnTo>
                <a:lnTo>
                  <a:pt x="4266" y="3722"/>
                </a:lnTo>
                <a:lnTo>
                  <a:pt x="4265" y="3709"/>
                </a:lnTo>
                <a:lnTo>
                  <a:pt x="4265" y="3699"/>
                </a:lnTo>
                <a:lnTo>
                  <a:pt x="4266" y="3690"/>
                </a:lnTo>
                <a:lnTo>
                  <a:pt x="4266" y="3690"/>
                </a:lnTo>
                <a:lnTo>
                  <a:pt x="4284" y="3700"/>
                </a:lnTo>
                <a:lnTo>
                  <a:pt x="4302" y="3706"/>
                </a:lnTo>
                <a:lnTo>
                  <a:pt x="4321" y="3711"/>
                </a:lnTo>
                <a:lnTo>
                  <a:pt x="4340" y="3714"/>
                </a:lnTo>
                <a:lnTo>
                  <a:pt x="4358" y="3716"/>
                </a:lnTo>
                <a:lnTo>
                  <a:pt x="4377" y="3715"/>
                </a:lnTo>
                <a:lnTo>
                  <a:pt x="4396" y="3712"/>
                </a:lnTo>
                <a:lnTo>
                  <a:pt x="4414" y="3708"/>
                </a:lnTo>
                <a:lnTo>
                  <a:pt x="4434" y="3468"/>
                </a:lnTo>
                <a:lnTo>
                  <a:pt x="4434" y="3468"/>
                </a:lnTo>
                <a:lnTo>
                  <a:pt x="4425" y="3467"/>
                </a:lnTo>
                <a:lnTo>
                  <a:pt x="4405" y="3464"/>
                </a:lnTo>
                <a:lnTo>
                  <a:pt x="4392" y="3461"/>
                </a:lnTo>
                <a:lnTo>
                  <a:pt x="4377" y="3457"/>
                </a:lnTo>
                <a:lnTo>
                  <a:pt x="4362" y="3453"/>
                </a:lnTo>
                <a:lnTo>
                  <a:pt x="4348" y="3447"/>
                </a:lnTo>
                <a:lnTo>
                  <a:pt x="4348" y="3447"/>
                </a:lnTo>
                <a:lnTo>
                  <a:pt x="4339" y="3443"/>
                </a:lnTo>
                <a:lnTo>
                  <a:pt x="4331" y="3438"/>
                </a:lnTo>
                <a:lnTo>
                  <a:pt x="4323" y="3432"/>
                </a:lnTo>
                <a:lnTo>
                  <a:pt x="4316" y="3426"/>
                </a:lnTo>
                <a:lnTo>
                  <a:pt x="4302" y="3412"/>
                </a:lnTo>
                <a:lnTo>
                  <a:pt x="4289" y="3399"/>
                </a:lnTo>
                <a:lnTo>
                  <a:pt x="4280" y="3386"/>
                </a:lnTo>
                <a:lnTo>
                  <a:pt x="4273" y="3376"/>
                </a:lnTo>
                <a:lnTo>
                  <a:pt x="4267" y="3366"/>
                </a:lnTo>
                <a:lnTo>
                  <a:pt x="4267" y="3366"/>
                </a:lnTo>
                <a:lnTo>
                  <a:pt x="4274" y="3369"/>
                </a:lnTo>
                <a:lnTo>
                  <a:pt x="4293" y="3377"/>
                </a:lnTo>
                <a:lnTo>
                  <a:pt x="4321" y="3385"/>
                </a:lnTo>
                <a:lnTo>
                  <a:pt x="4339" y="3389"/>
                </a:lnTo>
                <a:lnTo>
                  <a:pt x="4356" y="3392"/>
                </a:lnTo>
                <a:lnTo>
                  <a:pt x="4356" y="3392"/>
                </a:lnTo>
                <a:lnTo>
                  <a:pt x="4375" y="3394"/>
                </a:lnTo>
                <a:lnTo>
                  <a:pt x="4392" y="3395"/>
                </a:lnTo>
                <a:lnTo>
                  <a:pt x="4407" y="3393"/>
                </a:lnTo>
                <a:lnTo>
                  <a:pt x="4419" y="3391"/>
                </a:lnTo>
                <a:lnTo>
                  <a:pt x="4430" y="3389"/>
                </a:lnTo>
                <a:lnTo>
                  <a:pt x="4438" y="3387"/>
                </a:lnTo>
                <a:lnTo>
                  <a:pt x="4444" y="3384"/>
                </a:lnTo>
                <a:lnTo>
                  <a:pt x="4477" y="3113"/>
                </a:lnTo>
                <a:lnTo>
                  <a:pt x="4477" y="3113"/>
                </a:lnTo>
                <a:lnTo>
                  <a:pt x="4451" y="3114"/>
                </a:lnTo>
                <a:lnTo>
                  <a:pt x="4427" y="3113"/>
                </a:lnTo>
                <a:lnTo>
                  <a:pt x="4408" y="3111"/>
                </a:lnTo>
                <a:lnTo>
                  <a:pt x="4392" y="3106"/>
                </a:lnTo>
                <a:lnTo>
                  <a:pt x="4377" y="3100"/>
                </a:lnTo>
                <a:lnTo>
                  <a:pt x="4365" y="3093"/>
                </a:lnTo>
                <a:lnTo>
                  <a:pt x="4356" y="3085"/>
                </a:lnTo>
                <a:lnTo>
                  <a:pt x="4348" y="3077"/>
                </a:lnTo>
                <a:lnTo>
                  <a:pt x="4343" y="3069"/>
                </a:lnTo>
                <a:lnTo>
                  <a:pt x="4337" y="3060"/>
                </a:lnTo>
                <a:lnTo>
                  <a:pt x="4335" y="3051"/>
                </a:lnTo>
                <a:lnTo>
                  <a:pt x="4333" y="3043"/>
                </a:lnTo>
                <a:lnTo>
                  <a:pt x="4332" y="3035"/>
                </a:lnTo>
                <a:lnTo>
                  <a:pt x="4331" y="3029"/>
                </a:lnTo>
                <a:lnTo>
                  <a:pt x="4332" y="3020"/>
                </a:lnTo>
                <a:lnTo>
                  <a:pt x="4332" y="3020"/>
                </a:lnTo>
                <a:lnTo>
                  <a:pt x="4357" y="3015"/>
                </a:lnTo>
                <a:lnTo>
                  <a:pt x="4381" y="3009"/>
                </a:lnTo>
                <a:lnTo>
                  <a:pt x="4405" y="3001"/>
                </a:lnTo>
                <a:lnTo>
                  <a:pt x="4428" y="2994"/>
                </a:lnTo>
                <a:lnTo>
                  <a:pt x="4451" y="2985"/>
                </a:lnTo>
                <a:lnTo>
                  <a:pt x="4473" y="2975"/>
                </a:lnTo>
                <a:lnTo>
                  <a:pt x="4495" y="2964"/>
                </a:lnTo>
                <a:lnTo>
                  <a:pt x="4515" y="2951"/>
                </a:lnTo>
                <a:lnTo>
                  <a:pt x="4536" y="2939"/>
                </a:lnTo>
                <a:lnTo>
                  <a:pt x="4555" y="2926"/>
                </a:lnTo>
                <a:lnTo>
                  <a:pt x="4574" y="2911"/>
                </a:lnTo>
                <a:lnTo>
                  <a:pt x="4592" y="2896"/>
                </a:lnTo>
                <a:lnTo>
                  <a:pt x="4609" y="2881"/>
                </a:lnTo>
                <a:lnTo>
                  <a:pt x="4627" y="2864"/>
                </a:lnTo>
                <a:lnTo>
                  <a:pt x="4642" y="2848"/>
                </a:lnTo>
                <a:lnTo>
                  <a:pt x="4659" y="2831"/>
                </a:lnTo>
                <a:lnTo>
                  <a:pt x="4673" y="2812"/>
                </a:lnTo>
                <a:lnTo>
                  <a:pt x="4688" y="2794"/>
                </a:lnTo>
                <a:lnTo>
                  <a:pt x="4702" y="2775"/>
                </a:lnTo>
                <a:lnTo>
                  <a:pt x="4715" y="2756"/>
                </a:lnTo>
                <a:lnTo>
                  <a:pt x="4727" y="2737"/>
                </a:lnTo>
                <a:lnTo>
                  <a:pt x="4738" y="2717"/>
                </a:lnTo>
                <a:lnTo>
                  <a:pt x="4750" y="2698"/>
                </a:lnTo>
                <a:lnTo>
                  <a:pt x="4760" y="2677"/>
                </a:lnTo>
                <a:lnTo>
                  <a:pt x="4770" y="2657"/>
                </a:lnTo>
                <a:lnTo>
                  <a:pt x="4779" y="2636"/>
                </a:lnTo>
                <a:lnTo>
                  <a:pt x="4787" y="2616"/>
                </a:lnTo>
                <a:lnTo>
                  <a:pt x="4796" y="2595"/>
                </a:lnTo>
                <a:lnTo>
                  <a:pt x="4803" y="2575"/>
                </a:lnTo>
                <a:lnTo>
                  <a:pt x="4809" y="2555"/>
                </a:lnTo>
                <a:lnTo>
                  <a:pt x="4815" y="2534"/>
                </a:lnTo>
                <a:lnTo>
                  <a:pt x="4820" y="2515"/>
                </a:lnTo>
                <a:lnTo>
                  <a:pt x="4820" y="2515"/>
                </a:lnTo>
                <a:lnTo>
                  <a:pt x="4831" y="2521"/>
                </a:lnTo>
                <a:lnTo>
                  <a:pt x="4847" y="2527"/>
                </a:lnTo>
                <a:lnTo>
                  <a:pt x="4864" y="2533"/>
                </a:lnTo>
                <a:lnTo>
                  <a:pt x="4882" y="2538"/>
                </a:lnTo>
                <a:lnTo>
                  <a:pt x="4903" y="2541"/>
                </a:lnTo>
                <a:lnTo>
                  <a:pt x="4913" y="2542"/>
                </a:lnTo>
                <a:lnTo>
                  <a:pt x="4923" y="2543"/>
                </a:lnTo>
                <a:lnTo>
                  <a:pt x="4935" y="2542"/>
                </a:lnTo>
                <a:lnTo>
                  <a:pt x="4945" y="2541"/>
                </a:lnTo>
                <a:lnTo>
                  <a:pt x="4955" y="2539"/>
                </a:lnTo>
                <a:lnTo>
                  <a:pt x="4965" y="2536"/>
                </a:lnTo>
                <a:lnTo>
                  <a:pt x="4965" y="2536"/>
                </a:lnTo>
                <a:lnTo>
                  <a:pt x="4967" y="2508"/>
                </a:lnTo>
                <a:lnTo>
                  <a:pt x="4970" y="2441"/>
                </a:lnTo>
                <a:lnTo>
                  <a:pt x="4972" y="2405"/>
                </a:lnTo>
                <a:lnTo>
                  <a:pt x="4973" y="2371"/>
                </a:lnTo>
                <a:lnTo>
                  <a:pt x="4972" y="2343"/>
                </a:lnTo>
                <a:lnTo>
                  <a:pt x="4972" y="2333"/>
                </a:lnTo>
                <a:lnTo>
                  <a:pt x="4970" y="2327"/>
                </a:lnTo>
                <a:lnTo>
                  <a:pt x="4970" y="2327"/>
                </a:lnTo>
                <a:lnTo>
                  <a:pt x="4955" y="2325"/>
                </a:lnTo>
                <a:lnTo>
                  <a:pt x="4938" y="2322"/>
                </a:lnTo>
                <a:lnTo>
                  <a:pt x="4919" y="2317"/>
                </a:lnTo>
                <a:lnTo>
                  <a:pt x="4911" y="2314"/>
                </a:lnTo>
                <a:lnTo>
                  <a:pt x="4902" y="2311"/>
                </a:lnTo>
                <a:lnTo>
                  <a:pt x="4893" y="2306"/>
                </a:lnTo>
                <a:lnTo>
                  <a:pt x="4885" y="2302"/>
                </a:lnTo>
                <a:lnTo>
                  <a:pt x="4876" y="2296"/>
                </a:lnTo>
                <a:lnTo>
                  <a:pt x="4868" y="2289"/>
                </a:lnTo>
                <a:lnTo>
                  <a:pt x="4861" y="2282"/>
                </a:lnTo>
                <a:lnTo>
                  <a:pt x="4854" y="2273"/>
                </a:lnTo>
                <a:lnTo>
                  <a:pt x="4848" y="2264"/>
                </a:lnTo>
                <a:lnTo>
                  <a:pt x="4842" y="225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86" name="Freeform 37"/>
          <p:cNvSpPr>
            <a:spLocks/>
          </p:cNvSpPr>
          <p:nvPr userDrawn="1"/>
        </p:nvSpPr>
        <p:spPr bwMode="auto">
          <a:xfrm>
            <a:off x="8332788" y="-385340"/>
            <a:ext cx="276225" cy="73025"/>
          </a:xfrm>
          <a:custGeom>
            <a:avLst/>
            <a:gdLst>
              <a:gd name="T0" fmla="*/ 0 w 349"/>
              <a:gd name="T1" fmla="*/ 34 h 91"/>
              <a:gd name="T2" fmla="*/ 0 w 349"/>
              <a:gd name="T3" fmla="*/ 34 h 91"/>
              <a:gd name="T4" fmla="*/ 20 w 349"/>
              <a:gd name="T5" fmla="*/ 49 h 91"/>
              <a:gd name="T6" fmla="*/ 38 w 349"/>
              <a:gd name="T7" fmla="*/ 60 h 91"/>
              <a:gd name="T8" fmla="*/ 38 w 349"/>
              <a:gd name="T9" fmla="*/ 60 h 91"/>
              <a:gd name="T10" fmla="*/ 69 w 349"/>
              <a:gd name="T11" fmla="*/ 71 h 91"/>
              <a:gd name="T12" fmla="*/ 89 w 349"/>
              <a:gd name="T13" fmla="*/ 78 h 91"/>
              <a:gd name="T14" fmla="*/ 111 w 349"/>
              <a:gd name="T15" fmla="*/ 84 h 91"/>
              <a:gd name="T16" fmla="*/ 137 w 349"/>
              <a:gd name="T17" fmla="*/ 87 h 91"/>
              <a:gd name="T18" fmla="*/ 164 w 349"/>
              <a:gd name="T19" fmla="*/ 91 h 91"/>
              <a:gd name="T20" fmla="*/ 194 w 349"/>
              <a:gd name="T21" fmla="*/ 91 h 91"/>
              <a:gd name="T22" fmla="*/ 226 w 349"/>
              <a:gd name="T23" fmla="*/ 89 h 91"/>
              <a:gd name="T24" fmla="*/ 226 w 349"/>
              <a:gd name="T25" fmla="*/ 89 h 91"/>
              <a:gd name="T26" fmla="*/ 256 w 349"/>
              <a:gd name="T27" fmla="*/ 86 h 91"/>
              <a:gd name="T28" fmla="*/ 279 w 349"/>
              <a:gd name="T29" fmla="*/ 80 h 91"/>
              <a:gd name="T30" fmla="*/ 301 w 349"/>
              <a:gd name="T31" fmla="*/ 75 h 91"/>
              <a:gd name="T32" fmla="*/ 318 w 349"/>
              <a:gd name="T33" fmla="*/ 69 h 91"/>
              <a:gd name="T34" fmla="*/ 342 w 349"/>
              <a:gd name="T35" fmla="*/ 56 h 91"/>
              <a:gd name="T36" fmla="*/ 349 w 349"/>
              <a:gd name="T37" fmla="*/ 53 h 91"/>
              <a:gd name="T38" fmla="*/ 349 w 349"/>
              <a:gd name="T39" fmla="*/ 53 h 91"/>
              <a:gd name="T40" fmla="*/ 338 w 349"/>
              <a:gd name="T41" fmla="*/ 49 h 91"/>
              <a:gd name="T42" fmla="*/ 329 w 349"/>
              <a:gd name="T43" fmla="*/ 44 h 91"/>
              <a:gd name="T44" fmla="*/ 314 w 349"/>
              <a:gd name="T45" fmla="*/ 31 h 91"/>
              <a:gd name="T46" fmla="*/ 314 w 349"/>
              <a:gd name="T47" fmla="*/ 31 h 91"/>
              <a:gd name="T48" fmla="*/ 312 w 349"/>
              <a:gd name="T49" fmla="*/ 38 h 91"/>
              <a:gd name="T50" fmla="*/ 312 w 349"/>
              <a:gd name="T51" fmla="*/ 38 h 91"/>
              <a:gd name="T52" fmla="*/ 311 w 349"/>
              <a:gd name="T53" fmla="*/ 51 h 91"/>
              <a:gd name="T54" fmla="*/ 311 w 349"/>
              <a:gd name="T55" fmla="*/ 51 h 91"/>
              <a:gd name="T56" fmla="*/ 303 w 349"/>
              <a:gd name="T57" fmla="*/ 49 h 91"/>
              <a:gd name="T58" fmla="*/ 303 w 349"/>
              <a:gd name="T59" fmla="*/ 49 h 91"/>
              <a:gd name="T60" fmla="*/ 298 w 349"/>
              <a:gd name="T61" fmla="*/ 45 h 91"/>
              <a:gd name="T62" fmla="*/ 292 w 349"/>
              <a:gd name="T63" fmla="*/ 40 h 91"/>
              <a:gd name="T64" fmla="*/ 289 w 349"/>
              <a:gd name="T65" fmla="*/ 33 h 91"/>
              <a:gd name="T66" fmla="*/ 287 w 349"/>
              <a:gd name="T67" fmla="*/ 23 h 91"/>
              <a:gd name="T68" fmla="*/ 287 w 349"/>
              <a:gd name="T69" fmla="*/ 23 h 91"/>
              <a:gd name="T70" fmla="*/ 287 w 349"/>
              <a:gd name="T71" fmla="*/ 22 h 91"/>
              <a:gd name="T72" fmla="*/ 287 w 349"/>
              <a:gd name="T73" fmla="*/ 22 h 91"/>
              <a:gd name="T74" fmla="*/ 272 w 349"/>
              <a:gd name="T75" fmla="*/ 27 h 91"/>
              <a:gd name="T76" fmla="*/ 252 w 349"/>
              <a:gd name="T77" fmla="*/ 33 h 91"/>
              <a:gd name="T78" fmla="*/ 228 w 349"/>
              <a:gd name="T79" fmla="*/ 38 h 91"/>
              <a:gd name="T80" fmla="*/ 205 w 349"/>
              <a:gd name="T81" fmla="*/ 40 h 91"/>
              <a:gd name="T82" fmla="*/ 205 w 349"/>
              <a:gd name="T83" fmla="*/ 40 h 91"/>
              <a:gd name="T84" fmla="*/ 161 w 349"/>
              <a:gd name="T85" fmla="*/ 38 h 91"/>
              <a:gd name="T86" fmla="*/ 139 w 349"/>
              <a:gd name="T87" fmla="*/ 36 h 91"/>
              <a:gd name="T88" fmla="*/ 117 w 349"/>
              <a:gd name="T89" fmla="*/ 33 h 91"/>
              <a:gd name="T90" fmla="*/ 95 w 349"/>
              <a:gd name="T91" fmla="*/ 29 h 91"/>
              <a:gd name="T92" fmla="*/ 73 w 349"/>
              <a:gd name="T93" fmla="*/ 22 h 91"/>
              <a:gd name="T94" fmla="*/ 51 w 349"/>
              <a:gd name="T95" fmla="*/ 14 h 91"/>
              <a:gd name="T96" fmla="*/ 31 w 349"/>
              <a:gd name="T97" fmla="*/ 7 h 91"/>
              <a:gd name="T98" fmla="*/ 31 w 349"/>
              <a:gd name="T99" fmla="*/ 7 h 91"/>
              <a:gd name="T100" fmla="*/ 15 w 349"/>
              <a:gd name="T101" fmla="*/ 0 h 91"/>
              <a:gd name="T102" fmla="*/ 15 w 349"/>
              <a:gd name="T103" fmla="*/ 0 h 91"/>
              <a:gd name="T104" fmla="*/ 15 w 349"/>
              <a:gd name="T105" fmla="*/ 1 h 91"/>
              <a:gd name="T106" fmla="*/ 15 w 349"/>
              <a:gd name="T107" fmla="*/ 5 h 91"/>
              <a:gd name="T108" fmla="*/ 18 w 349"/>
              <a:gd name="T109" fmla="*/ 14 h 91"/>
              <a:gd name="T110" fmla="*/ 25 w 349"/>
              <a:gd name="T111" fmla="*/ 25 h 91"/>
              <a:gd name="T112" fmla="*/ 25 w 349"/>
              <a:gd name="T113" fmla="*/ 25 h 91"/>
              <a:gd name="T114" fmla="*/ 16 w 349"/>
              <a:gd name="T115" fmla="*/ 23 h 91"/>
              <a:gd name="T116" fmla="*/ 7 w 349"/>
              <a:gd name="T117" fmla="*/ 27 h 91"/>
              <a:gd name="T118" fmla="*/ 7 w 349"/>
              <a:gd name="T119" fmla="*/ 27 h 91"/>
              <a:gd name="T120" fmla="*/ 2 w 349"/>
              <a:gd name="T121" fmla="*/ 31 h 91"/>
              <a:gd name="T122" fmla="*/ 0 w 349"/>
              <a:gd name="T123" fmla="*/ 3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9" h="91">
                <a:moveTo>
                  <a:pt x="0" y="34"/>
                </a:moveTo>
                <a:lnTo>
                  <a:pt x="0" y="34"/>
                </a:lnTo>
                <a:lnTo>
                  <a:pt x="20" y="49"/>
                </a:lnTo>
                <a:lnTo>
                  <a:pt x="38" y="60"/>
                </a:lnTo>
                <a:lnTo>
                  <a:pt x="38" y="60"/>
                </a:lnTo>
                <a:lnTo>
                  <a:pt x="69" y="71"/>
                </a:lnTo>
                <a:lnTo>
                  <a:pt x="89" y="78"/>
                </a:lnTo>
                <a:lnTo>
                  <a:pt x="111" y="84"/>
                </a:lnTo>
                <a:lnTo>
                  <a:pt x="137" y="87"/>
                </a:lnTo>
                <a:lnTo>
                  <a:pt x="164" y="91"/>
                </a:lnTo>
                <a:lnTo>
                  <a:pt x="194" y="91"/>
                </a:lnTo>
                <a:lnTo>
                  <a:pt x="226" y="89"/>
                </a:lnTo>
                <a:lnTo>
                  <a:pt x="226" y="89"/>
                </a:lnTo>
                <a:lnTo>
                  <a:pt x="256" y="86"/>
                </a:lnTo>
                <a:lnTo>
                  <a:pt x="279" y="80"/>
                </a:lnTo>
                <a:lnTo>
                  <a:pt x="301" y="75"/>
                </a:lnTo>
                <a:lnTo>
                  <a:pt x="318" y="69"/>
                </a:lnTo>
                <a:lnTo>
                  <a:pt x="342" y="56"/>
                </a:lnTo>
                <a:lnTo>
                  <a:pt x="349" y="53"/>
                </a:lnTo>
                <a:lnTo>
                  <a:pt x="349" y="53"/>
                </a:lnTo>
                <a:lnTo>
                  <a:pt x="338" y="49"/>
                </a:lnTo>
                <a:lnTo>
                  <a:pt x="329" y="44"/>
                </a:lnTo>
                <a:lnTo>
                  <a:pt x="314" y="31"/>
                </a:lnTo>
                <a:lnTo>
                  <a:pt x="314" y="31"/>
                </a:lnTo>
                <a:lnTo>
                  <a:pt x="312" y="38"/>
                </a:lnTo>
                <a:lnTo>
                  <a:pt x="312" y="38"/>
                </a:lnTo>
                <a:lnTo>
                  <a:pt x="311" y="51"/>
                </a:lnTo>
                <a:lnTo>
                  <a:pt x="311" y="51"/>
                </a:lnTo>
                <a:lnTo>
                  <a:pt x="303" y="49"/>
                </a:lnTo>
                <a:lnTo>
                  <a:pt x="303" y="49"/>
                </a:lnTo>
                <a:lnTo>
                  <a:pt x="298" y="45"/>
                </a:lnTo>
                <a:lnTo>
                  <a:pt x="292" y="40"/>
                </a:lnTo>
                <a:lnTo>
                  <a:pt x="289" y="33"/>
                </a:lnTo>
                <a:lnTo>
                  <a:pt x="287" y="23"/>
                </a:lnTo>
                <a:lnTo>
                  <a:pt x="287" y="23"/>
                </a:lnTo>
                <a:lnTo>
                  <a:pt x="287" y="22"/>
                </a:lnTo>
                <a:lnTo>
                  <a:pt x="287" y="22"/>
                </a:lnTo>
                <a:lnTo>
                  <a:pt x="272" y="27"/>
                </a:lnTo>
                <a:lnTo>
                  <a:pt x="252" y="33"/>
                </a:lnTo>
                <a:lnTo>
                  <a:pt x="228" y="38"/>
                </a:lnTo>
                <a:lnTo>
                  <a:pt x="205" y="40"/>
                </a:lnTo>
                <a:lnTo>
                  <a:pt x="205" y="40"/>
                </a:lnTo>
                <a:lnTo>
                  <a:pt x="161" y="38"/>
                </a:lnTo>
                <a:lnTo>
                  <a:pt x="139" y="36"/>
                </a:lnTo>
                <a:lnTo>
                  <a:pt x="117" y="33"/>
                </a:lnTo>
                <a:lnTo>
                  <a:pt x="95" y="29"/>
                </a:lnTo>
                <a:lnTo>
                  <a:pt x="73" y="22"/>
                </a:lnTo>
                <a:lnTo>
                  <a:pt x="51" y="14"/>
                </a:lnTo>
                <a:lnTo>
                  <a:pt x="31" y="7"/>
                </a:lnTo>
                <a:lnTo>
                  <a:pt x="31" y="7"/>
                </a:lnTo>
                <a:lnTo>
                  <a:pt x="15" y="0"/>
                </a:lnTo>
                <a:lnTo>
                  <a:pt x="15" y="0"/>
                </a:lnTo>
                <a:lnTo>
                  <a:pt x="15" y="1"/>
                </a:lnTo>
                <a:lnTo>
                  <a:pt x="15" y="5"/>
                </a:lnTo>
                <a:lnTo>
                  <a:pt x="18" y="14"/>
                </a:lnTo>
                <a:lnTo>
                  <a:pt x="25" y="25"/>
                </a:lnTo>
                <a:lnTo>
                  <a:pt x="25" y="25"/>
                </a:lnTo>
                <a:lnTo>
                  <a:pt x="16" y="23"/>
                </a:lnTo>
                <a:lnTo>
                  <a:pt x="7" y="27"/>
                </a:lnTo>
                <a:lnTo>
                  <a:pt x="7" y="27"/>
                </a:lnTo>
                <a:lnTo>
                  <a:pt x="2" y="31"/>
                </a:lnTo>
                <a:lnTo>
                  <a:pt x="0" y="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87" name="Freeform 38"/>
          <p:cNvSpPr>
            <a:spLocks/>
          </p:cNvSpPr>
          <p:nvPr userDrawn="1"/>
        </p:nvSpPr>
        <p:spPr bwMode="auto">
          <a:xfrm>
            <a:off x="8270875" y="-618703"/>
            <a:ext cx="282575" cy="201613"/>
          </a:xfrm>
          <a:custGeom>
            <a:avLst/>
            <a:gdLst>
              <a:gd name="T0" fmla="*/ 326 w 357"/>
              <a:gd name="T1" fmla="*/ 20 h 253"/>
              <a:gd name="T2" fmla="*/ 320 w 357"/>
              <a:gd name="T3" fmla="*/ 3 h 253"/>
              <a:gd name="T4" fmla="*/ 311 w 357"/>
              <a:gd name="T5" fmla="*/ 0 h 253"/>
              <a:gd name="T6" fmla="*/ 227 w 357"/>
              <a:gd name="T7" fmla="*/ 40 h 253"/>
              <a:gd name="T8" fmla="*/ 207 w 357"/>
              <a:gd name="T9" fmla="*/ 53 h 253"/>
              <a:gd name="T10" fmla="*/ 176 w 357"/>
              <a:gd name="T11" fmla="*/ 53 h 253"/>
              <a:gd name="T12" fmla="*/ 181 w 357"/>
              <a:gd name="T13" fmla="*/ 71 h 253"/>
              <a:gd name="T14" fmla="*/ 172 w 357"/>
              <a:gd name="T15" fmla="*/ 78 h 253"/>
              <a:gd name="T16" fmla="*/ 181 w 357"/>
              <a:gd name="T17" fmla="*/ 93 h 253"/>
              <a:gd name="T18" fmla="*/ 198 w 357"/>
              <a:gd name="T19" fmla="*/ 91 h 253"/>
              <a:gd name="T20" fmla="*/ 189 w 357"/>
              <a:gd name="T21" fmla="*/ 115 h 253"/>
              <a:gd name="T22" fmla="*/ 147 w 357"/>
              <a:gd name="T23" fmla="*/ 146 h 253"/>
              <a:gd name="T24" fmla="*/ 101 w 357"/>
              <a:gd name="T25" fmla="*/ 155 h 253"/>
              <a:gd name="T26" fmla="*/ 79 w 357"/>
              <a:gd name="T27" fmla="*/ 137 h 253"/>
              <a:gd name="T28" fmla="*/ 68 w 357"/>
              <a:gd name="T29" fmla="*/ 126 h 253"/>
              <a:gd name="T30" fmla="*/ 50 w 357"/>
              <a:gd name="T31" fmla="*/ 126 h 253"/>
              <a:gd name="T32" fmla="*/ 28 w 357"/>
              <a:gd name="T33" fmla="*/ 137 h 253"/>
              <a:gd name="T34" fmla="*/ 48 w 357"/>
              <a:gd name="T35" fmla="*/ 140 h 253"/>
              <a:gd name="T36" fmla="*/ 44 w 357"/>
              <a:gd name="T37" fmla="*/ 149 h 253"/>
              <a:gd name="T38" fmla="*/ 75 w 357"/>
              <a:gd name="T39" fmla="*/ 169 h 253"/>
              <a:gd name="T40" fmla="*/ 75 w 357"/>
              <a:gd name="T41" fmla="*/ 171 h 253"/>
              <a:gd name="T42" fmla="*/ 39 w 357"/>
              <a:gd name="T43" fmla="*/ 160 h 253"/>
              <a:gd name="T44" fmla="*/ 28 w 357"/>
              <a:gd name="T45" fmla="*/ 164 h 253"/>
              <a:gd name="T46" fmla="*/ 8 w 357"/>
              <a:gd name="T47" fmla="*/ 171 h 253"/>
              <a:gd name="T48" fmla="*/ 2 w 357"/>
              <a:gd name="T49" fmla="*/ 193 h 253"/>
              <a:gd name="T50" fmla="*/ 17 w 357"/>
              <a:gd name="T51" fmla="*/ 180 h 253"/>
              <a:gd name="T52" fmla="*/ 22 w 357"/>
              <a:gd name="T53" fmla="*/ 188 h 253"/>
              <a:gd name="T54" fmla="*/ 26 w 357"/>
              <a:gd name="T55" fmla="*/ 197 h 253"/>
              <a:gd name="T56" fmla="*/ 66 w 357"/>
              <a:gd name="T57" fmla="*/ 195 h 253"/>
              <a:gd name="T58" fmla="*/ 75 w 357"/>
              <a:gd name="T59" fmla="*/ 197 h 253"/>
              <a:gd name="T60" fmla="*/ 39 w 357"/>
              <a:gd name="T61" fmla="*/ 206 h 253"/>
              <a:gd name="T62" fmla="*/ 37 w 357"/>
              <a:gd name="T63" fmla="*/ 213 h 253"/>
              <a:gd name="T64" fmla="*/ 28 w 357"/>
              <a:gd name="T65" fmla="*/ 233 h 253"/>
              <a:gd name="T66" fmla="*/ 35 w 357"/>
              <a:gd name="T67" fmla="*/ 248 h 253"/>
              <a:gd name="T68" fmla="*/ 41 w 357"/>
              <a:gd name="T69" fmla="*/ 244 h 253"/>
              <a:gd name="T70" fmla="*/ 42 w 357"/>
              <a:gd name="T71" fmla="*/ 235 h 253"/>
              <a:gd name="T72" fmla="*/ 55 w 357"/>
              <a:gd name="T73" fmla="*/ 243 h 253"/>
              <a:gd name="T74" fmla="*/ 72 w 357"/>
              <a:gd name="T75" fmla="*/ 232 h 253"/>
              <a:gd name="T76" fmla="*/ 94 w 357"/>
              <a:gd name="T77" fmla="*/ 213 h 253"/>
              <a:gd name="T78" fmla="*/ 108 w 357"/>
              <a:gd name="T79" fmla="*/ 211 h 253"/>
              <a:gd name="T80" fmla="*/ 110 w 357"/>
              <a:gd name="T81" fmla="*/ 222 h 253"/>
              <a:gd name="T82" fmla="*/ 115 w 357"/>
              <a:gd name="T83" fmla="*/ 233 h 253"/>
              <a:gd name="T84" fmla="*/ 114 w 357"/>
              <a:gd name="T85" fmla="*/ 243 h 253"/>
              <a:gd name="T86" fmla="*/ 136 w 357"/>
              <a:gd name="T87" fmla="*/ 224 h 253"/>
              <a:gd name="T88" fmla="*/ 141 w 357"/>
              <a:gd name="T89" fmla="*/ 219 h 253"/>
              <a:gd name="T90" fmla="*/ 145 w 357"/>
              <a:gd name="T91" fmla="*/ 211 h 253"/>
              <a:gd name="T92" fmla="*/ 147 w 357"/>
              <a:gd name="T93" fmla="*/ 200 h 253"/>
              <a:gd name="T94" fmla="*/ 167 w 357"/>
              <a:gd name="T95" fmla="*/ 193 h 253"/>
              <a:gd name="T96" fmla="*/ 170 w 357"/>
              <a:gd name="T97" fmla="*/ 180 h 253"/>
              <a:gd name="T98" fmla="*/ 181 w 357"/>
              <a:gd name="T99" fmla="*/ 179 h 253"/>
              <a:gd name="T100" fmla="*/ 199 w 357"/>
              <a:gd name="T101" fmla="*/ 197 h 253"/>
              <a:gd name="T102" fmla="*/ 231 w 357"/>
              <a:gd name="T103" fmla="*/ 182 h 253"/>
              <a:gd name="T104" fmla="*/ 227 w 357"/>
              <a:gd name="T105" fmla="*/ 169 h 253"/>
              <a:gd name="T106" fmla="*/ 223 w 357"/>
              <a:gd name="T107" fmla="*/ 155 h 253"/>
              <a:gd name="T108" fmla="*/ 245 w 357"/>
              <a:gd name="T109" fmla="*/ 173 h 253"/>
              <a:gd name="T110" fmla="*/ 276 w 357"/>
              <a:gd name="T111" fmla="*/ 155 h 253"/>
              <a:gd name="T112" fmla="*/ 273 w 357"/>
              <a:gd name="T113" fmla="*/ 149 h 253"/>
              <a:gd name="T114" fmla="*/ 263 w 357"/>
              <a:gd name="T115" fmla="*/ 131 h 253"/>
              <a:gd name="T116" fmla="*/ 262 w 357"/>
              <a:gd name="T117" fmla="*/ 115 h 253"/>
              <a:gd name="T118" fmla="*/ 262 w 357"/>
              <a:gd name="T119" fmla="*/ 98 h 253"/>
              <a:gd name="T120" fmla="*/ 353 w 357"/>
              <a:gd name="T121" fmla="*/ 45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7" h="253">
                <a:moveTo>
                  <a:pt x="344" y="31"/>
                </a:moveTo>
                <a:lnTo>
                  <a:pt x="344" y="31"/>
                </a:lnTo>
                <a:lnTo>
                  <a:pt x="335" y="23"/>
                </a:lnTo>
                <a:lnTo>
                  <a:pt x="326" y="20"/>
                </a:lnTo>
                <a:lnTo>
                  <a:pt x="309" y="12"/>
                </a:lnTo>
                <a:lnTo>
                  <a:pt x="309" y="12"/>
                </a:lnTo>
                <a:lnTo>
                  <a:pt x="316" y="7"/>
                </a:lnTo>
                <a:lnTo>
                  <a:pt x="320" y="3"/>
                </a:lnTo>
                <a:lnTo>
                  <a:pt x="320" y="1"/>
                </a:lnTo>
                <a:lnTo>
                  <a:pt x="320" y="1"/>
                </a:lnTo>
                <a:lnTo>
                  <a:pt x="315" y="0"/>
                </a:lnTo>
                <a:lnTo>
                  <a:pt x="311" y="0"/>
                </a:lnTo>
                <a:lnTo>
                  <a:pt x="311" y="0"/>
                </a:lnTo>
                <a:lnTo>
                  <a:pt x="280" y="12"/>
                </a:lnTo>
                <a:lnTo>
                  <a:pt x="252" y="25"/>
                </a:lnTo>
                <a:lnTo>
                  <a:pt x="227" y="40"/>
                </a:lnTo>
                <a:lnTo>
                  <a:pt x="209" y="53"/>
                </a:lnTo>
                <a:lnTo>
                  <a:pt x="209" y="53"/>
                </a:lnTo>
                <a:lnTo>
                  <a:pt x="207" y="53"/>
                </a:lnTo>
                <a:lnTo>
                  <a:pt x="207" y="53"/>
                </a:lnTo>
                <a:lnTo>
                  <a:pt x="201" y="56"/>
                </a:lnTo>
                <a:lnTo>
                  <a:pt x="196" y="56"/>
                </a:lnTo>
                <a:lnTo>
                  <a:pt x="185" y="54"/>
                </a:lnTo>
                <a:lnTo>
                  <a:pt x="176" y="53"/>
                </a:lnTo>
                <a:lnTo>
                  <a:pt x="174" y="51"/>
                </a:lnTo>
                <a:lnTo>
                  <a:pt x="170" y="67"/>
                </a:lnTo>
                <a:lnTo>
                  <a:pt x="170" y="67"/>
                </a:lnTo>
                <a:lnTo>
                  <a:pt x="181" y="71"/>
                </a:lnTo>
                <a:lnTo>
                  <a:pt x="189" y="74"/>
                </a:lnTo>
                <a:lnTo>
                  <a:pt x="189" y="74"/>
                </a:lnTo>
                <a:lnTo>
                  <a:pt x="178" y="76"/>
                </a:lnTo>
                <a:lnTo>
                  <a:pt x="172" y="78"/>
                </a:lnTo>
                <a:lnTo>
                  <a:pt x="168" y="82"/>
                </a:lnTo>
                <a:lnTo>
                  <a:pt x="174" y="96"/>
                </a:lnTo>
                <a:lnTo>
                  <a:pt x="174" y="96"/>
                </a:lnTo>
                <a:lnTo>
                  <a:pt x="181" y="93"/>
                </a:lnTo>
                <a:lnTo>
                  <a:pt x="189" y="91"/>
                </a:lnTo>
                <a:lnTo>
                  <a:pt x="198" y="89"/>
                </a:lnTo>
                <a:lnTo>
                  <a:pt x="198" y="89"/>
                </a:lnTo>
                <a:lnTo>
                  <a:pt x="198" y="91"/>
                </a:lnTo>
                <a:lnTo>
                  <a:pt x="198" y="91"/>
                </a:lnTo>
                <a:lnTo>
                  <a:pt x="198" y="98"/>
                </a:lnTo>
                <a:lnTo>
                  <a:pt x="194" y="105"/>
                </a:lnTo>
                <a:lnTo>
                  <a:pt x="189" y="115"/>
                </a:lnTo>
                <a:lnTo>
                  <a:pt x="181" y="122"/>
                </a:lnTo>
                <a:lnTo>
                  <a:pt x="165" y="137"/>
                </a:lnTo>
                <a:lnTo>
                  <a:pt x="156" y="142"/>
                </a:lnTo>
                <a:lnTo>
                  <a:pt x="147" y="146"/>
                </a:lnTo>
                <a:lnTo>
                  <a:pt x="147" y="146"/>
                </a:lnTo>
                <a:lnTo>
                  <a:pt x="128" y="151"/>
                </a:lnTo>
                <a:lnTo>
                  <a:pt x="112" y="155"/>
                </a:lnTo>
                <a:lnTo>
                  <a:pt x="101" y="155"/>
                </a:lnTo>
                <a:lnTo>
                  <a:pt x="95" y="153"/>
                </a:lnTo>
                <a:lnTo>
                  <a:pt x="95" y="153"/>
                </a:lnTo>
                <a:lnTo>
                  <a:pt x="84" y="144"/>
                </a:lnTo>
                <a:lnTo>
                  <a:pt x="79" y="137"/>
                </a:lnTo>
                <a:lnTo>
                  <a:pt x="73" y="129"/>
                </a:lnTo>
                <a:lnTo>
                  <a:pt x="72" y="126"/>
                </a:lnTo>
                <a:lnTo>
                  <a:pt x="68" y="126"/>
                </a:lnTo>
                <a:lnTo>
                  <a:pt x="68" y="126"/>
                </a:lnTo>
                <a:lnTo>
                  <a:pt x="64" y="126"/>
                </a:lnTo>
                <a:lnTo>
                  <a:pt x="61" y="127"/>
                </a:lnTo>
                <a:lnTo>
                  <a:pt x="61" y="127"/>
                </a:lnTo>
                <a:lnTo>
                  <a:pt x="50" y="126"/>
                </a:lnTo>
                <a:lnTo>
                  <a:pt x="41" y="127"/>
                </a:lnTo>
                <a:lnTo>
                  <a:pt x="33" y="131"/>
                </a:lnTo>
                <a:lnTo>
                  <a:pt x="30" y="133"/>
                </a:lnTo>
                <a:lnTo>
                  <a:pt x="28" y="137"/>
                </a:lnTo>
                <a:lnTo>
                  <a:pt x="28" y="137"/>
                </a:lnTo>
                <a:lnTo>
                  <a:pt x="41" y="137"/>
                </a:lnTo>
                <a:lnTo>
                  <a:pt x="48" y="138"/>
                </a:lnTo>
                <a:lnTo>
                  <a:pt x="48" y="140"/>
                </a:lnTo>
                <a:lnTo>
                  <a:pt x="46" y="142"/>
                </a:lnTo>
                <a:lnTo>
                  <a:pt x="46" y="142"/>
                </a:lnTo>
                <a:lnTo>
                  <a:pt x="42" y="146"/>
                </a:lnTo>
                <a:lnTo>
                  <a:pt x="44" y="149"/>
                </a:lnTo>
                <a:lnTo>
                  <a:pt x="46" y="153"/>
                </a:lnTo>
                <a:lnTo>
                  <a:pt x="52" y="157"/>
                </a:lnTo>
                <a:lnTo>
                  <a:pt x="75" y="169"/>
                </a:lnTo>
                <a:lnTo>
                  <a:pt x="75" y="169"/>
                </a:lnTo>
                <a:lnTo>
                  <a:pt x="75" y="169"/>
                </a:lnTo>
                <a:lnTo>
                  <a:pt x="75" y="171"/>
                </a:lnTo>
                <a:lnTo>
                  <a:pt x="75" y="171"/>
                </a:lnTo>
                <a:lnTo>
                  <a:pt x="75" y="171"/>
                </a:lnTo>
                <a:lnTo>
                  <a:pt x="68" y="171"/>
                </a:lnTo>
                <a:lnTo>
                  <a:pt x="59" y="168"/>
                </a:lnTo>
                <a:lnTo>
                  <a:pt x="39" y="160"/>
                </a:lnTo>
                <a:lnTo>
                  <a:pt x="39" y="160"/>
                </a:lnTo>
                <a:lnTo>
                  <a:pt x="35" y="160"/>
                </a:lnTo>
                <a:lnTo>
                  <a:pt x="31" y="160"/>
                </a:lnTo>
                <a:lnTo>
                  <a:pt x="28" y="164"/>
                </a:lnTo>
                <a:lnTo>
                  <a:pt x="28" y="164"/>
                </a:lnTo>
                <a:lnTo>
                  <a:pt x="24" y="164"/>
                </a:lnTo>
                <a:lnTo>
                  <a:pt x="19" y="164"/>
                </a:lnTo>
                <a:lnTo>
                  <a:pt x="11" y="168"/>
                </a:lnTo>
                <a:lnTo>
                  <a:pt x="8" y="171"/>
                </a:lnTo>
                <a:lnTo>
                  <a:pt x="2" y="175"/>
                </a:lnTo>
                <a:lnTo>
                  <a:pt x="0" y="180"/>
                </a:lnTo>
                <a:lnTo>
                  <a:pt x="0" y="186"/>
                </a:lnTo>
                <a:lnTo>
                  <a:pt x="2" y="193"/>
                </a:lnTo>
                <a:lnTo>
                  <a:pt x="2" y="193"/>
                </a:lnTo>
                <a:lnTo>
                  <a:pt x="8" y="186"/>
                </a:lnTo>
                <a:lnTo>
                  <a:pt x="13" y="180"/>
                </a:lnTo>
                <a:lnTo>
                  <a:pt x="17" y="180"/>
                </a:lnTo>
                <a:lnTo>
                  <a:pt x="20" y="180"/>
                </a:lnTo>
                <a:lnTo>
                  <a:pt x="20" y="180"/>
                </a:lnTo>
                <a:lnTo>
                  <a:pt x="22" y="182"/>
                </a:lnTo>
                <a:lnTo>
                  <a:pt x="22" y="188"/>
                </a:lnTo>
                <a:lnTo>
                  <a:pt x="22" y="191"/>
                </a:lnTo>
                <a:lnTo>
                  <a:pt x="24" y="195"/>
                </a:lnTo>
                <a:lnTo>
                  <a:pt x="26" y="197"/>
                </a:lnTo>
                <a:lnTo>
                  <a:pt x="26" y="197"/>
                </a:lnTo>
                <a:lnTo>
                  <a:pt x="30" y="199"/>
                </a:lnTo>
                <a:lnTo>
                  <a:pt x="37" y="199"/>
                </a:lnTo>
                <a:lnTo>
                  <a:pt x="52" y="197"/>
                </a:lnTo>
                <a:lnTo>
                  <a:pt x="66" y="195"/>
                </a:lnTo>
                <a:lnTo>
                  <a:pt x="73" y="195"/>
                </a:lnTo>
                <a:lnTo>
                  <a:pt x="75" y="195"/>
                </a:lnTo>
                <a:lnTo>
                  <a:pt x="75" y="195"/>
                </a:lnTo>
                <a:lnTo>
                  <a:pt x="75" y="197"/>
                </a:lnTo>
                <a:lnTo>
                  <a:pt x="72" y="199"/>
                </a:lnTo>
                <a:lnTo>
                  <a:pt x="59" y="200"/>
                </a:lnTo>
                <a:lnTo>
                  <a:pt x="44" y="202"/>
                </a:lnTo>
                <a:lnTo>
                  <a:pt x="39" y="206"/>
                </a:lnTo>
                <a:lnTo>
                  <a:pt x="37" y="208"/>
                </a:lnTo>
                <a:lnTo>
                  <a:pt x="37" y="208"/>
                </a:lnTo>
                <a:lnTo>
                  <a:pt x="37" y="213"/>
                </a:lnTo>
                <a:lnTo>
                  <a:pt x="37" y="213"/>
                </a:lnTo>
                <a:lnTo>
                  <a:pt x="37" y="215"/>
                </a:lnTo>
                <a:lnTo>
                  <a:pt x="33" y="219"/>
                </a:lnTo>
                <a:lnTo>
                  <a:pt x="30" y="226"/>
                </a:lnTo>
                <a:lnTo>
                  <a:pt x="28" y="233"/>
                </a:lnTo>
                <a:lnTo>
                  <a:pt x="28" y="233"/>
                </a:lnTo>
                <a:lnTo>
                  <a:pt x="28" y="237"/>
                </a:lnTo>
                <a:lnTo>
                  <a:pt x="30" y="243"/>
                </a:lnTo>
                <a:lnTo>
                  <a:pt x="35" y="248"/>
                </a:lnTo>
                <a:lnTo>
                  <a:pt x="41" y="253"/>
                </a:lnTo>
                <a:lnTo>
                  <a:pt x="41" y="253"/>
                </a:lnTo>
                <a:lnTo>
                  <a:pt x="42" y="252"/>
                </a:lnTo>
                <a:lnTo>
                  <a:pt x="41" y="244"/>
                </a:lnTo>
                <a:lnTo>
                  <a:pt x="41" y="239"/>
                </a:lnTo>
                <a:lnTo>
                  <a:pt x="42" y="237"/>
                </a:lnTo>
                <a:lnTo>
                  <a:pt x="42" y="235"/>
                </a:lnTo>
                <a:lnTo>
                  <a:pt x="42" y="235"/>
                </a:lnTo>
                <a:lnTo>
                  <a:pt x="46" y="235"/>
                </a:lnTo>
                <a:lnTo>
                  <a:pt x="48" y="237"/>
                </a:lnTo>
                <a:lnTo>
                  <a:pt x="52" y="241"/>
                </a:lnTo>
                <a:lnTo>
                  <a:pt x="55" y="243"/>
                </a:lnTo>
                <a:lnTo>
                  <a:pt x="55" y="243"/>
                </a:lnTo>
                <a:lnTo>
                  <a:pt x="59" y="241"/>
                </a:lnTo>
                <a:lnTo>
                  <a:pt x="62" y="239"/>
                </a:lnTo>
                <a:lnTo>
                  <a:pt x="72" y="232"/>
                </a:lnTo>
                <a:lnTo>
                  <a:pt x="81" y="222"/>
                </a:lnTo>
                <a:lnTo>
                  <a:pt x="86" y="217"/>
                </a:lnTo>
                <a:lnTo>
                  <a:pt x="94" y="213"/>
                </a:lnTo>
                <a:lnTo>
                  <a:pt x="94" y="213"/>
                </a:lnTo>
                <a:lnTo>
                  <a:pt x="103" y="210"/>
                </a:lnTo>
                <a:lnTo>
                  <a:pt x="106" y="208"/>
                </a:lnTo>
                <a:lnTo>
                  <a:pt x="108" y="210"/>
                </a:lnTo>
                <a:lnTo>
                  <a:pt x="108" y="211"/>
                </a:lnTo>
                <a:lnTo>
                  <a:pt x="108" y="217"/>
                </a:lnTo>
                <a:lnTo>
                  <a:pt x="108" y="221"/>
                </a:lnTo>
                <a:lnTo>
                  <a:pt x="110" y="222"/>
                </a:lnTo>
                <a:lnTo>
                  <a:pt x="110" y="222"/>
                </a:lnTo>
                <a:lnTo>
                  <a:pt x="115" y="224"/>
                </a:lnTo>
                <a:lnTo>
                  <a:pt x="117" y="226"/>
                </a:lnTo>
                <a:lnTo>
                  <a:pt x="117" y="230"/>
                </a:lnTo>
                <a:lnTo>
                  <a:pt x="115" y="233"/>
                </a:lnTo>
                <a:lnTo>
                  <a:pt x="112" y="239"/>
                </a:lnTo>
                <a:lnTo>
                  <a:pt x="108" y="243"/>
                </a:lnTo>
                <a:lnTo>
                  <a:pt x="108" y="243"/>
                </a:lnTo>
                <a:lnTo>
                  <a:pt x="114" y="243"/>
                </a:lnTo>
                <a:lnTo>
                  <a:pt x="121" y="241"/>
                </a:lnTo>
                <a:lnTo>
                  <a:pt x="128" y="233"/>
                </a:lnTo>
                <a:lnTo>
                  <a:pt x="132" y="230"/>
                </a:lnTo>
                <a:lnTo>
                  <a:pt x="136" y="224"/>
                </a:lnTo>
                <a:lnTo>
                  <a:pt x="136" y="224"/>
                </a:lnTo>
                <a:lnTo>
                  <a:pt x="136" y="221"/>
                </a:lnTo>
                <a:lnTo>
                  <a:pt x="137" y="221"/>
                </a:lnTo>
                <a:lnTo>
                  <a:pt x="141" y="219"/>
                </a:lnTo>
                <a:lnTo>
                  <a:pt x="143" y="217"/>
                </a:lnTo>
                <a:lnTo>
                  <a:pt x="143" y="217"/>
                </a:lnTo>
                <a:lnTo>
                  <a:pt x="145" y="215"/>
                </a:lnTo>
                <a:lnTo>
                  <a:pt x="145" y="211"/>
                </a:lnTo>
                <a:lnTo>
                  <a:pt x="145" y="208"/>
                </a:lnTo>
                <a:lnTo>
                  <a:pt x="145" y="204"/>
                </a:lnTo>
                <a:lnTo>
                  <a:pt x="145" y="204"/>
                </a:lnTo>
                <a:lnTo>
                  <a:pt x="147" y="200"/>
                </a:lnTo>
                <a:lnTo>
                  <a:pt x="150" y="199"/>
                </a:lnTo>
                <a:lnTo>
                  <a:pt x="157" y="197"/>
                </a:lnTo>
                <a:lnTo>
                  <a:pt x="165" y="195"/>
                </a:lnTo>
                <a:lnTo>
                  <a:pt x="167" y="193"/>
                </a:lnTo>
                <a:lnTo>
                  <a:pt x="167" y="191"/>
                </a:lnTo>
                <a:lnTo>
                  <a:pt x="167" y="191"/>
                </a:lnTo>
                <a:lnTo>
                  <a:pt x="167" y="186"/>
                </a:lnTo>
                <a:lnTo>
                  <a:pt x="170" y="180"/>
                </a:lnTo>
                <a:lnTo>
                  <a:pt x="176" y="179"/>
                </a:lnTo>
                <a:lnTo>
                  <a:pt x="179" y="177"/>
                </a:lnTo>
                <a:lnTo>
                  <a:pt x="179" y="177"/>
                </a:lnTo>
                <a:lnTo>
                  <a:pt x="181" y="179"/>
                </a:lnTo>
                <a:lnTo>
                  <a:pt x="183" y="184"/>
                </a:lnTo>
                <a:lnTo>
                  <a:pt x="189" y="190"/>
                </a:lnTo>
                <a:lnTo>
                  <a:pt x="194" y="193"/>
                </a:lnTo>
                <a:lnTo>
                  <a:pt x="199" y="197"/>
                </a:lnTo>
                <a:lnTo>
                  <a:pt x="199" y="197"/>
                </a:lnTo>
                <a:lnTo>
                  <a:pt x="221" y="186"/>
                </a:lnTo>
                <a:lnTo>
                  <a:pt x="221" y="186"/>
                </a:lnTo>
                <a:lnTo>
                  <a:pt x="231" y="182"/>
                </a:lnTo>
                <a:lnTo>
                  <a:pt x="234" y="179"/>
                </a:lnTo>
                <a:lnTo>
                  <a:pt x="234" y="179"/>
                </a:lnTo>
                <a:lnTo>
                  <a:pt x="231" y="173"/>
                </a:lnTo>
                <a:lnTo>
                  <a:pt x="227" y="169"/>
                </a:lnTo>
                <a:lnTo>
                  <a:pt x="225" y="164"/>
                </a:lnTo>
                <a:lnTo>
                  <a:pt x="225" y="164"/>
                </a:lnTo>
                <a:lnTo>
                  <a:pt x="223" y="158"/>
                </a:lnTo>
                <a:lnTo>
                  <a:pt x="223" y="155"/>
                </a:lnTo>
                <a:lnTo>
                  <a:pt x="223" y="155"/>
                </a:lnTo>
                <a:lnTo>
                  <a:pt x="229" y="162"/>
                </a:lnTo>
                <a:lnTo>
                  <a:pt x="236" y="168"/>
                </a:lnTo>
                <a:lnTo>
                  <a:pt x="245" y="173"/>
                </a:lnTo>
                <a:lnTo>
                  <a:pt x="245" y="173"/>
                </a:lnTo>
                <a:lnTo>
                  <a:pt x="271" y="157"/>
                </a:lnTo>
                <a:lnTo>
                  <a:pt x="271" y="157"/>
                </a:lnTo>
                <a:lnTo>
                  <a:pt x="276" y="155"/>
                </a:lnTo>
                <a:lnTo>
                  <a:pt x="276" y="155"/>
                </a:lnTo>
                <a:lnTo>
                  <a:pt x="276" y="155"/>
                </a:lnTo>
                <a:lnTo>
                  <a:pt x="276" y="155"/>
                </a:lnTo>
                <a:lnTo>
                  <a:pt x="273" y="149"/>
                </a:lnTo>
                <a:lnTo>
                  <a:pt x="267" y="144"/>
                </a:lnTo>
                <a:lnTo>
                  <a:pt x="262" y="137"/>
                </a:lnTo>
                <a:lnTo>
                  <a:pt x="262" y="133"/>
                </a:lnTo>
                <a:lnTo>
                  <a:pt x="263" y="131"/>
                </a:lnTo>
                <a:lnTo>
                  <a:pt x="263" y="131"/>
                </a:lnTo>
                <a:lnTo>
                  <a:pt x="265" y="129"/>
                </a:lnTo>
                <a:lnTo>
                  <a:pt x="265" y="126"/>
                </a:lnTo>
                <a:lnTo>
                  <a:pt x="262" y="115"/>
                </a:lnTo>
                <a:lnTo>
                  <a:pt x="258" y="105"/>
                </a:lnTo>
                <a:lnTo>
                  <a:pt x="258" y="100"/>
                </a:lnTo>
                <a:lnTo>
                  <a:pt x="262" y="98"/>
                </a:lnTo>
                <a:lnTo>
                  <a:pt x="262" y="98"/>
                </a:lnTo>
                <a:lnTo>
                  <a:pt x="313" y="73"/>
                </a:lnTo>
                <a:lnTo>
                  <a:pt x="357" y="51"/>
                </a:lnTo>
                <a:lnTo>
                  <a:pt x="357" y="51"/>
                </a:lnTo>
                <a:lnTo>
                  <a:pt x="353" y="45"/>
                </a:lnTo>
                <a:lnTo>
                  <a:pt x="349" y="38"/>
                </a:lnTo>
                <a:lnTo>
                  <a:pt x="344" y="3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88" name="Freeform 39"/>
          <p:cNvSpPr>
            <a:spLocks/>
          </p:cNvSpPr>
          <p:nvPr userDrawn="1"/>
        </p:nvSpPr>
        <p:spPr bwMode="auto">
          <a:xfrm>
            <a:off x="8229600" y="-437728"/>
            <a:ext cx="120650" cy="115888"/>
          </a:xfrm>
          <a:custGeom>
            <a:avLst/>
            <a:gdLst>
              <a:gd name="T0" fmla="*/ 0 w 152"/>
              <a:gd name="T1" fmla="*/ 42 h 144"/>
              <a:gd name="T2" fmla="*/ 2 w 152"/>
              <a:gd name="T3" fmla="*/ 51 h 144"/>
              <a:gd name="T4" fmla="*/ 4 w 152"/>
              <a:gd name="T5" fmla="*/ 57 h 144"/>
              <a:gd name="T6" fmla="*/ 15 w 152"/>
              <a:gd name="T7" fmla="*/ 60 h 144"/>
              <a:gd name="T8" fmla="*/ 18 w 152"/>
              <a:gd name="T9" fmla="*/ 58 h 144"/>
              <a:gd name="T10" fmla="*/ 20 w 152"/>
              <a:gd name="T11" fmla="*/ 51 h 144"/>
              <a:gd name="T12" fmla="*/ 22 w 152"/>
              <a:gd name="T13" fmla="*/ 44 h 144"/>
              <a:gd name="T14" fmla="*/ 24 w 152"/>
              <a:gd name="T15" fmla="*/ 42 h 144"/>
              <a:gd name="T16" fmla="*/ 26 w 152"/>
              <a:gd name="T17" fmla="*/ 42 h 144"/>
              <a:gd name="T18" fmla="*/ 28 w 152"/>
              <a:gd name="T19" fmla="*/ 40 h 144"/>
              <a:gd name="T20" fmla="*/ 68 w 152"/>
              <a:gd name="T21" fmla="*/ 60 h 144"/>
              <a:gd name="T22" fmla="*/ 106 w 152"/>
              <a:gd name="T23" fmla="*/ 86 h 144"/>
              <a:gd name="T24" fmla="*/ 112 w 152"/>
              <a:gd name="T25" fmla="*/ 89 h 144"/>
              <a:gd name="T26" fmla="*/ 106 w 152"/>
              <a:gd name="T27" fmla="*/ 100 h 144"/>
              <a:gd name="T28" fmla="*/ 95 w 152"/>
              <a:gd name="T29" fmla="*/ 128 h 144"/>
              <a:gd name="T30" fmla="*/ 93 w 152"/>
              <a:gd name="T31" fmla="*/ 135 h 144"/>
              <a:gd name="T32" fmla="*/ 97 w 152"/>
              <a:gd name="T33" fmla="*/ 142 h 144"/>
              <a:gd name="T34" fmla="*/ 104 w 152"/>
              <a:gd name="T35" fmla="*/ 144 h 144"/>
              <a:gd name="T36" fmla="*/ 110 w 152"/>
              <a:gd name="T37" fmla="*/ 144 h 144"/>
              <a:gd name="T38" fmla="*/ 117 w 152"/>
              <a:gd name="T39" fmla="*/ 139 h 144"/>
              <a:gd name="T40" fmla="*/ 119 w 152"/>
              <a:gd name="T41" fmla="*/ 135 h 144"/>
              <a:gd name="T42" fmla="*/ 119 w 152"/>
              <a:gd name="T43" fmla="*/ 130 h 144"/>
              <a:gd name="T44" fmla="*/ 112 w 152"/>
              <a:gd name="T45" fmla="*/ 122 h 144"/>
              <a:gd name="T46" fmla="*/ 110 w 152"/>
              <a:gd name="T47" fmla="*/ 122 h 144"/>
              <a:gd name="T48" fmla="*/ 115 w 152"/>
              <a:gd name="T49" fmla="*/ 110 h 144"/>
              <a:gd name="T50" fmla="*/ 123 w 152"/>
              <a:gd name="T51" fmla="*/ 93 h 144"/>
              <a:gd name="T52" fmla="*/ 132 w 152"/>
              <a:gd name="T53" fmla="*/ 86 h 144"/>
              <a:gd name="T54" fmla="*/ 141 w 152"/>
              <a:gd name="T55" fmla="*/ 84 h 144"/>
              <a:gd name="T56" fmla="*/ 139 w 152"/>
              <a:gd name="T57" fmla="*/ 80 h 144"/>
              <a:gd name="T58" fmla="*/ 135 w 152"/>
              <a:gd name="T59" fmla="*/ 69 h 144"/>
              <a:gd name="T60" fmla="*/ 137 w 152"/>
              <a:gd name="T61" fmla="*/ 57 h 144"/>
              <a:gd name="T62" fmla="*/ 141 w 152"/>
              <a:gd name="T63" fmla="*/ 49 h 144"/>
              <a:gd name="T64" fmla="*/ 152 w 152"/>
              <a:gd name="T65" fmla="*/ 18 h 144"/>
              <a:gd name="T66" fmla="*/ 152 w 152"/>
              <a:gd name="T67" fmla="*/ 13 h 144"/>
              <a:gd name="T68" fmla="*/ 146 w 152"/>
              <a:gd name="T69" fmla="*/ 5 h 144"/>
              <a:gd name="T70" fmla="*/ 141 w 152"/>
              <a:gd name="T71" fmla="*/ 4 h 144"/>
              <a:gd name="T72" fmla="*/ 132 w 152"/>
              <a:gd name="T73" fmla="*/ 7 h 144"/>
              <a:gd name="T74" fmla="*/ 128 w 152"/>
              <a:gd name="T75" fmla="*/ 15 h 144"/>
              <a:gd name="T76" fmla="*/ 128 w 152"/>
              <a:gd name="T77" fmla="*/ 20 h 144"/>
              <a:gd name="T78" fmla="*/ 134 w 152"/>
              <a:gd name="T79" fmla="*/ 27 h 144"/>
              <a:gd name="T80" fmla="*/ 137 w 152"/>
              <a:gd name="T81" fmla="*/ 29 h 144"/>
              <a:gd name="T82" fmla="*/ 132 w 152"/>
              <a:gd name="T83" fmla="*/ 46 h 144"/>
              <a:gd name="T84" fmla="*/ 124 w 152"/>
              <a:gd name="T85" fmla="*/ 55 h 144"/>
              <a:gd name="T86" fmla="*/ 117 w 152"/>
              <a:gd name="T87" fmla="*/ 51 h 144"/>
              <a:gd name="T88" fmla="*/ 60 w 152"/>
              <a:gd name="T89" fmla="*/ 24 h 144"/>
              <a:gd name="T90" fmla="*/ 40 w 152"/>
              <a:gd name="T91" fmla="*/ 18 h 144"/>
              <a:gd name="T92" fmla="*/ 42 w 152"/>
              <a:gd name="T93" fmla="*/ 13 h 144"/>
              <a:gd name="T94" fmla="*/ 50 w 152"/>
              <a:gd name="T95" fmla="*/ 0 h 144"/>
              <a:gd name="T96" fmla="*/ 46 w 152"/>
              <a:gd name="T97" fmla="*/ 2 h 144"/>
              <a:gd name="T98" fmla="*/ 39 w 152"/>
              <a:gd name="T99" fmla="*/ 5 h 144"/>
              <a:gd name="T100" fmla="*/ 24 w 152"/>
              <a:gd name="T101" fmla="*/ 11 h 144"/>
              <a:gd name="T102" fmla="*/ 18 w 152"/>
              <a:gd name="T103" fmla="*/ 11 h 144"/>
              <a:gd name="T104" fmla="*/ 15 w 152"/>
              <a:gd name="T105" fmla="*/ 11 h 144"/>
              <a:gd name="T106" fmla="*/ 9 w 152"/>
              <a:gd name="T107" fmla="*/ 22 h 144"/>
              <a:gd name="T108" fmla="*/ 6 w 152"/>
              <a:gd name="T109" fmla="*/ 33 h 144"/>
              <a:gd name="T110" fmla="*/ 2 w 152"/>
              <a:gd name="T111" fmla="*/ 3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2" h="144">
                <a:moveTo>
                  <a:pt x="0" y="42"/>
                </a:moveTo>
                <a:lnTo>
                  <a:pt x="0" y="42"/>
                </a:lnTo>
                <a:lnTo>
                  <a:pt x="0" y="47"/>
                </a:lnTo>
                <a:lnTo>
                  <a:pt x="2" y="51"/>
                </a:lnTo>
                <a:lnTo>
                  <a:pt x="4" y="57"/>
                </a:lnTo>
                <a:lnTo>
                  <a:pt x="4" y="57"/>
                </a:lnTo>
                <a:lnTo>
                  <a:pt x="11" y="58"/>
                </a:lnTo>
                <a:lnTo>
                  <a:pt x="15" y="60"/>
                </a:lnTo>
                <a:lnTo>
                  <a:pt x="18" y="58"/>
                </a:lnTo>
                <a:lnTo>
                  <a:pt x="18" y="58"/>
                </a:lnTo>
                <a:lnTo>
                  <a:pt x="20" y="55"/>
                </a:lnTo>
                <a:lnTo>
                  <a:pt x="20" y="51"/>
                </a:lnTo>
                <a:lnTo>
                  <a:pt x="20" y="47"/>
                </a:lnTo>
                <a:lnTo>
                  <a:pt x="22" y="44"/>
                </a:lnTo>
                <a:lnTo>
                  <a:pt x="22" y="44"/>
                </a:lnTo>
                <a:lnTo>
                  <a:pt x="24" y="42"/>
                </a:lnTo>
                <a:lnTo>
                  <a:pt x="26" y="42"/>
                </a:lnTo>
                <a:lnTo>
                  <a:pt x="26" y="42"/>
                </a:lnTo>
                <a:lnTo>
                  <a:pt x="28" y="40"/>
                </a:lnTo>
                <a:lnTo>
                  <a:pt x="28" y="40"/>
                </a:lnTo>
                <a:lnTo>
                  <a:pt x="48" y="49"/>
                </a:lnTo>
                <a:lnTo>
                  <a:pt x="68" y="60"/>
                </a:lnTo>
                <a:lnTo>
                  <a:pt x="106" y="86"/>
                </a:lnTo>
                <a:lnTo>
                  <a:pt x="106" y="86"/>
                </a:lnTo>
                <a:lnTo>
                  <a:pt x="112" y="89"/>
                </a:lnTo>
                <a:lnTo>
                  <a:pt x="112" y="89"/>
                </a:lnTo>
                <a:lnTo>
                  <a:pt x="106" y="100"/>
                </a:lnTo>
                <a:lnTo>
                  <a:pt x="106" y="100"/>
                </a:lnTo>
                <a:lnTo>
                  <a:pt x="97" y="119"/>
                </a:lnTo>
                <a:lnTo>
                  <a:pt x="95" y="128"/>
                </a:lnTo>
                <a:lnTo>
                  <a:pt x="93" y="135"/>
                </a:lnTo>
                <a:lnTo>
                  <a:pt x="93" y="135"/>
                </a:lnTo>
                <a:lnTo>
                  <a:pt x="95" y="139"/>
                </a:lnTo>
                <a:lnTo>
                  <a:pt x="97" y="142"/>
                </a:lnTo>
                <a:lnTo>
                  <a:pt x="101" y="144"/>
                </a:lnTo>
                <a:lnTo>
                  <a:pt x="104" y="144"/>
                </a:lnTo>
                <a:lnTo>
                  <a:pt x="104" y="144"/>
                </a:lnTo>
                <a:lnTo>
                  <a:pt x="110" y="144"/>
                </a:lnTo>
                <a:lnTo>
                  <a:pt x="113" y="142"/>
                </a:lnTo>
                <a:lnTo>
                  <a:pt x="117" y="139"/>
                </a:lnTo>
                <a:lnTo>
                  <a:pt x="119" y="135"/>
                </a:lnTo>
                <a:lnTo>
                  <a:pt x="119" y="135"/>
                </a:lnTo>
                <a:lnTo>
                  <a:pt x="119" y="131"/>
                </a:lnTo>
                <a:lnTo>
                  <a:pt x="119" y="130"/>
                </a:lnTo>
                <a:lnTo>
                  <a:pt x="115" y="124"/>
                </a:lnTo>
                <a:lnTo>
                  <a:pt x="112" y="122"/>
                </a:lnTo>
                <a:lnTo>
                  <a:pt x="110" y="122"/>
                </a:lnTo>
                <a:lnTo>
                  <a:pt x="110" y="122"/>
                </a:lnTo>
                <a:lnTo>
                  <a:pt x="115" y="110"/>
                </a:lnTo>
                <a:lnTo>
                  <a:pt x="115" y="110"/>
                </a:lnTo>
                <a:lnTo>
                  <a:pt x="119" y="100"/>
                </a:lnTo>
                <a:lnTo>
                  <a:pt x="123" y="93"/>
                </a:lnTo>
                <a:lnTo>
                  <a:pt x="128" y="89"/>
                </a:lnTo>
                <a:lnTo>
                  <a:pt x="132" y="86"/>
                </a:lnTo>
                <a:lnTo>
                  <a:pt x="137" y="84"/>
                </a:lnTo>
                <a:lnTo>
                  <a:pt x="141" y="84"/>
                </a:lnTo>
                <a:lnTo>
                  <a:pt x="141" y="84"/>
                </a:lnTo>
                <a:lnTo>
                  <a:pt x="139" y="80"/>
                </a:lnTo>
                <a:lnTo>
                  <a:pt x="135" y="75"/>
                </a:lnTo>
                <a:lnTo>
                  <a:pt x="135" y="69"/>
                </a:lnTo>
                <a:lnTo>
                  <a:pt x="135" y="64"/>
                </a:lnTo>
                <a:lnTo>
                  <a:pt x="137" y="57"/>
                </a:lnTo>
                <a:lnTo>
                  <a:pt x="141" y="49"/>
                </a:lnTo>
                <a:lnTo>
                  <a:pt x="141" y="49"/>
                </a:lnTo>
                <a:lnTo>
                  <a:pt x="148" y="31"/>
                </a:lnTo>
                <a:lnTo>
                  <a:pt x="152" y="18"/>
                </a:lnTo>
                <a:lnTo>
                  <a:pt x="152" y="18"/>
                </a:lnTo>
                <a:lnTo>
                  <a:pt x="152" y="13"/>
                </a:lnTo>
                <a:lnTo>
                  <a:pt x="150" y="9"/>
                </a:lnTo>
                <a:lnTo>
                  <a:pt x="146" y="5"/>
                </a:lnTo>
                <a:lnTo>
                  <a:pt x="141" y="4"/>
                </a:lnTo>
                <a:lnTo>
                  <a:pt x="141" y="4"/>
                </a:lnTo>
                <a:lnTo>
                  <a:pt x="137" y="5"/>
                </a:lnTo>
                <a:lnTo>
                  <a:pt x="132" y="7"/>
                </a:lnTo>
                <a:lnTo>
                  <a:pt x="130" y="11"/>
                </a:lnTo>
                <a:lnTo>
                  <a:pt x="128" y="15"/>
                </a:lnTo>
                <a:lnTo>
                  <a:pt x="128" y="15"/>
                </a:lnTo>
                <a:lnTo>
                  <a:pt x="128" y="20"/>
                </a:lnTo>
                <a:lnTo>
                  <a:pt x="130" y="24"/>
                </a:lnTo>
                <a:lnTo>
                  <a:pt x="134" y="27"/>
                </a:lnTo>
                <a:lnTo>
                  <a:pt x="137" y="29"/>
                </a:lnTo>
                <a:lnTo>
                  <a:pt x="137" y="29"/>
                </a:lnTo>
                <a:lnTo>
                  <a:pt x="137" y="29"/>
                </a:lnTo>
                <a:lnTo>
                  <a:pt x="132" y="46"/>
                </a:lnTo>
                <a:lnTo>
                  <a:pt x="124" y="55"/>
                </a:lnTo>
                <a:lnTo>
                  <a:pt x="124" y="55"/>
                </a:lnTo>
                <a:lnTo>
                  <a:pt x="117" y="51"/>
                </a:lnTo>
                <a:lnTo>
                  <a:pt x="117" y="51"/>
                </a:lnTo>
                <a:lnTo>
                  <a:pt x="81" y="31"/>
                </a:lnTo>
                <a:lnTo>
                  <a:pt x="60" y="24"/>
                </a:lnTo>
                <a:lnTo>
                  <a:pt x="40" y="18"/>
                </a:lnTo>
                <a:lnTo>
                  <a:pt x="40" y="18"/>
                </a:lnTo>
                <a:lnTo>
                  <a:pt x="42" y="13"/>
                </a:lnTo>
                <a:lnTo>
                  <a:pt x="42" y="13"/>
                </a:lnTo>
                <a:lnTo>
                  <a:pt x="48" y="4"/>
                </a:lnTo>
                <a:lnTo>
                  <a:pt x="50" y="0"/>
                </a:lnTo>
                <a:lnTo>
                  <a:pt x="50" y="0"/>
                </a:lnTo>
                <a:lnTo>
                  <a:pt x="46" y="2"/>
                </a:lnTo>
                <a:lnTo>
                  <a:pt x="39" y="5"/>
                </a:lnTo>
                <a:lnTo>
                  <a:pt x="39" y="5"/>
                </a:lnTo>
                <a:lnTo>
                  <a:pt x="29" y="9"/>
                </a:lnTo>
                <a:lnTo>
                  <a:pt x="24" y="11"/>
                </a:lnTo>
                <a:lnTo>
                  <a:pt x="24" y="11"/>
                </a:lnTo>
                <a:lnTo>
                  <a:pt x="18" y="11"/>
                </a:lnTo>
                <a:lnTo>
                  <a:pt x="15" y="11"/>
                </a:lnTo>
                <a:lnTo>
                  <a:pt x="15" y="11"/>
                </a:lnTo>
                <a:lnTo>
                  <a:pt x="13" y="13"/>
                </a:lnTo>
                <a:lnTo>
                  <a:pt x="9" y="22"/>
                </a:lnTo>
                <a:lnTo>
                  <a:pt x="9" y="22"/>
                </a:lnTo>
                <a:lnTo>
                  <a:pt x="6" y="33"/>
                </a:lnTo>
                <a:lnTo>
                  <a:pt x="6" y="33"/>
                </a:lnTo>
                <a:lnTo>
                  <a:pt x="2" y="38"/>
                </a:lnTo>
                <a:lnTo>
                  <a:pt x="0" y="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89" name="Freeform 40"/>
          <p:cNvSpPr>
            <a:spLocks/>
          </p:cNvSpPr>
          <p:nvPr userDrawn="1"/>
        </p:nvSpPr>
        <p:spPr bwMode="auto">
          <a:xfrm>
            <a:off x="8226425" y="-921915"/>
            <a:ext cx="30163" cy="34925"/>
          </a:xfrm>
          <a:custGeom>
            <a:avLst/>
            <a:gdLst>
              <a:gd name="T0" fmla="*/ 12 w 36"/>
              <a:gd name="T1" fmla="*/ 44 h 44"/>
              <a:gd name="T2" fmla="*/ 12 w 36"/>
              <a:gd name="T3" fmla="*/ 44 h 44"/>
              <a:gd name="T4" fmla="*/ 27 w 36"/>
              <a:gd name="T5" fmla="*/ 42 h 44"/>
              <a:gd name="T6" fmla="*/ 36 w 36"/>
              <a:gd name="T7" fmla="*/ 40 h 44"/>
              <a:gd name="T8" fmla="*/ 36 w 36"/>
              <a:gd name="T9" fmla="*/ 3 h 44"/>
              <a:gd name="T10" fmla="*/ 36 w 36"/>
              <a:gd name="T11" fmla="*/ 3 h 44"/>
              <a:gd name="T12" fmla="*/ 16 w 36"/>
              <a:gd name="T13" fmla="*/ 0 h 44"/>
              <a:gd name="T14" fmla="*/ 16 w 36"/>
              <a:gd name="T15" fmla="*/ 0 h 44"/>
              <a:gd name="T16" fmla="*/ 11 w 36"/>
              <a:gd name="T17" fmla="*/ 0 h 44"/>
              <a:gd name="T18" fmla="*/ 7 w 36"/>
              <a:gd name="T19" fmla="*/ 2 h 44"/>
              <a:gd name="T20" fmla="*/ 3 w 36"/>
              <a:gd name="T21" fmla="*/ 3 h 44"/>
              <a:gd name="T22" fmla="*/ 1 w 36"/>
              <a:gd name="T23" fmla="*/ 7 h 44"/>
              <a:gd name="T24" fmla="*/ 0 w 36"/>
              <a:gd name="T25" fmla="*/ 13 h 44"/>
              <a:gd name="T26" fmla="*/ 0 w 36"/>
              <a:gd name="T27" fmla="*/ 16 h 44"/>
              <a:gd name="T28" fmla="*/ 0 w 36"/>
              <a:gd name="T29" fmla="*/ 27 h 44"/>
              <a:gd name="T30" fmla="*/ 0 w 36"/>
              <a:gd name="T31" fmla="*/ 27 h 44"/>
              <a:gd name="T32" fmla="*/ 1 w 36"/>
              <a:gd name="T33" fmla="*/ 34 h 44"/>
              <a:gd name="T34" fmla="*/ 5 w 36"/>
              <a:gd name="T35" fmla="*/ 40 h 44"/>
              <a:gd name="T36" fmla="*/ 9 w 36"/>
              <a:gd name="T37" fmla="*/ 42 h 44"/>
              <a:gd name="T38" fmla="*/ 12 w 36"/>
              <a:gd name="T3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 h="44">
                <a:moveTo>
                  <a:pt x="12" y="44"/>
                </a:moveTo>
                <a:lnTo>
                  <a:pt x="12" y="44"/>
                </a:lnTo>
                <a:lnTo>
                  <a:pt x="27" y="42"/>
                </a:lnTo>
                <a:lnTo>
                  <a:pt x="36" y="40"/>
                </a:lnTo>
                <a:lnTo>
                  <a:pt x="36" y="3"/>
                </a:lnTo>
                <a:lnTo>
                  <a:pt x="36" y="3"/>
                </a:lnTo>
                <a:lnTo>
                  <a:pt x="16" y="0"/>
                </a:lnTo>
                <a:lnTo>
                  <a:pt x="16" y="0"/>
                </a:lnTo>
                <a:lnTo>
                  <a:pt x="11" y="0"/>
                </a:lnTo>
                <a:lnTo>
                  <a:pt x="7" y="2"/>
                </a:lnTo>
                <a:lnTo>
                  <a:pt x="3" y="3"/>
                </a:lnTo>
                <a:lnTo>
                  <a:pt x="1" y="7"/>
                </a:lnTo>
                <a:lnTo>
                  <a:pt x="0" y="13"/>
                </a:lnTo>
                <a:lnTo>
                  <a:pt x="0" y="16"/>
                </a:lnTo>
                <a:lnTo>
                  <a:pt x="0" y="27"/>
                </a:lnTo>
                <a:lnTo>
                  <a:pt x="0" y="27"/>
                </a:lnTo>
                <a:lnTo>
                  <a:pt x="1" y="34"/>
                </a:lnTo>
                <a:lnTo>
                  <a:pt x="5" y="40"/>
                </a:lnTo>
                <a:lnTo>
                  <a:pt x="9" y="42"/>
                </a:lnTo>
                <a:lnTo>
                  <a:pt x="12" y="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0" name="Freeform 41"/>
          <p:cNvSpPr>
            <a:spLocks/>
          </p:cNvSpPr>
          <p:nvPr userDrawn="1"/>
        </p:nvSpPr>
        <p:spPr bwMode="auto">
          <a:xfrm>
            <a:off x="8262938" y="-928265"/>
            <a:ext cx="44450" cy="41275"/>
          </a:xfrm>
          <a:custGeom>
            <a:avLst/>
            <a:gdLst>
              <a:gd name="T0" fmla="*/ 55 w 55"/>
              <a:gd name="T1" fmla="*/ 38 h 53"/>
              <a:gd name="T2" fmla="*/ 55 w 55"/>
              <a:gd name="T3" fmla="*/ 27 h 53"/>
              <a:gd name="T4" fmla="*/ 55 w 55"/>
              <a:gd name="T5" fmla="*/ 7 h 53"/>
              <a:gd name="T6" fmla="*/ 55 w 55"/>
              <a:gd name="T7" fmla="*/ 1 h 53"/>
              <a:gd name="T8" fmla="*/ 53 w 55"/>
              <a:gd name="T9" fmla="*/ 0 h 53"/>
              <a:gd name="T10" fmla="*/ 46 w 55"/>
              <a:gd name="T11" fmla="*/ 0 h 53"/>
              <a:gd name="T12" fmla="*/ 40 w 55"/>
              <a:gd name="T13" fmla="*/ 0 h 53"/>
              <a:gd name="T14" fmla="*/ 29 w 55"/>
              <a:gd name="T15" fmla="*/ 0 h 53"/>
              <a:gd name="T16" fmla="*/ 28 w 55"/>
              <a:gd name="T17" fmla="*/ 7 h 53"/>
              <a:gd name="T18" fmla="*/ 26 w 55"/>
              <a:gd name="T19" fmla="*/ 0 h 53"/>
              <a:gd name="T20" fmla="*/ 17 w 55"/>
              <a:gd name="T21" fmla="*/ 0 h 53"/>
              <a:gd name="T22" fmla="*/ 11 w 55"/>
              <a:gd name="T23" fmla="*/ 0 h 53"/>
              <a:gd name="T24" fmla="*/ 4 w 55"/>
              <a:gd name="T25" fmla="*/ 0 h 53"/>
              <a:gd name="T26" fmla="*/ 2 w 55"/>
              <a:gd name="T27" fmla="*/ 1 h 53"/>
              <a:gd name="T28" fmla="*/ 0 w 55"/>
              <a:gd name="T29" fmla="*/ 7 h 53"/>
              <a:gd name="T30" fmla="*/ 0 w 55"/>
              <a:gd name="T31" fmla="*/ 27 h 53"/>
              <a:gd name="T32" fmla="*/ 0 w 55"/>
              <a:gd name="T33" fmla="*/ 49 h 53"/>
              <a:gd name="T34" fmla="*/ 6 w 55"/>
              <a:gd name="T35" fmla="*/ 49 h 53"/>
              <a:gd name="T36" fmla="*/ 9 w 55"/>
              <a:gd name="T37" fmla="*/ 47 h 53"/>
              <a:gd name="T38" fmla="*/ 13 w 55"/>
              <a:gd name="T39" fmla="*/ 40 h 53"/>
              <a:gd name="T40" fmla="*/ 13 w 55"/>
              <a:gd name="T41" fmla="*/ 53 h 53"/>
              <a:gd name="T42" fmla="*/ 17 w 55"/>
              <a:gd name="T43" fmla="*/ 53 h 53"/>
              <a:gd name="T44" fmla="*/ 24 w 55"/>
              <a:gd name="T45" fmla="*/ 49 h 53"/>
              <a:gd name="T46" fmla="*/ 26 w 55"/>
              <a:gd name="T47" fmla="*/ 43 h 53"/>
              <a:gd name="T48" fmla="*/ 28 w 55"/>
              <a:gd name="T49" fmla="*/ 40 h 53"/>
              <a:gd name="T50" fmla="*/ 28 w 55"/>
              <a:gd name="T51" fmla="*/ 53 h 53"/>
              <a:gd name="T52" fmla="*/ 39 w 55"/>
              <a:gd name="T53" fmla="*/ 49 h 53"/>
              <a:gd name="T54" fmla="*/ 42 w 55"/>
              <a:gd name="T55" fmla="*/ 43 h 53"/>
              <a:gd name="T56" fmla="*/ 42 w 55"/>
              <a:gd name="T57" fmla="*/ 40 h 53"/>
              <a:gd name="T58" fmla="*/ 42 w 55"/>
              <a:gd name="T59" fmla="*/ 49 h 53"/>
              <a:gd name="T60" fmla="*/ 46 w 55"/>
              <a:gd name="T61" fmla="*/ 47 h 53"/>
              <a:gd name="T62" fmla="*/ 51 w 55"/>
              <a:gd name="T63" fmla="*/ 45 h 53"/>
              <a:gd name="T64" fmla="*/ 55 w 55"/>
              <a:gd name="T65" fmla="*/ 38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5" h="53">
                <a:moveTo>
                  <a:pt x="55" y="38"/>
                </a:moveTo>
                <a:lnTo>
                  <a:pt x="55" y="38"/>
                </a:lnTo>
                <a:lnTo>
                  <a:pt x="55" y="27"/>
                </a:lnTo>
                <a:lnTo>
                  <a:pt x="55" y="27"/>
                </a:lnTo>
                <a:lnTo>
                  <a:pt x="55" y="7"/>
                </a:lnTo>
                <a:lnTo>
                  <a:pt x="55" y="7"/>
                </a:lnTo>
                <a:lnTo>
                  <a:pt x="55" y="3"/>
                </a:lnTo>
                <a:lnTo>
                  <a:pt x="55" y="1"/>
                </a:lnTo>
                <a:lnTo>
                  <a:pt x="53" y="0"/>
                </a:lnTo>
                <a:lnTo>
                  <a:pt x="53" y="0"/>
                </a:lnTo>
                <a:lnTo>
                  <a:pt x="46" y="0"/>
                </a:lnTo>
                <a:lnTo>
                  <a:pt x="46" y="0"/>
                </a:lnTo>
                <a:lnTo>
                  <a:pt x="42" y="7"/>
                </a:lnTo>
                <a:lnTo>
                  <a:pt x="40" y="0"/>
                </a:lnTo>
                <a:lnTo>
                  <a:pt x="40" y="0"/>
                </a:lnTo>
                <a:lnTo>
                  <a:pt x="29" y="0"/>
                </a:lnTo>
                <a:lnTo>
                  <a:pt x="29" y="0"/>
                </a:lnTo>
                <a:lnTo>
                  <a:pt x="28" y="7"/>
                </a:lnTo>
                <a:lnTo>
                  <a:pt x="26" y="0"/>
                </a:lnTo>
                <a:lnTo>
                  <a:pt x="26" y="0"/>
                </a:lnTo>
                <a:lnTo>
                  <a:pt x="17" y="0"/>
                </a:lnTo>
                <a:lnTo>
                  <a:pt x="17" y="0"/>
                </a:lnTo>
                <a:lnTo>
                  <a:pt x="13" y="7"/>
                </a:lnTo>
                <a:lnTo>
                  <a:pt x="11" y="0"/>
                </a:lnTo>
                <a:lnTo>
                  <a:pt x="11" y="0"/>
                </a:lnTo>
                <a:lnTo>
                  <a:pt x="4" y="0"/>
                </a:lnTo>
                <a:lnTo>
                  <a:pt x="4" y="0"/>
                </a:lnTo>
                <a:lnTo>
                  <a:pt x="2" y="1"/>
                </a:lnTo>
                <a:lnTo>
                  <a:pt x="0" y="3"/>
                </a:lnTo>
                <a:lnTo>
                  <a:pt x="0" y="7"/>
                </a:lnTo>
                <a:lnTo>
                  <a:pt x="0" y="7"/>
                </a:lnTo>
                <a:lnTo>
                  <a:pt x="0" y="27"/>
                </a:lnTo>
                <a:lnTo>
                  <a:pt x="0" y="27"/>
                </a:lnTo>
                <a:lnTo>
                  <a:pt x="0" y="49"/>
                </a:lnTo>
                <a:lnTo>
                  <a:pt x="0" y="49"/>
                </a:lnTo>
                <a:lnTo>
                  <a:pt x="6" y="49"/>
                </a:lnTo>
                <a:lnTo>
                  <a:pt x="9" y="47"/>
                </a:lnTo>
                <a:lnTo>
                  <a:pt x="9" y="47"/>
                </a:lnTo>
                <a:lnTo>
                  <a:pt x="11" y="42"/>
                </a:lnTo>
                <a:lnTo>
                  <a:pt x="13" y="40"/>
                </a:lnTo>
                <a:lnTo>
                  <a:pt x="13" y="40"/>
                </a:lnTo>
                <a:lnTo>
                  <a:pt x="13" y="53"/>
                </a:lnTo>
                <a:lnTo>
                  <a:pt x="13" y="53"/>
                </a:lnTo>
                <a:lnTo>
                  <a:pt x="17" y="53"/>
                </a:lnTo>
                <a:lnTo>
                  <a:pt x="20" y="51"/>
                </a:lnTo>
                <a:lnTo>
                  <a:pt x="24" y="49"/>
                </a:lnTo>
                <a:lnTo>
                  <a:pt x="24" y="49"/>
                </a:lnTo>
                <a:lnTo>
                  <a:pt x="26" y="43"/>
                </a:lnTo>
                <a:lnTo>
                  <a:pt x="28" y="40"/>
                </a:lnTo>
                <a:lnTo>
                  <a:pt x="28" y="40"/>
                </a:lnTo>
                <a:lnTo>
                  <a:pt x="28" y="53"/>
                </a:lnTo>
                <a:lnTo>
                  <a:pt x="28" y="53"/>
                </a:lnTo>
                <a:lnTo>
                  <a:pt x="33" y="51"/>
                </a:lnTo>
                <a:lnTo>
                  <a:pt x="39" y="49"/>
                </a:lnTo>
                <a:lnTo>
                  <a:pt x="39" y="49"/>
                </a:lnTo>
                <a:lnTo>
                  <a:pt x="42" y="43"/>
                </a:lnTo>
                <a:lnTo>
                  <a:pt x="42" y="40"/>
                </a:lnTo>
                <a:lnTo>
                  <a:pt x="42" y="40"/>
                </a:lnTo>
                <a:lnTo>
                  <a:pt x="42" y="49"/>
                </a:lnTo>
                <a:lnTo>
                  <a:pt x="42" y="49"/>
                </a:lnTo>
                <a:lnTo>
                  <a:pt x="46" y="47"/>
                </a:lnTo>
                <a:lnTo>
                  <a:pt x="46" y="47"/>
                </a:lnTo>
                <a:lnTo>
                  <a:pt x="51" y="45"/>
                </a:lnTo>
                <a:lnTo>
                  <a:pt x="51" y="45"/>
                </a:lnTo>
                <a:lnTo>
                  <a:pt x="53" y="43"/>
                </a:lnTo>
                <a:lnTo>
                  <a:pt x="55" y="3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1" name="Freeform 42"/>
          <p:cNvSpPr>
            <a:spLocks/>
          </p:cNvSpPr>
          <p:nvPr userDrawn="1"/>
        </p:nvSpPr>
        <p:spPr bwMode="auto">
          <a:xfrm>
            <a:off x="8269288" y="-926678"/>
            <a:ext cx="53975" cy="60325"/>
          </a:xfrm>
          <a:custGeom>
            <a:avLst/>
            <a:gdLst>
              <a:gd name="T0" fmla="*/ 67 w 67"/>
              <a:gd name="T1" fmla="*/ 57 h 77"/>
              <a:gd name="T2" fmla="*/ 67 w 67"/>
              <a:gd name="T3" fmla="*/ 44 h 77"/>
              <a:gd name="T4" fmla="*/ 67 w 67"/>
              <a:gd name="T5" fmla="*/ 44 h 77"/>
              <a:gd name="T6" fmla="*/ 65 w 67"/>
              <a:gd name="T7" fmla="*/ 42 h 77"/>
              <a:gd name="T8" fmla="*/ 63 w 67"/>
              <a:gd name="T9" fmla="*/ 37 h 77"/>
              <a:gd name="T10" fmla="*/ 63 w 67"/>
              <a:gd name="T11" fmla="*/ 30 h 77"/>
              <a:gd name="T12" fmla="*/ 63 w 67"/>
              <a:gd name="T13" fmla="*/ 30 h 77"/>
              <a:gd name="T14" fmla="*/ 63 w 67"/>
              <a:gd name="T15" fmla="*/ 26 h 77"/>
              <a:gd name="T16" fmla="*/ 65 w 67"/>
              <a:gd name="T17" fmla="*/ 21 h 77"/>
              <a:gd name="T18" fmla="*/ 67 w 67"/>
              <a:gd name="T19" fmla="*/ 17 h 77"/>
              <a:gd name="T20" fmla="*/ 67 w 67"/>
              <a:gd name="T21" fmla="*/ 6 h 77"/>
              <a:gd name="T22" fmla="*/ 67 w 67"/>
              <a:gd name="T23" fmla="*/ 6 h 77"/>
              <a:gd name="T24" fmla="*/ 63 w 67"/>
              <a:gd name="T25" fmla="*/ 2 h 77"/>
              <a:gd name="T26" fmla="*/ 60 w 67"/>
              <a:gd name="T27" fmla="*/ 0 h 77"/>
              <a:gd name="T28" fmla="*/ 56 w 67"/>
              <a:gd name="T29" fmla="*/ 0 h 77"/>
              <a:gd name="T30" fmla="*/ 56 w 67"/>
              <a:gd name="T31" fmla="*/ 41 h 77"/>
              <a:gd name="T32" fmla="*/ 56 w 67"/>
              <a:gd name="T33" fmla="*/ 41 h 77"/>
              <a:gd name="T34" fmla="*/ 54 w 67"/>
              <a:gd name="T35" fmla="*/ 46 h 77"/>
              <a:gd name="T36" fmla="*/ 51 w 67"/>
              <a:gd name="T37" fmla="*/ 52 h 77"/>
              <a:gd name="T38" fmla="*/ 45 w 67"/>
              <a:gd name="T39" fmla="*/ 55 h 77"/>
              <a:gd name="T40" fmla="*/ 38 w 67"/>
              <a:gd name="T41" fmla="*/ 57 h 77"/>
              <a:gd name="T42" fmla="*/ 38 w 67"/>
              <a:gd name="T43" fmla="*/ 57 h 77"/>
              <a:gd name="T44" fmla="*/ 23 w 67"/>
              <a:gd name="T45" fmla="*/ 59 h 77"/>
              <a:gd name="T46" fmla="*/ 10 w 67"/>
              <a:gd name="T47" fmla="*/ 61 h 77"/>
              <a:gd name="T48" fmla="*/ 0 w 67"/>
              <a:gd name="T49" fmla="*/ 61 h 77"/>
              <a:gd name="T50" fmla="*/ 0 w 67"/>
              <a:gd name="T51" fmla="*/ 61 h 77"/>
              <a:gd name="T52" fmla="*/ 1 w 67"/>
              <a:gd name="T53" fmla="*/ 70 h 77"/>
              <a:gd name="T54" fmla="*/ 1 w 67"/>
              <a:gd name="T55" fmla="*/ 70 h 77"/>
              <a:gd name="T56" fmla="*/ 5 w 67"/>
              <a:gd name="T57" fmla="*/ 75 h 77"/>
              <a:gd name="T58" fmla="*/ 7 w 67"/>
              <a:gd name="T59" fmla="*/ 77 h 77"/>
              <a:gd name="T60" fmla="*/ 54 w 67"/>
              <a:gd name="T61" fmla="*/ 77 h 77"/>
              <a:gd name="T62" fmla="*/ 67 w 67"/>
              <a:gd name="T63" fmla="*/ 5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7" h="77">
                <a:moveTo>
                  <a:pt x="67" y="57"/>
                </a:moveTo>
                <a:lnTo>
                  <a:pt x="67" y="44"/>
                </a:lnTo>
                <a:lnTo>
                  <a:pt x="67" y="44"/>
                </a:lnTo>
                <a:lnTo>
                  <a:pt x="65" y="42"/>
                </a:lnTo>
                <a:lnTo>
                  <a:pt x="63" y="37"/>
                </a:lnTo>
                <a:lnTo>
                  <a:pt x="63" y="30"/>
                </a:lnTo>
                <a:lnTo>
                  <a:pt x="63" y="30"/>
                </a:lnTo>
                <a:lnTo>
                  <a:pt x="63" y="26"/>
                </a:lnTo>
                <a:lnTo>
                  <a:pt x="65" y="21"/>
                </a:lnTo>
                <a:lnTo>
                  <a:pt x="67" y="17"/>
                </a:lnTo>
                <a:lnTo>
                  <a:pt x="67" y="6"/>
                </a:lnTo>
                <a:lnTo>
                  <a:pt x="67" y="6"/>
                </a:lnTo>
                <a:lnTo>
                  <a:pt x="63" y="2"/>
                </a:lnTo>
                <a:lnTo>
                  <a:pt x="60" y="0"/>
                </a:lnTo>
                <a:lnTo>
                  <a:pt x="56" y="0"/>
                </a:lnTo>
                <a:lnTo>
                  <a:pt x="56" y="41"/>
                </a:lnTo>
                <a:lnTo>
                  <a:pt x="56" y="41"/>
                </a:lnTo>
                <a:lnTo>
                  <a:pt x="54" y="46"/>
                </a:lnTo>
                <a:lnTo>
                  <a:pt x="51" y="52"/>
                </a:lnTo>
                <a:lnTo>
                  <a:pt x="45" y="55"/>
                </a:lnTo>
                <a:lnTo>
                  <a:pt x="38" y="57"/>
                </a:lnTo>
                <a:lnTo>
                  <a:pt x="38" y="57"/>
                </a:lnTo>
                <a:lnTo>
                  <a:pt x="23" y="59"/>
                </a:lnTo>
                <a:lnTo>
                  <a:pt x="10" y="61"/>
                </a:lnTo>
                <a:lnTo>
                  <a:pt x="0" y="61"/>
                </a:lnTo>
                <a:lnTo>
                  <a:pt x="0" y="61"/>
                </a:lnTo>
                <a:lnTo>
                  <a:pt x="1" y="70"/>
                </a:lnTo>
                <a:lnTo>
                  <a:pt x="1" y="70"/>
                </a:lnTo>
                <a:lnTo>
                  <a:pt x="5" y="75"/>
                </a:lnTo>
                <a:lnTo>
                  <a:pt x="7" y="77"/>
                </a:lnTo>
                <a:lnTo>
                  <a:pt x="54" y="77"/>
                </a:lnTo>
                <a:lnTo>
                  <a:pt x="67" y="5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2" name="Freeform 43"/>
          <p:cNvSpPr>
            <a:spLocks/>
          </p:cNvSpPr>
          <p:nvPr userDrawn="1"/>
        </p:nvSpPr>
        <p:spPr bwMode="auto">
          <a:xfrm>
            <a:off x="8272463" y="-858415"/>
            <a:ext cx="42863" cy="14288"/>
          </a:xfrm>
          <a:custGeom>
            <a:avLst/>
            <a:gdLst>
              <a:gd name="T0" fmla="*/ 4 w 55"/>
              <a:gd name="T1" fmla="*/ 19 h 19"/>
              <a:gd name="T2" fmla="*/ 51 w 55"/>
              <a:gd name="T3" fmla="*/ 19 h 19"/>
              <a:gd name="T4" fmla="*/ 51 w 55"/>
              <a:gd name="T5" fmla="*/ 19 h 19"/>
              <a:gd name="T6" fmla="*/ 55 w 55"/>
              <a:gd name="T7" fmla="*/ 9 h 19"/>
              <a:gd name="T8" fmla="*/ 53 w 55"/>
              <a:gd name="T9" fmla="*/ 0 h 19"/>
              <a:gd name="T10" fmla="*/ 4 w 55"/>
              <a:gd name="T11" fmla="*/ 0 h 19"/>
              <a:gd name="T12" fmla="*/ 0 w 55"/>
              <a:gd name="T13" fmla="*/ 9 h 19"/>
              <a:gd name="T14" fmla="*/ 4 w 55"/>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19">
                <a:moveTo>
                  <a:pt x="4" y="19"/>
                </a:moveTo>
                <a:lnTo>
                  <a:pt x="51" y="19"/>
                </a:lnTo>
                <a:lnTo>
                  <a:pt x="51" y="19"/>
                </a:lnTo>
                <a:lnTo>
                  <a:pt x="55" y="9"/>
                </a:lnTo>
                <a:lnTo>
                  <a:pt x="53" y="0"/>
                </a:lnTo>
                <a:lnTo>
                  <a:pt x="4" y="0"/>
                </a:lnTo>
                <a:lnTo>
                  <a:pt x="0" y="9"/>
                </a:lnTo>
                <a:lnTo>
                  <a:pt x="4" y="1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3" name="Freeform 44"/>
          <p:cNvSpPr>
            <a:spLocks/>
          </p:cNvSpPr>
          <p:nvPr userDrawn="1"/>
        </p:nvSpPr>
        <p:spPr bwMode="auto">
          <a:xfrm>
            <a:off x="8274050" y="-837778"/>
            <a:ext cx="44450" cy="50800"/>
          </a:xfrm>
          <a:custGeom>
            <a:avLst/>
            <a:gdLst>
              <a:gd name="T0" fmla="*/ 47 w 55"/>
              <a:gd name="T1" fmla="*/ 0 h 64"/>
              <a:gd name="T2" fmla="*/ 0 w 55"/>
              <a:gd name="T3" fmla="*/ 0 h 64"/>
              <a:gd name="T4" fmla="*/ 0 w 55"/>
              <a:gd name="T5" fmla="*/ 62 h 64"/>
              <a:gd name="T6" fmla="*/ 42 w 55"/>
              <a:gd name="T7" fmla="*/ 64 h 64"/>
              <a:gd name="T8" fmla="*/ 55 w 55"/>
              <a:gd name="T9" fmla="*/ 53 h 64"/>
              <a:gd name="T10" fmla="*/ 47 w 55"/>
              <a:gd name="T11" fmla="*/ 0 h 64"/>
            </a:gdLst>
            <a:ahLst/>
            <a:cxnLst>
              <a:cxn ang="0">
                <a:pos x="T0" y="T1"/>
              </a:cxn>
              <a:cxn ang="0">
                <a:pos x="T2" y="T3"/>
              </a:cxn>
              <a:cxn ang="0">
                <a:pos x="T4" y="T5"/>
              </a:cxn>
              <a:cxn ang="0">
                <a:pos x="T6" y="T7"/>
              </a:cxn>
              <a:cxn ang="0">
                <a:pos x="T8" y="T9"/>
              </a:cxn>
              <a:cxn ang="0">
                <a:pos x="T10" y="T11"/>
              </a:cxn>
            </a:cxnLst>
            <a:rect l="0" t="0" r="r" b="b"/>
            <a:pathLst>
              <a:path w="55" h="64">
                <a:moveTo>
                  <a:pt x="47" y="0"/>
                </a:moveTo>
                <a:lnTo>
                  <a:pt x="0" y="0"/>
                </a:lnTo>
                <a:lnTo>
                  <a:pt x="0" y="62"/>
                </a:lnTo>
                <a:lnTo>
                  <a:pt x="42" y="64"/>
                </a:lnTo>
                <a:lnTo>
                  <a:pt x="55" y="53"/>
                </a:lnTo>
                <a:lnTo>
                  <a:pt x="4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4" name="Freeform 45"/>
          <p:cNvSpPr>
            <a:spLocks/>
          </p:cNvSpPr>
          <p:nvPr userDrawn="1"/>
        </p:nvSpPr>
        <p:spPr bwMode="auto">
          <a:xfrm>
            <a:off x="8274050" y="-788565"/>
            <a:ext cx="57150" cy="50800"/>
          </a:xfrm>
          <a:custGeom>
            <a:avLst/>
            <a:gdLst>
              <a:gd name="T0" fmla="*/ 73 w 73"/>
              <a:gd name="T1" fmla="*/ 16 h 64"/>
              <a:gd name="T2" fmla="*/ 73 w 73"/>
              <a:gd name="T3" fmla="*/ 16 h 64"/>
              <a:gd name="T4" fmla="*/ 64 w 73"/>
              <a:gd name="T5" fmla="*/ 9 h 64"/>
              <a:gd name="T6" fmla="*/ 64 w 73"/>
              <a:gd name="T7" fmla="*/ 9 h 64"/>
              <a:gd name="T8" fmla="*/ 62 w 73"/>
              <a:gd name="T9" fmla="*/ 0 h 64"/>
              <a:gd name="T10" fmla="*/ 48 w 73"/>
              <a:gd name="T11" fmla="*/ 11 h 64"/>
              <a:gd name="T12" fmla="*/ 0 w 73"/>
              <a:gd name="T13" fmla="*/ 11 h 64"/>
              <a:gd name="T14" fmla="*/ 0 w 73"/>
              <a:gd name="T15" fmla="*/ 11 h 64"/>
              <a:gd name="T16" fmla="*/ 0 w 73"/>
              <a:gd name="T17" fmla="*/ 27 h 64"/>
              <a:gd name="T18" fmla="*/ 0 w 73"/>
              <a:gd name="T19" fmla="*/ 45 h 64"/>
              <a:gd name="T20" fmla="*/ 0 w 73"/>
              <a:gd name="T21" fmla="*/ 45 h 64"/>
              <a:gd name="T22" fmla="*/ 11 w 73"/>
              <a:gd name="T23" fmla="*/ 55 h 64"/>
              <a:gd name="T24" fmla="*/ 24 w 73"/>
              <a:gd name="T25" fmla="*/ 64 h 64"/>
              <a:gd name="T26" fmla="*/ 55 w 73"/>
              <a:gd name="T27" fmla="*/ 25 h 64"/>
              <a:gd name="T28" fmla="*/ 73 w 73"/>
              <a:gd name="T29"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64">
                <a:moveTo>
                  <a:pt x="73" y="16"/>
                </a:moveTo>
                <a:lnTo>
                  <a:pt x="73" y="16"/>
                </a:lnTo>
                <a:lnTo>
                  <a:pt x="64" y="9"/>
                </a:lnTo>
                <a:lnTo>
                  <a:pt x="64" y="9"/>
                </a:lnTo>
                <a:lnTo>
                  <a:pt x="62" y="0"/>
                </a:lnTo>
                <a:lnTo>
                  <a:pt x="48" y="11"/>
                </a:lnTo>
                <a:lnTo>
                  <a:pt x="0" y="11"/>
                </a:lnTo>
                <a:lnTo>
                  <a:pt x="0" y="11"/>
                </a:lnTo>
                <a:lnTo>
                  <a:pt x="0" y="27"/>
                </a:lnTo>
                <a:lnTo>
                  <a:pt x="0" y="45"/>
                </a:lnTo>
                <a:lnTo>
                  <a:pt x="0" y="45"/>
                </a:lnTo>
                <a:lnTo>
                  <a:pt x="11" y="55"/>
                </a:lnTo>
                <a:lnTo>
                  <a:pt x="24" y="64"/>
                </a:lnTo>
                <a:lnTo>
                  <a:pt x="55" y="25"/>
                </a:lnTo>
                <a:lnTo>
                  <a:pt x="73"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5" name="Freeform 46"/>
          <p:cNvSpPr>
            <a:spLocks/>
          </p:cNvSpPr>
          <p:nvPr userDrawn="1"/>
        </p:nvSpPr>
        <p:spPr bwMode="auto">
          <a:xfrm>
            <a:off x="8301038" y="-769515"/>
            <a:ext cx="85725" cy="50800"/>
          </a:xfrm>
          <a:custGeom>
            <a:avLst/>
            <a:gdLst>
              <a:gd name="T0" fmla="*/ 27 w 108"/>
              <a:gd name="T1" fmla="*/ 7 h 63"/>
              <a:gd name="T2" fmla="*/ 0 w 108"/>
              <a:gd name="T3" fmla="*/ 43 h 63"/>
              <a:gd name="T4" fmla="*/ 45 w 108"/>
              <a:gd name="T5" fmla="*/ 63 h 63"/>
              <a:gd name="T6" fmla="*/ 45 w 108"/>
              <a:gd name="T7" fmla="*/ 63 h 63"/>
              <a:gd name="T8" fmla="*/ 65 w 108"/>
              <a:gd name="T9" fmla="*/ 51 h 63"/>
              <a:gd name="T10" fmla="*/ 86 w 108"/>
              <a:gd name="T11" fmla="*/ 38 h 63"/>
              <a:gd name="T12" fmla="*/ 108 w 108"/>
              <a:gd name="T13" fmla="*/ 23 h 63"/>
              <a:gd name="T14" fmla="*/ 44 w 108"/>
              <a:gd name="T15" fmla="*/ 0 h 63"/>
              <a:gd name="T16" fmla="*/ 27 w 108"/>
              <a:gd name="T17" fmla="*/ 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63">
                <a:moveTo>
                  <a:pt x="27" y="7"/>
                </a:moveTo>
                <a:lnTo>
                  <a:pt x="0" y="43"/>
                </a:lnTo>
                <a:lnTo>
                  <a:pt x="45" y="63"/>
                </a:lnTo>
                <a:lnTo>
                  <a:pt x="45" y="63"/>
                </a:lnTo>
                <a:lnTo>
                  <a:pt x="65" y="51"/>
                </a:lnTo>
                <a:lnTo>
                  <a:pt x="86" y="38"/>
                </a:lnTo>
                <a:lnTo>
                  <a:pt x="108" y="23"/>
                </a:lnTo>
                <a:lnTo>
                  <a:pt x="44" y="0"/>
                </a:lnTo>
                <a:lnTo>
                  <a:pt x="2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6" name="Freeform 47"/>
          <p:cNvSpPr>
            <a:spLocks/>
          </p:cNvSpPr>
          <p:nvPr userDrawn="1"/>
        </p:nvSpPr>
        <p:spPr bwMode="auto">
          <a:xfrm>
            <a:off x="8324850" y="-952078"/>
            <a:ext cx="22225" cy="93663"/>
          </a:xfrm>
          <a:custGeom>
            <a:avLst/>
            <a:gdLst>
              <a:gd name="T0" fmla="*/ 22 w 27"/>
              <a:gd name="T1" fmla="*/ 50 h 117"/>
              <a:gd name="T2" fmla="*/ 22 w 27"/>
              <a:gd name="T3" fmla="*/ 50 h 117"/>
              <a:gd name="T4" fmla="*/ 22 w 27"/>
              <a:gd name="T5" fmla="*/ 11 h 117"/>
              <a:gd name="T6" fmla="*/ 22 w 27"/>
              <a:gd name="T7" fmla="*/ 11 h 117"/>
              <a:gd name="T8" fmla="*/ 24 w 27"/>
              <a:gd name="T9" fmla="*/ 8 h 117"/>
              <a:gd name="T10" fmla="*/ 24 w 27"/>
              <a:gd name="T11" fmla="*/ 8 h 117"/>
              <a:gd name="T12" fmla="*/ 24 w 27"/>
              <a:gd name="T13" fmla="*/ 4 h 117"/>
              <a:gd name="T14" fmla="*/ 24 w 27"/>
              <a:gd name="T15" fmla="*/ 0 h 117"/>
              <a:gd name="T16" fmla="*/ 2 w 27"/>
              <a:gd name="T17" fmla="*/ 0 h 117"/>
              <a:gd name="T18" fmla="*/ 2 w 27"/>
              <a:gd name="T19" fmla="*/ 0 h 117"/>
              <a:gd name="T20" fmla="*/ 2 w 27"/>
              <a:gd name="T21" fmla="*/ 6 h 117"/>
              <a:gd name="T22" fmla="*/ 2 w 27"/>
              <a:gd name="T23" fmla="*/ 6 h 117"/>
              <a:gd name="T24" fmla="*/ 2 w 27"/>
              <a:gd name="T25" fmla="*/ 9 h 117"/>
              <a:gd name="T26" fmla="*/ 3 w 27"/>
              <a:gd name="T27" fmla="*/ 11 h 117"/>
              <a:gd name="T28" fmla="*/ 3 w 27"/>
              <a:gd name="T29" fmla="*/ 50 h 117"/>
              <a:gd name="T30" fmla="*/ 3 w 27"/>
              <a:gd name="T31" fmla="*/ 50 h 117"/>
              <a:gd name="T32" fmla="*/ 2 w 27"/>
              <a:gd name="T33" fmla="*/ 52 h 117"/>
              <a:gd name="T34" fmla="*/ 0 w 27"/>
              <a:gd name="T35" fmla="*/ 61 h 117"/>
              <a:gd name="T36" fmla="*/ 0 w 27"/>
              <a:gd name="T37" fmla="*/ 61 h 117"/>
              <a:gd name="T38" fmla="*/ 0 w 27"/>
              <a:gd name="T39" fmla="*/ 66 h 117"/>
              <a:gd name="T40" fmla="*/ 2 w 27"/>
              <a:gd name="T41" fmla="*/ 72 h 117"/>
              <a:gd name="T42" fmla="*/ 5 w 27"/>
              <a:gd name="T43" fmla="*/ 75 h 117"/>
              <a:gd name="T44" fmla="*/ 3 w 27"/>
              <a:gd name="T45" fmla="*/ 106 h 117"/>
              <a:gd name="T46" fmla="*/ 3 w 27"/>
              <a:gd name="T47" fmla="*/ 106 h 117"/>
              <a:gd name="T48" fmla="*/ 3 w 27"/>
              <a:gd name="T49" fmla="*/ 108 h 117"/>
              <a:gd name="T50" fmla="*/ 2 w 27"/>
              <a:gd name="T51" fmla="*/ 112 h 117"/>
              <a:gd name="T52" fmla="*/ 2 w 27"/>
              <a:gd name="T53" fmla="*/ 112 h 117"/>
              <a:gd name="T54" fmla="*/ 2 w 27"/>
              <a:gd name="T55" fmla="*/ 117 h 117"/>
              <a:gd name="T56" fmla="*/ 24 w 27"/>
              <a:gd name="T57" fmla="*/ 117 h 117"/>
              <a:gd name="T58" fmla="*/ 24 w 27"/>
              <a:gd name="T59" fmla="*/ 117 h 117"/>
              <a:gd name="T60" fmla="*/ 24 w 27"/>
              <a:gd name="T61" fmla="*/ 110 h 117"/>
              <a:gd name="T62" fmla="*/ 24 w 27"/>
              <a:gd name="T63" fmla="*/ 110 h 117"/>
              <a:gd name="T64" fmla="*/ 22 w 27"/>
              <a:gd name="T65" fmla="*/ 106 h 117"/>
              <a:gd name="T66" fmla="*/ 22 w 27"/>
              <a:gd name="T67" fmla="*/ 75 h 117"/>
              <a:gd name="T68" fmla="*/ 22 w 27"/>
              <a:gd name="T69" fmla="*/ 75 h 117"/>
              <a:gd name="T70" fmla="*/ 25 w 27"/>
              <a:gd name="T71" fmla="*/ 70 h 117"/>
              <a:gd name="T72" fmla="*/ 25 w 27"/>
              <a:gd name="T73" fmla="*/ 66 h 117"/>
              <a:gd name="T74" fmla="*/ 27 w 27"/>
              <a:gd name="T75" fmla="*/ 62 h 117"/>
              <a:gd name="T76" fmla="*/ 27 w 27"/>
              <a:gd name="T77" fmla="*/ 62 h 117"/>
              <a:gd name="T78" fmla="*/ 24 w 27"/>
              <a:gd name="T79" fmla="*/ 53 h 117"/>
              <a:gd name="T80" fmla="*/ 22 w 27"/>
              <a:gd name="T81" fmla="*/ 5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7" h="117">
                <a:moveTo>
                  <a:pt x="22" y="50"/>
                </a:moveTo>
                <a:lnTo>
                  <a:pt x="22" y="50"/>
                </a:lnTo>
                <a:lnTo>
                  <a:pt x="22" y="11"/>
                </a:lnTo>
                <a:lnTo>
                  <a:pt x="22" y="11"/>
                </a:lnTo>
                <a:lnTo>
                  <a:pt x="24" y="8"/>
                </a:lnTo>
                <a:lnTo>
                  <a:pt x="24" y="8"/>
                </a:lnTo>
                <a:lnTo>
                  <a:pt x="24" y="4"/>
                </a:lnTo>
                <a:lnTo>
                  <a:pt x="24" y="0"/>
                </a:lnTo>
                <a:lnTo>
                  <a:pt x="2" y="0"/>
                </a:lnTo>
                <a:lnTo>
                  <a:pt x="2" y="0"/>
                </a:lnTo>
                <a:lnTo>
                  <a:pt x="2" y="6"/>
                </a:lnTo>
                <a:lnTo>
                  <a:pt x="2" y="6"/>
                </a:lnTo>
                <a:lnTo>
                  <a:pt x="2" y="9"/>
                </a:lnTo>
                <a:lnTo>
                  <a:pt x="3" y="11"/>
                </a:lnTo>
                <a:lnTo>
                  <a:pt x="3" y="50"/>
                </a:lnTo>
                <a:lnTo>
                  <a:pt x="3" y="50"/>
                </a:lnTo>
                <a:lnTo>
                  <a:pt x="2" y="52"/>
                </a:lnTo>
                <a:lnTo>
                  <a:pt x="0" y="61"/>
                </a:lnTo>
                <a:lnTo>
                  <a:pt x="0" y="61"/>
                </a:lnTo>
                <a:lnTo>
                  <a:pt x="0" y="66"/>
                </a:lnTo>
                <a:lnTo>
                  <a:pt x="2" y="72"/>
                </a:lnTo>
                <a:lnTo>
                  <a:pt x="5" y="75"/>
                </a:lnTo>
                <a:lnTo>
                  <a:pt x="3" y="106"/>
                </a:lnTo>
                <a:lnTo>
                  <a:pt x="3" y="106"/>
                </a:lnTo>
                <a:lnTo>
                  <a:pt x="3" y="108"/>
                </a:lnTo>
                <a:lnTo>
                  <a:pt x="2" y="112"/>
                </a:lnTo>
                <a:lnTo>
                  <a:pt x="2" y="112"/>
                </a:lnTo>
                <a:lnTo>
                  <a:pt x="2" y="117"/>
                </a:lnTo>
                <a:lnTo>
                  <a:pt x="24" y="117"/>
                </a:lnTo>
                <a:lnTo>
                  <a:pt x="24" y="117"/>
                </a:lnTo>
                <a:lnTo>
                  <a:pt x="24" y="110"/>
                </a:lnTo>
                <a:lnTo>
                  <a:pt x="24" y="110"/>
                </a:lnTo>
                <a:lnTo>
                  <a:pt x="22" y="106"/>
                </a:lnTo>
                <a:lnTo>
                  <a:pt x="22" y="75"/>
                </a:lnTo>
                <a:lnTo>
                  <a:pt x="22" y="75"/>
                </a:lnTo>
                <a:lnTo>
                  <a:pt x="25" y="70"/>
                </a:lnTo>
                <a:lnTo>
                  <a:pt x="25" y="66"/>
                </a:lnTo>
                <a:lnTo>
                  <a:pt x="27" y="62"/>
                </a:lnTo>
                <a:lnTo>
                  <a:pt x="27" y="62"/>
                </a:lnTo>
                <a:lnTo>
                  <a:pt x="24" y="53"/>
                </a:lnTo>
                <a:lnTo>
                  <a:pt x="22" y="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7" name="Freeform 48"/>
          <p:cNvSpPr>
            <a:spLocks/>
          </p:cNvSpPr>
          <p:nvPr userDrawn="1"/>
        </p:nvSpPr>
        <p:spPr bwMode="auto">
          <a:xfrm>
            <a:off x="8347075" y="-923503"/>
            <a:ext cx="60325" cy="42863"/>
          </a:xfrm>
          <a:custGeom>
            <a:avLst/>
            <a:gdLst>
              <a:gd name="T0" fmla="*/ 42 w 77"/>
              <a:gd name="T1" fmla="*/ 46 h 55"/>
              <a:gd name="T2" fmla="*/ 77 w 77"/>
              <a:gd name="T3" fmla="*/ 9 h 55"/>
              <a:gd name="T4" fmla="*/ 77 w 77"/>
              <a:gd name="T5" fmla="*/ 9 h 55"/>
              <a:gd name="T6" fmla="*/ 26 w 77"/>
              <a:gd name="T7" fmla="*/ 9 h 55"/>
              <a:gd name="T8" fmla="*/ 26 w 77"/>
              <a:gd name="T9" fmla="*/ 9 h 55"/>
              <a:gd name="T10" fmla="*/ 20 w 77"/>
              <a:gd name="T11" fmla="*/ 7 h 55"/>
              <a:gd name="T12" fmla="*/ 15 w 77"/>
              <a:gd name="T13" fmla="*/ 4 h 55"/>
              <a:gd name="T14" fmla="*/ 7 w 77"/>
              <a:gd name="T15" fmla="*/ 0 h 55"/>
              <a:gd name="T16" fmla="*/ 6 w 77"/>
              <a:gd name="T17" fmla="*/ 0 h 55"/>
              <a:gd name="T18" fmla="*/ 6 w 77"/>
              <a:gd name="T19" fmla="*/ 0 h 55"/>
              <a:gd name="T20" fmla="*/ 0 w 77"/>
              <a:gd name="T21" fmla="*/ 11 h 55"/>
              <a:gd name="T22" fmla="*/ 0 w 77"/>
              <a:gd name="T23" fmla="*/ 11 h 55"/>
              <a:gd name="T24" fmla="*/ 4 w 77"/>
              <a:gd name="T25" fmla="*/ 17 h 55"/>
              <a:gd name="T26" fmla="*/ 6 w 77"/>
              <a:gd name="T27" fmla="*/ 20 h 55"/>
              <a:gd name="T28" fmla="*/ 7 w 77"/>
              <a:gd name="T29" fmla="*/ 27 h 55"/>
              <a:gd name="T30" fmla="*/ 7 w 77"/>
              <a:gd name="T31" fmla="*/ 27 h 55"/>
              <a:gd name="T32" fmla="*/ 7 w 77"/>
              <a:gd name="T33" fmla="*/ 33 h 55"/>
              <a:gd name="T34" fmla="*/ 4 w 77"/>
              <a:gd name="T35" fmla="*/ 38 h 55"/>
              <a:gd name="T36" fmla="*/ 0 w 77"/>
              <a:gd name="T37" fmla="*/ 42 h 55"/>
              <a:gd name="T38" fmla="*/ 0 w 77"/>
              <a:gd name="T39" fmla="*/ 42 h 55"/>
              <a:gd name="T40" fmla="*/ 7 w 77"/>
              <a:gd name="T41" fmla="*/ 55 h 55"/>
              <a:gd name="T42" fmla="*/ 7 w 77"/>
              <a:gd name="T43" fmla="*/ 55 h 55"/>
              <a:gd name="T44" fmla="*/ 13 w 77"/>
              <a:gd name="T45" fmla="*/ 51 h 55"/>
              <a:gd name="T46" fmla="*/ 28 w 77"/>
              <a:gd name="T47" fmla="*/ 46 h 55"/>
              <a:gd name="T48" fmla="*/ 28 w 77"/>
              <a:gd name="T49" fmla="*/ 46 h 55"/>
              <a:gd name="T50" fmla="*/ 42 w 77"/>
              <a:gd name="T51" fmla="*/ 4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7" h="55">
                <a:moveTo>
                  <a:pt x="42" y="46"/>
                </a:moveTo>
                <a:lnTo>
                  <a:pt x="77" y="9"/>
                </a:lnTo>
                <a:lnTo>
                  <a:pt x="77" y="9"/>
                </a:lnTo>
                <a:lnTo>
                  <a:pt x="26" y="9"/>
                </a:lnTo>
                <a:lnTo>
                  <a:pt x="26" y="9"/>
                </a:lnTo>
                <a:lnTo>
                  <a:pt x="20" y="7"/>
                </a:lnTo>
                <a:lnTo>
                  <a:pt x="15" y="4"/>
                </a:lnTo>
                <a:lnTo>
                  <a:pt x="7" y="0"/>
                </a:lnTo>
                <a:lnTo>
                  <a:pt x="6" y="0"/>
                </a:lnTo>
                <a:lnTo>
                  <a:pt x="6" y="0"/>
                </a:lnTo>
                <a:lnTo>
                  <a:pt x="0" y="11"/>
                </a:lnTo>
                <a:lnTo>
                  <a:pt x="0" y="11"/>
                </a:lnTo>
                <a:lnTo>
                  <a:pt x="4" y="17"/>
                </a:lnTo>
                <a:lnTo>
                  <a:pt x="6" y="20"/>
                </a:lnTo>
                <a:lnTo>
                  <a:pt x="7" y="27"/>
                </a:lnTo>
                <a:lnTo>
                  <a:pt x="7" y="27"/>
                </a:lnTo>
                <a:lnTo>
                  <a:pt x="7" y="33"/>
                </a:lnTo>
                <a:lnTo>
                  <a:pt x="4" y="38"/>
                </a:lnTo>
                <a:lnTo>
                  <a:pt x="0" y="42"/>
                </a:lnTo>
                <a:lnTo>
                  <a:pt x="0" y="42"/>
                </a:lnTo>
                <a:lnTo>
                  <a:pt x="7" y="55"/>
                </a:lnTo>
                <a:lnTo>
                  <a:pt x="7" y="55"/>
                </a:lnTo>
                <a:lnTo>
                  <a:pt x="13" y="51"/>
                </a:lnTo>
                <a:lnTo>
                  <a:pt x="28" y="46"/>
                </a:lnTo>
                <a:lnTo>
                  <a:pt x="28" y="46"/>
                </a:lnTo>
                <a:lnTo>
                  <a:pt x="42" y="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8" name="Freeform 49"/>
          <p:cNvSpPr>
            <a:spLocks/>
          </p:cNvSpPr>
          <p:nvPr userDrawn="1"/>
        </p:nvSpPr>
        <p:spPr bwMode="auto">
          <a:xfrm>
            <a:off x="8423275" y="-982240"/>
            <a:ext cx="119063" cy="93663"/>
          </a:xfrm>
          <a:custGeom>
            <a:avLst/>
            <a:gdLst>
              <a:gd name="T0" fmla="*/ 152 w 152"/>
              <a:gd name="T1" fmla="*/ 60 h 119"/>
              <a:gd name="T2" fmla="*/ 148 w 152"/>
              <a:gd name="T3" fmla="*/ 58 h 119"/>
              <a:gd name="T4" fmla="*/ 139 w 152"/>
              <a:gd name="T5" fmla="*/ 62 h 119"/>
              <a:gd name="T6" fmla="*/ 135 w 152"/>
              <a:gd name="T7" fmla="*/ 64 h 119"/>
              <a:gd name="T8" fmla="*/ 134 w 152"/>
              <a:gd name="T9" fmla="*/ 75 h 119"/>
              <a:gd name="T10" fmla="*/ 130 w 152"/>
              <a:gd name="T11" fmla="*/ 71 h 119"/>
              <a:gd name="T12" fmla="*/ 121 w 152"/>
              <a:gd name="T13" fmla="*/ 69 h 119"/>
              <a:gd name="T14" fmla="*/ 113 w 152"/>
              <a:gd name="T15" fmla="*/ 71 h 119"/>
              <a:gd name="T16" fmla="*/ 117 w 152"/>
              <a:gd name="T17" fmla="*/ 80 h 119"/>
              <a:gd name="T18" fmla="*/ 113 w 152"/>
              <a:gd name="T19" fmla="*/ 90 h 119"/>
              <a:gd name="T20" fmla="*/ 110 w 152"/>
              <a:gd name="T21" fmla="*/ 90 h 119"/>
              <a:gd name="T22" fmla="*/ 103 w 152"/>
              <a:gd name="T23" fmla="*/ 84 h 119"/>
              <a:gd name="T24" fmla="*/ 103 w 152"/>
              <a:gd name="T25" fmla="*/ 79 h 119"/>
              <a:gd name="T26" fmla="*/ 93 w 152"/>
              <a:gd name="T27" fmla="*/ 82 h 119"/>
              <a:gd name="T28" fmla="*/ 88 w 152"/>
              <a:gd name="T29" fmla="*/ 79 h 119"/>
              <a:gd name="T30" fmla="*/ 90 w 152"/>
              <a:gd name="T31" fmla="*/ 69 h 119"/>
              <a:gd name="T32" fmla="*/ 104 w 152"/>
              <a:gd name="T33" fmla="*/ 66 h 119"/>
              <a:gd name="T34" fmla="*/ 103 w 152"/>
              <a:gd name="T35" fmla="*/ 60 h 119"/>
              <a:gd name="T36" fmla="*/ 97 w 152"/>
              <a:gd name="T37" fmla="*/ 53 h 119"/>
              <a:gd name="T38" fmla="*/ 92 w 152"/>
              <a:gd name="T39" fmla="*/ 51 h 119"/>
              <a:gd name="T40" fmla="*/ 82 w 152"/>
              <a:gd name="T41" fmla="*/ 53 h 119"/>
              <a:gd name="T42" fmla="*/ 86 w 152"/>
              <a:gd name="T43" fmla="*/ 51 h 119"/>
              <a:gd name="T44" fmla="*/ 90 w 152"/>
              <a:gd name="T45" fmla="*/ 44 h 119"/>
              <a:gd name="T46" fmla="*/ 90 w 152"/>
              <a:gd name="T47" fmla="*/ 35 h 119"/>
              <a:gd name="T48" fmla="*/ 84 w 152"/>
              <a:gd name="T49" fmla="*/ 26 h 119"/>
              <a:gd name="T50" fmla="*/ 84 w 152"/>
              <a:gd name="T51" fmla="*/ 26 h 119"/>
              <a:gd name="T52" fmla="*/ 79 w 152"/>
              <a:gd name="T53" fmla="*/ 27 h 119"/>
              <a:gd name="T54" fmla="*/ 68 w 152"/>
              <a:gd name="T55" fmla="*/ 33 h 119"/>
              <a:gd name="T56" fmla="*/ 66 w 152"/>
              <a:gd name="T57" fmla="*/ 38 h 119"/>
              <a:gd name="T58" fmla="*/ 66 w 152"/>
              <a:gd name="T59" fmla="*/ 46 h 119"/>
              <a:gd name="T60" fmla="*/ 62 w 152"/>
              <a:gd name="T61" fmla="*/ 40 h 119"/>
              <a:gd name="T62" fmla="*/ 55 w 152"/>
              <a:gd name="T63" fmla="*/ 35 h 119"/>
              <a:gd name="T64" fmla="*/ 50 w 152"/>
              <a:gd name="T65" fmla="*/ 35 h 119"/>
              <a:gd name="T66" fmla="*/ 42 w 152"/>
              <a:gd name="T67" fmla="*/ 38 h 119"/>
              <a:gd name="T68" fmla="*/ 48 w 152"/>
              <a:gd name="T69" fmla="*/ 46 h 119"/>
              <a:gd name="T70" fmla="*/ 48 w 152"/>
              <a:gd name="T71" fmla="*/ 57 h 119"/>
              <a:gd name="T72" fmla="*/ 42 w 152"/>
              <a:gd name="T73" fmla="*/ 58 h 119"/>
              <a:gd name="T74" fmla="*/ 35 w 152"/>
              <a:gd name="T75" fmla="*/ 53 h 119"/>
              <a:gd name="T76" fmla="*/ 33 w 152"/>
              <a:gd name="T77" fmla="*/ 47 h 119"/>
              <a:gd name="T78" fmla="*/ 26 w 152"/>
              <a:gd name="T79" fmla="*/ 53 h 119"/>
              <a:gd name="T80" fmla="*/ 20 w 152"/>
              <a:gd name="T81" fmla="*/ 51 h 119"/>
              <a:gd name="T82" fmla="*/ 17 w 152"/>
              <a:gd name="T83" fmla="*/ 42 h 119"/>
              <a:gd name="T84" fmla="*/ 31 w 152"/>
              <a:gd name="T85" fmla="*/ 35 h 119"/>
              <a:gd name="T86" fmla="*/ 29 w 152"/>
              <a:gd name="T87" fmla="*/ 33 h 119"/>
              <a:gd name="T88" fmla="*/ 22 w 152"/>
              <a:gd name="T89" fmla="*/ 24 h 119"/>
              <a:gd name="T90" fmla="*/ 15 w 152"/>
              <a:gd name="T91" fmla="*/ 24 h 119"/>
              <a:gd name="T92" fmla="*/ 18 w 152"/>
              <a:gd name="T93" fmla="*/ 18 h 119"/>
              <a:gd name="T94" fmla="*/ 20 w 152"/>
              <a:gd name="T95" fmla="*/ 9 h 119"/>
              <a:gd name="T96" fmla="*/ 18 w 152"/>
              <a:gd name="T97" fmla="*/ 5 h 119"/>
              <a:gd name="T98" fmla="*/ 13 w 152"/>
              <a:gd name="T99" fmla="*/ 0 h 119"/>
              <a:gd name="T100" fmla="*/ 35 w 152"/>
              <a:gd name="T101" fmla="*/ 88 h 119"/>
              <a:gd name="T102" fmla="*/ 46 w 152"/>
              <a:gd name="T103" fmla="*/ 82 h 119"/>
              <a:gd name="T104" fmla="*/ 51 w 152"/>
              <a:gd name="T105" fmla="*/ 79 h 119"/>
              <a:gd name="T106" fmla="*/ 66 w 152"/>
              <a:gd name="T107" fmla="*/ 80 h 119"/>
              <a:gd name="T108" fmla="*/ 71 w 152"/>
              <a:gd name="T109" fmla="*/ 82 h 119"/>
              <a:gd name="T110" fmla="*/ 82 w 152"/>
              <a:gd name="T111" fmla="*/ 90 h 119"/>
              <a:gd name="T112" fmla="*/ 84 w 152"/>
              <a:gd name="T113" fmla="*/ 99 h 119"/>
              <a:gd name="T114" fmla="*/ 84 w 152"/>
              <a:gd name="T115" fmla="*/ 104 h 119"/>
              <a:gd name="T116" fmla="*/ 106 w 152"/>
              <a:gd name="T117"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2" h="119">
                <a:moveTo>
                  <a:pt x="106" y="119"/>
                </a:moveTo>
                <a:lnTo>
                  <a:pt x="152" y="60"/>
                </a:lnTo>
                <a:lnTo>
                  <a:pt x="152" y="60"/>
                </a:lnTo>
                <a:lnTo>
                  <a:pt x="148" y="58"/>
                </a:lnTo>
                <a:lnTo>
                  <a:pt x="145" y="60"/>
                </a:lnTo>
                <a:lnTo>
                  <a:pt x="139" y="62"/>
                </a:lnTo>
                <a:lnTo>
                  <a:pt x="139" y="62"/>
                </a:lnTo>
                <a:lnTo>
                  <a:pt x="135" y="64"/>
                </a:lnTo>
                <a:lnTo>
                  <a:pt x="134" y="69"/>
                </a:lnTo>
                <a:lnTo>
                  <a:pt x="134" y="75"/>
                </a:lnTo>
                <a:lnTo>
                  <a:pt x="134" y="75"/>
                </a:lnTo>
                <a:lnTo>
                  <a:pt x="130" y="71"/>
                </a:lnTo>
                <a:lnTo>
                  <a:pt x="128" y="69"/>
                </a:lnTo>
                <a:lnTo>
                  <a:pt x="121" y="69"/>
                </a:lnTo>
                <a:lnTo>
                  <a:pt x="115" y="69"/>
                </a:lnTo>
                <a:lnTo>
                  <a:pt x="113" y="71"/>
                </a:lnTo>
                <a:lnTo>
                  <a:pt x="113" y="71"/>
                </a:lnTo>
                <a:lnTo>
                  <a:pt x="117" y="80"/>
                </a:lnTo>
                <a:lnTo>
                  <a:pt x="117" y="86"/>
                </a:lnTo>
                <a:lnTo>
                  <a:pt x="113" y="90"/>
                </a:lnTo>
                <a:lnTo>
                  <a:pt x="110" y="90"/>
                </a:lnTo>
                <a:lnTo>
                  <a:pt x="110" y="90"/>
                </a:lnTo>
                <a:lnTo>
                  <a:pt x="104" y="88"/>
                </a:lnTo>
                <a:lnTo>
                  <a:pt x="103" y="84"/>
                </a:lnTo>
                <a:lnTo>
                  <a:pt x="103" y="79"/>
                </a:lnTo>
                <a:lnTo>
                  <a:pt x="103" y="79"/>
                </a:lnTo>
                <a:lnTo>
                  <a:pt x="97" y="82"/>
                </a:lnTo>
                <a:lnTo>
                  <a:pt x="93" y="82"/>
                </a:lnTo>
                <a:lnTo>
                  <a:pt x="88" y="79"/>
                </a:lnTo>
                <a:lnTo>
                  <a:pt x="88" y="79"/>
                </a:lnTo>
                <a:lnTo>
                  <a:pt x="86" y="75"/>
                </a:lnTo>
                <a:lnTo>
                  <a:pt x="90" y="69"/>
                </a:lnTo>
                <a:lnTo>
                  <a:pt x="95" y="68"/>
                </a:lnTo>
                <a:lnTo>
                  <a:pt x="104" y="66"/>
                </a:lnTo>
                <a:lnTo>
                  <a:pt x="104" y="66"/>
                </a:lnTo>
                <a:lnTo>
                  <a:pt x="103" y="60"/>
                </a:lnTo>
                <a:lnTo>
                  <a:pt x="101" y="57"/>
                </a:lnTo>
                <a:lnTo>
                  <a:pt x="97" y="53"/>
                </a:lnTo>
                <a:lnTo>
                  <a:pt x="97" y="53"/>
                </a:lnTo>
                <a:lnTo>
                  <a:pt x="92" y="51"/>
                </a:lnTo>
                <a:lnTo>
                  <a:pt x="88" y="51"/>
                </a:lnTo>
                <a:lnTo>
                  <a:pt x="82" y="53"/>
                </a:lnTo>
                <a:lnTo>
                  <a:pt x="82" y="53"/>
                </a:lnTo>
                <a:lnTo>
                  <a:pt x="86" y="51"/>
                </a:lnTo>
                <a:lnTo>
                  <a:pt x="88" y="47"/>
                </a:lnTo>
                <a:lnTo>
                  <a:pt x="90" y="44"/>
                </a:lnTo>
                <a:lnTo>
                  <a:pt x="90" y="44"/>
                </a:lnTo>
                <a:lnTo>
                  <a:pt x="90" y="35"/>
                </a:lnTo>
                <a:lnTo>
                  <a:pt x="88" y="31"/>
                </a:lnTo>
                <a:lnTo>
                  <a:pt x="84" y="26"/>
                </a:lnTo>
                <a:lnTo>
                  <a:pt x="84" y="26"/>
                </a:lnTo>
                <a:lnTo>
                  <a:pt x="84" y="26"/>
                </a:lnTo>
                <a:lnTo>
                  <a:pt x="84" y="26"/>
                </a:lnTo>
                <a:lnTo>
                  <a:pt x="79" y="27"/>
                </a:lnTo>
                <a:lnTo>
                  <a:pt x="73" y="29"/>
                </a:lnTo>
                <a:lnTo>
                  <a:pt x="68" y="33"/>
                </a:lnTo>
                <a:lnTo>
                  <a:pt x="68" y="33"/>
                </a:lnTo>
                <a:lnTo>
                  <a:pt x="66" y="38"/>
                </a:lnTo>
                <a:lnTo>
                  <a:pt x="66" y="42"/>
                </a:lnTo>
                <a:lnTo>
                  <a:pt x="66" y="46"/>
                </a:lnTo>
                <a:lnTo>
                  <a:pt x="66" y="46"/>
                </a:lnTo>
                <a:lnTo>
                  <a:pt x="62" y="40"/>
                </a:lnTo>
                <a:lnTo>
                  <a:pt x="60" y="37"/>
                </a:lnTo>
                <a:lnTo>
                  <a:pt x="55" y="35"/>
                </a:lnTo>
                <a:lnTo>
                  <a:pt x="55" y="35"/>
                </a:lnTo>
                <a:lnTo>
                  <a:pt x="50" y="35"/>
                </a:lnTo>
                <a:lnTo>
                  <a:pt x="46" y="37"/>
                </a:lnTo>
                <a:lnTo>
                  <a:pt x="42" y="38"/>
                </a:lnTo>
                <a:lnTo>
                  <a:pt x="42" y="38"/>
                </a:lnTo>
                <a:lnTo>
                  <a:pt x="48" y="46"/>
                </a:lnTo>
                <a:lnTo>
                  <a:pt x="48" y="53"/>
                </a:lnTo>
                <a:lnTo>
                  <a:pt x="48" y="57"/>
                </a:lnTo>
                <a:lnTo>
                  <a:pt x="42" y="58"/>
                </a:lnTo>
                <a:lnTo>
                  <a:pt x="42" y="58"/>
                </a:lnTo>
                <a:lnTo>
                  <a:pt x="37" y="57"/>
                </a:lnTo>
                <a:lnTo>
                  <a:pt x="35" y="53"/>
                </a:lnTo>
                <a:lnTo>
                  <a:pt x="33" y="47"/>
                </a:lnTo>
                <a:lnTo>
                  <a:pt x="33" y="47"/>
                </a:lnTo>
                <a:lnTo>
                  <a:pt x="29" y="51"/>
                </a:lnTo>
                <a:lnTo>
                  <a:pt x="26" y="53"/>
                </a:lnTo>
                <a:lnTo>
                  <a:pt x="20" y="51"/>
                </a:lnTo>
                <a:lnTo>
                  <a:pt x="20" y="51"/>
                </a:lnTo>
                <a:lnTo>
                  <a:pt x="17" y="47"/>
                </a:lnTo>
                <a:lnTo>
                  <a:pt x="17" y="42"/>
                </a:lnTo>
                <a:lnTo>
                  <a:pt x="22" y="38"/>
                </a:lnTo>
                <a:lnTo>
                  <a:pt x="31" y="35"/>
                </a:lnTo>
                <a:lnTo>
                  <a:pt x="31" y="35"/>
                </a:lnTo>
                <a:lnTo>
                  <a:pt x="29" y="33"/>
                </a:lnTo>
                <a:lnTo>
                  <a:pt x="28" y="27"/>
                </a:lnTo>
                <a:lnTo>
                  <a:pt x="22" y="24"/>
                </a:lnTo>
                <a:lnTo>
                  <a:pt x="18" y="22"/>
                </a:lnTo>
                <a:lnTo>
                  <a:pt x="15" y="24"/>
                </a:lnTo>
                <a:lnTo>
                  <a:pt x="15" y="24"/>
                </a:lnTo>
                <a:lnTo>
                  <a:pt x="18" y="18"/>
                </a:lnTo>
                <a:lnTo>
                  <a:pt x="20" y="15"/>
                </a:lnTo>
                <a:lnTo>
                  <a:pt x="20" y="9"/>
                </a:lnTo>
                <a:lnTo>
                  <a:pt x="20" y="9"/>
                </a:lnTo>
                <a:lnTo>
                  <a:pt x="18" y="5"/>
                </a:lnTo>
                <a:lnTo>
                  <a:pt x="17" y="2"/>
                </a:lnTo>
                <a:lnTo>
                  <a:pt x="13" y="0"/>
                </a:lnTo>
                <a:lnTo>
                  <a:pt x="0" y="73"/>
                </a:lnTo>
                <a:lnTo>
                  <a:pt x="35" y="88"/>
                </a:lnTo>
                <a:lnTo>
                  <a:pt x="35" y="88"/>
                </a:lnTo>
                <a:lnTo>
                  <a:pt x="46" y="82"/>
                </a:lnTo>
                <a:lnTo>
                  <a:pt x="46" y="82"/>
                </a:lnTo>
                <a:lnTo>
                  <a:pt x="51" y="79"/>
                </a:lnTo>
                <a:lnTo>
                  <a:pt x="59" y="79"/>
                </a:lnTo>
                <a:lnTo>
                  <a:pt x="66" y="80"/>
                </a:lnTo>
                <a:lnTo>
                  <a:pt x="71" y="82"/>
                </a:lnTo>
                <a:lnTo>
                  <a:pt x="71" y="82"/>
                </a:lnTo>
                <a:lnTo>
                  <a:pt x="79" y="86"/>
                </a:lnTo>
                <a:lnTo>
                  <a:pt x="82" y="90"/>
                </a:lnTo>
                <a:lnTo>
                  <a:pt x="84" y="95"/>
                </a:lnTo>
                <a:lnTo>
                  <a:pt x="84" y="99"/>
                </a:lnTo>
                <a:lnTo>
                  <a:pt x="84" y="99"/>
                </a:lnTo>
                <a:lnTo>
                  <a:pt x="84" y="104"/>
                </a:lnTo>
                <a:lnTo>
                  <a:pt x="81" y="110"/>
                </a:lnTo>
                <a:lnTo>
                  <a:pt x="106" y="11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9" name="Freeform 50"/>
          <p:cNvSpPr>
            <a:spLocks/>
          </p:cNvSpPr>
          <p:nvPr userDrawn="1"/>
        </p:nvSpPr>
        <p:spPr bwMode="auto">
          <a:xfrm>
            <a:off x="8520113" y="-917153"/>
            <a:ext cx="142875" cy="25400"/>
          </a:xfrm>
          <a:custGeom>
            <a:avLst/>
            <a:gdLst>
              <a:gd name="T0" fmla="*/ 151 w 180"/>
              <a:gd name="T1" fmla="*/ 28 h 31"/>
              <a:gd name="T2" fmla="*/ 180 w 180"/>
              <a:gd name="T3" fmla="*/ 15 h 31"/>
              <a:gd name="T4" fmla="*/ 151 w 180"/>
              <a:gd name="T5" fmla="*/ 2 h 31"/>
              <a:gd name="T6" fmla="*/ 151 w 180"/>
              <a:gd name="T7" fmla="*/ 2 h 31"/>
              <a:gd name="T8" fmla="*/ 102 w 180"/>
              <a:gd name="T9" fmla="*/ 2 h 31"/>
              <a:gd name="T10" fmla="*/ 23 w 180"/>
              <a:gd name="T11" fmla="*/ 0 h 31"/>
              <a:gd name="T12" fmla="*/ 0 w 180"/>
              <a:gd name="T13" fmla="*/ 31 h 31"/>
              <a:gd name="T14" fmla="*/ 0 w 180"/>
              <a:gd name="T15" fmla="*/ 31 h 31"/>
              <a:gd name="T16" fmla="*/ 151 w 180"/>
              <a:gd name="T17"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31">
                <a:moveTo>
                  <a:pt x="151" y="28"/>
                </a:moveTo>
                <a:lnTo>
                  <a:pt x="180" y="15"/>
                </a:lnTo>
                <a:lnTo>
                  <a:pt x="151" y="2"/>
                </a:lnTo>
                <a:lnTo>
                  <a:pt x="151" y="2"/>
                </a:lnTo>
                <a:lnTo>
                  <a:pt x="102" y="2"/>
                </a:lnTo>
                <a:lnTo>
                  <a:pt x="23" y="0"/>
                </a:lnTo>
                <a:lnTo>
                  <a:pt x="0" y="31"/>
                </a:lnTo>
                <a:lnTo>
                  <a:pt x="0" y="31"/>
                </a:lnTo>
                <a:lnTo>
                  <a:pt x="151"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00" name="Freeform 51"/>
          <p:cNvSpPr>
            <a:spLocks/>
          </p:cNvSpPr>
          <p:nvPr userDrawn="1"/>
        </p:nvSpPr>
        <p:spPr bwMode="auto">
          <a:xfrm>
            <a:off x="8566150" y="-855240"/>
            <a:ext cx="85725" cy="84138"/>
          </a:xfrm>
          <a:custGeom>
            <a:avLst/>
            <a:gdLst>
              <a:gd name="T0" fmla="*/ 55 w 108"/>
              <a:gd name="T1" fmla="*/ 106 h 106"/>
              <a:gd name="T2" fmla="*/ 55 w 108"/>
              <a:gd name="T3" fmla="*/ 106 h 106"/>
              <a:gd name="T4" fmla="*/ 38 w 108"/>
              <a:gd name="T5" fmla="*/ 97 h 106"/>
              <a:gd name="T6" fmla="*/ 26 w 108"/>
              <a:gd name="T7" fmla="*/ 89 h 106"/>
              <a:gd name="T8" fmla="*/ 13 w 108"/>
              <a:gd name="T9" fmla="*/ 80 h 106"/>
              <a:gd name="T10" fmla="*/ 4 w 108"/>
              <a:gd name="T11" fmla="*/ 69 h 106"/>
              <a:gd name="T12" fmla="*/ 4 w 108"/>
              <a:gd name="T13" fmla="*/ 69 h 106"/>
              <a:gd name="T14" fmla="*/ 0 w 108"/>
              <a:gd name="T15" fmla="*/ 62 h 106"/>
              <a:gd name="T16" fmla="*/ 0 w 108"/>
              <a:gd name="T17" fmla="*/ 53 h 106"/>
              <a:gd name="T18" fmla="*/ 0 w 108"/>
              <a:gd name="T19" fmla="*/ 45 h 106"/>
              <a:gd name="T20" fmla="*/ 0 w 108"/>
              <a:gd name="T21" fmla="*/ 36 h 106"/>
              <a:gd name="T22" fmla="*/ 4 w 108"/>
              <a:gd name="T23" fmla="*/ 27 h 106"/>
              <a:gd name="T24" fmla="*/ 7 w 108"/>
              <a:gd name="T25" fmla="*/ 20 h 106"/>
              <a:gd name="T26" fmla="*/ 15 w 108"/>
              <a:gd name="T27" fmla="*/ 13 h 106"/>
              <a:gd name="T28" fmla="*/ 22 w 108"/>
              <a:gd name="T29" fmla="*/ 7 h 106"/>
              <a:gd name="T30" fmla="*/ 22 w 108"/>
              <a:gd name="T31" fmla="*/ 7 h 106"/>
              <a:gd name="T32" fmla="*/ 26 w 108"/>
              <a:gd name="T33" fmla="*/ 11 h 106"/>
              <a:gd name="T34" fmla="*/ 27 w 108"/>
              <a:gd name="T35" fmla="*/ 14 h 106"/>
              <a:gd name="T36" fmla="*/ 27 w 108"/>
              <a:gd name="T37" fmla="*/ 18 h 106"/>
              <a:gd name="T38" fmla="*/ 27 w 108"/>
              <a:gd name="T39" fmla="*/ 18 h 106"/>
              <a:gd name="T40" fmla="*/ 51 w 108"/>
              <a:gd name="T41" fmla="*/ 16 h 106"/>
              <a:gd name="T42" fmla="*/ 51 w 108"/>
              <a:gd name="T43" fmla="*/ 16 h 106"/>
              <a:gd name="T44" fmla="*/ 51 w 108"/>
              <a:gd name="T45" fmla="*/ 9 h 106"/>
              <a:gd name="T46" fmla="*/ 51 w 108"/>
              <a:gd name="T47" fmla="*/ 3 h 106"/>
              <a:gd name="T48" fmla="*/ 49 w 108"/>
              <a:gd name="T49" fmla="*/ 0 h 106"/>
              <a:gd name="T50" fmla="*/ 49 w 108"/>
              <a:gd name="T51" fmla="*/ 0 h 106"/>
              <a:gd name="T52" fmla="*/ 57 w 108"/>
              <a:gd name="T53" fmla="*/ 5 h 106"/>
              <a:gd name="T54" fmla="*/ 59 w 108"/>
              <a:gd name="T55" fmla="*/ 11 h 106"/>
              <a:gd name="T56" fmla="*/ 60 w 108"/>
              <a:gd name="T57" fmla="*/ 16 h 106"/>
              <a:gd name="T58" fmla="*/ 60 w 108"/>
              <a:gd name="T59" fmla="*/ 16 h 106"/>
              <a:gd name="T60" fmla="*/ 82 w 108"/>
              <a:gd name="T61" fmla="*/ 18 h 106"/>
              <a:gd name="T62" fmla="*/ 82 w 108"/>
              <a:gd name="T63" fmla="*/ 18 h 106"/>
              <a:gd name="T64" fmla="*/ 82 w 108"/>
              <a:gd name="T65" fmla="*/ 11 h 106"/>
              <a:gd name="T66" fmla="*/ 79 w 108"/>
              <a:gd name="T67" fmla="*/ 3 h 106"/>
              <a:gd name="T68" fmla="*/ 79 w 108"/>
              <a:gd name="T69" fmla="*/ 3 h 106"/>
              <a:gd name="T70" fmla="*/ 86 w 108"/>
              <a:gd name="T71" fmla="*/ 9 h 106"/>
              <a:gd name="T72" fmla="*/ 93 w 108"/>
              <a:gd name="T73" fmla="*/ 13 h 106"/>
              <a:gd name="T74" fmla="*/ 99 w 108"/>
              <a:gd name="T75" fmla="*/ 20 h 106"/>
              <a:gd name="T76" fmla="*/ 102 w 108"/>
              <a:gd name="T77" fmla="*/ 25 h 106"/>
              <a:gd name="T78" fmla="*/ 106 w 108"/>
              <a:gd name="T79" fmla="*/ 38 h 106"/>
              <a:gd name="T80" fmla="*/ 108 w 108"/>
              <a:gd name="T81" fmla="*/ 49 h 106"/>
              <a:gd name="T82" fmla="*/ 108 w 108"/>
              <a:gd name="T83" fmla="*/ 49 h 106"/>
              <a:gd name="T84" fmla="*/ 106 w 108"/>
              <a:gd name="T85" fmla="*/ 62 h 106"/>
              <a:gd name="T86" fmla="*/ 102 w 108"/>
              <a:gd name="T87" fmla="*/ 73 h 106"/>
              <a:gd name="T88" fmla="*/ 95 w 108"/>
              <a:gd name="T89" fmla="*/ 82 h 106"/>
              <a:gd name="T90" fmla="*/ 86 w 108"/>
              <a:gd name="T91" fmla="*/ 89 h 106"/>
              <a:gd name="T92" fmla="*/ 86 w 108"/>
              <a:gd name="T93" fmla="*/ 89 h 106"/>
              <a:gd name="T94" fmla="*/ 69 w 108"/>
              <a:gd name="T95" fmla="*/ 98 h 106"/>
              <a:gd name="T96" fmla="*/ 55 w 108"/>
              <a:gd name="T97"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 h="106">
                <a:moveTo>
                  <a:pt x="55" y="106"/>
                </a:moveTo>
                <a:lnTo>
                  <a:pt x="55" y="106"/>
                </a:lnTo>
                <a:lnTo>
                  <a:pt x="38" y="97"/>
                </a:lnTo>
                <a:lnTo>
                  <a:pt x="26" y="89"/>
                </a:lnTo>
                <a:lnTo>
                  <a:pt x="13" y="80"/>
                </a:lnTo>
                <a:lnTo>
                  <a:pt x="4" y="69"/>
                </a:lnTo>
                <a:lnTo>
                  <a:pt x="4" y="69"/>
                </a:lnTo>
                <a:lnTo>
                  <a:pt x="0" y="62"/>
                </a:lnTo>
                <a:lnTo>
                  <a:pt x="0" y="53"/>
                </a:lnTo>
                <a:lnTo>
                  <a:pt x="0" y="45"/>
                </a:lnTo>
                <a:lnTo>
                  <a:pt x="0" y="36"/>
                </a:lnTo>
                <a:lnTo>
                  <a:pt x="4" y="27"/>
                </a:lnTo>
                <a:lnTo>
                  <a:pt x="7" y="20"/>
                </a:lnTo>
                <a:lnTo>
                  <a:pt x="15" y="13"/>
                </a:lnTo>
                <a:lnTo>
                  <a:pt x="22" y="7"/>
                </a:lnTo>
                <a:lnTo>
                  <a:pt x="22" y="7"/>
                </a:lnTo>
                <a:lnTo>
                  <a:pt x="26" y="11"/>
                </a:lnTo>
                <a:lnTo>
                  <a:pt x="27" y="14"/>
                </a:lnTo>
                <a:lnTo>
                  <a:pt x="27" y="18"/>
                </a:lnTo>
                <a:lnTo>
                  <a:pt x="27" y="18"/>
                </a:lnTo>
                <a:lnTo>
                  <a:pt x="51" y="16"/>
                </a:lnTo>
                <a:lnTo>
                  <a:pt x="51" y="16"/>
                </a:lnTo>
                <a:lnTo>
                  <a:pt x="51" y="9"/>
                </a:lnTo>
                <a:lnTo>
                  <a:pt x="51" y="3"/>
                </a:lnTo>
                <a:lnTo>
                  <a:pt x="49" y="0"/>
                </a:lnTo>
                <a:lnTo>
                  <a:pt x="49" y="0"/>
                </a:lnTo>
                <a:lnTo>
                  <a:pt x="57" y="5"/>
                </a:lnTo>
                <a:lnTo>
                  <a:pt x="59" y="11"/>
                </a:lnTo>
                <a:lnTo>
                  <a:pt x="60" y="16"/>
                </a:lnTo>
                <a:lnTo>
                  <a:pt x="60" y="16"/>
                </a:lnTo>
                <a:lnTo>
                  <a:pt x="82" y="18"/>
                </a:lnTo>
                <a:lnTo>
                  <a:pt x="82" y="18"/>
                </a:lnTo>
                <a:lnTo>
                  <a:pt x="82" y="11"/>
                </a:lnTo>
                <a:lnTo>
                  <a:pt x="79" y="3"/>
                </a:lnTo>
                <a:lnTo>
                  <a:pt x="79" y="3"/>
                </a:lnTo>
                <a:lnTo>
                  <a:pt x="86" y="9"/>
                </a:lnTo>
                <a:lnTo>
                  <a:pt x="93" y="13"/>
                </a:lnTo>
                <a:lnTo>
                  <a:pt x="99" y="20"/>
                </a:lnTo>
                <a:lnTo>
                  <a:pt x="102" y="25"/>
                </a:lnTo>
                <a:lnTo>
                  <a:pt x="106" y="38"/>
                </a:lnTo>
                <a:lnTo>
                  <a:pt x="108" y="49"/>
                </a:lnTo>
                <a:lnTo>
                  <a:pt x="108" y="49"/>
                </a:lnTo>
                <a:lnTo>
                  <a:pt x="106" y="62"/>
                </a:lnTo>
                <a:lnTo>
                  <a:pt x="102" y="73"/>
                </a:lnTo>
                <a:lnTo>
                  <a:pt x="95" y="82"/>
                </a:lnTo>
                <a:lnTo>
                  <a:pt x="86" y="89"/>
                </a:lnTo>
                <a:lnTo>
                  <a:pt x="86" y="89"/>
                </a:lnTo>
                <a:lnTo>
                  <a:pt x="69" y="98"/>
                </a:lnTo>
                <a:lnTo>
                  <a:pt x="55" y="1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01" name="Freeform 52"/>
          <p:cNvSpPr>
            <a:spLocks/>
          </p:cNvSpPr>
          <p:nvPr userDrawn="1"/>
        </p:nvSpPr>
        <p:spPr bwMode="auto">
          <a:xfrm>
            <a:off x="8589963" y="-648865"/>
            <a:ext cx="1588" cy="1588"/>
          </a:xfrm>
          <a:custGeom>
            <a:avLst/>
            <a:gdLst>
              <a:gd name="T0" fmla="*/ 4 w 4"/>
              <a:gd name="T1" fmla="*/ 2 h 2"/>
              <a:gd name="T2" fmla="*/ 4 w 4"/>
              <a:gd name="T3" fmla="*/ 2 h 2"/>
              <a:gd name="T4" fmla="*/ 2 w 4"/>
              <a:gd name="T5" fmla="*/ 0 h 2"/>
              <a:gd name="T6" fmla="*/ 2 w 4"/>
              <a:gd name="T7" fmla="*/ 0 h 2"/>
              <a:gd name="T8" fmla="*/ 0 w 4"/>
              <a:gd name="T9" fmla="*/ 0 h 2"/>
              <a:gd name="T10" fmla="*/ 0 w 4"/>
              <a:gd name="T11" fmla="*/ 0 h 2"/>
              <a:gd name="T12" fmla="*/ 4 w 4"/>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2"/>
                </a:moveTo>
                <a:lnTo>
                  <a:pt x="4" y="2"/>
                </a:lnTo>
                <a:lnTo>
                  <a:pt x="2" y="0"/>
                </a:lnTo>
                <a:lnTo>
                  <a:pt x="2" y="0"/>
                </a:lnTo>
                <a:lnTo>
                  <a:pt x="0" y="0"/>
                </a:lnTo>
                <a:lnTo>
                  <a:pt x="0" y="0"/>
                </a:lnTo>
                <a:lnTo>
                  <a:pt x="4"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02" name="Freeform 53"/>
          <p:cNvSpPr>
            <a:spLocks/>
          </p:cNvSpPr>
          <p:nvPr userDrawn="1"/>
        </p:nvSpPr>
        <p:spPr bwMode="auto">
          <a:xfrm>
            <a:off x="8405813" y="-885403"/>
            <a:ext cx="15875" cy="9525"/>
          </a:xfrm>
          <a:custGeom>
            <a:avLst/>
            <a:gdLst>
              <a:gd name="T0" fmla="*/ 20 w 20"/>
              <a:gd name="T1" fmla="*/ 10 h 11"/>
              <a:gd name="T2" fmla="*/ 20 w 20"/>
              <a:gd name="T3" fmla="*/ 10 h 11"/>
              <a:gd name="T4" fmla="*/ 19 w 20"/>
              <a:gd name="T5" fmla="*/ 10 h 11"/>
              <a:gd name="T6" fmla="*/ 11 w 20"/>
              <a:gd name="T7" fmla="*/ 11 h 11"/>
              <a:gd name="T8" fmla="*/ 2 w 20"/>
              <a:gd name="T9" fmla="*/ 11 h 11"/>
              <a:gd name="T10" fmla="*/ 2 w 20"/>
              <a:gd name="T11" fmla="*/ 11 h 11"/>
              <a:gd name="T12" fmla="*/ 0 w 20"/>
              <a:gd name="T13" fmla="*/ 8 h 11"/>
              <a:gd name="T14" fmla="*/ 0 w 20"/>
              <a:gd name="T15" fmla="*/ 0 h 11"/>
              <a:gd name="T16" fmla="*/ 0 w 20"/>
              <a:gd name="T17" fmla="*/ 0 h 11"/>
              <a:gd name="T18" fmla="*/ 4 w 20"/>
              <a:gd name="T19" fmla="*/ 0 h 11"/>
              <a:gd name="T20" fmla="*/ 11 w 20"/>
              <a:gd name="T21" fmla="*/ 2 h 11"/>
              <a:gd name="T22" fmla="*/ 17 w 20"/>
              <a:gd name="T23" fmla="*/ 4 h 11"/>
              <a:gd name="T24" fmla="*/ 20 w 20"/>
              <a:gd name="T25"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1">
                <a:moveTo>
                  <a:pt x="20" y="10"/>
                </a:moveTo>
                <a:lnTo>
                  <a:pt x="20" y="10"/>
                </a:lnTo>
                <a:lnTo>
                  <a:pt x="19" y="10"/>
                </a:lnTo>
                <a:lnTo>
                  <a:pt x="11" y="11"/>
                </a:lnTo>
                <a:lnTo>
                  <a:pt x="2" y="11"/>
                </a:lnTo>
                <a:lnTo>
                  <a:pt x="2" y="11"/>
                </a:lnTo>
                <a:lnTo>
                  <a:pt x="0" y="8"/>
                </a:lnTo>
                <a:lnTo>
                  <a:pt x="0" y="0"/>
                </a:lnTo>
                <a:lnTo>
                  <a:pt x="0" y="0"/>
                </a:lnTo>
                <a:lnTo>
                  <a:pt x="4" y="0"/>
                </a:lnTo>
                <a:lnTo>
                  <a:pt x="11" y="2"/>
                </a:lnTo>
                <a:lnTo>
                  <a:pt x="17" y="4"/>
                </a:lnTo>
                <a:lnTo>
                  <a:pt x="20"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03" name="Freeform 54"/>
          <p:cNvSpPr>
            <a:spLocks/>
          </p:cNvSpPr>
          <p:nvPr userDrawn="1"/>
        </p:nvSpPr>
        <p:spPr bwMode="auto">
          <a:xfrm>
            <a:off x="8197850" y="-917153"/>
            <a:ext cx="492125" cy="579438"/>
          </a:xfrm>
          <a:custGeom>
            <a:avLst/>
            <a:gdLst>
              <a:gd name="T0" fmla="*/ 592 w 619"/>
              <a:gd name="T1" fmla="*/ 245 h 729"/>
              <a:gd name="T2" fmla="*/ 588 w 619"/>
              <a:gd name="T3" fmla="*/ 150 h 729"/>
              <a:gd name="T4" fmla="*/ 513 w 619"/>
              <a:gd name="T5" fmla="*/ 57 h 729"/>
              <a:gd name="T6" fmla="*/ 446 w 619"/>
              <a:gd name="T7" fmla="*/ 150 h 729"/>
              <a:gd name="T8" fmla="*/ 460 w 619"/>
              <a:gd name="T9" fmla="*/ 243 h 729"/>
              <a:gd name="T10" fmla="*/ 490 w 619"/>
              <a:gd name="T11" fmla="*/ 256 h 729"/>
              <a:gd name="T12" fmla="*/ 506 w 619"/>
              <a:gd name="T13" fmla="*/ 240 h 729"/>
              <a:gd name="T14" fmla="*/ 568 w 619"/>
              <a:gd name="T15" fmla="*/ 250 h 729"/>
              <a:gd name="T16" fmla="*/ 533 w 619"/>
              <a:gd name="T17" fmla="*/ 345 h 729"/>
              <a:gd name="T18" fmla="*/ 429 w 619"/>
              <a:gd name="T19" fmla="*/ 291 h 729"/>
              <a:gd name="T20" fmla="*/ 417 w 619"/>
              <a:gd name="T21" fmla="*/ 198 h 729"/>
              <a:gd name="T22" fmla="*/ 418 w 619"/>
              <a:gd name="T23" fmla="*/ 183 h 729"/>
              <a:gd name="T24" fmla="*/ 375 w 619"/>
              <a:gd name="T25" fmla="*/ 121 h 729"/>
              <a:gd name="T26" fmla="*/ 424 w 619"/>
              <a:gd name="T27" fmla="*/ 77 h 729"/>
              <a:gd name="T28" fmla="*/ 353 w 619"/>
              <a:gd name="T29" fmla="*/ 28 h 729"/>
              <a:gd name="T30" fmla="*/ 247 w 619"/>
              <a:gd name="T31" fmla="*/ 33 h 729"/>
              <a:gd name="T32" fmla="*/ 225 w 619"/>
              <a:gd name="T33" fmla="*/ 73 h 729"/>
              <a:gd name="T34" fmla="*/ 243 w 619"/>
              <a:gd name="T35" fmla="*/ 104 h 729"/>
              <a:gd name="T36" fmla="*/ 292 w 619"/>
              <a:gd name="T37" fmla="*/ 88 h 729"/>
              <a:gd name="T38" fmla="*/ 219 w 619"/>
              <a:gd name="T39" fmla="*/ 115 h 729"/>
              <a:gd name="T40" fmla="*/ 190 w 619"/>
              <a:gd name="T41" fmla="*/ 110 h 729"/>
              <a:gd name="T42" fmla="*/ 258 w 619"/>
              <a:gd name="T43" fmla="*/ 112 h 729"/>
              <a:gd name="T44" fmla="*/ 261 w 619"/>
              <a:gd name="T45" fmla="*/ 128 h 729"/>
              <a:gd name="T46" fmla="*/ 238 w 619"/>
              <a:gd name="T47" fmla="*/ 152 h 729"/>
              <a:gd name="T48" fmla="*/ 259 w 619"/>
              <a:gd name="T49" fmla="*/ 192 h 729"/>
              <a:gd name="T50" fmla="*/ 133 w 619"/>
              <a:gd name="T51" fmla="*/ 276 h 729"/>
              <a:gd name="T52" fmla="*/ 53 w 619"/>
              <a:gd name="T53" fmla="*/ 252 h 729"/>
              <a:gd name="T54" fmla="*/ 42 w 619"/>
              <a:gd name="T55" fmla="*/ 267 h 729"/>
              <a:gd name="T56" fmla="*/ 51 w 619"/>
              <a:gd name="T57" fmla="*/ 287 h 729"/>
              <a:gd name="T58" fmla="*/ 2 w 619"/>
              <a:gd name="T59" fmla="*/ 305 h 729"/>
              <a:gd name="T60" fmla="*/ 58 w 619"/>
              <a:gd name="T61" fmla="*/ 313 h 729"/>
              <a:gd name="T62" fmla="*/ 37 w 619"/>
              <a:gd name="T63" fmla="*/ 331 h 729"/>
              <a:gd name="T64" fmla="*/ 53 w 619"/>
              <a:gd name="T65" fmla="*/ 345 h 729"/>
              <a:gd name="T66" fmla="*/ 104 w 619"/>
              <a:gd name="T67" fmla="*/ 345 h 729"/>
              <a:gd name="T68" fmla="*/ 117 w 619"/>
              <a:gd name="T69" fmla="*/ 347 h 729"/>
              <a:gd name="T70" fmla="*/ 163 w 619"/>
              <a:gd name="T71" fmla="*/ 309 h 729"/>
              <a:gd name="T72" fmla="*/ 214 w 619"/>
              <a:gd name="T73" fmla="*/ 300 h 729"/>
              <a:gd name="T74" fmla="*/ 283 w 619"/>
              <a:gd name="T75" fmla="*/ 325 h 729"/>
              <a:gd name="T76" fmla="*/ 417 w 619"/>
              <a:gd name="T77" fmla="*/ 386 h 729"/>
              <a:gd name="T78" fmla="*/ 466 w 619"/>
              <a:gd name="T79" fmla="*/ 492 h 729"/>
              <a:gd name="T80" fmla="*/ 464 w 619"/>
              <a:gd name="T81" fmla="*/ 517 h 729"/>
              <a:gd name="T82" fmla="*/ 512 w 619"/>
              <a:gd name="T83" fmla="*/ 526 h 729"/>
              <a:gd name="T84" fmla="*/ 526 w 619"/>
              <a:gd name="T85" fmla="*/ 627 h 729"/>
              <a:gd name="T86" fmla="*/ 462 w 619"/>
              <a:gd name="T87" fmla="*/ 638 h 729"/>
              <a:gd name="T88" fmla="*/ 491 w 619"/>
              <a:gd name="T89" fmla="*/ 651 h 729"/>
              <a:gd name="T90" fmla="*/ 479 w 619"/>
              <a:gd name="T91" fmla="*/ 663 h 729"/>
              <a:gd name="T92" fmla="*/ 475 w 619"/>
              <a:gd name="T93" fmla="*/ 711 h 729"/>
              <a:gd name="T94" fmla="*/ 502 w 619"/>
              <a:gd name="T95" fmla="*/ 693 h 729"/>
              <a:gd name="T96" fmla="*/ 513 w 619"/>
              <a:gd name="T97" fmla="*/ 700 h 729"/>
              <a:gd name="T98" fmla="*/ 544 w 619"/>
              <a:gd name="T99" fmla="*/ 720 h 729"/>
              <a:gd name="T100" fmla="*/ 554 w 619"/>
              <a:gd name="T101" fmla="*/ 678 h 729"/>
              <a:gd name="T102" fmla="*/ 586 w 619"/>
              <a:gd name="T103" fmla="*/ 689 h 729"/>
              <a:gd name="T104" fmla="*/ 590 w 619"/>
              <a:gd name="T105" fmla="*/ 625 h 729"/>
              <a:gd name="T106" fmla="*/ 603 w 619"/>
              <a:gd name="T107" fmla="*/ 598 h 729"/>
              <a:gd name="T108" fmla="*/ 599 w 619"/>
              <a:gd name="T109" fmla="*/ 552 h 729"/>
              <a:gd name="T110" fmla="*/ 574 w 619"/>
              <a:gd name="T111" fmla="*/ 508 h 729"/>
              <a:gd name="T112" fmla="*/ 532 w 619"/>
              <a:gd name="T113" fmla="*/ 462 h 729"/>
              <a:gd name="T114" fmla="*/ 532 w 619"/>
              <a:gd name="T115" fmla="*/ 419 h 729"/>
              <a:gd name="T116" fmla="*/ 539 w 619"/>
              <a:gd name="T117" fmla="*/ 377 h 729"/>
              <a:gd name="T118" fmla="*/ 618 w 619"/>
              <a:gd name="T119" fmla="*/ 316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9" h="729">
                <a:moveTo>
                  <a:pt x="603" y="280"/>
                </a:moveTo>
                <a:lnTo>
                  <a:pt x="603" y="280"/>
                </a:lnTo>
                <a:lnTo>
                  <a:pt x="612" y="282"/>
                </a:lnTo>
                <a:lnTo>
                  <a:pt x="619" y="280"/>
                </a:lnTo>
                <a:lnTo>
                  <a:pt x="619" y="280"/>
                </a:lnTo>
                <a:lnTo>
                  <a:pt x="618" y="269"/>
                </a:lnTo>
                <a:lnTo>
                  <a:pt x="616" y="252"/>
                </a:lnTo>
                <a:lnTo>
                  <a:pt x="616" y="252"/>
                </a:lnTo>
                <a:lnTo>
                  <a:pt x="610" y="252"/>
                </a:lnTo>
                <a:lnTo>
                  <a:pt x="605" y="252"/>
                </a:lnTo>
                <a:lnTo>
                  <a:pt x="599" y="250"/>
                </a:lnTo>
                <a:lnTo>
                  <a:pt x="592" y="245"/>
                </a:lnTo>
                <a:lnTo>
                  <a:pt x="592" y="245"/>
                </a:lnTo>
                <a:lnTo>
                  <a:pt x="588" y="238"/>
                </a:lnTo>
                <a:lnTo>
                  <a:pt x="588" y="238"/>
                </a:lnTo>
                <a:lnTo>
                  <a:pt x="577" y="223"/>
                </a:lnTo>
                <a:lnTo>
                  <a:pt x="565" y="212"/>
                </a:lnTo>
                <a:lnTo>
                  <a:pt x="552" y="203"/>
                </a:lnTo>
                <a:lnTo>
                  <a:pt x="541" y="196"/>
                </a:lnTo>
                <a:lnTo>
                  <a:pt x="541" y="196"/>
                </a:lnTo>
                <a:lnTo>
                  <a:pt x="559" y="185"/>
                </a:lnTo>
                <a:lnTo>
                  <a:pt x="572" y="174"/>
                </a:lnTo>
                <a:lnTo>
                  <a:pt x="581" y="165"/>
                </a:lnTo>
                <a:lnTo>
                  <a:pt x="585" y="157"/>
                </a:lnTo>
                <a:lnTo>
                  <a:pt x="585" y="157"/>
                </a:lnTo>
                <a:lnTo>
                  <a:pt x="588" y="150"/>
                </a:lnTo>
                <a:lnTo>
                  <a:pt x="592" y="139"/>
                </a:lnTo>
                <a:lnTo>
                  <a:pt x="592" y="128"/>
                </a:lnTo>
                <a:lnTo>
                  <a:pt x="592" y="115"/>
                </a:lnTo>
                <a:lnTo>
                  <a:pt x="588" y="103"/>
                </a:lnTo>
                <a:lnTo>
                  <a:pt x="583" y="90"/>
                </a:lnTo>
                <a:lnTo>
                  <a:pt x="574" y="79"/>
                </a:lnTo>
                <a:lnTo>
                  <a:pt x="566" y="73"/>
                </a:lnTo>
                <a:lnTo>
                  <a:pt x="559" y="68"/>
                </a:lnTo>
                <a:lnTo>
                  <a:pt x="559" y="68"/>
                </a:lnTo>
                <a:lnTo>
                  <a:pt x="548" y="62"/>
                </a:lnTo>
                <a:lnTo>
                  <a:pt x="535" y="59"/>
                </a:lnTo>
                <a:lnTo>
                  <a:pt x="524" y="57"/>
                </a:lnTo>
                <a:lnTo>
                  <a:pt x="513" y="57"/>
                </a:lnTo>
                <a:lnTo>
                  <a:pt x="495" y="60"/>
                </a:lnTo>
                <a:lnTo>
                  <a:pt x="481" y="64"/>
                </a:lnTo>
                <a:lnTo>
                  <a:pt x="481" y="64"/>
                </a:lnTo>
                <a:lnTo>
                  <a:pt x="471" y="70"/>
                </a:lnTo>
                <a:lnTo>
                  <a:pt x="462" y="77"/>
                </a:lnTo>
                <a:lnTo>
                  <a:pt x="455" y="84"/>
                </a:lnTo>
                <a:lnTo>
                  <a:pt x="449" y="93"/>
                </a:lnTo>
                <a:lnTo>
                  <a:pt x="446" y="104"/>
                </a:lnTo>
                <a:lnTo>
                  <a:pt x="442" y="115"/>
                </a:lnTo>
                <a:lnTo>
                  <a:pt x="442" y="126"/>
                </a:lnTo>
                <a:lnTo>
                  <a:pt x="442" y="141"/>
                </a:lnTo>
                <a:lnTo>
                  <a:pt x="442" y="141"/>
                </a:lnTo>
                <a:lnTo>
                  <a:pt x="446" y="150"/>
                </a:lnTo>
                <a:lnTo>
                  <a:pt x="449" y="159"/>
                </a:lnTo>
                <a:lnTo>
                  <a:pt x="455" y="168"/>
                </a:lnTo>
                <a:lnTo>
                  <a:pt x="460" y="174"/>
                </a:lnTo>
                <a:lnTo>
                  <a:pt x="477" y="185"/>
                </a:lnTo>
                <a:lnTo>
                  <a:pt x="495" y="196"/>
                </a:lnTo>
                <a:lnTo>
                  <a:pt x="495" y="196"/>
                </a:lnTo>
                <a:lnTo>
                  <a:pt x="481" y="203"/>
                </a:lnTo>
                <a:lnTo>
                  <a:pt x="470" y="214"/>
                </a:lnTo>
                <a:lnTo>
                  <a:pt x="466" y="219"/>
                </a:lnTo>
                <a:lnTo>
                  <a:pt x="464" y="227"/>
                </a:lnTo>
                <a:lnTo>
                  <a:pt x="462" y="234"/>
                </a:lnTo>
                <a:lnTo>
                  <a:pt x="460" y="243"/>
                </a:lnTo>
                <a:lnTo>
                  <a:pt x="460" y="243"/>
                </a:lnTo>
                <a:lnTo>
                  <a:pt x="462" y="254"/>
                </a:lnTo>
                <a:lnTo>
                  <a:pt x="466" y="267"/>
                </a:lnTo>
                <a:lnTo>
                  <a:pt x="468" y="282"/>
                </a:lnTo>
                <a:lnTo>
                  <a:pt x="468" y="291"/>
                </a:lnTo>
                <a:lnTo>
                  <a:pt x="466" y="300"/>
                </a:lnTo>
                <a:lnTo>
                  <a:pt x="466" y="300"/>
                </a:lnTo>
                <a:lnTo>
                  <a:pt x="468" y="300"/>
                </a:lnTo>
                <a:lnTo>
                  <a:pt x="475" y="298"/>
                </a:lnTo>
                <a:lnTo>
                  <a:pt x="484" y="291"/>
                </a:lnTo>
                <a:lnTo>
                  <a:pt x="484" y="291"/>
                </a:lnTo>
                <a:lnTo>
                  <a:pt x="488" y="280"/>
                </a:lnTo>
                <a:lnTo>
                  <a:pt x="490" y="269"/>
                </a:lnTo>
                <a:lnTo>
                  <a:pt x="490" y="256"/>
                </a:lnTo>
                <a:lnTo>
                  <a:pt x="490" y="256"/>
                </a:lnTo>
                <a:lnTo>
                  <a:pt x="493" y="261"/>
                </a:lnTo>
                <a:lnTo>
                  <a:pt x="495" y="271"/>
                </a:lnTo>
                <a:lnTo>
                  <a:pt x="495" y="278"/>
                </a:lnTo>
                <a:lnTo>
                  <a:pt x="493" y="285"/>
                </a:lnTo>
                <a:lnTo>
                  <a:pt x="493" y="285"/>
                </a:lnTo>
                <a:lnTo>
                  <a:pt x="501" y="282"/>
                </a:lnTo>
                <a:lnTo>
                  <a:pt x="504" y="278"/>
                </a:lnTo>
                <a:lnTo>
                  <a:pt x="508" y="274"/>
                </a:lnTo>
                <a:lnTo>
                  <a:pt x="508" y="274"/>
                </a:lnTo>
                <a:lnTo>
                  <a:pt x="510" y="261"/>
                </a:lnTo>
                <a:lnTo>
                  <a:pt x="510" y="249"/>
                </a:lnTo>
                <a:lnTo>
                  <a:pt x="506" y="240"/>
                </a:lnTo>
                <a:lnTo>
                  <a:pt x="504" y="232"/>
                </a:lnTo>
                <a:lnTo>
                  <a:pt x="504" y="232"/>
                </a:lnTo>
                <a:lnTo>
                  <a:pt x="502" y="225"/>
                </a:lnTo>
                <a:lnTo>
                  <a:pt x="504" y="218"/>
                </a:lnTo>
                <a:lnTo>
                  <a:pt x="510" y="210"/>
                </a:lnTo>
                <a:lnTo>
                  <a:pt x="515" y="207"/>
                </a:lnTo>
                <a:lnTo>
                  <a:pt x="515" y="207"/>
                </a:lnTo>
                <a:lnTo>
                  <a:pt x="533" y="216"/>
                </a:lnTo>
                <a:lnTo>
                  <a:pt x="533" y="216"/>
                </a:lnTo>
                <a:lnTo>
                  <a:pt x="541" y="221"/>
                </a:lnTo>
                <a:lnTo>
                  <a:pt x="552" y="230"/>
                </a:lnTo>
                <a:lnTo>
                  <a:pt x="563" y="243"/>
                </a:lnTo>
                <a:lnTo>
                  <a:pt x="568" y="250"/>
                </a:lnTo>
                <a:lnTo>
                  <a:pt x="572" y="260"/>
                </a:lnTo>
                <a:lnTo>
                  <a:pt x="572" y="260"/>
                </a:lnTo>
                <a:lnTo>
                  <a:pt x="577" y="271"/>
                </a:lnTo>
                <a:lnTo>
                  <a:pt x="579" y="282"/>
                </a:lnTo>
                <a:lnTo>
                  <a:pt x="579" y="291"/>
                </a:lnTo>
                <a:lnTo>
                  <a:pt x="579" y="300"/>
                </a:lnTo>
                <a:lnTo>
                  <a:pt x="576" y="313"/>
                </a:lnTo>
                <a:lnTo>
                  <a:pt x="572" y="320"/>
                </a:lnTo>
                <a:lnTo>
                  <a:pt x="572" y="320"/>
                </a:lnTo>
                <a:lnTo>
                  <a:pt x="565" y="329"/>
                </a:lnTo>
                <a:lnTo>
                  <a:pt x="557" y="338"/>
                </a:lnTo>
                <a:lnTo>
                  <a:pt x="546" y="344"/>
                </a:lnTo>
                <a:lnTo>
                  <a:pt x="533" y="345"/>
                </a:lnTo>
                <a:lnTo>
                  <a:pt x="533" y="345"/>
                </a:lnTo>
                <a:lnTo>
                  <a:pt x="532" y="345"/>
                </a:lnTo>
                <a:lnTo>
                  <a:pt x="532" y="345"/>
                </a:lnTo>
                <a:lnTo>
                  <a:pt x="517" y="345"/>
                </a:lnTo>
                <a:lnTo>
                  <a:pt x="517" y="345"/>
                </a:lnTo>
                <a:lnTo>
                  <a:pt x="504" y="342"/>
                </a:lnTo>
                <a:lnTo>
                  <a:pt x="504" y="342"/>
                </a:lnTo>
                <a:lnTo>
                  <a:pt x="493" y="338"/>
                </a:lnTo>
                <a:lnTo>
                  <a:pt x="493" y="338"/>
                </a:lnTo>
                <a:lnTo>
                  <a:pt x="482" y="333"/>
                </a:lnTo>
                <a:lnTo>
                  <a:pt x="466" y="322"/>
                </a:lnTo>
                <a:lnTo>
                  <a:pt x="448" y="309"/>
                </a:lnTo>
                <a:lnTo>
                  <a:pt x="429" y="291"/>
                </a:lnTo>
                <a:lnTo>
                  <a:pt x="429" y="291"/>
                </a:lnTo>
                <a:lnTo>
                  <a:pt x="406" y="261"/>
                </a:lnTo>
                <a:lnTo>
                  <a:pt x="389" y="241"/>
                </a:lnTo>
                <a:lnTo>
                  <a:pt x="389" y="241"/>
                </a:lnTo>
                <a:lnTo>
                  <a:pt x="398" y="245"/>
                </a:lnTo>
                <a:lnTo>
                  <a:pt x="406" y="245"/>
                </a:lnTo>
                <a:lnTo>
                  <a:pt x="415" y="245"/>
                </a:lnTo>
                <a:lnTo>
                  <a:pt x="415" y="245"/>
                </a:lnTo>
                <a:lnTo>
                  <a:pt x="417" y="229"/>
                </a:lnTo>
                <a:lnTo>
                  <a:pt x="417" y="212"/>
                </a:lnTo>
                <a:lnTo>
                  <a:pt x="417" y="212"/>
                </a:lnTo>
                <a:lnTo>
                  <a:pt x="417" y="198"/>
                </a:lnTo>
                <a:lnTo>
                  <a:pt x="417" y="198"/>
                </a:lnTo>
                <a:lnTo>
                  <a:pt x="411" y="198"/>
                </a:lnTo>
                <a:lnTo>
                  <a:pt x="398" y="194"/>
                </a:lnTo>
                <a:lnTo>
                  <a:pt x="393" y="192"/>
                </a:lnTo>
                <a:lnTo>
                  <a:pt x="386" y="188"/>
                </a:lnTo>
                <a:lnTo>
                  <a:pt x="380" y="185"/>
                </a:lnTo>
                <a:lnTo>
                  <a:pt x="376" y="179"/>
                </a:lnTo>
                <a:lnTo>
                  <a:pt x="376" y="179"/>
                </a:lnTo>
                <a:lnTo>
                  <a:pt x="382" y="181"/>
                </a:lnTo>
                <a:lnTo>
                  <a:pt x="387" y="183"/>
                </a:lnTo>
                <a:lnTo>
                  <a:pt x="395" y="185"/>
                </a:lnTo>
                <a:lnTo>
                  <a:pt x="395" y="185"/>
                </a:lnTo>
                <a:lnTo>
                  <a:pt x="411" y="183"/>
                </a:lnTo>
                <a:lnTo>
                  <a:pt x="418" y="183"/>
                </a:lnTo>
                <a:lnTo>
                  <a:pt x="418" y="183"/>
                </a:lnTo>
                <a:lnTo>
                  <a:pt x="420" y="166"/>
                </a:lnTo>
                <a:lnTo>
                  <a:pt x="420" y="152"/>
                </a:lnTo>
                <a:lnTo>
                  <a:pt x="420" y="152"/>
                </a:lnTo>
                <a:lnTo>
                  <a:pt x="420" y="137"/>
                </a:lnTo>
                <a:lnTo>
                  <a:pt x="420" y="137"/>
                </a:lnTo>
                <a:lnTo>
                  <a:pt x="409" y="137"/>
                </a:lnTo>
                <a:lnTo>
                  <a:pt x="396" y="135"/>
                </a:lnTo>
                <a:lnTo>
                  <a:pt x="396" y="135"/>
                </a:lnTo>
                <a:lnTo>
                  <a:pt x="384" y="130"/>
                </a:lnTo>
                <a:lnTo>
                  <a:pt x="378" y="126"/>
                </a:lnTo>
                <a:lnTo>
                  <a:pt x="375" y="121"/>
                </a:lnTo>
                <a:lnTo>
                  <a:pt x="375" y="121"/>
                </a:lnTo>
                <a:lnTo>
                  <a:pt x="380" y="123"/>
                </a:lnTo>
                <a:lnTo>
                  <a:pt x="395" y="126"/>
                </a:lnTo>
                <a:lnTo>
                  <a:pt x="395" y="126"/>
                </a:lnTo>
                <a:lnTo>
                  <a:pt x="404" y="126"/>
                </a:lnTo>
                <a:lnTo>
                  <a:pt x="413" y="124"/>
                </a:lnTo>
                <a:lnTo>
                  <a:pt x="420" y="124"/>
                </a:lnTo>
                <a:lnTo>
                  <a:pt x="422" y="123"/>
                </a:lnTo>
                <a:lnTo>
                  <a:pt x="422" y="123"/>
                </a:lnTo>
                <a:lnTo>
                  <a:pt x="422" y="93"/>
                </a:lnTo>
                <a:lnTo>
                  <a:pt x="422" y="93"/>
                </a:lnTo>
                <a:lnTo>
                  <a:pt x="424" y="86"/>
                </a:lnTo>
                <a:lnTo>
                  <a:pt x="424" y="77"/>
                </a:lnTo>
                <a:lnTo>
                  <a:pt x="424" y="77"/>
                </a:lnTo>
                <a:lnTo>
                  <a:pt x="418" y="77"/>
                </a:lnTo>
                <a:lnTo>
                  <a:pt x="407" y="75"/>
                </a:lnTo>
                <a:lnTo>
                  <a:pt x="395" y="70"/>
                </a:lnTo>
                <a:lnTo>
                  <a:pt x="389" y="66"/>
                </a:lnTo>
                <a:lnTo>
                  <a:pt x="382" y="60"/>
                </a:lnTo>
                <a:lnTo>
                  <a:pt x="382" y="60"/>
                </a:lnTo>
                <a:lnTo>
                  <a:pt x="380" y="57"/>
                </a:lnTo>
                <a:lnTo>
                  <a:pt x="380" y="53"/>
                </a:lnTo>
                <a:lnTo>
                  <a:pt x="382" y="46"/>
                </a:lnTo>
                <a:lnTo>
                  <a:pt x="382" y="46"/>
                </a:lnTo>
                <a:lnTo>
                  <a:pt x="349" y="31"/>
                </a:lnTo>
                <a:lnTo>
                  <a:pt x="349" y="31"/>
                </a:lnTo>
                <a:lnTo>
                  <a:pt x="353" y="28"/>
                </a:lnTo>
                <a:lnTo>
                  <a:pt x="356" y="22"/>
                </a:lnTo>
                <a:lnTo>
                  <a:pt x="356" y="18"/>
                </a:lnTo>
                <a:lnTo>
                  <a:pt x="356" y="18"/>
                </a:lnTo>
                <a:lnTo>
                  <a:pt x="354" y="13"/>
                </a:lnTo>
                <a:lnTo>
                  <a:pt x="349" y="9"/>
                </a:lnTo>
                <a:lnTo>
                  <a:pt x="343" y="8"/>
                </a:lnTo>
                <a:lnTo>
                  <a:pt x="336" y="8"/>
                </a:lnTo>
                <a:lnTo>
                  <a:pt x="336" y="8"/>
                </a:lnTo>
                <a:lnTo>
                  <a:pt x="329" y="9"/>
                </a:lnTo>
                <a:lnTo>
                  <a:pt x="325" y="13"/>
                </a:lnTo>
                <a:lnTo>
                  <a:pt x="320" y="18"/>
                </a:lnTo>
                <a:lnTo>
                  <a:pt x="280" y="0"/>
                </a:lnTo>
                <a:lnTo>
                  <a:pt x="247" y="33"/>
                </a:lnTo>
                <a:lnTo>
                  <a:pt x="247" y="33"/>
                </a:lnTo>
                <a:lnTo>
                  <a:pt x="245" y="35"/>
                </a:lnTo>
                <a:lnTo>
                  <a:pt x="245" y="39"/>
                </a:lnTo>
                <a:lnTo>
                  <a:pt x="245" y="42"/>
                </a:lnTo>
                <a:lnTo>
                  <a:pt x="245" y="42"/>
                </a:lnTo>
                <a:lnTo>
                  <a:pt x="245" y="44"/>
                </a:lnTo>
                <a:lnTo>
                  <a:pt x="243" y="46"/>
                </a:lnTo>
                <a:lnTo>
                  <a:pt x="243" y="46"/>
                </a:lnTo>
                <a:lnTo>
                  <a:pt x="234" y="57"/>
                </a:lnTo>
                <a:lnTo>
                  <a:pt x="234" y="57"/>
                </a:lnTo>
                <a:lnTo>
                  <a:pt x="228" y="66"/>
                </a:lnTo>
                <a:lnTo>
                  <a:pt x="228" y="66"/>
                </a:lnTo>
                <a:lnTo>
                  <a:pt x="225" y="73"/>
                </a:lnTo>
                <a:lnTo>
                  <a:pt x="223" y="79"/>
                </a:lnTo>
                <a:lnTo>
                  <a:pt x="223" y="79"/>
                </a:lnTo>
                <a:lnTo>
                  <a:pt x="221" y="81"/>
                </a:lnTo>
                <a:lnTo>
                  <a:pt x="221" y="84"/>
                </a:lnTo>
                <a:lnTo>
                  <a:pt x="225" y="92"/>
                </a:lnTo>
                <a:lnTo>
                  <a:pt x="234" y="99"/>
                </a:lnTo>
                <a:lnTo>
                  <a:pt x="234" y="101"/>
                </a:lnTo>
                <a:lnTo>
                  <a:pt x="234" y="101"/>
                </a:lnTo>
                <a:lnTo>
                  <a:pt x="236" y="99"/>
                </a:lnTo>
                <a:lnTo>
                  <a:pt x="238" y="99"/>
                </a:lnTo>
                <a:lnTo>
                  <a:pt x="238" y="99"/>
                </a:lnTo>
                <a:lnTo>
                  <a:pt x="243" y="104"/>
                </a:lnTo>
                <a:lnTo>
                  <a:pt x="243" y="104"/>
                </a:lnTo>
                <a:lnTo>
                  <a:pt x="245" y="101"/>
                </a:lnTo>
                <a:lnTo>
                  <a:pt x="248" y="95"/>
                </a:lnTo>
                <a:lnTo>
                  <a:pt x="248" y="95"/>
                </a:lnTo>
                <a:lnTo>
                  <a:pt x="254" y="88"/>
                </a:lnTo>
                <a:lnTo>
                  <a:pt x="261" y="82"/>
                </a:lnTo>
                <a:lnTo>
                  <a:pt x="261" y="82"/>
                </a:lnTo>
                <a:lnTo>
                  <a:pt x="269" y="79"/>
                </a:lnTo>
                <a:lnTo>
                  <a:pt x="276" y="79"/>
                </a:lnTo>
                <a:lnTo>
                  <a:pt x="276" y="79"/>
                </a:lnTo>
                <a:lnTo>
                  <a:pt x="283" y="79"/>
                </a:lnTo>
                <a:lnTo>
                  <a:pt x="289" y="82"/>
                </a:lnTo>
                <a:lnTo>
                  <a:pt x="289" y="82"/>
                </a:lnTo>
                <a:lnTo>
                  <a:pt x="292" y="88"/>
                </a:lnTo>
                <a:lnTo>
                  <a:pt x="294" y="95"/>
                </a:lnTo>
                <a:lnTo>
                  <a:pt x="294" y="103"/>
                </a:lnTo>
                <a:lnTo>
                  <a:pt x="294" y="108"/>
                </a:lnTo>
                <a:lnTo>
                  <a:pt x="294" y="108"/>
                </a:lnTo>
                <a:lnTo>
                  <a:pt x="290" y="104"/>
                </a:lnTo>
                <a:lnTo>
                  <a:pt x="290" y="104"/>
                </a:lnTo>
                <a:lnTo>
                  <a:pt x="285" y="103"/>
                </a:lnTo>
                <a:lnTo>
                  <a:pt x="276" y="101"/>
                </a:lnTo>
                <a:lnTo>
                  <a:pt x="265" y="101"/>
                </a:lnTo>
                <a:lnTo>
                  <a:pt x="254" y="103"/>
                </a:lnTo>
                <a:lnTo>
                  <a:pt x="254" y="103"/>
                </a:lnTo>
                <a:lnTo>
                  <a:pt x="241" y="108"/>
                </a:lnTo>
                <a:lnTo>
                  <a:pt x="219" y="115"/>
                </a:lnTo>
                <a:lnTo>
                  <a:pt x="219" y="115"/>
                </a:lnTo>
                <a:lnTo>
                  <a:pt x="214" y="117"/>
                </a:lnTo>
                <a:lnTo>
                  <a:pt x="208" y="117"/>
                </a:lnTo>
                <a:lnTo>
                  <a:pt x="205" y="113"/>
                </a:lnTo>
                <a:lnTo>
                  <a:pt x="203" y="110"/>
                </a:lnTo>
                <a:lnTo>
                  <a:pt x="203" y="110"/>
                </a:lnTo>
                <a:lnTo>
                  <a:pt x="203" y="104"/>
                </a:lnTo>
                <a:lnTo>
                  <a:pt x="203" y="101"/>
                </a:lnTo>
                <a:lnTo>
                  <a:pt x="205" y="97"/>
                </a:lnTo>
                <a:lnTo>
                  <a:pt x="205" y="97"/>
                </a:lnTo>
                <a:lnTo>
                  <a:pt x="199" y="101"/>
                </a:lnTo>
                <a:lnTo>
                  <a:pt x="194" y="104"/>
                </a:lnTo>
                <a:lnTo>
                  <a:pt x="190" y="110"/>
                </a:lnTo>
                <a:lnTo>
                  <a:pt x="190" y="110"/>
                </a:lnTo>
                <a:lnTo>
                  <a:pt x="190" y="117"/>
                </a:lnTo>
                <a:lnTo>
                  <a:pt x="192" y="124"/>
                </a:lnTo>
                <a:lnTo>
                  <a:pt x="195" y="128"/>
                </a:lnTo>
                <a:lnTo>
                  <a:pt x="201" y="132"/>
                </a:lnTo>
                <a:lnTo>
                  <a:pt x="201" y="132"/>
                </a:lnTo>
                <a:lnTo>
                  <a:pt x="208" y="132"/>
                </a:lnTo>
                <a:lnTo>
                  <a:pt x="217" y="130"/>
                </a:lnTo>
                <a:lnTo>
                  <a:pt x="234" y="123"/>
                </a:lnTo>
                <a:lnTo>
                  <a:pt x="234" y="123"/>
                </a:lnTo>
                <a:lnTo>
                  <a:pt x="250" y="113"/>
                </a:lnTo>
                <a:lnTo>
                  <a:pt x="250" y="113"/>
                </a:lnTo>
                <a:lnTo>
                  <a:pt x="258" y="112"/>
                </a:lnTo>
                <a:lnTo>
                  <a:pt x="263" y="110"/>
                </a:lnTo>
                <a:lnTo>
                  <a:pt x="270" y="112"/>
                </a:lnTo>
                <a:lnTo>
                  <a:pt x="278" y="113"/>
                </a:lnTo>
                <a:lnTo>
                  <a:pt x="278" y="113"/>
                </a:lnTo>
                <a:lnTo>
                  <a:pt x="285" y="119"/>
                </a:lnTo>
                <a:lnTo>
                  <a:pt x="289" y="121"/>
                </a:lnTo>
                <a:lnTo>
                  <a:pt x="289" y="121"/>
                </a:lnTo>
                <a:lnTo>
                  <a:pt x="285" y="126"/>
                </a:lnTo>
                <a:lnTo>
                  <a:pt x="281" y="130"/>
                </a:lnTo>
                <a:lnTo>
                  <a:pt x="274" y="130"/>
                </a:lnTo>
                <a:lnTo>
                  <a:pt x="274" y="130"/>
                </a:lnTo>
                <a:lnTo>
                  <a:pt x="267" y="130"/>
                </a:lnTo>
                <a:lnTo>
                  <a:pt x="261" y="128"/>
                </a:lnTo>
                <a:lnTo>
                  <a:pt x="256" y="124"/>
                </a:lnTo>
                <a:lnTo>
                  <a:pt x="254" y="121"/>
                </a:lnTo>
                <a:lnTo>
                  <a:pt x="254" y="121"/>
                </a:lnTo>
                <a:lnTo>
                  <a:pt x="250" y="128"/>
                </a:lnTo>
                <a:lnTo>
                  <a:pt x="250" y="128"/>
                </a:lnTo>
                <a:lnTo>
                  <a:pt x="248" y="132"/>
                </a:lnTo>
                <a:lnTo>
                  <a:pt x="248" y="135"/>
                </a:lnTo>
                <a:lnTo>
                  <a:pt x="250" y="137"/>
                </a:lnTo>
                <a:lnTo>
                  <a:pt x="248" y="141"/>
                </a:lnTo>
                <a:lnTo>
                  <a:pt x="248" y="141"/>
                </a:lnTo>
                <a:lnTo>
                  <a:pt x="247" y="143"/>
                </a:lnTo>
                <a:lnTo>
                  <a:pt x="245" y="146"/>
                </a:lnTo>
                <a:lnTo>
                  <a:pt x="238" y="152"/>
                </a:lnTo>
                <a:lnTo>
                  <a:pt x="238" y="152"/>
                </a:lnTo>
                <a:lnTo>
                  <a:pt x="227" y="157"/>
                </a:lnTo>
                <a:lnTo>
                  <a:pt x="219" y="159"/>
                </a:lnTo>
                <a:lnTo>
                  <a:pt x="219" y="159"/>
                </a:lnTo>
                <a:lnTo>
                  <a:pt x="227" y="176"/>
                </a:lnTo>
                <a:lnTo>
                  <a:pt x="227" y="176"/>
                </a:lnTo>
                <a:lnTo>
                  <a:pt x="232" y="187"/>
                </a:lnTo>
                <a:lnTo>
                  <a:pt x="236" y="194"/>
                </a:lnTo>
                <a:lnTo>
                  <a:pt x="239" y="199"/>
                </a:lnTo>
                <a:lnTo>
                  <a:pt x="239" y="199"/>
                </a:lnTo>
                <a:lnTo>
                  <a:pt x="247" y="198"/>
                </a:lnTo>
                <a:lnTo>
                  <a:pt x="259" y="192"/>
                </a:lnTo>
                <a:lnTo>
                  <a:pt x="259" y="192"/>
                </a:lnTo>
                <a:lnTo>
                  <a:pt x="269" y="185"/>
                </a:lnTo>
                <a:lnTo>
                  <a:pt x="274" y="177"/>
                </a:lnTo>
                <a:lnTo>
                  <a:pt x="274" y="177"/>
                </a:lnTo>
                <a:lnTo>
                  <a:pt x="267" y="194"/>
                </a:lnTo>
                <a:lnTo>
                  <a:pt x="261" y="203"/>
                </a:lnTo>
                <a:lnTo>
                  <a:pt x="254" y="210"/>
                </a:lnTo>
                <a:lnTo>
                  <a:pt x="248" y="216"/>
                </a:lnTo>
                <a:lnTo>
                  <a:pt x="248" y="216"/>
                </a:lnTo>
                <a:lnTo>
                  <a:pt x="225" y="232"/>
                </a:lnTo>
                <a:lnTo>
                  <a:pt x="192" y="250"/>
                </a:lnTo>
                <a:lnTo>
                  <a:pt x="172" y="261"/>
                </a:lnTo>
                <a:lnTo>
                  <a:pt x="153" y="269"/>
                </a:lnTo>
                <a:lnTo>
                  <a:pt x="133" y="276"/>
                </a:lnTo>
                <a:lnTo>
                  <a:pt x="113" y="280"/>
                </a:lnTo>
                <a:lnTo>
                  <a:pt x="113" y="280"/>
                </a:lnTo>
                <a:lnTo>
                  <a:pt x="108" y="278"/>
                </a:lnTo>
                <a:lnTo>
                  <a:pt x="100" y="276"/>
                </a:lnTo>
                <a:lnTo>
                  <a:pt x="88" y="267"/>
                </a:lnTo>
                <a:lnTo>
                  <a:pt x="75" y="258"/>
                </a:lnTo>
                <a:lnTo>
                  <a:pt x="68" y="249"/>
                </a:lnTo>
                <a:lnTo>
                  <a:pt x="68" y="249"/>
                </a:lnTo>
                <a:lnTo>
                  <a:pt x="66" y="249"/>
                </a:lnTo>
                <a:lnTo>
                  <a:pt x="62" y="247"/>
                </a:lnTo>
                <a:lnTo>
                  <a:pt x="58" y="249"/>
                </a:lnTo>
                <a:lnTo>
                  <a:pt x="53" y="252"/>
                </a:lnTo>
                <a:lnTo>
                  <a:pt x="53" y="252"/>
                </a:lnTo>
                <a:lnTo>
                  <a:pt x="49" y="252"/>
                </a:lnTo>
                <a:lnTo>
                  <a:pt x="42" y="252"/>
                </a:lnTo>
                <a:lnTo>
                  <a:pt x="31" y="254"/>
                </a:lnTo>
                <a:lnTo>
                  <a:pt x="27" y="258"/>
                </a:lnTo>
                <a:lnTo>
                  <a:pt x="24" y="261"/>
                </a:lnTo>
                <a:lnTo>
                  <a:pt x="24" y="261"/>
                </a:lnTo>
                <a:lnTo>
                  <a:pt x="24" y="263"/>
                </a:lnTo>
                <a:lnTo>
                  <a:pt x="29" y="263"/>
                </a:lnTo>
                <a:lnTo>
                  <a:pt x="35" y="261"/>
                </a:lnTo>
                <a:lnTo>
                  <a:pt x="42" y="263"/>
                </a:lnTo>
                <a:lnTo>
                  <a:pt x="42" y="263"/>
                </a:lnTo>
                <a:lnTo>
                  <a:pt x="44" y="265"/>
                </a:lnTo>
                <a:lnTo>
                  <a:pt x="42" y="267"/>
                </a:lnTo>
                <a:lnTo>
                  <a:pt x="40" y="269"/>
                </a:lnTo>
                <a:lnTo>
                  <a:pt x="40" y="272"/>
                </a:lnTo>
                <a:lnTo>
                  <a:pt x="40" y="272"/>
                </a:lnTo>
                <a:lnTo>
                  <a:pt x="40" y="274"/>
                </a:lnTo>
                <a:lnTo>
                  <a:pt x="44" y="278"/>
                </a:lnTo>
                <a:lnTo>
                  <a:pt x="53" y="282"/>
                </a:lnTo>
                <a:lnTo>
                  <a:pt x="71" y="289"/>
                </a:lnTo>
                <a:lnTo>
                  <a:pt x="71" y="289"/>
                </a:lnTo>
                <a:lnTo>
                  <a:pt x="73" y="291"/>
                </a:lnTo>
                <a:lnTo>
                  <a:pt x="73" y="293"/>
                </a:lnTo>
                <a:lnTo>
                  <a:pt x="73" y="293"/>
                </a:lnTo>
                <a:lnTo>
                  <a:pt x="60" y="291"/>
                </a:lnTo>
                <a:lnTo>
                  <a:pt x="51" y="287"/>
                </a:lnTo>
                <a:lnTo>
                  <a:pt x="38" y="282"/>
                </a:lnTo>
                <a:lnTo>
                  <a:pt x="38" y="282"/>
                </a:lnTo>
                <a:lnTo>
                  <a:pt x="29" y="280"/>
                </a:lnTo>
                <a:lnTo>
                  <a:pt x="24" y="280"/>
                </a:lnTo>
                <a:lnTo>
                  <a:pt x="22" y="283"/>
                </a:lnTo>
                <a:lnTo>
                  <a:pt x="20" y="287"/>
                </a:lnTo>
                <a:lnTo>
                  <a:pt x="20" y="287"/>
                </a:lnTo>
                <a:lnTo>
                  <a:pt x="18" y="289"/>
                </a:lnTo>
                <a:lnTo>
                  <a:pt x="16" y="289"/>
                </a:lnTo>
                <a:lnTo>
                  <a:pt x="11" y="293"/>
                </a:lnTo>
                <a:lnTo>
                  <a:pt x="7" y="294"/>
                </a:lnTo>
                <a:lnTo>
                  <a:pt x="4" y="300"/>
                </a:lnTo>
                <a:lnTo>
                  <a:pt x="2" y="305"/>
                </a:lnTo>
                <a:lnTo>
                  <a:pt x="0" y="314"/>
                </a:lnTo>
                <a:lnTo>
                  <a:pt x="0" y="314"/>
                </a:lnTo>
                <a:lnTo>
                  <a:pt x="4" y="313"/>
                </a:lnTo>
                <a:lnTo>
                  <a:pt x="9" y="307"/>
                </a:lnTo>
                <a:lnTo>
                  <a:pt x="15" y="303"/>
                </a:lnTo>
                <a:lnTo>
                  <a:pt x="18" y="302"/>
                </a:lnTo>
                <a:lnTo>
                  <a:pt x="18" y="303"/>
                </a:lnTo>
                <a:lnTo>
                  <a:pt x="18" y="303"/>
                </a:lnTo>
                <a:lnTo>
                  <a:pt x="22" y="311"/>
                </a:lnTo>
                <a:lnTo>
                  <a:pt x="27" y="314"/>
                </a:lnTo>
                <a:lnTo>
                  <a:pt x="35" y="314"/>
                </a:lnTo>
                <a:lnTo>
                  <a:pt x="42" y="314"/>
                </a:lnTo>
                <a:lnTo>
                  <a:pt x="58" y="313"/>
                </a:lnTo>
                <a:lnTo>
                  <a:pt x="66" y="313"/>
                </a:lnTo>
                <a:lnTo>
                  <a:pt x="69" y="313"/>
                </a:lnTo>
                <a:lnTo>
                  <a:pt x="69" y="313"/>
                </a:lnTo>
                <a:lnTo>
                  <a:pt x="69" y="314"/>
                </a:lnTo>
                <a:lnTo>
                  <a:pt x="69" y="314"/>
                </a:lnTo>
                <a:lnTo>
                  <a:pt x="66" y="316"/>
                </a:lnTo>
                <a:lnTo>
                  <a:pt x="53" y="318"/>
                </a:lnTo>
                <a:lnTo>
                  <a:pt x="46" y="320"/>
                </a:lnTo>
                <a:lnTo>
                  <a:pt x="38" y="324"/>
                </a:lnTo>
                <a:lnTo>
                  <a:pt x="37" y="325"/>
                </a:lnTo>
                <a:lnTo>
                  <a:pt x="35" y="329"/>
                </a:lnTo>
                <a:lnTo>
                  <a:pt x="37" y="331"/>
                </a:lnTo>
                <a:lnTo>
                  <a:pt x="37" y="331"/>
                </a:lnTo>
                <a:lnTo>
                  <a:pt x="33" y="335"/>
                </a:lnTo>
                <a:lnTo>
                  <a:pt x="29" y="342"/>
                </a:lnTo>
                <a:lnTo>
                  <a:pt x="27" y="345"/>
                </a:lnTo>
                <a:lnTo>
                  <a:pt x="27" y="351"/>
                </a:lnTo>
                <a:lnTo>
                  <a:pt x="29" y="356"/>
                </a:lnTo>
                <a:lnTo>
                  <a:pt x="35" y="364"/>
                </a:lnTo>
                <a:lnTo>
                  <a:pt x="35" y="364"/>
                </a:lnTo>
                <a:lnTo>
                  <a:pt x="37" y="353"/>
                </a:lnTo>
                <a:lnTo>
                  <a:pt x="40" y="347"/>
                </a:lnTo>
                <a:lnTo>
                  <a:pt x="42" y="345"/>
                </a:lnTo>
                <a:lnTo>
                  <a:pt x="46" y="345"/>
                </a:lnTo>
                <a:lnTo>
                  <a:pt x="46" y="345"/>
                </a:lnTo>
                <a:lnTo>
                  <a:pt x="53" y="345"/>
                </a:lnTo>
                <a:lnTo>
                  <a:pt x="58" y="349"/>
                </a:lnTo>
                <a:lnTo>
                  <a:pt x="64" y="349"/>
                </a:lnTo>
                <a:lnTo>
                  <a:pt x="71" y="345"/>
                </a:lnTo>
                <a:lnTo>
                  <a:pt x="71" y="345"/>
                </a:lnTo>
                <a:lnTo>
                  <a:pt x="79" y="340"/>
                </a:lnTo>
                <a:lnTo>
                  <a:pt x="84" y="336"/>
                </a:lnTo>
                <a:lnTo>
                  <a:pt x="95" y="333"/>
                </a:lnTo>
                <a:lnTo>
                  <a:pt x="95" y="333"/>
                </a:lnTo>
                <a:lnTo>
                  <a:pt x="95" y="336"/>
                </a:lnTo>
                <a:lnTo>
                  <a:pt x="99" y="342"/>
                </a:lnTo>
                <a:lnTo>
                  <a:pt x="99" y="342"/>
                </a:lnTo>
                <a:lnTo>
                  <a:pt x="102" y="344"/>
                </a:lnTo>
                <a:lnTo>
                  <a:pt x="104" y="345"/>
                </a:lnTo>
                <a:lnTo>
                  <a:pt x="104" y="345"/>
                </a:lnTo>
                <a:lnTo>
                  <a:pt x="104" y="345"/>
                </a:lnTo>
                <a:lnTo>
                  <a:pt x="102" y="351"/>
                </a:lnTo>
                <a:lnTo>
                  <a:pt x="99" y="356"/>
                </a:lnTo>
                <a:lnTo>
                  <a:pt x="95" y="360"/>
                </a:lnTo>
                <a:lnTo>
                  <a:pt x="95" y="360"/>
                </a:lnTo>
                <a:lnTo>
                  <a:pt x="97" y="360"/>
                </a:lnTo>
                <a:lnTo>
                  <a:pt x="102" y="360"/>
                </a:lnTo>
                <a:lnTo>
                  <a:pt x="108" y="358"/>
                </a:lnTo>
                <a:lnTo>
                  <a:pt x="111" y="355"/>
                </a:lnTo>
                <a:lnTo>
                  <a:pt x="115" y="349"/>
                </a:lnTo>
                <a:lnTo>
                  <a:pt x="115" y="349"/>
                </a:lnTo>
                <a:lnTo>
                  <a:pt x="117" y="347"/>
                </a:lnTo>
                <a:lnTo>
                  <a:pt x="119" y="347"/>
                </a:lnTo>
                <a:lnTo>
                  <a:pt x="124" y="347"/>
                </a:lnTo>
                <a:lnTo>
                  <a:pt x="124" y="347"/>
                </a:lnTo>
                <a:lnTo>
                  <a:pt x="128" y="345"/>
                </a:lnTo>
                <a:lnTo>
                  <a:pt x="130" y="344"/>
                </a:lnTo>
                <a:lnTo>
                  <a:pt x="130" y="338"/>
                </a:lnTo>
                <a:lnTo>
                  <a:pt x="130" y="333"/>
                </a:lnTo>
                <a:lnTo>
                  <a:pt x="130" y="329"/>
                </a:lnTo>
                <a:lnTo>
                  <a:pt x="132" y="327"/>
                </a:lnTo>
                <a:lnTo>
                  <a:pt x="132" y="327"/>
                </a:lnTo>
                <a:lnTo>
                  <a:pt x="139" y="322"/>
                </a:lnTo>
                <a:lnTo>
                  <a:pt x="146" y="316"/>
                </a:lnTo>
                <a:lnTo>
                  <a:pt x="163" y="309"/>
                </a:lnTo>
                <a:lnTo>
                  <a:pt x="163" y="309"/>
                </a:lnTo>
                <a:lnTo>
                  <a:pt x="161" y="316"/>
                </a:lnTo>
                <a:lnTo>
                  <a:pt x="161" y="324"/>
                </a:lnTo>
                <a:lnTo>
                  <a:pt x="164" y="333"/>
                </a:lnTo>
                <a:lnTo>
                  <a:pt x="205" y="322"/>
                </a:lnTo>
                <a:lnTo>
                  <a:pt x="205" y="322"/>
                </a:lnTo>
                <a:lnTo>
                  <a:pt x="203" y="313"/>
                </a:lnTo>
                <a:lnTo>
                  <a:pt x="205" y="305"/>
                </a:lnTo>
                <a:lnTo>
                  <a:pt x="210" y="296"/>
                </a:lnTo>
                <a:lnTo>
                  <a:pt x="216" y="287"/>
                </a:lnTo>
                <a:lnTo>
                  <a:pt x="216" y="287"/>
                </a:lnTo>
                <a:lnTo>
                  <a:pt x="216" y="291"/>
                </a:lnTo>
                <a:lnTo>
                  <a:pt x="214" y="300"/>
                </a:lnTo>
                <a:lnTo>
                  <a:pt x="214" y="311"/>
                </a:lnTo>
                <a:lnTo>
                  <a:pt x="214" y="316"/>
                </a:lnTo>
                <a:lnTo>
                  <a:pt x="216" y="318"/>
                </a:lnTo>
                <a:lnTo>
                  <a:pt x="256" y="309"/>
                </a:lnTo>
                <a:lnTo>
                  <a:pt x="256" y="309"/>
                </a:lnTo>
                <a:lnTo>
                  <a:pt x="254" y="303"/>
                </a:lnTo>
                <a:lnTo>
                  <a:pt x="254" y="296"/>
                </a:lnTo>
                <a:lnTo>
                  <a:pt x="258" y="283"/>
                </a:lnTo>
                <a:lnTo>
                  <a:pt x="258" y="283"/>
                </a:lnTo>
                <a:lnTo>
                  <a:pt x="261" y="298"/>
                </a:lnTo>
                <a:lnTo>
                  <a:pt x="269" y="311"/>
                </a:lnTo>
                <a:lnTo>
                  <a:pt x="278" y="322"/>
                </a:lnTo>
                <a:lnTo>
                  <a:pt x="283" y="325"/>
                </a:lnTo>
                <a:lnTo>
                  <a:pt x="289" y="329"/>
                </a:lnTo>
                <a:lnTo>
                  <a:pt x="289" y="329"/>
                </a:lnTo>
                <a:lnTo>
                  <a:pt x="311" y="338"/>
                </a:lnTo>
                <a:lnTo>
                  <a:pt x="334" y="345"/>
                </a:lnTo>
                <a:lnTo>
                  <a:pt x="391" y="362"/>
                </a:lnTo>
                <a:lnTo>
                  <a:pt x="391" y="362"/>
                </a:lnTo>
                <a:lnTo>
                  <a:pt x="407" y="367"/>
                </a:lnTo>
                <a:lnTo>
                  <a:pt x="420" y="373"/>
                </a:lnTo>
                <a:lnTo>
                  <a:pt x="420" y="373"/>
                </a:lnTo>
                <a:lnTo>
                  <a:pt x="424" y="375"/>
                </a:lnTo>
                <a:lnTo>
                  <a:pt x="424" y="377"/>
                </a:lnTo>
                <a:lnTo>
                  <a:pt x="422" y="382"/>
                </a:lnTo>
                <a:lnTo>
                  <a:pt x="417" y="386"/>
                </a:lnTo>
                <a:lnTo>
                  <a:pt x="417" y="386"/>
                </a:lnTo>
                <a:lnTo>
                  <a:pt x="424" y="391"/>
                </a:lnTo>
                <a:lnTo>
                  <a:pt x="438" y="400"/>
                </a:lnTo>
                <a:lnTo>
                  <a:pt x="438" y="400"/>
                </a:lnTo>
                <a:lnTo>
                  <a:pt x="448" y="409"/>
                </a:lnTo>
                <a:lnTo>
                  <a:pt x="453" y="420"/>
                </a:lnTo>
                <a:lnTo>
                  <a:pt x="459" y="435"/>
                </a:lnTo>
                <a:lnTo>
                  <a:pt x="462" y="450"/>
                </a:lnTo>
                <a:lnTo>
                  <a:pt x="462" y="450"/>
                </a:lnTo>
                <a:lnTo>
                  <a:pt x="466" y="462"/>
                </a:lnTo>
                <a:lnTo>
                  <a:pt x="466" y="475"/>
                </a:lnTo>
                <a:lnTo>
                  <a:pt x="466" y="486"/>
                </a:lnTo>
                <a:lnTo>
                  <a:pt x="466" y="492"/>
                </a:lnTo>
                <a:lnTo>
                  <a:pt x="464" y="493"/>
                </a:lnTo>
                <a:lnTo>
                  <a:pt x="464" y="493"/>
                </a:lnTo>
                <a:lnTo>
                  <a:pt x="460" y="497"/>
                </a:lnTo>
                <a:lnTo>
                  <a:pt x="457" y="499"/>
                </a:lnTo>
                <a:lnTo>
                  <a:pt x="451" y="501"/>
                </a:lnTo>
                <a:lnTo>
                  <a:pt x="440" y="504"/>
                </a:lnTo>
                <a:lnTo>
                  <a:pt x="444" y="519"/>
                </a:lnTo>
                <a:lnTo>
                  <a:pt x="444" y="519"/>
                </a:lnTo>
                <a:lnTo>
                  <a:pt x="451" y="519"/>
                </a:lnTo>
                <a:lnTo>
                  <a:pt x="459" y="517"/>
                </a:lnTo>
                <a:lnTo>
                  <a:pt x="466" y="515"/>
                </a:lnTo>
                <a:lnTo>
                  <a:pt x="466" y="515"/>
                </a:lnTo>
                <a:lnTo>
                  <a:pt x="464" y="517"/>
                </a:lnTo>
                <a:lnTo>
                  <a:pt x="464" y="517"/>
                </a:lnTo>
                <a:lnTo>
                  <a:pt x="459" y="526"/>
                </a:lnTo>
                <a:lnTo>
                  <a:pt x="457" y="534"/>
                </a:lnTo>
                <a:lnTo>
                  <a:pt x="473" y="545"/>
                </a:lnTo>
                <a:lnTo>
                  <a:pt x="473" y="545"/>
                </a:lnTo>
                <a:lnTo>
                  <a:pt x="481" y="526"/>
                </a:lnTo>
                <a:lnTo>
                  <a:pt x="484" y="521"/>
                </a:lnTo>
                <a:lnTo>
                  <a:pt x="488" y="517"/>
                </a:lnTo>
                <a:lnTo>
                  <a:pt x="488" y="517"/>
                </a:lnTo>
                <a:lnTo>
                  <a:pt x="491" y="517"/>
                </a:lnTo>
                <a:lnTo>
                  <a:pt x="497" y="519"/>
                </a:lnTo>
                <a:lnTo>
                  <a:pt x="504" y="523"/>
                </a:lnTo>
                <a:lnTo>
                  <a:pt x="512" y="526"/>
                </a:lnTo>
                <a:lnTo>
                  <a:pt x="521" y="534"/>
                </a:lnTo>
                <a:lnTo>
                  <a:pt x="528" y="543"/>
                </a:lnTo>
                <a:lnTo>
                  <a:pt x="535" y="552"/>
                </a:lnTo>
                <a:lnTo>
                  <a:pt x="541" y="563"/>
                </a:lnTo>
                <a:lnTo>
                  <a:pt x="541" y="563"/>
                </a:lnTo>
                <a:lnTo>
                  <a:pt x="543" y="572"/>
                </a:lnTo>
                <a:lnTo>
                  <a:pt x="544" y="581"/>
                </a:lnTo>
                <a:lnTo>
                  <a:pt x="544" y="590"/>
                </a:lnTo>
                <a:lnTo>
                  <a:pt x="543" y="601"/>
                </a:lnTo>
                <a:lnTo>
                  <a:pt x="541" y="610"/>
                </a:lnTo>
                <a:lnTo>
                  <a:pt x="537" y="618"/>
                </a:lnTo>
                <a:lnTo>
                  <a:pt x="532" y="623"/>
                </a:lnTo>
                <a:lnTo>
                  <a:pt x="526" y="627"/>
                </a:lnTo>
                <a:lnTo>
                  <a:pt x="526" y="627"/>
                </a:lnTo>
                <a:lnTo>
                  <a:pt x="521" y="627"/>
                </a:lnTo>
                <a:lnTo>
                  <a:pt x="517" y="625"/>
                </a:lnTo>
                <a:lnTo>
                  <a:pt x="504" y="620"/>
                </a:lnTo>
                <a:lnTo>
                  <a:pt x="493" y="614"/>
                </a:lnTo>
                <a:lnTo>
                  <a:pt x="490" y="614"/>
                </a:lnTo>
                <a:lnTo>
                  <a:pt x="486" y="618"/>
                </a:lnTo>
                <a:lnTo>
                  <a:pt x="486" y="618"/>
                </a:lnTo>
                <a:lnTo>
                  <a:pt x="484" y="620"/>
                </a:lnTo>
                <a:lnTo>
                  <a:pt x="479" y="623"/>
                </a:lnTo>
                <a:lnTo>
                  <a:pt x="470" y="629"/>
                </a:lnTo>
                <a:lnTo>
                  <a:pt x="466" y="632"/>
                </a:lnTo>
                <a:lnTo>
                  <a:pt x="462" y="638"/>
                </a:lnTo>
                <a:lnTo>
                  <a:pt x="462" y="645"/>
                </a:lnTo>
                <a:lnTo>
                  <a:pt x="464" y="654"/>
                </a:lnTo>
                <a:lnTo>
                  <a:pt x="464" y="654"/>
                </a:lnTo>
                <a:lnTo>
                  <a:pt x="473" y="645"/>
                </a:lnTo>
                <a:lnTo>
                  <a:pt x="477" y="641"/>
                </a:lnTo>
                <a:lnTo>
                  <a:pt x="481" y="641"/>
                </a:lnTo>
                <a:lnTo>
                  <a:pt x="481" y="641"/>
                </a:lnTo>
                <a:lnTo>
                  <a:pt x="482" y="643"/>
                </a:lnTo>
                <a:lnTo>
                  <a:pt x="482" y="645"/>
                </a:lnTo>
                <a:lnTo>
                  <a:pt x="486" y="649"/>
                </a:lnTo>
                <a:lnTo>
                  <a:pt x="486" y="649"/>
                </a:lnTo>
                <a:lnTo>
                  <a:pt x="488" y="651"/>
                </a:lnTo>
                <a:lnTo>
                  <a:pt x="491" y="651"/>
                </a:lnTo>
                <a:lnTo>
                  <a:pt x="502" y="651"/>
                </a:lnTo>
                <a:lnTo>
                  <a:pt x="512" y="649"/>
                </a:lnTo>
                <a:lnTo>
                  <a:pt x="515" y="649"/>
                </a:lnTo>
                <a:lnTo>
                  <a:pt x="517" y="651"/>
                </a:lnTo>
                <a:lnTo>
                  <a:pt x="517" y="651"/>
                </a:lnTo>
                <a:lnTo>
                  <a:pt x="517" y="652"/>
                </a:lnTo>
                <a:lnTo>
                  <a:pt x="515" y="652"/>
                </a:lnTo>
                <a:lnTo>
                  <a:pt x="510" y="652"/>
                </a:lnTo>
                <a:lnTo>
                  <a:pt x="510" y="652"/>
                </a:lnTo>
                <a:lnTo>
                  <a:pt x="491" y="656"/>
                </a:lnTo>
                <a:lnTo>
                  <a:pt x="484" y="660"/>
                </a:lnTo>
                <a:lnTo>
                  <a:pt x="479" y="663"/>
                </a:lnTo>
                <a:lnTo>
                  <a:pt x="479" y="663"/>
                </a:lnTo>
                <a:lnTo>
                  <a:pt x="479" y="665"/>
                </a:lnTo>
                <a:lnTo>
                  <a:pt x="479" y="669"/>
                </a:lnTo>
                <a:lnTo>
                  <a:pt x="479" y="669"/>
                </a:lnTo>
                <a:lnTo>
                  <a:pt x="475" y="674"/>
                </a:lnTo>
                <a:lnTo>
                  <a:pt x="470" y="678"/>
                </a:lnTo>
                <a:lnTo>
                  <a:pt x="466" y="683"/>
                </a:lnTo>
                <a:lnTo>
                  <a:pt x="464" y="689"/>
                </a:lnTo>
                <a:lnTo>
                  <a:pt x="464" y="694"/>
                </a:lnTo>
                <a:lnTo>
                  <a:pt x="464" y="694"/>
                </a:lnTo>
                <a:lnTo>
                  <a:pt x="466" y="702"/>
                </a:lnTo>
                <a:lnTo>
                  <a:pt x="470" y="705"/>
                </a:lnTo>
                <a:lnTo>
                  <a:pt x="475" y="711"/>
                </a:lnTo>
                <a:lnTo>
                  <a:pt x="475" y="711"/>
                </a:lnTo>
                <a:lnTo>
                  <a:pt x="475" y="707"/>
                </a:lnTo>
                <a:lnTo>
                  <a:pt x="477" y="702"/>
                </a:lnTo>
                <a:lnTo>
                  <a:pt x="479" y="694"/>
                </a:lnTo>
                <a:lnTo>
                  <a:pt x="479" y="691"/>
                </a:lnTo>
                <a:lnTo>
                  <a:pt x="482" y="691"/>
                </a:lnTo>
                <a:lnTo>
                  <a:pt x="482" y="691"/>
                </a:lnTo>
                <a:lnTo>
                  <a:pt x="484" y="691"/>
                </a:lnTo>
                <a:lnTo>
                  <a:pt x="488" y="693"/>
                </a:lnTo>
                <a:lnTo>
                  <a:pt x="490" y="696"/>
                </a:lnTo>
                <a:lnTo>
                  <a:pt x="493" y="696"/>
                </a:lnTo>
                <a:lnTo>
                  <a:pt x="493" y="696"/>
                </a:lnTo>
                <a:lnTo>
                  <a:pt x="497" y="696"/>
                </a:lnTo>
                <a:lnTo>
                  <a:pt x="502" y="693"/>
                </a:lnTo>
                <a:lnTo>
                  <a:pt x="513" y="682"/>
                </a:lnTo>
                <a:lnTo>
                  <a:pt x="524" y="672"/>
                </a:lnTo>
                <a:lnTo>
                  <a:pt x="528" y="669"/>
                </a:lnTo>
                <a:lnTo>
                  <a:pt x="532" y="669"/>
                </a:lnTo>
                <a:lnTo>
                  <a:pt x="532" y="669"/>
                </a:lnTo>
                <a:lnTo>
                  <a:pt x="533" y="671"/>
                </a:lnTo>
                <a:lnTo>
                  <a:pt x="532" y="672"/>
                </a:lnTo>
                <a:lnTo>
                  <a:pt x="524" y="678"/>
                </a:lnTo>
                <a:lnTo>
                  <a:pt x="517" y="685"/>
                </a:lnTo>
                <a:lnTo>
                  <a:pt x="513" y="689"/>
                </a:lnTo>
                <a:lnTo>
                  <a:pt x="512" y="694"/>
                </a:lnTo>
                <a:lnTo>
                  <a:pt x="512" y="694"/>
                </a:lnTo>
                <a:lnTo>
                  <a:pt x="513" y="700"/>
                </a:lnTo>
                <a:lnTo>
                  <a:pt x="515" y="704"/>
                </a:lnTo>
                <a:lnTo>
                  <a:pt x="519" y="707"/>
                </a:lnTo>
                <a:lnTo>
                  <a:pt x="521" y="711"/>
                </a:lnTo>
                <a:lnTo>
                  <a:pt x="521" y="711"/>
                </a:lnTo>
                <a:lnTo>
                  <a:pt x="523" y="715"/>
                </a:lnTo>
                <a:lnTo>
                  <a:pt x="526" y="720"/>
                </a:lnTo>
                <a:lnTo>
                  <a:pt x="530" y="724"/>
                </a:lnTo>
                <a:lnTo>
                  <a:pt x="535" y="725"/>
                </a:lnTo>
                <a:lnTo>
                  <a:pt x="546" y="729"/>
                </a:lnTo>
                <a:lnTo>
                  <a:pt x="552" y="729"/>
                </a:lnTo>
                <a:lnTo>
                  <a:pt x="552" y="729"/>
                </a:lnTo>
                <a:lnTo>
                  <a:pt x="550" y="725"/>
                </a:lnTo>
                <a:lnTo>
                  <a:pt x="544" y="720"/>
                </a:lnTo>
                <a:lnTo>
                  <a:pt x="539" y="713"/>
                </a:lnTo>
                <a:lnTo>
                  <a:pt x="539" y="711"/>
                </a:lnTo>
                <a:lnTo>
                  <a:pt x="539" y="707"/>
                </a:lnTo>
                <a:lnTo>
                  <a:pt x="539" y="707"/>
                </a:lnTo>
                <a:lnTo>
                  <a:pt x="541" y="705"/>
                </a:lnTo>
                <a:lnTo>
                  <a:pt x="544" y="707"/>
                </a:lnTo>
                <a:lnTo>
                  <a:pt x="548" y="707"/>
                </a:lnTo>
                <a:lnTo>
                  <a:pt x="552" y="705"/>
                </a:lnTo>
                <a:lnTo>
                  <a:pt x="552" y="705"/>
                </a:lnTo>
                <a:lnTo>
                  <a:pt x="552" y="702"/>
                </a:lnTo>
                <a:lnTo>
                  <a:pt x="552" y="691"/>
                </a:lnTo>
                <a:lnTo>
                  <a:pt x="552" y="685"/>
                </a:lnTo>
                <a:lnTo>
                  <a:pt x="554" y="678"/>
                </a:lnTo>
                <a:lnTo>
                  <a:pt x="559" y="671"/>
                </a:lnTo>
                <a:lnTo>
                  <a:pt x="566" y="662"/>
                </a:lnTo>
                <a:lnTo>
                  <a:pt x="566" y="662"/>
                </a:lnTo>
                <a:lnTo>
                  <a:pt x="570" y="667"/>
                </a:lnTo>
                <a:lnTo>
                  <a:pt x="574" y="669"/>
                </a:lnTo>
                <a:lnTo>
                  <a:pt x="581" y="671"/>
                </a:lnTo>
                <a:lnTo>
                  <a:pt x="581" y="671"/>
                </a:lnTo>
                <a:lnTo>
                  <a:pt x="583" y="672"/>
                </a:lnTo>
                <a:lnTo>
                  <a:pt x="585" y="674"/>
                </a:lnTo>
                <a:lnTo>
                  <a:pt x="585" y="682"/>
                </a:lnTo>
                <a:lnTo>
                  <a:pt x="585" y="691"/>
                </a:lnTo>
                <a:lnTo>
                  <a:pt x="585" y="691"/>
                </a:lnTo>
                <a:lnTo>
                  <a:pt x="586" y="689"/>
                </a:lnTo>
                <a:lnTo>
                  <a:pt x="590" y="683"/>
                </a:lnTo>
                <a:lnTo>
                  <a:pt x="594" y="674"/>
                </a:lnTo>
                <a:lnTo>
                  <a:pt x="594" y="663"/>
                </a:lnTo>
                <a:lnTo>
                  <a:pt x="594" y="663"/>
                </a:lnTo>
                <a:lnTo>
                  <a:pt x="597" y="662"/>
                </a:lnTo>
                <a:lnTo>
                  <a:pt x="601" y="654"/>
                </a:lnTo>
                <a:lnTo>
                  <a:pt x="601" y="654"/>
                </a:lnTo>
                <a:lnTo>
                  <a:pt x="603" y="651"/>
                </a:lnTo>
                <a:lnTo>
                  <a:pt x="601" y="649"/>
                </a:lnTo>
                <a:lnTo>
                  <a:pt x="596" y="643"/>
                </a:lnTo>
                <a:lnTo>
                  <a:pt x="594" y="640"/>
                </a:lnTo>
                <a:lnTo>
                  <a:pt x="592" y="634"/>
                </a:lnTo>
                <a:lnTo>
                  <a:pt x="590" y="625"/>
                </a:lnTo>
                <a:lnTo>
                  <a:pt x="590" y="614"/>
                </a:lnTo>
                <a:lnTo>
                  <a:pt x="590" y="614"/>
                </a:lnTo>
                <a:lnTo>
                  <a:pt x="590" y="610"/>
                </a:lnTo>
                <a:lnTo>
                  <a:pt x="588" y="609"/>
                </a:lnTo>
                <a:lnTo>
                  <a:pt x="583" y="605"/>
                </a:lnTo>
                <a:lnTo>
                  <a:pt x="583" y="605"/>
                </a:lnTo>
                <a:lnTo>
                  <a:pt x="579" y="599"/>
                </a:lnTo>
                <a:lnTo>
                  <a:pt x="579" y="598"/>
                </a:lnTo>
                <a:lnTo>
                  <a:pt x="581" y="598"/>
                </a:lnTo>
                <a:lnTo>
                  <a:pt x="581" y="598"/>
                </a:lnTo>
                <a:lnTo>
                  <a:pt x="588" y="599"/>
                </a:lnTo>
                <a:lnTo>
                  <a:pt x="596" y="599"/>
                </a:lnTo>
                <a:lnTo>
                  <a:pt x="603" y="598"/>
                </a:lnTo>
                <a:lnTo>
                  <a:pt x="603" y="598"/>
                </a:lnTo>
                <a:lnTo>
                  <a:pt x="603" y="576"/>
                </a:lnTo>
                <a:lnTo>
                  <a:pt x="605" y="565"/>
                </a:lnTo>
                <a:lnTo>
                  <a:pt x="603" y="559"/>
                </a:lnTo>
                <a:lnTo>
                  <a:pt x="603" y="559"/>
                </a:lnTo>
                <a:lnTo>
                  <a:pt x="596" y="559"/>
                </a:lnTo>
                <a:lnTo>
                  <a:pt x="588" y="557"/>
                </a:lnTo>
                <a:lnTo>
                  <a:pt x="585" y="556"/>
                </a:lnTo>
                <a:lnTo>
                  <a:pt x="581" y="552"/>
                </a:lnTo>
                <a:lnTo>
                  <a:pt x="581" y="552"/>
                </a:lnTo>
                <a:lnTo>
                  <a:pt x="586" y="552"/>
                </a:lnTo>
                <a:lnTo>
                  <a:pt x="594" y="552"/>
                </a:lnTo>
                <a:lnTo>
                  <a:pt x="599" y="552"/>
                </a:lnTo>
                <a:lnTo>
                  <a:pt x="603" y="548"/>
                </a:lnTo>
                <a:lnTo>
                  <a:pt x="603" y="548"/>
                </a:lnTo>
                <a:lnTo>
                  <a:pt x="603" y="530"/>
                </a:lnTo>
                <a:lnTo>
                  <a:pt x="601" y="517"/>
                </a:lnTo>
                <a:lnTo>
                  <a:pt x="601" y="514"/>
                </a:lnTo>
                <a:lnTo>
                  <a:pt x="599" y="512"/>
                </a:lnTo>
                <a:lnTo>
                  <a:pt x="599" y="512"/>
                </a:lnTo>
                <a:lnTo>
                  <a:pt x="592" y="514"/>
                </a:lnTo>
                <a:lnTo>
                  <a:pt x="586" y="514"/>
                </a:lnTo>
                <a:lnTo>
                  <a:pt x="581" y="512"/>
                </a:lnTo>
                <a:lnTo>
                  <a:pt x="576" y="510"/>
                </a:lnTo>
                <a:lnTo>
                  <a:pt x="576" y="510"/>
                </a:lnTo>
                <a:lnTo>
                  <a:pt x="574" y="508"/>
                </a:lnTo>
                <a:lnTo>
                  <a:pt x="572" y="504"/>
                </a:lnTo>
                <a:lnTo>
                  <a:pt x="572" y="499"/>
                </a:lnTo>
                <a:lnTo>
                  <a:pt x="570" y="495"/>
                </a:lnTo>
                <a:lnTo>
                  <a:pt x="570" y="493"/>
                </a:lnTo>
                <a:lnTo>
                  <a:pt x="568" y="492"/>
                </a:lnTo>
                <a:lnTo>
                  <a:pt x="568" y="492"/>
                </a:lnTo>
                <a:lnTo>
                  <a:pt x="557" y="488"/>
                </a:lnTo>
                <a:lnTo>
                  <a:pt x="546" y="482"/>
                </a:lnTo>
                <a:lnTo>
                  <a:pt x="541" y="477"/>
                </a:lnTo>
                <a:lnTo>
                  <a:pt x="535" y="473"/>
                </a:lnTo>
                <a:lnTo>
                  <a:pt x="535" y="473"/>
                </a:lnTo>
                <a:lnTo>
                  <a:pt x="532" y="468"/>
                </a:lnTo>
                <a:lnTo>
                  <a:pt x="532" y="462"/>
                </a:lnTo>
                <a:lnTo>
                  <a:pt x="532" y="459"/>
                </a:lnTo>
                <a:lnTo>
                  <a:pt x="532" y="459"/>
                </a:lnTo>
                <a:lnTo>
                  <a:pt x="541" y="462"/>
                </a:lnTo>
                <a:lnTo>
                  <a:pt x="544" y="462"/>
                </a:lnTo>
                <a:lnTo>
                  <a:pt x="550" y="461"/>
                </a:lnTo>
                <a:lnTo>
                  <a:pt x="552" y="431"/>
                </a:lnTo>
                <a:lnTo>
                  <a:pt x="552" y="431"/>
                </a:lnTo>
                <a:lnTo>
                  <a:pt x="548" y="431"/>
                </a:lnTo>
                <a:lnTo>
                  <a:pt x="541" y="430"/>
                </a:lnTo>
                <a:lnTo>
                  <a:pt x="541" y="430"/>
                </a:lnTo>
                <a:lnTo>
                  <a:pt x="537" y="426"/>
                </a:lnTo>
                <a:lnTo>
                  <a:pt x="533" y="422"/>
                </a:lnTo>
                <a:lnTo>
                  <a:pt x="532" y="419"/>
                </a:lnTo>
                <a:lnTo>
                  <a:pt x="532" y="419"/>
                </a:lnTo>
                <a:lnTo>
                  <a:pt x="535" y="420"/>
                </a:lnTo>
                <a:lnTo>
                  <a:pt x="543" y="422"/>
                </a:lnTo>
                <a:lnTo>
                  <a:pt x="543" y="422"/>
                </a:lnTo>
                <a:lnTo>
                  <a:pt x="550" y="422"/>
                </a:lnTo>
                <a:lnTo>
                  <a:pt x="554" y="420"/>
                </a:lnTo>
                <a:lnTo>
                  <a:pt x="557" y="387"/>
                </a:lnTo>
                <a:lnTo>
                  <a:pt x="557" y="387"/>
                </a:lnTo>
                <a:lnTo>
                  <a:pt x="552" y="387"/>
                </a:lnTo>
                <a:lnTo>
                  <a:pt x="546" y="386"/>
                </a:lnTo>
                <a:lnTo>
                  <a:pt x="541" y="384"/>
                </a:lnTo>
                <a:lnTo>
                  <a:pt x="539" y="378"/>
                </a:lnTo>
                <a:lnTo>
                  <a:pt x="539" y="377"/>
                </a:lnTo>
                <a:lnTo>
                  <a:pt x="539" y="377"/>
                </a:lnTo>
                <a:lnTo>
                  <a:pt x="552" y="373"/>
                </a:lnTo>
                <a:lnTo>
                  <a:pt x="563" y="367"/>
                </a:lnTo>
                <a:lnTo>
                  <a:pt x="572" y="360"/>
                </a:lnTo>
                <a:lnTo>
                  <a:pt x="579" y="353"/>
                </a:lnTo>
                <a:lnTo>
                  <a:pt x="586" y="344"/>
                </a:lnTo>
                <a:lnTo>
                  <a:pt x="592" y="333"/>
                </a:lnTo>
                <a:lnTo>
                  <a:pt x="597" y="324"/>
                </a:lnTo>
                <a:lnTo>
                  <a:pt x="599" y="313"/>
                </a:lnTo>
                <a:lnTo>
                  <a:pt x="599" y="313"/>
                </a:lnTo>
                <a:lnTo>
                  <a:pt x="608" y="316"/>
                </a:lnTo>
                <a:lnTo>
                  <a:pt x="614" y="316"/>
                </a:lnTo>
                <a:lnTo>
                  <a:pt x="618" y="316"/>
                </a:lnTo>
                <a:lnTo>
                  <a:pt x="618" y="316"/>
                </a:lnTo>
                <a:lnTo>
                  <a:pt x="619" y="303"/>
                </a:lnTo>
                <a:lnTo>
                  <a:pt x="619" y="289"/>
                </a:lnTo>
                <a:lnTo>
                  <a:pt x="619" y="289"/>
                </a:lnTo>
                <a:lnTo>
                  <a:pt x="610" y="287"/>
                </a:lnTo>
                <a:lnTo>
                  <a:pt x="607" y="285"/>
                </a:lnTo>
                <a:lnTo>
                  <a:pt x="603" y="28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pic>
        <p:nvPicPr>
          <p:cNvPr id="56" name="Picture 5">
            <a:extLst>
              <a:ext uri="{FF2B5EF4-FFF2-40B4-BE49-F238E27FC236}">
                <a16:creationId xmlns:a16="http://schemas.microsoft.com/office/drawing/2014/main" id="{54CBBF4F-860A-6245-8AAB-382104654A3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24328" y="4699762"/>
            <a:ext cx="1439764" cy="274348"/>
          </a:xfrm>
          <a:prstGeom prst="rect">
            <a:avLst/>
          </a:prstGeom>
        </p:spPr>
      </p:pic>
      <p:pic>
        <p:nvPicPr>
          <p:cNvPr id="57" name="Picture 6">
            <a:extLst>
              <a:ext uri="{FF2B5EF4-FFF2-40B4-BE49-F238E27FC236}">
                <a16:creationId xmlns:a16="http://schemas.microsoft.com/office/drawing/2014/main" id="{3AEFC440-453E-0D42-BF52-3C7282112DB0}"/>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04448" y="235340"/>
            <a:ext cx="305495" cy="419486"/>
          </a:xfrm>
          <a:prstGeom prst="rect">
            <a:avLst/>
          </a:prstGeom>
        </p:spPr>
      </p:pic>
    </p:spTree>
    <p:extLst>
      <p:ext uri="{BB962C8B-B14F-4D97-AF65-F5344CB8AC3E}">
        <p14:creationId xmlns:p14="http://schemas.microsoft.com/office/powerpoint/2010/main" val="12932256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Otsikko ja sisältö Sote ">
    <p:spTree>
      <p:nvGrpSpPr>
        <p:cNvPr id="1" name=""/>
        <p:cNvGrpSpPr/>
        <p:nvPr/>
      </p:nvGrpSpPr>
      <p:grpSpPr>
        <a:xfrm>
          <a:off x="0" y="0"/>
          <a:ext cx="0" cy="0"/>
          <a:chOff x="0" y="0"/>
          <a:chExt cx="0" cy="0"/>
        </a:xfrm>
      </p:grpSpPr>
      <p:grpSp>
        <p:nvGrpSpPr>
          <p:cNvPr id="11" name="Group 10"/>
          <p:cNvGrpSpPr/>
          <p:nvPr userDrawn="1"/>
        </p:nvGrpSpPr>
        <p:grpSpPr>
          <a:xfrm>
            <a:off x="7605713" y="0"/>
            <a:ext cx="1538287" cy="4587875"/>
            <a:chOff x="7631113" y="0"/>
            <a:chExt cx="1538287" cy="4587875"/>
          </a:xfrm>
        </p:grpSpPr>
        <p:sp>
          <p:nvSpPr>
            <p:cNvPr id="7" name="Freeform 5"/>
            <p:cNvSpPr>
              <a:spLocks/>
            </p:cNvSpPr>
            <p:nvPr userDrawn="1"/>
          </p:nvSpPr>
          <p:spPr bwMode="auto">
            <a:xfrm>
              <a:off x="7631113" y="0"/>
              <a:ext cx="1538287" cy="4587875"/>
            </a:xfrm>
            <a:custGeom>
              <a:avLst/>
              <a:gdLst>
                <a:gd name="T0" fmla="*/ 6 w 969"/>
                <a:gd name="T1" fmla="*/ 0 h 2890"/>
                <a:gd name="T2" fmla="*/ 6 w 969"/>
                <a:gd name="T3" fmla="*/ 0 h 2890"/>
                <a:gd name="T4" fmla="*/ 1 w 969"/>
                <a:gd name="T5" fmla="*/ 97 h 2890"/>
                <a:gd name="T6" fmla="*/ 0 w 969"/>
                <a:gd name="T7" fmla="*/ 193 h 2890"/>
                <a:gd name="T8" fmla="*/ 0 w 969"/>
                <a:gd name="T9" fmla="*/ 290 h 2890"/>
                <a:gd name="T10" fmla="*/ 2 w 969"/>
                <a:gd name="T11" fmla="*/ 386 h 2890"/>
                <a:gd name="T12" fmla="*/ 8 w 969"/>
                <a:gd name="T13" fmla="*/ 483 h 2890"/>
                <a:gd name="T14" fmla="*/ 15 w 969"/>
                <a:gd name="T15" fmla="*/ 577 h 2890"/>
                <a:gd name="T16" fmla="*/ 24 w 969"/>
                <a:gd name="T17" fmla="*/ 673 h 2890"/>
                <a:gd name="T18" fmla="*/ 36 w 969"/>
                <a:gd name="T19" fmla="*/ 767 h 2890"/>
                <a:gd name="T20" fmla="*/ 50 w 969"/>
                <a:gd name="T21" fmla="*/ 862 h 2890"/>
                <a:gd name="T22" fmla="*/ 65 w 969"/>
                <a:gd name="T23" fmla="*/ 956 h 2890"/>
                <a:gd name="T24" fmla="*/ 83 w 969"/>
                <a:gd name="T25" fmla="*/ 1048 h 2890"/>
                <a:gd name="T26" fmla="*/ 104 w 969"/>
                <a:gd name="T27" fmla="*/ 1142 h 2890"/>
                <a:gd name="T28" fmla="*/ 125 w 969"/>
                <a:gd name="T29" fmla="*/ 1234 h 2890"/>
                <a:gd name="T30" fmla="*/ 150 w 969"/>
                <a:gd name="T31" fmla="*/ 1325 h 2890"/>
                <a:gd name="T32" fmla="*/ 176 w 969"/>
                <a:gd name="T33" fmla="*/ 1416 h 2890"/>
                <a:gd name="T34" fmla="*/ 204 w 969"/>
                <a:gd name="T35" fmla="*/ 1506 h 2890"/>
                <a:gd name="T36" fmla="*/ 204 w 969"/>
                <a:gd name="T37" fmla="*/ 1506 h 2890"/>
                <a:gd name="T38" fmla="*/ 236 w 969"/>
                <a:gd name="T39" fmla="*/ 1604 h 2890"/>
                <a:gd name="T40" fmla="*/ 272 w 969"/>
                <a:gd name="T41" fmla="*/ 1700 h 2890"/>
                <a:gd name="T42" fmla="*/ 309 w 969"/>
                <a:gd name="T43" fmla="*/ 1794 h 2890"/>
                <a:gd name="T44" fmla="*/ 349 w 969"/>
                <a:gd name="T45" fmla="*/ 1888 h 2890"/>
                <a:gd name="T46" fmla="*/ 389 w 969"/>
                <a:gd name="T47" fmla="*/ 1979 h 2890"/>
                <a:gd name="T48" fmla="*/ 433 w 969"/>
                <a:gd name="T49" fmla="*/ 2069 h 2890"/>
                <a:gd name="T50" fmla="*/ 478 w 969"/>
                <a:gd name="T51" fmla="*/ 2158 h 2890"/>
                <a:gd name="T52" fmla="*/ 526 w 969"/>
                <a:gd name="T53" fmla="*/ 2245 h 2890"/>
                <a:gd name="T54" fmla="*/ 575 w 969"/>
                <a:gd name="T55" fmla="*/ 2331 h 2890"/>
                <a:gd name="T56" fmla="*/ 626 w 969"/>
                <a:gd name="T57" fmla="*/ 2415 h 2890"/>
                <a:gd name="T58" fmla="*/ 679 w 969"/>
                <a:gd name="T59" fmla="*/ 2499 h 2890"/>
                <a:gd name="T60" fmla="*/ 733 w 969"/>
                <a:gd name="T61" fmla="*/ 2580 h 2890"/>
                <a:gd name="T62" fmla="*/ 790 w 969"/>
                <a:gd name="T63" fmla="*/ 2659 h 2890"/>
                <a:gd name="T64" fmla="*/ 847 w 969"/>
                <a:gd name="T65" fmla="*/ 2738 h 2890"/>
                <a:gd name="T66" fmla="*/ 907 w 969"/>
                <a:gd name="T67" fmla="*/ 2815 h 2890"/>
                <a:gd name="T68" fmla="*/ 969 w 969"/>
                <a:gd name="T69" fmla="*/ 2890 h 2890"/>
                <a:gd name="T70" fmla="*/ 969 w 969"/>
                <a:gd name="T71" fmla="*/ 0 h 2890"/>
                <a:gd name="T72" fmla="*/ 6 w 969"/>
                <a:gd name="T73" fmla="*/ 0 h 2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69" h="2890">
                  <a:moveTo>
                    <a:pt x="6" y="0"/>
                  </a:moveTo>
                  <a:lnTo>
                    <a:pt x="6" y="0"/>
                  </a:lnTo>
                  <a:lnTo>
                    <a:pt x="1" y="97"/>
                  </a:lnTo>
                  <a:lnTo>
                    <a:pt x="0" y="193"/>
                  </a:lnTo>
                  <a:lnTo>
                    <a:pt x="0" y="290"/>
                  </a:lnTo>
                  <a:lnTo>
                    <a:pt x="2" y="386"/>
                  </a:lnTo>
                  <a:lnTo>
                    <a:pt x="8" y="483"/>
                  </a:lnTo>
                  <a:lnTo>
                    <a:pt x="15" y="577"/>
                  </a:lnTo>
                  <a:lnTo>
                    <a:pt x="24" y="673"/>
                  </a:lnTo>
                  <a:lnTo>
                    <a:pt x="36" y="767"/>
                  </a:lnTo>
                  <a:lnTo>
                    <a:pt x="50" y="862"/>
                  </a:lnTo>
                  <a:lnTo>
                    <a:pt x="65" y="956"/>
                  </a:lnTo>
                  <a:lnTo>
                    <a:pt x="83" y="1048"/>
                  </a:lnTo>
                  <a:lnTo>
                    <a:pt x="104" y="1142"/>
                  </a:lnTo>
                  <a:lnTo>
                    <a:pt x="125" y="1234"/>
                  </a:lnTo>
                  <a:lnTo>
                    <a:pt x="150" y="1325"/>
                  </a:lnTo>
                  <a:lnTo>
                    <a:pt x="176" y="1416"/>
                  </a:lnTo>
                  <a:lnTo>
                    <a:pt x="204" y="1506"/>
                  </a:lnTo>
                  <a:lnTo>
                    <a:pt x="204" y="1506"/>
                  </a:lnTo>
                  <a:lnTo>
                    <a:pt x="236" y="1604"/>
                  </a:lnTo>
                  <a:lnTo>
                    <a:pt x="272" y="1700"/>
                  </a:lnTo>
                  <a:lnTo>
                    <a:pt x="309" y="1794"/>
                  </a:lnTo>
                  <a:lnTo>
                    <a:pt x="349" y="1888"/>
                  </a:lnTo>
                  <a:lnTo>
                    <a:pt x="389" y="1979"/>
                  </a:lnTo>
                  <a:lnTo>
                    <a:pt x="433" y="2069"/>
                  </a:lnTo>
                  <a:lnTo>
                    <a:pt x="478" y="2158"/>
                  </a:lnTo>
                  <a:lnTo>
                    <a:pt x="526" y="2245"/>
                  </a:lnTo>
                  <a:lnTo>
                    <a:pt x="575" y="2331"/>
                  </a:lnTo>
                  <a:lnTo>
                    <a:pt x="626" y="2415"/>
                  </a:lnTo>
                  <a:lnTo>
                    <a:pt x="679" y="2499"/>
                  </a:lnTo>
                  <a:lnTo>
                    <a:pt x="733" y="2580"/>
                  </a:lnTo>
                  <a:lnTo>
                    <a:pt x="790" y="2659"/>
                  </a:lnTo>
                  <a:lnTo>
                    <a:pt x="847" y="2738"/>
                  </a:lnTo>
                  <a:lnTo>
                    <a:pt x="907" y="2815"/>
                  </a:lnTo>
                  <a:lnTo>
                    <a:pt x="969" y="2890"/>
                  </a:lnTo>
                  <a:lnTo>
                    <a:pt x="969" y="0"/>
                  </a:lnTo>
                  <a:lnTo>
                    <a:pt x="6"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dirty="0"/>
            </a:p>
          </p:txBody>
        </p:sp>
        <p:sp>
          <p:nvSpPr>
            <p:cNvPr id="10" name="Freeform 6"/>
            <p:cNvSpPr>
              <a:spLocks/>
            </p:cNvSpPr>
            <p:nvPr userDrawn="1"/>
          </p:nvSpPr>
          <p:spPr bwMode="auto">
            <a:xfrm>
              <a:off x="8001000" y="0"/>
              <a:ext cx="1168400" cy="1317625"/>
            </a:xfrm>
            <a:custGeom>
              <a:avLst/>
              <a:gdLst>
                <a:gd name="T0" fmla="*/ 548 w 736"/>
                <a:gd name="T1" fmla="*/ 713 h 830"/>
                <a:gd name="T2" fmla="*/ 548 w 736"/>
                <a:gd name="T3" fmla="*/ 713 h 830"/>
                <a:gd name="T4" fmla="*/ 594 w 736"/>
                <a:gd name="T5" fmla="*/ 745 h 830"/>
                <a:gd name="T6" fmla="*/ 640 w 736"/>
                <a:gd name="T7" fmla="*/ 775 h 830"/>
                <a:gd name="T8" fmla="*/ 688 w 736"/>
                <a:gd name="T9" fmla="*/ 803 h 830"/>
                <a:gd name="T10" fmla="*/ 736 w 736"/>
                <a:gd name="T11" fmla="*/ 830 h 830"/>
                <a:gd name="T12" fmla="*/ 736 w 736"/>
                <a:gd name="T13" fmla="*/ 0 h 830"/>
                <a:gd name="T14" fmla="*/ 0 w 736"/>
                <a:gd name="T15" fmla="*/ 0 h 830"/>
                <a:gd name="T16" fmla="*/ 0 w 736"/>
                <a:gd name="T17" fmla="*/ 0 h 830"/>
                <a:gd name="T18" fmla="*/ 22 w 736"/>
                <a:gd name="T19" fmla="*/ 55 h 830"/>
                <a:gd name="T20" fmla="*/ 46 w 736"/>
                <a:gd name="T21" fmla="*/ 108 h 830"/>
                <a:gd name="T22" fmla="*/ 72 w 736"/>
                <a:gd name="T23" fmla="*/ 161 h 830"/>
                <a:gd name="T24" fmla="*/ 100 w 736"/>
                <a:gd name="T25" fmla="*/ 211 h 830"/>
                <a:gd name="T26" fmla="*/ 129 w 736"/>
                <a:gd name="T27" fmla="*/ 261 h 830"/>
                <a:gd name="T28" fmla="*/ 160 w 736"/>
                <a:gd name="T29" fmla="*/ 309 h 830"/>
                <a:gd name="T30" fmla="*/ 192 w 736"/>
                <a:gd name="T31" fmla="*/ 357 h 830"/>
                <a:gd name="T32" fmla="*/ 226 w 736"/>
                <a:gd name="T33" fmla="*/ 402 h 830"/>
                <a:gd name="T34" fmla="*/ 262 w 736"/>
                <a:gd name="T35" fmla="*/ 445 h 830"/>
                <a:gd name="T36" fmla="*/ 298 w 736"/>
                <a:gd name="T37" fmla="*/ 488 h 830"/>
                <a:gd name="T38" fmla="*/ 338 w 736"/>
                <a:gd name="T39" fmla="*/ 530 h 830"/>
                <a:gd name="T40" fmla="*/ 377 w 736"/>
                <a:gd name="T41" fmla="*/ 569 h 830"/>
                <a:gd name="T42" fmla="*/ 418 w 736"/>
                <a:gd name="T43" fmla="*/ 607 h 830"/>
                <a:gd name="T44" fmla="*/ 460 w 736"/>
                <a:gd name="T45" fmla="*/ 645 h 830"/>
                <a:gd name="T46" fmla="*/ 503 w 736"/>
                <a:gd name="T47" fmla="*/ 679 h 830"/>
                <a:gd name="T48" fmla="*/ 548 w 736"/>
                <a:gd name="T49" fmla="*/ 713 h 830"/>
                <a:gd name="T50" fmla="*/ 548 w 736"/>
                <a:gd name="T51" fmla="*/ 713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830">
                  <a:moveTo>
                    <a:pt x="548" y="713"/>
                  </a:moveTo>
                  <a:lnTo>
                    <a:pt x="548" y="713"/>
                  </a:lnTo>
                  <a:lnTo>
                    <a:pt x="594" y="745"/>
                  </a:lnTo>
                  <a:lnTo>
                    <a:pt x="640" y="775"/>
                  </a:lnTo>
                  <a:lnTo>
                    <a:pt x="688" y="803"/>
                  </a:lnTo>
                  <a:lnTo>
                    <a:pt x="736" y="830"/>
                  </a:lnTo>
                  <a:lnTo>
                    <a:pt x="736" y="0"/>
                  </a:lnTo>
                  <a:lnTo>
                    <a:pt x="0" y="0"/>
                  </a:lnTo>
                  <a:lnTo>
                    <a:pt x="0" y="0"/>
                  </a:lnTo>
                  <a:lnTo>
                    <a:pt x="22" y="55"/>
                  </a:lnTo>
                  <a:lnTo>
                    <a:pt x="46" y="108"/>
                  </a:lnTo>
                  <a:lnTo>
                    <a:pt x="72" y="161"/>
                  </a:lnTo>
                  <a:lnTo>
                    <a:pt x="100" y="211"/>
                  </a:lnTo>
                  <a:lnTo>
                    <a:pt x="129" y="261"/>
                  </a:lnTo>
                  <a:lnTo>
                    <a:pt x="160" y="309"/>
                  </a:lnTo>
                  <a:lnTo>
                    <a:pt x="192" y="357"/>
                  </a:lnTo>
                  <a:lnTo>
                    <a:pt x="226" y="402"/>
                  </a:lnTo>
                  <a:lnTo>
                    <a:pt x="262" y="445"/>
                  </a:lnTo>
                  <a:lnTo>
                    <a:pt x="298" y="488"/>
                  </a:lnTo>
                  <a:lnTo>
                    <a:pt x="338" y="530"/>
                  </a:lnTo>
                  <a:lnTo>
                    <a:pt x="377" y="569"/>
                  </a:lnTo>
                  <a:lnTo>
                    <a:pt x="418" y="607"/>
                  </a:lnTo>
                  <a:lnTo>
                    <a:pt x="460" y="645"/>
                  </a:lnTo>
                  <a:lnTo>
                    <a:pt x="503" y="679"/>
                  </a:lnTo>
                  <a:lnTo>
                    <a:pt x="548" y="713"/>
                  </a:lnTo>
                  <a:lnTo>
                    <a:pt x="548" y="71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dirty="0"/>
            </a:p>
          </p:txBody>
        </p:sp>
      </p:grpSp>
      <p:sp>
        <p:nvSpPr>
          <p:cNvPr id="3" name="Sisällön paikkamerkki 2"/>
          <p:cNvSpPr>
            <a:spLocks noGrp="1"/>
          </p:cNvSpPr>
          <p:nvPr userDrawn="1">
            <p:ph idx="1"/>
          </p:nvPr>
        </p:nvSpPr>
        <p:spPr>
          <a:xfrm>
            <a:off x="432785" y="1317625"/>
            <a:ext cx="7523591" cy="3486373"/>
          </a:xfrm>
        </p:spPr>
        <p:txBody>
          <a:bodyPr/>
          <a:lstStyle>
            <a:lvl1pPr>
              <a:defRPr>
                <a:solidFill>
                  <a:srgbClr val="595965"/>
                </a:solidFill>
              </a:defRPr>
            </a:lvl1pPr>
            <a:lvl2pPr>
              <a:defRPr>
                <a:solidFill>
                  <a:srgbClr val="595965"/>
                </a:solidFill>
              </a:defRPr>
            </a:lvl2pPr>
            <a:lvl3pPr>
              <a:defRPr>
                <a:solidFill>
                  <a:srgbClr val="595965"/>
                </a:solidFill>
              </a:defRPr>
            </a:lvl3pPr>
            <a:lvl4pPr>
              <a:defRPr>
                <a:solidFill>
                  <a:srgbClr val="595965"/>
                </a:solidFill>
              </a:defRPr>
            </a:lvl4pPr>
            <a:lvl5pPr>
              <a:defRPr>
                <a:solidFill>
                  <a:srgbClr val="595965"/>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8" name="Otsikko 7"/>
          <p:cNvSpPr>
            <a:spLocks noGrp="1"/>
          </p:cNvSpPr>
          <p:nvPr userDrawn="1">
            <p:ph type="title"/>
          </p:nvPr>
        </p:nvSpPr>
        <p:spPr>
          <a:xfrm>
            <a:off x="432785" y="235340"/>
            <a:ext cx="7523591" cy="974270"/>
          </a:xfrm>
        </p:spPr>
        <p:txBody>
          <a:bodyPr/>
          <a:lstStyle>
            <a:lvl1pPr>
              <a:defRPr>
                <a:solidFill>
                  <a:srgbClr val="595965"/>
                </a:solidFill>
              </a:defRPr>
            </a:lvl1pPr>
          </a:lstStyle>
          <a:p>
            <a:r>
              <a:rPr lang="en-US" dirty="0"/>
              <a:t>Click to edit Master title style</a:t>
            </a:r>
            <a:endParaRPr lang="fi-FI" dirty="0"/>
          </a:p>
        </p:txBody>
      </p:sp>
      <p:pic>
        <p:nvPicPr>
          <p:cNvPr id="4" name="Picture 3">
            <a:extLst>
              <a:ext uri="{FF2B5EF4-FFF2-40B4-BE49-F238E27FC236}">
                <a16:creationId xmlns:a16="http://schemas.microsoft.com/office/drawing/2014/main" id="{754219E2-E925-5346-9128-1CC5851983C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24328" y="4699761"/>
            <a:ext cx="1439764" cy="274350"/>
          </a:xfrm>
          <a:prstGeom prst="rect">
            <a:avLst/>
          </a:prstGeom>
        </p:spPr>
      </p:pic>
      <p:pic>
        <p:nvPicPr>
          <p:cNvPr id="9" name="Picture 8">
            <a:extLst>
              <a:ext uri="{FF2B5EF4-FFF2-40B4-BE49-F238E27FC236}">
                <a16:creationId xmlns:a16="http://schemas.microsoft.com/office/drawing/2014/main" id="{6A34F243-EB61-D748-AAD4-903B490D52C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604448" y="235340"/>
            <a:ext cx="305495" cy="419486"/>
          </a:xfrm>
          <a:prstGeom prst="rect">
            <a:avLst/>
          </a:prstGeom>
        </p:spPr>
      </p:pic>
    </p:spTree>
    <p:extLst>
      <p:ext uri="{BB962C8B-B14F-4D97-AF65-F5344CB8AC3E}">
        <p14:creationId xmlns:p14="http://schemas.microsoft.com/office/powerpoint/2010/main" val="188707600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6_Otsikko ja sisältö tyhjä">
    <p:spTree>
      <p:nvGrpSpPr>
        <p:cNvPr id="1" name=""/>
        <p:cNvGrpSpPr/>
        <p:nvPr/>
      </p:nvGrpSpPr>
      <p:grpSpPr>
        <a:xfrm>
          <a:off x="0" y="0"/>
          <a:ext cx="0" cy="0"/>
          <a:chOff x="0" y="0"/>
          <a:chExt cx="0" cy="0"/>
        </a:xfrm>
      </p:grpSpPr>
      <p:sp>
        <p:nvSpPr>
          <p:cNvPr id="3" name="Sisällön paikkamerkki 2"/>
          <p:cNvSpPr>
            <a:spLocks noGrp="1"/>
          </p:cNvSpPr>
          <p:nvPr>
            <p:ph idx="1"/>
          </p:nvPr>
        </p:nvSpPr>
        <p:spPr>
          <a:xfrm>
            <a:off x="432785" y="1410997"/>
            <a:ext cx="8224354" cy="3393001"/>
          </a:xfrm>
        </p:spPr>
        <p:txBody>
          <a:bodyPr/>
          <a:lstStyle>
            <a:lvl1pPr>
              <a:defRPr>
                <a:solidFill>
                  <a:srgbClr val="595965"/>
                </a:solidFill>
              </a:defRPr>
            </a:lvl1pPr>
            <a:lvl2pPr>
              <a:defRPr>
                <a:solidFill>
                  <a:srgbClr val="595965"/>
                </a:solidFill>
              </a:defRPr>
            </a:lvl2pPr>
            <a:lvl3pPr>
              <a:defRPr>
                <a:solidFill>
                  <a:srgbClr val="595965"/>
                </a:solidFill>
              </a:defRPr>
            </a:lvl3pPr>
            <a:lvl4pPr>
              <a:defRPr>
                <a:solidFill>
                  <a:srgbClr val="595965"/>
                </a:solidFill>
              </a:defRPr>
            </a:lvl4pPr>
            <a:lvl5pPr>
              <a:defRPr>
                <a:solidFill>
                  <a:srgbClr val="595965"/>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8" name="Otsikko 7"/>
          <p:cNvSpPr>
            <a:spLocks noGrp="1"/>
          </p:cNvSpPr>
          <p:nvPr>
            <p:ph type="title"/>
          </p:nvPr>
        </p:nvSpPr>
        <p:spPr>
          <a:xfrm>
            <a:off x="432785" y="235340"/>
            <a:ext cx="8224354" cy="974270"/>
          </a:xfrm>
        </p:spPr>
        <p:txBody>
          <a:bodyPr/>
          <a:lstStyle>
            <a:lvl1pPr>
              <a:defRPr>
                <a:solidFill>
                  <a:srgbClr val="595965"/>
                </a:solidFill>
              </a:defRPr>
            </a:lvl1pPr>
          </a:lstStyle>
          <a:p>
            <a:r>
              <a:rPr lang="en-US" dirty="0"/>
              <a:t>Click to edit Master title style</a:t>
            </a:r>
            <a:endParaRPr lang="fi-FI" dirty="0"/>
          </a:p>
        </p:txBody>
      </p:sp>
    </p:spTree>
    <p:extLst>
      <p:ext uri="{BB962C8B-B14F-4D97-AF65-F5344CB8AC3E}">
        <p14:creationId xmlns:p14="http://schemas.microsoft.com/office/powerpoint/2010/main" val="337259024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itle" preserve="1">
  <p:cSld name="2_Lopetus Sote">
    <p:spTree>
      <p:nvGrpSpPr>
        <p:cNvPr id="1" name=""/>
        <p:cNvGrpSpPr/>
        <p:nvPr/>
      </p:nvGrpSpPr>
      <p:grpSpPr>
        <a:xfrm>
          <a:off x="0" y="0"/>
          <a:ext cx="0" cy="0"/>
          <a:chOff x="0" y="0"/>
          <a:chExt cx="0" cy="0"/>
        </a:xfrm>
      </p:grpSpPr>
      <p:sp>
        <p:nvSpPr>
          <p:cNvPr id="4" name="Suorakulmio 3"/>
          <p:cNvSpPr/>
          <p:nvPr userDrawn="1"/>
        </p:nvSpPr>
        <p:spPr>
          <a:xfrm>
            <a:off x="0" y="-1"/>
            <a:ext cx="9140109" cy="51422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90" y="1225"/>
            <a:ext cx="9136219" cy="5141050"/>
          </a:xfrm>
          <a:prstGeom prst="rect">
            <a:avLst/>
          </a:prstGeom>
        </p:spPr>
      </p:pic>
      <p:sp>
        <p:nvSpPr>
          <p:cNvPr id="2" name="Otsikko 1"/>
          <p:cNvSpPr>
            <a:spLocks noGrp="1"/>
          </p:cNvSpPr>
          <p:nvPr>
            <p:ph type="ctrTitle" hasCustomPrompt="1"/>
          </p:nvPr>
        </p:nvSpPr>
        <p:spPr>
          <a:xfrm>
            <a:off x="812800" y="1923678"/>
            <a:ext cx="5855530" cy="1114418"/>
          </a:xfrm>
        </p:spPr>
        <p:txBody>
          <a:bodyPr anchor="b" anchorCtr="0"/>
          <a:lstStyle>
            <a:lvl1pPr algn="l">
              <a:defRPr>
                <a:solidFill>
                  <a:schemeClr val="accent4"/>
                </a:solidFill>
              </a:defRPr>
            </a:lvl1pPr>
          </a:lstStyle>
          <a:p>
            <a:r>
              <a:rPr lang="fi-FI" dirty="0"/>
              <a:t>Esityksen päättävä teksti</a:t>
            </a:r>
          </a:p>
        </p:txBody>
      </p:sp>
      <p:sp>
        <p:nvSpPr>
          <p:cNvPr id="3" name="Alaotsikko 2"/>
          <p:cNvSpPr>
            <a:spLocks noGrp="1"/>
          </p:cNvSpPr>
          <p:nvPr>
            <p:ph type="subTitle" idx="1"/>
          </p:nvPr>
        </p:nvSpPr>
        <p:spPr>
          <a:xfrm>
            <a:off x="812800" y="3147814"/>
            <a:ext cx="5855530" cy="1512168"/>
          </a:xfrm>
        </p:spPr>
        <p:txBody>
          <a:bodyPr>
            <a:normAutofit/>
          </a:bodyPr>
          <a:lstStyle>
            <a:lvl1pPr marL="0" indent="0" algn="l">
              <a:spcBef>
                <a:spcPts val="0"/>
              </a:spcBef>
              <a:buNone/>
              <a:defRPr sz="1800">
                <a:solidFill>
                  <a:srgbClr val="59596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fi-FI" dirty="0"/>
          </a:p>
        </p:txBody>
      </p:sp>
      <p:pic>
        <p:nvPicPr>
          <p:cNvPr id="6" name="Picture 5">
            <a:extLst>
              <a:ext uri="{FF2B5EF4-FFF2-40B4-BE49-F238E27FC236}">
                <a16:creationId xmlns:a16="http://schemas.microsoft.com/office/drawing/2014/main" id="{54CBBF4F-860A-6245-8AAB-382104654A3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24328" y="4699762"/>
            <a:ext cx="1439764" cy="274348"/>
          </a:xfrm>
          <a:prstGeom prst="rect">
            <a:avLst/>
          </a:prstGeom>
        </p:spPr>
      </p:pic>
      <p:pic>
        <p:nvPicPr>
          <p:cNvPr id="7" name="Picture 6">
            <a:extLst>
              <a:ext uri="{FF2B5EF4-FFF2-40B4-BE49-F238E27FC236}">
                <a16:creationId xmlns:a16="http://schemas.microsoft.com/office/drawing/2014/main" id="{3AEFC440-453E-0D42-BF52-3C7282112DB0}"/>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04448" y="235340"/>
            <a:ext cx="305495" cy="419486"/>
          </a:xfrm>
          <a:prstGeom prst="rect">
            <a:avLst/>
          </a:prstGeom>
        </p:spPr>
      </p:pic>
    </p:spTree>
    <p:extLst>
      <p:ext uri="{BB962C8B-B14F-4D97-AF65-F5344CB8AC3E}">
        <p14:creationId xmlns:p14="http://schemas.microsoft.com/office/powerpoint/2010/main" val="236053273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yhjä">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334633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cSld name="Otsikko ja tekstisivu A">
    <p:spTree>
      <p:nvGrpSpPr>
        <p:cNvPr id="1" name=""/>
        <p:cNvGrpSpPr/>
        <p:nvPr/>
      </p:nvGrpSpPr>
      <p:grpSpPr>
        <a:xfrm>
          <a:off x="0" y="0"/>
          <a:ext cx="0" cy="0"/>
          <a:chOff x="0" y="0"/>
          <a:chExt cx="0" cy="0"/>
        </a:xfrm>
      </p:grpSpPr>
      <p:sp>
        <p:nvSpPr>
          <p:cNvPr id="2" name="Otsikko 1"/>
          <p:cNvSpPr>
            <a:spLocks noGrp="1"/>
          </p:cNvSpPr>
          <p:nvPr>
            <p:ph type="title" hasCustomPrompt="1"/>
          </p:nvPr>
        </p:nvSpPr>
        <p:spPr>
          <a:xfrm>
            <a:off x="1386301" y="193994"/>
            <a:ext cx="7611243" cy="792000"/>
          </a:xfrm>
        </p:spPr>
        <p:txBody>
          <a:bodyPr/>
          <a:lstStyle>
            <a:lvl1pPr>
              <a:defRPr cap="all"/>
            </a:lvl1pPr>
          </a:lstStyle>
          <a:p>
            <a:r>
              <a:rPr lang="fi-FI" dirty="0"/>
              <a:t>MUOKKAA PERUSTYYLEJÄ NAPS.</a:t>
            </a:r>
          </a:p>
        </p:txBody>
      </p:sp>
      <p:sp>
        <p:nvSpPr>
          <p:cNvPr id="3" name="Sisällön paikkamerkki 2"/>
          <p:cNvSpPr>
            <a:spLocks noGrp="1"/>
          </p:cNvSpPr>
          <p:nvPr>
            <p:ph idx="1"/>
          </p:nvPr>
        </p:nvSpPr>
        <p:spPr>
          <a:xfrm>
            <a:off x="1386303" y="1106235"/>
            <a:ext cx="6919223" cy="3569369"/>
          </a:xfrm>
        </p:spPr>
        <p:txBody>
          <a:bodyPr tIns="0" bIns="0">
            <a:normAutofit/>
          </a:bodyPr>
          <a:lstStyle>
            <a:lvl1pPr marL="241194" indent="-241194">
              <a:spcBef>
                <a:spcPts val="0"/>
              </a:spcBef>
              <a:defRPr sz="1800"/>
            </a:lvl1pPr>
            <a:lvl2pPr>
              <a:defRPr sz="1800"/>
            </a:lvl2pPr>
          </a:lstStyle>
          <a:p>
            <a:pPr lvl="0"/>
            <a:r>
              <a:rPr lang="fi-FI"/>
              <a:t>Muokkaa tekstin perustyylejä</a:t>
            </a:r>
          </a:p>
          <a:p>
            <a:pPr lvl="1"/>
            <a:r>
              <a:rPr lang="fi-FI"/>
              <a:t>toinen taso</a:t>
            </a:r>
          </a:p>
        </p:txBody>
      </p:sp>
      <p:sp>
        <p:nvSpPr>
          <p:cNvPr id="10" name="Päivämäärän paikkamerkki 3"/>
          <p:cNvSpPr>
            <a:spLocks noGrp="1"/>
          </p:cNvSpPr>
          <p:nvPr>
            <p:ph type="dt" sz="half" idx="2"/>
          </p:nvPr>
        </p:nvSpPr>
        <p:spPr>
          <a:xfrm>
            <a:off x="1679447" y="4767262"/>
            <a:ext cx="1111137" cy="376238"/>
          </a:xfrm>
          <a:prstGeom prst="rect">
            <a:avLst/>
          </a:prstGeom>
        </p:spPr>
        <p:txBody>
          <a:bodyPr vert="horz" lIns="0" tIns="0" rIns="0" bIns="0" rtlCol="0" anchor="t" anchorCtr="0"/>
          <a:lstStyle>
            <a:lvl1pPr algn="l">
              <a:defRPr sz="1000" b="1">
                <a:solidFill>
                  <a:schemeClr val="accent5"/>
                </a:solidFill>
              </a:defRPr>
            </a:lvl1pPr>
          </a:lstStyle>
          <a:p>
            <a:endParaRPr lang="fi-FI" dirty="0"/>
          </a:p>
        </p:txBody>
      </p:sp>
      <p:sp>
        <p:nvSpPr>
          <p:cNvPr id="11" name="Alatunnisteen paikkamerkki 4"/>
          <p:cNvSpPr>
            <a:spLocks noGrp="1"/>
          </p:cNvSpPr>
          <p:nvPr>
            <p:ph type="ftr" sz="quarter" idx="3"/>
          </p:nvPr>
        </p:nvSpPr>
        <p:spPr>
          <a:xfrm>
            <a:off x="2813983" y="4767262"/>
            <a:ext cx="5491543" cy="376238"/>
          </a:xfrm>
          <a:prstGeom prst="rect">
            <a:avLst/>
          </a:prstGeom>
        </p:spPr>
        <p:txBody>
          <a:bodyPr vert="horz" lIns="0" tIns="0" rIns="0" bIns="0" rtlCol="0" anchor="t" anchorCtr="0"/>
          <a:lstStyle>
            <a:lvl1pPr algn="l">
              <a:defRPr sz="1000" b="1">
                <a:solidFill>
                  <a:schemeClr val="accent5"/>
                </a:solidFill>
              </a:defRPr>
            </a:lvl1pPr>
          </a:lstStyle>
          <a:p>
            <a:r>
              <a:rPr lang="fi-FI"/>
              <a:t>Etunimi Sukunimi</a:t>
            </a:r>
            <a:endParaRPr lang="fi-FI" dirty="0"/>
          </a:p>
        </p:txBody>
      </p:sp>
      <p:sp>
        <p:nvSpPr>
          <p:cNvPr id="12" name="Dian numeron paikkamerkki 5"/>
          <p:cNvSpPr>
            <a:spLocks noGrp="1"/>
          </p:cNvSpPr>
          <p:nvPr>
            <p:ph type="sldNum" sz="quarter" idx="4"/>
          </p:nvPr>
        </p:nvSpPr>
        <p:spPr>
          <a:xfrm>
            <a:off x="1386303" y="4767262"/>
            <a:ext cx="268078" cy="376238"/>
          </a:xfrm>
          <a:prstGeom prst="rect">
            <a:avLst/>
          </a:prstGeom>
        </p:spPr>
        <p:txBody>
          <a:bodyPr vert="horz" lIns="0" tIns="0" rIns="0" bIns="0" rtlCol="0" anchor="t" anchorCtr="0"/>
          <a:lstStyle>
            <a:lvl1pPr algn="l">
              <a:defRPr sz="1000" b="1">
                <a:solidFill>
                  <a:schemeClr val="accent5"/>
                </a:solidFill>
              </a:defRPr>
            </a:lvl1pPr>
          </a:lstStyle>
          <a:p>
            <a:fld id="{3B22B7C4-AFD1-7743-BBCA-4BB7396376EE}" type="slidenum">
              <a:rPr lang="fi-FI" smtClean="0"/>
              <a:pPr/>
              <a:t>‹#›</a:t>
            </a:fld>
            <a:endParaRPr lang="fi-FI" dirty="0"/>
          </a:p>
        </p:txBody>
      </p:sp>
    </p:spTree>
    <p:extLst>
      <p:ext uri="{BB962C8B-B14F-4D97-AF65-F5344CB8AC3E}">
        <p14:creationId xmlns:p14="http://schemas.microsoft.com/office/powerpoint/2010/main" val="91910240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Otsikko ja sisältö">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A181A8-BD3B-1B4E-A475-43EC2E1EB331}"/>
              </a:ext>
            </a:extLst>
          </p:cNvPr>
          <p:cNvSpPr>
            <a:spLocks noGrp="1"/>
          </p:cNvSpPr>
          <p:nvPr>
            <p:ph type="title" hasCustomPrompt="1"/>
          </p:nvPr>
        </p:nvSpPr>
        <p:spPr>
          <a:xfrm>
            <a:off x="539998" y="270000"/>
            <a:ext cx="7386781" cy="756000"/>
          </a:xfrm>
        </p:spPr>
        <p:txBody>
          <a:bodyPr/>
          <a:lstStyle>
            <a:lvl1pPr>
              <a:defRPr/>
            </a:lvl1pPr>
          </a:lstStyle>
          <a:p>
            <a:r>
              <a:rPr lang="en-GB" err="1"/>
              <a:t>Lisää</a:t>
            </a:r>
            <a:r>
              <a:rPr lang="en-GB"/>
              <a:t> </a:t>
            </a:r>
            <a:r>
              <a:rPr lang="en-GB" err="1"/>
              <a:t>otsikko</a:t>
            </a:r>
            <a:r>
              <a:rPr lang="en-GB"/>
              <a:t> </a:t>
            </a:r>
            <a:r>
              <a:rPr lang="en-GB" err="1"/>
              <a:t>napsauttamalla</a:t>
            </a:r>
            <a:endParaRPr lang="fi-FI"/>
          </a:p>
        </p:txBody>
      </p:sp>
      <p:sp>
        <p:nvSpPr>
          <p:cNvPr id="8" name="Content Placeholder 7">
            <a:extLst>
              <a:ext uri="{FF2B5EF4-FFF2-40B4-BE49-F238E27FC236}">
                <a16:creationId xmlns:a16="http://schemas.microsoft.com/office/drawing/2014/main" id="{86F3938F-2A79-734F-B23C-610FE38D1355}"/>
              </a:ext>
            </a:extLst>
          </p:cNvPr>
          <p:cNvSpPr>
            <a:spLocks noGrp="1"/>
          </p:cNvSpPr>
          <p:nvPr>
            <p:ph sz="quarter" idx="13" hasCustomPrompt="1"/>
          </p:nvPr>
        </p:nvSpPr>
        <p:spPr>
          <a:xfrm>
            <a:off x="540543" y="1107000"/>
            <a:ext cx="8100000" cy="3510000"/>
          </a:xfrm>
          <a:prstGeom prst="rect">
            <a:avLst/>
          </a:prstGeom>
        </p:spPr>
        <p:txBody>
          <a:bodyPr/>
          <a:lstStyle>
            <a:lvl1pPr>
              <a:spcBef>
                <a:spcPts val="1050"/>
              </a:spcBef>
              <a:defRPr sz="2100"/>
            </a:lvl1pPr>
            <a:lvl2pPr>
              <a:defRPr/>
            </a:lvl2pPr>
            <a:lvl3pPr>
              <a:defRPr/>
            </a:lvl3pPr>
            <a:lvl4pPr>
              <a:defRPr/>
            </a:lvl4pPr>
            <a:lvl5pPr>
              <a:defRPr/>
            </a:lvl5pPr>
          </a:lstStyle>
          <a:p>
            <a:pPr lvl="0"/>
            <a:r>
              <a:rPr lang="en-US" err="1"/>
              <a:t>Lisää</a:t>
            </a:r>
            <a:r>
              <a:rPr lang="en-US"/>
              <a:t> </a:t>
            </a:r>
            <a:r>
              <a:rPr lang="en-US" err="1"/>
              <a:t>tekstiä</a:t>
            </a:r>
            <a:r>
              <a:rPr lang="en-US"/>
              <a:t> </a:t>
            </a:r>
            <a:r>
              <a:rPr lang="en-US" err="1"/>
              <a:t>napsauttamalla</a:t>
            </a:r>
            <a:endParaRPr lang="en-US"/>
          </a:p>
          <a:p>
            <a:pPr lvl="1"/>
            <a:r>
              <a:rPr lang="en-US" err="1"/>
              <a:t>Testitaso</a:t>
            </a:r>
            <a:r>
              <a:rPr lang="en-US"/>
              <a:t> 2</a:t>
            </a:r>
          </a:p>
          <a:p>
            <a:pPr lvl="2"/>
            <a:r>
              <a:rPr lang="en-US" err="1"/>
              <a:t>Tekstitaso</a:t>
            </a:r>
            <a:r>
              <a:rPr lang="en-US"/>
              <a:t> 3</a:t>
            </a:r>
          </a:p>
          <a:p>
            <a:pPr lvl="3"/>
            <a:r>
              <a:rPr lang="en-US" err="1"/>
              <a:t>Tekstitaso</a:t>
            </a:r>
            <a:r>
              <a:rPr lang="en-US"/>
              <a:t> 4</a:t>
            </a:r>
          </a:p>
          <a:p>
            <a:pPr lvl="4"/>
            <a:r>
              <a:rPr lang="en-US" err="1"/>
              <a:t>Tekstitaso</a:t>
            </a:r>
            <a:r>
              <a:rPr lang="en-US"/>
              <a:t> 5</a:t>
            </a:r>
            <a:endParaRPr lang="en-GB"/>
          </a:p>
        </p:txBody>
      </p:sp>
      <p:sp>
        <p:nvSpPr>
          <p:cNvPr id="6" name="Footer Placeholder 5">
            <a:extLst>
              <a:ext uri="{FF2B5EF4-FFF2-40B4-BE49-F238E27FC236}">
                <a16:creationId xmlns:a16="http://schemas.microsoft.com/office/drawing/2014/main" id="{94161082-4E2A-7D40-9E3B-98A205AE9DDA}"/>
              </a:ext>
              <a:ext uri="{C183D7F6-B498-43B3-948B-1728B52AA6E4}">
                <adec:decorative xmlns:adec="http://schemas.microsoft.com/office/drawing/2017/decorative" xmlns="" val="1"/>
              </a:ext>
            </a:extLst>
          </p:cNvPr>
          <p:cNvSpPr>
            <a:spLocks noGrp="1"/>
          </p:cNvSpPr>
          <p:nvPr>
            <p:ph type="ftr" sz="quarter" idx="15"/>
          </p:nvPr>
        </p:nvSpPr>
        <p:spPr/>
        <p:txBody>
          <a:bodyPr/>
          <a:lstStyle/>
          <a:p>
            <a:r>
              <a:rPr lang="en-GB"/>
              <a:t>Etunimi Sukunimi</a:t>
            </a:r>
            <a:endParaRPr lang="x-none"/>
          </a:p>
        </p:txBody>
      </p:sp>
      <p:sp>
        <p:nvSpPr>
          <p:cNvPr id="5" name="Date Placeholder 4">
            <a:extLst>
              <a:ext uri="{FF2B5EF4-FFF2-40B4-BE49-F238E27FC236}">
                <a16:creationId xmlns:a16="http://schemas.microsoft.com/office/drawing/2014/main" id="{13D3555C-C733-BE4A-B42D-425669A82B4C}"/>
              </a:ext>
              <a:ext uri="{C183D7F6-B498-43B3-948B-1728B52AA6E4}">
                <adec:decorative xmlns:adec="http://schemas.microsoft.com/office/drawing/2017/decorative" xmlns="" val="1"/>
              </a:ext>
            </a:extLst>
          </p:cNvPr>
          <p:cNvSpPr>
            <a:spLocks noGrp="1"/>
          </p:cNvSpPr>
          <p:nvPr>
            <p:ph type="dt" sz="half" idx="14"/>
          </p:nvPr>
        </p:nvSpPr>
        <p:spPr/>
        <p:txBody>
          <a:bodyPr/>
          <a:lstStyle/>
          <a:p>
            <a:endParaRPr lang="x-none"/>
          </a:p>
        </p:txBody>
      </p:sp>
      <p:sp>
        <p:nvSpPr>
          <p:cNvPr id="7" name="Slide Number Placeholder 6">
            <a:extLst>
              <a:ext uri="{FF2B5EF4-FFF2-40B4-BE49-F238E27FC236}">
                <a16:creationId xmlns:a16="http://schemas.microsoft.com/office/drawing/2014/main" id="{84897F54-5993-7B41-836B-EA72CB5698B8}"/>
              </a:ext>
              <a:ext uri="{C183D7F6-B498-43B3-948B-1728B52AA6E4}">
                <adec:decorative xmlns:adec="http://schemas.microsoft.com/office/drawing/2017/decorative" xmlns="" val="1"/>
              </a:ext>
            </a:extLst>
          </p:cNvPr>
          <p:cNvSpPr>
            <a:spLocks noGrp="1"/>
          </p:cNvSpPr>
          <p:nvPr>
            <p:ph type="sldNum" sz="quarter" idx="16"/>
          </p:nvPr>
        </p:nvSpPr>
        <p:spPr/>
        <p:txBody>
          <a:bodyPr/>
          <a:lstStyle/>
          <a:p>
            <a:fld id="{882CC271-BBF5-3F46-90AE-792A663E0CFB}" type="slidenum">
              <a:rPr lang="en-GB" smtClean="0"/>
              <a:pPr/>
              <a:t>‹#›</a:t>
            </a:fld>
            <a:endParaRPr lang="en-GB"/>
          </a:p>
        </p:txBody>
      </p:sp>
    </p:spTree>
    <p:extLst>
      <p:ext uri="{BB962C8B-B14F-4D97-AF65-F5344CB8AC3E}">
        <p14:creationId xmlns:p14="http://schemas.microsoft.com/office/powerpoint/2010/main" val="232337284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75A2C256-48C1-C245-998A-D7A2CF1BEDEF}"/>
              </a:ext>
            </a:extLst>
          </p:cNvPr>
          <p:cNvSpPr>
            <a:spLocks noGrp="1"/>
          </p:cNvSpPr>
          <p:nvPr>
            <p:ph type="dt" sz="half" idx="10"/>
          </p:nvPr>
        </p:nvSpPr>
        <p:spPr/>
        <p:txBody>
          <a:bodyPr/>
          <a:lstStyle/>
          <a:p>
            <a:endParaRPr lang="fi-FI"/>
          </a:p>
        </p:txBody>
      </p:sp>
      <p:sp>
        <p:nvSpPr>
          <p:cNvPr id="5" name="Footer Placeholder 4">
            <a:extLst>
              <a:ext uri="{FF2B5EF4-FFF2-40B4-BE49-F238E27FC236}">
                <a16:creationId xmlns:a16="http://schemas.microsoft.com/office/drawing/2014/main" id="{57EB178E-AE4B-9E4E-829F-B50E365C89F1}"/>
              </a:ext>
            </a:extLst>
          </p:cNvPr>
          <p:cNvSpPr>
            <a:spLocks noGrp="1"/>
          </p:cNvSpPr>
          <p:nvPr>
            <p:ph type="ftr" sz="quarter" idx="11"/>
          </p:nvPr>
        </p:nvSpPr>
        <p:spPr/>
        <p:txBody>
          <a:bodyPr/>
          <a:lstStyle/>
          <a:p>
            <a:r>
              <a:rPr lang="fi-FI"/>
              <a:t>Etunimi Sukunimi</a:t>
            </a:r>
          </a:p>
        </p:txBody>
      </p:sp>
      <p:sp>
        <p:nvSpPr>
          <p:cNvPr id="6" name="Slide Number Placeholder 5">
            <a:extLst>
              <a:ext uri="{FF2B5EF4-FFF2-40B4-BE49-F238E27FC236}">
                <a16:creationId xmlns:a16="http://schemas.microsoft.com/office/drawing/2014/main" id="{420DB95B-9D99-B948-B3F0-A1E3541EDC2D}"/>
              </a:ext>
            </a:extLst>
          </p:cNvPr>
          <p:cNvSpPr>
            <a:spLocks noGrp="1"/>
          </p:cNvSpPr>
          <p:nvPr>
            <p:ph type="sldNum" sz="quarter" idx="12"/>
          </p:nvPr>
        </p:nvSpPr>
        <p:spPr/>
        <p:txBody>
          <a:bodyPr/>
          <a:lstStyle/>
          <a:p>
            <a:fld id="{F6975956-C45A-444E-9050-E8F36A744109}" type="slidenum">
              <a:rPr lang="fi-FI" smtClean="0"/>
              <a:t>‹#›</a:t>
            </a:fld>
            <a:endParaRPr lang="fi-FI"/>
          </a:p>
        </p:txBody>
      </p:sp>
      <p:sp>
        <p:nvSpPr>
          <p:cNvPr id="11" name="Title 1">
            <a:extLst>
              <a:ext uri="{FF2B5EF4-FFF2-40B4-BE49-F238E27FC236}">
                <a16:creationId xmlns:a16="http://schemas.microsoft.com/office/drawing/2014/main" id="{FD3A2109-DA11-3742-983D-F38B49A20182}"/>
              </a:ext>
            </a:extLst>
          </p:cNvPr>
          <p:cNvSpPr>
            <a:spLocks noGrp="1"/>
          </p:cNvSpPr>
          <p:nvPr>
            <p:ph type="title"/>
          </p:nvPr>
        </p:nvSpPr>
        <p:spPr>
          <a:xfrm>
            <a:off x="409989" y="273843"/>
            <a:ext cx="7259807" cy="994172"/>
          </a:xfrm>
        </p:spPr>
        <p:txBody>
          <a:bodyPr/>
          <a:lstStyle>
            <a:lvl1pPr>
              <a:lnSpc>
                <a:spcPct val="100000"/>
              </a:lnSpc>
              <a:defRPr/>
            </a:lvl1pPr>
          </a:lstStyle>
          <a:p>
            <a:r>
              <a:rPr lang="fi-FI"/>
              <a:t>Muokkaa perustyyl. napsautt.</a:t>
            </a:r>
            <a:endParaRPr lang="fi-FI" dirty="0"/>
          </a:p>
        </p:txBody>
      </p:sp>
      <p:sp>
        <p:nvSpPr>
          <p:cNvPr id="9" name="Text Placeholder 2">
            <a:extLst>
              <a:ext uri="{FF2B5EF4-FFF2-40B4-BE49-F238E27FC236}">
                <a16:creationId xmlns:a16="http://schemas.microsoft.com/office/drawing/2014/main" id="{67B765B0-6361-C04D-ADC5-B6CEF6BA18AC}"/>
              </a:ext>
            </a:extLst>
          </p:cNvPr>
          <p:cNvSpPr>
            <a:spLocks noGrp="1"/>
          </p:cNvSpPr>
          <p:nvPr>
            <p:ph idx="1"/>
          </p:nvPr>
        </p:nvSpPr>
        <p:spPr>
          <a:xfrm>
            <a:off x="409989" y="1369219"/>
            <a:ext cx="8105361" cy="3240000"/>
          </a:xfrm>
          <a:prstGeom prst="rect">
            <a:avLst/>
          </a:prstGeom>
        </p:spPr>
        <p:txBody>
          <a:bodyPr vert="horz" lIns="91440" tIns="45720" rIns="91440" bIns="45720" rtlCol="0">
            <a:normAutofit/>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fi-FI" dirty="0"/>
          </a:p>
        </p:txBody>
      </p:sp>
    </p:spTree>
    <p:extLst>
      <p:ext uri="{BB962C8B-B14F-4D97-AF65-F5344CB8AC3E}">
        <p14:creationId xmlns:p14="http://schemas.microsoft.com/office/powerpoint/2010/main" val="231541303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Otsikko ja sisältö">
    <p:spTree>
      <p:nvGrpSpPr>
        <p:cNvPr id="1" name=""/>
        <p:cNvGrpSpPr/>
        <p:nvPr/>
      </p:nvGrpSpPr>
      <p:grpSpPr>
        <a:xfrm>
          <a:off x="0" y="0"/>
          <a:ext cx="0" cy="0"/>
          <a:chOff x="0" y="0"/>
          <a:chExt cx="0" cy="0"/>
        </a:xfrm>
      </p:grpSpPr>
      <p:sp>
        <p:nvSpPr>
          <p:cNvPr id="7" name="Otsikko 6">
            <a:extLst>
              <a:ext uri="{FF2B5EF4-FFF2-40B4-BE49-F238E27FC236}">
                <a16:creationId xmlns:a16="http://schemas.microsoft.com/office/drawing/2014/main" id="{730CA868-3E6E-4D0A-9513-AB5294AD3AA6}"/>
              </a:ext>
            </a:extLst>
          </p:cNvPr>
          <p:cNvSpPr>
            <a:spLocks noGrp="1"/>
          </p:cNvSpPr>
          <p:nvPr>
            <p:ph type="title" hasCustomPrompt="1"/>
          </p:nvPr>
        </p:nvSpPr>
        <p:spPr/>
        <p:txBody>
          <a:bodyPr/>
          <a:lstStyle>
            <a:lvl1pPr>
              <a:defRPr/>
            </a:lvl1pPr>
          </a:lstStyle>
          <a:p>
            <a:r>
              <a:rPr lang="fi-FI" dirty="0"/>
              <a:t>Tekstisivu, yksipalstainen. </a:t>
            </a:r>
            <a:br>
              <a:rPr lang="fi-FI" dirty="0"/>
            </a:br>
            <a:r>
              <a:rPr lang="fi-FI" dirty="0"/>
              <a:t>Otsikon pituus korkeintaan kaksi riviä</a:t>
            </a:r>
          </a:p>
        </p:txBody>
      </p:sp>
      <p:sp>
        <p:nvSpPr>
          <p:cNvPr id="3" name="Sisällön paikkamerkki 2">
            <a:extLst>
              <a:ext uri="{FF2B5EF4-FFF2-40B4-BE49-F238E27FC236}">
                <a16:creationId xmlns:a16="http://schemas.microsoft.com/office/drawing/2014/main" id="{CEA7B6C4-99CF-45B0-9979-1EA10BFE399C}"/>
              </a:ext>
            </a:extLst>
          </p:cNvPr>
          <p:cNvSpPr>
            <a:spLocks noGrp="1"/>
          </p:cNvSpPr>
          <p:nvPr>
            <p:ph idx="1"/>
          </p:nvPr>
        </p:nvSpPr>
        <p:spPr/>
        <p:txBody>
          <a:bodyPr/>
          <a:lstStyle/>
          <a:p>
            <a:pPr lvl="0"/>
            <a:r>
              <a:rPr lang="fi-FI" smtClean="0"/>
              <a:t>Muokkaa tekstin perustyylejä</a:t>
            </a:r>
          </a:p>
          <a:p>
            <a:pPr lvl="1"/>
            <a:r>
              <a:rPr lang="fi-FI" smtClean="0"/>
              <a:t>toinen taso</a:t>
            </a:r>
          </a:p>
          <a:p>
            <a:pPr lvl="2"/>
            <a:r>
              <a:rPr lang="fi-FI" smtClean="0"/>
              <a:t>kolmas taso</a:t>
            </a:r>
          </a:p>
          <a:p>
            <a:pPr lvl="3"/>
            <a:r>
              <a:rPr lang="fi-FI" smtClean="0"/>
              <a:t>neljäs taso</a:t>
            </a:r>
          </a:p>
          <a:p>
            <a:pPr lvl="4"/>
            <a:r>
              <a:rPr lang="fi-FI" smtClean="0"/>
              <a:t>viides taso</a:t>
            </a:r>
            <a:endParaRPr lang="fi-FI" dirty="0"/>
          </a:p>
        </p:txBody>
      </p:sp>
      <p:sp>
        <p:nvSpPr>
          <p:cNvPr id="8" name="Alatunnisteen paikkamerkki 7">
            <a:extLst>
              <a:ext uri="{FF2B5EF4-FFF2-40B4-BE49-F238E27FC236}">
                <a16:creationId xmlns:a16="http://schemas.microsoft.com/office/drawing/2014/main" id="{77F5A965-5012-417E-A4D7-9CB8DE3A3803}"/>
              </a:ext>
            </a:extLst>
          </p:cNvPr>
          <p:cNvSpPr>
            <a:spLocks noGrp="1"/>
          </p:cNvSpPr>
          <p:nvPr>
            <p:ph type="ftr" sz="quarter" idx="11"/>
          </p:nvPr>
        </p:nvSpPr>
        <p:spPr/>
        <p:txBody>
          <a:bodyPr/>
          <a:lstStyle/>
          <a:p>
            <a:pPr algn="l"/>
            <a:r>
              <a:rPr lang="fi-FI"/>
              <a:t>Aihe/otsikkoteksti Arial Regular lorem ipsum dolores</a:t>
            </a:r>
            <a:endParaRPr lang="fi-FI" dirty="0"/>
          </a:p>
        </p:txBody>
      </p:sp>
      <p:sp>
        <p:nvSpPr>
          <p:cNvPr id="9" name="Dian numeron paikkamerkki 8">
            <a:extLst>
              <a:ext uri="{FF2B5EF4-FFF2-40B4-BE49-F238E27FC236}">
                <a16:creationId xmlns:a16="http://schemas.microsoft.com/office/drawing/2014/main" id="{D9E0DD3D-67FB-4C7B-917A-622EAB8FF858}"/>
              </a:ext>
            </a:extLst>
          </p:cNvPr>
          <p:cNvSpPr>
            <a:spLocks noGrp="1"/>
          </p:cNvSpPr>
          <p:nvPr>
            <p:ph type="sldNum" sz="quarter" idx="12"/>
          </p:nvPr>
        </p:nvSpPr>
        <p:spPr/>
        <p:txBody>
          <a:bodyPr/>
          <a:lstStyle/>
          <a:p>
            <a:fld id="{4BCCB783-365B-40E8-A1C9-91A9348041A5}" type="slidenum">
              <a:rPr lang="fi-FI" smtClean="0"/>
              <a:pPr/>
              <a:t>‹#›</a:t>
            </a:fld>
            <a:endParaRPr lang="fi-FI" dirty="0"/>
          </a:p>
        </p:txBody>
      </p:sp>
    </p:spTree>
    <p:extLst>
      <p:ext uri="{BB962C8B-B14F-4D97-AF65-F5344CB8AC3E}">
        <p14:creationId xmlns:p14="http://schemas.microsoft.com/office/powerpoint/2010/main" val="365184845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Pääotsikko Sote">
    <p:spTree>
      <p:nvGrpSpPr>
        <p:cNvPr id="1" name=""/>
        <p:cNvGrpSpPr/>
        <p:nvPr/>
      </p:nvGrpSpPr>
      <p:grpSpPr>
        <a:xfrm>
          <a:off x="0" y="0"/>
          <a:ext cx="0" cy="0"/>
          <a:chOff x="0" y="0"/>
          <a:chExt cx="0" cy="0"/>
        </a:xfrm>
      </p:grpSpPr>
      <p:sp>
        <p:nvSpPr>
          <p:cNvPr id="7" name="Otsikko 1"/>
          <p:cNvSpPr>
            <a:spLocks noGrp="1"/>
          </p:cNvSpPr>
          <p:nvPr>
            <p:ph type="ctrTitle"/>
          </p:nvPr>
        </p:nvSpPr>
        <p:spPr>
          <a:xfrm>
            <a:off x="683568" y="1851671"/>
            <a:ext cx="5832648" cy="2095528"/>
          </a:xfrm>
        </p:spPr>
        <p:txBody>
          <a:bodyPr anchor="b" anchorCtr="0">
            <a:noAutofit/>
          </a:bodyPr>
          <a:lstStyle>
            <a:lvl1pPr algn="l">
              <a:defRPr sz="4000">
                <a:solidFill>
                  <a:srgbClr val="FFFFFF"/>
                </a:solidFill>
              </a:defRPr>
            </a:lvl1pPr>
          </a:lstStyle>
          <a:p>
            <a:r>
              <a:rPr lang="en-US" dirty="0"/>
              <a:t>Click to edit Master title style</a:t>
            </a:r>
            <a:endParaRPr lang="fi-FI" dirty="0"/>
          </a:p>
        </p:txBody>
      </p:sp>
      <p:sp>
        <p:nvSpPr>
          <p:cNvPr id="8" name="Alaotsikko 2"/>
          <p:cNvSpPr>
            <a:spLocks noGrp="1"/>
          </p:cNvSpPr>
          <p:nvPr>
            <p:ph type="subTitle" idx="1"/>
          </p:nvPr>
        </p:nvSpPr>
        <p:spPr>
          <a:xfrm>
            <a:off x="683568" y="4064579"/>
            <a:ext cx="5832648" cy="667413"/>
          </a:xfrm>
        </p:spPr>
        <p:txBody>
          <a:bodyPr>
            <a:normAutofit/>
          </a:bodyPr>
          <a:lstStyle>
            <a:lvl1pPr marL="0" indent="0" algn="l">
              <a:spcBef>
                <a:spcPts val="0"/>
              </a:spcBef>
              <a:buNone/>
              <a:defRPr sz="1800">
                <a:solidFill>
                  <a:srgbClr val="FFFFFF"/>
                </a:solidFill>
              </a:defRPr>
            </a:lvl1pPr>
            <a:lvl2pPr marL="457178" indent="0" algn="ctr">
              <a:buNone/>
              <a:defRPr>
                <a:solidFill>
                  <a:schemeClr val="tx1">
                    <a:tint val="75000"/>
                  </a:schemeClr>
                </a:solidFill>
              </a:defRPr>
            </a:lvl2pPr>
            <a:lvl3pPr marL="914355"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4"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a:t>Click to edit Master subtitle style</a:t>
            </a:r>
            <a:endParaRPr lang="fi-FI" dirty="0"/>
          </a:p>
        </p:txBody>
      </p:sp>
      <p:pic>
        <p:nvPicPr>
          <p:cNvPr id="3" name="Picture 2">
            <a:extLst>
              <a:ext uri="{FF2B5EF4-FFF2-40B4-BE49-F238E27FC236}">
                <a16:creationId xmlns:a16="http://schemas.microsoft.com/office/drawing/2014/main" id="{DE92C5AF-A585-B247-8A1C-ABA6794D7A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512" y="0"/>
            <a:ext cx="9180512" cy="5164038"/>
          </a:xfrm>
          <a:prstGeom prst="rect">
            <a:avLst/>
          </a:prstGeom>
        </p:spPr>
      </p:pic>
      <p:pic>
        <p:nvPicPr>
          <p:cNvPr id="4" name="Picture 3">
            <a:extLst>
              <a:ext uri="{FF2B5EF4-FFF2-40B4-BE49-F238E27FC236}">
                <a16:creationId xmlns:a16="http://schemas.microsoft.com/office/drawing/2014/main" id="{F1689B57-8BAA-BF42-B648-10782572357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804249" y="4443960"/>
            <a:ext cx="2088034" cy="397877"/>
          </a:xfrm>
          <a:prstGeom prst="rect">
            <a:avLst/>
          </a:prstGeom>
        </p:spPr>
      </p:pic>
      <p:sp>
        <p:nvSpPr>
          <p:cNvPr id="53" name="Freeform 29">
            <a:extLst>
              <a:ext uri="{FF2B5EF4-FFF2-40B4-BE49-F238E27FC236}">
                <a16:creationId xmlns:a16="http://schemas.microsoft.com/office/drawing/2014/main" id="{72F12E7F-4413-244A-830A-CC060AC20C68}"/>
              </a:ext>
            </a:extLst>
          </p:cNvPr>
          <p:cNvSpPr>
            <a:spLocks noEditPoints="1"/>
          </p:cNvSpPr>
          <p:nvPr userDrawn="1"/>
        </p:nvSpPr>
        <p:spPr bwMode="auto">
          <a:xfrm>
            <a:off x="703265" y="627065"/>
            <a:ext cx="657225" cy="898525"/>
          </a:xfrm>
          <a:custGeom>
            <a:avLst/>
            <a:gdLst>
              <a:gd name="T0" fmla="*/ 3944 w 4973"/>
              <a:gd name="T1" fmla="*/ 6352 h 6792"/>
              <a:gd name="T2" fmla="*/ 1694 w 4973"/>
              <a:gd name="T3" fmla="*/ 6143 h 6792"/>
              <a:gd name="T4" fmla="*/ 2984 w 4973"/>
              <a:gd name="T5" fmla="*/ 3784 h 6792"/>
              <a:gd name="T6" fmla="*/ 2316 w 4973"/>
              <a:gd name="T7" fmla="*/ 4454 h 6792"/>
              <a:gd name="T8" fmla="*/ 1155 w 4973"/>
              <a:gd name="T9" fmla="*/ 4705 h 6792"/>
              <a:gd name="T10" fmla="*/ 1077 w 4973"/>
              <a:gd name="T11" fmla="*/ 4988 h 6792"/>
              <a:gd name="T12" fmla="*/ 910 w 4973"/>
              <a:gd name="T13" fmla="*/ 5245 h 6792"/>
              <a:gd name="T14" fmla="*/ 961 w 4973"/>
              <a:gd name="T15" fmla="*/ 5618 h 6792"/>
              <a:gd name="T16" fmla="*/ 1600 w 4973"/>
              <a:gd name="T17" fmla="*/ 5369 h 6792"/>
              <a:gd name="T18" fmla="*/ 1886 w 4973"/>
              <a:gd name="T19" fmla="*/ 5421 h 6792"/>
              <a:gd name="T20" fmla="*/ 2617 w 4973"/>
              <a:gd name="T21" fmla="*/ 5123 h 6792"/>
              <a:gd name="T22" fmla="*/ 2857 w 4973"/>
              <a:gd name="T23" fmla="*/ 4678 h 6792"/>
              <a:gd name="T24" fmla="*/ 489 w 4973"/>
              <a:gd name="T25" fmla="*/ 5877 h 6792"/>
              <a:gd name="T26" fmla="*/ 1233 w 4973"/>
              <a:gd name="T27" fmla="*/ 6668 h 6792"/>
              <a:gd name="T28" fmla="*/ 1527 w 4973"/>
              <a:gd name="T29" fmla="*/ 5749 h 6792"/>
              <a:gd name="T30" fmla="*/ 927 w 4973"/>
              <a:gd name="T31" fmla="*/ 5758 h 6792"/>
              <a:gd name="T32" fmla="*/ 429 w 4973"/>
              <a:gd name="T33" fmla="*/ 621 h 6792"/>
              <a:gd name="T34" fmla="*/ 914 w 4973"/>
              <a:gd name="T35" fmla="*/ 547 h 6792"/>
              <a:gd name="T36" fmla="*/ 829 w 4973"/>
              <a:gd name="T37" fmla="*/ 957 h 6792"/>
              <a:gd name="T38" fmla="*/ 1232 w 4973"/>
              <a:gd name="T39" fmla="*/ 762 h 6792"/>
              <a:gd name="T40" fmla="*/ 780 w 4973"/>
              <a:gd name="T41" fmla="*/ 1976 h 6792"/>
              <a:gd name="T42" fmla="*/ 1297 w 4973"/>
              <a:gd name="T43" fmla="*/ 319 h 6792"/>
              <a:gd name="T44" fmla="*/ 1481 w 4973"/>
              <a:gd name="T45" fmla="*/ 731 h 6792"/>
              <a:gd name="T46" fmla="*/ 3458 w 4973"/>
              <a:gd name="T47" fmla="*/ 480 h 6792"/>
              <a:gd name="T48" fmla="*/ 3084 w 4973"/>
              <a:gd name="T49" fmla="*/ 643 h 6792"/>
              <a:gd name="T50" fmla="*/ 2947 w 4973"/>
              <a:gd name="T51" fmla="*/ 214 h 6792"/>
              <a:gd name="T52" fmla="*/ 2541 w 4973"/>
              <a:gd name="T53" fmla="*/ 417 h 6792"/>
              <a:gd name="T54" fmla="*/ 2413 w 4973"/>
              <a:gd name="T55" fmla="*/ 28 h 6792"/>
              <a:gd name="T56" fmla="*/ 3900 w 4973"/>
              <a:gd name="T57" fmla="*/ 1991 h 6792"/>
              <a:gd name="T58" fmla="*/ 4172 w 4973"/>
              <a:gd name="T59" fmla="*/ 1335 h 6792"/>
              <a:gd name="T60" fmla="*/ 3970 w 4973"/>
              <a:gd name="T61" fmla="*/ 3382 h 6792"/>
              <a:gd name="T62" fmla="*/ 4830 w 4973"/>
              <a:gd name="T63" fmla="*/ 2682 h 6792"/>
              <a:gd name="T64" fmla="*/ 4551 w 4973"/>
              <a:gd name="T65" fmla="*/ 1246 h 6792"/>
              <a:gd name="T66" fmla="*/ 3641 w 4973"/>
              <a:gd name="T67" fmla="*/ 1994 h 6792"/>
              <a:gd name="T68" fmla="*/ 3910 w 4973"/>
              <a:gd name="T69" fmla="*/ 2958 h 6792"/>
              <a:gd name="T70" fmla="*/ 4286 w 4973"/>
              <a:gd name="T71" fmla="*/ 2402 h 6792"/>
              <a:gd name="T72" fmla="*/ 3965 w 4973"/>
              <a:gd name="T73" fmla="*/ 3379 h 6792"/>
              <a:gd name="T74" fmla="*/ 3169 w 4973"/>
              <a:gd name="T75" fmla="*/ 2142 h 6792"/>
              <a:gd name="T76" fmla="*/ 3399 w 4973"/>
              <a:gd name="T77" fmla="*/ 1285 h 6792"/>
              <a:gd name="T78" fmla="*/ 2604 w 4973"/>
              <a:gd name="T79" fmla="*/ 769 h 6792"/>
              <a:gd name="T80" fmla="*/ 2052 w 4973"/>
              <a:gd name="T81" fmla="*/ 1359 h 6792"/>
              <a:gd name="T82" fmla="*/ 1664 w 4973"/>
              <a:gd name="T83" fmla="*/ 1597 h 6792"/>
              <a:gd name="T84" fmla="*/ 2105 w 4973"/>
              <a:gd name="T85" fmla="*/ 1550 h 6792"/>
              <a:gd name="T86" fmla="*/ 1945 w 4973"/>
              <a:gd name="T87" fmla="*/ 1849 h 6792"/>
              <a:gd name="T88" fmla="*/ 1151 w 4973"/>
              <a:gd name="T89" fmla="*/ 2851 h 6792"/>
              <a:gd name="T90" fmla="*/ 331 w 4973"/>
              <a:gd name="T91" fmla="*/ 2774 h 6792"/>
              <a:gd name="T92" fmla="*/ 150 w 4973"/>
              <a:gd name="T93" fmla="*/ 2974 h 6792"/>
              <a:gd name="T94" fmla="*/ 554 w 4973"/>
              <a:gd name="T95" fmla="*/ 3191 h 6792"/>
              <a:gd name="T96" fmla="*/ 489 w 4973"/>
              <a:gd name="T97" fmla="*/ 3468 h 6792"/>
              <a:gd name="T98" fmla="*/ 935 w 4973"/>
              <a:gd name="T99" fmla="*/ 3451 h 6792"/>
              <a:gd name="T100" fmla="*/ 1725 w 4973"/>
              <a:gd name="T101" fmla="*/ 2972 h 6792"/>
              <a:gd name="T102" fmla="*/ 3397 w 4973"/>
              <a:gd name="T103" fmla="*/ 3673 h 6792"/>
              <a:gd name="T104" fmla="*/ 3711 w 4973"/>
              <a:gd name="T105" fmla="*/ 4812 h 6792"/>
              <a:gd name="T106" fmla="*/ 4356 w 4973"/>
              <a:gd name="T107" fmla="*/ 5526 h 6792"/>
              <a:gd name="T108" fmla="*/ 3835 w 4973"/>
              <a:gd name="T109" fmla="*/ 5815 h 6792"/>
              <a:gd name="T110" fmla="*/ 3750 w 4973"/>
              <a:gd name="T111" fmla="*/ 6147 h 6792"/>
              <a:gd name="T112" fmla="*/ 4262 w 4973"/>
              <a:gd name="T113" fmla="*/ 6036 h 6792"/>
              <a:gd name="T114" fmla="*/ 4324 w 4973"/>
              <a:gd name="T115" fmla="*/ 6374 h 6792"/>
              <a:gd name="T116" fmla="*/ 4692 w 4973"/>
              <a:gd name="T117" fmla="*/ 6210 h 6792"/>
              <a:gd name="T118" fmla="*/ 4659 w 4973"/>
              <a:gd name="T119" fmla="*/ 5487 h 6792"/>
              <a:gd name="T120" fmla="*/ 4786 w 4973"/>
              <a:gd name="T121" fmla="*/ 4785 h 6792"/>
              <a:gd name="T122" fmla="*/ 4362 w 4973"/>
              <a:gd name="T123" fmla="*/ 4115 h 6792"/>
              <a:gd name="T124" fmla="*/ 4803 w 4973"/>
              <a:gd name="T125" fmla="*/ 3237 h 6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973" h="6792">
                <a:moveTo>
                  <a:pt x="1358" y="6333"/>
                </a:moveTo>
                <a:lnTo>
                  <a:pt x="1358" y="6333"/>
                </a:lnTo>
                <a:lnTo>
                  <a:pt x="1445" y="6392"/>
                </a:lnTo>
                <a:lnTo>
                  <a:pt x="1485" y="6418"/>
                </a:lnTo>
                <a:lnTo>
                  <a:pt x="1524" y="6443"/>
                </a:lnTo>
                <a:lnTo>
                  <a:pt x="1561" y="6466"/>
                </a:lnTo>
                <a:lnTo>
                  <a:pt x="1599" y="6487"/>
                </a:lnTo>
                <a:lnTo>
                  <a:pt x="1638" y="6509"/>
                </a:lnTo>
                <a:lnTo>
                  <a:pt x="1677" y="6528"/>
                </a:lnTo>
                <a:lnTo>
                  <a:pt x="1677" y="6528"/>
                </a:lnTo>
                <a:lnTo>
                  <a:pt x="1730" y="6553"/>
                </a:lnTo>
                <a:lnTo>
                  <a:pt x="1788" y="6578"/>
                </a:lnTo>
                <a:lnTo>
                  <a:pt x="1853" y="6605"/>
                </a:lnTo>
                <a:lnTo>
                  <a:pt x="1923" y="6630"/>
                </a:lnTo>
                <a:lnTo>
                  <a:pt x="1961" y="6644"/>
                </a:lnTo>
                <a:lnTo>
                  <a:pt x="2000" y="6656"/>
                </a:lnTo>
                <a:lnTo>
                  <a:pt x="2040" y="6669"/>
                </a:lnTo>
                <a:lnTo>
                  <a:pt x="2082" y="6682"/>
                </a:lnTo>
                <a:lnTo>
                  <a:pt x="2125" y="6693"/>
                </a:lnTo>
                <a:lnTo>
                  <a:pt x="2169" y="6704"/>
                </a:lnTo>
                <a:lnTo>
                  <a:pt x="2215" y="6715"/>
                </a:lnTo>
                <a:lnTo>
                  <a:pt x="2261" y="6726"/>
                </a:lnTo>
                <a:lnTo>
                  <a:pt x="2310" y="6736"/>
                </a:lnTo>
                <a:lnTo>
                  <a:pt x="2359" y="6745"/>
                </a:lnTo>
                <a:lnTo>
                  <a:pt x="2410" y="6754"/>
                </a:lnTo>
                <a:lnTo>
                  <a:pt x="2462" y="6762"/>
                </a:lnTo>
                <a:lnTo>
                  <a:pt x="2515" y="6768"/>
                </a:lnTo>
                <a:lnTo>
                  <a:pt x="2570" y="6776"/>
                </a:lnTo>
                <a:lnTo>
                  <a:pt x="2625" y="6781"/>
                </a:lnTo>
                <a:lnTo>
                  <a:pt x="2682" y="6785"/>
                </a:lnTo>
                <a:lnTo>
                  <a:pt x="2740" y="6788"/>
                </a:lnTo>
                <a:lnTo>
                  <a:pt x="2800" y="6790"/>
                </a:lnTo>
                <a:lnTo>
                  <a:pt x="2860" y="6792"/>
                </a:lnTo>
                <a:lnTo>
                  <a:pt x="2921" y="6791"/>
                </a:lnTo>
                <a:lnTo>
                  <a:pt x="2984" y="6790"/>
                </a:lnTo>
                <a:lnTo>
                  <a:pt x="3047" y="6787"/>
                </a:lnTo>
                <a:lnTo>
                  <a:pt x="3112" y="6783"/>
                </a:lnTo>
                <a:lnTo>
                  <a:pt x="3177" y="6778"/>
                </a:lnTo>
                <a:lnTo>
                  <a:pt x="3177" y="6778"/>
                </a:lnTo>
                <a:lnTo>
                  <a:pt x="3239" y="6772"/>
                </a:lnTo>
                <a:lnTo>
                  <a:pt x="3299" y="6763"/>
                </a:lnTo>
                <a:lnTo>
                  <a:pt x="3357" y="6755"/>
                </a:lnTo>
                <a:lnTo>
                  <a:pt x="3412" y="6746"/>
                </a:lnTo>
                <a:lnTo>
                  <a:pt x="3466" y="6737"/>
                </a:lnTo>
                <a:lnTo>
                  <a:pt x="3517" y="6727"/>
                </a:lnTo>
                <a:lnTo>
                  <a:pt x="3567" y="6715"/>
                </a:lnTo>
                <a:lnTo>
                  <a:pt x="3615" y="6704"/>
                </a:lnTo>
                <a:lnTo>
                  <a:pt x="3660" y="6692"/>
                </a:lnTo>
                <a:lnTo>
                  <a:pt x="3704" y="6680"/>
                </a:lnTo>
                <a:lnTo>
                  <a:pt x="3745" y="6667"/>
                </a:lnTo>
                <a:lnTo>
                  <a:pt x="3784" y="6654"/>
                </a:lnTo>
                <a:lnTo>
                  <a:pt x="3822" y="6642"/>
                </a:lnTo>
                <a:lnTo>
                  <a:pt x="3858" y="6628"/>
                </a:lnTo>
                <a:lnTo>
                  <a:pt x="3891" y="6615"/>
                </a:lnTo>
                <a:lnTo>
                  <a:pt x="3922" y="6603"/>
                </a:lnTo>
                <a:lnTo>
                  <a:pt x="3980" y="6577"/>
                </a:lnTo>
                <a:lnTo>
                  <a:pt x="4030" y="6554"/>
                </a:lnTo>
                <a:lnTo>
                  <a:pt x="4071" y="6532"/>
                </a:lnTo>
                <a:lnTo>
                  <a:pt x="4105" y="6514"/>
                </a:lnTo>
                <a:lnTo>
                  <a:pt x="4131" y="6498"/>
                </a:lnTo>
                <a:lnTo>
                  <a:pt x="4150" y="6485"/>
                </a:lnTo>
                <a:lnTo>
                  <a:pt x="4165" y="6475"/>
                </a:lnTo>
                <a:lnTo>
                  <a:pt x="4165" y="6475"/>
                </a:lnTo>
                <a:lnTo>
                  <a:pt x="4144" y="6468"/>
                </a:lnTo>
                <a:lnTo>
                  <a:pt x="4124" y="6459"/>
                </a:lnTo>
                <a:lnTo>
                  <a:pt x="4103" y="6451"/>
                </a:lnTo>
                <a:lnTo>
                  <a:pt x="4084" y="6440"/>
                </a:lnTo>
                <a:lnTo>
                  <a:pt x="4064" y="6431"/>
                </a:lnTo>
                <a:lnTo>
                  <a:pt x="4046" y="6421"/>
                </a:lnTo>
                <a:lnTo>
                  <a:pt x="4009" y="6398"/>
                </a:lnTo>
                <a:lnTo>
                  <a:pt x="3976" y="6376"/>
                </a:lnTo>
                <a:lnTo>
                  <a:pt x="3944" y="6352"/>
                </a:lnTo>
                <a:lnTo>
                  <a:pt x="3914" y="6329"/>
                </a:lnTo>
                <a:lnTo>
                  <a:pt x="3887" y="6305"/>
                </a:lnTo>
                <a:lnTo>
                  <a:pt x="3887" y="6305"/>
                </a:lnTo>
                <a:lnTo>
                  <a:pt x="3882" y="6315"/>
                </a:lnTo>
                <a:lnTo>
                  <a:pt x="3879" y="6328"/>
                </a:lnTo>
                <a:lnTo>
                  <a:pt x="3876" y="6343"/>
                </a:lnTo>
                <a:lnTo>
                  <a:pt x="3873" y="6361"/>
                </a:lnTo>
                <a:lnTo>
                  <a:pt x="3873" y="6361"/>
                </a:lnTo>
                <a:lnTo>
                  <a:pt x="3865" y="6430"/>
                </a:lnTo>
                <a:lnTo>
                  <a:pt x="3861" y="6463"/>
                </a:lnTo>
                <a:lnTo>
                  <a:pt x="3861" y="6463"/>
                </a:lnTo>
                <a:lnTo>
                  <a:pt x="3857" y="6462"/>
                </a:lnTo>
                <a:lnTo>
                  <a:pt x="3847" y="6459"/>
                </a:lnTo>
                <a:lnTo>
                  <a:pt x="3828" y="6452"/>
                </a:lnTo>
                <a:lnTo>
                  <a:pt x="3801" y="6440"/>
                </a:lnTo>
                <a:lnTo>
                  <a:pt x="3801" y="6440"/>
                </a:lnTo>
                <a:lnTo>
                  <a:pt x="3791" y="6436"/>
                </a:lnTo>
                <a:lnTo>
                  <a:pt x="3781" y="6430"/>
                </a:lnTo>
                <a:lnTo>
                  <a:pt x="3771" y="6423"/>
                </a:lnTo>
                <a:lnTo>
                  <a:pt x="3761" y="6415"/>
                </a:lnTo>
                <a:lnTo>
                  <a:pt x="3750" y="6406"/>
                </a:lnTo>
                <a:lnTo>
                  <a:pt x="3739" y="6396"/>
                </a:lnTo>
                <a:lnTo>
                  <a:pt x="3729" y="6385"/>
                </a:lnTo>
                <a:lnTo>
                  <a:pt x="3719" y="6373"/>
                </a:lnTo>
                <a:lnTo>
                  <a:pt x="3709" y="6361"/>
                </a:lnTo>
                <a:lnTo>
                  <a:pt x="3700" y="6346"/>
                </a:lnTo>
                <a:lnTo>
                  <a:pt x="3692" y="6332"/>
                </a:lnTo>
                <a:lnTo>
                  <a:pt x="3684" y="6317"/>
                </a:lnTo>
                <a:lnTo>
                  <a:pt x="3678" y="6300"/>
                </a:lnTo>
                <a:lnTo>
                  <a:pt x="3674" y="6284"/>
                </a:lnTo>
                <a:lnTo>
                  <a:pt x="3670" y="6265"/>
                </a:lnTo>
                <a:lnTo>
                  <a:pt x="3668" y="6248"/>
                </a:lnTo>
                <a:lnTo>
                  <a:pt x="3668" y="6248"/>
                </a:lnTo>
                <a:lnTo>
                  <a:pt x="3667" y="6223"/>
                </a:lnTo>
                <a:lnTo>
                  <a:pt x="3667" y="6223"/>
                </a:lnTo>
                <a:lnTo>
                  <a:pt x="3610" y="6244"/>
                </a:lnTo>
                <a:lnTo>
                  <a:pt x="3544" y="6267"/>
                </a:lnTo>
                <a:lnTo>
                  <a:pt x="3507" y="6280"/>
                </a:lnTo>
                <a:lnTo>
                  <a:pt x="3468" y="6292"/>
                </a:lnTo>
                <a:lnTo>
                  <a:pt x="3427" y="6303"/>
                </a:lnTo>
                <a:lnTo>
                  <a:pt x="3386" y="6315"/>
                </a:lnTo>
                <a:lnTo>
                  <a:pt x="3342" y="6326"/>
                </a:lnTo>
                <a:lnTo>
                  <a:pt x="3296" y="6335"/>
                </a:lnTo>
                <a:lnTo>
                  <a:pt x="3250" y="6344"/>
                </a:lnTo>
                <a:lnTo>
                  <a:pt x="3201" y="6352"/>
                </a:lnTo>
                <a:lnTo>
                  <a:pt x="3153" y="6360"/>
                </a:lnTo>
                <a:lnTo>
                  <a:pt x="3104" y="6365"/>
                </a:lnTo>
                <a:lnTo>
                  <a:pt x="3055" y="6368"/>
                </a:lnTo>
                <a:lnTo>
                  <a:pt x="3005" y="6370"/>
                </a:lnTo>
                <a:lnTo>
                  <a:pt x="3005" y="6370"/>
                </a:lnTo>
                <a:lnTo>
                  <a:pt x="2916" y="6371"/>
                </a:lnTo>
                <a:lnTo>
                  <a:pt x="2828" y="6370"/>
                </a:lnTo>
                <a:lnTo>
                  <a:pt x="2740" y="6366"/>
                </a:lnTo>
                <a:lnTo>
                  <a:pt x="2651" y="6361"/>
                </a:lnTo>
                <a:lnTo>
                  <a:pt x="2563" y="6353"/>
                </a:lnTo>
                <a:lnTo>
                  <a:pt x="2476" y="6343"/>
                </a:lnTo>
                <a:lnTo>
                  <a:pt x="2388" y="6331"/>
                </a:lnTo>
                <a:lnTo>
                  <a:pt x="2301" y="6317"/>
                </a:lnTo>
                <a:lnTo>
                  <a:pt x="2257" y="6308"/>
                </a:lnTo>
                <a:lnTo>
                  <a:pt x="2213" y="6300"/>
                </a:lnTo>
                <a:lnTo>
                  <a:pt x="2170" y="6290"/>
                </a:lnTo>
                <a:lnTo>
                  <a:pt x="2126" y="6280"/>
                </a:lnTo>
                <a:lnTo>
                  <a:pt x="2083" y="6270"/>
                </a:lnTo>
                <a:lnTo>
                  <a:pt x="2039" y="6258"/>
                </a:lnTo>
                <a:lnTo>
                  <a:pt x="1996" y="6246"/>
                </a:lnTo>
                <a:lnTo>
                  <a:pt x="1952" y="6234"/>
                </a:lnTo>
                <a:lnTo>
                  <a:pt x="1909" y="6220"/>
                </a:lnTo>
                <a:lnTo>
                  <a:pt x="1866" y="6206"/>
                </a:lnTo>
                <a:lnTo>
                  <a:pt x="1823" y="6192"/>
                </a:lnTo>
                <a:lnTo>
                  <a:pt x="1780" y="6176"/>
                </a:lnTo>
                <a:lnTo>
                  <a:pt x="1737" y="6160"/>
                </a:lnTo>
                <a:lnTo>
                  <a:pt x="1694" y="6143"/>
                </a:lnTo>
                <a:lnTo>
                  <a:pt x="1652" y="6125"/>
                </a:lnTo>
                <a:lnTo>
                  <a:pt x="1609" y="6107"/>
                </a:lnTo>
                <a:lnTo>
                  <a:pt x="1609" y="6107"/>
                </a:lnTo>
                <a:lnTo>
                  <a:pt x="1523" y="6068"/>
                </a:lnTo>
                <a:lnTo>
                  <a:pt x="1480" y="6049"/>
                </a:lnTo>
                <a:lnTo>
                  <a:pt x="1480" y="6049"/>
                </a:lnTo>
                <a:lnTo>
                  <a:pt x="1479" y="6052"/>
                </a:lnTo>
                <a:lnTo>
                  <a:pt x="1477" y="6061"/>
                </a:lnTo>
                <a:lnTo>
                  <a:pt x="1477" y="6068"/>
                </a:lnTo>
                <a:lnTo>
                  <a:pt x="1477" y="6077"/>
                </a:lnTo>
                <a:lnTo>
                  <a:pt x="1477" y="6088"/>
                </a:lnTo>
                <a:lnTo>
                  <a:pt x="1479" y="6100"/>
                </a:lnTo>
                <a:lnTo>
                  <a:pt x="1483" y="6113"/>
                </a:lnTo>
                <a:lnTo>
                  <a:pt x="1487" y="6128"/>
                </a:lnTo>
                <a:lnTo>
                  <a:pt x="1494" y="6145"/>
                </a:lnTo>
                <a:lnTo>
                  <a:pt x="1503" y="6163"/>
                </a:lnTo>
                <a:lnTo>
                  <a:pt x="1514" y="6184"/>
                </a:lnTo>
                <a:lnTo>
                  <a:pt x="1529" y="6205"/>
                </a:lnTo>
                <a:lnTo>
                  <a:pt x="1545" y="6229"/>
                </a:lnTo>
                <a:lnTo>
                  <a:pt x="1565" y="6253"/>
                </a:lnTo>
                <a:lnTo>
                  <a:pt x="1565" y="6253"/>
                </a:lnTo>
                <a:lnTo>
                  <a:pt x="1547" y="6250"/>
                </a:lnTo>
                <a:lnTo>
                  <a:pt x="1528" y="6248"/>
                </a:lnTo>
                <a:lnTo>
                  <a:pt x="1509" y="6248"/>
                </a:lnTo>
                <a:lnTo>
                  <a:pt x="1490" y="6248"/>
                </a:lnTo>
                <a:lnTo>
                  <a:pt x="1472" y="6250"/>
                </a:lnTo>
                <a:lnTo>
                  <a:pt x="1456" y="6253"/>
                </a:lnTo>
                <a:lnTo>
                  <a:pt x="1441" y="6258"/>
                </a:lnTo>
                <a:lnTo>
                  <a:pt x="1427" y="6264"/>
                </a:lnTo>
                <a:lnTo>
                  <a:pt x="1427" y="6264"/>
                </a:lnTo>
                <a:lnTo>
                  <a:pt x="1413" y="6273"/>
                </a:lnTo>
                <a:lnTo>
                  <a:pt x="1400" y="6283"/>
                </a:lnTo>
                <a:lnTo>
                  <a:pt x="1390" y="6293"/>
                </a:lnTo>
                <a:lnTo>
                  <a:pt x="1379" y="6302"/>
                </a:lnTo>
                <a:lnTo>
                  <a:pt x="1371" y="6311"/>
                </a:lnTo>
                <a:lnTo>
                  <a:pt x="1365" y="6321"/>
                </a:lnTo>
                <a:lnTo>
                  <a:pt x="1358" y="6333"/>
                </a:lnTo>
                <a:close/>
                <a:moveTo>
                  <a:pt x="3487" y="3933"/>
                </a:moveTo>
                <a:lnTo>
                  <a:pt x="3487" y="3933"/>
                </a:lnTo>
                <a:lnTo>
                  <a:pt x="3470" y="3920"/>
                </a:lnTo>
                <a:lnTo>
                  <a:pt x="3453" y="3908"/>
                </a:lnTo>
                <a:lnTo>
                  <a:pt x="3436" y="3895"/>
                </a:lnTo>
                <a:lnTo>
                  <a:pt x="3418" y="3884"/>
                </a:lnTo>
                <a:lnTo>
                  <a:pt x="3383" y="3865"/>
                </a:lnTo>
                <a:lnTo>
                  <a:pt x="3349" y="3846"/>
                </a:lnTo>
                <a:lnTo>
                  <a:pt x="3314" y="3829"/>
                </a:lnTo>
                <a:lnTo>
                  <a:pt x="3281" y="3814"/>
                </a:lnTo>
                <a:lnTo>
                  <a:pt x="3250" y="3799"/>
                </a:lnTo>
                <a:lnTo>
                  <a:pt x="3219" y="3784"/>
                </a:lnTo>
                <a:lnTo>
                  <a:pt x="3219" y="3784"/>
                </a:lnTo>
                <a:lnTo>
                  <a:pt x="3235" y="3774"/>
                </a:lnTo>
                <a:lnTo>
                  <a:pt x="3251" y="3763"/>
                </a:lnTo>
                <a:lnTo>
                  <a:pt x="3268" y="3749"/>
                </a:lnTo>
                <a:lnTo>
                  <a:pt x="3284" y="3735"/>
                </a:lnTo>
                <a:lnTo>
                  <a:pt x="3298" y="3722"/>
                </a:lnTo>
                <a:lnTo>
                  <a:pt x="3302" y="3716"/>
                </a:lnTo>
                <a:lnTo>
                  <a:pt x="3305" y="3711"/>
                </a:lnTo>
                <a:lnTo>
                  <a:pt x="3305" y="3707"/>
                </a:lnTo>
                <a:lnTo>
                  <a:pt x="3305" y="3705"/>
                </a:lnTo>
                <a:lnTo>
                  <a:pt x="3303" y="3704"/>
                </a:lnTo>
                <a:lnTo>
                  <a:pt x="3303" y="3704"/>
                </a:lnTo>
                <a:lnTo>
                  <a:pt x="3290" y="3697"/>
                </a:lnTo>
                <a:lnTo>
                  <a:pt x="3278" y="3691"/>
                </a:lnTo>
                <a:lnTo>
                  <a:pt x="3266" y="3687"/>
                </a:lnTo>
                <a:lnTo>
                  <a:pt x="3255" y="3685"/>
                </a:lnTo>
                <a:lnTo>
                  <a:pt x="3236" y="3682"/>
                </a:lnTo>
                <a:lnTo>
                  <a:pt x="3229" y="3681"/>
                </a:lnTo>
                <a:lnTo>
                  <a:pt x="3229" y="3681"/>
                </a:lnTo>
                <a:lnTo>
                  <a:pt x="3168" y="3705"/>
                </a:lnTo>
                <a:lnTo>
                  <a:pt x="3105" y="3731"/>
                </a:lnTo>
                <a:lnTo>
                  <a:pt x="3045" y="3757"/>
                </a:lnTo>
                <a:lnTo>
                  <a:pt x="2984" y="3784"/>
                </a:lnTo>
                <a:lnTo>
                  <a:pt x="2924" y="3813"/>
                </a:lnTo>
                <a:lnTo>
                  <a:pt x="2866" y="3841"/>
                </a:lnTo>
                <a:lnTo>
                  <a:pt x="2809" y="3870"/>
                </a:lnTo>
                <a:lnTo>
                  <a:pt x="2754" y="3900"/>
                </a:lnTo>
                <a:lnTo>
                  <a:pt x="2700" y="3928"/>
                </a:lnTo>
                <a:lnTo>
                  <a:pt x="2649" y="3957"/>
                </a:lnTo>
                <a:lnTo>
                  <a:pt x="2600" y="3984"/>
                </a:lnTo>
                <a:lnTo>
                  <a:pt x="2553" y="4012"/>
                </a:lnTo>
                <a:lnTo>
                  <a:pt x="2510" y="4039"/>
                </a:lnTo>
                <a:lnTo>
                  <a:pt x="2469" y="4064"/>
                </a:lnTo>
                <a:lnTo>
                  <a:pt x="2433" y="4088"/>
                </a:lnTo>
                <a:lnTo>
                  <a:pt x="2399" y="4110"/>
                </a:lnTo>
                <a:lnTo>
                  <a:pt x="2399" y="4110"/>
                </a:lnTo>
                <a:lnTo>
                  <a:pt x="2394" y="4113"/>
                </a:lnTo>
                <a:lnTo>
                  <a:pt x="2394" y="4113"/>
                </a:lnTo>
                <a:lnTo>
                  <a:pt x="2382" y="4120"/>
                </a:lnTo>
                <a:lnTo>
                  <a:pt x="2371" y="4127"/>
                </a:lnTo>
                <a:lnTo>
                  <a:pt x="2360" y="4132"/>
                </a:lnTo>
                <a:lnTo>
                  <a:pt x="2348" y="4136"/>
                </a:lnTo>
                <a:lnTo>
                  <a:pt x="2336" y="4139"/>
                </a:lnTo>
                <a:lnTo>
                  <a:pt x="2325" y="4142"/>
                </a:lnTo>
                <a:lnTo>
                  <a:pt x="2313" y="4143"/>
                </a:lnTo>
                <a:lnTo>
                  <a:pt x="2302" y="4144"/>
                </a:lnTo>
                <a:lnTo>
                  <a:pt x="2278" y="4145"/>
                </a:lnTo>
                <a:lnTo>
                  <a:pt x="2256" y="4143"/>
                </a:lnTo>
                <a:lnTo>
                  <a:pt x="2233" y="4140"/>
                </a:lnTo>
                <a:lnTo>
                  <a:pt x="2213" y="4135"/>
                </a:lnTo>
                <a:lnTo>
                  <a:pt x="2193" y="4130"/>
                </a:lnTo>
                <a:lnTo>
                  <a:pt x="2176" y="4123"/>
                </a:lnTo>
                <a:lnTo>
                  <a:pt x="2161" y="4117"/>
                </a:lnTo>
                <a:lnTo>
                  <a:pt x="2146" y="4111"/>
                </a:lnTo>
                <a:lnTo>
                  <a:pt x="2127" y="4101"/>
                </a:lnTo>
                <a:lnTo>
                  <a:pt x="2121" y="4097"/>
                </a:lnTo>
                <a:lnTo>
                  <a:pt x="2100" y="4225"/>
                </a:lnTo>
                <a:lnTo>
                  <a:pt x="2100" y="4225"/>
                </a:lnTo>
                <a:lnTo>
                  <a:pt x="2123" y="4238"/>
                </a:lnTo>
                <a:lnTo>
                  <a:pt x="2144" y="4249"/>
                </a:lnTo>
                <a:lnTo>
                  <a:pt x="2165" y="4258"/>
                </a:lnTo>
                <a:lnTo>
                  <a:pt x="2182" y="4267"/>
                </a:lnTo>
                <a:lnTo>
                  <a:pt x="2198" y="4273"/>
                </a:lnTo>
                <a:lnTo>
                  <a:pt x="2214" y="4277"/>
                </a:lnTo>
                <a:lnTo>
                  <a:pt x="2227" y="4281"/>
                </a:lnTo>
                <a:lnTo>
                  <a:pt x="2238" y="4283"/>
                </a:lnTo>
                <a:lnTo>
                  <a:pt x="2238" y="4283"/>
                </a:lnTo>
                <a:lnTo>
                  <a:pt x="2219" y="4287"/>
                </a:lnTo>
                <a:lnTo>
                  <a:pt x="2198" y="4292"/>
                </a:lnTo>
                <a:lnTo>
                  <a:pt x="2178" y="4298"/>
                </a:lnTo>
                <a:lnTo>
                  <a:pt x="2156" y="4306"/>
                </a:lnTo>
                <a:lnTo>
                  <a:pt x="2137" y="4315"/>
                </a:lnTo>
                <a:lnTo>
                  <a:pt x="2119" y="4326"/>
                </a:lnTo>
                <a:lnTo>
                  <a:pt x="2109" y="4331"/>
                </a:lnTo>
                <a:lnTo>
                  <a:pt x="2101" y="4337"/>
                </a:lnTo>
                <a:lnTo>
                  <a:pt x="2094" y="4344"/>
                </a:lnTo>
                <a:lnTo>
                  <a:pt x="2088" y="4351"/>
                </a:lnTo>
                <a:lnTo>
                  <a:pt x="2132" y="4469"/>
                </a:lnTo>
                <a:lnTo>
                  <a:pt x="2132" y="4469"/>
                </a:lnTo>
                <a:lnTo>
                  <a:pt x="2144" y="4460"/>
                </a:lnTo>
                <a:lnTo>
                  <a:pt x="2160" y="4451"/>
                </a:lnTo>
                <a:lnTo>
                  <a:pt x="2181" y="4439"/>
                </a:lnTo>
                <a:lnTo>
                  <a:pt x="2193" y="4434"/>
                </a:lnTo>
                <a:lnTo>
                  <a:pt x="2207" y="4429"/>
                </a:lnTo>
                <a:lnTo>
                  <a:pt x="2222" y="4424"/>
                </a:lnTo>
                <a:lnTo>
                  <a:pt x="2237" y="4419"/>
                </a:lnTo>
                <a:lnTo>
                  <a:pt x="2255" y="4415"/>
                </a:lnTo>
                <a:lnTo>
                  <a:pt x="2273" y="4412"/>
                </a:lnTo>
                <a:lnTo>
                  <a:pt x="2292" y="4410"/>
                </a:lnTo>
                <a:lnTo>
                  <a:pt x="2313" y="4409"/>
                </a:lnTo>
                <a:lnTo>
                  <a:pt x="2313" y="4409"/>
                </a:lnTo>
                <a:lnTo>
                  <a:pt x="2316" y="4425"/>
                </a:lnTo>
                <a:lnTo>
                  <a:pt x="2316" y="4425"/>
                </a:lnTo>
                <a:lnTo>
                  <a:pt x="2316" y="4439"/>
                </a:lnTo>
                <a:lnTo>
                  <a:pt x="2316" y="4454"/>
                </a:lnTo>
                <a:lnTo>
                  <a:pt x="2314" y="4468"/>
                </a:lnTo>
                <a:lnTo>
                  <a:pt x="2311" y="4483"/>
                </a:lnTo>
                <a:lnTo>
                  <a:pt x="2306" y="4499"/>
                </a:lnTo>
                <a:lnTo>
                  <a:pt x="2301" y="4514"/>
                </a:lnTo>
                <a:lnTo>
                  <a:pt x="2293" y="4529"/>
                </a:lnTo>
                <a:lnTo>
                  <a:pt x="2285" y="4545"/>
                </a:lnTo>
                <a:lnTo>
                  <a:pt x="2277" y="4561"/>
                </a:lnTo>
                <a:lnTo>
                  <a:pt x="2267" y="4576"/>
                </a:lnTo>
                <a:lnTo>
                  <a:pt x="2256" y="4593"/>
                </a:lnTo>
                <a:lnTo>
                  <a:pt x="2244" y="4608"/>
                </a:lnTo>
                <a:lnTo>
                  <a:pt x="2231" y="4624"/>
                </a:lnTo>
                <a:lnTo>
                  <a:pt x="2218" y="4640"/>
                </a:lnTo>
                <a:lnTo>
                  <a:pt x="2204" y="4655"/>
                </a:lnTo>
                <a:lnTo>
                  <a:pt x="2189" y="4670"/>
                </a:lnTo>
                <a:lnTo>
                  <a:pt x="2157" y="4701"/>
                </a:lnTo>
                <a:lnTo>
                  <a:pt x="2124" y="4730"/>
                </a:lnTo>
                <a:lnTo>
                  <a:pt x="2088" y="4757"/>
                </a:lnTo>
                <a:lnTo>
                  <a:pt x="2051" y="4783"/>
                </a:lnTo>
                <a:lnTo>
                  <a:pt x="2013" y="4807"/>
                </a:lnTo>
                <a:lnTo>
                  <a:pt x="1975" y="4829"/>
                </a:lnTo>
                <a:lnTo>
                  <a:pt x="1937" y="4848"/>
                </a:lnTo>
                <a:lnTo>
                  <a:pt x="1917" y="4858"/>
                </a:lnTo>
                <a:lnTo>
                  <a:pt x="1899" y="4866"/>
                </a:lnTo>
                <a:lnTo>
                  <a:pt x="1899" y="4866"/>
                </a:lnTo>
                <a:lnTo>
                  <a:pt x="1861" y="4880"/>
                </a:lnTo>
                <a:lnTo>
                  <a:pt x="1823" y="4892"/>
                </a:lnTo>
                <a:lnTo>
                  <a:pt x="1788" y="4904"/>
                </a:lnTo>
                <a:lnTo>
                  <a:pt x="1754" y="4913"/>
                </a:lnTo>
                <a:lnTo>
                  <a:pt x="1721" y="4921"/>
                </a:lnTo>
                <a:lnTo>
                  <a:pt x="1690" y="4927"/>
                </a:lnTo>
                <a:lnTo>
                  <a:pt x="1661" y="4931"/>
                </a:lnTo>
                <a:lnTo>
                  <a:pt x="1633" y="4935"/>
                </a:lnTo>
                <a:lnTo>
                  <a:pt x="1607" y="4937"/>
                </a:lnTo>
                <a:lnTo>
                  <a:pt x="1584" y="4938"/>
                </a:lnTo>
                <a:lnTo>
                  <a:pt x="1562" y="4938"/>
                </a:lnTo>
                <a:lnTo>
                  <a:pt x="1543" y="4937"/>
                </a:lnTo>
                <a:lnTo>
                  <a:pt x="1527" y="4935"/>
                </a:lnTo>
                <a:lnTo>
                  <a:pt x="1513" y="4932"/>
                </a:lnTo>
                <a:lnTo>
                  <a:pt x="1502" y="4928"/>
                </a:lnTo>
                <a:lnTo>
                  <a:pt x="1493" y="4924"/>
                </a:lnTo>
                <a:lnTo>
                  <a:pt x="1493" y="4924"/>
                </a:lnTo>
                <a:lnTo>
                  <a:pt x="1469" y="4908"/>
                </a:lnTo>
                <a:lnTo>
                  <a:pt x="1448" y="4890"/>
                </a:lnTo>
                <a:lnTo>
                  <a:pt x="1429" y="4872"/>
                </a:lnTo>
                <a:lnTo>
                  <a:pt x="1413" y="4853"/>
                </a:lnTo>
                <a:lnTo>
                  <a:pt x="1398" y="4836"/>
                </a:lnTo>
                <a:lnTo>
                  <a:pt x="1384" y="4818"/>
                </a:lnTo>
                <a:lnTo>
                  <a:pt x="1373" y="4800"/>
                </a:lnTo>
                <a:lnTo>
                  <a:pt x="1362" y="4783"/>
                </a:lnTo>
                <a:lnTo>
                  <a:pt x="1343" y="4752"/>
                </a:lnTo>
                <a:lnTo>
                  <a:pt x="1333" y="4738"/>
                </a:lnTo>
                <a:lnTo>
                  <a:pt x="1324" y="4726"/>
                </a:lnTo>
                <a:lnTo>
                  <a:pt x="1315" y="4714"/>
                </a:lnTo>
                <a:lnTo>
                  <a:pt x="1305" y="4706"/>
                </a:lnTo>
                <a:lnTo>
                  <a:pt x="1293" y="4699"/>
                </a:lnTo>
                <a:lnTo>
                  <a:pt x="1287" y="4696"/>
                </a:lnTo>
                <a:lnTo>
                  <a:pt x="1281" y="4694"/>
                </a:lnTo>
                <a:lnTo>
                  <a:pt x="1281" y="4694"/>
                </a:lnTo>
                <a:lnTo>
                  <a:pt x="1277" y="4694"/>
                </a:lnTo>
                <a:lnTo>
                  <a:pt x="1274" y="4694"/>
                </a:lnTo>
                <a:lnTo>
                  <a:pt x="1267" y="4696"/>
                </a:lnTo>
                <a:lnTo>
                  <a:pt x="1260" y="4699"/>
                </a:lnTo>
                <a:lnTo>
                  <a:pt x="1252" y="4703"/>
                </a:lnTo>
                <a:lnTo>
                  <a:pt x="1244" y="4707"/>
                </a:lnTo>
                <a:lnTo>
                  <a:pt x="1235" y="4710"/>
                </a:lnTo>
                <a:lnTo>
                  <a:pt x="1227" y="4712"/>
                </a:lnTo>
                <a:lnTo>
                  <a:pt x="1222" y="4712"/>
                </a:lnTo>
                <a:lnTo>
                  <a:pt x="1217" y="4712"/>
                </a:lnTo>
                <a:lnTo>
                  <a:pt x="1217" y="4712"/>
                </a:lnTo>
                <a:lnTo>
                  <a:pt x="1196" y="4709"/>
                </a:lnTo>
                <a:lnTo>
                  <a:pt x="1176" y="4706"/>
                </a:lnTo>
                <a:lnTo>
                  <a:pt x="1155" y="4705"/>
                </a:lnTo>
                <a:lnTo>
                  <a:pt x="1134" y="4704"/>
                </a:lnTo>
                <a:lnTo>
                  <a:pt x="1114" y="4704"/>
                </a:lnTo>
                <a:lnTo>
                  <a:pt x="1094" y="4706"/>
                </a:lnTo>
                <a:lnTo>
                  <a:pt x="1075" y="4708"/>
                </a:lnTo>
                <a:lnTo>
                  <a:pt x="1055" y="4712"/>
                </a:lnTo>
                <a:lnTo>
                  <a:pt x="1037" y="4716"/>
                </a:lnTo>
                <a:lnTo>
                  <a:pt x="1020" y="4724"/>
                </a:lnTo>
                <a:lnTo>
                  <a:pt x="1004" y="4731"/>
                </a:lnTo>
                <a:lnTo>
                  <a:pt x="990" y="4740"/>
                </a:lnTo>
                <a:lnTo>
                  <a:pt x="976" y="4751"/>
                </a:lnTo>
                <a:lnTo>
                  <a:pt x="970" y="4757"/>
                </a:lnTo>
                <a:lnTo>
                  <a:pt x="964" y="4763"/>
                </a:lnTo>
                <a:lnTo>
                  <a:pt x="959" y="4771"/>
                </a:lnTo>
                <a:lnTo>
                  <a:pt x="955" y="4779"/>
                </a:lnTo>
                <a:lnTo>
                  <a:pt x="951" y="4786"/>
                </a:lnTo>
                <a:lnTo>
                  <a:pt x="947" y="4795"/>
                </a:lnTo>
                <a:lnTo>
                  <a:pt x="947" y="4795"/>
                </a:lnTo>
                <a:lnTo>
                  <a:pt x="985" y="4793"/>
                </a:lnTo>
                <a:lnTo>
                  <a:pt x="1020" y="4792"/>
                </a:lnTo>
                <a:lnTo>
                  <a:pt x="1040" y="4792"/>
                </a:lnTo>
                <a:lnTo>
                  <a:pt x="1059" y="4793"/>
                </a:lnTo>
                <a:lnTo>
                  <a:pt x="1077" y="4794"/>
                </a:lnTo>
                <a:lnTo>
                  <a:pt x="1092" y="4797"/>
                </a:lnTo>
                <a:lnTo>
                  <a:pt x="1105" y="4800"/>
                </a:lnTo>
                <a:lnTo>
                  <a:pt x="1110" y="4802"/>
                </a:lnTo>
                <a:lnTo>
                  <a:pt x="1115" y="4804"/>
                </a:lnTo>
                <a:lnTo>
                  <a:pt x="1117" y="4807"/>
                </a:lnTo>
                <a:lnTo>
                  <a:pt x="1119" y="4811"/>
                </a:lnTo>
                <a:lnTo>
                  <a:pt x="1119" y="4814"/>
                </a:lnTo>
                <a:lnTo>
                  <a:pt x="1117" y="4818"/>
                </a:lnTo>
                <a:lnTo>
                  <a:pt x="1114" y="4822"/>
                </a:lnTo>
                <a:lnTo>
                  <a:pt x="1109" y="4827"/>
                </a:lnTo>
                <a:lnTo>
                  <a:pt x="1102" y="4832"/>
                </a:lnTo>
                <a:lnTo>
                  <a:pt x="1094" y="4837"/>
                </a:lnTo>
                <a:lnTo>
                  <a:pt x="1094" y="4837"/>
                </a:lnTo>
                <a:lnTo>
                  <a:pt x="1085" y="4843"/>
                </a:lnTo>
                <a:lnTo>
                  <a:pt x="1079" y="4849"/>
                </a:lnTo>
                <a:lnTo>
                  <a:pt x="1074" y="4856"/>
                </a:lnTo>
                <a:lnTo>
                  <a:pt x="1072" y="4863"/>
                </a:lnTo>
                <a:lnTo>
                  <a:pt x="1071" y="4870"/>
                </a:lnTo>
                <a:lnTo>
                  <a:pt x="1072" y="4876"/>
                </a:lnTo>
                <a:lnTo>
                  <a:pt x="1074" y="4883"/>
                </a:lnTo>
                <a:lnTo>
                  <a:pt x="1077" y="4890"/>
                </a:lnTo>
                <a:lnTo>
                  <a:pt x="1082" y="4898"/>
                </a:lnTo>
                <a:lnTo>
                  <a:pt x="1088" y="4906"/>
                </a:lnTo>
                <a:lnTo>
                  <a:pt x="1096" y="4913"/>
                </a:lnTo>
                <a:lnTo>
                  <a:pt x="1104" y="4920"/>
                </a:lnTo>
                <a:lnTo>
                  <a:pt x="1124" y="4935"/>
                </a:lnTo>
                <a:lnTo>
                  <a:pt x="1146" y="4951"/>
                </a:lnTo>
                <a:lnTo>
                  <a:pt x="1170" y="4966"/>
                </a:lnTo>
                <a:lnTo>
                  <a:pt x="1195" y="4980"/>
                </a:lnTo>
                <a:lnTo>
                  <a:pt x="1247" y="5008"/>
                </a:lnTo>
                <a:lnTo>
                  <a:pt x="1293" y="5031"/>
                </a:lnTo>
                <a:lnTo>
                  <a:pt x="1313" y="5042"/>
                </a:lnTo>
                <a:lnTo>
                  <a:pt x="1329" y="5051"/>
                </a:lnTo>
                <a:lnTo>
                  <a:pt x="1329" y="5051"/>
                </a:lnTo>
                <a:lnTo>
                  <a:pt x="1336" y="5056"/>
                </a:lnTo>
                <a:lnTo>
                  <a:pt x="1339" y="5060"/>
                </a:lnTo>
                <a:lnTo>
                  <a:pt x="1341" y="5063"/>
                </a:lnTo>
                <a:lnTo>
                  <a:pt x="1339" y="5066"/>
                </a:lnTo>
                <a:lnTo>
                  <a:pt x="1336" y="5068"/>
                </a:lnTo>
                <a:lnTo>
                  <a:pt x="1332" y="5070"/>
                </a:lnTo>
                <a:lnTo>
                  <a:pt x="1326" y="5071"/>
                </a:lnTo>
                <a:lnTo>
                  <a:pt x="1326" y="5071"/>
                </a:lnTo>
                <a:lnTo>
                  <a:pt x="1316" y="5071"/>
                </a:lnTo>
                <a:lnTo>
                  <a:pt x="1304" y="5069"/>
                </a:lnTo>
                <a:lnTo>
                  <a:pt x="1289" y="5066"/>
                </a:lnTo>
                <a:lnTo>
                  <a:pt x="1273" y="5061"/>
                </a:lnTo>
                <a:lnTo>
                  <a:pt x="1237" y="5050"/>
                </a:lnTo>
                <a:lnTo>
                  <a:pt x="1197" y="5035"/>
                </a:lnTo>
                <a:lnTo>
                  <a:pt x="1115" y="5004"/>
                </a:lnTo>
                <a:lnTo>
                  <a:pt x="1077" y="4988"/>
                </a:lnTo>
                <a:lnTo>
                  <a:pt x="1042" y="4977"/>
                </a:lnTo>
                <a:lnTo>
                  <a:pt x="1042" y="4977"/>
                </a:lnTo>
                <a:lnTo>
                  <a:pt x="1031" y="4974"/>
                </a:lnTo>
                <a:lnTo>
                  <a:pt x="1020" y="4972"/>
                </a:lnTo>
                <a:lnTo>
                  <a:pt x="1011" y="4972"/>
                </a:lnTo>
                <a:lnTo>
                  <a:pt x="1003" y="4973"/>
                </a:lnTo>
                <a:lnTo>
                  <a:pt x="996" y="4975"/>
                </a:lnTo>
                <a:lnTo>
                  <a:pt x="990" y="4978"/>
                </a:lnTo>
                <a:lnTo>
                  <a:pt x="985" y="4981"/>
                </a:lnTo>
                <a:lnTo>
                  <a:pt x="981" y="4984"/>
                </a:lnTo>
                <a:lnTo>
                  <a:pt x="972" y="4993"/>
                </a:lnTo>
                <a:lnTo>
                  <a:pt x="966" y="5000"/>
                </a:lnTo>
                <a:lnTo>
                  <a:pt x="962" y="5005"/>
                </a:lnTo>
                <a:lnTo>
                  <a:pt x="959" y="5006"/>
                </a:lnTo>
                <a:lnTo>
                  <a:pt x="957" y="5007"/>
                </a:lnTo>
                <a:lnTo>
                  <a:pt x="957" y="5007"/>
                </a:lnTo>
                <a:lnTo>
                  <a:pt x="948" y="5006"/>
                </a:lnTo>
                <a:lnTo>
                  <a:pt x="938" y="5005"/>
                </a:lnTo>
                <a:lnTo>
                  <a:pt x="926" y="5006"/>
                </a:lnTo>
                <a:lnTo>
                  <a:pt x="916" y="5006"/>
                </a:lnTo>
                <a:lnTo>
                  <a:pt x="894" y="5010"/>
                </a:lnTo>
                <a:lnTo>
                  <a:pt x="871" y="5016"/>
                </a:lnTo>
                <a:lnTo>
                  <a:pt x="849" y="5024"/>
                </a:lnTo>
                <a:lnTo>
                  <a:pt x="826" y="5034"/>
                </a:lnTo>
                <a:lnTo>
                  <a:pt x="805" y="5048"/>
                </a:lnTo>
                <a:lnTo>
                  <a:pt x="794" y="5055"/>
                </a:lnTo>
                <a:lnTo>
                  <a:pt x="785" y="5062"/>
                </a:lnTo>
                <a:lnTo>
                  <a:pt x="776" y="5070"/>
                </a:lnTo>
                <a:lnTo>
                  <a:pt x="768" y="5078"/>
                </a:lnTo>
                <a:lnTo>
                  <a:pt x="760" y="5088"/>
                </a:lnTo>
                <a:lnTo>
                  <a:pt x="753" y="5097"/>
                </a:lnTo>
                <a:lnTo>
                  <a:pt x="746" y="5107"/>
                </a:lnTo>
                <a:lnTo>
                  <a:pt x="740" y="5116"/>
                </a:lnTo>
                <a:lnTo>
                  <a:pt x="736" y="5127"/>
                </a:lnTo>
                <a:lnTo>
                  <a:pt x="732" y="5139"/>
                </a:lnTo>
                <a:lnTo>
                  <a:pt x="730" y="5150"/>
                </a:lnTo>
                <a:lnTo>
                  <a:pt x="728" y="5161"/>
                </a:lnTo>
                <a:lnTo>
                  <a:pt x="728" y="5173"/>
                </a:lnTo>
                <a:lnTo>
                  <a:pt x="728" y="5186"/>
                </a:lnTo>
                <a:lnTo>
                  <a:pt x="731" y="5199"/>
                </a:lnTo>
                <a:lnTo>
                  <a:pt x="734" y="5211"/>
                </a:lnTo>
                <a:lnTo>
                  <a:pt x="739" y="5225"/>
                </a:lnTo>
                <a:lnTo>
                  <a:pt x="745" y="5239"/>
                </a:lnTo>
                <a:lnTo>
                  <a:pt x="745" y="5239"/>
                </a:lnTo>
                <a:lnTo>
                  <a:pt x="748" y="5234"/>
                </a:lnTo>
                <a:lnTo>
                  <a:pt x="758" y="5221"/>
                </a:lnTo>
                <a:lnTo>
                  <a:pt x="773" y="5202"/>
                </a:lnTo>
                <a:lnTo>
                  <a:pt x="781" y="5192"/>
                </a:lnTo>
                <a:lnTo>
                  <a:pt x="791" y="5182"/>
                </a:lnTo>
                <a:lnTo>
                  <a:pt x="803" y="5171"/>
                </a:lnTo>
                <a:lnTo>
                  <a:pt x="814" y="5162"/>
                </a:lnTo>
                <a:lnTo>
                  <a:pt x="826" y="5154"/>
                </a:lnTo>
                <a:lnTo>
                  <a:pt x="839" y="5147"/>
                </a:lnTo>
                <a:lnTo>
                  <a:pt x="853" y="5142"/>
                </a:lnTo>
                <a:lnTo>
                  <a:pt x="859" y="5140"/>
                </a:lnTo>
                <a:lnTo>
                  <a:pt x="866" y="5139"/>
                </a:lnTo>
                <a:lnTo>
                  <a:pt x="873" y="5139"/>
                </a:lnTo>
                <a:lnTo>
                  <a:pt x="879" y="5139"/>
                </a:lnTo>
                <a:lnTo>
                  <a:pt x="887" y="5140"/>
                </a:lnTo>
                <a:lnTo>
                  <a:pt x="894" y="5142"/>
                </a:lnTo>
                <a:lnTo>
                  <a:pt x="894" y="5142"/>
                </a:lnTo>
                <a:lnTo>
                  <a:pt x="899" y="5144"/>
                </a:lnTo>
                <a:lnTo>
                  <a:pt x="902" y="5148"/>
                </a:lnTo>
                <a:lnTo>
                  <a:pt x="903" y="5154"/>
                </a:lnTo>
                <a:lnTo>
                  <a:pt x="904" y="5160"/>
                </a:lnTo>
                <a:lnTo>
                  <a:pt x="904" y="5177"/>
                </a:lnTo>
                <a:lnTo>
                  <a:pt x="902" y="5195"/>
                </a:lnTo>
                <a:lnTo>
                  <a:pt x="902" y="5205"/>
                </a:lnTo>
                <a:lnTo>
                  <a:pt x="902" y="5215"/>
                </a:lnTo>
                <a:lnTo>
                  <a:pt x="904" y="5226"/>
                </a:lnTo>
                <a:lnTo>
                  <a:pt x="906" y="5235"/>
                </a:lnTo>
                <a:lnTo>
                  <a:pt x="910" y="5245"/>
                </a:lnTo>
                <a:lnTo>
                  <a:pt x="915" y="5254"/>
                </a:lnTo>
                <a:lnTo>
                  <a:pt x="923" y="5262"/>
                </a:lnTo>
                <a:lnTo>
                  <a:pt x="933" y="5270"/>
                </a:lnTo>
                <a:lnTo>
                  <a:pt x="933" y="5270"/>
                </a:lnTo>
                <a:lnTo>
                  <a:pt x="941" y="5274"/>
                </a:lnTo>
                <a:lnTo>
                  <a:pt x="949" y="5277"/>
                </a:lnTo>
                <a:lnTo>
                  <a:pt x="959" y="5280"/>
                </a:lnTo>
                <a:lnTo>
                  <a:pt x="970" y="5281"/>
                </a:lnTo>
                <a:lnTo>
                  <a:pt x="982" y="5283"/>
                </a:lnTo>
                <a:lnTo>
                  <a:pt x="995" y="5283"/>
                </a:lnTo>
                <a:lnTo>
                  <a:pt x="1021" y="5283"/>
                </a:lnTo>
                <a:lnTo>
                  <a:pt x="1051" y="5281"/>
                </a:lnTo>
                <a:lnTo>
                  <a:pt x="1082" y="5278"/>
                </a:lnTo>
                <a:lnTo>
                  <a:pt x="1146" y="5270"/>
                </a:lnTo>
                <a:lnTo>
                  <a:pt x="1209" y="5261"/>
                </a:lnTo>
                <a:lnTo>
                  <a:pt x="1238" y="5257"/>
                </a:lnTo>
                <a:lnTo>
                  <a:pt x="1266" y="5255"/>
                </a:lnTo>
                <a:lnTo>
                  <a:pt x="1290" y="5254"/>
                </a:lnTo>
                <a:lnTo>
                  <a:pt x="1311" y="5255"/>
                </a:lnTo>
                <a:lnTo>
                  <a:pt x="1320" y="5256"/>
                </a:lnTo>
                <a:lnTo>
                  <a:pt x="1328" y="5258"/>
                </a:lnTo>
                <a:lnTo>
                  <a:pt x="1335" y="5261"/>
                </a:lnTo>
                <a:lnTo>
                  <a:pt x="1341" y="5266"/>
                </a:lnTo>
                <a:lnTo>
                  <a:pt x="1341" y="5266"/>
                </a:lnTo>
                <a:lnTo>
                  <a:pt x="1344" y="5269"/>
                </a:lnTo>
                <a:lnTo>
                  <a:pt x="1345" y="5272"/>
                </a:lnTo>
                <a:lnTo>
                  <a:pt x="1344" y="5274"/>
                </a:lnTo>
                <a:lnTo>
                  <a:pt x="1339" y="5277"/>
                </a:lnTo>
                <a:lnTo>
                  <a:pt x="1335" y="5279"/>
                </a:lnTo>
                <a:lnTo>
                  <a:pt x="1328" y="5282"/>
                </a:lnTo>
                <a:lnTo>
                  <a:pt x="1311" y="5286"/>
                </a:lnTo>
                <a:lnTo>
                  <a:pt x="1288" y="5290"/>
                </a:lnTo>
                <a:lnTo>
                  <a:pt x="1263" y="5293"/>
                </a:lnTo>
                <a:lnTo>
                  <a:pt x="1202" y="5301"/>
                </a:lnTo>
                <a:lnTo>
                  <a:pt x="1171" y="5305"/>
                </a:lnTo>
                <a:lnTo>
                  <a:pt x="1140" y="5310"/>
                </a:lnTo>
                <a:lnTo>
                  <a:pt x="1110" y="5317"/>
                </a:lnTo>
                <a:lnTo>
                  <a:pt x="1084" y="5323"/>
                </a:lnTo>
                <a:lnTo>
                  <a:pt x="1072" y="5327"/>
                </a:lnTo>
                <a:lnTo>
                  <a:pt x="1060" y="5331"/>
                </a:lnTo>
                <a:lnTo>
                  <a:pt x="1050" y="5335"/>
                </a:lnTo>
                <a:lnTo>
                  <a:pt x="1042" y="5340"/>
                </a:lnTo>
                <a:lnTo>
                  <a:pt x="1035" y="5345"/>
                </a:lnTo>
                <a:lnTo>
                  <a:pt x="1030" y="5350"/>
                </a:lnTo>
                <a:lnTo>
                  <a:pt x="1026" y="5357"/>
                </a:lnTo>
                <a:lnTo>
                  <a:pt x="1024" y="5363"/>
                </a:lnTo>
                <a:lnTo>
                  <a:pt x="1024" y="5363"/>
                </a:lnTo>
                <a:lnTo>
                  <a:pt x="1023" y="5368"/>
                </a:lnTo>
                <a:lnTo>
                  <a:pt x="1023" y="5377"/>
                </a:lnTo>
                <a:lnTo>
                  <a:pt x="1024" y="5388"/>
                </a:lnTo>
                <a:lnTo>
                  <a:pt x="1026" y="5394"/>
                </a:lnTo>
                <a:lnTo>
                  <a:pt x="1028" y="5399"/>
                </a:lnTo>
                <a:lnTo>
                  <a:pt x="1028" y="5399"/>
                </a:lnTo>
                <a:lnTo>
                  <a:pt x="1029" y="5406"/>
                </a:lnTo>
                <a:lnTo>
                  <a:pt x="1029" y="5412"/>
                </a:lnTo>
                <a:lnTo>
                  <a:pt x="1026" y="5418"/>
                </a:lnTo>
                <a:lnTo>
                  <a:pt x="1021" y="5424"/>
                </a:lnTo>
                <a:lnTo>
                  <a:pt x="1011" y="5438"/>
                </a:lnTo>
                <a:lnTo>
                  <a:pt x="997" y="5456"/>
                </a:lnTo>
                <a:lnTo>
                  <a:pt x="989" y="5466"/>
                </a:lnTo>
                <a:lnTo>
                  <a:pt x="982" y="5476"/>
                </a:lnTo>
                <a:lnTo>
                  <a:pt x="974" y="5488"/>
                </a:lnTo>
                <a:lnTo>
                  <a:pt x="968" y="5501"/>
                </a:lnTo>
                <a:lnTo>
                  <a:pt x="962" y="5515"/>
                </a:lnTo>
                <a:lnTo>
                  <a:pt x="958" y="5530"/>
                </a:lnTo>
                <a:lnTo>
                  <a:pt x="954" y="5547"/>
                </a:lnTo>
                <a:lnTo>
                  <a:pt x="953" y="5565"/>
                </a:lnTo>
                <a:lnTo>
                  <a:pt x="953" y="5565"/>
                </a:lnTo>
                <a:lnTo>
                  <a:pt x="953" y="5574"/>
                </a:lnTo>
                <a:lnTo>
                  <a:pt x="953" y="5583"/>
                </a:lnTo>
                <a:lnTo>
                  <a:pt x="956" y="5601"/>
                </a:lnTo>
                <a:lnTo>
                  <a:pt x="961" y="5618"/>
                </a:lnTo>
                <a:lnTo>
                  <a:pt x="967" y="5634"/>
                </a:lnTo>
                <a:lnTo>
                  <a:pt x="975" y="5649"/>
                </a:lnTo>
                <a:lnTo>
                  <a:pt x="985" y="5663"/>
                </a:lnTo>
                <a:lnTo>
                  <a:pt x="995" y="5676"/>
                </a:lnTo>
                <a:lnTo>
                  <a:pt x="1005" y="5688"/>
                </a:lnTo>
                <a:lnTo>
                  <a:pt x="1015" y="5698"/>
                </a:lnTo>
                <a:lnTo>
                  <a:pt x="1026" y="5707"/>
                </a:lnTo>
                <a:lnTo>
                  <a:pt x="1043" y="5723"/>
                </a:lnTo>
                <a:lnTo>
                  <a:pt x="1055" y="5731"/>
                </a:lnTo>
                <a:lnTo>
                  <a:pt x="1060" y="5735"/>
                </a:lnTo>
                <a:lnTo>
                  <a:pt x="1060" y="5735"/>
                </a:lnTo>
                <a:lnTo>
                  <a:pt x="1062" y="5731"/>
                </a:lnTo>
                <a:lnTo>
                  <a:pt x="1063" y="5726"/>
                </a:lnTo>
                <a:lnTo>
                  <a:pt x="1063" y="5717"/>
                </a:lnTo>
                <a:lnTo>
                  <a:pt x="1062" y="5708"/>
                </a:lnTo>
                <a:lnTo>
                  <a:pt x="1059" y="5687"/>
                </a:lnTo>
                <a:lnTo>
                  <a:pt x="1056" y="5661"/>
                </a:lnTo>
                <a:lnTo>
                  <a:pt x="1055" y="5649"/>
                </a:lnTo>
                <a:lnTo>
                  <a:pt x="1054" y="5636"/>
                </a:lnTo>
                <a:lnTo>
                  <a:pt x="1054" y="5624"/>
                </a:lnTo>
                <a:lnTo>
                  <a:pt x="1056" y="5613"/>
                </a:lnTo>
                <a:lnTo>
                  <a:pt x="1058" y="5603"/>
                </a:lnTo>
                <a:lnTo>
                  <a:pt x="1062" y="5594"/>
                </a:lnTo>
                <a:lnTo>
                  <a:pt x="1065" y="5591"/>
                </a:lnTo>
                <a:lnTo>
                  <a:pt x="1069" y="5587"/>
                </a:lnTo>
                <a:lnTo>
                  <a:pt x="1072" y="5585"/>
                </a:lnTo>
                <a:lnTo>
                  <a:pt x="1076" y="5582"/>
                </a:lnTo>
                <a:lnTo>
                  <a:pt x="1076" y="5582"/>
                </a:lnTo>
                <a:lnTo>
                  <a:pt x="1081" y="5581"/>
                </a:lnTo>
                <a:lnTo>
                  <a:pt x="1085" y="5581"/>
                </a:lnTo>
                <a:lnTo>
                  <a:pt x="1090" y="5582"/>
                </a:lnTo>
                <a:lnTo>
                  <a:pt x="1094" y="5586"/>
                </a:lnTo>
                <a:lnTo>
                  <a:pt x="1103" y="5593"/>
                </a:lnTo>
                <a:lnTo>
                  <a:pt x="1114" y="5602"/>
                </a:lnTo>
                <a:lnTo>
                  <a:pt x="1125" y="5613"/>
                </a:lnTo>
                <a:lnTo>
                  <a:pt x="1138" y="5622"/>
                </a:lnTo>
                <a:lnTo>
                  <a:pt x="1145" y="5627"/>
                </a:lnTo>
                <a:lnTo>
                  <a:pt x="1152" y="5631"/>
                </a:lnTo>
                <a:lnTo>
                  <a:pt x="1162" y="5634"/>
                </a:lnTo>
                <a:lnTo>
                  <a:pt x="1170" y="5636"/>
                </a:lnTo>
                <a:lnTo>
                  <a:pt x="1170" y="5636"/>
                </a:lnTo>
                <a:lnTo>
                  <a:pt x="1179" y="5636"/>
                </a:lnTo>
                <a:lnTo>
                  <a:pt x="1188" y="5636"/>
                </a:lnTo>
                <a:lnTo>
                  <a:pt x="1196" y="5635"/>
                </a:lnTo>
                <a:lnTo>
                  <a:pt x="1206" y="5633"/>
                </a:lnTo>
                <a:lnTo>
                  <a:pt x="1214" y="5629"/>
                </a:lnTo>
                <a:lnTo>
                  <a:pt x="1222" y="5625"/>
                </a:lnTo>
                <a:lnTo>
                  <a:pt x="1229" y="5621"/>
                </a:lnTo>
                <a:lnTo>
                  <a:pt x="1237" y="5616"/>
                </a:lnTo>
                <a:lnTo>
                  <a:pt x="1253" y="5604"/>
                </a:lnTo>
                <a:lnTo>
                  <a:pt x="1267" y="5590"/>
                </a:lnTo>
                <a:lnTo>
                  <a:pt x="1282" y="5573"/>
                </a:lnTo>
                <a:lnTo>
                  <a:pt x="1299" y="5556"/>
                </a:lnTo>
                <a:lnTo>
                  <a:pt x="1332" y="5517"/>
                </a:lnTo>
                <a:lnTo>
                  <a:pt x="1352" y="5498"/>
                </a:lnTo>
                <a:lnTo>
                  <a:pt x="1372" y="5478"/>
                </a:lnTo>
                <a:lnTo>
                  <a:pt x="1395" y="5458"/>
                </a:lnTo>
                <a:lnTo>
                  <a:pt x="1419" y="5439"/>
                </a:lnTo>
                <a:lnTo>
                  <a:pt x="1433" y="5430"/>
                </a:lnTo>
                <a:lnTo>
                  <a:pt x="1446" y="5422"/>
                </a:lnTo>
                <a:lnTo>
                  <a:pt x="1460" y="5414"/>
                </a:lnTo>
                <a:lnTo>
                  <a:pt x="1475" y="5406"/>
                </a:lnTo>
                <a:lnTo>
                  <a:pt x="1475" y="5406"/>
                </a:lnTo>
                <a:lnTo>
                  <a:pt x="1515" y="5387"/>
                </a:lnTo>
                <a:lnTo>
                  <a:pt x="1547" y="5375"/>
                </a:lnTo>
                <a:lnTo>
                  <a:pt x="1559" y="5370"/>
                </a:lnTo>
                <a:lnTo>
                  <a:pt x="1571" y="5367"/>
                </a:lnTo>
                <a:lnTo>
                  <a:pt x="1580" y="5366"/>
                </a:lnTo>
                <a:lnTo>
                  <a:pt x="1587" y="5365"/>
                </a:lnTo>
                <a:lnTo>
                  <a:pt x="1593" y="5365"/>
                </a:lnTo>
                <a:lnTo>
                  <a:pt x="1597" y="5367"/>
                </a:lnTo>
                <a:lnTo>
                  <a:pt x="1600" y="5369"/>
                </a:lnTo>
                <a:lnTo>
                  <a:pt x="1602" y="5372"/>
                </a:lnTo>
                <a:lnTo>
                  <a:pt x="1604" y="5375"/>
                </a:lnTo>
                <a:lnTo>
                  <a:pt x="1604" y="5379"/>
                </a:lnTo>
                <a:lnTo>
                  <a:pt x="1603" y="5389"/>
                </a:lnTo>
                <a:lnTo>
                  <a:pt x="1600" y="5401"/>
                </a:lnTo>
                <a:lnTo>
                  <a:pt x="1596" y="5415"/>
                </a:lnTo>
                <a:lnTo>
                  <a:pt x="1593" y="5428"/>
                </a:lnTo>
                <a:lnTo>
                  <a:pt x="1591" y="5440"/>
                </a:lnTo>
                <a:lnTo>
                  <a:pt x="1591" y="5446"/>
                </a:lnTo>
                <a:lnTo>
                  <a:pt x="1591" y="5453"/>
                </a:lnTo>
                <a:lnTo>
                  <a:pt x="1593" y="5458"/>
                </a:lnTo>
                <a:lnTo>
                  <a:pt x="1595" y="5463"/>
                </a:lnTo>
                <a:lnTo>
                  <a:pt x="1598" y="5467"/>
                </a:lnTo>
                <a:lnTo>
                  <a:pt x="1603" y="5471"/>
                </a:lnTo>
                <a:lnTo>
                  <a:pt x="1609" y="5474"/>
                </a:lnTo>
                <a:lnTo>
                  <a:pt x="1617" y="5476"/>
                </a:lnTo>
                <a:lnTo>
                  <a:pt x="1617" y="5476"/>
                </a:lnTo>
                <a:lnTo>
                  <a:pt x="1629" y="5480"/>
                </a:lnTo>
                <a:lnTo>
                  <a:pt x="1640" y="5483"/>
                </a:lnTo>
                <a:lnTo>
                  <a:pt x="1649" y="5488"/>
                </a:lnTo>
                <a:lnTo>
                  <a:pt x="1656" y="5492"/>
                </a:lnTo>
                <a:lnTo>
                  <a:pt x="1663" y="5498"/>
                </a:lnTo>
                <a:lnTo>
                  <a:pt x="1668" y="5503"/>
                </a:lnTo>
                <a:lnTo>
                  <a:pt x="1671" y="5509"/>
                </a:lnTo>
                <a:lnTo>
                  <a:pt x="1673" y="5515"/>
                </a:lnTo>
                <a:lnTo>
                  <a:pt x="1675" y="5521"/>
                </a:lnTo>
                <a:lnTo>
                  <a:pt x="1675" y="5527"/>
                </a:lnTo>
                <a:lnTo>
                  <a:pt x="1674" y="5534"/>
                </a:lnTo>
                <a:lnTo>
                  <a:pt x="1673" y="5541"/>
                </a:lnTo>
                <a:lnTo>
                  <a:pt x="1671" y="5548"/>
                </a:lnTo>
                <a:lnTo>
                  <a:pt x="1668" y="5555"/>
                </a:lnTo>
                <a:lnTo>
                  <a:pt x="1660" y="5568"/>
                </a:lnTo>
                <a:lnTo>
                  <a:pt x="1650" y="5581"/>
                </a:lnTo>
                <a:lnTo>
                  <a:pt x="1640" y="5594"/>
                </a:lnTo>
                <a:lnTo>
                  <a:pt x="1630" y="5605"/>
                </a:lnTo>
                <a:lnTo>
                  <a:pt x="1620" y="5615"/>
                </a:lnTo>
                <a:lnTo>
                  <a:pt x="1603" y="5629"/>
                </a:lnTo>
                <a:lnTo>
                  <a:pt x="1597" y="5636"/>
                </a:lnTo>
                <a:lnTo>
                  <a:pt x="1597" y="5636"/>
                </a:lnTo>
                <a:lnTo>
                  <a:pt x="1605" y="5640"/>
                </a:lnTo>
                <a:lnTo>
                  <a:pt x="1616" y="5642"/>
                </a:lnTo>
                <a:lnTo>
                  <a:pt x="1627" y="5643"/>
                </a:lnTo>
                <a:lnTo>
                  <a:pt x="1640" y="5642"/>
                </a:lnTo>
                <a:lnTo>
                  <a:pt x="1654" y="5639"/>
                </a:lnTo>
                <a:lnTo>
                  <a:pt x="1669" y="5635"/>
                </a:lnTo>
                <a:lnTo>
                  <a:pt x="1685" y="5628"/>
                </a:lnTo>
                <a:lnTo>
                  <a:pt x="1700" y="5620"/>
                </a:lnTo>
                <a:lnTo>
                  <a:pt x="1717" y="5611"/>
                </a:lnTo>
                <a:lnTo>
                  <a:pt x="1732" y="5600"/>
                </a:lnTo>
                <a:lnTo>
                  <a:pt x="1747" y="5587"/>
                </a:lnTo>
                <a:lnTo>
                  <a:pt x="1763" y="5572"/>
                </a:lnTo>
                <a:lnTo>
                  <a:pt x="1776" y="5555"/>
                </a:lnTo>
                <a:lnTo>
                  <a:pt x="1789" y="5536"/>
                </a:lnTo>
                <a:lnTo>
                  <a:pt x="1801" y="5516"/>
                </a:lnTo>
                <a:lnTo>
                  <a:pt x="1811" y="5495"/>
                </a:lnTo>
                <a:lnTo>
                  <a:pt x="1811" y="5495"/>
                </a:lnTo>
                <a:lnTo>
                  <a:pt x="1814" y="5486"/>
                </a:lnTo>
                <a:lnTo>
                  <a:pt x="1817" y="5480"/>
                </a:lnTo>
                <a:lnTo>
                  <a:pt x="1820" y="5475"/>
                </a:lnTo>
                <a:lnTo>
                  <a:pt x="1824" y="5471"/>
                </a:lnTo>
                <a:lnTo>
                  <a:pt x="1828" y="5468"/>
                </a:lnTo>
                <a:lnTo>
                  <a:pt x="1831" y="5465"/>
                </a:lnTo>
                <a:lnTo>
                  <a:pt x="1839" y="5462"/>
                </a:lnTo>
                <a:lnTo>
                  <a:pt x="1848" y="5459"/>
                </a:lnTo>
                <a:lnTo>
                  <a:pt x="1857" y="5455"/>
                </a:lnTo>
                <a:lnTo>
                  <a:pt x="1866" y="5449"/>
                </a:lnTo>
                <a:lnTo>
                  <a:pt x="1871" y="5444"/>
                </a:lnTo>
                <a:lnTo>
                  <a:pt x="1876" y="5439"/>
                </a:lnTo>
                <a:lnTo>
                  <a:pt x="1876" y="5439"/>
                </a:lnTo>
                <a:lnTo>
                  <a:pt x="1879" y="5433"/>
                </a:lnTo>
                <a:lnTo>
                  <a:pt x="1882" y="5427"/>
                </a:lnTo>
                <a:lnTo>
                  <a:pt x="1886" y="5421"/>
                </a:lnTo>
                <a:lnTo>
                  <a:pt x="1887" y="5415"/>
                </a:lnTo>
                <a:lnTo>
                  <a:pt x="1888" y="5400"/>
                </a:lnTo>
                <a:lnTo>
                  <a:pt x="1888" y="5386"/>
                </a:lnTo>
                <a:lnTo>
                  <a:pt x="1888" y="5371"/>
                </a:lnTo>
                <a:lnTo>
                  <a:pt x="1888" y="5357"/>
                </a:lnTo>
                <a:lnTo>
                  <a:pt x="1890" y="5342"/>
                </a:lnTo>
                <a:lnTo>
                  <a:pt x="1892" y="5336"/>
                </a:lnTo>
                <a:lnTo>
                  <a:pt x="1894" y="5330"/>
                </a:lnTo>
                <a:lnTo>
                  <a:pt x="1894" y="5330"/>
                </a:lnTo>
                <a:lnTo>
                  <a:pt x="1898" y="5324"/>
                </a:lnTo>
                <a:lnTo>
                  <a:pt x="1902" y="5319"/>
                </a:lnTo>
                <a:lnTo>
                  <a:pt x="1906" y="5314"/>
                </a:lnTo>
                <a:lnTo>
                  <a:pt x="1911" y="5309"/>
                </a:lnTo>
                <a:lnTo>
                  <a:pt x="1923" y="5301"/>
                </a:lnTo>
                <a:lnTo>
                  <a:pt x="1937" y="5295"/>
                </a:lnTo>
                <a:lnTo>
                  <a:pt x="1951" y="5290"/>
                </a:lnTo>
                <a:lnTo>
                  <a:pt x="1965" y="5286"/>
                </a:lnTo>
                <a:lnTo>
                  <a:pt x="1996" y="5278"/>
                </a:lnTo>
                <a:lnTo>
                  <a:pt x="2026" y="5272"/>
                </a:lnTo>
                <a:lnTo>
                  <a:pt x="2038" y="5268"/>
                </a:lnTo>
                <a:lnTo>
                  <a:pt x="2049" y="5262"/>
                </a:lnTo>
                <a:lnTo>
                  <a:pt x="2057" y="5256"/>
                </a:lnTo>
                <a:lnTo>
                  <a:pt x="2061" y="5253"/>
                </a:lnTo>
                <a:lnTo>
                  <a:pt x="2063" y="5249"/>
                </a:lnTo>
                <a:lnTo>
                  <a:pt x="2066" y="5245"/>
                </a:lnTo>
                <a:lnTo>
                  <a:pt x="2068" y="5240"/>
                </a:lnTo>
                <a:lnTo>
                  <a:pt x="2068" y="5235"/>
                </a:lnTo>
                <a:lnTo>
                  <a:pt x="2068" y="5230"/>
                </a:lnTo>
                <a:lnTo>
                  <a:pt x="2068" y="5230"/>
                </a:lnTo>
                <a:lnTo>
                  <a:pt x="2066" y="5215"/>
                </a:lnTo>
                <a:lnTo>
                  <a:pt x="2066" y="5202"/>
                </a:lnTo>
                <a:lnTo>
                  <a:pt x="2069" y="5190"/>
                </a:lnTo>
                <a:lnTo>
                  <a:pt x="2073" y="5180"/>
                </a:lnTo>
                <a:lnTo>
                  <a:pt x="2078" y="5169"/>
                </a:lnTo>
                <a:lnTo>
                  <a:pt x="2083" y="5161"/>
                </a:lnTo>
                <a:lnTo>
                  <a:pt x="2090" y="5153"/>
                </a:lnTo>
                <a:lnTo>
                  <a:pt x="2098" y="5146"/>
                </a:lnTo>
                <a:lnTo>
                  <a:pt x="2106" y="5140"/>
                </a:lnTo>
                <a:lnTo>
                  <a:pt x="2116" y="5134"/>
                </a:lnTo>
                <a:lnTo>
                  <a:pt x="2134" y="5124"/>
                </a:lnTo>
                <a:lnTo>
                  <a:pt x="2152" y="5116"/>
                </a:lnTo>
                <a:lnTo>
                  <a:pt x="2169" y="5109"/>
                </a:lnTo>
                <a:lnTo>
                  <a:pt x="2169" y="5109"/>
                </a:lnTo>
                <a:lnTo>
                  <a:pt x="2171" y="5109"/>
                </a:lnTo>
                <a:lnTo>
                  <a:pt x="2172" y="5110"/>
                </a:lnTo>
                <a:lnTo>
                  <a:pt x="2175" y="5112"/>
                </a:lnTo>
                <a:lnTo>
                  <a:pt x="2177" y="5117"/>
                </a:lnTo>
                <a:lnTo>
                  <a:pt x="2181" y="5124"/>
                </a:lnTo>
                <a:lnTo>
                  <a:pt x="2189" y="5143"/>
                </a:lnTo>
                <a:lnTo>
                  <a:pt x="2195" y="5154"/>
                </a:lnTo>
                <a:lnTo>
                  <a:pt x="2202" y="5166"/>
                </a:lnTo>
                <a:lnTo>
                  <a:pt x="2212" y="5179"/>
                </a:lnTo>
                <a:lnTo>
                  <a:pt x="2222" y="5192"/>
                </a:lnTo>
                <a:lnTo>
                  <a:pt x="2234" y="5206"/>
                </a:lnTo>
                <a:lnTo>
                  <a:pt x="2250" y="5220"/>
                </a:lnTo>
                <a:lnTo>
                  <a:pt x="2267" y="5233"/>
                </a:lnTo>
                <a:lnTo>
                  <a:pt x="2287" y="5245"/>
                </a:lnTo>
                <a:lnTo>
                  <a:pt x="2311" y="5257"/>
                </a:lnTo>
                <a:lnTo>
                  <a:pt x="2337" y="5268"/>
                </a:lnTo>
                <a:lnTo>
                  <a:pt x="2337" y="5268"/>
                </a:lnTo>
                <a:lnTo>
                  <a:pt x="2412" y="5237"/>
                </a:lnTo>
                <a:lnTo>
                  <a:pt x="2458" y="5215"/>
                </a:lnTo>
                <a:lnTo>
                  <a:pt x="2485" y="5202"/>
                </a:lnTo>
                <a:lnTo>
                  <a:pt x="2514" y="5187"/>
                </a:lnTo>
                <a:lnTo>
                  <a:pt x="2514" y="5187"/>
                </a:lnTo>
                <a:lnTo>
                  <a:pt x="2546" y="5170"/>
                </a:lnTo>
                <a:lnTo>
                  <a:pt x="2576" y="5153"/>
                </a:lnTo>
                <a:lnTo>
                  <a:pt x="2588" y="5145"/>
                </a:lnTo>
                <a:lnTo>
                  <a:pt x="2599" y="5138"/>
                </a:lnTo>
                <a:lnTo>
                  <a:pt x="2609" y="5130"/>
                </a:lnTo>
                <a:lnTo>
                  <a:pt x="2617" y="5123"/>
                </a:lnTo>
                <a:lnTo>
                  <a:pt x="2617" y="5123"/>
                </a:lnTo>
                <a:lnTo>
                  <a:pt x="2616" y="5121"/>
                </a:lnTo>
                <a:lnTo>
                  <a:pt x="2615" y="5119"/>
                </a:lnTo>
                <a:lnTo>
                  <a:pt x="2607" y="5112"/>
                </a:lnTo>
                <a:lnTo>
                  <a:pt x="2596" y="5101"/>
                </a:lnTo>
                <a:lnTo>
                  <a:pt x="2583" y="5087"/>
                </a:lnTo>
                <a:lnTo>
                  <a:pt x="2568" y="5069"/>
                </a:lnTo>
                <a:lnTo>
                  <a:pt x="2553" y="5050"/>
                </a:lnTo>
                <a:lnTo>
                  <a:pt x="2546" y="5039"/>
                </a:lnTo>
                <a:lnTo>
                  <a:pt x="2540" y="5026"/>
                </a:lnTo>
                <a:lnTo>
                  <a:pt x="2535" y="5015"/>
                </a:lnTo>
                <a:lnTo>
                  <a:pt x="2530" y="5002"/>
                </a:lnTo>
                <a:lnTo>
                  <a:pt x="2530" y="5002"/>
                </a:lnTo>
                <a:lnTo>
                  <a:pt x="2527" y="4989"/>
                </a:lnTo>
                <a:lnTo>
                  <a:pt x="2524" y="4978"/>
                </a:lnTo>
                <a:lnTo>
                  <a:pt x="2522" y="4969"/>
                </a:lnTo>
                <a:lnTo>
                  <a:pt x="2522" y="4960"/>
                </a:lnTo>
                <a:lnTo>
                  <a:pt x="2522" y="4953"/>
                </a:lnTo>
                <a:lnTo>
                  <a:pt x="2522" y="4948"/>
                </a:lnTo>
                <a:lnTo>
                  <a:pt x="2523" y="4944"/>
                </a:lnTo>
                <a:lnTo>
                  <a:pt x="2524" y="4942"/>
                </a:lnTo>
                <a:lnTo>
                  <a:pt x="2524" y="4942"/>
                </a:lnTo>
                <a:lnTo>
                  <a:pt x="2537" y="4959"/>
                </a:lnTo>
                <a:lnTo>
                  <a:pt x="2552" y="4976"/>
                </a:lnTo>
                <a:lnTo>
                  <a:pt x="2573" y="4997"/>
                </a:lnTo>
                <a:lnTo>
                  <a:pt x="2585" y="5008"/>
                </a:lnTo>
                <a:lnTo>
                  <a:pt x="2597" y="5019"/>
                </a:lnTo>
                <a:lnTo>
                  <a:pt x="2611" y="5030"/>
                </a:lnTo>
                <a:lnTo>
                  <a:pt x="2627" y="5042"/>
                </a:lnTo>
                <a:lnTo>
                  <a:pt x="2643" y="5053"/>
                </a:lnTo>
                <a:lnTo>
                  <a:pt x="2660" y="5062"/>
                </a:lnTo>
                <a:lnTo>
                  <a:pt x="2677" y="5071"/>
                </a:lnTo>
                <a:lnTo>
                  <a:pt x="2695" y="5079"/>
                </a:lnTo>
                <a:lnTo>
                  <a:pt x="2695" y="5079"/>
                </a:lnTo>
                <a:lnTo>
                  <a:pt x="2749" y="5051"/>
                </a:lnTo>
                <a:lnTo>
                  <a:pt x="2803" y="5021"/>
                </a:lnTo>
                <a:lnTo>
                  <a:pt x="2857" y="4988"/>
                </a:lnTo>
                <a:lnTo>
                  <a:pt x="2911" y="4954"/>
                </a:lnTo>
                <a:lnTo>
                  <a:pt x="2911" y="4954"/>
                </a:lnTo>
                <a:lnTo>
                  <a:pt x="2946" y="4930"/>
                </a:lnTo>
                <a:lnTo>
                  <a:pt x="2946" y="4930"/>
                </a:lnTo>
                <a:lnTo>
                  <a:pt x="2947" y="4929"/>
                </a:lnTo>
                <a:lnTo>
                  <a:pt x="2947" y="4929"/>
                </a:lnTo>
                <a:lnTo>
                  <a:pt x="2948" y="4927"/>
                </a:lnTo>
                <a:lnTo>
                  <a:pt x="2947" y="4925"/>
                </a:lnTo>
                <a:lnTo>
                  <a:pt x="2943" y="4918"/>
                </a:lnTo>
                <a:lnTo>
                  <a:pt x="2935" y="4909"/>
                </a:lnTo>
                <a:lnTo>
                  <a:pt x="2924" y="4898"/>
                </a:lnTo>
                <a:lnTo>
                  <a:pt x="2899" y="4874"/>
                </a:lnTo>
                <a:lnTo>
                  <a:pt x="2870" y="4845"/>
                </a:lnTo>
                <a:lnTo>
                  <a:pt x="2857" y="4831"/>
                </a:lnTo>
                <a:lnTo>
                  <a:pt x="2846" y="4817"/>
                </a:lnTo>
                <a:lnTo>
                  <a:pt x="2836" y="4802"/>
                </a:lnTo>
                <a:lnTo>
                  <a:pt x="2832" y="4795"/>
                </a:lnTo>
                <a:lnTo>
                  <a:pt x="2829" y="4789"/>
                </a:lnTo>
                <a:lnTo>
                  <a:pt x="2828" y="4782"/>
                </a:lnTo>
                <a:lnTo>
                  <a:pt x="2827" y="4776"/>
                </a:lnTo>
                <a:lnTo>
                  <a:pt x="2827" y="4770"/>
                </a:lnTo>
                <a:lnTo>
                  <a:pt x="2828" y="4765"/>
                </a:lnTo>
                <a:lnTo>
                  <a:pt x="2830" y="4759"/>
                </a:lnTo>
                <a:lnTo>
                  <a:pt x="2834" y="4754"/>
                </a:lnTo>
                <a:lnTo>
                  <a:pt x="2840" y="4750"/>
                </a:lnTo>
                <a:lnTo>
                  <a:pt x="2847" y="4746"/>
                </a:lnTo>
                <a:lnTo>
                  <a:pt x="2847" y="4746"/>
                </a:lnTo>
                <a:lnTo>
                  <a:pt x="2853" y="4742"/>
                </a:lnTo>
                <a:lnTo>
                  <a:pt x="2858" y="4737"/>
                </a:lnTo>
                <a:lnTo>
                  <a:pt x="2861" y="4732"/>
                </a:lnTo>
                <a:lnTo>
                  <a:pt x="2863" y="4726"/>
                </a:lnTo>
                <a:lnTo>
                  <a:pt x="2864" y="4720"/>
                </a:lnTo>
                <a:lnTo>
                  <a:pt x="2864" y="4711"/>
                </a:lnTo>
                <a:lnTo>
                  <a:pt x="2864" y="4704"/>
                </a:lnTo>
                <a:lnTo>
                  <a:pt x="2862" y="4695"/>
                </a:lnTo>
                <a:lnTo>
                  <a:pt x="2857" y="4678"/>
                </a:lnTo>
                <a:lnTo>
                  <a:pt x="2849" y="4658"/>
                </a:lnTo>
                <a:lnTo>
                  <a:pt x="2830" y="4616"/>
                </a:lnTo>
                <a:lnTo>
                  <a:pt x="2821" y="4595"/>
                </a:lnTo>
                <a:lnTo>
                  <a:pt x="2813" y="4574"/>
                </a:lnTo>
                <a:lnTo>
                  <a:pt x="2806" y="4554"/>
                </a:lnTo>
                <a:lnTo>
                  <a:pt x="2804" y="4544"/>
                </a:lnTo>
                <a:lnTo>
                  <a:pt x="2802" y="4534"/>
                </a:lnTo>
                <a:lnTo>
                  <a:pt x="2802" y="4525"/>
                </a:lnTo>
                <a:lnTo>
                  <a:pt x="2802" y="4517"/>
                </a:lnTo>
                <a:lnTo>
                  <a:pt x="2803" y="4509"/>
                </a:lnTo>
                <a:lnTo>
                  <a:pt x="2805" y="4502"/>
                </a:lnTo>
                <a:lnTo>
                  <a:pt x="2808" y="4495"/>
                </a:lnTo>
                <a:lnTo>
                  <a:pt x="2813" y="4488"/>
                </a:lnTo>
                <a:lnTo>
                  <a:pt x="2819" y="4482"/>
                </a:lnTo>
                <a:lnTo>
                  <a:pt x="2827" y="4478"/>
                </a:lnTo>
                <a:lnTo>
                  <a:pt x="2827" y="4478"/>
                </a:lnTo>
                <a:lnTo>
                  <a:pt x="2928" y="4425"/>
                </a:lnTo>
                <a:lnTo>
                  <a:pt x="3034" y="4374"/>
                </a:lnTo>
                <a:lnTo>
                  <a:pt x="3138" y="4323"/>
                </a:lnTo>
                <a:lnTo>
                  <a:pt x="3241" y="4273"/>
                </a:lnTo>
                <a:lnTo>
                  <a:pt x="3433" y="4182"/>
                </a:lnTo>
                <a:lnTo>
                  <a:pt x="3516" y="4142"/>
                </a:lnTo>
                <a:lnTo>
                  <a:pt x="3591" y="4105"/>
                </a:lnTo>
                <a:lnTo>
                  <a:pt x="3591" y="4105"/>
                </a:lnTo>
                <a:lnTo>
                  <a:pt x="3587" y="4089"/>
                </a:lnTo>
                <a:lnTo>
                  <a:pt x="3581" y="4070"/>
                </a:lnTo>
                <a:lnTo>
                  <a:pt x="3571" y="4047"/>
                </a:lnTo>
                <a:lnTo>
                  <a:pt x="3564" y="4035"/>
                </a:lnTo>
                <a:lnTo>
                  <a:pt x="3557" y="4020"/>
                </a:lnTo>
                <a:lnTo>
                  <a:pt x="3549" y="4006"/>
                </a:lnTo>
                <a:lnTo>
                  <a:pt x="3540" y="3992"/>
                </a:lnTo>
                <a:lnTo>
                  <a:pt x="3529" y="3977"/>
                </a:lnTo>
                <a:lnTo>
                  <a:pt x="3516" y="3962"/>
                </a:lnTo>
                <a:lnTo>
                  <a:pt x="3502" y="3948"/>
                </a:lnTo>
                <a:lnTo>
                  <a:pt x="3487" y="3933"/>
                </a:lnTo>
                <a:close/>
                <a:moveTo>
                  <a:pt x="322" y="5867"/>
                </a:moveTo>
                <a:lnTo>
                  <a:pt x="322" y="5867"/>
                </a:lnTo>
                <a:lnTo>
                  <a:pt x="321" y="5881"/>
                </a:lnTo>
                <a:lnTo>
                  <a:pt x="321" y="5892"/>
                </a:lnTo>
                <a:lnTo>
                  <a:pt x="323" y="5908"/>
                </a:lnTo>
                <a:lnTo>
                  <a:pt x="326" y="5923"/>
                </a:lnTo>
                <a:lnTo>
                  <a:pt x="329" y="5931"/>
                </a:lnTo>
                <a:lnTo>
                  <a:pt x="332" y="5939"/>
                </a:lnTo>
                <a:lnTo>
                  <a:pt x="337" y="5947"/>
                </a:lnTo>
                <a:lnTo>
                  <a:pt x="343" y="5956"/>
                </a:lnTo>
                <a:lnTo>
                  <a:pt x="349" y="5964"/>
                </a:lnTo>
                <a:lnTo>
                  <a:pt x="357" y="5971"/>
                </a:lnTo>
                <a:lnTo>
                  <a:pt x="357" y="5971"/>
                </a:lnTo>
                <a:lnTo>
                  <a:pt x="369" y="5980"/>
                </a:lnTo>
                <a:lnTo>
                  <a:pt x="382" y="5988"/>
                </a:lnTo>
                <a:lnTo>
                  <a:pt x="397" y="5995"/>
                </a:lnTo>
                <a:lnTo>
                  <a:pt x="412" y="6000"/>
                </a:lnTo>
                <a:lnTo>
                  <a:pt x="426" y="6002"/>
                </a:lnTo>
                <a:lnTo>
                  <a:pt x="434" y="6002"/>
                </a:lnTo>
                <a:lnTo>
                  <a:pt x="441" y="6001"/>
                </a:lnTo>
                <a:lnTo>
                  <a:pt x="447" y="6000"/>
                </a:lnTo>
                <a:lnTo>
                  <a:pt x="453" y="5998"/>
                </a:lnTo>
                <a:lnTo>
                  <a:pt x="458" y="5995"/>
                </a:lnTo>
                <a:lnTo>
                  <a:pt x="463" y="5991"/>
                </a:lnTo>
                <a:lnTo>
                  <a:pt x="463" y="5991"/>
                </a:lnTo>
                <a:lnTo>
                  <a:pt x="468" y="5986"/>
                </a:lnTo>
                <a:lnTo>
                  <a:pt x="473" y="5979"/>
                </a:lnTo>
                <a:lnTo>
                  <a:pt x="476" y="5973"/>
                </a:lnTo>
                <a:lnTo>
                  <a:pt x="479" y="5966"/>
                </a:lnTo>
                <a:lnTo>
                  <a:pt x="481" y="5958"/>
                </a:lnTo>
                <a:lnTo>
                  <a:pt x="482" y="5950"/>
                </a:lnTo>
                <a:lnTo>
                  <a:pt x="483" y="5933"/>
                </a:lnTo>
                <a:lnTo>
                  <a:pt x="483" y="5917"/>
                </a:lnTo>
                <a:lnTo>
                  <a:pt x="484" y="5900"/>
                </a:lnTo>
                <a:lnTo>
                  <a:pt x="485" y="5892"/>
                </a:lnTo>
                <a:lnTo>
                  <a:pt x="487" y="5884"/>
                </a:lnTo>
                <a:lnTo>
                  <a:pt x="489" y="5877"/>
                </a:lnTo>
                <a:lnTo>
                  <a:pt x="493" y="5869"/>
                </a:lnTo>
                <a:lnTo>
                  <a:pt x="493" y="5869"/>
                </a:lnTo>
                <a:lnTo>
                  <a:pt x="495" y="5866"/>
                </a:lnTo>
                <a:lnTo>
                  <a:pt x="499" y="5863"/>
                </a:lnTo>
                <a:lnTo>
                  <a:pt x="508" y="5857"/>
                </a:lnTo>
                <a:lnTo>
                  <a:pt x="516" y="5854"/>
                </a:lnTo>
                <a:lnTo>
                  <a:pt x="519" y="5853"/>
                </a:lnTo>
                <a:lnTo>
                  <a:pt x="519" y="5853"/>
                </a:lnTo>
                <a:lnTo>
                  <a:pt x="526" y="5851"/>
                </a:lnTo>
                <a:lnTo>
                  <a:pt x="532" y="5848"/>
                </a:lnTo>
                <a:lnTo>
                  <a:pt x="538" y="5845"/>
                </a:lnTo>
                <a:lnTo>
                  <a:pt x="544" y="5840"/>
                </a:lnTo>
                <a:lnTo>
                  <a:pt x="544" y="5840"/>
                </a:lnTo>
                <a:lnTo>
                  <a:pt x="585" y="5859"/>
                </a:lnTo>
                <a:lnTo>
                  <a:pt x="626" y="5877"/>
                </a:lnTo>
                <a:lnTo>
                  <a:pt x="668" y="5896"/>
                </a:lnTo>
                <a:lnTo>
                  <a:pt x="709" y="5917"/>
                </a:lnTo>
                <a:lnTo>
                  <a:pt x="748" y="5938"/>
                </a:lnTo>
                <a:lnTo>
                  <a:pt x="789" y="5961"/>
                </a:lnTo>
                <a:lnTo>
                  <a:pt x="830" y="5983"/>
                </a:lnTo>
                <a:lnTo>
                  <a:pt x="870" y="6007"/>
                </a:lnTo>
                <a:lnTo>
                  <a:pt x="910" y="6031"/>
                </a:lnTo>
                <a:lnTo>
                  <a:pt x="949" y="6056"/>
                </a:lnTo>
                <a:lnTo>
                  <a:pt x="1027" y="6106"/>
                </a:lnTo>
                <a:lnTo>
                  <a:pt x="1103" y="6158"/>
                </a:lnTo>
                <a:lnTo>
                  <a:pt x="1178" y="6211"/>
                </a:lnTo>
                <a:lnTo>
                  <a:pt x="1178" y="6211"/>
                </a:lnTo>
                <a:lnTo>
                  <a:pt x="1197" y="6225"/>
                </a:lnTo>
                <a:lnTo>
                  <a:pt x="1215" y="6236"/>
                </a:lnTo>
                <a:lnTo>
                  <a:pt x="1215" y="6236"/>
                </a:lnTo>
                <a:lnTo>
                  <a:pt x="1208" y="6258"/>
                </a:lnTo>
                <a:lnTo>
                  <a:pt x="1199" y="6281"/>
                </a:lnTo>
                <a:lnTo>
                  <a:pt x="1189" y="6305"/>
                </a:lnTo>
                <a:lnTo>
                  <a:pt x="1177" y="6331"/>
                </a:lnTo>
                <a:lnTo>
                  <a:pt x="1177" y="6331"/>
                </a:lnTo>
                <a:lnTo>
                  <a:pt x="1137" y="6407"/>
                </a:lnTo>
                <a:lnTo>
                  <a:pt x="1118" y="6443"/>
                </a:lnTo>
                <a:lnTo>
                  <a:pt x="1100" y="6479"/>
                </a:lnTo>
                <a:lnTo>
                  <a:pt x="1093" y="6497"/>
                </a:lnTo>
                <a:lnTo>
                  <a:pt x="1087" y="6514"/>
                </a:lnTo>
                <a:lnTo>
                  <a:pt x="1081" y="6530"/>
                </a:lnTo>
                <a:lnTo>
                  <a:pt x="1077" y="6547"/>
                </a:lnTo>
                <a:lnTo>
                  <a:pt x="1074" y="6562"/>
                </a:lnTo>
                <a:lnTo>
                  <a:pt x="1072" y="6576"/>
                </a:lnTo>
                <a:lnTo>
                  <a:pt x="1072" y="6591"/>
                </a:lnTo>
                <a:lnTo>
                  <a:pt x="1073" y="6603"/>
                </a:lnTo>
                <a:lnTo>
                  <a:pt x="1073" y="6603"/>
                </a:lnTo>
                <a:lnTo>
                  <a:pt x="1075" y="6612"/>
                </a:lnTo>
                <a:lnTo>
                  <a:pt x="1077" y="6621"/>
                </a:lnTo>
                <a:lnTo>
                  <a:pt x="1080" y="6629"/>
                </a:lnTo>
                <a:lnTo>
                  <a:pt x="1083" y="6638"/>
                </a:lnTo>
                <a:lnTo>
                  <a:pt x="1087" y="6645"/>
                </a:lnTo>
                <a:lnTo>
                  <a:pt x="1092" y="6652"/>
                </a:lnTo>
                <a:lnTo>
                  <a:pt x="1097" y="6658"/>
                </a:lnTo>
                <a:lnTo>
                  <a:pt x="1102" y="6664"/>
                </a:lnTo>
                <a:lnTo>
                  <a:pt x="1108" y="6669"/>
                </a:lnTo>
                <a:lnTo>
                  <a:pt x="1115" y="6674"/>
                </a:lnTo>
                <a:lnTo>
                  <a:pt x="1122" y="6679"/>
                </a:lnTo>
                <a:lnTo>
                  <a:pt x="1129" y="6682"/>
                </a:lnTo>
                <a:lnTo>
                  <a:pt x="1137" y="6685"/>
                </a:lnTo>
                <a:lnTo>
                  <a:pt x="1145" y="6687"/>
                </a:lnTo>
                <a:lnTo>
                  <a:pt x="1154" y="6689"/>
                </a:lnTo>
                <a:lnTo>
                  <a:pt x="1163" y="6690"/>
                </a:lnTo>
                <a:lnTo>
                  <a:pt x="1163" y="6690"/>
                </a:lnTo>
                <a:lnTo>
                  <a:pt x="1173" y="6690"/>
                </a:lnTo>
                <a:lnTo>
                  <a:pt x="1183" y="6689"/>
                </a:lnTo>
                <a:lnTo>
                  <a:pt x="1192" y="6687"/>
                </a:lnTo>
                <a:lnTo>
                  <a:pt x="1201" y="6685"/>
                </a:lnTo>
                <a:lnTo>
                  <a:pt x="1210" y="6682"/>
                </a:lnTo>
                <a:lnTo>
                  <a:pt x="1218" y="6677"/>
                </a:lnTo>
                <a:lnTo>
                  <a:pt x="1226" y="6673"/>
                </a:lnTo>
                <a:lnTo>
                  <a:pt x="1233" y="6668"/>
                </a:lnTo>
                <a:lnTo>
                  <a:pt x="1240" y="6662"/>
                </a:lnTo>
                <a:lnTo>
                  <a:pt x="1246" y="6657"/>
                </a:lnTo>
                <a:lnTo>
                  <a:pt x="1252" y="6651"/>
                </a:lnTo>
                <a:lnTo>
                  <a:pt x="1257" y="6644"/>
                </a:lnTo>
                <a:lnTo>
                  <a:pt x="1261" y="6637"/>
                </a:lnTo>
                <a:lnTo>
                  <a:pt x="1265" y="6629"/>
                </a:lnTo>
                <a:lnTo>
                  <a:pt x="1268" y="6622"/>
                </a:lnTo>
                <a:lnTo>
                  <a:pt x="1270" y="6614"/>
                </a:lnTo>
                <a:lnTo>
                  <a:pt x="1270" y="6614"/>
                </a:lnTo>
                <a:lnTo>
                  <a:pt x="1272" y="6598"/>
                </a:lnTo>
                <a:lnTo>
                  <a:pt x="1273" y="6582"/>
                </a:lnTo>
                <a:lnTo>
                  <a:pt x="1271" y="6570"/>
                </a:lnTo>
                <a:lnTo>
                  <a:pt x="1268" y="6558"/>
                </a:lnTo>
                <a:lnTo>
                  <a:pt x="1263" y="6549"/>
                </a:lnTo>
                <a:lnTo>
                  <a:pt x="1258" y="6539"/>
                </a:lnTo>
                <a:lnTo>
                  <a:pt x="1251" y="6532"/>
                </a:lnTo>
                <a:lnTo>
                  <a:pt x="1243" y="6527"/>
                </a:lnTo>
                <a:lnTo>
                  <a:pt x="1236" y="6522"/>
                </a:lnTo>
                <a:lnTo>
                  <a:pt x="1229" y="6518"/>
                </a:lnTo>
                <a:lnTo>
                  <a:pt x="1215" y="6513"/>
                </a:lnTo>
                <a:lnTo>
                  <a:pt x="1206" y="6511"/>
                </a:lnTo>
                <a:lnTo>
                  <a:pt x="1201" y="6511"/>
                </a:lnTo>
                <a:lnTo>
                  <a:pt x="1201" y="6511"/>
                </a:lnTo>
                <a:lnTo>
                  <a:pt x="1217" y="6466"/>
                </a:lnTo>
                <a:lnTo>
                  <a:pt x="1229" y="6430"/>
                </a:lnTo>
                <a:lnTo>
                  <a:pt x="1240" y="6401"/>
                </a:lnTo>
                <a:lnTo>
                  <a:pt x="1240" y="6401"/>
                </a:lnTo>
                <a:lnTo>
                  <a:pt x="1248" y="6381"/>
                </a:lnTo>
                <a:lnTo>
                  <a:pt x="1258" y="6363"/>
                </a:lnTo>
                <a:lnTo>
                  <a:pt x="1266" y="6345"/>
                </a:lnTo>
                <a:lnTo>
                  <a:pt x="1275" y="6329"/>
                </a:lnTo>
                <a:lnTo>
                  <a:pt x="1283" y="6314"/>
                </a:lnTo>
                <a:lnTo>
                  <a:pt x="1292" y="6299"/>
                </a:lnTo>
                <a:lnTo>
                  <a:pt x="1310" y="6275"/>
                </a:lnTo>
                <a:lnTo>
                  <a:pt x="1327" y="6254"/>
                </a:lnTo>
                <a:lnTo>
                  <a:pt x="1345" y="6237"/>
                </a:lnTo>
                <a:lnTo>
                  <a:pt x="1361" y="6224"/>
                </a:lnTo>
                <a:lnTo>
                  <a:pt x="1376" y="6212"/>
                </a:lnTo>
                <a:lnTo>
                  <a:pt x="1391" y="6205"/>
                </a:lnTo>
                <a:lnTo>
                  <a:pt x="1404" y="6199"/>
                </a:lnTo>
                <a:lnTo>
                  <a:pt x="1416" y="6195"/>
                </a:lnTo>
                <a:lnTo>
                  <a:pt x="1426" y="6193"/>
                </a:lnTo>
                <a:lnTo>
                  <a:pt x="1435" y="6192"/>
                </a:lnTo>
                <a:lnTo>
                  <a:pt x="1441" y="6192"/>
                </a:lnTo>
                <a:lnTo>
                  <a:pt x="1446" y="6192"/>
                </a:lnTo>
                <a:lnTo>
                  <a:pt x="1446" y="6192"/>
                </a:lnTo>
                <a:lnTo>
                  <a:pt x="1442" y="6188"/>
                </a:lnTo>
                <a:lnTo>
                  <a:pt x="1437" y="6183"/>
                </a:lnTo>
                <a:lnTo>
                  <a:pt x="1432" y="6175"/>
                </a:lnTo>
                <a:lnTo>
                  <a:pt x="1425" y="6166"/>
                </a:lnTo>
                <a:lnTo>
                  <a:pt x="1420" y="6155"/>
                </a:lnTo>
                <a:lnTo>
                  <a:pt x="1414" y="6142"/>
                </a:lnTo>
                <a:lnTo>
                  <a:pt x="1409" y="6125"/>
                </a:lnTo>
                <a:lnTo>
                  <a:pt x="1406" y="6108"/>
                </a:lnTo>
                <a:lnTo>
                  <a:pt x="1404" y="6088"/>
                </a:lnTo>
                <a:lnTo>
                  <a:pt x="1404" y="6065"/>
                </a:lnTo>
                <a:lnTo>
                  <a:pt x="1405" y="6053"/>
                </a:lnTo>
                <a:lnTo>
                  <a:pt x="1407" y="6041"/>
                </a:lnTo>
                <a:lnTo>
                  <a:pt x="1409" y="6027"/>
                </a:lnTo>
                <a:lnTo>
                  <a:pt x="1413" y="6013"/>
                </a:lnTo>
                <a:lnTo>
                  <a:pt x="1417" y="5999"/>
                </a:lnTo>
                <a:lnTo>
                  <a:pt x="1422" y="5983"/>
                </a:lnTo>
                <a:lnTo>
                  <a:pt x="1428" y="5968"/>
                </a:lnTo>
                <a:lnTo>
                  <a:pt x="1436" y="5952"/>
                </a:lnTo>
                <a:lnTo>
                  <a:pt x="1444" y="5934"/>
                </a:lnTo>
                <a:lnTo>
                  <a:pt x="1453" y="5917"/>
                </a:lnTo>
                <a:lnTo>
                  <a:pt x="1453" y="5917"/>
                </a:lnTo>
                <a:lnTo>
                  <a:pt x="1473" y="5880"/>
                </a:lnTo>
                <a:lnTo>
                  <a:pt x="1490" y="5844"/>
                </a:lnTo>
                <a:lnTo>
                  <a:pt x="1505" y="5811"/>
                </a:lnTo>
                <a:lnTo>
                  <a:pt x="1516" y="5780"/>
                </a:lnTo>
                <a:lnTo>
                  <a:pt x="1527" y="5749"/>
                </a:lnTo>
                <a:lnTo>
                  <a:pt x="1535" y="5719"/>
                </a:lnTo>
                <a:lnTo>
                  <a:pt x="1541" y="5691"/>
                </a:lnTo>
                <a:lnTo>
                  <a:pt x="1546" y="5663"/>
                </a:lnTo>
                <a:lnTo>
                  <a:pt x="1546" y="5663"/>
                </a:lnTo>
                <a:lnTo>
                  <a:pt x="1547" y="5654"/>
                </a:lnTo>
                <a:lnTo>
                  <a:pt x="1546" y="5645"/>
                </a:lnTo>
                <a:lnTo>
                  <a:pt x="1545" y="5636"/>
                </a:lnTo>
                <a:lnTo>
                  <a:pt x="1542" y="5626"/>
                </a:lnTo>
                <a:lnTo>
                  <a:pt x="1538" y="5617"/>
                </a:lnTo>
                <a:lnTo>
                  <a:pt x="1534" y="5609"/>
                </a:lnTo>
                <a:lnTo>
                  <a:pt x="1529" y="5600"/>
                </a:lnTo>
                <a:lnTo>
                  <a:pt x="1523" y="5592"/>
                </a:lnTo>
                <a:lnTo>
                  <a:pt x="1515" y="5585"/>
                </a:lnTo>
                <a:lnTo>
                  <a:pt x="1508" y="5577"/>
                </a:lnTo>
                <a:lnTo>
                  <a:pt x="1500" y="5571"/>
                </a:lnTo>
                <a:lnTo>
                  <a:pt x="1492" y="5566"/>
                </a:lnTo>
                <a:lnTo>
                  <a:pt x="1484" y="5561"/>
                </a:lnTo>
                <a:lnTo>
                  <a:pt x="1474" y="5558"/>
                </a:lnTo>
                <a:lnTo>
                  <a:pt x="1465" y="5556"/>
                </a:lnTo>
                <a:lnTo>
                  <a:pt x="1455" y="5554"/>
                </a:lnTo>
                <a:lnTo>
                  <a:pt x="1455" y="5554"/>
                </a:lnTo>
                <a:lnTo>
                  <a:pt x="1445" y="5554"/>
                </a:lnTo>
                <a:lnTo>
                  <a:pt x="1436" y="5555"/>
                </a:lnTo>
                <a:lnTo>
                  <a:pt x="1425" y="5557"/>
                </a:lnTo>
                <a:lnTo>
                  <a:pt x="1416" y="5560"/>
                </a:lnTo>
                <a:lnTo>
                  <a:pt x="1407" y="5564"/>
                </a:lnTo>
                <a:lnTo>
                  <a:pt x="1399" y="5568"/>
                </a:lnTo>
                <a:lnTo>
                  <a:pt x="1391" y="5574"/>
                </a:lnTo>
                <a:lnTo>
                  <a:pt x="1382" y="5579"/>
                </a:lnTo>
                <a:lnTo>
                  <a:pt x="1375" y="5587"/>
                </a:lnTo>
                <a:lnTo>
                  <a:pt x="1369" y="5593"/>
                </a:lnTo>
                <a:lnTo>
                  <a:pt x="1363" y="5600"/>
                </a:lnTo>
                <a:lnTo>
                  <a:pt x="1358" y="5608"/>
                </a:lnTo>
                <a:lnTo>
                  <a:pt x="1354" y="5616"/>
                </a:lnTo>
                <a:lnTo>
                  <a:pt x="1350" y="5624"/>
                </a:lnTo>
                <a:lnTo>
                  <a:pt x="1348" y="5633"/>
                </a:lnTo>
                <a:lnTo>
                  <a:pt x="1347" y="5641"/>
                </a:lnTo>
                <a:lnTo>
                  <a:pt x="1347" y="5641"/>
                </a:lnTo>
                <a:lnTo>
                  <a:pt x="1346" y="5661"/>
                </a:lnTo>
                <a:lnTo>
                  <a:pt x="1347" y="5680"/>
                </a:lnTo>
                <a:lnTo>
                  <a:pt x="1351" y="5695"/>
                </a:lnTo>
                <a:lnTo>
                  <a:pt x="1356" y="5707"/>
                </a:lnTo>
                <a:lnTo>
                  <a:pt x="1362" y="5717"/>
                </a:lnTo>
                <a:lnTo>
                  <a:pt x="1369" y="5727"/>
                </a:lnTo>
                <a:lnTo>
                  <a:pt x="1377" y="5734"/>
                </a:lnTo>
                <a:lnTo>
                  <a:pt x="1386" y="5739"/>
                </a:lnTo>
                <a:lnTo>
                  <a:pt x="1394" y="5743"/>
                </a:lnTo>
                <a:lnTo>
                  <a:pt x="1402" y="5747"/>
                </a:lnTo>
                <a:lnTo>
                  <a:pt x="1416" y="5752"/>
                </a:lnTo>
                <a:lnTo>
                  <a:pt x="1422" y="5754"/>
                </a:lnTo>
                <a:lnTo>
                  <a:pt x="1425" y="5756"/>
                </a:lnTo>
                <a:lnTo>
                  <a:pt x="1428" y="5759"/>
                </a:lnTo>
                <a:lnTo>
                  <a:pt x="1428" y="5762"/>
                </a:lnTo>
                <a:lnTo>
                  <a:pt x="1428" y="5762"/>
                </a:lnTo>
                <a:lnTo>
                  <a:pt x="1417" y="5798"/>
                </a:lnTo>
                <a:lnTo>
                  <a:pt x="1405" y="5831"/>
                </a:lnTo>
                <a:lnTo>
                  <a:pt x="1392" y="5861"/>
                </a:lnTo>
                <a:lnTo>
                  <a:pt x="1378" y="5887"/>
                </a:lnTo>
                <a:lnTo>
                  <a:pt x="1365" y="5912"/>
                </a:lnTo>
                <a:lnTo>
                  <a:pt x="1352" y="5933"/>
                </a:lnTo>
                <a:lnTo>
                  <a:pt x="1337" y="5953"/>
                </a:lnTo>
                <a:lnTo>
                  <a:pt x="1323" y="5969"/>
                </a:lnTo>
                <a:lnTo>
                  <a:pt x="1323" y="5969"/>
                </a:lnTo>
                <a:lnTo>
                  <a:pt x="1296" y="5953"/>
                </a:lnTo>
                <a:lnTo>
                  <a:pt x="1263" y="5933"/>
                </a:lnTo>
                <a:lnTo>
                  <a:pt x="1263" y="5933"/>
                </a:lnTo>
                <a:lnTo>
                  <a:pt x="1186" y="5891"/>
                </a:lnTo>
                <a:lnTo>
                  <a:pt x="1111" y="5850"/>
                </a:lnTo>
                <a:lnTo>
                  <a:pt x="1038" y="5811"/>
                </a:lnTo>
                <a:lnTo>
                  <a:pt x="1001" y="5793"/>
                </a:lnTo>
                <a:lnTo>
                  <a:pt x="964" y="5776"/>
                </a:lnTo>
                <a:lnTo>
                  <a:pt x="927" y="5758"/>
                </a:lnTo>
                <a:lnTo>
                  <a:pt x="889" y="5743"/>
                </a:lnTo>
                <a:lnTo>
                  <a:pt x="850" y="5727"/>
                </a:lnTo>
                <a:lnTo>
                  <a:pt x="810" y="5712"/>
                </a:lnTo>
                <a:lnTo>
                  <a:pt x="769" y="5698"/>
                </a:lnTo>
                <a:lnTo>
                  <a:pt x="727" y="5686"/>
                </a:lnTo>
                <a:lnTo>
                  <a:pt x="683" y="5673"/>
                </a:lnTo>
                <a:lnTo>
                  <a:pt x="638" y="5662"/>
                </a:lnTo>
                <a:lnTo>
                  <a:pt x="638" y="5662"/>
                </a:lnTo>
                <a:lnTo>
                  <a:pt x="655" y="5629"/>
                </a:lnTo>
                <a:lnTo>
                  <a:pt x="655" y="5629"/>
                </a:lnTo>
                <a:lnTo>
                  <a:pt x="681" y="5585"/>
                </a:lnTo>
                <a:lnTo>
                  <a:pt x="699" y="5553"/>
                </a:lnTo>
                <a:lnTo>
                  <a:pt x="706" y="5542"/>
                </a:lnTo>
                <a:lnTo>
                  <a:pt x="710" y="5532"/>
                </a:lnTo>
                <a:lnTo>
                  <a:pt x="712" y="5526"/>
                </a:lnTo>
                <a:lnTo>
                  <a:pt x="711" y="5524"/>
                </a:lnTo>
                <a:lnTo>
                  <a:pt x="710" y="5522"/>
                </a:lnTo>
                <a:lnTo>
                  <a:pt x="710" y="5522"/>
                </a:lnTo>
                <a:lnTo>
                  <a:pt x="709" y="5522"/>
                </a:lnTo>
                <a:lnTo>
                  <a:pt x="708" y="5522"/>
                </a:lnTo>
                <a:lnTo>
                  <a:pt x="702" y="5523"/>
                </a:lnTo>
                <a:lnTo>
                  <a:pt x="688" y="5532"/>
                </a:lnTo>
                <a:lnTo>
                  <a:pt x="664" y="5548"/>
                </a:lnTo>
                <a:lnTo>
                  <a:pt x="647" y="5557"/>
                </a:lnTo>
                <a:lnTo>
                  <a:pt x="628" y="5568"/>
                </a:lnTo>
                <a:lnTo>
                  <a:pt x="628" y="5568"/>
                </a:lnTo>
                <a:lnTo>
                  <a:pt x="606" y="5579"/>
                </a:lnTo>
                <a:lnTo>
                  <a:pt x="588" y="5589"/>
                </a:lnTo>
                <a:lnTo>
                  <a:pt x="573" y="5595"/>
                </a:lnTo>
                <a:lnTo>
                  <a:pt x="558" y="5600"/>
                </a:lnTo>
                <a:lnTo>
                  <a:pt x="545" y="5604"/>
                </a:lnTo>
                <a:lnTo>
                  <a:pt x="532" y="5607"/>
                </a:lnTo>
                <a:lnTo>
                  <a:pt x="504" y="5611"/>
                </a:lnTo>
                <a:lnTo>
                  <a:pt x="504" y="5611"/>
                </a:lnTo>
                <a:lnTo>
                  <a:pt x="495" y="5611"/>
                </a:lnTo>
                <a:lnTo>
                  <a:pt x="486" y="5610"/>
                </a:lnTo>
                <a:lnTo>
                  <a:pt x="468" y="5607"/>
                </a:lnTo>
                <a:lnTo>
                  <a:pt x="453" y="5603"/>
                </a:lnTo>
                <a:lnTo>
                  <a:pt x="446" y="5603"/>
                </a:lnTo>
                <a:lnTo>
                  <a:pt x="441" y="5604"/>
                </a:lnTo>
                <a:lnTo>
                  <a:pt x="441" y="5604"/>
                </a:lnTo>
                <a:lnTo>
                  <a:pt x="435" y="5607"/>
                </a:lnTo>
                <a:lnTo>
                  <a:pt x="428" y="5613"/>
                </a:lnTo>
                <a:lnTo>
                  <a:pt x="423" y="5620"/>
                </a:lnTo>
                <a:lnTo>
                  <a:pt x="418" y="5629"/>
                </a:lnTo>
                <a:lnTo>
                  <a:pt x="413" y="5642"/>
                </a:lnTo>
                <a:lnTo>
                  <a:pt x="408" y="5656"/>
                </a:lnTo>
                <a:lnTo>
                  <a:pt x="395" y="5693"/>
                </a:lnTo>
                <a:lnTo>
                  <a:pt x="395" y="5693"/>
                </a:lnTo>
                <a:lnTo>
                  <a:pt x="370" y="5764"/>
                </a:lnTo>
                <a:lnTo>
                  <a:pt x="363" y="5783"/>
                </a:lnTo>
                <a:lnTo>
                  <a:pt x="363" y="5783"/>
                </a:lnTo>
                <a:lnTo>
                  <a:pt x="355" y="5801"/>
                </a:lnTo>
                <a:lnTo>
                  <a:pt x="348" y="5815"/>
                </a:lnTo>
                <a:lnTo>
                  <a:pt x="335" y="5834"/>
                </a:lnTo>
                <a:lnTo>
                  <a:pt x="331" y="5842"/>
                </a:lnTo>
                <a:lnTo>
                  <a:pt x="327" y="5849"/>
                </a:lnTo>
                <a:lnTo>
                  <a:pt x="324" y="5857"/>
                </a:lnTo>
                <a:lnTo>
                  <a:pt x="322" y="5867"/>
                </a:lnTo>
                <a:close/>
                <a:moveTo>
                  <a:pt x="390" y="969"/>
                </a:moveTo>
                <a:lnTo>
                  <a:pt x="390" y="969"/>
                </a:lnTo>
                <a:lnTo>
                  <a:pt x="419" y="968"/>
                </a:lnTo>
                <a:lnTo>
                  <a:pt x="451" y="965"/>
                </a:lnTo>
                <a:lnTo>
                  <a:pt x="483" y="962"/>
                </a:lnTo>
                <a:lnTo>
                  <a:pt x="513" y="958"/>
                </a:lnTo>
                <a:lnTo>
                  <a:pt x="563" y="952"/>
                </a:lnTo>
                <a:lnTo>
                  <a:pt x="583" y="948"/>
                </a:lnTo>
                <a:lnTo>
                  <a:pt x="580" y="644"/>
                </a:lnTo>
                <a:lnTo>
                  <a:pt x="580" y="644"/>
                </a:lnTo>
                <a:lnTo>
                  <a:pt x="531" y="637"/>
                </a:lnTo>
                <a:lnTo>
                  <a:pt x="429" y="621"/>
                </a:lnTo>
                <a:lnTo>
                  <a:pt x="429" y="621"/>
                </a:lnTo>
                <a:lnTo>
                  <a:pt x="416" y="620"/>
                </a:lnTo>
                <a:lnTo>
                  <a:pt x="404" y="619"/>
                </a:lnTo>
                <a:lnTo>
                  <a:pt x="392" y="619"/>
                </a:lnTo>
                <a:lnTo>
                  <a:pt x="381" y="620"/>
                </a:lnTo>
                <a:lnTo>
                  <a:pt x="371" y="622"/>
                </a:lnTo>
                <a:lnTo>
                  <a:pt x="362" y="625"/>
                </a:lnTo>
                <a:lnTo>
                  <a:pt x="353" y="628"/>
                </a:lnTo>
                <a:lnTo>
                  <a:pt x="346" y="632"/>
                </a:lnTo>
                <a:lnTo>
                  <a:pt x="338" y="636"/>
                </a:lnTo>
                <a:lnTo>
                  <a:pt x="331" y="641"/>
                </a:lnTo>
                <a:lnTo>
                  <a:pt x="325" y="646"/>
                </a:lnTo>
                <a:lnTo>
                  <a:pt x="320" y="651"/>
                </a:lnTo>
                <a:lnTo>
                  <a:pt x="311" y="664"/>
                </a:lnTo>
                <a:lnTo>
                  <a:pt x="304" y="676"/>
                </a:lnTo>
                <a:lnTo>
                  <a:pt x="298" y="689"/>
                </a:lnTo>
                <a:lnTo>
                  <a:pt x="293" y="702"/>
                </a:lnTo>
                <a:lnTo>
                  <a:pt x="290" y="715"/>
                </a:lnTo>
                <a:lnTo>
                  <a:pt x="288" y="725"/>
                </a:lnTo>
                <a:lnTo>
                  <a:pt x="287" y="742"/>
                </a:lnTo>
                <a:lnTo>
                  <a:pt x="287" y="748"/>
                </a:lnTo>
                <a:lnTo>
                  <a:pt x="291" y="832"/>
                </a:lnTo>
                <a:lnTo>
                  <a:pt x="291" y="832"/>
                </a:lnTo>
                <a:lnTo>
                  <a:pt x="291" y="838"/>
                </a:lnTo>
                <a:lnTo>
                  <a:pt x="293" y="854"/>
                </a:lnTo>
                <a:lnTo>
                  <a:pt x="298" y="875"/>
                </a:lnTo>
                <a:lnTo>
                  <a:pt x="302" y="887"/>
                </a:lnTo>
                <a:lnTo>
                  <a:pt x="306" y="901"/>
                </a:lnTo>
                <a:lnTo>
                  <a:pt x="311" y="913"/>
                </a:lnTo>
                <a:lnTo>
                  <a:pt x="318" y="925"/>
                </a:lnTo>
                <a:lnTo>
                  <a:pt x="326" y="938"/>
                </a:lnTo>
                <a:lnTo>
                  <a:pt x="335" y="948"/>
                </a:lnTo>
                <a:lnTo>
                  <a:pt x="340" y="952"/>
                </a:lnTo>
                <a:lnTo>
                  <a:pt x="347" y="956"/>
                </a:lnTo>
                <a:lnTo>
                  <a:pt x="353" y="960"/>
                </a:lnTo>
                <a:lnTo>
                  <a:pt x="359" y="963"/>
                </a:lnTo>
                <a:lnTo>
                  <a:pt x="366" y="965"/>
                </a:lnTo>
                <a:lnTo>
                  <a:pt x="373" y="967"/>
                </a:lnTo>
                <a:lnTo>
                  <a:pt x="381" y="968"/>
                </a:lnTo>
                <a:lnTo>
                  <a:pt x="390" y="969"/>
                </a:lnTo>
                <a:close/>
                <a:moveTo>
                  <a:pt x="1101" y="856"/>
                </a:moveTo>
                <a:lnTo>
                  <a:pt x="1101" y="856"/>
                </a:lnTo>
                <a:lnTo>
                  <a:pt x="1103" y="835"/>
                </a:lnTo>
                <a:lnTo>
                  <a:pt x="1103" y="813"/>
                </a:lnTo>
                <a:lnTo>
                  <a:pt x="1103" y="770"/>
                </a:lnTo>
                <a:lnTo>
                  <a:pt x="1103" y="770"/>
                </a:lnTo>
                <a:lnTo>
                  <a:pt x="1102" y="609"/>
                </a:lnTo>
                <a:lnTo>
                  <a:pt x="1102" y="609"/>
                </a:lnTo>
                <a:lnTo>
                  <a:pt x="1102" y="599"/>
                </a:lnTo>
                <a:lnTo>
                  <a:pt x="1101" y="589"/>
                </a:lnTo>
                <a:lnTo>
                  <a:pt x="1100" y="578"/>
                </a:lnTo>
                <a:lnTo>
                  <a:pt x="1097" y="565"/>
                </a:lnTo>
                <a:lnTo>
                  <a:pt x="1094" y="555"/>
                </a:lnTo>
                <a:lnTo>
                  <a:pt x="1092" y="551"/>
                </a:lnTo>
                <a:lnTo>
                  <a:pt x="1089" y="548"/>
                </a:lnTo>
                <a:lnTo>
                  <a:pt x="1086" y="546"/>
                </a:lnTo>
                <a:lnTo>
                  <a:pt x="1082" y="545"/>
                </a:lnTo>
                <a:lnTo>
                  <a:pt x="1082" y="545"/>
                </a:lnTo>
                <a:lnTo>
                  <a:pt x="1049" y="545"/>
                </a:lnTo>
                <a:lnTo>
                  <a:pt x="1031" y="546"/>
                </a:lnTo>
                <a:lnTo>
                  <a:pt x="1020" y="547"/>
                </a:lnTo>
                <a:lnTo>
                  <a:pt x="1020" y="547"/>
                </a:lnTo>
                <a:lnTo>
                  <a:pt x="1017" y="552"/>
                </a:lnTo>
                <a:lnTo>
                  <a:pt x="1015" y="559"/>
                </a:lnTo>
                <a:lnTo>
                  <a:pt x="1009" y="578"/>
                </a:lnTo>
                <a:lnTo>
                  <a:pt x="1003" y="597"/>
                </a:lnTo>
                <a:lnTo>
                  <a:pt x="1000" y="604"/>
                </a:lnTo>
                <a:lnTo>
                  <a:pt x="998" y="609"/>
                </a:lnTo>
                <a:lnTo>
                  <a:pt x="978" y="547"/>
                </a:lnTo>
                <a:lnTo>
                  <a:pt x="978" y="547"/>
                </a:lnTo>
                <a:lnTo>
                  <a:pt x="962" y="546"/>
                </a:lnTo>
                <a:lnTo>
                  <a:pt x="939" y="546"/>
                </a:lnTo>
                <a:lnTo>
                  <a:pt x="914" y="547"/>
                </a:lnTo>
                <a:lnTo>
                  <a:pt x="900" y="549"/>
                </a:lnTo>
                <a:lnTo>
                  <a:pt x="900" y="549"/>
                </a:lnTo>
                <a:lnTo>
                  <a:pt x="895" y="561"/>
                </a:lnTo>
                <a:lnTo>
                  <a:pt x="889" y="579"/>
                </a:lnTo>
                <a:lnTo>
                  <a:pt x="882" y="597"/>
                </a:lnTo>
                <a:lnTo>
                  <a:pt x="877" y="609"/>
                </a:lnTo>
                <a:lnTo>
                  <a:pt x="858" y="550"/>
                </a:lnTo>
                <a:lnTo>
                  <a:pt x="858" y="550"/>
                </a:lnTo>
                <a:lnTo>
                  <a:pt x="845" y="549"/>
                </a:lnTo>
                <a:lnTo>
                  <a:pt x="821" y="549"/>
                </a:lnTo>
                <a:lnTo>
                  <a:pt x="797" y="550"/>
                </a:lnTo>
                <a:lnTo>
                  <a:pt x="788" y="551"/>
                </a:lnTo>
                <a:lnTo>
                  <a:pt x="784" y="551"/>
                </a:lnTo>
                <a:lnTo>
                  <a:pt x="784" y="551"/>
                </a:lnTo>
                <a:lnTo>
                  <a:pt x="780" y="556"/>
                </a:lnTo>
                <a:lnTo>
                  <a:pt x="777" y="563"/>
                </a:lnTo>
                <a:lnTo>
                  <a:pt x="770" y="581"/>
                </a:lnTo>
                <a:lnTo>
                  <a:pt x="763" y="598"/>
                </a:lnTo>
                <a:lnTo>
                  <a:pt x="758" y="609"/>
                </a:lnTo>
                <a:lnTo>
                  <a:pt x="739" y="551"/>
                </a:lnTo>
                <a:lnTo>
                  <a:pt x="739" y="551"/>
                </a:lnTo>
                <a:lnTo>
                  <a:pt x="722" y="551"/>
                </a:lnTo>
                <a:lnTo>
                  <a:pt x="691" y="551"/>
                </a:lnTo>
                <a:lnTo>
                  <a:pt x="691" y="551"/>
                </a:lnTo>
                <a:lnTo>
                  <a:pt x="686" y="552"/>
                </a:lnTo>
                <a:lnTo>
                  <a:pt x="682" y="553"/>
                </a:lnTo>
                <a:lnTo>
                  <a:pt x="678" y="555"/>
                </a:lnTo>
                <a:lnTo>
                  <a:pt x="674" y="557"/>
                </a:lnTo>
                <a:lnTo>
                  <a:pt x="668" y="564"/>
                </a:lnTo>
                <a:lnTo>
                  <a:pt x="663" y="573"/>
                </a:lnTo>
                <a:lnTo>
                  <a:pt x="658" y="581"/>
                </a:lnTo>
                <a:lnTo>
                  <a:pt x="655" y="591"/>
                </a:lnTo>
                <a:lnTo>
                  <a:pt x="654" y="600"/>
                </a:lnTo>
                <a:lnTo>
                  <a:pt x="653" y="608"/>
                </a:lnTo>
                <a:lnTo>
                  <a:pt x="653" y="608"/>
                </a:lnTo>
                <a:lnTo>
                  <a:pt x="654" y="686"/>
                </a:lnTo>
                <a:lnTo>
                  <a:pt x="655" y="765"/>
                </a:lnTo>
                <a:lnTo>
                  <a:pt x="655" y="765"/>
                </a:lnTo>
                <a:lnTo>
                  <a:pt x="658" y="869"/>
                </a:lnTo>
                <a:lnTo>
                  <a:pt x="661" y="947"/>
                </a:lnTo>
                <a:lnTo>
                  <a:pt x="661" y="947"/>
                </a:lnTo>
                <a:lnTo>
                  <a:pt x="680" y="946"/>
                </a:lnTo>
                <a:lnTo>
                  <a:pt x="690" y="944"/>
                </a:lnTo>
                <a:lnTo>
                  <a:pt x="698" y="943"/>
                </a:lnTo>
                <a:lnTo>
                  <a:pt x="707" y="941"/>
                </a:lnTo>
                <a:lnTo>
                  <a:pt x="715" y="938"/>
                </a:lnTo>
                <a:lnTo>
                  <a:pt x="721" y="933"/>
                </a:lnTo>
                <a:lnTo>
                  <a:pt x="727" y="929"/>
                </a:lnTo>
                <a:lnTo>
                  <a:pt x="727" y="929"/>
                </a:lnTo>
                <a:lnTo>
                  <a:pt x="732" y="924"/>
                </a:lnTo>
                <a:lnTo>
                  <a:pt x="736" y="919"/>
                </a:lnTo>
                <a:lnTo>
                  <a:pt x="743" y="908"/>
                </a:lnTo>
                <a:lnTo>
                  <a:pt x="748" y="897"/>
                </a:lnTo>
                <a:lnTo>
                  <a:pt x="753" y="886"/>
                </a:lnTo>
                <a:lnTo>
                  <a:pt x="756" y="876"/>
                </a:lnTo>
                <a:lnTo>
                  <a:pt x="757" y="869"/>
                </a:lnTo>
                <a:lnTo>
                  <a:pt x="758" y="862"/>
                </a:lnTo>
                <a:lnTo>
                  <a:pt x="758" y="862"/>
                </a:lnTo>
                <a:lnTo>
                  <a:pt x="758" y="882"/>
                </a:lnTo>
                <a:lnTo>
                  <a:pt x="758" y="912"/>
                </a:lnTo>
                <a:lnTo>
                  <a:pt x="759" y="942"/>
                </a:lnTo>
                <a:lnTo>
                  <a:pt x="761" y="965"/>
                </a:lnTo>
                <a:lnTo>
                  <a:pt x="761" y="965"/>
                </a:lnTo>
                <a:lnTo>
                  <a:pt x="761" y="966"/>
                </a:lnTo>
                <a:lnTo>
                  <a:pt x="763" y="967"/>
                </a:lnTo>
                <a:lnTo>
                  <a:pt x="769" y="969"/>
                </a:lnTo>
                <a:lnTo>
                  <a:pt x="778" y="970"/>
                </a:lnTo>
                <a:lnTo>
                  <a:pt x="789" y="970"/>
                </a:lnTo>
                <a:lnTo>
                  <a:pt x="803" y="968"/>
                </a:lnTo>
                <a:lnTo>
                  <a:pt x="816" y="963"/>
                </a:lnTo>
                <a:lnTo>
                  <a:pt x="822" y="960"/>
                </a:lnTo>
                <a:lnTo>
                  <a:pt x="829" y="957"/>
                </a:lnTo>
                <a:lnTo>
                  <a:pt x="835" y="952"/>
                </a:lnTo>
                <a:lnTo>
                  <a:pt x="842" y="947"/>
                </a:lnTo>
                <a:lnTo>
                  <a:pt x="842" y="947"/>
                </a:lnTo>
                <a:lnTo>
                  <a:pt x="850" y="937"/>
                </a:lnTo>
                <a:lnTo>
                  <a:pt x="857" y="925"/>
                </a:lnTo>
                <a:lnTo>
                  <a:pt x="862" y="913"/>
                </a:lnTo>
                <a:lnTo>
                  <a:pt x="866" y="901"/>
                </a:lnTo>
                <a:lnTo>
                  <a:pt x="873" y="878"/>
                </a:lnTo>
                <a:lnTo>
                  <a:pt x="877" y="862"/>
                </a:lnTo>
                <a:lnTo>
                  <a:pt x="877" y="862"/>
                </a:lnTo>
                <a:lnTo>
                  <a:pt x="877" y="893"/>
                </a:lnTo>
                <a:lnTo>
                  <a:pt x="878" y="926"/>
                </a:lnTo>
                <a:lnTo>
                  <a:pt x="880" y="953"/>
                </a:lnTo>
                <a:lnTo>
                  <a:pt x="881" y="962"/>
                </a:lnTo>
                <a:lnTo>
                  <a:pt x="882" y="964"/>
                </a:lnTo>
                <a:lnTo>
                  <a:pt x="883" y="965"/>
                </a:lnTo>
                <a:lnTo>
                  <a:pt x="883" y="965"/>
                </a:lnTo>
                <a:lnTo>
                  <a:pt x="890" y="966"/>
                </a:lnTo>
                <a:lnTo>
                  <a:pt x="898" y="966"/>
                </a:lnTo>
                <a:lnTo>
                  <a:pt x="908" y="965"/>
                </a:lnTo>
                <a:lnTo>
                  <a:pt x="919" y="963"/>
                </a:lnTo>
                <a:lnTo>
                  <a:pt x="930" y="960"/>
                </a:lnTo>
                <a:lnTo>
                  <a:pt x="942" y="956"/>
                </a:lnTo>
                <a:lnTo>
                  <a:pt x="953" y="950"/>
                </a:lnTo>
                <a:lnTo>
                  <a:pt x="958" y="946"/>
                </a:lnTo>
                <a:lnTo>
                  <a:pt x="962" y="942"/>
                </a:lnTo>
                <a:lnTo>
                  <a:pt x="962" y="942"/>
                </a:lnTo>
                <a:lnTo>
                  <a:pt x="970" y="932"/>
                </a:lnTo>
                <a:lnTo>
                  <a:pt x="978" y="922"/>
                </a:lnTo>
                <a:lnTo>
                  <a:pt x="984" y="912"/>
                </a:lnTo>
                <a:lnTo>
                  <a:pt x="989" y="901"/>
                </a:lnTo>
                <a:lnTo>
                  <a:pt x="992" y="890"/>
                </a:lnTo>
                <a:lnTo>
                  <a:pt x="995" y="879"/>
                </a:lnTo>
                <a:lnTo>
                  <a:pt x="998" y="862"/>
                </a:lnTo>
                <a:lnTo>
                  <a:pt x="998" y="862"/>
                </a:lnTo>
                <a:lnTo>
                  <a:pt x="998" y="891"/>
                </a:lnTo>
                <a:lnTo>
                  <a:pt x="999" y="915"/>
                </a:lnTo>
                <a:lnTo>
                  <a:pt x="1001" y="936"/>
                </a:lnTo>
                <a:lnTo>
                  <a:pt x="1001" y="936"/>
                </a:lnTo>
                <a:lnTo>
                  <a:pt x="1015" y="935"/>
                </a:lnTo>
                <a:lnTo>
                  <a:pt x="1024" y="933"/>
                </a:lnTo>
                <a:lnTo>
                  <a:pt x="1032" y="931"/>
                </a:lnTo>
                <a:lnTo>
                  <a:pt x="1032" y="931"/>
                </a:lnTo>
                <a:lnTo>
                  <a:pt x="1046" y="925"/>
                </a:lnTo>
                <a:lnTo>
                  <a:pt x="1057" y="920"/>
                </a:lnTo>
                <a:lnTo>
                  <a:pt x="1068" y="913"/>
                </a:lnTo>
                <a:lnTo>
                  <a:pt x="1068" y="913"/>
                </a:lnTo>
                <a:lnTo>
                  <a:pt x="1078" y="905"/>
                </a:lnTo>
                <a:lnTo>
                  <a:pt x="1083" y="900"/>
                </a:lnTo>
                <a:lnTo>
                  <a:pt x="1088" y="894"/>
                </a:lnTo>
                <a:lnTo>
                  <a:pt x="1092" y="887"/>
                </a:lnTo>
                <a:lnTo>
                  <a:pt x="1096" y="878"/>
                </a:lnTo>
                <a:lnTo>
                  <a:pt x="1099" y="868"/>
                </a:lnTo>
                <a:lnTo>
                  <a:pt x="1101" y="856"/>
                </a:lnTo>
                <a:close/>
                <a:moveTo>
                  <a:pt x="1266" y="1010"/>
                </a:moveTo>
                <a:lnTo>
                  <a:pt x="1266" y="916"/>
                </a:lnTo>
                <a:lnTo>
                  <a:pt x="1266" y="916"/>
                </a:lnTo>
                <a:lnTo>
                  <a:pt x="1261" y="910"/>
                </a:lnTo>
                <a:lnTo>
                  <a:pt x="1255" y="902"/>
                </a:lnTo>
                <a:lnTo>
                  <a:pt x="1247" y="891"/>
                </a:lnTo>
                <a:lnTo>
                  <a:pt x="1240" y="875"/>
                </a:lnTo>
                <a:lnTo>
                  <a:pt x="1237" y="866"/>
                </a:lnTo>
                <a:lnTo>
                  <a:pt x="1234" y="856"/>
                </a:lnTo>
                <a:lnTo>
                  <a:pt x="1232" y="845"/>
                </a:lnTo>
                <a:lnTo>
                  <a:pt x="1229" y="831"/>
                </a:lnTo>
                <a:lnTo>
                  <a:pt x="1228" y="818"/>
                </a:lnTo>
                <a:lnTo>
                  <a:pt x="1227" y="803"/>
                </a:lnTo>
                <a:lnTo>
                  <a:pt x="1227" y="803"/>
                </a:lnTo>
                <a:lnTo>
                  <a:pt x="1227" y="792"/>
                </a:lnTo>
                <a:lnTo>
                  <a:pt x="1228" y="782"/>
                </a:lnTo>
                <a:lnTo>
                  <a:pt x="1229" y="772"/>
                </a:lnTo>
                <a:lnTo>
                  <a:pt x="1232" y="762"/>
                </a:lnTo>
                <a:lnTo>
                  <a:pt x="1238" y="743"/>
                </a:lnTo>
                <a:lnTo>
                  <a:pt x="1244" y="727"/>
                </a:lnTo>
                <a:lnTo>
                  <a:pt x="1252" y="714"/>
                </a:lnTo>
                <a:lnTo>
                  <a:pt x="1258" y="702"/>
                </a:lnTo>
                <a:lnTo>
                  <a:pt x="1264" y="693"/>
                </a:lnTo>
                <a:lnTo>
                  <a:pt x="1263" y="603"/>
                </a:lnTo>
                <a:lnTo>
                  <a:pt x="1263" y="603"/>
                </a:lnTo>
                <a:lnTo>
                  <a:pt x="1254" y="596"/>
                </a:lnTo>
                <a:lnTo>
                  <a:pt x="1230" y="581"/>
                </a:lnTo>
                <a:lnTo>
                  <a:pt x="1216" y="573"/>
                </a:lnTo>
                <a:lnTo>
                  <a:pt x="1201" y="565"/>
                </a:lnTo>
                <a:lnTo>
                  <a:pt x="1194" y="562"/>
                </a:lnTo>
                <a:lnTo>
                  <a:pt x="1188" y="561"/>
                </a:lnTo>
                <a:lnTo>
                  <a:pt x="1182" y="560"/>
                </a:lnTo>
                <a:lnTo>
                  <a:pt x="1176" y="560"/>
                </a:lnTo>
                <a:lnTo>
                  <a:pt x="1177" y="887"/>
                </a:lnTo>
                <a:lnTo>
                  <a:pt x="1177" y="887"/>
                </a:lnTo>
                <a:lnTo>
                  <a:pt x="1177" y="899"/>
                </a:lnTo>
                <a:lnTo>
                  <a:pt x="1174" y="909"/>
                </a:lnTo>
                <a:lnTo>
                  <a:pt x="1170" y="920"/>
                </a:lnTo>
                <a:lnTo>
                  <a:pt x="1164" y="930"/>
                </a:lnTo>
                <a:lnTo>
                  <a:pt x="1156" y="942"/>
                </a:lnTo>
                <a:lnTo>
                  <a:pt x="1148" y="952"/>
                </a:lnTo>
                <a:lnTo>
                  <a:pt x="1138" y="962"/>
                </a:lnTo>
                <a:lnTo>
                  <a:pt x="1128" y="971"/>
                </a:lnTo>
                <a:lnTo>
                  <a:pt x="1117" y="981"/>
                </a:lnTo>
                <a:lnTo>
                  <a:pt x="1104" y="989"/>
                </a:lnTo>
                <a:lnTo>
                  <a:pt x="1092" y="997"/>
                </a:lnTo>
                <a:lnTo>
                  <a:pt x="1079" y="1003"/>
                </a:lnTo>
                <a:lnTo>
                  <a:pt x="1065" y="1009"/>
                </a:lnTo>
                <a:lnTo>
                  <a:pt x="1052" y="1014"/>
                </a:lnTo>
                <a:lnTo>
                  <a:pt x="1039" y="1018"/>
                </a:lnTo>
                <a:lnTo>
                  <a:pt x="1026" y="1021"/>
                </a:lnTo>
                <a:lnTo>
                  <a:pt x="1026" y="1021"/>
                </a:lnTo>
                <a:lnTo>
                  <a:pt x="996" y="1027"/>
                </a:lnTo>
                <a:lnTo>
                  <a:pt x="967" y="1031"/>
                </a:lnTo>
                <a:lnTo>
                  <a:pt x="939" y="1034"/>
                </a:lnTo>
                <a:lnTo>
                  <a:pt x="911" y="1037"/>
                </a:lnTo>
                <a:lnTo>
                  <a:pt x="858" y="1040"/>
                </a:lnTo>
                <a:lnTo>
                  <a:pt x="810" y="1042"/>
                </a:lnTo>
                <a:lnTo>
                  <a:pt x="770" y="1042"/>
                </a:lnTo>
                <a:lnTo>
                  <a:pt x="739" y="1042"/>
                </a:lnTo>
                <a:lnTo>
                  <a:pt x="712" y="1041"/>
                </a:lnTo>
                <a:lnTo>
                  <a:pt x="712" y="1041"/>
                </a:lnTo>
                <a:lnTo>
                  <a:pt x="713" y="1048"/>
                </a:lnTo>
                <a:lnTo>
                  <a:pt x="716" y="1068"/>
                </a:lnTo>
                <a:lnTo>
                  <a:pt x="722" y="1095"/>
                </a:lnTo>
                <a:lnTo>
                  <a:pt x="725" y="1110"/>
                </a:lnTo>
                <a:lnTo>
                  <a:pt x="730" y="1126"/>
                </a:lnTo>
                <a:lnTo>
                  <a:pt x="730" y="1126"/>
                </a:lnTo>
                <a:lnTo>
                  <a:pt x="735" y="1136"/>
                </a:lnTo>
                <a:lnTo>
                  <a:pt x="741" y="1146"/>
                </a:lnTo>
                <a:lnTo>
                  <a:pt x="748" y="1155"/>
                </a:lnTo>
                <a:lnTo>
                  <a:pt x="756" y="1164"/>
                </a:lnTo>
                <a:lnTo>
                  <a:pt x="769" y="1176"/>
                </a:lnTo>
                <a:lnTo>
                  <a:pt x="774" y="1180"/>
                </a:lnTo>
                <a:lnTo>
                  <a:pt x="1163" y="1180"/>
                </a:lnTo>
                <a:lnTo>
                  <a:pt x="1266" y="1010"/>
                </a:lnTo>
                <a:close/>
                <a:moveTo>
                  <a:pt x="773" y="1398"/>
                </a:moveTo>
                <a:lnTo>
                  <a:pt x="1164" y="1398"/>
                </a:lnTo>
                <a:lnTo>
                  <a:pt x="1164" y="1398"/>
                </a:lnTo>
                <a:lnTo>
                  <a:pt x="1175" y="1365"/>
                </a:lnTo>
                <a:lnTo>
                  <a:pt x="1183" y="1339"/>
                </a:lnTo>
                <a:lnTo>
                  <a:pt x="1186" y="1328"/>
                </a:lnTo>
                <a:lnTo>
                  <a:pt x="1188" y="1319"/>
                </a:lnTo>
                <a:lnTo>
                  <a:pt x="1170" y="1256"/>
                </a:lnTo>
                <a:lnTo>
                  <a:pt x="775" y="1256"/>
                </a:lnTo>
                <a:lnTo>
                  <a:pt x="753" y="1321"/>
                </a:lnTo>
                <a:lnTo>
                  <a:pt x="773" y="1398"/>
                </a:lnTo>
                <a:close/>
                <a:moveTo>
                  <a:pt x="1164" y="1471"/>
                </a:moveTo>
                <a:lnTo>
                  <a:pt x="782" y="1471"/>
                </a:lnTo>
                <a:lnTo>
                  <a:pt x="780" y="1976"/>
                </a:lnTo>
                <a:lnTo>
                  <a:pt x="1111" y="1985"/>
                </a:lnTo>
                <a:lnTo>
                  <a:pt x="1216" y="1902"/>
                </a:lnTo>
                <a:lnTo>
                  <a:pt x="1164" y="1471"/>
                </a:lnTo>
                <a:close/>
                <a:moveTo>
                  <a:pt x="1343" y="2103"/>
                </a:moveTo>
                <a:lnTo>
                  <a:pt x="1343" y="2103"/>
                </a:lnTo>
                <a:lnTo>
                  <a:pt x="1309" y="2079"/>
                </a:lnTo>
                <a:lnTo>
                  <a:pt x="1284" y="2061"/>
                </a:lnTo>
                <a:lnTo>
                  <a:pt x="1276" y="2054"/>
                </a:lnTo>
                <a:lnTo>
                  <a:pt x="1271" y="2049"/>
                </a:lnTo>
                <a:lnTo>
                  <a:pt x="1271" y="2049"/>
                </a:lnTo>
                <a:lnTo>
                  <a:pt x="1269" y="2043"/>
                </a:lnTo>
                <a:lnTo>
                  <a:pt x="1267" y="2033"/>
                </a:lnTo>
                <a:lnTo>
                  <a:pt x="1263" y="2004"/>
                </a:lnTo>
                <a:lnTo>
                  <a:pt x="1260" y="1964"/>
                </a:lnTo>
                <a:lnTo>
                  <a:pt x="1138" y="2062"/>
                </a:lnTo>
                <a:lnTo>
                  <a:pt x="765" y="2061"/>
                </a:lnTo>
                <a:lnTo>
                  <a:pt x="765" y="2061"/>
                </a:lnTo>
                <a:lnTo>
                  <a:pt x="765" y="2062"/>
                </a:lnTo>
                <a:lnTo>
                  <a:pt x="764" y="2064"/>
                </a:lnTo>
                <a:lnTo>
                  <a:pt x="762" y="2072"/>
                </a:lnTo>
                <a:lnTo>
                  <a:pt x="760" y="2103"/>
                </a:lnTo>
                <a:lnTo>
                  <a:pt x="759" y="2147"/>
                </a:lnTo>
                <a:lnTo>
                  <a:pt x="758" y="2197"/>
                </a:lnTo>
                <a:lnTo>
                  <a:pt x="757" y="2291"/>
                </a:lnTo>
                <a:lnTo>
                  <a:pt x="757" y="2333"/>
                </a:lnTo>
                <a:lnTo>
                  <a:pt x="757" y="2333"/>
                </a:lnTo>
                <a:lnTo>
                  <a:pt x="786" y="2359"/>
                </a:lnTo>
                <a:lnTo>
                  <a:pt x="852" y="2412"/>
                </a:lnTo>
                <a:lnTo>
                  <a:pt x="888" y="2441"/>
                </a:lnTo>
                <a:lnTo>
                  <a:pt x="919" y="2465"/>
                </a:lnTo>
                <a:lnTo>
                  <a:pt x="943" y="2481"/>
                </a:lnTo>
                <a:lnTo>
                  <a:pt x="950" y="2486"/>
                </a:lnTo>
                <a:lnTo>
                  <a:pt x="952" y="2487"/>
                </a:lnTo>
                <a:lnTo>
                  <a:pt x="954" y="2487"/>
                </a:lnTo>
                <a:lnTo>
                  <a:pt x="1205" y="2170"/>
                </a:lnTo>
                <a:lnTo>
                  <a:pt x="1343" y="2103"/>
                </a:lnTo>
                <a:close/>
                <a:moveTo>
                  <a:pt x="1259" y="2225"/>
                </a:moveTo>
                <a:lnTo>
                  <a:pt x="1033" y="2515"/>
                </a:lnTo>
                <a:lnTo>
                  <a:pt x="1402" y="2669"/>
                </a:lnTo>
                <a:lnTo>
                  <a:pt x="1402" y="2669"/>
                </a:lnTo>
                <a:lnTo>
                  <a:pt x="1442" y="2647"/>
                </a:lnTo>
                <a:lnTo>
                  <a:pt x="1485" y="2624"/>
                </a:lnTo>
                <a:lnTo>
                  <a:pt x="1528" y="2599"/>
                </a:lnTo>
                <a:lnTo>
                  <a:pt x="1571" y="2573"/>
                </a:lnTo>
                <a:lnTo>
                  <a:pt x="1656" y="2521"/>
                </a:lnTo>
                <a:lnTo>
                  <a:pt x="1736" y="2471"/>
                </a:lnTo>
                <a:lnTo>
                  <a:pt x="1806" y="2426"/>
                </a:lnTo>
                <a:lnTo>
                  <a:pt x="1862" y="2389"/>
                </a:lnTo>
                <a:lnTo>
                  <a:pt x="1912" y="2356"/>
                </a:lnTo>
                <a:lnTo>
                  <a:pt x="1392" y="2160"/>
                </a:lnTo>
                <a:lnTo>
                  <a:pt x="1259" y="2225"/>
                </a:lnTo>
                <a:close/>
                <a:moveTo>
                  <a:pt x="1462" y="703"/>
                </a:moveTo>
                <a:lnTo>
                  <a:pt x="1462" y="703"/>
                </a:lnTo>
                <a:lnTo>
                  <a:pt x="1461" y="553"/>
                </a:lnTo>
                <a:lnTo>
                  <a:pt x="1461" y="448"/>
                </a:lnTo>
                <a:lnTo>
                  <a:pt x="1462" y="411"/>
                </a:lnTo>
                <a:lnTo>
                  <a:pt x="1463" y="399"/>
                </a:lnTo>
                <a:lnTo>
                  <a:pt x="1464" y="394"/>
                </a:lnTo>
                <a:lnTo>
                  <a:pt x="1464" y="394"/>
                </a:lnTo>
                <a:lnTo>
                  <a:pt x="1469" y="386"/>
                </a:lnTo>
                <a:lnTo>
                  <a:pt x="1474" y="379"/>
                </a:lnTo>
                <a:lnTo>
                  <a:pt x="1480" y="368"/>
                </a:lnTo>
                <a:lnTo>
                  <a:pt x="1480" y="368"/>
                </a:lnTo>
                <a:lnTo>
                  <a:pt x="1483" y="360"/>
                </a:lnTo>
                <a:lnTo>
                  <a:pt x="1484" y="351"/>
                </a:lnTo>
                <a:lnTo>
                  <a:pt x="1484" y="343"/>
                </a:lnTo>
                <a:lnTo>
                  <a:pt x="1483" y="333"/>
                </a:lnTo>
                <a:lnTo>
                  <a:pt x="1481" y="320"/>
                </a:lnTo>
                <a:lnTo>
                  <a:pt x="1480" y="315"/>
                </a:lnTo>
                <a:lnTo>
                  <a:pt x="1298" y="315"/>
                </a:lnTo>
                <a:lnTo>
                  <a:pt x="1298" y="315"/>
                </a:lnTo>
                <a:lnTo>
                  <a:pt x="1297" y="319"/>
                </a:lnTo>
                <a:lnTo>
                  <a:pt x="1296" y="323"/>
                </a:lnTo>
                <a:lnTo>
                  <a:pt x="1296" y="335"/>
                </a:lnTo>
                <a:lnTo>
                  <a:pt x="1297" y="348"/>
                </a:lnTo>
                <a:lnTo>
                  <a:pt x="1299" y="358"/>
                </a:lnTo>
                <a:lnTo>
                  <a:pt x="1299" y="358"/>
                </a:lnTo>
                <a:lnTo>
                  <a:pt x="1303" y="369"/>
                </a:lnTo>
                <a:lnTo>
                  <a:pt x="1309" y="380"/>
                </a:lnTo>
                <a:lnTo>
                  <a:pt x="1316" y="391"/>
                </a:lnTo>
                <a:lnTo>
                  <a:pt x="1320" y="395"/>
                </a:lnTo>
                <a:lnTo>
                  <a:pt x="1325" y="398"/>
                </a:lnTo>
                <a:lnTo>
                  <a:pt x="1325" y="703"/>
                </a:lnTo>
                <a:lnTo>
                  <a:pt x="1325" y="703"/>
                </a:lnTo>
                <a:lnTo>
                  <a:pt x="1321" y="710"/>
                </a:lnTo>
                <a:lnTo>
                  <a:pt x="1316" y="717"/>
                </a:lnTo>
                <a:lnTo>
                  <a:pt x="1311" y="727"/>
                </a:lnTo>
                <a:lnTo>
                  <a:pt x="1306" y="741"/>
                </a:lnTo>
                <a:lnTo>
                  <a:pt x="1301" y="758"/>
                </a:lnTo>
                <a:lnTo>
                  <a:pt x="1296" y="778"/>
                </a:lnTo>
                <a:lnTo>
                  <a:pt x="1292" y="802"/>
                </a:lnTo>
                <a:lnTo>
                  <a:pt x="1292" y="802"/>
                </a:lnTo>
                <a:lnTo>
                  <a:pt x="1292" y="813"/>
                </a:lnTo>
                <a:lnTo>
                  <a:pt x="1292" y="823"/>
                </a:lnTo>
                <a:lnTo>
                  <a:pt x="1293" y="833"/>
                </a:lnTo>
                <a:lnTo>
                  <a:pt x="1296" y="844"/>
                </a:lnTo>
                <a:lnTo>
                  <a:pt x="1302" y="861"/>
                </a:lnTo>
                <a:lnTo>
                  <a:pt x="1308" y="877"/>
                </a:lnTo>
                <a:lnTo>
                  <a:pt x="1315" y="891"/>
                </a:lnTo>
                <a:lnTo>
                  <a:pt x="1321" y="900"/>
                </a:lnTo>
                <a:lnTo>
                  <a:pt x="1327" y="909"/>
                </a:lnTo>
                <a:lnTo>
                  <a:pt x="1323" y="1165"/>
                </a:lnTo>
                <a:lnTo>
                  <a:pt x="1323" y="1165"/>
                </a:lnTo>
                <a:lnTo>
                  <a:pt x="1321" y="1167"/>
                </a:lnTo>
                <a:lnTo>
                  <a:pt x="1315" y="1174"/>
                </a:lnTo>
                <a:lnTo>
                  <a:pt x="1312" y="1179"/>
                </a:lnTo>
                <a:lnTo>
                  <a:pt x="1310" y="1186"/>
                </a:lnTo>
                <a:lnTo>
                  <a:pt x="1307" y="1194"/>
                </a:lnTo>
                <a:lnTo>
                  <a:pt x="1306" y="1203"/>
                </a:lnTo>
                <a:lnTo>
                  <a:pt x="1306" y="1203"/>
                </a:lnTo>
                <a:lnTo>
                  <a:pt x="1306" y="1213"/>
                </a:lnTo>
                <a:lnTo>
                  <a:pt x="1306" y="1221"/>
                </a:lnTo>
                <a:lnTo>
                  <a:pt x="1307" y="1234"/>
                </a:lnTo>
                <a:lnTo>
                  <a:pt x="1309" y="1241"/>
                </a:lnTo>
                <a:lnTo>
                  <a:pt x="1310" y="1243"/>
                </a:lnTo>
                <a:lnTo>
                  <a:pt x="1480" y="1243"/>
                </a:lnTo>
                <a:lnTo>
                  <a:pt x="1480" y="1243"/>
                </a:lnTo>
                <a:lnTo>
                  <a:pt x="1482" y="1235"/>
                </a:lnTo>
                <a:lnTo>
                  <a:pt x="1483" y="1221"/>
                </a:lnTo>
                <a:lnTo>
                  <a:pt x="1482" y="1204"/>
                </a:lnTo>
                <a:lnTo>
                  <a:pt x="1482" y="1196"/>
                </a:lnTo>
                <a:lnTo>
                  <a:pt x="1480" y="1188"/>
                </a:lnTo>
                <a:lnTo>
                  <a:pt x="1480" y="1188"/>
                </a:lnTo>
                <a:lnTo>
                  <a:pt x="1477" y="1179"/>
                </a:lnTo>
                <a:lnTo>
                  <a:pt x="1471" y="1172"/>
                </a:lnTo>
                <a:lnTo>
                  <a:pt x="1466" y="1166"/>
                </a:lnTo>
                <a:lnTo>
                  <a:pt x="1461" y="1161"/>
                </a:lnTo>
                <a:lnTo>
                  <a:pt x="1460" y="909"/>
                </a:lnTo>
                <a:lnTo>
                  <a:pt x="1460" y="909"/>
                </a:lnTo>
                <a:lnTo>
                  <a:pt x="1473" y="888"/>
                </a:lnTo>
                <a:lnTo>
                  <a:pt x="1482" y="876"/>
                </a:lnTo>
                <a:lnTo>
                  <a:pt x="1488" y="865"/>
                </a:lnTo>
                <a:lnTo>
                  <a:pt x="1494" y="852"/>
                </a:lnTo>
                <a:lnTo>
                  <a:pt x="1499" y="837"/>
                </a:lnTo>
                <a:lnTo>
                  <a:pt x="1502" y="822"/>
                </a:lnTo>
                <a:lnTo>
                  <a:pt x="1503" y="814"/>
                </a:lnTo>
                <a:lnTo>
                  <a:pt x="1503" y="806"/>
                </a:lnTo>
                <a:lnTo>
                  <a:pt x="1503" y="806"/>
                </a:lnTo>
                <a:lnTo>
                  <a:pt x="1503" y="797"/>
                </a:lnTo>
                <a:lnTo>
                  <a:pt x="1502" y="788"/>
                </a:lnTo>
                <a:lnTo>
                  <a:pt x="1498" y="773"/>
                </a:lnTo>
                <a:lnTo>
                  <a:pt x="1493" y="758"/>
                </a:lnTo>
                <a:lnTo>
                  <a:pt x="1487" y="743"/>
                </a:lnTo>
                <a:lnTo>
                  <a:pt x="1481" y="731"/>
                </a:lnTo>
                <a:lnTo>
                  <a:pt x="1473" y="720"/>
                </a:lnTo>
                <a:lnTo>
                  <a:pt x="1462" y="703"/>
                </a:lnTo>
                <a:close/>
                <a:moveTo>
                  <a:pt x="1843" y="953"/>
                </a:moveTo>
                <a:lnTo>
                  <a:pt x="2130" y="663"/>
                </a:lnTo>
                <a:lnTo>
                  <a:pt x="2130" y="663"/>
                </a:lnTo>
                <a:lnTo>
                  <a:pt x="1946" y="660"/>
                </a:lnTo>
                <a:lnTo>
                  <a:pt x="1837" y="659"/>
                </a:lnTo>
                <a:lnTo>
                  <a:pt x="1715" y="658"/>
                </a:lnTo>
                <a:lnTo>
                  <a:pt x="1715" y="658"/>
                </a:lnTo>
                <a:lnTo>
                  <a:pt x="1708" y="657"/>
                </a:lnTo>
                <a:lnTo>
                  <a:pt x="1698" y="655"/>
                </a:lnTo>
                <a:lnTo>
                  <a:pt x="1687" y="651"/>
                </a:lnTo>
                <a:lnTo>
                  <a:pt x="1676" y="646"/>
                </a:lnTo>
                <a:lnTo>
                  <a:pt x="1650" y="634"/>
                </a:lnTo>
                <a:lnTo>
                  <a:pt x="1623" y="620"/>
                </a:lnTo>
                <a:lnTo>
                  <a:pt x="1597" y="606"/>
                </a:lnTo>
                <a:lnTo>
                  <a:pt x="1576" y="596"/>
                </a:lnTo>
                <a:lnTo>
                  <a:pt x="1566" y="592"/>
                </a:lnTo>
                <a:lnTo>
                  <a:pt x="1558" y="591"/>
                </a:lnTo>
                <a:lnTo>
                  <a:pt x="1553" y="590"/>
                </a:lnTo>
                <a:lnTo>
                  <a:pt x="1551" y="591"/>
                </a:lnTo>
                <a:lnTo>
                  <a:pt x="1550" y="592"/>
                </a:lnTo>
                <a:lnTo>
                  <a:pt x="1550" y="592"/>
                </a:lnTo>
                <a:lnTo>
                  <a:pt x="1535" y="628"/>
                </a:lnTo>
                <a:lnTo>
                  <a:pt x="1514" y="681"/>
                </a:lnTo>
                <a:lnTo>
                  <a:pt x="1514" y="681"/>
                </a:lnTo>
                <a:lnTo>
                  <a:pt x="1523" y="691"/>
                </a:lnTo>
                <a:lnTo>
                  <a:pt x="1532" y="703"/>
                </a:lnTo>
                <a:lnTo>
                  <a:pt x="1542" y="719"/>
                </a:lnTo>
                <a:lnTo>
                  <a:pt x="1551" y="737"/>
                </a:lnTo>
                <a:lnTo>
                  <a:pt x="1556" y="747"/>
                </a:lnTo>
                <a:lnTo>
                  <a:pt x="1560" y="759"/>
                </a:lnTo>
                <a:lnTo>
                  <a:pt x="1563" y="770"/>
                </a:lnTo>
                <a:lnTo>
                  <a:pt x="1565" y="781"/>
                </a:lnTo>
                <a:lnTo>
                  <a:pt x="1568" y="793"/>
                </a:lnTo>
                <a:lnTo>
                  <a:pt x="1568" y="806"/>
                </a:lnTo>
                <a:lnTo>
                  <a:pt x="1568" y="806"/>
                </a:lnTo>
                <a:lnTo>
                  <a:pt x="1566" y="825"/>
                </a:lnTo>
                <a:lnTo>
                  <a:pt x="1564" y="838"/>
                </a:lnTo>
                <a:lnTo>
                  <a:pt x="1561" y="855"/>
                </a:lnTo>
                <a:lnTo>
                  <a:pt x="1558" y="864"/>
                </a:lnTo>
                <a:lnTo>
                  <a:pt x="1555" y="873"/>
                </a:lnTo>
                <a:lnTo>
                  <a:pt x="1551" y="883"/>
                </a:lnTo>
                <a:lnTo>
                  <a:pt x="1545" y="894"/>
                </a:lnTo>
                <a:lnTo>
                  <a:pt x="1539" y="903"/>
                </a:lnTo>
                <a:lnTo>
                  <a:pt x="1532" y="914"/>
                </a:lnTo>
                <a:lnTo>
                  <a:pt x="1524" y="924"/>
                </a:lnTo>
                <a:lnTo>
                  <a:pt x="1513" y="935"/>
                </a:lnTo>
                <a:lnTo>
                  <a:pt x="1513" y="935"/>
                </a:lnTo>
                <a:lnTo>
                  <a:pt x="1536" y="981"/>
                </a:lnTo>
                <a:lnTo>
                  <a:pt x="1553" y="1013"/>
                </a:lnTo>
                <a:lnTo>
                  <a:pt x="1560" y="1025"/>
                </a:lnTo>
                <a:lnTo>
                  <a:pt x="1565" y="1032"/>
                </a:lnTo>
                <a:lnTo>
                  <a:pt x="1565" y="1032"/>
                </a:lnTo>
                <a:lnTo>
                  <a:pt x="1580" y="1023"/>
                </a:lnTo>
                <a:lnTo>
                  <a:pt x="1597" y="1013"/>
                </a:lnTo>
                <a:lnTo>
                  <a:pt x="1618" y="1002"/>
                </a:lnTo>
                <a:lnTo>
                  <a:pt x="1642" y="990"/>
                </a:lnTo>
                <a:lnTo>
                  <a:pt x="1669" y="978"/>
                </a:lnTo>
                <a:lnTo>
                  <a:pt x="1696" y="968"/>
                </a:lnTo>
                <a:lnTo>
                  <a:pt x="1711" y="964"/>
                </a:lnTo>
                <a:lnTo>
                  <a:pt x="1724" y="961"/>
                </a:lnTo>
                <a:lnTo>
                  <a:pt x="1724" y="961"/>
                </a:lnTo>
                <a:lnTo>
                  <a:pt x="1737" y="959"/>
                </a:lnTo>
                <a:lnTo>
                  <a:pt x="1761" y="957"/>
                </a:lnTo>
                <a:lnTo>
                  <a:pt x="1843" y="953"/>
                </a:lnTo>
                <a:close/>
                <a:moveTo>
                  <a:pt x="3120" y="962"/>
                </a:moveTo>
                <a:lnTo>
                  <a:pt x="3486" y="484"/>
                </a:lnTo>
                <a:lnTo>
                  <a:pt x="3486" y="484"/>
                </a:lnTo>
                <a:lnTo>
                  <a:pt x="3479" y="482"/>
                </a:lnTo>
                <a:lnTo>
                  <a:pt x="3469" y="481"/>
                </a:lnTo>
                <a:lnTo>
                  <a:pt x="3458" y="480"/>
                </a:lnTo>
                <a:lnTo>
                  <a:pt x="3445" y="480"/>
                </a:lnTo>
                <a:lnTo>
                  <a:pt x="3428" y="483"/>
                </a:lnTo>
                <a:lnTo>
                  <a:pt x="3420" y="485"/>
                </a:lnTo>
                <a:lnTo>
                  <a:pt x="3412" y="488"/>
                </a:lnTo>
                <a:lnTo>
                  <a:pt x="3403" y="492"/>
                </a:lnTo>
                <a:lnTo>
                  <a:pt x="3394" y="496"/>
                </a:lnTo>
                <a:lnTo>
                  <a:pt x="3394" y="496"/>
                </a:lnTo>
                <a:lnTo>
                  <a:pt x="3385" y="502"/>
                </a:lnTo>
                <a:lnTo>
                  <a:pt x="3376" y="508"/>
                </a:lnTo>
                <a:lnTo>
                  <a:pt x="3369" y="515"/>
                </a:lnTo>
                <a:lnTo>
                  <a:pt x="3363" y="523"/>
                </a:lnTo>
                <a:lnTo>
                  <a:pt x="3358" y="532"/>
                </a:lnTo>
                <a:lnTo>
                  <a:pt x="3353" y="540"/>
                </a:lnTo>
                <a:lnTo>
                  <a:pt x="3349" y="548"/>
                </a:lnTo>
                <a:lnTo>
                  <a:pt x="3346" y="557"/>
                </a:lnTo>
                <a:lnTo>
                  <a:pt x="3341" y="574"/>
                </a:lnTo>
                <a:lnTo>
                  <a:pt x="3337" y="589"/>
                </a:lnTo>
                <a:lnTo>
                  <a:pt x="3336" y="600"/>
                </a:lnTo>
                <a:lnTo>
                  <a:pt x="3337" y="605"/>
                </a:lnTo>
                <a:lnTo>
                  <a:pt x="3338" y="608"/>
                </a:lnTo>
                <a:lnTo>
                  <a:pt x="3338" y="608"/>
                </a:lnTo>
                <a:lnTo>
                  <a:pt x="3334" y="599"/>
                </a:lnTo>
                <a:lnTo>
                  <a:pt x="3330" y="592"/>
                </a:lnTo>
                <a:lnTo>
                  <a:pt x="3325" y="585"/>
                </a:lnTo>
                <a:lnTo>
                  <a:pt x="3320" y="579"/>
                </a:lnTo>
                <a:lnTo>
                  <a:pt x="3315" y="574"/>
                </a:lnTo>
                <a:lnTo>
                  <a:pt x="3310" y="568"/>
                </a:lnTo>
                <a:lnTo>
                  <a:pt x="3304" y="564"/>
                </a:lnTo>
                <a:lnTo>
                  <a:pt x="3299" y="561"/>
                </a:lnTo>
                <a:lnTo>
                  <a:pt x="3286" y="556"/>
                </a:lnTo>
                <a:lnTo>
                  <a:pt x="3273" y="554"/>
                </a:lnTo>
                <a:lnTo>
                  <a:pt x="3261" y="553"/>
                </a:lnTo>
                <a:lnTo>
                  <a:pt x="3249" y="554"/>
                </a:lnTo>
                <a:lnTo>
                  <a:pt x="3236" y="556"/>
                </a:lnTo>
                <a:lnTo>
                  <a:pt x="3225" y="558"/>
                </a:lnTo>
                <a:lnTo>
                  <a:pt x="3214" y="562"/>
                </a:lnTo>
                <a:lnTo>
                  <a:pt x="3206" y="565"/>
                </a:lnTo>
                <a:lnTo>
                  <a:pt x="3192" y="572"/>
                </a:lnTo>
                <a:lnTo>
                  <a:pt x="3187" y="574"/>
                </a:lnTo>
                <a:lnTo>
                  <a:pt x="3187" y="574"/>
                </a:lnTo>
                <a:lnTo>
                  <a:pt x="3199" y="594"/>
                </a:lnTo>
                <a:lnTo>
                  <a:pt x="3209" y="613"/>
                </a:lnTo>
                <a:lnTo>
                  <a:pt x="3215" y="632"/>
                </a:lnTo>
                <a:lnTo>
                  <a:pt x="3219" y="647"/>
                </a:lnTo>
                <a:lnTo>
                  <a:pt x="3220" y="663"/>
                </a:lnTo>
                <a:lnTo>
                  <a:pt x="3220" y="675"/>
                </a:lnTo>
                <a:lnTo>
                  <a:pt x="3218" y="687"/>
                </a:lnTo>
                <a:lnTo>
                  <a:pt x="3214" y="696"/>
                </a:lnTo>
                <a:lnTo>
                  <a:pt x="3209" y="705"/>
                </a:lnTo>
                <a:lnTo>
                  <a:pt x="3203" y="712"/>
                </a:lnTo>
                <a:lnTo>
                  <a:pt x="3194" y="718"/>
                </a:lnTo>
                <a:lnTo>
                  <a:pt x="3186" y="722"/>
                </a:lnTo>
                <a:lnTo>
                  <a:pt x="3178" y="724"/>
                </a:lnTo>
                <a:lnTo>
                  <a:pt x="3169" y="725"/>
                </a:lnTo>
                <a:lnTo>
                  <a:pt x="3160" y="725"/>
                </a:lnTo>
                <a:lnTo>
                  <a:pt x="3150" y="724"/>
                </a:lnTo>
                <a:lnTo>
                  <a:pt x="3150" y="724"/>
                </a:lnTo>
                <a:lnTo>
                  <a:pt x="3138" y="720"/>
                </a:lnTo>
                <a:lnTo>
                  <a:pt x="3129" y="715"/>
                </a:lnTo>
                <a:lnTo>
                  <a:pt x="3121" y="709"/>
                </a:lnTo>
                <a:lnTo>
                  <a:pt x="3114" y="702"/>
                </a:lnTo>
                <a:lnTo>
                  <a:pt x="3108" y="695"/>
                </a:lnTo>
                <a:lnTo>
                  <a:pt x="3104" y="688"/>
                </a:lnTo>
                <a:lnTo>
                  <a:pt x="3100" y="680"/>
                </a:lnTo>
                <a:lnTo>
                  <a:pt x="3098" y="673"/>
                </a:lnTo>
                <a:lnTo>
                  <a:pt x="3095" y="658"/>
                </a:lnTo>
                <a:lnTo>
                  <a:pt x="3095" y="646"/>
                </a:lnTo>
                <a:lnTo>
                  <a:pt x="3095" y="638"/>
                </a:lnTo>
                <a:lnTo>
                  <a:pt x="3095" y="635"/>
                </a:lnTo>
                <a:lnTo>
                  <a:pt x="3095" y="635"/>
                </a:lnTo>
                <a:lnTo>
                  <a:pt x="3092" y="637"/>
                </a:lnTo>
                <a:lnTo>
                  <a:pt x="3084" y="643"/>
                </a:lnTo>
                <a:lnTo>
                  <a:pt x="3072" y="650"/>
                </a:lnTo>
                <a:lnTo>
                  <a:pt x="3064" y="653"/>
                </a:lnTo>
                <a:lnTo>
                  <a:pt x="3056" y="656"/>
                </a:lnTo>
                <a:lnTo>
                  <a:pt x="3047" y="658"/>
                </a:lnTo>
                <a:lnTo>
                  <a:pt x="3038" y="659"/>
                </a:lnTo>
                <a:lnTo>
                  <a:pt x="3028" y="659"/>
                </a:lnTo>
                <a:lnTo>
                  <a:pt x="3018" y="658"/>
                </a:lnTo>
                <a:lnTo>
                  <a:pt x="3008" y="655"/>
                </a:lnTo>
                <a:lnTo>
                  <a:pt x="2999" y="650"/>
                </a:lnTo>
                <a:lnTo>
                  <a:pt x="2989" y="643"/>
                </a:lnTo>
                <a:lnTo>
                  <a:pt x="2980" y="634"/>
                </a:lnTo>
                <a:lnTo>
                  <a:pt x="2980" y="634"/>
                </a:lnTo>
                <a:lnTo>
                  <a:pt x="2973" y="625"/>
                </a:lnTo>
                <a:lnTo>
                  <a:pt x="2969" y="616"/>
                </a:lnTo>
                <a:lnTo>
                  <a:pt x="2967" y="607"/>
                </a:lnTo>
                <a:lnTo>
                  <a:pt x="2968" y="598"/>
                </a:lnTo>
                <a:lnTo>
                  <a:pt x="2969" y="589"/>
                </a:lnTo>
                <a:lnTo>
                  <a:pt x="2973" y="581"/>
                </a:lnTo>
                <a:lnTo>
                  <a:pt x="2980" y="572"/>
                </a:lnTo>
                <a:lnTo>
                  <a:pt x="2987" y="564"/>
                </a:lnTo>
                <a:lnTo>
                  <a:pt x="2996" y="557"/>
                </a:lnTo>
                <a:lnTo>
                  <a:pt x="3006" y="550"/>
                </a:lnTo>
                <a:lnTo>
                  <a:pt x="3019" y="544"/>
                </a:lnTo>
                <a:lnTo>
                  <a:pt x="3033" y="540"/>
                </a:lnTo>
                <a:lnTo>
                  <a:pt x="3048" y="536"/>
                </a:lnTo>
                <a:lnTo>
                  <a:pt x="3065" y="533"/>
                </a:lnTo>
                <a:lnTo>
                  <a:pt x="3083" y="532"/>
                </a:lnTo>
                <a:lnTo>
                  <a:pt x="3102" y="531"/>
                </a:lnTo>
                <a:lnTo>
                  <a:pt x="3102" y="531"/>
                </a:lnTo>
                <a:lnTo>
                  <a:pt x="3103" y="520"/>
                </a:lnTo>
                <a:lnTo>
                  <a:pt x="3102" y="509"/>
                </a:lnTo>
                <a:lnTo>
                  <a:pt x="3099" y="494"/>
                </a:lnTo>
                <a:lnTo>
                  <a:pt x="3096" y="486"/>
                </a:lnTo>
                <a:lnTo>
                  <a:pt x="3093" y="477"/>
                </a:lnTo>
                <a:lnTo>
                  <a:pt x="3089" y="469"/>
                </a:lnTo>
                <a:lnTo>
                  <a:pt x="3084" y="460"/>
                </a:lnTo>
                <a:lnTo>
                  <a:pt x="3078" y="451"/>
                </a:lnTo>
                <a:lnTo>
                  <a:pt x="3071" y="443"/>
                </a:lnTo>
                <a:lnTo>
                  <a:pt x="3061" y="435"/>
                </a:lnTo>
                <a:lnTo>
                  <a:pt x="3051" y="426"/>
                </a:lnTo>
                <a:lnTo>
                  <a:pt x="3051" y="426"/>
                </a:lnTo>
                <a:lnTo>
                  <a:pt x="3043" y="421"/>
                </a:lnTo>
                <a:lnTo>
                  <a:pt x="3034" y="417"/>
                </a:lnTo>
                <a:lnTo>
                  <a:pt x="3024" y="415"/>
                </a:lnTo>
                <a:lnTo>
                  <a:pt x="3014" y="413"/>
                </a:lnTo>
                <a:lnTo>
                  <a:pt x="3004" y="412"/>
                </a:lnTo>
                <a:lnTo>
                  <a:pt x="2995" y="412"/>
                </a:lnTo>
                <a:lnTo>
                  <a:pt x="2977" y="414"/>
                </a:lnTo>
                <a:lnTo>
                  <a:pt x="2960" y="418"/>
                </a:lnTo>
                <a:lnTo>
                  <a:pt x="2947" y="421"/>
                </a:lnTo>
                <a:lnTo>
                  <a:pt x="2936" y="425"/>
                </a:lnTo>
                <a:lnTo>
                  <a:pt x="2936" y="425"/>
                </a:lnTo>
                <a:lnTo>
                  <a:pt x="2943" y="421"/>
                </a:lnTo>
                <a:lnTo>
                  <a:pt x="2951" y="415"/>
                </a:lnTo>
                <a:lnTo>
                  <a:pt x="2960" y="408"/>
                </a:lnTo>
                <a:lnTo>
                  <a:pt x="2970" y="397"/>
                </a:lnTo>
                <a:lnTo>
                  <a:pt x="2980" y="384"/>
                </a:lnTo>
                <a:lnTo>
                  <a:pt x="2984" y="376"/>
                </a:lnTo>
                <a:lnTo>
                  <a:pt x="2988" y="369"/>
                </a:lnTo>
                <a:lnTo>
                  <a:pt x="2991" y="360"/>
                </a:lnTo>
                <a:lnTo>
                  <a:pt x="2993" y="351"/>
                </a:lnTo>
                <a:lnTo>
                  <a:pt x="2993" y="351"/>
                </a:lnTo>
                <a:lnTo>
                  <a:pt x="2995" y="336"/>
                </a:lnTo>
                <a:lnTo>
                  <a:pt x="2994" y="320"/>
                </a:lnTo>
                <a:lnTo>
                  <a:pt x="2992" y="303"/>
                </a:lnTo>
                <a:lnTo>
                  <a:pt x="2988" y="285"/>
                </a:lnTo>
                <a:lnTo>
                  <a:pt x="2981" y="267"/>
                </a:lnTo>
                <a:lnTo>
                  <a:pt x="2972" y="249"/>
                </a:lnTo>
                <a:lnTo>
                  <a:pt x="2961" y="232"/>
                </a:lnTo>
                <a:lnTo>
                  <a:pt x="2955" y="223"/>
                </a:lnTo>
                <a:lnTo>
                  <a:pt x="2948" y="216"/>
                </a:lnTo>
                <a:lnTo>
                  <a:pt x="2947" y="214"/>
                </a:lnTo>
                <a:lnTo>
                  <a:pt x="2944" y="214"/>
                </a:lnTo>
                <a:lnTo>
                  <a:pt x="2944" y="214"/>
                </a:lnTo>
                <a:lnTo>
                  <a:pt x="2934" y="214"/>
                </a:lnTo>
                <a:lnTo>
                  <a:pt x="2923" y="215"/>
                </a:lnTo>
                <a:lnTo>
                  <a:pt x="2903" y="219"/>
                </a:lnTo>
                <a:lnTo>
                  <a:pt x="2885" y="224"/>
                </a:lnTo>
                <a:lnTo>
                  <a:pt x="2866" y="232"/>
                </a:lnTo>
                <a:lnTo>
                  <a:pt x="2851" y="240"/>
                </a:lnTo>
                <a:lnTo>
                  <a:pt x="2836" y="250"/>
                </a:lnTo>
                <a:lnTo>
                  <a:pt x="2824" y="261"/>
                </a:lnTo>
                <a:lnTo>
                  <a:pt x="2814" y="272"/>
                </a:lnTo>
                <a:lnTo>
                  <a:pt x="2814" y="272"/>
                </a:lnTo>
                <a:lnTo>
                  <a:pt x="2809" y="280"/>
                </a:lnTo>
                <a:lnTo>
                  <a:pt x="2805" y="288"/>
                </a:lnTo>
                <a:lnTo>
                  <a:pt x="2802" y="297"/>
                </a:lnTo>
                <a:lnTo>
                  <a:pt x="2799" y="305"/>
                </a:lnTo>
                <a:lnTo>
                  <a:pt x="2796" y="320"/>
                </a:lnTo>
                <a:lnTo>
                  <a:pt x="2795" y="334"/>
                </a:lnTo>
                <a:lnTo>
                  <a:pt x="2795" y="347"/>
                </a:lnTo>
                <a:lnTo>
                  <a:pt x="2796" y="357"/>
                </a:lnTo>
                <a:lnTo>
                  <a:pt x="2798" y="365"/>
                </a:lnTo>
                <a:lnTo>
                  <a:pt x="2798" y="365"/>
                </a:lnTo>
                <a:lnTo>
                  <a:pt x="2792" y="354"/>
                </a:lnTo>
                <a:lnTo>
                  <a:pt x="2787" y="341"/>
                </a:lnTo>
                <a:lnTo>
                  <a:pt x="2778" y="327"/>
                </a:lnTo>
                <a:lnTo>
                  <a:pt x="2767" y="313"/>
                </a:lnTo>
                <a:lnTo>
                  <a:pt x="2761" y="306"/>
                </a:lnTo>
                <a:lnTo>
                  <a:pt x="2754" y="299"/>
                </a:lnTo>
                <a:lnTo>
                  <a:pt x="2746" y="292"/>
                </a:lnTo>
                <a:lnTo>
                  <a:pt x="2737" y="287"/>
                </a:lnTo>
                <a:lnTo>
                  <a:pt x="2729" y="283"/>
                </a:lnTo>
                <a:lnTo>
                  <a:pt x="2719" y="281"/>
                </a:lnTo>
                <a:lnTo>
                  <a:pt x="2719" y="281"/>
                </a:lnTo>
                <a:lnTo>
                  <a:pt x="2707" y="278"/>
                </a:lnTo>
                <a:lnTo>
                  <a:pt x="2694" y="278"/>
                </a:lnTo>
                <a:lnTo>
                  <a:pt x="2683" y="278"/>
                </a:lnTo>
                <a:lnTo>
                  <a:pt x="2672" y="279"/>
                </a:lnTo>
                <a:lnTo>
                  <a:pt x="2663" y="281"/>
                </a:lnTo>
                <a:lnTo>
                  <a:pt x="2653" y="284"/>
                </a:lnTo>
                <a:lnTo>
                  <a:pt x="2644" y="287"/>
                </a:lnTo>
                <a:lnTo>
                  <a:pt x="2637" y="291"/>
                </a:lnTo>
                <a:lnTo>
                  <a:pt x="2624" y="300"/>
                </a:lnTo>
                <a:lnTo>
                  <a:pt x="2615" y="307"/>
                </a:lnTo>
                <a:lnTo>
                  <a:pt x="2607" y="314"/>
                </a:lnTo>
                <a:lnTo>
                  <a:pt x="2607" y="314"/>
                </a:lnTo>
                <a:lnTo>
                  <a:pt x="2621" y="328"/>
                </a:lnTo>
                <a:lnTo>
                  <a:pt x="2632" y="343"/>
                </a:lnTo>
                <a:lnTo>
                  <a:pt x="2641" y="357"/>
                </a:lnTo>
                <a:lnTo>
                  <a:pt x="2648" y="371"/>
                </a:lnTo>
                <a:lnTo>
                  <a:pt x="2654" y="384"/>
                </a:lnTo>
                <a:lnTo>
                  <a:pt x="2659" y="398"/>
                </a:lnTo>
                <a:lnTo>
                  <a:pt x="2661" y="410"/>
                </a:lnTo>
                <a:lnTo>
                  <a:pt x="2662" y="421"/>
                </a:lnTo>
                <a:lnTo>
                  <a:pt x="2661" y="432"/>
                </a:lnTo>
                <a:lnTo>
                  <a:pt x="2659" y="442"/>
                </a:lnTo>
                <a:lnTo>
                  <a:pt x="2654" y="451"/>
                </a:lnTo>
                <a:lnTo>
                  <a:pt x="2649" y="458"/>
                </a:lnTo>
                <a:lnTo>
                  <a:pt x="2642" y="464"/>
                </a:lnTo>
                <a:lnTo>
                  <a:pt x="2635" y="469"/>
                </a:lnTo>
                <a:lnTo>
                  <a:pt x="2626" y="472"/>
                </a:lnTo>
                <a:lnTo>
                  <a:pt x="2616" y="473"/>
                </a:lnTo>
                <a:lnTo>
                  <a:pt x="2616" y="473"/>
                </a:lnTo>
                <a:lnTo>
                  <a:pt x="2601" y="473"/>
                </a:lnTo>
                <a:lnTo>
                  <a:pt x="2590" y="471"/>
                </a:lnTo>
                <a:lnTo>
                  <a:pt x="2580" y="467"/>
                </a:lnTo>
                <a:lnTo>
                  <a:pt x="2571" y="462"/>
                </a:lnTo>
                <a:lnTo>
                  <a:pt x="2562" y="456"/>
                </a:lnTo>
                <a:lnTo>
                  <a:pt x="2556" y="449"/>
                </a:lnTo>
                <a:lnTo>
                  <a:pt x="2551" y="441"/>
                </a:lnTo>
                <a:lnTo>
                  <a:pt x="2547" y="432"/>
                </a:lnTo>
                <a:lnTo>
                  <a:pt x="2543" y="424"/>
                </a:lnTo>
                <a:lnTo>
                  <a:pt x="2541" y="417"/>
                </a:lnTo>
                <a:lnTo>
                  <a:pt x="2538" y="403"/>
                </a:lnTo>
                <a:lnTo>
                  <a:pt x="2536" y="393"/>
                </a:lnTo>
                <a:lnTo>
                  <a:pt x="2536" y="390"/>
                </a:lnTo>
                <a:lnTo>
                  <a:pt x="2536" y="390"/>
                </a:lnTo>
                <a:lnTo>
                  <a:pt x="2534" y="392"/>
                </a:lnTo>
                <a:lnTo>
                  <a:pt x="2528" y="398"/>
                </a:lnTo>
                <a:lnTo>
                  <a:pt x="2518" y="405"/>
                </a:lnTo>
                <a:lnTo>
                  <a:pt x="2506" y="413"/>
                </a:lnTo>
                <a:lnTo>
                  <a:pt x="2499" y="416"/>
                </a:lnTo>
                <a:lnTo>
                  <a:pt x="2491" y="419"/>
                </a:lnTo>
                <a:lnTo>
                  <a:pt x="2483" y="420"/>
                </a:lnTo>
                <a:lnTo>
                  <a:pt x="2473" y="421"/>
                </a:lnTo>
                <a:lnTo>
                  <a:pt x="2464" y="421"/>
                </a:lnTo>
                <a:lnTo>
                  <a:pt x="2454" y="419"/>
                </a:lnTo>
                <a:lnTo>
                  <a:pt x="2444" y="415"/>
                </a:lnTo>
                <a:lnTo>
                  <a:pt x="2434" y="409"/>
                </a:lnTo>
                <a:lnTo>
                  <a:pt x="2434" y="409"/>
                </a:lnTo>
                <a:lnTo>
                  <a:pt x="2426" y="404"/>
                </a:lnTo>
                <a:lnTo>
                  <a:pt x="2419" y="397"/>
                </a:lnTo>
                <a:lnTo>
                  <a:pt x="2414" y="390"/>
                </a:lnTo>
                <a:lnTo>
                  <a:pt x="2410" y="381"/>
                </a:lnTo>
                <a:lnTo>
                  <a:pt x="2408" y="372"/>
                </a:lnTo>
                <a:lnTo>
                  <a:pt x="2407" y="363"/>
                </a:lnTo>
                <a:lnTo>
                  <a:pt x="2407" y="354"/>
                </a:lnTo>
                <a:lnTo>
                  <a:pt x="2410" y="345"/>
                </a:lnTo>
                <a:lnTo>
                  <a:pt x="2415" y="334"/>
                </a:lnTo>
                <a:lnTo>
                  <a:pt x="2421" y="325"/>
                </a:lnTo>
                <a:lnTo>
                  <a:pt x="2432" y="316"/>
                </a:lnTo>
                <a:lnTo>
                  <a:pt x="2443" y="308"/>
                </a:lnTo>
                <a:lnTo>
                  <a:pt x="2457" y="300"/>
                </a:lnTo>
                <a:lnTo>
                  <a:pt x="2474" y="292"/>
                </a:lnTo>
                <a:lnTo>
                  <a:pt x="2495" y="286"/>
                </a:lnTo>
                <a:lnTo>
                  <a:pt x="2518" y="280"/>
                </a:lnTo>
                <a:lnTo>
                  <a:pt x="2518" y="280"/>
                </a:lnTo>
                <a:lnTo>
                  <a:pt x="2517" y="275"/>
                </a:lnTo>
                <a:lnTo>
                  <a:pt x="2512" y="262"/>
                </a:lnTo>
                <a:lnTo>
                  <a:pt x="2509" y="253"/>
                </a:lnTo>
                <a:lnTo>
                  <a:pt x="2504" y="242"/>
                </a:lnTo>
                <a:lnTo>
                  <a:pt x="2499" y="232"/>
                </a:lnTo>
                <a:lnTo>
                  <a:pt x="2492" y="222"/>
                </a:lnTo>
                <a:lnTo>
                  <a:pt x="2484" y="213"/>
                </a:lnTo>
                <a:lnTo>
                  <a:pt x="2474" y="203"/>
                </a:lnTo>
                <a:lnTo>
                  <a:pt x="2464" y="196"/>
                </a:lnTo>
                <a:lnTo>
                  <a:pt x="2452" y="190"/>
                </a:lnTo>
                <a:lnTo>
                  <a:pt x="2446" y="188"/>
                </a:lnTo>
                <a:lnTo>
                  <a:pt x="2440" y="187"/>
                </a:lnTo>
                <a:lnTo>
                  <a:pt x="2433" y="186"/>
                </a:lnTo>
                <a:lnTo>
                  <a:pt x="2424" y="185"/>
                </a:lnTo>
                <a:lnTo>
                  <a:pt x="2417" y="186"/>
                </a:lnTo>
                <a:lnTo>
                  <a:pt x="2408" y="187"/>
                </a:lnTo>
                <a:lnTo>
                  <a:pt x="2400" y="190"/>
                </a:lnTo>
                <a:lnTo>
                  <a:pt x="2391" y="193"/>
                </a:lnTo>
                <a:lnTo>
                  <a:pt x="2391" y="193"/>
                </a:lnTo>
                <a:lnTo>
                  <a:pt x="2394" y="191"/>
                </a:lnTo>
                <a:lnTo>
                  <a:pt x="2398" y="188"/>
                </a:lnTo>
                <a:lnTo>
                  <a:pt x="2406" y="180"/>
                </a:lnTo>
                <a:lnTo>
                  <a:pt x="2415" y="168"/>
                </a:lnTo>
                <a:lnTo>
                  <a:pt x="2423" y="153"/>
                </a:lnTo>
                <a:lnTo>
                  <a:pt x="2427" y="144"/>
                </a:lnTo>
                <a:lnTo>
                  <a:pt x="2432" y="136"/>
                </a:lnTo>
                <a:lnTo>
                  <a:pt x="2435" y="127"/>
                </a:lnTo>
                <a:lnTo>
                  <a:pt x="2437" y="117"/>
                </a:lnTo>
                <a:lnTo>
                  <a:pt x="2438" y="106"/>
                </a:lnTo>
                <a:lnTo>
                  <a:pt x="2439" y="97"/>
                </a:lnTo>
                <a:lnTo>
                  <a:pt x="2438" y="86"/>
                </a:lnTo>
                <a:lnTo>
                  <a:pt x="2436" y="76"/>
                </a:lnTo>
                <a:lnTo>
                  <a:pt x="2436" y="76"/>
                </a:lnTo>
                <a:lnTo>
                  <a:pt x="2434" y="66"/>
                </a:lnTo>
                <a:lnTo>
                  <a:pt x="2429" y="57"/>
                </a:lnTo>
                <a:lnTo>
                  <a:pt x="2426" y="49"/>
                </a:lnTo>
                <a:lnTo>
                  <a:pt x="2422" y="41"/>
                </a:lnTo>
                <a:lnTo>
                  <a:pt x="2413" y="28"/>
                </a:lnTo>
                <a:lnTo>
                  <a:pt x="2404" y="17"/>
                </a:lnTo>
                <a:lnTo>
                  <a:pt x="2396" y="9"/>
                </a:lnTo>
                <a:lnTo>
                  <a:pt x="2389" y="4"/>
                </a:lnTo>
                <a:lnTo>
                  <a:pt x="2382" y="0"/>
                </a:lnTo>
                <a:lnTo>
                  <a:pt x="2279" y="593"/>
                </a:lnTo>
                <a:lnTo>
                  <a:pt x="2548" y="712"/>
                </a:lnTo>
                <a:lnTo>
                  <a:pt x="2548" y="712"/>
                </a:lnTo>
                <a:lnTo>
                  <a:pt x="2572" y="693"/>
                </a:lnTo>
                <a:lnTo>
                  <a:pt x="2594" y="677"/>
                </a:lnTo>
                <a:lnTo>
                  <a:pt x="2615" y="665"/>
                </a:lnTo>
                <a:lnTo>
                  <a:pt x="2633" y="656"/>
                </a:lnTo>
                <a:lnTo>
                  <a:pt x="2633" y="656"/>
                </a:lnTo>
                <a:lnTo>
                  <a:pt x="2646" y="650"/>
                </a:lnTo>
                <a:lnTo>
                  <a:pt x="2661" y="646"/>
                </a:lnTo>
                <a:lnTo>
                  <a:pt x="2675" y="642"/>
                </a:lnTo>
                <a:lnTo>
                  <a:pt x="2688" y="639"/>
                </a:lnTo>
                <a:lnTo>
                  <a:pt x="2702" y="637"/>
                </a:lnTo>
                <a:lnTo>
                  <a:pt x="2716" y="636"/>
                </a:lnTo>
                <a:lnTo>
                  <a:pt x="2729" y="635"/>
                </a:lnTo>
                <a:lnTo>
                  <a:pt x="2743" y="635"/>
                </a:lnTo>
                <a:lnTo>
                  <a:pt x="2757" y="636"/>
                </a:lnTo>
                <a:lnTo>
                  <a:pt x="2770" y="638"/>
                </a:lnTo>
                <a:lnTo>
                  <a:pt x="2783" y="640"/>
                </a:lnTo>
                <a:lnTo>
                  <a:pt x="2796" y="643"/>
                </a:lnTo>
                <a:lnTo>
                  <a:pt x="2821" y="650"/>
                </a:lnTo>
                <a:lnTo>
                  <a:pt x="2845" y="658"/>
                </a:lnTo>
                <a:lnTo>
                  <a:pt x="2845" y="658"/>
                </a:lnTo>
                <a:lnTo>
                  <a:pt x="2861" y="667"/>
                </a:lnTo>
                <a:lnTo>
                  <a:pt x="2875" y="675"/>
                </a:lnTo>
                <a:lnTo>
                  <a:pt x="2889" y="683"/>
                </a:lnTo>
                <a:lnTo>
                  <a:pt x="2900" y="691"/>
                </a:lnTo>
                <a:lnTo>
                  <a:pt x="2910" y="699"/>
                </a:lnTo>
                <a:lnTo>
                  <a:pt x="2918" y="709"/>
                </a:lnTo>
                <a:lnTo>
                  <a:pt x="2925" y="717"/>
                </a:lnTo>
                <a:lnTo>
                  <a:pt x="2932" y="726"/>
                </a:lnTo>
                <a:lnTo>
                  <a:pt x="2937" y="735"/>
                </a:lnTo>
                <a:lnTo>
                  <a:pt x="2941" y="743"/>
                </a:lnTo>
                <a:lnTo>
                  <a:pt x="2944" y="753"/>
                </a:lnTo>
                <a:lnTo>
                  <a:pt x="2947" y="761"/>
                </a:lnTo>
                <a:lnTo>
                  <a:pt x="2950" y="778"/>
                </a:lnTo>
                <a:lnTo>
                  <a:pt x="2952" y="793"/>
                </a:lnTo>
                <a:lnTo>
                  <a:pt x="2952" y="793"/>
                </a:lnTo>
                <a:lnTo>
                  <a:pt x="2951" y="804"/>
                </a:lnTo>
                <a:lnTo>
                  <a:pt x="2949" y="815"/>
                </a:lnTo>
                <a:lnTo>
                  <a:pt x="2946" y="827"/>
                </a:lnTo>
                <a:lnTo>
                  <a:pt x="2942" y="839"/>
                </a:lnTo>
                <a:lnTo>
                  <a:pt x="2933" y="863"/>
                </a:lnTo>
                <a:lnTo>
                  <a:pt x="2925" y="877"/>
                </a:lnTo>
                <a:lnTo>
                  <a:pt x="3120" y="962"/>
                </a:lnTo>
                <a:close/>
                <a:moveTo>
                  <a:pt x="4480" y="887"/>
                </a:moveTo>
                <a:lnTo>
                  <a:pt x="4715" y="773"/>
                </a:lnTo>
                <a:lnTo>
                  <a:pt x="4477" y="674"/>
                </a:lnTo>
                <a:lnTo>
                  <a:pt x="4477" y="674"/>
                </a:lnTo>
                <a:lnTo>
                  <a:pt x="4404" y="675"/>
                </a:lnTo>
                <a:lnTo>
                  <a:pt x="4312" y="676"/>
                </a:lnTo>
                <a:lnTo>
                  <a:pt x="4201" y="675"/>
                </a:lnTo>
                <a:lnTo>
                  <a:pt x="4076" y="673"/>
                </a:lnTo>
                <a:lnTo>
                  <a:pt x="3783" y="667"/>
                </a:lnTo>
                <a:lnTo>
                  <a:pt x="3449" y="660"/>
                </a:lnTo>
                <a:lnTo>
                  <a:pt x="3252" y="916"/>
                </a:lnTo>
                <a:lnTo>
                  <a:pt x="3252" y="916"/>
                </a:lnTo>
                <a:lnTo>
                  <a:pt x="3986" y="900"/>
                </a:lnTo>
                <a:lnTo>
                  <a:pt x="4276" y="894"/>
                </a:lnTo>
                <a:lnTo>
                  <a:pt x="4480" y="887"/>
                </a:lnTo>
                <a:close/>
                <a:moveTo>
                  <a:pt x="4171" y="2139"/>
                </a:moveTo>
                <a:lnTo>
                  <a:pt x="4171" y="2139"/>
                </a:lnTo>
                <a:lnTo>
                  <a:pt x="4105" y="2106"/>
                </a:lnTo>
                <a:lnTo>
                  <a:pt x="4042" y="2073"/>
                </a:lnTo>
                <a:lnTo>
                  <a:pt x="3983" y="2042"/>
                </a:lnTo>
                <a:lnTo>
                  <a:pt x="3954" y="2025"/>
                </a:lnTo>
                <a:lnTo>
                  <a:pt x="3926" y="2008"/>
                </a:lnTo>
                <a:lnTo>
                  <a:pt x="3900" y="1991"/>
                </a:lnTo>
                <a:lnTo>
                  <a:pt x="3875" y="1973"/>
                </a:lnTo>
                <a:lnTo>
                  <a:pt x="3852" y="1954"/>
                </a:lnTo>
                <a:lnTo>
                  <a:pt x="3829" y="1934"/>
                </a:lnTo>
                <a:lnTo>
                  <a:pt x="3809" y="1914"/>
                </a:lnTo>
                <a:lnTo>
                  <a:pt x="3789" y="1893"/>
                </a:lnTo>
                <a:lnTo>
                  <a:pt x="3772" y="1869"/>
                </a:lnTo>
                <a:lnTo>
                  <a:pt x="3756" y="1845"/>
                </a:lnTo>
                <a:lnTo>
                  <a:pt x="3756" y="1845"/>
                </a:lnTo>
                <a:lnTo>
                  <a:pt x="3750" y="1832"/>
                </a:lnTo>
                <a:lnTo>
                  <a:pt x="3743" y="1819"/>
                </a:lnTo>
                <a:lnTo>
                  <a:pt x="3738" y="1805"/>
                </a:lnTo>
                <a:lnTo>
                  <a:pt x="3733" y="1790"/>
                </a:lnTo>
                <a:lnTo>
                  <a:pt x="3729" y="1775"/>
                </a:lnTo>
                <a:lnTo>
                  <a:pt x="3726" y="1760"/>
                </a:lnTo>
                <a:lnTo>
                  <a:pt x="3723" y="1743"/>
                </a:lnTo>
                <a:lnTo>
                  <a:pt x="3721" y="1727"/>
                </a:lnTo>
                <a:lnTo>
                  <a:pt x="3720" y="1711"/>
                </a:lnTo>
                <a:lnTo>
                  <a:pt x="3719" y="1693"/>
                </a:lnTo>
                <a:lnTo>
                  <a:pt x="3719" y="1677"/>
                </a:lnTo>
                <a:lnTo>
                  <a:pt x="3720" y="1659"/>
                </a:lnTo>
                <a:lnTo>
                  <a:pt x="3721" y="1641"/>
                </a:lnTo>
                <a:lnTo>
                  <a:pt x="3724" y="1624"/>
                </a:lnTo>
                <a:lnTo>
                  <a:pt x="3726" y="1606"/>
                </a:lnTo>
                <a:lnTo>
                  <a:pt x="3730" y="1589"/>
                </a:lnTo>
                <a:lnTo>
                  <a:pt x="3734" y="1571"/>
                </a:lnTo>
                <a:lnTo>
                  <a:pt x="3740" y="1554"/>
                </a:lnTo>
                <a:lnTo>
                  <a:pt x="3745" y="1537"/>
                </a:lnTo>
                <a:lnTo>
                  <a:pt x="3753" y="1519"/>
                </a:lnTo>
                <a:lnTo>
                  <a:pt x="3761" y="1503"/>
                </a:lnTo>
                <a:lnTo>
                  <a:pt x="3769" y="1487"/>
                </a:lnTo>
                <a:lnTo>
                  <a:pt x="3778" y="1470"/>
                </a:lnTo>
                <a:lnTo>
                  <a:pt x="3788" y="1454"/>
                </a:lnTo>
                <a:lnTo>
                  <a:pt x="3800" y="1439"/>
                </a:lnTo>
                <a:lnTo>
                  <a:pt x="3812" y="1424"/>
                </a:lnTo>
                <a:lnTo>
                  <a:pt x="3824" y="1410"/>
                </a:lnTo>
                <a:lnTo>
                  <a:pt x="3839" y="1396"/>
                </a:lnTo>
                <a:lnTo>
                  <a:pt x="3853" y="1382"/>
                </a:lnTo>
                <a:lnTo>
                  <a:pt x="3868" y="1370"/>
                </a:lnTo>
                <a:lnTo>
                  <a:pt x="3885" y="1358"/>
                </a:lnTo>
                <a:lnTo>
                  <a:pt x="3902" y="1347"/>
                </a:lnTo>
                <a:lnTo>
                  <a:pt x="3902" y="1347"/>
                </a:lnTo>
                <a:lnTo>
                  <a:pt x="3910" y="1355"/>
                </a:lnTo>
                <a:lnTo>
                  <a:pt x="3917" y="1363"/>
                </a:lnTo>
                <a:lnTo>
                  <a:pt x="3922" y="1370"/>
                </a:lnTo>
                <a:lnTo>
                  <a:pt x="3927" y="1378"/>
                </a:lnTo>
                <a:lnTo>
                  <a:pt x="3936" y="1394"/>
                </a:lnTo>
                <a:lnTo>
                  <a:pt x="3941" y="1408"/>
                </a:lnTo>
                <a:lnTo>
                  <a:pt x="3944" y="1420"/>
                </a:lnTo>
                <a:lnTo>
                  <a:pt x="3946" y="1429"/>
                </a:lnTo>
                <a:lnTo>
                  <a:pt x="3946" y="1438"/>
                </a:lnTo>
                <a:lnTo>
                  <a:pt x="3946" y="1438"/>
                </a:lnTo>
                <a:lnTo>
                  <a:pt x="3966" y="1438"/>
                </a:lnTo>
                <a:lnTo>
                  <a:pt x="3991" y="1438"/>
                </a:lnTo>
                <a:lnTo>
                  <a:pt x="4044" y="1434"/>
                </a:lnTo>
                <a:lnTo>
                  <a:pt x="4098" y="1432"/>
                </a:lnTo>
                <a:lnTo>
                  <a:pt x="4123" y="1431"/>
                </a:lnTo>
                <a:lnTo>
                  <a:pt x="4143" y="1431"/>
                </a:lnTo>
                <a:lnTo>
                  <a:pt x="4143" y="1431"/>
                </a:lnTo>
                <a:lnTo>
                  <a:pt x="4144" y="1417"/>
                </a:lnTo>
                <a:lnTo>
                  <a:pt x="4144" y="1400"/>
                </a:lnTo>
                <a:lnTo>
                  <a:pt x="4143" y="1382"/>
                </a:lnTo>
                <a:lnTo>
                  <a:pt x="4141" y="1364"/>
                </a:lnTo>
                <a:lnTo>
                  <a:pt x="4138" y="1344"/>
                </a:lnTo>
                <a:lnTo>
                  <a:pt x="4133" y="1325"/>
                </a:lnTo>
                <a:lnTo>
                  <a:pt x="4126" y="1307"/>
                </a:lnTo>
                <a:lnTo>
                  <a:pt x="4121" y="1297"/>
                </a:lnTo>
                <a:lnTo>
                  <a:pt x="4116" y="1288"/>
                </a:lnTo>
                <a:lnTo>
                  <a:pt x="4116" y="1288"/>
                </a:lnTo>
                <a:lnTo>
                  <a:pt x="4134" y="1302"/>
                </a:lnTo>
                <a:lnTo>
                  <a:pt x="4150" y="1315"/>
                </a:lnTo>
                <a:lnTo>
                  <a:pt x="4165" y="1328"/>
                </a:lnTo>
                <a:lnTo>
                  <a:pt x="4172" y="1335"/>
                </a:lnTo>
                <a:lnTo>
                  <a:pt x="4178" y="1343"/>
                </a:lnTo>
                <a:lnTo>
                  <a:pt x="4184" y="1352"/>
                </a:lnTo>
                <a:lnTo>
                  <a:pt x="4189" y="1361"/>
                </a:lnTo>
                <a:lnTo>
                  <a:pt x="4194" y="1370"/>
                </a:lnTo>
                <a:lnTo>
                  <a:pt x="4198" y="1380"/>
                </a:lnTo>
                <a:lnTo>
                  <a:pt x="4203" y="1392"/>
                </a:lnTo>
                <a:lnTo>
                  <a:pt x="4206" y="1404"/>
                </a:lnTo>
                <a:lnTo>
                  <a:pt x="4209" y="1417"/>
                </a:lnTo>
                <a:lnTo>
                  <a:pt x="4212" y="1431"/>
                </a:lnTo>
                <a:lnTo>
                  <a:pt x="4212" y="1431"/>
                </a:lnTo>
                <a:lnTo>
                  <a:pt x="4390" y="1438"/>
                </a:lnTo>
                <a:lnTo>
                  <a:pt x="4390" y="1438"/>
                </a:lnTo>
                <a:lnTo>
                  <a:pt x="4390" y="1421"/>
                </a:lnTo>
                <a:lnTo>
                  <a:pt x="4389" y="1406"/>
                </a:lnTo>
                <a:lnTo>
                  <a:pt x="4386" y="1391"/>
                </a:lnTo>
                <a:lnTo>
                  <a:pt x="4381" y="1376"/>
                </a:lnTo>
                <a:lnTo>
                  <a:pt x="4376" y="1363"/>
                </a:lnTo>
                <a:lnTo>
                  <a:pt x="4370" y="1350"/>
                </a:lnTo>
                <a:lnTo>
                  <a:pt x="4362" y="1338"/>
                </a:lnTo>
                <a:lnTo>
                  <a:pt x="4353" y="1326"/>
                </a:lnTo>
                <a:lnTo>
                  <a:pt x="4353" y="1326"/>
                </a:lnTo>
                <a:lnTo>
                  <a:pt x="4370" y="1334"/>
                </a:lnTo>
                <a:lnTo>
                  <a:pt x="4388" y="1342"/>
                </a:lnTo>
                <a:lnTo>
                  <a:pt x="4403" y="1352"/>
                </a:lnTo>
                <a:lnTo>
                  <a:pt x="4418" y="1361"/>
                </a:lnTo>
                <a:lnTo>
                  <a:pt x="4433" y="1371"/>
                </a:lnTo>
                <a:lnTo>
                  <a:pt x="4447" y="1381"/>
                </a:lnTo>
                <a:lnTo>
                  <a:pt x="4459" y="1392"/>
                </a:lnTo>
                <a:lnTo>
                  <a:pt x="4471" y="1403"/>
                </a:lnTo>
                <a:lnTo>
                  <a:pt x="4483" y="1414"/>
                </a:lnTo>
                <a:lnTo>
                  <a:pt x="4494" y="1426"/>
                </a:lnTo>
                <a:lnTo>
                  <a:pt x="4504" y="1439"/>
                </a:lnTo>
                <a:lnTo>
                  <a:pt x="4513" y="1451"/>
                </a:lnTo>
                <a:lnTo>
                  <a:pt x="4522" y="1463"/>
                </a:lnTo>
                <a:lnTo>
                  <a:pt x="4530" y="1475"/>
                </a:lnTo>
                <a:lnTo>
                  <a:pt x="4544" y="1501"/>
                </a:lnTo>
                <a:lnTo>
                  <a:pt x="4556" y="1526"/>
                </a:lnTo>
                <a:lnTo>
                  <a:pt x="4567" y="1551"/>
                </a:lnTo>
                <a:lnTo>
                  <a:pt x="4574" y="1577"/>
                </a:lnTo>
                <a:lnTo>
                  <a:pt x="4580" y="1600"/>
                </a:lnTo>
                <a:lnTo>
                  <a:pt x="4584" y="1624"/>
                </a:lnTo>
                <a:lnTo>
                  <a:pt x="4587" y="1646"/>
                </a:lnTo>
                <a:lnTo>
                  <a:pt x="4588" y="1667"/>
                </a:lnTo>
                <a:lnTo>
                  <a:pt x="4588" y="1685"/>
                </a:lnTo>
                <a:lnTo>
                  <a:pt x="4588" y="1685"/>
                </a:lnTo>
                <a:lnTo>
                  <a:pt x="4588" y="1711"/>
                </a:lnTo>
                <a:lnTo>
                  <a:pt x="4587" y="1737"/>
                </a:lnTo>
                <a:lnTo>
                  <a:pt x="4583" y="1762"/>
                </a:lnTo>
                <a:lnTo>
                  <a:pt x="4578" y="1787"/>
                </a:lnTo>
                <a:lnTo>
                  <a:pt x="4571" y="1811"/>
                </a:lnTo>
                <a:lnTo>
                  <a:pt x="4562" y="1834"/>
                </a:lnTo>
                <a:lnTo>
                  <a:pt x="4553" y="1857"/>
                </a:lnTo>
                <a:lnTo>
                  <a:pt x="4542" y="1878"/>
                </a:lnTo>
                <a:lnTo>
                  <a:pt x="4530" y="1900"/>
                </a:lnTo>
                <a:lnTo>
                  <a:pt x="4515" y="1919"/>
                </a:lnTo>
                <a:lnTo>
                  <a:pt x="4501" y="1939"/>
                </a:lnTo>
                <a:lnTo>
                  <a:pt x="4485" y="1956"/>
                </a:lnTo>
                <a:lnTo>
                  <a:pt x="4468" y="1972"/>
                </a:lnTo>
                <a:lnTo>
                  <a:pt x="4450" y="1988"/>
                </a:lnTo>
                <a:lnTo>
                  <a:pt x="4432" y="2002"/>
                </a:lnTo>
                <a:lnTo>
                  <a:pt x="4412" y="2015"/>
                </a:lnTo>
                <a:lnTo>
                  <a:pt x="4412" y="2015"/>
                </a:lnTo>
                <a:lnTo>
                  <a:pt x="4377" y="2036"/>
                </a:lnTo>
                <a:lnTo>
                  <a:pt x="4345" y="2054"/>
                </a:lnTo>
                <a:lnTo>
                  <a:pt x="4313" y="2071"/>
                </a:lnTo>
                <a:lnTo>
                  <a:pt x="4282" y="2087"/>
                </a:lnTo>
                <a:lnTo>
                  <a:pt x="4225" y="2114"/>
                </a:lnTo>
                <a:lnTo>
                  <a:pt x="4171" y="2139"/>
                </a:lnTo>
                <a:close/>
                <a:moveTo>
                  <a:pt x="3989" y="3389"/>
                </a:moveTo>
                <a:lnTo>
                  <a:pt x="3989" y="3389"/>
                </a:lnTo>
                <a:lnTo>
                  <a:pt x="3970" y="3382"/>
                </a:lnTo>
                <a:lnTo>
                  <a:pt x="3970" y="3382"/>
                </a:lnTo>
                <a:lnTo>
                  <a:pt x="3967" y="3380"/>
                </a:lnTo>
                <a:lnTo>
                  <a:pt x="3967" y="3380"/>
                </a:lnTo>
                <a:lnTo>
                  <a:pt x="3989" y="3389"/>
                </a:lnTo>
                <a:close/>
                <a:moveTo>
                  <a:pt x="2262" y="1056"/>
                </a:moveTo>
                <a:lnTo>
                  <a:pt x="2262" y="1056"/>
                </a:lnTo>
                <a:lnTo>
                  <a:pt x="2262" y="1057"/>
                </a:lnTo>
                <a:lnTo>
                  <a:pt x="2261" y="1059"/>
                </a:lnTo>
                <a:lnTo>
                  <a:pt x="2257" y="1061"/>
                </a:lnTo>
                <a:lnTo>
                  <a:pt x="2251" y="1064"/>
                </a:lnTo>
                <a:lnTo>
                  <a:pt x="2241" y="1066"/>
                </a:lnTo>
                <a:lnTo>
                  <a:pt x="2219" y="1072"/>
                </a:lnTo>
                <a:lnTo>
                  <a:pt x="2191" y="1077"/>
                </a:lnTo>
                <a:lnTo>
                  <a:pt x="2164" y="1081"/>
                </a:lnTo>
                <a:lnTo>
                  <a:pt x="2138" y="1083"/>
                </a:lnTo>
                <a:lnTo>
                  <a:pt x="2120" y="1083"/>
                </a:lnTo>
                <a:lnTo>
                  <a:pt x="2113" y="1082"/>
                </a:lnTo>
                <a:lnTo>
                  <a:pt x="2109" y="1081"/>
                </a:lnTo>
                <a:lnTo>
                  <a:pt x="2109" y="1081"/>
                </a:lnTo>
                <a:lnTo>
                  <a:pt x="2106" y="1079"/>
                </a:lnTo>
                <a:lnTo>
                  <a:pt x="2104" y="1075"/>
                </a:lnTo>
                <a:lnTo>
                  <a:pt x="2101" y="1064"/>
                </a:lnTo>
                <a:lnTo>
                  <a:pt x="2098" y="1052"/>
                </a:lnTo>
                <a:lnTo>
                  <a:pt x="2096" y="1038"/>
                </a:lnTo>
                <a:lnTo>
                  <a:pt x="2096" y="1023"/>
                </a:lnTo>
                <a:lnTo>
                  <a:pt x="2096" y="1010"/>
                </a:lnTo>
                <a:lnTo>
                  <a:pt x="2097" y="1000"/>
                </a:lnTo>
                <a:lnTo>
                  <a:pt x="2098" y="995"/>
                </a:lnTo>
                <a:lnTo>
                  <a:pt x="2100" y="992"/>
                </a:lnTo>
                <a:lnTo>
                  <a:pt x="2100" y="992"/>
                </a:lnTo>
                <a:lnTo>
                  <a:pt x="2101" y="991"/>
                </a:lnTo>
                <a:lnTo>
                  <a:pt x="2103" y="989"/>
                </a:lnTo>
                <a:lnTo>
                  <a:pt x="2109" y="988"/>
                </a:lnTo>
                <a:lnTo>
                  <a:pt x="2118" y="987"/>
                </a:lnTo>
                <a:lnTo>
                  <a:pt x="2128" y="987"/>
                </a:lnTo>
                <a:lnTo>
                  <a:pt x="2139" y="988"/>
                </a:lnTo>
                <a:lnTo>
                  <a:pt x="2151" y="990"/>
                </a:lnTo>
                <a:lnTo>
                  <a:pt x="2165" y="993"/>
                </a:lnTo>
                <a:lnTo>
                  <a:pt x="2179" y="997"/>
                </a:lnTo>
                <a:lnTo>
                  <a:pt x="2192" y="1002"/>
                </a:lnTo>
                <a:lnTo>
                  <a:pt x="2206" y="1007"/>
                </a:lnTo>
                <a:lnTo>
                  <a:pt x="2219" y="1014"/>
                </a:lnTo>
                <a:lnTo>
                  <a:pt x="2231" y="1021"/>
                </a:lnTo>
                <a:lnTo>
                  <a:pt x="2241" y="1029"/>
                </a:lnTo>
                <a:lnTo>
                  <a:pt x="2251" y="1038"/>
                </a:lnTo>
                <a:lnTo>
                  <a:pt x="2258" y="1047"/>
                </a:lnTo>
                <a:lnTo>
                  <a:pt x="2260" y="1051"/>
                </a:lnTo>
                <a:lnTo>
                  <a:pt x="2262" y="1056"/>
                </a:lnTo>
                <a:close/>
                <a:moveTo>
                  <a:pt x="4842" y="2915"/>
                </a:moveTo>
                <a:lnTo>
                  <a:pt x="4842" y="2915"/>
                </a:lnTo>
                <a:lnTo>
                  <a:pt x="4862" y="2919"/>
                </a:lnTo>
                <a:lnTo>
                  <a:pt x="4881" y="2921"/>
                </a:lnTo>
                <a:lnTo>
                  <a:pt x="4900" y="2922"/>
                </a:lnTo>
                <a:lnTo>
                  <a:pt x="4916" y="2921"/>
                </a:lnTo>
                <a:lnTo>
                  <a:pt x="4932" y="2919"/>
                </a:lnTo>
                <a:lnTo>
                  <a:pt x="4946" y="2916"/>
                </a:lnTo>
                <a:lnTo>
                  <a:pt x="4958" y="2911"/>
                </a:lnTo>
                <a:lnTo>
                  <a:pt x="4969" y="2905"/>
                </a:lnTo>
                <a:lnTo>
                  <a:pt x="4969" y="2905"/>
                </a:lnTo>
                <a:lnTo>
                  <a:pt x="4967" y="2879"/>
                </a:lnTo>
                <a:lnTo>
                  <a:pt x="4960" y="2819"/>
                </a:lnTo>
                <a:lnTo>
                  <a:pt x="4951" y="2746"/>
                </a:lnTo>
                <a:lnTo>
                  <a:pt x="4946" y="2714"/>
                </a:lnTo>
                <a:lnTo>
                  <a:pt x="4940" y="2686"/>
                </a:lnTo>
                <a:lnTo>
                  <a:pt x="4940" y="2686"/>
                </a:lnTo>
                <a:lnTo>
                  <a:pt x="4922" y="2689"/>
                </a:lnTo>
                <a:lnTo>
                  <a:pt x="4902" y="2692"/>
                </a:lnTo>
                <a:lnTo>
                  <a:pt x="4891" y="2692"/>
                </a:lnTo>
                <a:lnTo>
                  <a:pt x="4879" y="2692"/>
                </a:lnTo>
                <a:lnTo>
                  <a:pt x="4867" y="2691"/>
                </a:lnTo>
                <a:lnTo>
                  <a:pt x="4855" y="2689"/>
                </a:lnTo>
                <a:lnTo>
                  <a:pt x="4843" y="2686"/>
                </a:lnTo>
                <a:lnTo>
                  <a:pt x="4830" y="2682"/>
                </a:lnTo>
                <a:lnTo>
                  <a:pt x="4818" y="2677"/>
                </a:lnTo>
                <a:lnTo>
                  <a:pt x="4806" y="2670"/>
                </a:lnTo>
                <a:lnTo>
                  <a:pt x="4794" y="2660"/>
                </a:lnTo>
                <a:lnTo>
                  <a:pt x="4782" y="2650"/>
                </a:lnTo>
                <a:lnTo>
                  <a:pt x="4771" y="2638"/>
                </a:lnTo>
                <a:lnTo>
                  <a:pt x="4761" y="2624"/>
                </a:lnTo>
                <a:lnTo>
                  <a:pt x="4761" y="2624"/>
                </a:lnTo>
                <a:lnTo>
                  <a:pt x="4743" y="2595"/>
                </a:lnTo>
                <a:lnTo>
                  <a:pt x="4724" y="2567"/>
                </a:lnTo>
                <a:lnTo>
                  <a:pt x="4724" y="2567"/>
                </a:lnTo>
                <a:lnTo>
                  <a:pt x="4703" y="2539"/>
                </a:lnTo>
                <a:lnTo>
                  <a:pt x="4680" y="2511"/>
                </a:lnTo>
                <a:lnTo>
                  <a:pt x="4658" y="2485"/>
                </a:lnTo>
                <a:lnTo>
                  <a:pt x="4634" y="2459"/>
                </a:lnTo>
                <a:lnTo>
                  <a:pt x="4611" y="2435"/>
                </a:lnTo>
                <a:lnTo>
                  <a:pt x="4586" y="2412"/>
                </a:lnTo>
                <a:lnTo>
                  <a:pt x="4562" y="2389"/>
                </a:lnTo>
                <a:lnTo>
                  <a:pt x="4538" y="2369"/>
                </a:lnTo>
                <a:lnTo>
                  <a:pt x="4513" y="2349"/>
                </a:lnTo>
                <a:lnTo>
                  <a:pt x="4489" y="2329"/>
                </a:lnTo>
                <a:lnTo>
                  <a:pt x="4463" y="2311"/>
                </a:lnTo>
                <a:lnTo>
                  <a:pt x="4439" y="2292"/>
                </a:lnTo>
                <a:lnTo>
                  <a:pt x="4413" y="2276"/>
                </a:lnTo>
                <a:lnTo>
                  <a:pt x="4389" y="2260"/>
                </a:lnTo>
                <a:lnTo>
                  <a:pt x="4337" y="2228"/>
                </a:lnTo>
                <a:lnTo>
                  <a:pt x="4337" y="2228"/>
                </a:lnTo>
                <a:lnTo>
                  <a:pt x="4381" y="2205"/>
                </a:lnTo>
                <a:lnTo>
                  <a:pt x="4422" y="2183"/>
                </a:lnTo>
                <a:lnTo>
                  <a:pt x="4459" y="2160"/>
                </a:lnTo>
                <a:lnTo>
                  <a:pt x="4492" y="2139"/>
                </a:lnTo>
                <a:lnTo>
                  <a:pt x="4523" y="2117"/>
                </a:lnTo>
                <a:lnTo>
                  <a:pt x="4549" y="2096"/>
                </a:lnTo>
                <a:lnTo>
                  <a:pt x="4574" y="2076"/>
                </a:lnTo>
                <a:lnTo>
                  <a:pt x="4595" y="2055"/>
                </a:lnTo>
                <a:lnTo>
                  <a:pt x="4615" y="2036"/>
                </a:lnTo>
                <a:lnTo>
                  <a:pt x="4632" y="2017"/>
                </a:lnTo>
                <a:lnTo>
                  <a:pt x="4647" y="1999"/>
                </a:lnTo>
                <a:lnTo>
                  <a:pt x="4661" y="1981"/>
                </a:lnTo>
                <a:lnTo>
                  <a:pt x="4673" y="1965"/>
                </a:lnTo>
                <a:lnTo>
                  <a:pt x="4683" y="1950"/>
                </a:lnTo>
                <a:lnTo>
                  <a:pt x="4700" y="1922"/>
                </a:lnTo>
                <a:lnTo>
                  <a:pt x="4700" y="1922"/>
                </a:lnTo>
                <a:lnTo>
                  <a:pt x="4708" y="1910"/>
                </a:lnTo>
                <a:lnTo>
                  <a:pt x="4714" y="1896"/>
                </a:lnTo>
                <a:lnTo>
                  <a:pt x="4721" y="1880"/>
                </a:lnTo>
                <a:lnTo>
                  <a:pt x="4727" y="1864"/>
                </a:lnTo>
                <a:lnTo>
                  <a:pt x="4733" y="1845"/>
                </a:lnTo>
                <a:lnTo>
                  <a:pt x="4739" y="1826"/>
                </a:lnTo>
                <a:lnTo>
                  <a:pt x="4743" y="1806"/>
                </a:lnTo>
                <a:lnTo>
                  <a:pt x="4749" y="1785"/>
                </a:lnTo>
                <a:lnTo>
                  <a:pt x="4753" y="1763"/>
                </a:lnTo>
                <a:lnTo>
                  <a:pt x="4756" y="1740"/>
                </a:lnTo>
                <a:lnTo>
                  <a:pt x="4758" y="1716"/>
                </a:lnTo>
                <a:lnTo>
                  <a:pt x="4759" y="1692"/>
                </a:lnTo>
                <a:lnTo>
                  <a:pt x="4760" y="1667"/>
                </a:lnTo>
                <a:lnTo>
                  <a:pt x="4759" y="1642"/>
                </a:lnTo>
                <a:lnTo>
                  <a:pt x="4758" y="1616"/>
                </a:lnTo>
                <a:lnTo>
                  <a:pt x="4755" y="1590"/>
                </a:lnTo>
                <a:lnTo>
                  <a:pt x="4751" y="1564"/>
                </a:lnTo>
                <a:lnTo>
                  <a:pt x="4745" y="1538"/>
                </a:lnTo>
                <a:lnTo>
                  <a:pt x="4738" y="1511"/>
                </a:lnTo>
                <a:lnTo>
                  <a:pt x="4730" y="1486"/>
                </a:lnTo>
                <a:lnTo>
                  <a:pt x="4720" y="1459"/>
                </a:lnTo>
                <a:lnTo>
                  <a:pt x="4709" y="1433"/>
                </a:lnTo>
                <a:lnTo>
                  <a:pt x="4695" y="1408"/>
                </a:lnTo>
                <a:lnTo>
                  <a:pt x="4681" y="1383"/>
                </a:lnTo>
                <a:lnTo>
                  <a:pt x="4665" y="1359"/>
                </a:lnTo>
                <a:lnTo>
                  <a:pt x="4646" y="1334"/>
                </a:lnTo>
                <a:lnTo>
                  <a:pt x="4625" y="1311"/>
                </a:lnTo>
                <a:lnTo>
                  <a:pt x="4602" y="1288"/>
                </a:lnTo>
                <a:lnTo>
                  <a:pt x="4578" y="1267"/>
                </a:lnTo>
                <a:lnTo>
                  <a:pt x="4551" y="1246"/>
                </a:lnTo>
                <a:lnTo>
                  <a:pt x="4522" y="1227"/>
                </a:lnTo>
                <a:lnTo>
                  <a:pt x="4490" y="1207"/>
                </a:lnTo>
                <a:lnTo>
                  <a:pt x="4490" y="1207"/>
                </a:lnTo>
                <a:lnTo>
                  <a:pt x="4466" y="1195"/>
                </a:lnTo>
                <a:lnTo>
                  <a:pt x="4443" y="1184"/>
                </a:lnTo>
                <a:lnTo>
                  <a:pt x="4419" y="1174"/>
                </a:lnTo>
                <a:lnTo>
                  <a:pt x="4396" y="1165"/>
                </a:lnTo>
                <a:lnTo>
                  <a:pt x="4372" y="1156"/>
                </a:lnTo>
                <a:lnTo>
                  <a:pt x="4348" y="1149"/>
                </a:lnTo>
                <a:lnTo>
                  <a:pt x="4325" y="1143"/>
                </a:lnTo>
                <a:lnTo>
                  <a:pt x="4302" y="1138"/>
                </a:lnTo>
                <a:lnTo>
                  <a:pt x="4278" y="1133"/>
                </a:lnTo>
                <a:lnTo>
                  <a:pt x="4256" y="1130"/>
                </a:lnTo>
                <a:lnTo>
                  <a:pt x="4233" y="1127"/>
                </a:lnTo>
                <a:lnTo>
                  <a:pt x="4211" y="1125"/>
                </a:lnTo>
                <a:lnTo>
                  <a:pt x="4188" y="1123"/>
                </a:lnTo>
                <a:lnTo>
                  <a:pt x="4167" y="1123"/>
                </a:lnTo>
                <a:lnTo>
                  <a:pt x="4145" y="1123"/>
                </a:lnTo>
                <a:lnTo>
                  <a:pt x="4124" y="1123"/>
                </a:lnTo>
                <a:lnTo>
                  <a:pt x="4083" y="1126"/>
                </a:lnTo>
                <a:lnTo>
                  <a:pt x="4044" y="1130"/>
                </a:lnTo>
                <a:lnTo>
                  <a:pt x="4007" y="1136"/>
                </a:lnTo>
                <a:lnTo>
                  <a:pt x="3973" y="1144"/>
                </a:lnTo>
                <a:lnTo>
                  <a:pt x="3941" y="1152"/>
                </a:lnTo>
                <a:lnTo>
                  <a:pt x="3912" y="1161"/>
                </a:lnTo>
                <a:lnTo>
                  <a:pt x="3887" y="1172"/>
                </a:lnTo>
                <a:lnTo>
                  <a:pt x="3864" y="1181"/>
                </a:lnTo>
                <a:lnTo>
                  <a:pt x="3864" y="1181"/>
                </a:lnTo>
                <a:lnTo>
                  <a:pt x="3844" y="1191"/>
                </a:lnTo>
                <a:lnTo>
                  <a:pt x="3824" y="1201"/>
                </a:lnTo>
                <a:lnTo>
                  <a:pt x="3806" y="1213"/>
                </a:lnTo>
                <a:lnTo>
                  <a:pt x="3787" y="1224"/>
                </a:lnTo>
                <a:lnTo>
                  <a:pt x="3769" y="1237"/>
                </a:lnTo>
                <a:lnTo>
                  <a:pt x="3752" y="1249"/>
                </a:lnTo>
                <a:lnTo>
                  <a:pt x="3735" y="1264"/>
                </a:lnTo>
                <a:lnTo>
                  <a:pt x="3719" y="1278"/>
                </a:lnTo>
                <a:lnTo>
                  <a:pt x="3703" y="1293"/>
                </a:lnTo>
                <a:lnTo>
                  <a:pt x="3687" y="1309"/>
                </a:lnTo>
                <a:lnTo>
                  <a:pt x="3673" y="1325"/>
                </a:lnTo>
                <a:lnTo>
                  <a:pt x="3659" y="1341"/>
                </a:lnTo>
                <a:lnTo>
                  <a:pt x="3645" y="1359"/>
                </a:lnTo>
                <a:lnTo>
                  <a:pt x="3633" y="1377"/>
                </a:lnTo>
                <a:lnTo>
                  <a:pt x="3621" y="1396"/>
                </a:lnTo>
                <a:lnTo>
                  <a:pt x="3609" y="1415"/>
                </a:lnTo>
                <a:lnTo>
                  <a:pt x="3599" y="1434"/>
                </a:lnTo>
                <a:lnTo>
                  <a:pt x="3589" y="1455"/>
                </a:lnTo>
                <a:lnTo>
                  <a:pt x="3581" y="1475"/>
                </a:lnTo>
                <a:lnTo>
                  <a:pt x="3573" y="1497"/>
                </a:lnTo>
                <a:lnTo>
                  <a:pt x="3565" y="1518"/>
                </a:lnTo>
                <a:lnTo>
                  <a:pt x="3559" y="1541"/>
                </a:lnTo>
                <a:lnTo>
                  <a:pt x="3554" y="1563"/>
                </a:lnTo>
                <a:lnTo>
                  <a:pt x="3550" y="1586"/>
                </a:lnTo>
                <a:lnTo>
                  <a:pt x="3547" y="1609"/>
                </a:lnTo>
                <a:lnTo>
                  <a:pt x="3545" y="1634"/>
                </a:lnTo>
                <a:lnTo>
                  <a:pt x="3544" y="1658"/>
                </a:lnTo>
                <a:lnTo>
                  <a:pt x="3543" y="1683"/>
                </a:lnTo>
                <a:lnTo>
                  <a:pt x="3544" y="1708"/>
                </a:lnTo>
                <a:lnTo>
                  <a:pt x="3546" y="1734"/>
                </a:lnTo>
                <a:lnTo>
                  <a:pt x="3550" y="1760"/>
                </a:lnTo>
                <a:lnTo>
                  <a:pt x="3554" y="1786"/>
                </a:lnTo>
                <a:lnTo>
                  <a:pt x="3554" y="1786"/>
                </a:lnTo>
                <a:lnTo>
                  <a:pt x="3559" y="1810"/>
                </a:lnTo>
                <a:lnTo>
                  <a:pt x="3564" y="1831"/>
                </a:lnTo>
                <a:lnTo>
                  <a:pt x="3571" y="1853"/>
                </a:lnTo>
                <a:lnTo>
                  <a:pt x="3577" y="1873"/>
                </a:lnTo>
                <a:lnTo>
                  <a:pt x="3585" y="1893"/>
                </a:lnTo>
                <a:lnTo>
                  <a:pt x="3592" y="1911"/>
                </a:lnTo>
                <a:lnTo>
                  <a:pt x="3601" y="1929"/>
                </a:lnTo>
                <a:lnTo>
                  <a:pt x="3610" y="1947"/>
                </a:lnTo>
                <a:lnTo>
                  <a:pt x="3620" y="1963"/>
                </a:lnTo>
                <a:lnTo>
                  <a:pt x="3631" y="1978"/>
                </a:lnTo>
                <a:lnTo>
                  <a:pt x="3641" y="1994"/>
                </a:lnTo>
                <a:lnTo>
                  <a:pt x="3652" y="2009"/>
                </a:lnTo>
                <a:lnTo>
                  <a:pt x="3665" y="2023"/>
                </a:lnTo>
                <a:lnTo>
                  <a:pt x="3677" y="2037"/>
                </a:lnTo>
                <a:lnTo>
                  <a:pt x="3690" y="2050"/>
                </a:lnTo>
                <a:lnTo>
                  <a:pt x="3704" y="2062"/>
                </a:lnTo>
                <a:lnTo>
                  <a:pt x="3732" y="2087"/>
                </a:lnTo>
                <a:lnTo>
                  <a:pt x="3763" y="2109"/>
                </a:lnTo>
                <a:lnTo>
                  <a:pt x="3795" y="2131"/>
                </a:lnTo>
                <a:lnTo>
                  <a:pt x="3828" y="2151"/>
                </a:lnTo>
                <a:lnTo>
                  <a:pt x="3863" y="2172"/>
                </a:lnTo>
                <a:lnTo>
                  <a:pt x="3899" y="2191"/>
                </a:lnTo>
                <a:lnTo>
                  <a:pt x="3976" y="2229"/>
                </a:lnTo>
                <a:lnTo>
                  <a:pt x="3976" y="2229"/>
                </a:lnTo>
                <a:lnTo>
                  <a:pt x="3945" y="2246"/>
                </a:lnTo>
                <a:lnTo>
                  <a:pt x="3916" y="2263"/>
                </a:lnTo>
                <a:lnTo>
                  <a:pt x="3890" y="2280"/>
                </a:lnTo>
                <a:lnTo>
                  <a:pt x="3864" y="2298"/>
                </a:lnTo>
                <a:lnTo>
                  <a:pt x="3840" y="2318"/>
                </a:lnTo>
                <a:lnTo>
                  <a:pt x="3817" y="2337"/>
                </a:lnTo>
                <a:lnTo>
                  <a:pt x="3797" y="2358"/>
                </a:lnTo>
                <a:lnTo>
                  <a:pt x="3778" y="2379"/>
                </a:lnTo>
                <a:lnTo>
                  <a:pt x="3761" y="2403"/>
                </a:lnTo>
                <a:lnTo>
                  <a:pt x="3754" y="2415"/>
                </a:lnTo>
                <a:lnTo>
                  <a:pt x="3746" y="2427"/>
                </a:lnTo>
                <a:lnTo>
                  <a:pt x="3739" y="2440"/>
                </a:lnTo>
                <a:lnTo>
                  <a:pt x="3733" y="2453"/>
                </a:lnTo>
                <a:lnTo>
                  <a:pt x="3728" y="2466"/>
                </a:lnTo>
                <a:lnTo>
                  <a:pt x="3723" y="2480"/>
                </a:lnTo>
                <a:lnTo>
                  <a:pt x="3718" y="2495"/>
                </a:lnTo>
                <a:lnTo>
                  <a:pt x="3714" y="2510"/>
                </a:lnTo>
                <a:lnTo>
                  <a:pt x="3711" y="2525"/>
                </a:lnTo>
                <a:lnTo>
                  <a:pt x="3708" y="2541"/>
                </a:lnTo>
                <a:lnTo>
                  <a:pt x="3706" y="2557"/>
                </a:lnTo>
                <a:lnTo>
                  <a:pt x="3705" y="2574"/>
                </a:lnTo>
                <a:lnTo>
                  <a:pt x="3704" y="2592"/>
                </a:lnTo>
                <a:lnTo>
                  <a:pt x="3703" y="2609"/>
                </a:lnTo>
                <a:lnTo>
                  <a:pt x="3703" y="2609"/>
                </a:lnTo>
                <a:lnTo>
                  <a:pt x="3704" y="2632"/>
                </a:lnTo>
                <a:lnTo>
                  <a:pt x="3707" y="2655"/>
                </a:lnTo>
                <a:lnTo>
                  <a:pt x="3711" y="2678"/>
                </a:lnTo>
                <a:lnTo>
                  <a:pt x="3716" y="2701"/>
                </a:lnTo>
                <a:lnTo>
                  <a:pt x="3729" y="2749"/>
                </a:lnTo>
                <a:lnTo>
                  <a:pt x="3736" y="2775"/>
                </a:lnTo>
                <a:lnTo>
                  <a:pt x="3742" y="2801"/>
                </a:lnTo>
                <a:lnTo>
                  <a:pt x="3749" y="2830"/>
                </a:lnTo>
                <a:lnTo>
                  <a:pt x="3753" y="2859"/>
                </a:lnTo>
                <a:lnTo>
                  <a:pt x="3757" y="2889"/>
                </a:lnTo>
                <a:lnTo>
                  <a:pt x="3758" y="2922"/>
                </a:lnTo>
                <a:lnTo>
                  <a:pt x="3758" y="2957"/>
                </a:lnTo>
                <a:lnTo>
                  <a:pt x="3757" y="2975"/>
                </a:lnTo>
                <a:lnTo>
                  <a:pt x="3755" y="2994"/>
                </a:lnTo>
                <a:lnTo>
                  <a:pt x="3753" y="3012"/>
                </a:lnTo>
                <a:lnTo>
                  <a:pt x="3750" y="3033"/>
                </a:lnTo>
                <a:lnTo>
                  <a:pt x="3745" y="3053"/>
                </a:lnTo>
                <a:lnTo>
                  <a:pt x="3741" y="3073"/>
                </a:lnTo>
                <a:lnTo>
                  <a:pt x="3741" y="3073"/>
                </a:lnTo>
                <a:lnTo>
                  <a:pt x="3741" y="3075"/>
                </a:lnTo>
                <a:lnTo>
                  <a:pt x="3741" y="3076"/>
                </a:lnTo>
                <a:lnTo>
                  <a:pt x="3743" y="3076"/>
                </a:lnTo>
                <a:lnTo>
                  <a:pt x="3745" y="3078"/>
                </a:lnTo>
                <a:lnTo>
                  <a:pt x="3753" y="3075"/>
                </a:lnTo>
                <a:lnTo>
                  <a:pt x="3762" y="3073"/>
                </a:lnTo>
                <a:lnTo>
                  <a:pt x="3785" y="3063"/>
                </a:lnTo>
                <a:lnTo>
                  <a:pt x="3814" y="3051"/>
                </a:lnTo>
                <a:lnTo>
                  <a:pt x="3842" y="3036"/>
                </a:lnTo>
                <a:lnTo>
                  <a:pt x="3867" y="3022"/>
                </a:lnTo>
                <a:lnTo>
                  <a:pt x="3886" y="3011"/>
                </a:lnTo>
                <a:lnTo>
                  <a:pt x="3891" y="3007"/>
                </a:lnTo>
                <a:lnTo>
                  <a:pt x="3894" y="3005"/>
                </a:lnTo>
                <a:lnTo>
                  <a:pt x="3894" y="3005"/>
                </a:lnTo>
                <a:lnTo>
                  <a:pt x="3903" y="2981"/>
                </a:lnTo>
                <a:lnTo>
                  <a:pt x="3910" y="2958"/>
                </a:lnTo>
                <a:lnTo>
                  <a:pt x="3916" y="2934"/>
                </a:lnTo>
                <a:lnTo>
                  <a:pt x="3921" y="2910"/>
                </a:lnTo>
                <a:lnTo>
                  <a:pt x="3925" y="2886"/>
                </a:lnTo>
                <a:lnTo>
                  <a:pt x="3928" y="2863"/>
                </a:lnTo>
                <a:lnTo>
                  <a:pt x="3930" y="2840"/>
                </a:lnTo>
                <a:lnTo>
                  <a:pt x="3932" y="2818"/>
                </a:lnTo>
                <a:lnTo>
                  <a:pt x="3932" y="2779"/>
                </a:lnTo>
                <a:lnTo>
                  <a:pt x="3931" y="2748"/>
                </a:lnTo>
                <a:lnTo>
                  <a:pt x="3928" y="2721"/>
                </a:lnTo>
                <a:lnTo>
                  <a:pt x="3928" y="2721"/>
                </a:lnTo>
                <a:lnTo>
                  <a:pt x="3939" y="2730"/>
                </a:lnTo>
                <a:lnTo>
                  <a:pt x="3947" y="2741"/>
                </a:lnTo>
                <a:lnTo>
                  <a:pt x="3954" y="2753"/>
                </a:lnTo>
                <a:lnTo>
                  <a:pt x="3960" y="2767"/>
                </a:lnTo>
                <a:lnTo>
                  <a:pt x="3964" y="2782"/>
                </a:lnTo>
                <a:lnTo>
                  <a:pt x="3968" y="2797"/>
                </a:lnTo>
                <a:lnTo>
                  <a:pt x="3971" y="2814"/>
                </a:lnTo>
                <a:lnTo>
                  <a:pt x="3973" y="2830"/>
                </a:lnTo>
                <a:lnTo>
                  <a:pt x="3975" y="2847"/>
                </a:lnTo>
                <a:lnTo>
                  <a:pt x="3976" y="2865"/>
                </a:lnTo>
                <a:lnTo>
                  <a:pt x="3976" y="2881"/>
                </a:lnTo>
                <a:lnTo>
                  <a:pt x="3975" y="2899"/>
                </a:lnTo>
                <a:lnTo>
                  <a:pt x="3971" y="2930"/>
                </a:lnTo>
                <a:lnTo>
                  <a:pt x="3965" y="2959"/>
                </a:lnTo>
                <a:lnTo>
                  <a:pt x="3965" y="2959"/>
                </a:lnTo>
                <a:lnTo>
                  <a:pt x="3982" y="2950"/>
                </a:lnTo>
                <a:lnTo>
                  <a:pt x="3998" y="2938"/>
                </a:lnTo>
                <a:lnTo>
                  <a:pt x="4016" y="2925"/>
                </a:lnTo>
                <a:lnTo>
                  <a:pt x="4036" y="2911"/>
                </a:lnTo>
                <a:lnTo>
                  <a:pt x="4053" y="2896"/>
                </a:lnTo>
                <a:lnTo>
                  <a:pt x="4061" y="2888"/>
                </a:lnTo>
                <a:lnTo>
                  <a:pt x="4068" y="2881"/>
                </a:lnTo>
                <a:lnTo>
                  <a:pt x="4072" y="2874"/>
                </a:lnTo>
                <a:lnTo>
                  <a:pt x="4075" y="2868"/>
                </a:lnTo>
                <a:lnTo>
                  <a:pt x="4075" y="2868"/>
                </a:lnTo>
                <a:lnTo>
                  <a:pt x="4083" y="2838"/>
                </a:lnTo>
                <a:lnTo>
                  <a:pt x="4090" y="2810"/>
                </a:lnTo>
                <a:lnTo>
                  <a:pt x="4094" y="2783"/>
                </a:lnTo>
                <a:lnTo>
                  <a:pt x="4096" y="2757"/>
                </a:lnTo>
                <a:lnTo>
                  <a:pt x="4096" y="2733"/>
                </a:lnTo>
                <a:lnTo>
                  <a:pt x="4095" y="2709"/>
                </a:lnTo>
                <a:lnTo>
                  <a:pt x="4093" y="2687"/>
                </a:lnTo>
                <a:lnTo>
                  <a:pt x="4090" y="2665"/>
                </a:lnTo>
                <a:lnTo>
                  <a:pt x="4085" y="2645"/>
                </a:lnTo>
                <a:lnTo>
                  <a:pt x="4080" y="2626"/>
                </a:lnTo>
                <a:lnTo>
                  <a:pt x="4075" y="2607"/>
                </a:lnTo>
                <a:lnTo>
                  <a:pt x="4069" y="2590"/>
                </a:lnTo>
                <a:lnTo>
                  <a:pt x="4055" y="2556"/>
                </a:lnTo>
                <a:lnTo>
                  <a:pt x="4043" y="2524"/>
                </a:lnTo>
                <a:lnTo>
                  <a:pt x="4043" y="2524"/>
                </a:lnTo>
                <a:lnTo>
                  <a:pt x="4038" y="2509"/>
                </a:lnTo>
                <a:lnTo>
                  <a:pt x="4035" y="2494"/>
                </a:lnTo>
                <a:lnTo>
                  <a:pt x="4034" y="2479"/>
                </a:lnTo>
                <a:lnTo>
                  <a:pt x="4035" y="2464"/>
                </a:lnTo>
                <a:lnTo>
                  <a:pt x="4037" y="2450"/>
                </a:lnTo>
                <a:lnTo>
                  <a:pt x="4041" y="2435"/>
                </a:lnTo>
                <a:lnTo>
                  <a:pt x="4046" y="2421"/>
                </a:lnTo>
                <a:lnTo>
                  <a:pt x="4053" y="2408"/>
                </a:lnTo>
                <a:lnTo>
                  <a:pt x="4061" y="2395"/>
                </a:lnTo>
                <a:lnTo>
                  <a:pt x="4071" y="2381"/>
                </a:lnTo>
                <a:lnTo>
                  <a:pt x="4081" y="2369"/>
                </a:lnTo>
                <a:lnTo>
                  <a:pt x="4092" y="2358"/>
                </a:lnTo>
                <a:lnTo>
                  <a:pt x="4103" y="2346"/>
                </a:lnTo>
                <a:lnTo>
                  <a:pt x="4117" y="2335"/>
                </a:lnTo>
                <a:lnTo>
                  <a:pt x="4130" y="2326"/>
                </a:lnTo>
                <a:lnTo>
                  <a:pt x="4145" y="2317"/>
                </a:lnTo>
                <a:lnTo>
                  <a:pt x="4145" y="2317"/>
                </a:lnTo>
                <a:lnTo>
                  <a:pt x="4180" y="2336"/>
                </a:lnTo>
                <a:lnTo>
                  <a:pt x="4215" y="2357"/>
                </a:lnTo>
                <a:lnTo>
                  <a:pt x="4251" y="2378"/>
                </a:lnTo>
                <a:lnTo>
                  <a:pt x="4286" y="2402"/>
                </a:lnTo>
                <a:lnTo>
                  <a:pt x="4286" y="2402"/>
                </a:lnTo>
                <a:lnTo>
                  <a:pt x="4307" y="2416"/>
                </a:lnTo>
                <a:lnTo>
                  <a:pt x="4341" y="2441"/>
                </a:lnTo>
                <a:lnTo>
                  <a:pt x="4361" y="2456"/>
                </a:lnTo>
                <a:lnTo>
                  <a:pt x="4382" y="2474"/>
                </a:lnTo>
                <a:lnTo>
                  <a:pt x="4405" y="2494"/>
                </a:lnTo>
                <a:lnTo>
                  <a:pt x="4430" y="2515"/>
                </a:lnTo>
                <a:lnTo>
                  <a:pt x="4453" y="2539"/>
                </a:lnTo>
                <a:lnTo>
                  <a:pt x="4478" y="2563"/>
                </a:lnTo>
                <a:lnTo>
                  <a:pt x="4501" y="2590"/>
                </a:lnTo>
                <a:lnTo>
                  <a:pt x="4524" y="2618"/>
                </a:lnTo>
                <a:lnTo>
                  <a:pt x="4545" y="2647"/>
                </a:lnTo>
                <a:lnTo>
                  <a:pt x="4564" y="2678"/>
                </a:lnTo>
                <a:lnTo>
                  <a:pt x="4574" y="2693"/>
                </a:lnTo>
                <a:lnTo>
                  <a:pt x="4582" y="2709"/>
                </a:lnTo>
                <a:lnTo>
                  <a:pt x="4590" y="2726"/>
                </a:lnTo>
                <a:lnTo>
                  <a:pt x="4596" y="2742"/>
                </a:lnTo>
                <a:lnTo>
                  <a:pt x="4596" y="2742"/>
                </a:lnTo>
                <a:lnTo>
                  <a:pt x="4606" y="2768"/>
                </a:lnTo>
                <a:lnTo>
                  <a:pt x="4616" y="2792"/>
                </a:lnTo>
                <a:lnTo>
                  <a:pt x="4624" y="2817"/>
                </a:lnTo>
                <a:lnTo>
                  <a:pt x="4630" y="2840"/>
                </a:lnTo>
                <a:lnTo>
                  <a:pt x="4636" y="2864"/>
                </a:lnTo>
                <a:lnTo>
                  <a:pt x="4641" y="2886"/>
                </a:lnTo>
                <a:lnTo>
                  <a:pt x="4645" y="2908"/>
                </a:lnTo>
                <a:lnTo>
                  <a:pt x="4649" y="2928"/>
                </a:lnTo>
                <a:lnTo>
                  <a:pt x="4651" y="2949"/>
                </a:lnTo>
                <a:lnTo>
                  <a:pt x="4653" y="2968"/>
                </a:lnTo>
                <a:lnTo>
                  <a:pt x="4654" y="2987"/>
                </a:lnTo>
                <a:lnTo>
                  <a:pt x="4655" y="3005"/>
                </a:lnTo>
                <a:lnTo>
                  <a:pt x="4654" y="3039"/>
                </a:lnTo>
                <a:lnTo>
                  <a:pt x="4652" y="3070"/>
                </a:lnTo>
                <a:lnTo>
                  <a:pt x="4648" y="3099"/>
                </a:lnTo>
                <a:lnTo>
                  <a:pt x="4642" y="3126"/>
                </a:lnTo>
                <a:lnTo>
                  <a:pt x="4635" y="3149"/>
                </a:lnTo>
                <a:lnTo>
                  <a:pt x="4628" y="3171"/>
                </a:lnTo>
                <a:lnTo>
                  <a:pt x="4620" y="3189"/>
                </a:lnTo>
                <a:lnTo>
                  <a:pt x="4612" y="3206"/>
                </a:lnTo>
                <a:lnTo>
                  <a:pt x="4603" y="3221"/>
                </a:lnTo>
                <a:lnTo>
                  <a:pt x="4596" y="3232"/>
                </a:lnTo>
                <a:lnTo>
                  <a:pt x="4596" y="3232"/>
                </a:lnTo>
                <a:lnTo>
                  <a:pt x="4582" y="3252"/>
                </a:lnTo>
                <a:lnTo>
                  <a:pt x="4568" y="3273"/>
                </a:lnTo>
                <a:lnTo>
                  <a:pt x="4553" y="3291"/>
                </a:lnTo>
                <a:lnTo>
                  <a:pt x="4538" y="3310"/>
                </a:lnTo>
                <a:lnTo>
                  <a:pt x="4522" y="3327"/>
                </a:lnTo>
                <a:lnTo>
                  <a:pt x="4505" y="3343"/>
                </a:lnTo>
                <a:lnTo>
                  <a:pt x="4487" y="3359"/>
                </a:lnTo>
                <a:lnTo>
                  <a:pt x="4469" y="3373"/>
                </a:lnTo>
                <a:lnTo>
                  <a:pt x="4450" y="3386"/>
                </a:lnTo>
                <a:lnTo>
                  <a:pt x="4430" y="3398"/>
                </a:lnTo>
                <a:lnTo>
                  <a:pt x="4409" y="3409"/>
                </a:lnTo>
                <a:lnTo>
                  <a:pt x="4388" y="3418"/>
                </a:lnTo>
                <a:lnTo>
                  <a:pt x="4364" y="3426"/>
                </a:lnTo>
                <a:lnTo>
                  <a:pt x="4341" y="3433"/>
                </a:lnTo>
                <a:lnTo>
                  <a:pt x="4316" y="3438"/>
                </a:lnTo>
                <a:lnTo>
                  <a:pt x="4290" y="3441"/>
                </a:lnTo>
                <a:lnTo>
                  <a:pt x="4290" y="3441"/>
                </a:lnTo>
                <a:lnTo>
                  <a:pt x="4283" y="3440"/>
                </a:lnTo>
                <a:lnTo>
                  <a:pt x="4275" y="3440"/>
                </a:lnTo>
                <a:lnTo>
                  <a:pt x="4275" y="3440"/>
                </a:lnTo>
                <a:lnTo>
                  <a:pt x="4242" y="3441"/>
                </a:lnTo>
                <a:lnTo>
                  <a:pt x="4213" y="3441"/>
                </a:lnTo>
                <a:lnTo>
                  <a:pt x="4185" y="3440"/>
                </a:lnTo>
                <a:lnTo>
                  <a:pt x="4159" y="3437"/>
                </a:lnTo>
                <a:lnTo>
                  <a:pt x="4159" y="3437"/>
                </a:lnTo>
                <a:lnTo>
                  <a:pt x="4131" y="3432"/>
                </a:lnTo>
                <a:lnTo>
                  <a:pt x="4103" y="3427"/>
                </a:lnTo>
                <a:lnTo>
                  <a:pt x="4077" y="3420"/>
                </a:lnTo>
                <a:lnTo>
                  <a:pt x="4052" y="3413"/>
                </a:lnTo>
                <a:lnTo>
                  <a:pt x="4052" y="3413"/>
                </a:lnTo>
                <a:lnTo>
                  <a:pt x="4009" y="3398"/>
                </a:lnTo>
                <a:lnTo>
                  <a:pt x="3965" y="3379"/>
                </a:lnTo>
                <a:lnTo>
                  <a:pt x="3965" y="3379"/>
                </a:lnTo>
                <a:lnTo>
                  <a:pt x="3925" y="3359"/>
                </a:lnTo>
                <a:lnTo>
                  <a:pt x="3874" y="3331"/>
                </a:lnTo>
                <a:lnTo>
                  <a:pt x="3846" y="3314"/>
                </a:lnTo>
                <a:lnTo>
                  <a:pt x="3815" y="3294"/>
                </a:lnTo>
                <a:lnTo>
                  <a:pt x="3782" y="3274"/>
                </a:lnTo>
                <a:lnTo>
                  <a:pt x="3748" y="3250"/>
                </a:lnTo>
                <a:lnTo>
                  <a:pt x="3712" y="3226"/>
                </a:lnTo>
                <a:lnTo>
                  <a:pt x="3676" y="3198"/>
                </a:lnTo>
                <a:lnTo>
                  <a:pt x="3638" y="3170"/>
                </a:lnTo>
                <a:lnTo>
                  <a:pt x="3601" y="3139"/>
                </a:lnTo>
                <a:lnTo>
                  <a:pt x="3563" y="3106"/>
                </a:lnTo>
                <a:lnTo>
                  <a:pt x="3526" y="3071"/>
                </a:lnTo>
                <a:lnTo>
                  <a:pt x="3488" y="3035"/>
                </a:lnTo>
                <a:lnTo>
                  <a:pt x="3451" y="2997"/>
                </a:lnTo>
                <a:lnTo>
                  <a:pt x="3451" y="2997"/>
                </a:lnTo>
                <a:lnTo>
                  <a:pt x="3394" y="2933"/>
                </a:lnTo>
                <a:lnTo>
                  <a:pt x="3342" y="2874"/>
                </a:lnTo>
                <a:lnTo>
                  <a:pt x="3295" y="2819"/>
                </a:lnTo>
                <a:lnTo>
                  <a:pt x="3253" y="2769"/>
                </a:lnTo>
                <a:lnTo>
                  <a:pt x="3215" y="2722"/>
                </a:lnTo>
                <a:lnTo>
                  <a:pt x="3180" y="2679"/>
                </a:lnTo>
                <a:lnTo>
                  <a:pt x="3120" y="2602"/>
                </a:lnTo>
                <a:lnTo>
                  <a:pt x="3120" y="2602"/>
                </a:lnTo>
                <a:lnTo>
                  <a:pt x="3138" y="2609"/>
                </a:lnTo>
                <a:lnTo>
                  <a:pt x="3156" y="2615"/>
                </a:lnTo>
                <a:lnTo>
                  <a:pt x="3175" y="2620"/>
                </a:lnTo>
                <a:lnTo>
                  <a:pt x="3193" y="2625"/>
                </a:lnTo>
                <a:lnTo>
                  <a:pt x="3211" y="2628"/>
                </a:lnTo>
                <a:lnTo>
                  <a:pt x="3229" y="2630"/>
                </a:lnTo>
                <a:lnTo>
                  <a:pt x="3262" y="2633"/>
                </a:lnTo>
                <a:lnTo>
                  <a:pt x="3289" y="2633"/>
                </a:lnTo>
                <a:lnTo>
                  <a:pt x="3312" y="2632"/>
                </a:lnTo>
                <a:lnTo>
                  <a:pt x="3332" y="2630"/>
                </a:lnTo>
                <a:lnTo>
                  <a:pt x="3332" y="2630"/>
                </a:lnTo>
                <a:lnTo>
                  <a:pt x="3336" y="2580"/>
                </a:lnTo>
                <a:lnTo>
                  <a:pt x="3338" y="2535"/>
                </a:lnTo>
                <a:lnTo>
                  <a:pt x="3340" y="2495"/>
                </a:lnTo>
                <a:lnTo>
                  <a:pt x="3346" y="2360"/>
                </a:lnTo>
                <a:lnTo>
                  <a:pt x="3346" y="2360"/>
                </a:lnTo>
                <a:lnTo>
                  <a:pt x="3349" y="2323"/>
                </a:lnTo>
                <a:lnTo>
                  <a:pt x="3351" y="2288"/>
                </a:lnTo>
                <a:lnTo>
                  <a:pt x="3352" y="2251"/>
                </a:lnTo>
                <a:lnTo>
                  <a:pt x="3352" y="2251"/>
                </a:lnTo>
                <a:lnTo>
                  <a:pt x="3340" y="2250"/>
                </a:lnTo>
                <a:lnTo>
                  <a:pt x="3307" y="2246"/>
                </a:lnTo>
                <a:lnTo>
                  <a:pt x="3285" y="2243"/>
                </a:lnTo>
                <a:lnTo>
                  <a:pt x="3260" y="2238"/>
                </a:lnTo>
                <a:lnTo>
                  <a:pt x="3233" y="2233"/>
                </a:lnTo>
                <a:lnTo>
                  <a:pt x="3206" y="2226"/>
                </a:lnTo>
                <a:lnTo>
                  <a:pt x="3176" y="2217"/>
                </a:lnTo>
                <a:lnTo>
                  <a:pt x="3147" y="2206"/>
                </a:lnTo>
                <a:lnTo>
                  <a:pt x="3120" y="2194"/>
                </a:lnTo>
                <a:lnTo>
                  <a:pt x="3106" y="2188"/>
                </a:lnTo>
                <a:lnTo>
                  <a:pt x="3093" y="2181"/>
                </a:lnTo>
                <a:lnTo>
                  <a:pt x="3081" y="2173"/>
                </a:lnTo>
                <a:lnTo>
                  <a:pt x="3070" y="2164"/>
                </a:lnTo>
                <a:lnTo>
                  <a:pt x="3058" y="2155"/>
                </a:lnTo>
                <a:lnTo>
                  <a:pt x="3049" y="2146"/>
                </a:lnTo>
                <a:lnTo>
                  <a:pt x="3040" y="2136"/>
                </a:lnTo>
                <a:lnTo>
                  <a:pt x="3032" y="2125"/>
                </a:lnTo>
                <a:lnTo>
                  <a:pt x="3025" y="2113"/>
                </a:lnTo>
                <a:lnTo>
                  <a:pt x="3019" y="2101"/>
                </a:lnTo>
                <a:lnTo>
                  <a:pt x="3019" y="2101"/>
                </a:lnTo>
                <a:lnTo>
                  <a:pt x="3030" y="2107"/>
                </a:lnTo>
                <a:lnTo>
                  <a:pt x="3042" y="2112"/>
                </a:lnTo>
                <a:lnTo>
                  <a:pt x="3059" y="2119"/>
                </a:lnTo>
                <a:lnTo>
                  <a:pt x="3081" y="2127"/>
                </a:lnTo>
                <a:lnTo>
                  <a:pt x="3106" y="2134"/>
                </a:lnTo>
                <a:lnTo>
                  <a:pt x="3136" y="2139"/>
                </a:lnTo>
                <a:lnTo>
                  <a:pt x="3152" y="2141"/>
                </a:lnTo>
                <a:lnTo>
                  <a:pt x="3169" y="2142"/>
                </a:lnTo>
                <a:lnTo>
                  <a:pt x="3169" y="2142"/>
                </a:lnTo>
                <a:lnTo>
                  <a:pt x="3201" y="2143"/>
                </a:lnTo>
                <a:lnTo>
                  <a:pt x="3234" y="2143"/>
                </a:lnTo>
                <a:lnTo>
                  <a:pt x="3266" y="2141"/>
                </a:lnTo>
                <a:lnTo>
                  <a:pt x="3295" y="2139"/>
                </a:lnTo>
                <a:lnTo>
                  <a:pt x="3340" y="2133"/>
                </a:lnTo>
                <a:lnTo>
                  <a:pt x="3357" y="2131"/>
                </a:lnTo>
                <a:lnTo>
                  <a:pt x="3357" y="2131"/>
                </a:lnTo>
                <a:lnTo>
                  <a:pt x="3359" y="2125"/>
                </a:lnTo>
                <a:lnTo>
                  <a:pt x="3361" y="2113"/>
                </a:lnTo>
                <a:lnTo>
                  <a:pt x="3364" y="2083"/>
                </a:lnTo>
                <a:lnTo>
                  <a:pt x="3367" y="2043"/>
                </a:lnTo>
                <a:lnTo>
                  <a:pt x="3369" y="1999"/>
                </a:lnTo>
                <a:lnTo>
                  <a:pt x="3373" y="1919"/>
                </a:lnTo>
                <a:lnTo>
                  <a:pt x="3375" y="1884"/>
                </a:lnTo>
                <a:lnTo>
                  <a:pt x="3375" y="1884"/>
                </a:lnTo>
                <a:lnTo>
                  <a:pt x="3376" y="1856"/>
                </a:lnTo>
                <a:lnTo>
                  <a:pt x="3377" y="1816"/>
                </a:lnTo>
                <a:lnTo>
                  <a:pt x="3377" y="1767"/>
                </a:lnTo>
                <a:lnTo>
                  <a:pt x="3377" y="1767"/>
                </a:lnTo>
                <a:lnTo>
                  <a:pt x="3369" y="1769"/>
                </a:lnTo>
                <a:lnTo>
                  <a:pt x="3359" y="1770"/>
                </a:lnTo>
                <a:lnTo>
                  <a:pt x="3338" y="1772"/>
                </a:lnTo>
                <a:lnTo>
                  <a:pt x="3315" y="1771"/>
                </a:lnTo>
                <a:lnTo>
                  <a:pt x="3290" y="1769"/>
                </a:lnTo>
                <a:lnTo>
                  <a:pt x="3264" y="1766"/>
                </a:lnTo>
                <a:lnTo>
                  <a:pt x="3236" y="1762"/>
                </a:lnTo>
                <a:lnTo>
                  <a:pt x="3208" y="1756"/>
                </a:lnTo>
                <a:lnTo>
                  <a:pt x="3178" y="1748"/>
                </a:lnTo>
                <a:lnTo>
                  <a:pt x="3178" y="1748"/>
                </a:lnTo>
                <a:lnTo>
                  <a:pt x="3158" y="1742"/>
                </a:lnTo>
                <a:lnTo>
                  <a:pt x="3135" y="1733"/>
                </a:lnTo>
                <a:lnTo>
                  <a:pt x="3112" y="1721"/>
                </a:lnTo>
                <a:lnTo>
                  <a:pt x="3088" y="1706"/>
                </a:lnTo>
                <a:lnTo>
                  <a:pt x="3064" y="1690"/>
                </a:lnTo>
                <a:lnTo>
                  <a:pt x="3053" y="1681"/>
                </a:lnTo>
                <a:lnTo>
                  <a:pt x="3043" y="1672"/>
                </a:lnTo>
                <a:lnTo>
                  <a:pt x="3034" y="1661"/>
                </a:lnTo>
                <a:lnTo>
                  <a:pt x="3025" y="1652"/>
                </a:lnTo>
                <a:lnTo>
                  <a:pt x="3017" y="1642"/>
                </a:lnTo>
                <a:lnTo>
                  <a:pt x="3010" y="1631"/>
                </a:lnTo>
                <a:lnTo>
                  <a:pt x="3010" y="1631"/>
                </a:lnTo>
                <a:lnTo>
                  <a:pt x="3022" y="1636"/>
                </a:lnTo>
                <a:lnTo>
                  <a:pt x="3035" y="1640"/>
                </a:lnTo>
                <a:lnTo>
                  <a:pt x="3052" y="1646"/>
                </a:lnTo>
                <a:lnTo>
                  <a:pt x="3075" y="1652"/>
                </a:lnTo>
                <a:lnTo>
                  <a:pt x="3101" y="1658"/>
                </a:lnTo>
                <a:lnTo>
                  <a:pt x="3132" y="1665"/>
                </a:lnTo>
                <a:lnTo>
                  <a:pt x="3167" y="1670"/>
                </a:lnTo>
                <a:lnTo>
                  <a:pt x="3167" y="1670"/>
                </a:lnTo>
                <a:lnTo>
                  <a:pt x="3187" y="1672"/>
                </a:lnTo>
                <a:lnTo>
                  <a:pt x="3207" y="1673"/>
                </a:lnTo>
                <a:lnTo>
                  <a:pt x="3226" y="1674"/>
                </a:lnTo>
                <a:lnTo>
                  <a:pt x="3245" y="1674"/>
                </a:lnTo>
                <a:lnTo>
                  <a:pt x="3283" y="1672"/>
                </a:lnTo>
                <a:lnTo>
                  <a:pt x="3317" y="1669"/>
                </a:lnTo>
                <a:lnTo>
                  <a:pt x="3346" y="1663"/>
                </a:lnTo>
                <a:lnTo>
                  <a:pt x="3369" y="1658"/>
                </a:lnTo>
                <a:lnTo>
                  <a:pt x="3377" y="1655"/>
                </a:lnTo>
                <a:lnTo>
                  <a:pt x="3383" y="1653"/>
                </a:lnTo>
                <a:lnTo>
                  <a:pt x="3388" y="1650"/>
                </a:lnTo>
                <a:lnTo>
                  <a:pt x="3390" y="1647"/>
                </a:lnTo>
                <a:lnTo>
                  <a:pt x="3390" y="1647"/>
                </a:lnTo>
                <a:lnTo>
                  <a:pt x="3392" y="1621"/>
                </a:lnTo>
                <a:lnTo>
                  <a:pt x="3393" y="1587"/>
                </a:lnTo>
                <a:lnTo>
                  <a:pt x="3394" y="1510"/>
                </a:lnTo>
                <a:lnTo>
                  <a:pt x="3394" y="1412"/>
                </a:lnTo>
                <a:lnTo>
                  <a:pt x="3394" y="1412"/>
                </a:lnTo>
                <a:lnTo>
                  <a:pt x="3399" y="1348"/>
                </a:lnTo>
                <a:lnTo>
                  <a:pt x="3400" y="1304"/>
                </a:lnTo>
                <a:lnTo>
                  <a:pt x="3400" y="1289"/>
                </a:lnTo>
                <a:lnTo>
                  <a:pt x="3399" y="1285"/>
                </a:lnTo>
                <a:lnTo>
                  <a:pt x="3398" y="1284"/>
                </a:lnTo>
                <a:lnTo>
                  <a:pt x="3398" y="1284"/>
                </a:lnTo>
                <a:lnTo>
                  <a:pt x="3392" y="1284"/>
                </a:lnTo>
                <a:lnTo>
                  <a:pt x="3381" y="1285"/>
                </a:lnTo>
                <a:lnTo>
                  <a:pt x="3368" y="1285"/>
                </a:lnTo>
                <a:lnTo>
                  <a:pt x="3354" y="1284"/>
                </a:lnTo>
                <a:lnTo>
                  <a:pt x="3336" y="1282"/>
                </a:lnTo>
                <a:lnTo>
                  <a:pt x="3317" y="1279"/>
                </a:lnTo>
                <a:lnTo>
                  <a:pt x="3297" y="1274"/>
                </a:lnTo>
                <a:lnTo>
                  <a:pt x="3274" y="1269"/>
                </a:lnTo>
                <a:lnTo>
                  <a:pt x="3251" y="1261"/>
                </a:lnTo>
                <a:lnTo>
                  <a:pt x="3226" y="1251"/>
                </a:lnTo>
                <a:lnTo>
                  <a:pt x="3200" y="1240"/>
                </a:lnTo>
                <a:lnTo>
                  <a:pt x="3175" y="1226"/>
                </a:lnTo>
                <a:lnTo>
                  <a:pt x="3149" y="1210"/>
                </a:lnTo>
                <a:lnTo>
                  <a:pt x="3123" y="1191"/>
                </a:lnTo>
                <a:lnTo>
                  <a:pt x="3110" y="1181"/>
                </a:lnTo>
                <a:lnTo>
                  <a:pt x="3097" y="1170"/>
                </a:lnTo>
                <a:lnTo>
                  <a:pt x="3085" y="1157"/>
                </a:lnTo>
                <a:lnTo>
                  <a:pt x="3073" y="1145"/>
                </a:lnTo>
                <a:lnTo>
                  <a:pt x="3073" y="1145"/>
                </a:lnTo>
                <a:lnTo>
                  <a:pt x="3071" y="1143"/>
                </a:lnTo>
                <a:lnTo>
                  <a:pt x="3065" y="1138"/>
                </a:lnTo>
                <a:lnTo>
                  <a:pt x="3059" y="1129"/>
                </a:lnTo>
                <a:lnTo>
                  <a:pt x="3056" y="1123"/>
                </a:lnTo>
                <a:lnTo>
                  <a:pt x="3053" y="1116"/>
                </a:lnTo>
                <a:lnTo>
                  <a:pt x="3051" y="1109"/>
                </a:lnTo>
                <a:lnTo>
                  <a:pt x="3050" y="1101"/>
                </a:lnTo>
                <a:lnTo>
                  <a:pt x="3049" y="1092"/>
                </a:lnTo>
                <a:lnTo>
                  <a:pt x="3050" y="1082"/>
                </a:lnTo>
                <a:lnTo>
                  <a:pt x="3053" y="1072"/>
                </a:lnTo>
                <a:lnTo>
                  <a:pt x="3056" y="1060"/>
                </a:lnTo>
                <a:lnTo>
                  <a:pt x="3062" y="1048"/>
                </a:lnTo>
                <a:lnTo>
                  <a:pt x="3071" y="1035"/>
                </a:lnTo>
                <a:lnTo>
                  <a:pt x="3071" y="1035"/>
                </a:lnTo>
                <a:lnTo>
                  <a:pt x="2806" y="916"/>
                </a:lnTo>
                <a:lnTo>
                  <a:pt x="2806" y="916"/>
                </a:lnTo>
                <a:lnTo>
                  <a:pt x="2815" y="907"/>
                </a:lnTo>
                <a:lnTo>
                  <a:pt x="2824" y="896"/>
                </a:lnTo>
                <a:lnTo>
                  <a:pt x="2834" y="881"/>
                </a:lnTo>
                <a:lnTo>
                  <a:pt x="2845" y="865"/>
                </a:lnTo>
                <a:lnTo>
                  <a:pt x="2850" y="856"/>
                </a:lnTo>
                <a:lnTo>
                  <a:pt x="2854" y="847"/>
                </a:lnTo>
                <a:lnTo>
                  <a:pt x="2858" y="836"/>
                </a:lnTo>
                <a:lnTo>
                  <a:pt x="2861" y="826"/>
                </a:lnTo>
                <a:lnTo>
                  <a:pt x="2863" y="816"/>
                </a:lnTo>
                <a:lnTo>
                  <a:pt x="2863" y="806"/>
                </a:lnTo>
                <a:lnTo>
                  <a:pt x="2863" y="806"/>
                </a:lnTo>
                <a:lnTo>
                  <a:pt x="2863" y="794"/>
                </a:lnTo>
                <a:lnTo>
                  <a:pt x="2860" y="784"/>
                </a:lnTo>
                <a:lnTo>
                  <a:pt x="2855" y="774"/>
                </a:lnTo>
                <a:lnTo>
                  <a:pt x="2849" y="765"/>
                </a:lnTo>
                <a:lnTo>
                  <a:pt x="2841" y="756"/>
                </a:lnTo>
                <a:lnTo>
                  <a:pt x="2830" y="748"/>
                </a:lnTo>
                <a:lnTo>
                  <a:pt x="2820" y="741"/>
                </a:lnTo>
                <a:lnTo>
                  <a:pt x="2808" y="735"/>
                </a:lnTo>
                <a:lnTo>
                  <a:pt x="2795" y="730"/>
                </a:lnTo>
                <a:lnTo>
                  <a:pt x="2781" y="726"/>
                </a:lnTo>
                <a:lnTo>
                  <a:pt x="2767" y="722"/>
                </a:lnTo>
                <a:lnTo>
                  <a:pt x="2753" y="720"/>
                </a:lnTo>
                <a:lnTo>
                  <a:pt x="2738" y="718"/>
                </a:lnTo>
                <a:lnTo>
                  <a:pt x="2723" y="718"/>
                </a:lnTo>
                <a:lnTo>
                  <a:pt x="2709" y="719"/>
                </a:lnTo>
                <a:lnTo>
                  <a:pt x="2694" y="721"/>
                </a:lnTo>
                <a:lnTo>
                  <a:pt x="2694" y="721"/>
                </a:lnTo>
                <a:lnTo>
                  <a:pt x="2681" y="724"/>
                </a:lnTo>
                <a:lnTo>
                  <a:pt x="2669" y="728"/>
                </a:lnTo>
                <a:lnTo>
                  <a:pt x="2656" y="733"/>
                </a:lnTo>
                <a:lnTo>
                  <a:pt x="2644" y="739"/>
                </a:lnTo>
                <a:lnTo>
                  <a:pt x="2634" y="746"/>
                </a:lnTo>
                <a:lnTo>
                  <a:pt x="2623" y="754"/>
                </a:lnTo>
                <a:lnTo>
                  <a:pt x="2604" y="769"/>
                </a:lnTo>
                <a:lnTo>
                  <a:pt x="2589" y="784"/>
                </a:lnTo>
                <a:lnTo>
                  <a:pt x="2578" y="796"/>
                </a:lnTo>
                <a:lnTo>
                  <a:pt x="2569" y="809"/>
                </a:lnTo>
                <a:lnTo>
                  <a:pt x="2238" y="662"/>
                </a:lnTo>
                <a:lnTo>
                  <a:pt x="1977" y="925"/>
                </a:lnTo>
                <a:lnTo>
                  <a:pt x="1977" y="925"/>
                </a:lnTo>
                <a:lnTo>
                  <a:pt x="1972" y="930"/>
                </a:lnTo>
                <a:lnTo>
                  <a:pt x="1966" y="942"/>
                </a:lnTo>
                <a:lnTo>
                  <a:pt x="1963" y="949"/>
                </a:lnTo>
                <a:lnTo>
                  <a:pt x="1961" y="957"/>
                </a:lnTo>
                <a:lnTo>
                  <a:pt x="1960" y="966"/>
                </a:lnTo>
                <a:lnTo>
                  <a:pt x="1960" y="975"/>
                </a:lnTo>
                <a:lnTo>
                  <a:pt x="1964" y="999"/>
                </a:lnTo>
                <a:lnTo>
                  <a:pt x="1964" y="999"/>
                </a:lnTo>
                <a:lnTo>
                  <a:pt x="1964" y="1005"/>
                </a:lnTo>
                <a:lnTo>
                  <a:pt x="1963" y="1011"/>
                </a:lnTo>
                <a:lnTo>
                  <a:pt x="1962" y="1016"/>
                </a:lnTo>
                <a:lnTo>
                  <a:pt x="1961" y="1020"/>
                </a:lnTo>
                <a:lnTo>
                  <a:pt x="1957" y="1028"/>
                </a:lnTo>
                <a:lnTo>
                  <a:pt x="1955" y="1032"/>
                </a:lnTo>
                <a:lnTo>
                  <a:pt x="1955" y="1032"/>
                </a:lnTo>
                <a:lnTo>
                  <a:pt x="1936" y="1054"/>
                </a:lnTo>
                <a:lnTo>
                  <a:pt x="1916" y="1078"/>
                </a:lnTo>
                <a:lnTo>
                  <a:pt x="1896" y="1100"/>
                </a:lnTo>
                <a:lnTo>
                  <a:pt x="1876" y="1123"/>
                </a:lnTo>
                <a:lnTo>
                  <a:pt x="1876" y="1123"/>
                </a:lnTo>
                <a:lnTo>
                  <a:pt x="1847" y="1161"/>
                </a:lnTo>
                <a:lnTo>
                  <a:pt x="1836" y="1177"/>
                </a:lnTo>
                <a:lnTo>
                  <a:pt x="1828" y="1189"/>
                </a:lnTo>
                <a:lnTo>
                  <a:pt x="1828" y="1189"/>
                </a:lnTo>
                <a:lnTo>
                  <a:pt x="1819" y="1204"/>
                </a:lnTo>
                <a:lnTo>
                  <a:pt x="1811" y="1220"/>
                </a:lnTo>
                <a:lnTo>
                  <a:pt x="1799" y="1245"/>
                </a:lnTo>
                <a:lnTo>
                  <a:pt x="1789" y="1269"/>
                </a:lnTo>
                <a:lnTo>
                  <a:pt x="1781" y="1290"/>
                </a:lnTo>
                <a:lnTo>
                  <a:pt x="1781" y="1290"/>
                </a:lnTo>
                <a:lnTo>
                  <a:pt x="1780" y="1293"/>
                </a:lnTo>
                <a:lnTo>
                  <a:pt x="1778" y="1304"/>
                </a:lnTo>
                <a:lnTo>
                  <a:pt x="1778" y="1311"/>
                </a:lnTo>
                <a:lnTo>
                  <a:pt x="1777" y="1319"/>
                </a:lnTo>
                <a:lnTo>
                  <a:pt x="1778" y="1328"/>
                </a:lnTo>
                <a:lnTo>
                  <a:pt x="1780" y="1339"/>
                </a:lnTo>
                <a:lnTo>
                  <a:pt x="1784" y="1352"/>
                </a:lnTo>
                <a:lnTo>
                  <a:pt x="1789" y="1365"/>
                </a:lnTo>
                <a:lnTo>
                  <a:pt x="1797" y="1378"/>
                </a:lnTo>
                <a:lnTo>
                  <a:pt x="1807" y="1394"/>
                </a:lnTo>
                <a:lnTo>
                  <a:pt x="1819" y="1410"/>
                </a:lnTo>
                <a:lnTo>
                  <a:pt x="1833" y="1426"/>
                </a:lnTo>
                <a:lnTo>
                  <a:pt x="1852" y="1444"/>
                </a:lnTo>
                <a:lnTo>
                  <a:pt x="1874" y="1462"/>
                </a:lnTo>
                <a:lnTo>
                  <a:pt x="1881" y="1468"/>
                </a:lnTo>
                <a:lnTo>
                  <a:pt x="1881" y="1468"/>
                </a:lnTo>
                <a:lnTo>
                  <a:pt x="1894" y="1451"/>
                </a:lnTo>
                <a:lnTo>
                  <a:pt x="1905" y="1462"/>
                </a:lnTo>
                <a:lnTo>
                  <a:pt x="1905" y="1462"/>
                </a:lnTo>
                <a:lnTo>
                  <a:pt x="1914" y="1471"/>
                </a:lnTo>
                <a:lnTo>
                  <a:pt x="1926" y="1482"/>
                </a:lnTo>
                <a:lnTo>
                  <a:pt x="1941" y="1494"/>
                </a:lnTo>
                <a:lnTo>
                  <a:pt x="1957" y="1504"/>
                </a:lnTo>
                <a:lnTo>
                  <a:pt x="1957" y="1504"/>
                </a:lnTo>
                <a:lnTo>
                  <a:pt x="1959" y="1497"/>
                </a:lnTo>
                <a:lnTo>
                  <a:pt x="1964" y="1477"/>
                </a:lnTo>
                <a:lnTo>
                  <a:pt x="1969" y="1464"/>
                </a:lnTo>
                <a:lnTo>
                  <a:pt x="1975" y="1451"/>
                </a:lnTo>
                <a:lnTo>
                  <a:pt x="1983" y="1437"/>
                </a:lnTo>
                <a:lnTo>
                  <a:pt x="1991" y="1422"/>
                </a:lnTo>
                <a:lnTo>
                  <a:pt x="1991" y="1422"/>
                </a:lnTo>
                <a:lnTo>
                  <a:pt x="2000" y="1410"/>
                </a:lnTo>
                <a:lnTo>
                  <a:pt x="2011" y="1398"/>
                </a:lnTo>
                <a:lnTo>
                  <a:pt x="2025" y="1384"/>
                </a:lnTo>
                <a:lnTo>
                  <a:pt x="2038" y="1371"/>
                </a:lnTo>
                <a:lnTo>
                  <a:pt x="2052" y="1359"/>
                </a:lnTo>
                <a:lnTo>
                  <a:pt x="2065" y="1348"/>
                </a:lnTo>
                <a:lnTo>
                  <a:pt x="2080" y="1337"/>
                </a:lnTo>
                <a:lnTo>
                  <a:pt x="2092" y="1329"/>
                </a:lnTo>
                <a:lnTo>
                  <a:pt x="2092" y="1329"/>
                </a:lnTo>
                <a:lnTo>
                  <a:pt x="2107" y="1320"/>
                </a:lnTo>
                <a:lnTo>
                  <a:pt x="2123" y="1312"/>
                </a:lnTo>
                <a:lnTo>
                  <a:pt x="2138" y="1305"/>
                </a:lnTo>
                <a:lnTo>
                  <a:pt x="2154" y="1298"/>
                </a:lnTo>
                <a:lnTo>
                  <a:pt x="2170" y="1294"/>
                </a:lnTo>
                <a:lnTo>
                  <a:pt x="2186" y="1291"/>
                </a:lnTo>
                <a:lnTo>
                  <a:pt x="2202" y="1288"/>
                </a:lnTo>
                <a:lnTo>
                  <a:pt x="2220" y="1287"/>
                </a:lnTo>
                <a:lnTo>
                  <a:pt x="2220" y="1287"/>
                </a:lnTo>
                <a:lnTo>
                  <a:pt x="2234" y="1288"/>
                </a:lnTo>
                <a:lnTo>
                  <a:pt x="2247" y="1289"/>
                </a:lnTo>
                <a:lnTo>
                  <a:pt x="2261" y="1292"/>
                </a:lnTo>
                <a:lnTo>
                  <a:pt x="2272" y="1297"/>
                </a:lnTo>
                <a:lnTo>
                  <a:pt x="2283" y="1304"/>
                </a:lnTo>
                <a:lnTo>
                  <a:pt x="2295" y="1311"/>
                </a:lnTo>
                <a:lnTo>
                  <a:pt x="2305" y="1320"/>
                </a:lnTo>
                <a:lnTo>
                  <a:pt x="2316" y="1330"/>
                </a:lnTo>
                <a:lnTo>
                  <a:pt x="2316" y="1330"/>
                </a:lnTo>
                <a:lnTo>
                  <a:pt x="2323" y="1338"/>
                </a:lnTo>
                <a:lnTo>
                  <a:pt x="2330" y="1349"/>
                </a:lnTo>
                <a:lnTo>
                  <a:pt x="2336" y="1360"/>
                </a:lnTo>
                <a:lnTo>
                  <a:pt x="2342" y="1372"/>
                </a:lnTo>
                <a:lnTo>
                  <a:pt x="2347" y="1384"/>
                </a:lnTo>
                <a:lnTo>
                  <a:pt x="2351" y="1398"/>
                </a:lnTo>
                <a:lnTo>
                  <a:pt x="2355" y="1412"/>
                </a:lnTo>
                <a:lnTo>
                  <a:pt x="2358" y="1426"/>
                </a:lnTo>
                <a:lnTo>
                  <a:pt x="2360" y="1440"/>
                </a:lnTo>
                <a:lnTo>
                  <a:pt x="2362" y="1454"/>
                </a:lnTo>
                <a:lnTo>
                  <a:pt x="2363" y="1467"/>
                </a:lnTo>
                <a:lnTo>
                  <a:pt x="2364" y="1480"/>
                </a:lnTo>
                <a:lnTo>
                  <a:pt x="2364" y="1493"/>
                </a:lnTo>
                <a:lnTo>
                  <a:pt x="2363" y="1504"/>
                </a:lnTo>
                <a:lnTo>
                  <a:pt x="2361" y="1514"/>
                </a:lnTo>
                <a:lnTo>
                  <a:pt x="2359" y="1523"/>
                </a:lnTo>
                <a:lnTo>
                  <a:pt x="2359" y="1523"/>
                </a:lnTo>
                <a:lnTo>
                  <a:pt x="2330" y="1505"/>
                </a:lnTo>
                <a:lnTo>
                  <a:pt x="2330" y="1505"/>
                </a:lnTo>
                <a:lnTo>
                  <a:pt x="2309" y="1494"/>
                </a:lnTo>
                <a:lnTo>
                  <a:pt x="2281" y="1484"/>
                </a:lnTo>
                <a:lnTo>
                  <a:pt x="2266" y="1477"/>
                </a:lnTo>
                <a:lnTo>
                  <a:pt x="2251" y="1473"/>
                </a:lnTo>
                <a:lnTo>
                  <a:pt x="2233" y="1469"/>
                </a:lnTo>
                <a:lnTo>
                  <a:pt x="2215" y="1465"/>
                </a:lnTo>
                <a:lnTo>
                  <a:pt x="2195" y="1463"/>
                </a:lnTo>
                <a:lnTo>
                  <a:pt x="2175" y="1462"/>
                </a:lnTo>
                <a:lnTo>
                  <a:pt x="2154" y="1462"/>
                </a:lnTo>
                <a:lnTo>
                  <a:pt x="2132" y="1464"/>
                </a:lnTo>
                <a:lnTo>
                  <a:pt x="2109" y="1467"/>
                </a:lnTo>
                <a:lnTo>
                  <a:pt x="2086" y="1472"/>
                </a:lnTo>
                <a:lnTo>
                  <a:pt x="2062" y="1480"/>
                </a:lnTo>
                <a:lnTo>
                  <a:pt x="2037" y="1491"/>
                </a:lnTo>
                <a:lnTo>
                  <a:pt x="2037" y="1491"/>
                </a:lnTo>
                <a:lnTo>
                  <a:pt x="1995" y="1509"/>
                </a:lnTo>
                <a:lnTo>
                  <a:pt x="1967" y="1521"/>
                </a:lnTo>
                <a:lnTo>
                  <a:pt x="1936" y="1534"/>
                </a:lnTo>
                <a:lnTo>
                  <a:pt x="1900" y="1548"/>
                </a:lnTo>
                <a:lnTo>
                  <a:pt x="1860" y="1562"/>
                </a:lnTo>
                <a:lnTo>
                  <a:pt x="1814" y="1578"/>
                </a:lnTo>
                <a:lnTo>
                  <a:pt x="1764" y="1593"/>
                </a:lnTo>
                <a:lnTo>
                  <a:pt x="1764" y="1593"/>
                </a:lnTo>
                <a:lnTo>
                  <a:pt x="1737" y="1600"/>
                </a:lnTo>
                <a:lnTo>
                  <a:pt x="1725" y="1602"/>
                </a:lnTo>
                <a:lnTo>
                  <a:pt x="1713" y="1603"/>
                </a:lnTo>
                <a:lnTo>
                  <a:pt x="1701" y="1603"/>
                </a:lnTo>
                <a:lnTo>
                  <a:pt x="1691" y="1603"/>
                </a:lnTo>
                <a:lnTo>
                  <a:pt x="1681" y="1602"/>
                </a:lnTo>
                <a:lnTo>
                  <a:pt x="1672" y="1600"/>
                </a:lnTo>
                <a:lnTo>
                  <a:pt x="1664" y="1597"/>
                </a:lnTo>
                <a:lnTo>
                  <a:pt x="1655" y="1592"/>
                </a:lnTo>
                <a:lnTo>
                  <a:pt x="1649" y="1587"/>
                </a:lnTo>
                <a:lnTo>
                  <a:pt x="1642" y="1581"/>
                </a:lnTo>
                <a:lnTo>
                  <a:pt x="1637" y="1574"/>
                </a:lnTo>
                <a:lnTo>
                  <a:pt x="1633" y="1564"/>
                </a:lnTo>
                <a:lnTo>
                  <a:pt x="1629" y="1554"/>
                </a:lnTo>
                <a:lnTo>
                  <a:pt x="1626" y="1543"/>
                </a:lnTo>
                <a:lnTo>
                  <a:pt x="1626" y="1543"/>
                </a:lnTo>
                <a:lnTo>
                  <a:pt x="1624" y="1533"/>
                </a:lnTo>
                <a:lnTo>
                  <a:pt x="1623" y="1522"/>
                </a:lnTo>
                <a:lnTo>
                  <a:pt x="1623" y="1513"/>
                </a:lnTo>
                <a:lnTo>
                  <a:pt x="1623" y="1504"/>
                </a:lnTo>
                <a:lnTo>
                  <a:pt x="1625" y="1488"/>
                </a:lnTo>
                <a:lnTo>
                  <a:pt x="1629" y="1473"/>
                </a:lnTo>
                <a:lnTo>
                  <a:pt x="1633" y="1462"/>
                </a:lnTo>
                <a:lnTo>
                  <a:pt x="1636" y="1454"/>
                </a:lnTo>
                <a:lnTo>
                  <a:pt x="1640" y="1446"/>
                </a:lnTo>
                <a:lnTo>
                  <a:pt x="1640" y="1446"/>
                </a:lnTo>
                <a:lnTo>
                  <a:pt x="1636" y="1447"/>
                </a:lnTo>
                <a:lnTo>
                  <a:pt x="1626" y="1450"/>
                </a:lnTo>
                <a:lnTo>
                  <a:pt x="1610" y="1456"/>
                </a:lnTo>
                <a:lnTo>
                  <a:pt x="1601" y="1459"/>
                </a:lnTo>
                <a:lnTo>
                  <a:pt x="1592" y="1464"/>
                </a:lnTo>
                <a:lnTo>
                  <a:pt x="1582" y="1470"/>
                </a:lnTo>
                <a:lnTo>
                  <a:pt x="1573" y="1476"/>
                </a:lnTo>
                <a:lnTo>
                  <a:pt x="1563" y="1485"/>
                </a:lnTo>
                <a:lnTo>
                  <a:pt x="1554" y="1494"/>
                </a:lnTo>
                <a:lnTo>
                  <a:pt x="1546" y="1504"/>
                </a:lnTo>
                <a:lnTo>
                  <a:pt x="1539" y="1515"/>
                </a:lnTo>
                <a:lnTo>
                  <a:pt x="1533" y="1529"/>
                </a:lnTo>
                <a:lnTo>
                  <a:pt x="1528" y="1543"/>
                </a:lnTo>
                <a:lnTo>
                  <a:pt x="1528" y="1543"/>
                </a:lnTo>
                <a:lnTo>
                  <a:pt x="1525" y="1558"/>
                </a:lnTo>
                <a:lnTo>
                  <a:pt x="1523" y="1574"/>
                </a:lnTo>
                <a:lnTo>
                  <a:pt x="1523" y="1589"/>
                </a:lnTo>
                <a:lnTo>
                  <a:pt x="1523" y="1603"/>
                </a:lnTo>
                <a:lnTo>
                  <a:pt x="1524" y="1616"/>
                </a:lnTo>
                <a:lnTo>
                  <a:pt x="1527" y="1631"/>
                </a:lnTo>
                <a:lnTo>
                  <a:pt x="1531" y="1643"/>
                </a:lnTo>
                <a:lnTo>
                  <a:pt x="1536" y="1655"/>
                </a:lnTo>
                <a:lnTo>
                  <a:pt x="1542" y="1668"/>
                </a:lnTo>
                <a:lnTo>
                  <a:pt x="1549" y="1678"/>
                </a:lnTo>
                <a:lnTo>
                  <a:pt x="1557" y="1688"/>
                </a:lnTo>
                <a:lnTo>
                  <a:pt x="1568" y="1696"/>
                </a:lnTo>
                <a:lnTo>
                  <a:pt x="1578" y="1704"/>
                </a:lnTo>
                <a:lnTo>
                  <a:pt x="1590" y="1711"/>
                </a:lnTo>
                <a:lnTo>
                  <a:pt x="1602" y="1717"/>
                </a:lnTo>
                <a:lnTo>
                  <a:pt x="1617" y="1721"/>
                </a:lnTo>
                <a:lnTo>
                  <a:pt x="1617" y="1721"/>
                </a:lnTo>
                <a:lnTo>
                  <a:pt x="1630" y="1724"/>
                </a:lnTo>
                <a:lnTo>
                  <a:pt x="1644" y="1725"/>
                </a:lnTo>
                <a:lnTo>
                  <a:pt x="1660" y="1724"/>
                </a:lnTo>
                <a:lnTo>
                  <a:pt x="1676" y="1722"/>
                </a:lnTo>
                <a:lnTo>
                  <a:pt x="1692" y="1720"/>
                </a:lnTo>
                <a:lnTo>
                  <a:pt x="1710" y="1716"/>
                </a:lnTo>
                <a:lnTo>
                  <a:pt x="1727" y="1711"/>
                </a:lnTo>
                <a:lnTo>
                  <a:pt x="1744" y="1705"/>
                </a:lnTo>
                <a:lnTo>
                  <a:pt x="1779" y="1691"/>
                </a:lnTo>
                <a:lnTo>
                  <a:pt x="1815" y="1676"/>
                </a:lnTo>
                <a:lnTo>
                  <a:pt x="1849" y="1659"/>
                </a:lnTo>
                <a:lnTo>
                  <a:pt x="1880" y="1643"/>
                </a:lnTo>
                <a:lnTo>
                  <a:pt x="1880" y="1643"/>
                </a:lnTo>
                <a:lnTo>
                  <a:pt x="1942" y="1611"/>
                </a:lnTo>
                <a:lnTo>
                  <a:pt x="1979" y="1593"/>
                </a:lnTo>
                <a:lnTo>
                  <a:pt x="2013" y="1577"/>
                </a:lnTo>
                <a:lnTo>
                  <a:pt x="2013" y="1577"/>
                </a:lnTo>
                <a:lnTo>
                  <a:pt x="2041" y="1565"/>
                </a:lnTo>
                <a:lnTo>
                  <a:pt x="2054" y="1561"/>
                </a:lnTo>
                <a:lnTo>
                  <a:pt x="2068" y="1557"/>
                </a:lnTo>
                <a:lnTo>
                  <a:pt x="2081" y="1554"/>
                </a:lnTo>
                <a:lnTo>
                  <a:pt x="2093" y="1552"/>
                </a:lnTo>
                <a:lnTo>
                  <a:pt x="2105" y="1550"/>
                </a:lnTo>
                <a:lnTo>
                  <a:pt x="2119" y="1550"/>
                </a:lnTo>
                <a:lnTo>
                  <a:pt x="2131" y="1550"/>
                </a:lnTo>
                <a:lnTo>
                  <a:pt x="2143" y="1551"/>
                </a:lnTo>
                <a:lnTo>
                  <a:pt x="2156" y="1553"/>
                </a:lnTo>
                <a:lnTo>
                  <a:pt x="2170" y="1555"/>
                </a:lnTo>
                <a:lnTo>
                  <a:pt x="2183" y="1559"/>
                </a:lnTo>
                <a:lnTo>
                  <a:pt x="2196" y="1563"/>
                </a:lnTo>
                <a:lnTo>
                  <a:pt x="2211" y="1569"/>
                </a:lnTo>
                <a:lnTo>
                  <a:pt x="2226" y="1576"/>
                </a:lnTo>
                <a:lnTo>
                  <a:pt x="2226" y="1576"/>
                </a:lnTo>
                <a:lnTo>
                  <a:pt x="2246" y="1586"/>
                </a:lnTo>
                <a:lnTo>
                  <a:pt x="2265" y="1596"/>
                </a:lnTo>
                <a:lnTo>
                  <a:pt x="2281" y="1607"/>
                </a:lnTo>
                <a:lnTo>
                  <a:pt x="2295" y="1616"/>
                </a:lnTo>
                <a:lnTo>
                  <a:pt x="2305" y="1626"/>
                </a:lnTo>
                <a:lnTo>
                  <a:pt x="2312" y="1633"/>
                </a:lnTo>
                <a:lnTo>
                  <a:pt x="2319" y="1639"/>
                </a:lnTo>
                <a:lnTo>
                  <a:pt x="2319" y="1639"/>
                </a:lnTo>
                <a:lnTo>
                  <a:pt x="2317" y="1642"/>
                </a:lnTo>
                <a:lnTo>
                  <a:pt x="2313" y="1649"/>
                </a:lnTo>
                <a:lnTo>
                  <a:pt x="2305" y="1660"/>
                </a:lnTo>
                <a:lnTo>
                  <a:pt x="2300" y="1667"/>
                </a:lnTo>
                <a:lnTo>
                  <a:pt x="2293" y="1674"/>
                </a:lnTo>
                <a:lnTo>
                  <a:pt x="2285" y="1680"/>
                </a:lnTo>
                <a:lnTo>
                  <a:pt x="2276" y="1687"/>
                </a:lnTo>
                <a:lnTo>
                  <a:pt x="2267" y="1693"/>
                </a:lnTo>
                <a:lnTo>
                  <a:pt x="2255" y="1698"/>
                </a:lnTo>
                <a:lnTo>
                  <a:pt x="2242" y="1703"/>
                </a:lnTo>
                <a:lnTo>
                  <a:pt x="2228" y="1707"/>
                </a:lnTo>
                <a:lnTo>
                  <a:pt x="2212" y="1711"/>
                </a:lnTo>
                <a:lnTo>
                  <a:pt x="2194" y="1712"/>
                </a:lnTo>
                <a:lnTo>
                  <a:pt x="2194" y="1712"/>
                </a:lnTo>
                <a:lnTo>
                  <a:pt x="2180" y="1713"/>
                </a:lnTo>
                <a:lnTo>
                  <a:pt x="2166" y="1712"/>
                </a:lnTo>
                <a:lnTo>
                  <a:pt x="2152" y="1710"/>
                </a:lnTo>
                <a:lnTo>
                  <a:pt x="2139" y="1706"/>
                </a:lnTo>
                <a:lnTo>
                  <a:pt x="2127" y="1703"/>
                </a:lnTo>
                <a:lnTo>
                  <a:pt x="2115" y="1699"/>
                </a:lnTo>
                <a:lnTo>
                  <a:pt x="2103" y="1695"/>
                </a:lnTo>
                <a:lnTo>
                  <a:pt x="2092" y="1689"/>
                </a:lnTo>
                <a:lnTo>
                  <a:pt x="2082" y="1684"/>
                </a:lnTo>
                <a:lnTo>
                  <a:pt x="2073" y="1678"/>
                </a:lnTo>
                <a:lnTo>
                  <a:pt x="2064" y="1672"/>
                </a:lnTo>
                <a:lnTo>
                  <a:pt x="2056" y="1665"/>
                </a:lnTo>
                <a:lnTo>
                  <a:pt x="2048" y="1657"/>
                </a:lnTo>
                <a:lnTo>
                  <a:pt x="2042" y="1650"/>
                </a:lnTo>
                <a:lnTo>
                  <a:pt x="2036" y="1643"/>
                </a:lnTo>
                <a:lnTo>
                  <a:pt x="2031" y="1636"/>
                </a:lnTo>
                <a:lnTo>
                  <a:pt x="2031" y="1636"/>
                </a:lnTo>
                <a:lnTo>
                  <a:pt x="2022" y="1658"/>
                </a:lnTo>
                <a:lnTo>
                  <a:pt x="2013" y="1676"/>
                </a:lnTo>
                <a:lnTo>
                  <a:pt x="2007" y="1689"/>
                </a:lnTo>
                <a:lnTo>
                  <a:pt x="2007" y="1689"/>
                </a:lnTo>
                <a:lnTo>
                  <a:pt x="2003" y="1697"/>
                </a:lnTo>
                <a:lnTo>
                  <a:pt x="2000" y="1704"/>
                </a:lnTo>
                <a:lnTo>
                  <a:pt x="1998" y="1713"/>
                </a:lnTo>
                <a:lnTo>
                  <a:pt x="1997" y="1719"/>
                </a:lnTo>
                <a:lnTo>
                  <a:pt x="1997" y="1726"/>
                </a:lnTo>
                <a:lnTo>
                  <a:pt x="1997" y="1732"/>
                </a:lnTo>
                <a:lnTo>
                  <a:pt x="1999" y="1744"/>
                </a:lnTo>
                <a:lnTo>
                  <a:pt x="2001" y="1756"/>
                </a:lnTo>
                <a:lnTo>
                  <a:pt x="2003" y="1766"/>
                </a:lnTo>
                <a:lnTo>
                  <a:pt x="2004" y="1777"/>
                </a:lnTo>
                <a:lnTo>
                  <a:pt x="2003" y="1783"/>
                </a:lnTo>
                <a:lnTo>
                  <a:pt x="2001" y="1788"/>
                </a:lnTo>
                <a:lnTo>
                  <a:pt x="2001" y="1788"/>
                </a:lnTo>
                <a:lnTo>
                  <a:pt x="1999" y="1794"/>
                </a:lnTo>
                <a:lnTo>
                  <a:pt x="1995" y="1800"/>
                </a:lnTo>
                <a:lnTo>
                  <a:pt x="1986" y="1813"/>
                </a:lnTo>
                <a:lnTo>
                  <a:pt x="1973" y="1825"/>
                </a:lnTo>
                <a:lnTo>
                  <a:pt x="1960" y="1837"/>
                </a:lnTo>
                <a:lnTo>
                  <a:pt x="1945" y="1849"/>
                </a:lnTo>
                <a:lnTo>
                  <a:pt x="1931" y="1860"/>
                </a:lnTo>
                <a:lnTo>
                  <a:pt x="1904" y="1878"/>
                </a:lnTo>
                <a:lnTo>
                  <a:pt x="1904" y="1878"/>
                </a:lnTo>
                <a:lnTo>
                  <a:pt x="1886" y="1889"/>
                </a:lnTo>
                <a:lnTo>
                  <a:pt x="1864" y="1901"/>
                </a:lnTo>
                <a:lnTo>
                  <a:pt x="1842" y="1911"/>
                </a:lnTo>
                <a:lnTo>
                  <a:pt x="1819" y="1919"/>
                </a:lnTo>
                <a:lnTo>
                  <a:pt x="1798" y="1926"/>
                </a:lnTo>
                <a:lnTo>
                  <a:pt x="1779" y="1932"/>
                </a:lnTo>
                <a:lnTo>
                  <a:pt x="1754" y="1940"/>
                </a:lnTo>
                <a:lnTo>
                  <a:pt x="1754" y="1940"/>
                </a:lnTo>
                <a:lnTo>
                  <a:pt x="1779" y="1998"/>
                </a:lnTo>
                <a:lnTo>
                  <a:pt x="1811" y="2066"/>
                </a:lnTo>
                <a:lnTo>
                  <a:pt x="1811" y="2066"/>
                </a:lnTo>
                <a:lnTo>
                  <a:pt x="1833" y="2111"/>
                </a:lnTo>
                <a:lnTo>
                  <a:pt x="1862" y="2166"/>
                </a:lnTo>
                <a:lnTo>
                  <a:pt x="1877" y="2193"/>
                </a:lnTo>
                <a:lnTo>
                  <a:pt x="1893" y="2219"/>
                </a:lnTo>
                <a:lnTo>
                  <a:pt x="1909" y="2240"/>
                </a:lnTo>
                <a:lnTo>
                  <a:pt x="1916" y="2250"/>
                </a:lnTo>
                <a:lnTo>
                  <a:pt x="1924" y="2259"/>
                </a:lnTo>
                <a:lnTo>
                  <a:pt x="1924" y="2259"/>
                </a:lnTo>
                <a:lnTo>
                  <a:pt x="1940" y="2254"/>
                </a:lnTo>
                <a:lnTo>
                  <a:pt x="1957" y="2249"/>
                </a:lnTo>
                <a:lnTo>
                  <a:pt x="1980" y="2243"/>
                </a:lnTo>
                <a:lnTo>
                  <a:pt x="2004" y="2235"/>
                </a:lnTo>
                <a:lnTo>
                  <a:pt x="2031" y="2225"/>
                </a:lnTo>
                <a:lnTo>
                  <a:pt x="2057" y="2213"/>
                </a:lnTo>
                <a:lnTo>
                  <a:pt x="2071" y="2206"/>
                </a:lnTo>
                <a:lnTo>
                  <a:pt x="2083" y="2199"/>
                </a:lnTo>
                <a:lnTo>
                  <a:pt x="2083" y="2199"/>
                </a:lnTo>
                <a:lnTo>
                  <a:pt x="2105" y="2186"/>
                </a:lnTo>
                <a:lnTo>
                  <a:pt x="2126" y="2172"/>
                </a:lnTo>
                <a:lnTo>
                  <a:pt x="2145" y="2157"/>
                </a:lnTo>
                <a:lnTo>
                  <a:pt x="2162" y="2142"/>
                </a:lnTo>
                <a:lnTo>
                  <a:pt x="2177" y="2128"/>
                </a:lnTo>
                <a:lnTo>
                  <a:pt x="2189" y="2113"/>
                </a:lnTo>
                <a:lnTo>
                  <a:pt x="2199" y="2099"/>
                </a:lnTo>
                <a:lnTo>
                  <a:pt x="2207" y="2086"/>
                </a:lnTo>
                <a:lnTo>
                  <a:pt x="2207" y="2086"/>
                </a:lnTo>
                <a:lnTo>
                  <a:pt x="2190" y="2122"/>
                </a:lnTo>
                <a:lnTo>
                  <a:pt x="2175" y="2155"/>
                </a:lnTo>
                <a:lnTo>
                  <a:pt x="2161" y="2185"/>
                </a:lnTo>
                <a:lnTo>
                  <a:pt x="2146" y="2213"/>
                </a:lnTo>
                <a:lnTo>
                  <a:pt x="2132" y="2238"/>
                </a:lnTo>
                <a:lnTo>
                  <a:pt x="2119" y="2261"/>
                </a:lnTo>
                <a:lnTo>
                  <a:pt x="2105" y="2281"/>
                </a:lnTo>
                <a:lnTo>
                  <a:pt x="2092" y="2299"/>
                </a:lnTo>
                <a:lnTo>
                  <a:pt x="2080" y="2317"/>
                </a:lnTo>
                <a:lnTo>
                  <a:pt x="2068" y="2331"/>
                </a:lnTo>
                <a:lnTo>
                  <a:pt x="2055" y="2344"/>
                </a:lnTo>
                <a:lnTo>
                  <a:pt x="2044" y="2356"/>
                </a:lnTo>
                <a:lnTo>
                  <a:pt x="2033" y="2367"/>
                </a:lnTo>
                <a:lnTo>
                  <a:pt x="2022" y="2376"/>
                </a:lnTo>
                <a:lnTo>
                  <a:pt x="2011" y="2383"/>
                </a:lnTo>
                <a:lnTo>
                  <a:pt x="2000" y="2391"/>
                </a:lnTo>
                <a:lnTo>
                  <a:pt x="2000" y="2391"/>
                </a:lnTo>
                <a:lnTo>
                  <a:pt x="1907" y="2452"/>
                </a:lnTo>
                <a:lnTo>
                  <a:pt x="1797" y="2524"/>
                </a:lnTo>
                <a:lnTo>
                  <a:pt x="1735" y="2563"/>
                </a:lnTo>
                <a:lnTo>
                  <a:pt x="1671" y="2602"/>
                </a:lnTo>
                <a:lnTo>
                  <a:pt x="1602" y="2642"/>
                </a:lnTo>
                <a:lnTo>
                  <a:pt x="1532" y="2682"/>
                </a:lnTo>
                <a:lnTo>
                  <a:pt x="1459" y="2720"/>
                </a:lnTo>
                <a:lnTo>
                  <a:pt x="1422" y="2739"/>
                </a:lnTo>
                <a:lnTo>
                  <a:pt x="1384" y="2756"/>
                </a:lnTo>
                <a:lnTo>
                  <a:pt x="1347" y="2774"/>
                </a:lnTo>
                <a:lnTo>
                  <a:pt x="1308" y="2791"/>
                </a:lnTo>
                <a:lnTo>
                  <a:pt x="1269" y="2808"/>
                </a:lnTo>
                <a:lnTo>
                  <a:pt x="1230" y="2823"/>
                </a:lnTo>
                <a:lnTo>
                  <a:pt x="1190" y="2837"/>
                </a:lnTo>
                <a:lnTo>
                  <a:pt x="1151" y="2851"/>
                </a:lnTo>
                <a:lnTo>
                  <a:pt x="1111" y="2864"/>
                </a:lnTo>
                <a:lnTo>
                  <a:pt x="1072" y="2875"/>
                </a:lnTo>
                <a:lnTo>
                  <a:pt x="1032" y="2885"/>
                </a:lnTo>
                <a:lnTo>
                  <a:pt x="992" y="2893"/>
                </a:lnTo>
                <a:lnTo>
                  <a:pt x="952" y="2902"/>
                </a:lnTo>
                <a:lnTo>
                  <a:pt x="913" y="2908"/>
                </a:lnTo>
                <a:lnTo>
                  <a:pt x="913" y="2908"/>
                </a:lnTo>
                <a:lnTo>
                  <a:pt x="901" y="2908"/>
                </a:lnTo>
                <a:lnTo>
                  <a:pt x="889" y="2907"/>
                </a:lnTo>
                <a:lnTo>
                  <a:pt x="876" y="2904"/>
                </a:lnTo>
                <a:lnTo>
                  <a:pt x="863" y="2901"/>
                </a:lnTo>
                <a:lnTo>
                  <a:pt x="850" y="2898"/>
                </a:lnTo>
                <a:lnTo>
                  <a:pt x="836" y="2892"/>
                </a:lnTo>
                <a:lnTo>
                  <a:pt x="809" y="2880"/>
                </a:lnTo>
                <a:lnTo>
                  <a:pt x="781" y="2866"/>
                </a:lnTo>
                <a:lnTo>
                  <a:pt x="754" y="2850"/>
                </a:lnTo>
                <a:lnTo>
                  <a:pt x="726" y="2832"/>
                </a:lnTo>
                <a:lnTo>
                  <a:pt x="698" y="2813"/>
                </a:lnTo>
                <a:lnTo>
                  <a:pt x="672" y="2792"/>
                </a:lnTo>
                <a:lnTo>
                  <a:pt x="646" y="2772"/>
                </a:lnTo>
                <a:lnTo>
                  <a:pt x="623" y="2751"/>
                </a:lnTo>
                <a:lnTo>
                  <a:pt x="600" y="2731"/>
                </a:lnTo>
                <a:lnTo>
                  <a:pt x="581" y="2711"/>
                </a:lnTo>
                <a:lnTo>
                  <a:pt x="563" y="2694"/>
                </a:lnTo>
                <a:lnTo>
                  <a:pt x="548" y="2679"/>
                </a:lnTo>
                <a:lnTo>
                  <a:pt x="537" y="2665"/>
                </a:lnTo>
                <a:lnTo>
                  <a:pt x="537" y="2665"/>
                </a:lnTo>
                <a:lnTo>
                  <a:pt x="533" y="2661"/>
                </a:lnTo>
                <a:lnTo>
                  <a:pt x="530" y="2657"/>
                </a:lnTo>
                <a:lnTo>
                  <a:pt x="520" y="2652"/>
                </a:lnTo>
                <a:lnTo>
                  <a:pt x="512" y="2650"/>
                </a:lnTo>
                <a:lnTo>
                  <a:pt x="502" y="2649"/>
                </a:lnTo>
                <a:lnTo>
                  <a:pt x="493" y="2649"/>
                </a:lnTo>
                <a:lnTo>
                  <a:pt x="483" y="2651"/>
                </a:lnTo>
                <a:lnTo>
                  <a:pt x="473" y="2654"/>
                </a:lnTo>
                <a:lnTo>
                  <a:pt x="464" y="2658"/>
                </a:lnTo>
                <a:lnTo>
                  <a:pt x="447" y="2666"/>
                </a:lnTo>
                <a:lnTo>
                  <a:pt x="433" y="2676"/>
                </a:lnTo>
                <a:lnTo>
                  <a:pt x="419" y="2686"/>
                </a:lnTo>
                <a:lnTo>
                  <a:pt x="419" y="2686"/>
                </a:lnTo>
                <a:lnTo>
                  <a:pt x="412" y="2685"/>
                </a:lnTo>
                <a:lnTo>
                  <a:pt x="393" y="2683"/>
                </a:lnTo>
                <a:lnTo>
                  <a:pt x="379" y="2683"/>
                </a:lnTo>
                <a:lnTo>
                  <a:pt x="364" y="2683"/>
                </a:lnTo>
                <a:lnTo>
                  <a:pt x="348" y="2684"/>
                </a:lnTo>
                <a:lnTo>
                  <a:pt x="329" y="2686"/>
                </a:lnTo>
                <a:lnTo>
                  <a:pt x="310" y="2689"/>
                </a:lnTo>
                <a:lnTo>
                  <a:pt x="290" y="2694"/>
                </a:lnTo>
                <a:lnTo>
                  <a:pt x="271" y="2700"/>
                </a:lnTo>
                <a:lnTo>
                  <a:pt x="252" y="2709"/>
                </a:lnTo>
                <a:lnTo>
                  <a:pt x="242" y="2715"/>
                </a:lnTo>
                <a:lnTo>
                  <a:pt x="233" y="2720"/>
                </a:lnTo>
                <a:lnTo>
                  <a:pt x="224" y="2726"/>
                </a:lnTo>
                <a:lnTo>
                  <a:pt x="216" y="2733"/>
                </a:lnTo>
                <a:lnTo>
                  <a:pt x="207" y="2741"/>
                </a:lnTo>
                <a:lnTo>
                  <a:pt x="199" y="2749"/>
                </a:lnTo>
                <a:lnTo>
                  <a:pt x="191" y="2759"/>
                </a:lnTo>
                <a:lnTo>
                  <a:pt x="184" y="2768"/>
                </a:lnTo>
                <a:lnTo>
                  <a:pt x="184" y="2768"/>
                </a:lnTo>
                <a:lnTo>
                  <a:pt x="183" y="2771"/>
                </a:lnTo>
                <a:lnTo>
                  <a:pt x="185" y="2773"/>
                </a:lnTo>
                <a:lnTo>
                  <a:pt x="188" y="2774"/>
                </a:lnTo>
                <a:lnTo>
                  <a:pt x="193" y="2774"/>
                </a:lnTo>
                <a:lnTo>
                  <a:pt x="210" y="2772"/>
                </a:lnTo>
                <a:lnTo>
                  <a:pt x="230" y="2770"/>
                </a:lnTo>
                <a:lnTo>
                  <a:pt x="255" y="2768"/>
                </a:lnTo>
                <a:lnTo>
                  <a:pt x="280" y="2767"/>
                </a:lnTo>
                <a:lnTo>
                  <a:pt x="293" y="2768"/>
                </a:lnTo>
                <a:lnTo>
                  <a:pt x="307" y="2769"/>
                </a:lnTo>
                <a:lnTo>
                  <a:pt x="319" y="2771"/>
                </a:lnTo>
                <a:lnTo>
                  <a:pt x="331" y="2774"/>
                </a:lnTo>
                <a:lnTo>
                  <a:pt x="331" y="2774"/>
                </a:lnTo>
                <a:lnTo>
                  <a:pt x="338" y="2777"/>
                </a:lnTo>
                <a:lnTo>
                  <a:pt x="343" y="2780"/>
                </a:lnTo>
                <a:lnTo>
                  <a:pt x="346" y="2783"/>
                </a:lnTo>
                <a:lnTo>
                  <a:pt x="347" y="2786"/>
                </a:lnTo>
                <a:lnTo>
                  <a:pt x="347" y="2789"/>
                </a:lnTo>
                <a:lnTo>
                  <a:pt x="345" y="2793"/>
                </a:lnTo>
                <a:lnTo>
                  <a:pt x="339" y="2801"/>
                </a:lnTo>
                <a:lnTo>
                  <a:pt x="332" y="2811"/>
                </a:lnTo>
                <a:lnTo>
                  <a:pt x="325" y="2822"/>
                </a:lnTo>
                <a:lnTo>
                  <a:pt x="321" y="2828"/>
                </a:lnTo>
                <a:lnTo>
                  <a:pt x="319" y="2834"/>
                </a:lnTo>
                <a:lnTo>
                  <a:pt x="317" y="2840"/>
                </a:lnTo>
                <a:lnTo>
                  <a:pt x="317" y="2847"/>
                </a:lnTo>
                <a:lnTo>
                  <a:pt x="317" y="2847"/>
                </a:lnTo>
                <a:lnTo>
                  <a:pt x="317" y="2853"/>
                </a:lnTo>
                <a:lnTo>
                  <a:pt x="319" y="2859"/>
                </a:lnTo>
                <a:lnTo>
                  <a:pt x="321" y="2864"/>
                </a:lnTo>
                <a:lnTo>
                  <a:pt x="324" y="2869"/>
                </a:lnTo>
                <a:lnTo>
                  <a:pt x="328" y="2874"/>
                </a:lnTo>
                <a:lnTo>
                  <a:pt x="333" y="2879"/>
                </a:lnTo>
                <a:lnTo>
                  <a:pt x="346" y="2889"/>
                </a:lnTo>
                <a:lnTo>
                  <a:pt x="361" y="2899"/>
                </a:lnTo>
                <a:lnTo>
                  <a:pt x="377" y="2908"/>
                </a:lnTo>
                <a:lnTo>
                  <a:pt x="397" y="2917"/>
                </a:lnTo>
                <a:lnTo>
                  <a:pt x="416" y="2925"/>
                </a:lnTo>
                <a:lnTo>
                  <a:pt x="458" y="2941"/>
                </a:lnTo>
                <a:lnTo>
                  <a:pt x="500" y="2955"/>
                </a:lnTo>
                <a:lnTo>
                  <a:pt x="571" y="2976"/>
                </a:lnTo>
                <a:lnTo>
                  <a:pt x="571" y="2976"/>
                </a:lnTo>
                <a:lnTo>
                  <a:pt x="579" y="2980"/>
                </a:lnTo>
                <a:lnTo>
                  <a:pt x="585" y="2984"/>
                </a:lnTo>
                <a:lnTo>
                  <a:pt x="588" y="2990"/>
                </a:lnTo>
                <a:lnTo>
                  <a:pt x="590" y="2995"/>
                </a:lnTo>
                <a:lnTo>
                  <a:pt x="590" y="2999"/>
                </a:lnTo>
                <a:lnTo>
                  <a:pt x="588" y="3003"/>
                </a:lnTo>
                <a:lnTo>
                  <a:pt x="585" y="3005"/>
                </a:lnTo>
                <a:lnTo>
                  <a:pt x="581" y="3006"/>
                </a:lnTo>
                <a:lnTo>
                  <a:pt x="581" y="3006"/>
                </a:lnTo>
                <a:lnTo>
                  <a:pt x="556" y="3005"/>
                </a:lnTo>
                <a:lnTo>
                  <a:pt x="532" y="3002"/>
                </a:lnTo>
                <a:lnTo>
                  <a:pt x="509" y="2999"/>
                </a:lnTo>
                <a:lnTo>
                  <a:pt x="488" y="2994"/>
                </a:lnTo>
                <a:lnTo>
                  <a:pt x="467" y="2989"/>
                </a:lnTo>
                <a:lnTo>
                  <a:pt x="448" y="2982"/>
                </a:lnTo>
                <a:lnTo>
                  <a:pt x="429" y="2976"/>
                </a:lnTo>
                <a:lnTo>
                  <a:pt x="412" y="2970"/>
                </a:lnTo>
                <a:lnTo>
                  <a:pt x="380" y="2957"/>
                </a:lnTo>
                <a:lnTo>
                  <a:pt x="352" y="2945"/>
                </a:lnTo>
                <a:lnTo>
                  <a:pt x="327" y="2933"/>
                </a:lnTo>
                <a:lnTo>
                  <a:pt x="316" y="2929"/>
                </a:lnTo>
                <a:lnTo>
                  <a:pt x="305" y="2925"/>
                </a:lnTo>
                <a:lnTo>
                  <a:pt x="305" y="2925"/>
                </a:lnTo>
                <a:lnTo>
                  <a:pt x="286" y="2920"/>
                </a:lnTo>
                <a:lnTo>
                  <a:pt x="268" y="2916"/>
                </a:lnTo>
                <a:lnTo>
                  <a:pt x="253" y="2913"/>
                </a:lnTo>
                <a:lnTo>
                  <a:pt x="237" y="2911"/>
                </a:lnTo>
                <a:lnTo>
                  <a:pt x="224" y="2910"/>
                </a:lnTo>
                <a:lnTo>
                  <a:pt x="213" y="2911"/>
                </a:lnTo>
                <a:lnTo>
                  <a:pt x="202" y="2912"/>
                </a:lnTo>
                <a:lnTo>
                  <a:pt x="192" y="2914"/>
                </a:lnTo>
                <a:lnTo>
                  <a:pt x="185" y="2918"/>
                </a:lnTo>
                <a:lnTo>
                  <a:pt x="178" y="2922"/>
                </a:lnTo>
                <a:lnTo>
                  <a:pt x="172" y="2927"/>
                </a:lnTo>
                <a:lnTo>
                  <a:pt x="167" y="2933"/>
                </a:lnTo>
                <a:lnTo>
                  <a:pt x="163" y="2939"/>
                </a:lnTo>
                <a:lnTo>
                  <a:pt x="160" y="2948"/>
                </a:lnTo>
                <a:lnTo>
                  <a:pt x="156" y="2956"/>
                </a:lnTo>
                <a:lnTo>
                  <a:pt x="155" y="2965"/>
                </a:lnTo>
                <a:lnTo>
                  <a:pt x="155" y="2965"/>
                </a:lnTo>
                <a:lnTo>
                  <a:pt x="154" y="2968"/>
                </a:lnTo>
                <a:lnTo>
                  <a:pt x="152" y="2971"/>
                </a:lnTo>
                <a:lnTo>
                  <a:pt x="150" y="2974"/>
                </a:lnTo>
                <a:lnTo>
                  <a:pt x="147" y="2976"/>
                </a:lnTo>
                <a:lnTo>
                  <a:pt x="140" y="2980"/>
                </a:lnTo>
                <a:lnTo>
                  <a:pt x="132" y="2985"/>
                </a:lnTo>
                <a:lnTo>
                  <a:pt x="109" y="2995"/>
                </a:lnTo>
                <a:lnTo>
                  <a:pt x="97" y="3001"/>
                </a:lnTo>
                <a:lnTo>
                  <a:pt x="84" y="3009"/>
                </a:lnTo>
                <a:lnTo>
                  <a:pt x="71" y="3019"/>
                </a:lnTo>
                <a:lnTo>
                  <a:pt x="57" y="3033"/>
                </a:lnTo>
                <a:lnTo>
                  <a:pt x="51" y="3040"/>
                </a:lnTo>
                <a:lnTo>
                  <a:pt x="45" y="3048"/>
                </a:lnTo>
                <a:lnTo>
                  <a:pt x="39" y="3058"/>
                </a:lnTo>
                <a:lnTo>
                  <a:pt x="33" y="3068"/>
                </a:lnTo>
                <a:lnTo>
                  <a:pt x="28" y="3080"/>
                </a:lnTo>
                <a:lnTo>
                  <a:pt x="22" y="3092"/>
                </a:lnTo>
                <a:lnTo>
                  <a:pt x="17" y="3106"/>
                </a:lnTo>
                <a:lnTo>
                  <a:pt x="13" y="3120"/>
                </a:lnTo>
                <a:lnTo>
                  <a:pt x="9" y="3137"/>
                </a:lnTo>
                <a:lnTo>
                  <a:pt x="6" y="3154"/>
                </a:lnTo>
                <a:lnTo>
                  <a:pt x="3" y="3174"/>
                </a:lnTo>
                <a:lnTo>
                  <a:pt x="0" y="3194"/>
                </a:lnTo>
                <a:lnTo>
                  <a:pt x="0" y="3194"/>
                </a:lnTo>
                <a:lnTo>
                  <a:pt x="1" y="3195"/>
                </a:lnTo>
                <a:lnTo>
                  <a:pt x="2" y="3196"/>
                </a:lnTo>
                <a:lnTo>
                  <a:pt x="6" y="3194"/>
                </a:lnTo>
                <a:lnTo>
                  <a:pt x="12" y="3189"/>
                </a:lnTo>
                <a:lnTo>
                  <a:pt x="20" y="3181"/>
                </a:lnTo>
                <a:lnTo>
                  <a:pt x="43" y="3158"/>
                </a:lnTo>
                <a:lnTo>
                  <a:pt x="69" y="3134"/>
                </a:lnTo>
                <a:lnTo>
                  <a:pt x="82" y="3121"/>
                </a:lnTo>
                <a:lnTo>
                  <a:pt x="95" y="3110"/>
                </a:lnTo>
                <a:lnTo>
                  <a:pt x="107" y="3101"/>
                </a:lnTo>
                <a:lnTo>
                  <a:pt x="119" y="3094"/>
                </a:lnTo>
                <a:lnTo>
                  <a:pt x="124" y="3091"/>
                </a:lnTo>
                <a:lnTo>
                  <a:pt x="129" y="3090"/>
                </a:lnTo>
                <a:lnTo>
                  <a:pt x="133" y="3089"/>
                </a:lnTo>
                <a:lnTo>
                  <a:pt x="137" y="3089"/>
                </a:lnTo>
                <a:lnTo>
                  <a:pt x="140" y="3091"/>
                </a:lnTo>
                <a:lnTo>
                  <a:pt x="143" y="3093"/>
                </a:lnTo>
                <a:lnTo>
                  <a:pt x="144" y="3097"/>
                </a:lnTo>
                <a:lnTo>
                  <a:pt x="146" y="3101"/>
                </a:lnTo>
                <a:lnTo>
                  <a:pt x="146" y="3101"/>
                </a:lnTo>
                <a:lnTo>
                  <a:pt x="149" y="3117"/>
                </a:lnTo>
                <a:lnTo>
                  <a:pt x="154" y="3132"/>
                </a:lnTo>
                <a:lnTo>
                  <a:pt x="162" y="3145"/>
                </a:lnTo>
                <a:lnTo>
                  <a:pt x="170" y="3155"/>
                </a:lnTo>
                <a:lnTo>
                  <a:pt x="179" y="3165"/>
                </a:lnTo>
                <a:lnTo>
                  <a:pt x="189" y="3173"/>
                </a:lnTo>
                <a:lnTo>
                  <a:pt x="200" y="3180"/>
                </a:lnTo>
                <a:lnTo>
                  <a:pt x="214" y="3185"/>
                </a:lnTo>
                <a:lnTo>
                  <a:pt x="227" y="3189"/>
                </a:lnTo>
                <a:lnTo>
                  <a:pt x="241" y="3191"/>
                </a:lnTo>
                <a:lnTo>
                  <a:pt x="256" y="3193"/>
                </a:lnTo>
                <a:lnTo>
                  <a:pt x="271" y="3194"/>
                </a:lnTo>
                <a:lnTo>
                  <a:pt x="287" y="3195"/>
                </a:lnTo>
                <a:lnTo>
                  <a:pt x="304" y="3194"/>
                </a:lnTo>
                <a:lnTo>
                  <a:pt x="337" y="3192"/>
                </a:lnTo>
                <a:lnTo>
                  <a:pt x="371" y="3188"/>
                </a:lnTo>
                <a:lnTo>
                  <a:pt x="405" y="3183"/>
                </a:lnTo>
                <a:lnTo>
                  <a:pt x="438" y="3178"/>
                </a:lnTo>
                <a:lnTo>
                  <a:pt x="468" y="3174"/>
                </a:lnTo>
                <a:lnTo>
                  <a:pt x="496" y="3172"/>
                </a:lnTo>
                <a:lnTo>
                  <a:pt x="509" y="3171"/>
                </a:lnTo>
                <a:lnTo>
                  <a:pt x="520" y="3171"/>
                </a:lnTo>
                <a:lnTo>
                  <a:pt x="531" y="3172"/>
                </a:lnTo>
                <a:lnTo>
                  <a:pt x="541" y="3174"/>
                </a:lnTo>
                <a:lnTo>
                  <a:pt x="549" y="3177"/>
                </a:lnTo>
                <a:lnTo>
                  <a:pt x="555" y="3181"/>
                </a:lnTo>
                <a:lnTo>
                  <a:pt x="555" y="3181"/>
                </a:lnTo>
                <a:lnTo>
                  <a:pt x="558" y="3184"/>
                </a:lnTo>
                <a:lnTo>
                  <a:pt x="559" y="3186"/>
                </a:lnTo>
                <a:lnTo>
                  <a:pt x="557" y="3189"/>
                </a:lnTo>
                <a:lnTo>
                  <a:pt x="554" y="3191"/>
                </a:lnTo>
                <a:lnTo>
                  <a:pt x="549" y="3194"/>
                </a:lnTo>
                <a:lnTo>
                  <a:pt x="542" y="3196"/>
                </a:lnTo>
                <a:lnTo>
                  <a:pt x="525" y="3200"/>
                </a:lnTo>
                <a:lnTo>
                  <a:pt x="475" y="3209"/>
                </a:lnTo>
                <a:lnTo>
                  <a:pt x="447" y="3215"/>
                </a:lnTo>
                <a:lnTo>
                  <a:pt x="417" y="3221"/>
                </a:lnTo>
                <a:lnTo>
                  <a:pt x="388" y="3228"/>
                </a:lnTo>
                <a:lnTo>
                  <a:pt x="359" y="3236"/>
                </a:lnTo>
                <a:lnTo>
                  <a:pt x="346" y="3240"/>
                </a:lnTo>
                <a:lnTo>
                  <a:pt x="333" y="3245"/>
                </a:lnTo>
                <a:lnTo>
                  <a:pt x="322" y="3250"/>
                </a:lnTo>
                <a:lnTo>
                  <a:pt x="312" y="3256"/>
                </a:lnTo>
                <a:lnTo>
                  <a:pt x="303" y="3263"/>
                </a:lnTo>
                <a:lnTo>
                  <a:pt x="294" y="3269"/>
                </a:lnTo>
                <a:lnTo>
                  <a:pt x="288" y="3276"/>
                </a:lnTo>
                <a:lnTo>
                  <a:pt x="284" y="3284"/>
                </a:lnTo>
                <a:lnTo>
                  <a:pt x="282" y="3292"/>
                </a:lnTo>
                <a:lnTo>
                  <a:pt x="281" y="3300"/>
                </a:lnTo>
                <a:lnTo>
                  <a:pt x="283" y="3311"/>
                </a:lnTo>
                <a:lnTo>
                  <a:pt x="287" y="3321"/>
                </a:lnTo>
                <a:lnTo>
                  <a:pt x="287" y="3321"/>
                </a:lnTo>
                <a:lnTo>
                  <a:pt x="287" y="3322"/>
                </a:lnTo>
                <a:lnTo>
                  <a:pt x="286" y="3325"/>
                </a:lnTo>
                <a:lnTo>
                  <a:pt x="283" y="3331"/>
                </a:lnTo>
                <a:lnTo>
                  <a:pt x="268" y="3348"/>
                </a:lnTo>
                <a:lnTo>
                  <a:pt x="258" y="3361"/>
                </a:lnTo>
                <a:lnTo>
                  <a:pt x="247" y="3374"/>
                </a:lnTo>
                <a:lnTo>
                  <a:pt x="237" y="3389"/>
                </a:lnTo>
                <a:lnTo>
                  <a:pt x="228" y="3406"/>
                </a:lnTo>
                <a:lnTo>
                  <a:pt x="220" y="3423"/>
                </a:lnTo>
                <a:lnTo>
                  <a:pt x="217" y="3432"/>
                </a:lnTo>
                <a:lnTo>
                  <a:pt x="214" y="3443"/>
                </a:lnTo>
                <a:lnTo>
                  <a:pt x="213" y="3452"/>
                </a:lnTo>
                <a:lnTo>
                  <a:pt x="212" y="3463"/>
                </a:lnTo>
                <a:lnTo>
                  <a:pt x="212" y="3473"/>
                </a:lnTo>
                <a:lnTo>
                  <a:pt x="213" y="3483"/>
                </a:lnTo>
                <a:lnTo>
                  <a:pt x="215" y="3495"/>
                </a:lnTo>
                <a:lnTo>
                  <a:pt x="219" y="3506"/>
                </a:lnTo>
                <a:lnTo>
                  <a:pt x="223" y="3518"/>
                </a:lnTo>
                <a:lnTo>
                  <a:pt x="229" y="3529"/>
                </a:lnTo>
                <a:lnTo>
                  <a:pt x="237" y="3542"/>
                </a:lnTo>
                <a:lnTo>
                  <a:pt x="246" y="3554"/>
                </a:lnTo>
                <a:lnTo>
                  <a:pt x="257" y="3566"/>
                </a:lnTo>
                <a:lnTo>
                  <a:pt x="270" y="3579"/>
                </a:lnTo>
                <a:lnTo>
                  <a:pt x="270" y="3579"/>
                </a:lnTo>
                <a:lnTo>
                  <a:pt x="270" y="3572"/>
                </a:lnTo>
                <a:lnTo>
                  <a:pt x="272" y="3555"/>
                </a:lnTo>
                <a:lnTo>
                  <a:pt x="277" y="3530"/>
                </a:lnTo>
                <a:lnTo>
                  <a:pt x="281" y="3517"/>
                </a:lnTo>
                <a:lnTo>
                  <a:pt x="285" y="3503"/>
                </a:lnTo>
                <a:lnTo>
                  <a:pt x="291" y="3490"/>
                </a:lnTo>
                <a:lnTo>
                  <a:pt x="298" y="3476"/>
                </a:lnTo>
                <a:lnTo>
                  <a:pt x="306" y="3463"/>
                </a:lnTo>
                <a:lnTo>
                  <a:pt x="315" y="3453"/>
                </a:lnTo>
                <a:lnTo>
                  <a:pt x="321" y="3448"/>
                </a:lnTo>
                <a:lnTo>
                  <a:pt x="326" y="3444"/>
                </a:lnTo>
                <a:lnTo>
                  <a:pt x="332" y="3439"/>
                </a:lnTo>
                <a:lnTo>
                  <a:pt x="339" y="3436"/>
                </a:lnTo>
                <a:lnTo>
                  <a:pt x="346" y="3434"/>
                </a:lnTo>
                <a:lnTo>
                  <a:pt x="354" y="3432"/>
                </a:lnTo>
                <a:lnTo>
                  <a:pt x="361" y="3432"/>
                </a:lnTo>
                <a:lnTo>
                  <a:pt x="369" y="3432"/>
                </a:lnTo>
                <a:lnTo>
                  <a:pt x="369" y="3432"/>
                </a:lnTo>
                <a:lnTo>
                  <a:pt x="383" y="3433"/>
                </a:lnTo>
                <a:lnTo>
                  <a:pt x="396" y="3436"/>
                </a:lnTo>
                <a:lnTo>
                  <a:pt x="408" y="3440"/>
                </a:lnTo>
                <a:lnTo>
                  <a:pt x="420" y="3445"/>
                </a:lnTo>
                <a:lnTo>
                  <a:pt x="443" y="3455"/>
                </a:lnTo>
                <a:lnTo>
                  <a:pt x="454" y="3459"/>
                </a:lnTo>
                <a:lnTo>
                  <a:pt x="465" y="3463"/>
                </a:lnTo>
                <a:lnTo>
                  <a:pt x="476" y="3466"/>
                </a:lnTo>
                <a:lnTo>
                  <a:pt x="489" y="3468"/>
                </a:lnTo>
                <a:lnTo>
                  <a:pt x="501" y="3469"/>
                </a:lnTo>
                <a:lnTo>
                  <a:pt x="514" y="3467"/>
                </a:lnTo>
                <a:lnTo>
                  <a:pt x="528" y="3464"/>
                </a:lnTo>
                <a:lnTo>
                  <a:pt x="542" y="3458"/>
                </a:lnTo>
                <a:lnTo>
                  <a:pt x="558" y="3450"/>
                </a:lnTo>
                <a:lnTo>
                  <a:pt x="575" y="3437"/>
                </a:lnTo>
                <a:lnTo>
                  <a:pt x="575" y="3437"/>
                </a:lnTo>
                <a:lnTo>
                  <a:pt x="588" y="3428"/>
                </a:lnTo>
                <a:lnTo>
                  <a:pt x="600" y="3417"/>
                </a:lnTo>
                <a:lnTo>
                  <a:pt x="614" y="3405"/>
                </a:lnTo>
                <a:lnTo>
                  <a:pt x="630" y="3392"/>
                </a:lnTo>
                <a:lnTo>
                  <a:pt x="651" y="3380"/>
                </a:lnTo>
                <a:lnTo>
                  <a:pt x="664" y="3373"/>
                </a:lnTo>
                <a:lnTo>
                  <a:pt x="678" y="3367"/>
                </a:lnTo>
                <a:lnTo>
                  <a:pt x="693" y="3360"/>
                </a:lnTo>
                <a:lnTo>
                  <a:pt x="712" y="3354"/>
                </a:lnTo>
                <a:lnTo>
                  <a:pt x="732" y="3346"/>
                </a:lnTo>
                <a:lnTo>
                  <a:pt x="754" y="3339"/>
                </a:lnTo>
                <a:lnTo>
                  <a:pt x="754" y="3339"/>
                </a:lnTo>
                <a:lnTo>
                  <a:pt x="756" y="3339"/>
                </a:lnTo>
                <a:lnTo>
                  <a:pt x="757" y="3340"/>
                </a:lnTo>
                <a:lnTo>
                  <a:pt x="760" y="3345"/>
                </a:lnTo>
                <a:lnTo>
                  <a:pt x="762" y="3354"/>
                </a:lnTo>
                <a:lnTo>
                  <a:pt x="765" y="3363"/>
                </a:lnTo>
                <a:lnTo>
                  <a:pt x="768" y="3375"/>
                </a:lnTo>
                <a:lnTo>
                  <a:pt x="772" y="3387"/>
                </a:lnTo>
                <a:lnTo>
                  <a:pt x="777" y="3400"/>
                </a:lnTo>
                <a:lnTo>
                  <a:pt x="783" y="3412"/>
                </a:lnTo>
                <a:lnTo>
                  <a:pt x="783" y="3412"/>
                </a:lnTo>
                <a:lnTo>
                  <a:pt x="786" y="3415"/>
                </a:lnTo>
                <a:lnTo>
                  <a:pt x="789" y="3417"/>
                </a:lnTo>
                <a:lnTo>
                  <a:pt x="797" y="3422"/>
                </a:lnTo>
                <a:lnTo>
                  <a:pt x="805" y="3425"/>
                </a:lnTo>
                <a:lnTo>
                  <a:pt x="813" y="3429"/>
                </a:lnTo>
                <a:lnTo>
                  <a:pt x="821" y="3432"/>
                </a:lnTo>
                <a:lnTo>
                  <a:pt x="827" y="3435"/>
                </a:lnTo>
                <a:lnTo>
                  <a:pt x="830" y="3437"/>
                </a:lnTo>
                <a:lnTo>
                  <a:pt x="831" y="3439"/>
                </a:lnTo>
                <a:lnTo>
                  <a:pt x="833" y="3443"/>
                </a:lnTo>
                <a:lnTo>
                  <a:pt x="833" y="3446"/>
                </a:lnTo>
                <a:lnTo>
                  <a:pt x="833" y="3446"/>
                </a:lnTo>
                <a:lnTo>
                  <a:pt x="832" y="3456"/>
                </a:lnTo>
                <a:lnTo>
                  <a:pt x="830" y="3467"/>
                </a:lnTo>
                <a:lnTo>
                  <a:pt x="826" y="3477"/>
                </a:lnTo>
                <a:lnTo>
                  <a:pt x="822" y="3486"/>
                </a:lnTo>
                <a:lnTo>
                  <a:pt x="817" y="3496"/>
                </a:lnTo>
                <a:lnTo>
                  <a:pt x="811" y="3505"/>
                </a:lnTo>
                <a:lnTo>
                  <a:pt x="798" y="3521"/>
                </a:lnTo>
                <a:lnTo>
                  <a:pt x="784" y="3535"/>
                </a:lnTo>
                <a:lnTo>
                  <a:pt x="773" y="3546"/>
                </a:lnTo>
                <a:lnTo>
                  <a:pt x="765" y="3552"/>
                </a:lnTo>
                <a:lnTo>
                  <a:pt x="763" y="3555"/>
                </a:lnTo>
                <a:lnTo>
                  <a:pt x="763" y="3555"/>
                </a:lnTo>
                <a:lnTo>
                  <a:pt x="767" y="3558"/>
                </a:lnTo>
                <a:lnTo>
                  <a:pt x="778" y="3561"/>
                </a:lnTo>
                <a:lnTo>
                  <a:pt x="785" y="3562"/>
                </a:lnTo>
                <a:lnTo>
                  <a:pt x="794" y="3563"/>
                </a:lnTo>
                <a:lnTo>
                  <a:pt x="804" y="3563"/>
                </a:lnTo>
                <a:lnTo>
                  <a:pt x="815" y="3561"/>
                </a:lnTo>
                <a:lnTo>
                  <a:pt x="826" y="3558"/>
                </a:lnTo>
                <a:lnTo>
                  <a:pt x="839" y="3553"/>
                </a:lnTo>
                <a:lnTo>
                  <a:pt x="852" y="3546"/>
                </a:lnTo>
                <a:lnTo>
                  <a:pt x="865" y="3536"/>
                </a:lnTo>
                <a:lnTo>
                  <a:pt x="879" y="3522"/>
                </a:lnTo>
                <a:lnTo>
                  <a:pt x="894" y="3506"/>
                </a:lnTo>
                <a:lnTo>
                  <a:pt x="907" y="3486"/>
                </a:lnTo>
                <a:lnTo>
                  <a:pt x="921" y="3463"/>
                </a:lnTo>
                <a:lnTo>
                  <a:pt x="921" y="3463"/>
                </a:lnTo>
                <a:lnTo>
                  <a:pt x="924" y="3459"/>
                </a:lnTo>
                <a:lnTo>
                  <a:pt x="927" y="3455"/>
                </a:lnTo>
                <a:lnTo>
                  <a:pt x="930" y="3453"/>
                </a:lnTo>
                <a:lnTo>
                  <a:pt x="935" y="3451"/>
                </a:lnTo>
                <a:lnTo>
                  <a:pt x="939" y="3450"/>
                </a:lnTo>
                <a:lnTo>
                  <a:pt x="943" y="3450"/>
                </a:lnTo>
                <a:lnTo>
                  <a:pt x="951" y="3450"/>
                </a:lnTo>
                <a:lnTo>
                  <a:pt x="970" y="3452"/>
                </a:lnTo>
                <a:lnTo>
                  <a:pt x="982" y="3452"/>
                </a:lnTo>
                <a:lnTo>
                  <a:pt x="987" y="3451"/>
                </a:lnTo>
                <a:lnTo>
                  <a:pt x="992" y="3450"/>
                </a:lnTo>
                <a:lnTo>
                  <a:pt x="992" y="3450"/>
                </a:lnTo>
                <a:lnTo>
                  <a:pt x="1010" y="3444"/>
                </a:lnTo>
                <a:lnTo>
                  <a:pt x="1017" y="3439"/>
                </a:lnTo>
                <a:lnTo>
                  <a:pt x="1024" y="3435"/>
                </a:lnTo>
                <a:lnTo>
                  <a:pt x="1029" y="3432"/>
                </a:lnTo>
                <a:lnTo>
                  <a:pt x="1033" y="3428"/>
                </a:lnTo>
                <a:lnTo>
                  <a:pt x="1036" y="3424"/>
                </a:lnTo>
                <a:lnTo>
                  <a:pt x="1039" y="3419"/>
                </a:lnTo>
                <a:lnTo>
                  <a:pt x="1041" y="3415"/>
                </a:lnTo>
                <a:lnTo>
                  <a:pt x="1042" y="3410"/>
                </a:lnTo>
                <a:lnTo>
                  <a:pt x="1043" y="3401"/>
                </a:lnTo>
                <a:lnTo>
                  <a:pt x="1042" y="3390"/>
                </a:lnTo>
                <a:lnTo>
                  <a:pt x="1040" y="3380"/>
                </a:lnTo>
                <a:lnTo>
                  <a:pt x="1035" y="3358"/>
                </a:lnTo>
                <a:lnTo>
                  <a:pt x="1034" y="3347"/>
                </a:lnTo>
                <a:lnTo>
                  <a:pt x="1033" y="3335"/>
                </a:lnTo>
                <a:lnTo>
                  <a:pt x="1034" y="3324"/>
                </a:lnTo>
                <a:lnTo>
                  <a:pt x="1036" y="3319"/>
                </a:lnTo>
                <a:lnTo>
                  <a:pt x="1038" y="3313"/>
                </a:lnTo>
                <a:lnTo>
                  <a:pt x="1040" y="3308"/>
                </a:lnTo>
                <a:lnTo>
                  <a:pt x="1044" y="3302"/>
                </a:lnTo>
                <a:lnTo>
                  <a:pt x="1048" y="3296"/>
                </a:lnTo>
                <a:lnTo>
                  <a:pt x="1054" y="3291"/>
                </a:lnTo>
                <a:lnTo>
                  <a:pt x="1054" y="3291"/>
                </a:lnTo>
                <a:lnTo>
                  <a:pt x="1069" y="3278"/>
                </a:lnTo>
                <a:lnTo>
                  <a:pt x="1084" y="3265"/>
                </a:lnTo>
                <a:lnTo>
                  <a:pt x="1099" y="3253"/>
                </a:lnTo>
                <a:lnTo>
                  <a:pt x="1115" y="3241"/>
                </a:lnTo>
                <a:lnTo>
                  <a:pt x="1146" y="3221"/>
                </a:lnTo>
                <a:lnTo>
                  <a:pt x="1178" y="3202"/>
                </a:lnTo>
                <a:lnTo>
                  <a:pt x="1210" y="3186"/>
                </a:lnTo>
                <a:lnTo>
                  <a:pt x="1241" y="3171"/>
                </a:lnTo>
                <a:lnTo>
                  <a:pt x="1273" y="3156"/>
                </a:lnTo>
                <a:lnTo>
                  <a:pt x="1304" y="3144"/>
                </a:lnTo>
                <a:lnTo>
                  <a:pt x="1304" y="3144"/>
                </a:lnTo>
                <a:lnTo>
                  <a:pt x="1303" y="3148"/>
                </a:lnTo>
                <a:lnTo>
                  <a:pt x="1299" y="3160"/>
                </a:lnTo>
                <a:lnTo>
                  <a:pt x="1294" y="3180"/>
                </a:lnTo>
                <a:lnTo>
                  <a:pt x="1291" y="3203"/>
                </a:lnTo>
                <a:lnTo>
                  <a:pt x="1290" y="3218"/>
                </a:lnTo>
                <a:lnTo>
                  <a:pt x="1290" y="3232"/>
                </a:lnTo>
                <a:lnTo>
                  <a:pt x="1291" y="3247"/>
                </a:lnTo>
                <a:lnTo>
                  <a:pt x="1292" y="3264"/>
                </a:lnTo>
                <a:lnTo>
                  <a:pt x="1296" y="3280"/>
                </a:lnTo>
                <a:lnTo>
                  <a:pt x="1301" y="3296"/>
                </a:lnTo>
                <a:lnTo>
                  <a:pt x="1306" y="3314"/>
                </a:lnTo>
                <a:lnTo>
                  <a:pt x="1314" y="3331"/>
                </a:lnTo>
                <a:lnTo>
                  <a:pt x="1640" y="3247"/>
                </a:lnTo>
                <a:lnTo>
                  <a:pt x="1640" y="3247"/>
                </a:lnTo>
                <a:lnTo>
                  <a:pt x="1634" y="3231"/>
                </a:lnTo>
                <a:lnTo>
                  <a:pt x="1631" y="3215"/>
                </a:lnTo>
                <a:lnTo>
                  <a:pt x="1629" y="3197"/>
                </a:lnTo>
                <a:lnTo>
                  <a:pt x="1629" y="3180"/>
                </a:lnTo>
                <a:lnTo>
                  <a:pt x="1631" y="3162"/>
                </a:lnTo>
                <a:lnTo>
                  <a:pt x="1634" y="3145"/>
                </a:lnTo>
                <a:lnTo>
                  <a:pt x="1638" y="3128"/>
                </a:lnTo>
                <a:lnTo>
                  <a:pt x="1644" y="3109"/>
                </a:lnTo>
                <a:lnTo>
                  <a:pt x="1651" y="3092"/>
                </a:lnTo>
                <a:lnTo>
                  <a:pt x="1660" y="3073"/>
                </a:lnTo>
                <a:lnTo>
                  <a:pt x="1669" y="3056"/>
                </a:lnTo>
                <a:lnTo>
                  <a:pt x="1679" y="3039"/>
                </a:lnTo>
                <a:lnTo>
                  <a:pt x="1689" y="3021"/>
                </a:lnTo>
                <a:lnTo>
                  <a:pt x="1701" y="3004"/>
                </a:lnTo>
                <a:lnTo>
                  <a:pt x="1725" y="2972"/>
                </a:lnTo>
                <a:lnTo>
                  <a:pt x="1725" y="2972"/>
                </a:lnTo>
                <a:lnTo>
                  <a:pt x="1726" y="2971"/>
                </a:lnTo>
                <a:lnTo>
                  <a:pt x="1727" y="2971"/>
                </a:lnTo>
                <a:lnTo>
                  <a:pt x="1728" y="2975"/>
                </a:lnTo>
                <a:lnTo>
                  <a:pt x="1725" y="2997"/>
                </a:lnTo>
                <a:lnTo>
                  <a:pt x="1721" y="3030"/>
                </a:lnTo>
                <a:lnTo>
                  <a:pt x="1715" y="3072"/>
                </a:lnTo>
                <a:lnTo>
                  <a:pt x="1713" y="3095"/>
                </a:lnTo>
                <a:lnTo>
                  <a:pt x="1711" y="3118"/>
                </a:lnTo>
                <a:lnTo>
                  <a:pt x="1711" y="3140"/>
                </a:lnTo>
                <a:lnTo>
                  <a:pt x="1711" y="3161"/>
                </a:lnTo>
                <a:lnTo>
                  <a:pt x="1713" y="3181"/>
                </a:lnTo>
                <a:lnTo>
                  <a:pt x="1716" y="3198"/>
                </a:lnTo>
                <a:lnTo>
                  <a:pt x="1719" y="3206"/>
                </a:lnTo>
                <a:lnTo>
                  <a:pt x="1722" y="3213"/>
                </a:lnTo>
                <a:lnTo>
                  <a:pt x="1726" y="3219"/>
                </a:lnTo>
                <a:lnTo>
                  <a:pt x="1730" y="3224"/>
                </a:lnTo>
                <a:lnTo>
                  <a:pt x="2050" y="3141"/>
                </a:lnTo>
                <a:lnTo>
                  <a:pt x="2050" y="3141"/>
                </a:lnTo>
                <a:lnTo>
                  <a:pt x="2046" y="3131"/>
                </a:lnTo>
                <a:lnTo>
                  <a:pt x="2043" y="3119"/>
                </a:lnTo>
                <a:lnTo>
                  <a:pt x="2041" y="3108"/>
                </a:lnTo>
                <a:lnTo>
                  <a:pt x="2039" y="3096"/>
                </a:lnTo>
                <a:lnTo>
                  <a:pt x="2038" y="3084"/>
                </a:lnTo>
                <a:lnTo>
                  <a:pt x="2038" y="3071"/>
                </a:lnTo>
                <a:lnTo>
                  <a:pt x="2039" y="3045"/>
                </a:lnTo>
                <a:lnTo>
                  <a:pt x="2043" y="3018"/>
                </a:lnTo>
                <a:lnTo>
                  <a:pt x="2048" y="2992"/>
                </a:lnTo>
                <a:lnTo>
                  <a:pt x="2055" y="2965"/>
                </a:lnTo>
                <a:lnTo>
                  <a:pt x="2064" y="2941"/>
                </a:lnTo>
                <a:lnTo>
                  <a:pt x="2064" y="2941"/>
                </a:lnTo>
                <a:lnTo>
                  <a:pt x="2072" y="2968"/>
                </a:lnTo>
                <a:lnTo>
                  <a:pt x="2079" y="2997"/>
                </a:lnTo>
                <a:lnTo>
                  <a:pt x="2088" y="3024"/>
                </a:lnTo>
                <a:lnTo>
                  <a:pt x="2098" y="3052"/>
                </a:lnTo>
                <a:lnTo>
                  <a:pt x="2108" y="3079"/>
                </a:lnTo>
                <a:lnTo>
                  <a:pt x="2121" y="3105"/>
                </a:lnTo>
                <a:lnTo>
                  <a:pt x="2135" y="3131"/>
                </a:lnTo>
                <a:lnTo>
                  <a:pt x="2149" y="3156"/>
                </a:lnTo>
                <a:lnTo>
                  <a:pt x="2166" y="3181"/>
                </a:lnTo>
                <a:lnTo>
                  <a:pt x="2183" y="3203"/>
                </a:lnTo>
                <a:lnTo>
                  <a:pt x="2201" y="3225"/>
                </a:lnTo>
                <a:lnTo>
                  <a:pt x="2222" y="3245"/>
                </a:lnTo>
                <a:lnTo>
                  <a:pt x="2244" y="3265"/>
                </a:lnTo>
                <a:lnTo>
                  <a:pt x="2268" y="3281"/>
                </a:lnTo>
                <a:lnTo>
                  <a:pt x="2280" y="3289"/>
                </a:lnTo>
                <a:lnTo>
                  <a:pt x="2292" y="3296"/>
                </a:lnTo>
                <a:lnTo>
                  <a:pt x="2306" y="3303"/>
                </a:lnTo>
                <a:lnTo>
                  <a:pt x="2320" y="3310"/>
                </a:lnTo>
                <a:lnTo>
                  <a:pt x="2320" y="3310"/>
                </a:lnTo>
                <a:lnTo>
                  <a:pt x="2365" y="3329"/>
                </a:lnTo>
                <a:lnTo>
                  <a:pt x="2410" y="3347"/>
                </a:lnTo>
                <a:lnTo>
                  <a:pt x="2454" y="3364"/>
                </a:lnTo>
                <a:lnTo>
                  <a:pt x="2499" y="3380"/>
                </a:lnTo>
                <a:lnTo>
                  <a:pt x="2544" y="3395"/>
                </a:lnTo>
                <a:lnTo>
                  <a:pt x="2589" y="3411"/>
                </a:lnTo>
                <a:lnTo>
                  <a:pt x="2683" y="3440"/>
                </a:lnTo>
                <a:lnTo>
                  <a:pt x="2782" y="3469"/>
                </a:lnTo>
                <a:lnTo>
                  <a:pt x="2889" y="3500"/>
                </a:lnTo>
                <a:lnTo>
                  <a:pt x="3005" y="3534"/>
                </a:lnTo>
                <a:lnTo>
                  <a:pt x="3133" y="3570"/>
                </a:lnTo>
                <a:lnTo>
                  <a:pt x="3133" y="3570"/>
                </a:lnTo>
                <a:lnTo>
                  <a:pt x="3205" y="3593"/>
                </a:lnTo>
                <a:lnTo>
                  <a:pt x="3273" y="3616"/>
                </a:lnTo>
                <a:lnTo>
                  <a:pt x="3305" y="3628"/>
                </a:lnTo>
                <a:lnTo>
                  <a:pt x="3333" y="3639"/>
                </a:lnTo>
                <a:lnTo>
                  <a:pt x="3358" y="3649"/>
                </a:lnTo>
                <a:lnTo>
                  <a:pt x="3377" y="3658"/>
                </a:lnTo>
                <a:lnTo>
                  <a:pt x="3377" y="3658"/>
                </a:lnTo>
                <a:lnTo>
                  <a:pt x="3383" y="3661"/>
                </a:lnTo>
                <a:lnTo>
                  <a:pt x="3389" y="3665"/>
                </a:lnTo>
                <a:lnTo>
                  <a:pt x="3393" y="3668"/>
                </a:lnTo>
                <a:lnTo>
                  <a:pt x="3397" y="3673"/>
                </a:lnTo>
                <a:lnTo>
                  <a:pt x="3399" y="3677"/>
                </a:lnTo>
                <a:lnTo>
                  <a:pt x="3401" y="3682"/>
                </a:lnTo>
                <a:lnTo>
                  <a:pt x="3402" y="3686"/>
                </a:lnTo>
                <a:lnTo>
                  <a:pt x="3402" y="3690"/>
                </a:lnTo>
                <a:lnTo>
                  <a:pt x="3401" y="3699"/>
                </a:lnTo>
                <a:lnTo>
                  <a:pt x="3397" y="3708"/>
                </a:lnTo>
                <a:lnTo>
                  <a:pt x="3392" y="3717"/>
                </a:lnTo>
                <a:lnTo>
                  <a:pt x="3386" y="3726"/>
                </a:lnTo>
                <a:lnTo>
                  <a:pt x="3378" y="3734"/>
                </a:lnTo>
                <a:lnTo>
                  <a:pt x="3371" y="3742"/>
                </a:lnTo>
                <a:lnTo>
                  <a:pt x="3357" y="3754"/>
                </a:lnTo>
                <a:lnTo>
                  <a:pt x="3346" y="3764"/>
                </a:lnTo>
                <a:lnTo>
                  <a:pt x="3341" y="3767"/>
                </a:lnTo>
                <a:lnTo>
                  <a:pt x="3341" y="3767"/>
                </a:lnTo>
                <a:lnTo>
                  <a:pt x="3355" y="3775"/>
                </a:lnTo>
                <a:lnTo>
                  <a:pt x="3371" y="3783"/>
                </a:lnTo>
                <a:lnTo>
                  <a:pt x="3411" y="3801"/>
                </a:lnTo>
                <a:lnTo>
                  <a:pt x="3435" y="3814"/>
                </a:lnTo>
                <a:lnTo>
                  <a:pt x="3461" y="3829"/>
                </a:lnTo>
                <a:lnTo>
                  <a:pt x="3492" y="3848"/>
                </a:lnTo>
                <a:lnTo>
                  <a:pt x="3527" y="3873"/>
                </a:lnTo>
                <a:lnTo>
                  <a:pt x="3527" y="3873"/>
                </a:lnTo>
                <a:lnTo>
                  <a:pt x="3545" y="3888"/>
                </a:lnTo>
                <a:lnTo>
                  <a:pt x="3563" y="3906"/>
                </a:lnTo>
                <a:lnTo>
                  <a:pt x="3580" y="3925"/>
                </a:lnTo>
                <a:lnTo>
                  <a:pt x="3595" y="3946"/>
                </a:lnTo>
                <a:lnTo>
                  <a:pt x="3608" y="3967"/>
                </a:lnTo>
                <a:lnTo>
                  <a:pt x="3622" y="3991"/>
                </a:lnTo>
                <a:lnTo>
                  <a:pt x="3634" y="4014"/>
                </a:lnTo>
                <a:lnTo>
                  <a:pt x="3645" y="4040"/>
                </a:lnTo>
                <a:lnTo>
                  <a:pt x="3655" y="4066"/>
                </a:lnTo>
                <a:lnTo>
                  <a:pt x="3665" y="4094"/>
                </a:lnTo>
                <a:lnTo>
                  <a:pt x="3674" y="4122"/>
                </a:lnTo>
                <a:lnTo>
                  <a:pt x="3682" y="4151"/>
                </a:lnTo>
                <a:lnTo>
                  <a:pt x="3698" y="4211"/>
                </a:lnTo>
                <a:lnTo>
                  <a:pt x="3714" y="4274"/>
                </a:lnTo>
                <a:lnTo>
                  <a:pt x="3714" y="4274"/>
                </a:lnTo>
                <a:lnTo>
                  <a:pt x="3725" y="4324"/>
                </a:lnTo>
                <a:lnTo>
                  <a:pt x="3734" y="4377"/>
                </a:lnTo>
                <a:lnTo>
                  <a:pt x="3742" y="4430"/>
                </a:lnTo>
                <a:lnTo>
                  <a:pt x="3744" y="4457"/>
                </a:lnTo>
                <a:lnTo>
                  <a:pt x="3746" y="4481"/>
                </a:lnTo>
                <a:lnTo>
                  <a:pt x="3748" y="4506"/>
                </a:lnTo>
                <a:lnTo>
                  <a:pt x="3749" y="4529"/>
                </a:lnTo>
                <a:lnTo>
                  <a:pt x="3748" y="4551"/>
                </a:lnTo>
                <a:lnTo>
                  <a:pt x="3745" y="4571"/>
                </a:lnTo>
                <a:lnTo>
                  <a:pt x="3742" y="4590"/>
                </a:lnTo>
                <a:lnTo>
                  <a:pt x="3737" y="4606"/>
                </a:lnTo>
                <a:lnTo>
                  <a:pt x="3731" y="4619"/>
                </a:lnTo>
                <a:lnTo>
                  <a:pt x="3728" y="4625"/>
                </a:lnTo>
                <a:lnTo>
                  <a:pt x="3724" y="4631"/>
                </a:lnTo>
                <a:lnTo>
                  <a:pt x="3724" y="4631"/>
                </a:lnTo>
                <a:lnTo>
                  <a:pt x="3715" y="4641"/>
                </a:lnTo>
                <a:lnTo>
                  <a:pt x="3705" y="4651"/>
                </a:lnTo>
                <a:lnTo>
                  <a:pt x="3691" y="4660"/>
                </a:lnTo>
                <a:lnTo>
                  <a:pt x="3683" y="4665"/>
                </a:lnTo>
                <a:lnTo>
                  <a:pt x="3673" y="4670"/>
                </a:lnTo>
                <a:lnTo>
                  <a:pt x="3663" y="4676"/>
                </a:lnTo>
                <a:lnTo>
                  <a:pt x="3650" y="4681"/>
                </a:lnTo>
                <a:lnTo>
                  <a:pt x="3621" y="4690"/>
                </a:lnTo>
                <a:lnTo>
                  <a:pt x="3582" y="4700"/>
                </a:lnTo>
                <a:lnTo>
                  <a:pt x="3535" y="4710"/>
                </a:lnTo>
                <a:lnTo>
                  <a:pt x="3560" y="4833"/>
                </a:lnTo>
                <a:lnTo>
                  <a:pt x="3560" y="4833"/>
                </a:lnTo>
                <a:lnTo>
                  <a:pt x="3579" y="4834"/>
                </a:lnTo>
                <a:lnTo>
                  <a:pt x="3597" y="4834"/>
                </a:lnTo>
                <a:lnTo>
                  <a:pt x="3615" y="4833"/>
                </a:lnTo>
                <a:lnTo>
                  <a:pt x="3631" y="4831"/>
                </a:lnTo>
                <a:lnTo>
                  <a:pt x="3646" y="4829"/>
                </a:lnTo>
                <a:lnTo>
                  <a:pt x="3662" y="4826"/>
                </a:lnTo>
                <a:lnTo>
                  <a:pt x="3688" y="4819"/>
                </a:lnTo>
                <a:lnTo>
                  <a:pt x="3711" y="4812"/>
                </a:lnTo>
                <a:lnTo>
                  <a:pt x="3728" y="4805"/>
                </a:lnTo>
                <a:lnTo>
                  <a:pt x="3742" y="4799"/>
                </a:lnTo>
                <a:lnTo>
                  <a:pt x="3742" y="4799"/>
                </a:lnTo>
                <a:lnTo>
                  <a:pt x="3736" y="4805"/>
                </a:lnTo>
                <a:lnTo>
                  <a:pt x="3730" y="4813"/>
                </a:lnTo>
                <a:lnTo>
                  <a:pt x="3722" y="4823"/>
                </a:lnTo>
                <a:lnTo>
                  <a:pt x="3722" y="4823"/>
                </a:lnTo>
                <a:lnTo>
                  <a:pt x="3711" y="4839"/>
                </a:lnTo>
                <a:lnTo>
                  <a:pt x="3700" y="4856"/>
                </a:lnTo>
                <a:lnTo>
                  <a:pt x="3692" y="4871"/>
                </a:lnTo>
                <a:lnTo>
                  <a:pt x="3685" y="4886"/>
                </a:lnTo>
                <a:lnTo>
                  <a:pt x="3680" y="4902"/>
                </a:lnTo>
                <a:lnTo>
                  <a:pt x="3675" y="4919"/>
                </a:lnTo>
                <a:lnTo>
                  <a:pt x="3672" y="4936"/>
                </a:lnTo>
                <a:lnTo>
                  <a:pt x="3669" y="4957"/>
                </a:lnTo>
                <a:lnTo>
                  <a:pt x="3799" y="5041"/>
                </a:lnTo>
                <a:lnTo>
                  <a:pt x="3799" y="5041"/>
                </a:lnTo>
                <a:lnTo>
                  <a:pt x="3812" y="5000"/>
                </a:lnTo>
                <a:lnTo>
                  <a:pt x="3826" y="4960"/>
                </a:lnTo>
                <a:lnTo>
                  <a:pt x="3841" y="4924"/>
                </a:lnTo>
                <a:lnTo>
                  <a:pt x="3855" y="4891"/>
                </a:lnTo>
                <a:lnTo>
                  <a:pt x="3870" y="4864"/>
                </a:lnTo>
                <a:lnTo>
                  <a:pt x="3877" y="4851"/>
                </a:lnTo>
                <a:lnTo>
                  <a:pt x="3885" y="4841"/>
                </a:lnTo>
                <a:lnTo>
                  <a:pt x="3892" y="4832"/>
                </a:lnTo>
                <a:lnTo>
                  <a:pt x="3899" y="4825"/>
                </a:lnTo>
                <a:lnTo>
                  <a:pt x="3906" y="4820"/>
                </a:lnTo>
                <a:lnTo>
                  <a:pt x="3913" y="4816"/>
                </a:lnTo>
                <a:lnTo>
                  <a:pt x="3913" y="4816"/>
                </a:lnTo>
                <a:lnTo>
                  <a:pt x="3919" y="4814"/>
                </a:lnTo>
                <a:lnTo>
                  <a:pt x="3926" y="4814"/>
                </a:lnTo>
                <a:lnTo>
                  <a:pt x="3935" y="4814"/>
                </a:lnTo>
                <a:lnTo>
                  <a:pt x="3944" y="4815"/>
                </a:lnTo>
                <a:lnTo>
                  <a:pt x="3954" y="4817"/>
                </a:lnTo>
                <a:lnTo>
                  <a:pt x="3965" y="4819"/>
                </a:lnTo>
                <a:lnTo>
                  <a:pt x="3990" y="4828"/>
                </a:lnTo>
                <a:lnTo>
                  <a:pt x="4017" y="4839"/>
                </a:lnTo>
                <a:lnTo>
                  <a:pt x="4047" y="4854"/>
                </a:lnTo>
                <a:lnTo>
                  <a:pt x="4078" y="4874"/>
                </a:lnTo>
                <a:lnTo>
                  <a:pt x="4110" y="4895"/>
                </a:lnTo>
                <a:lnTo>
                  <a:pt x="4127" y="4908"/>
                </a:lnTo>
                <a:lnTo>
                  <a:pt x="4143" y="4921"/>
                </a:lnTo>
                <a:lnTo>
                  <a:pt x="4160" y="4935"/>
                </a:lnTo>
                <a:lnTo>
                  <a:pt x="4176" y="4950"/>
                </a:lnTo>
                <a:lnTo>
                  <a:pt x="4192" y="4965"/>
                </a:lnTo>
                <a:lnTo>
                  <a:pt x="4208" y="4981"/>
                </a:lnTo>
                <a:lnTo>
                  <a:pt x="4224" y="4999"/>
                </a:lnTo>
                <a:lnTo>
                  <a:pt x="4239" y="5017"/>
                </a:lnTo>
                <a:lnTo>
                  <a:pt x="4254" y="5035"/>
                </a:lnTo>
                <a:lnTo>
                  <a:pt x="4268" y="5055"/>
                </a:lnTo>
                <a:lnTo>
                  <a:pt x="4282" y="5075"/>
                </a:lnTo>
                <a:lnTo>
                  <a:pt x="4296" y="5097"/>
                </a:lnTo>
                <a:lnTo>
                  <a:pt x="4308" y="5118"/>
                </a:lnTo>
                <a:lnTo>
                  <a:pt x="4320" y="5141"/>
                </a:lnTo>
                <a:lnTo>
                  <a:pt x="4331" y="5164"/>
                </a:lnTo>
                <a:lnTo>
                  <a:pt x="4342" y="5189"/>
                </a:lnTo>
                <a:lnTo>
                  <a:pt x="4342" y="5189"/>
                </a:lnTo>
                <a:lnTo>
                  <a:pt x="4347" y="5203"/>
                </a:lnTo>
                <a:lnTo>
                  <a:pt x="4352" y="5220"/>
                </a:lnTo>
                <a:lnTo>
                  <a:pt x="4356" y="5236"/>
                </a:lnTo>
                <a:lnTo>
                  <a:pt x="4360" y="5253"/>
                </a:lnTo>
                <a:lnTo>
                  <a:pt x="4363" y="5272"/>
                </a:lnTo>
                <a:lnTo>
                  <a:pt x="4366" y="5290"/>
                </a:lnTo>
                <a:lnTo>
                  <a:pt x="4370" y="5329"/>
                </a:lnTo>
                <a:lnTo>
                  <a:pt x="4372" y="5368"/>
                </a:lnTo>
                <a:lnTo>
                  <a:pt x="4371" y="5409"/>
                </a:lnTo>
                <a:lnTo>
                  <a:pt x="4370" y="5429"/>
                </a:lnTo>
                <a:lnTo>
                  <a:pt x="4369" y="5449"/>
                </a:lnTo>
                <a:lnTo>
                  <a:pt x="4366" y="5469"/>
                </a:lnTo>
                <a:lnTo>
                  <a:pt x="4363" y="5488"/>
                </a:lnTo>
                <a:lnTo>
                  <a:pt x="4360" y="5508"/>
                </a:lnTo>
                <a:lnTo>
                  <a:pt x="4356" y="5526"/>
                </a:lnTo>
                <a:lnTo>
                  <a:pt x="4351" y="5545"/>
                </a:lnTo>
                <a:lnTo>
                  <a:pt x="4345" y="5562"/>
                </a:lnTo>
                <a:lnTo>
                  <a:pt x="4339" y="5579"/>
                </a:lnTo>
                <a:lnTo>
                  <a:pt x="4332" y="5595"/>
                </a:lnTo>
                <a:lnTo>
                  <a:pt x="4324" y="5610"/>
                </a:lnTo>
                <a:lnTo>
                  <a:pt x="4316" y="5624"/>
                </a:lnTo>
                <a:lnTo>
                  <a:pt x="4307" y="5638"/>
                </a:lnTo>
                <a:lnTo>
                  <a:pt x="4298" y="5650"/>
                </a:lnTo>
                <a:lnTo>
                  <a:pt x="4287" y="5661"/>
                </a:lnTo>
                <a:lnTo>
                  <a:pt x="4276" y="5670"/>
                </a:lnTo>
                <a:lnTo>
                  <a:pt x="4264" y="5679"/>
                </a:lnTo>
                <a:lnTo>
                  <a:pt x="4252" y="5686"/>
                </a:lnTo>
                <a:lnTo>
                  <a:pt x="4238" y="5691"/>
                </a:lnTo>
                <a:lnTo>
                  <a:pt x="4224" y="5694"/>
                </a:lnTo>
                <a:lnTo>
                  <a:pt x="4224" y="5694"/>
                </a:lnTo>
                <a:lnTo>
                  <a:pt x="4216" y="5695"/>
                </a:lnTo>
                <a:lnTo>
                  <a:pt x="4208" y="5695"/>
                </a:lnTo>
                <a:lnTo>
                  <a:pt x="4198" y="5694"/>
                </a:lnTo>
                <a:lnTo>
                  <a:pt x="4188" y="5692"/>
                </a:lnTo>
                <a:lnTo>
                  <a:pt x="4168" y="5687"/>
                </a:lnTo>
                <a:lnTo>
                  <a:pt x="4145" y="5679"/>
                </a:lnTo>
                <a:lnTo>
                  <a:pt x="4123" y="5668"/>
                </a:lnTo>
                <a:lnTo>
                  <a:pt x="4099" y="5657"/>
                </a:lnTo>
                <a:lnTo>
                  <a:pt x="4051" y="5635"/>
                </a:lnTo>
                <a:lnTo>
                  <a:pt x="4028" y="5623"/>
                </a:lnTo>
                <a:lnTo>
                  <a:pt x="4005" y="5614"/>
                </a:lnTo>
                <a:lnTo>
                  <a:pt x="3984" y="5607"/>
                </a:lnTo>
                <a:lnTo>
                  <a:pt x="3964" y="5602"/>
                </a:lnTo>
                <a:lnTo>
                  <a:pt x="3955" y="5601"/>
                </a:lnTo>
                <a:lnTo>
                  <a:pt x="3947" y="5600"/>
                </a:lnTo>
                <a:lnTo>
                  <a:pt x="3939" y="5601"/>
                </a:lnTo>
                <a:lnTo>
                  <a:pt x="3932" y="5602"/>
                </a:lnTo>
                <a:lnTo>
                  <a:pt x="3924" y="5605"/>
                </a:lnTo>
                <a:lnTo>
                  <a:pt x="3919" y="5609"/>
                </a:lnTo>
                <a:lnTo>
                  <a:pt x="3914" y="5614"/>
                </a:lnTo>
                <a:lnTo>
                  <a:pt x="3909" y="5620"/>
                </a:lnTo>
                <a:lnTo>
                  <a:pt x="3909" y="5620"/>
                </a:lnTo>
                <a:lnTo>
                  <a:pt x="3905" y="5627"/>
                </a:lnTo>
                <a:lnTo>
                  <a:pt x="3900" y="5635"/>
                </a:lnTo>
                <a:lnTo>
                  <a:pt x="3893" y="5641"/>
                </a:lnTo>
                <a:lnTo>
                  <a:pt x="3886" y="5647"/>
                </a:lnTo>
                <a:lnTo>
                  <a:pt x="3869" y="5658"/>
                </a:lnTo>
                <a:lnTo>
                  <a:pt x="3851" y="5668"/>
                </a:lnTo>
                <a:lnTo>
                  <a:pt x="3810" y="5690"/>
                </a:lnTo>
                <a:lnTo>
                  <a:pt x="3789" y="5701"/>
                </a:lnTo>
                <a:lnTo>
                  <a:pt x="3770" y="5714"/>
                </a:lnTo>
                <a:lnTo>
                  <a:pt x="3761" y="5720"/>
                </a:lnTo>
                <a:lnTo>
                  <a:pt x="3752" y="5729"/>
                </a:lnTo>
                <a:lnTo>
                  <a:pt x="3743" y="5736"/>
                </a:lnTo>
                <a:lnTo>
                  <a:pt x="3735" y="5745"/>
                </a:lnTo>
                <a:lnTo>
                  <a:pt x="3728" y="5754"/>
                </a:lnTo>
                <a:lnTo>
                  <a:pt x="3722" y="5764"/>
                </a:lnTo>
                <a:lnTo>
                  <a:pt x="3717" y="5775"/>
                </a:lnTo>
                <a:lnTo>
                  <a:pt x="3713" y="5787"/>
                </a:lnTo>
                <a:lnTo>
                  <a:pt x="3710" y="5799"/>
                </a:lnTo>
                <a:lnTo>
                  <a:pt x="3708" y="5813"/>
                </a:lnTo>
                <a:lnTo>
                  <a:pt x="3707" y="5827"/>
                </a:lnTo>
                <a:lnTo>
                  <a:pt x="3707" y="5843"/>
                </a:lnTo>
                <a:lnTo>
                  <a:pt x="3709" y="5860"/>
                </a:lnTo>
                <a:lnTo>
                  <a:pt x="3713" y="5877"/>
                </a:lnTo>
                <a:lnTo>
                  <a:pt x="3718" y="5896"/>
                </a:lnTo>
                <a:lnTo>
                  <a:pt x="3724" y="5917"/>
                </a:lnTo>
                <a:lnTo>
                  <a:pt x="3724" y="5917"/>
                </a:lnTo>
                <a:lnTo>
                  <a:pt x="3741" y="5896"/>
                </a:lnTo>
                <a:lnTo>
                  <a:pt x="3759" y="5875"/>
                </a:lnTo>
                <a:lnTo>
                  <a:pt x="3776" y="5856"/>
                </a:lnTo>
                <a:lnTo>
                  <a:pt x="3794" y="5840"/>
                </a:lnTo>
                <a:lnTo>
                  <a:pt x="3802" y="5833"/>
                </a:lnTo>
                <a:lnTo>
                  <a:pt x="3811" y="5827"/>
                </a:lnTo>
                <a:lnTo>
                  <a:pt x="3819" y="5821"/>
                </a:lnTo>
                <a:lnTo>
                  <a:pt x="3827" y="5817"/>
                </a:lnTo>
                <a:lnTo>
                  <a:pt x="3835" y="5815"/>
                </a:lnTo>
                <a:lnTo>
                  <a:pt x="3843" y="5813"/>
                </a:lnTo>
                <a:lnTo>
                  <a:pt x="3850" y="5813"/>
                </a:lnTo>
                <a:lnTo>
                  <a:pt x="3857" y="5815"/>
                </a:lnTo>
                <a:lnTo>
                  <a:pt x="3857" y="5815"/>
                </a:lnTo>
                <a:lnTo>
                  <a:pt x="3861" y="5817"/>
                </a:lnTo>
                <a:lnTo>
                  <a:pt x="3864" y="5819"/>
                </a:lnTo>
                <a:lnTo>
                  <a:pt x="3870" y="5825"/>
                </a:lnTo>
                <a:lnTo>
                  <a:pt x="3875" y="5833"/>
                </a:lnTo>
                <a:lnTo>
                  <a:pt x="3879" y="5841"/>
                </a:lnTo>
                <a:lnTo>
                  <a:pt x="3888" y="5862"/>
                </a:lnTo>
                <a:lnTo>
                  <a:pt x="3894" y="5872"/>
                </a:lnTo>
                <a:lnTo>
                  <a:pt x="3901" y="5882"/>
                </a:lnTo>
                <a:lnTo>
                  <a:pt x="3901" y="5882"/>
                </a:lnTo>
                <a:lnTo>
                  <a:pt x="3904" y="5885"/>
                </a:lnTo>
                <a:lnTo>
                  <a:pt x="3908" y="5887"/>
                </a:lnTo>
                <a:lnTo>
                  <a:pt x="3913" y="5889"/>
                </a:lnTo>
                <a:lnTo>
                  <a:pt x="3919" y="5890"/>
                </a:lnTo>
                <a:lnTo>
                  <a:pt x="3934" y="5892"/>
                </a:lnTo>
                <a:lnTo>
                  <a:pt x="3950" y="5892"/>
                </a:lnTo>
                <a:lnTo>
                  <a:pt x="3968" y="5891"/>
                </a:lnTo>
                <a:lnTo>
                  <a:pt x="3989" y="5889"/>
                </a:lnTo>
                <a:lnTo>
                  <a:pt x="4032" y="5885"/>
                </a:lnTo>
                <a:lnTo>
                  <a:pt x="4074" y="5881"/>
                </a:lnTo>
                <a:lnTo>
                  <a:pt x="4093" y="5879"/>
                </a:lnTo>
                <a:lnTo>
                  <a:pt x="4110" y="5879"/>
                </a:lnTo>
                <a:lnTo>
                  <a:pt x="4126" y="5879"/>
                </a:lnTo>
                <a:lnTo>
                  <a:pt x="4137" y="5881"/>
                </a:lnTo>
                <a:lnTo>
                  <a:pt x="4142" y="5883"/>
                </a:lnTo>
                <a:lnTo>
                  <a:pt x="4146" y="5885"/>
                </a:lnTo>
                <a:lnTo>
                  <a:pt x="4148" y="5887"/>
                </a:lnTo>
                <a:lnTo>
                  <a:pt x="4150" y="5890"/>
                </a:lnTo>
                <a:lnTo>
                  <a:pt x="4150" y="5890"/>
                </a:lnTo>
                <a:lnTo>
                  <a:pt x="4151" y="5893"/>
                </a:lnTo>
                <a:lnTo>
                  <a:pt x="4150" y="5896"/>
                </a:lnTo>
                <a:lnTo>
                  <a:pt x="4149" y="5898"/>
                </a:lnTo>
                <a:lnTo>
                  <a:pt x="4148" y="5900"/>
                </a:lnTo>
                <a:lnTo>
                  <a:pt x="4143" y="5904"/>
                </a:lnTo>
                <a:lnTo>
                  <a:pt x="4136" y="5905"/>
                </a:lnTo>
                <a:lnTo>
                  <a:pt x="4118" y="5908"/>
                </a:lnTo>
                <a:lnTo>
                  <a:pt x="4100" y="5910"/>
                </a:lnTo>
                <a:lnTo>
                  <a:pt x="4100" y="5910"/>
                </a:lnTo>
                <a:lnTo>
                  <a:pt x="4021" y="5924"/>
                </a:lnTo>
                <a:lnTo>
                  <a:pt x="3981" y="5931"/>
                </a:lnTo>
                <a:lnTo>
                  <a:pt x="3943" y="5939"/>
                </a:lnTo>
                <a:lnTo>
                  <a:pt x="3925" y="5944"/>
                </a:lnTo>
                <a:lnTo>
                  <a:pt x="3909" y="5950"/>
                </a:lnTo>
                <a:lnTo>
                  <a:pt x="3894" y="5956"/>
                </a:lnTo>
                <a:lnTo>
                  <a:pt x="3881" y="5962"/>
                </a:lnTo>
                <a:lnTo>
                  <a:pt x="3869" y="5968"/>
                </a:lnTo>
                <a:lnTo>
                  <a:pt x="3860" y="5976"/>
                </a:lnTo>
                <a:lnTo>
                  <a:pt x="3853" y="5984"/>
                </a:lnTo>
                <a:lnTo>
                  <a:pt x="3850" y="5988"/>
                </a:lnTo>
                <a:lnTo>
                  <a:pt x="3848" y="5993"/>
                </a:lnTo>
                <a:lnTo>
                  <a:pt x="3848" y="5993"/>
                </a:lnTo>
                <a:lnTo>
                  <a:pt x="3846" y="6000"/>
                </a:lnTo>
                <a:lnTo>
                  <a:pt x="3846" y="6004"/>
                </a:lnTo>
                <a:lnTo>
                  <a:pt x="3847" y="6014"/>
                </a:lnTo>
                <a:lnTo>
                  <a:pt x="3847" y="6019"/>
                </a:lnTo>
                <a:lnTo>
                  <a:pt x="3846" y="6025"/>
                </a:lnTo>
                <a:lnTo>
                  <a:pt x="3845" y="6033"/>
                </a:lnTo>
                <a:lnTo>
                  <a:pt x="3842" y="6044"/>
                </a:lnTo>
                <a:lnTo>
                  <a:pt x="3842" y="6044"/>
                </a:lnTo>
                <a:lnTo>
                  <a:pt x="3837" y="6055"/>
                </a:lnTo>
                <a:lnTo>
                  <a:pt x="3831" y="6064"/>
                </a:lnTo>
                <a:lnTo>
                  <a:pt x="3823" y="6072"/>
                </a:lnTo>
                <a:lnTo>
                  <a:pt x="3815" y="6080"/>
                </a:lnTo>
                <a:lnTo>
                  <a:pt x="3796" y="6096"/>
                </a:lnTo>
                <a:lnTo>
                  <a:pt x="3786" y="6104"/>
                </a:lnTo>
                <a:lnTo>
                  <a:pt x="3776" y="6113"/>
                </a:lnTo>
                <a:lnTo>
                  <a:pt x="3767" y="6122"/>
                </a:lnTo>
                <a:lnTo>
                  <a:pt x="3758" y="6134"/>
                </a:lnTo>
                <a:lnTo>
                  <a:pt x="3750" y="6147"/>
                </a:lnTo>
                <a:lnTo>
                  <a:pt x="3742" y="6161"/>
                </a:lnTo>
                <a:lnTo>
                  <a:pt x="3736" y="6179"/>
                </a:lnTo>
                <a:lnTo>
                  <a:pt x="3732" y="6198"/>
                </a:lnTo>
                <a:lnTo>
                  <a:pt x="3730" y="6220"/>
                </a:lnTo>
                <a:lnTo>
                  <a:pt x="3730" y="6246"/>
                </a:lnTo>
                <a:lnTo>
                  <a:pt x="3730" y="6246"/>
                </a:lnTo>
                <a:lnTo>
                  <a:pt x="3732" y="6259"/>
                </a:lnTo>
                <a:lnTo>
                  <a:pt x="3735" y="6272"/>
                </a:lnTo>
                <a:lnTo>
                  <a:pt x="3739" y="6284"/>
                </a:lnTo>
                <a:lnTo>
                  <a:pt x="3744" y="6296"/>
                </a:lnTo>
                <a:lnTo>
                  <a:pt x="3751" y="6306"/>
                </a:lnTo>
                <a:lnTo>
                  <a:pt x="3757" y="6318"/>
                </a:lnTo>
                <a:lnTo>
                  <a:pt x="3763" y="6327"/>
                </a:lnTo>
                <a:lnTo>
                  <a:pt x="3770" y="6336"/>
                </a:lnTo>
                <a:lnTo>
                  <a:pt x="3784" y="6351"/>
                </a:lnTo>
                <a:lnTo>
                  <a:pt x="3797" y="6363"/>
                </a:lnTo>
                <a:lnTo>
                  <a:pt x="3807" y="6370"/>
                </a:lnTo>
                <a:lnTo>
                  <a:pt x="3810" y="6372"/>
                </a:lnTo>
                <a:lnTo>
                  <a:pt x="3813" y="6373"/>
                </a:lnTo>
                <a:lnTo>
                  <a:pt x="3813" y="6373"/>
                </a:lnTo>
                <a:lnTo>
                  <a:pt x="3814" y="6372"/>
                </a:lnTo>
                <a:lnTo>
                  <a:pt x="3815" y="6371"/>
                </a:lnTo>
                <a:lnTo>
                  <a:pt x="3816" y="6366"/>
                </a:lnTo>
                <a:lnTo>
                  <a:pt x="3818" y="6358"/>
                </a:lnTo>
                <a:lnTo>
                  <a:pt x="3818" y="6348"/>
                </a:lnTo>
                <a:lnTo>
                  <a:pt x="3820" y="6324"/>
                </a:lnTo>
                <a:lnTo>
                  <a:pt x="3823" y="6295"/>
                </a:lnTo>
                <a:lnTo>
                  <a:pt x="3825" y="6281"/>
                </a:lnTo>
                <a:lnTo>
                  <a:pt x="3828" y="6265"/>
                </a:lnTo>
                <a:lnTo>
                  <a:pt x="3831" y="6252"/>
                </a:lnTo>
                <a:lnTo>
                  <a:pt x="3836" y="6239"/>
                </a:lnTo>
                <a:lnTo>
                  <a:pt x="3843" y="6228"/>
                </a:lnTo>
                <a:lnTo>
                  <a:pt x="3847" y="6224"/>
                </a:lnTo>
                <a:lnTo>
                  <a:pt x="3851" y="6218"/>
                </a:lnTo>
                <a:lnTo>
                  <a:pt x="3855" y="6215"/>
                </a:lnTo>
                <a:lnTo>
                  <a:pt x="3860" y="6212"/>
                </a:lnTo>
                <a:lnTo>
                  <a:pt x="3865" y="6209"/>
                </a:lnTo>
                <a:lnTo>
                  <a:pt x="3871" y="6208"/>
                </a:lnTo>
                <a:lnTo>
                  <a:pt x="3871" y="6208"/>
                </a:lnTo>
                <a:lnTo>
                  <a:pt x="3877" y="6207"/>
                </a:lnTo>
                <a:lnTo>
                  <a:pt x="3882" y="6208"/>
                </a:lnTo>
                <a:lnTo>
                  <a:pt x="3888" y="6210"/>
                </a:lnTo>
                <a:lnTo>
                  <a:pt x="3892" y="6214"/>
                </a:lnTo>
                <a:lnTo>
                  <a:pt x="3902" y="6223"/>
                </a:lnTo>
                <a:lnTo>
                  <a:pt x="3911" y="6233"/>
                </a:lnTo>
                <a:lnTo>
                  <a:pt x="3921" y="6243"/>
                </a:lnTo>
                <a:lnTo>
                  <a:pt x="3926" y="6248"/>
                </a:lnTo>
                <a:lnTo>
                  <a:pt x="3933" y="6252"/>
                </a:lnTo>
                <a:lnTo>
                  <a:pt x="3940" y="6256"/>
                </a:lnTo>
                <a:lnTo>
                  <a:pt x="3946" y="6259"/>
                </a:lnTo>
                <a:lnTo>
                  <a:pt x="3954" y="6260"/>
                </a:lnTo>
                <a:lnTo>
                  <a:pt x="3962" y="6261"/>
                </a:lnTo>
                <a:lnTo>
                  <a:pt x="3962" y="6261"/>
                </a:lnTo>
                <a:lnTo>
                  <a:pt x="3970" y="6260"/>
                </a:lnTo>
                <a:lnTo>
                  <a:pt x="3979" y="6257"/>
                </a:lnTo>
                <a:lnTo>
                  <a:pt x="3987" y="6254"/>
                </a:lnTo>
                <a:lnTo>
                  <a:pt x="3996" y="6250"/>
                </a:lnTo>
                <a:lnTo>
                  <a:pt x="4005" y="6244"/>
                </a:lnTo>
                <a:lnTo>
                  <a:pt x="4014" y="6238"/>
                </a:lnTo>
                <a:lnTo>
                  <a:pt x="4035" y="6221"/>
                </a:lnTo>
                <a:lnTo>
                  <a:pt x="4055" y="6204"/>
                </a:lnTo>
                <a:lnTo>
                  <a:pt x="4077" y="6184"/>
                </a:lnTo>
                <a:lnTo>
                  <a:pt x="4122" y="6141"/>
                </a:lnTo>
                <a:lnTo>
                  <a:pt x="4144" y="6119"/>
                </a:lnTo>
                <a:lnTo>
                  <a:pt x="4166" y="6099"/>
                </a:lnTo>
                <a:lnTo>
                  <a:pt x="4187" y="6079"/>
                </a:lnTo>
                <a:lnTo>
                  <a:pt x="4208" y="6064"/>
                </a:lnTo>
                <a:lnTo>
                  <a:pt x="4227" y="6051"/>
                </a:lnTo>
                <a:lnTo>
                  <a:pt x="4236" y="6046"/>
                </a:lnTo>
                <a:lnTo>
                  <a:pt x="4245" y="6042"/>
                </a:lnTo>
                <a:lnTo>
                  <a:pt x="4254" y="6038"/>
                </a:lnTo>
                <a:lnTo>
                  <a:pt x="4262" y="6036"/>
                </a:lnTo>
                <a:lnTo>
                  <a:pt x="4270" y="6036"/>
                </a:lnTo>
                <a:lnTo>
                  <a:pt x="4277" y="6037"/>
                </a:lnTo>
                <a:lnTo>
                  <a:pt x="4277" y="6037"/>
                </a:lnTo>
                <a:lnTo>
                  <a:pt x="4278" y="6038"/>
                </a:lnTo>
                <a:lnTo>
                  <a:pt x="4279" y="6041"/>
                </a:lnTo>
                <a:lnTo>
                  <a:pt x="4278" y="6044"/>
                </a:lnTo>
                <a:lnTo>
                  <a:pt x="4277" y="6046"/>
                </a:lnTo>
                <a:lnTo>
                  <a:pt x="4272" y="6053"/>
                </a:lnTo>
                <a:lnTo>
                  <a:pt x="4264" y="6061"/>
                </a:lnTo>
                <a:lnTo>
                  <a:pt x="4241" y="6082"/>
                </a:lnTo>
                <a:lnTo>
                  <a:pt x="4212" y="6109"/>
                </a:lnTo>
                <a:lnTo>
                  <a:pt x="4181" y="6139"/>
                </a:lnTo>
                <a:lnTo>
                  <a:pt x="4167" y="6154"/>
                </a:lnTo>
                <a:lnTo>
                  <a:pt x="4152" y="6170"/>
                </a:lnTo>
                <a:lnTo>
                  <a:pt x="4140" y="6187"/>
                </a:lnTo>
                <a:lnTo>
                  <a:pt x="4129" y="6204"/>
                </a:lnTo>
                <a:lnTo>
                  <a:pt x="4121" y="6220"/>
                </a:lnTo>
                <a:lnTo>
                  <a:pt x="4118" y="6229"/>
                </a:lnTo>
                <a:lnTo>
                  <a:pt x="4116" y="6238"/>
                </a:lnTo>
                <a:lnTo>
                  <a:pt x="4116" y="6238"/>
                </a:lnTo>
                <a:lnTo>
                  <a:pt x="4114" y="6250"/>
                </a:lnTo>
                <a:lnTo>
                  <a:pt x="4114" y="6261"/>
                </a:lnTo>
                <a:lnTo>
                  <a:pt x="4115" y="6273"/>
                </a:lnTo>
                <a:lnTo>
                  <a:pt x="4119" y="6282"/>
                </a:lnTo>
                <a:lnTo>
                  <a:pt x="4123" y="6290"/>
                </a:lnTo>
                <a:lnTo>
                  <a:pt x="4129" y="6298"/>
                </a:lnTo>
                <a:lnTo>
                  <a:pt x="4135" y="6305"/>
                </a:lnTo>
                <a:lnTo>
                  <a:pt x="4142" y="6311"/>
                </a:lnTo>
                <a:lnTo>
                  <a:pt x="4157" y="6325"/>
                </a:lnTo>
                <a:lnTo>
                  <a:pt x="4163" y="6331"/>
                </a:lnTo>
                <a:lnTo>
                  <a:pt x="4169" y="6338"/>
                </a:lnTo>
                <a:lnTo>
                  <a:pt x="4175" y="6345"/>
                </a:lnTo>
                <a:lnTo>
                  <a:pt x="4179" y="6352"/>
                </a:lnTo>
                <a:lnTo>
                  <a:pt x="4182" y="6361"/>
                </a:lnTo>
                <a:lnTo>
                  <a:pt x="4183" y="6370"/>
                </a:lnTo>
                <a:lnTo>
                  <a:pt x="4183" y="6370"/>
                </a:lnTo>
                <a:lnTo>
                  <a:pt x="4184" y="6380"/>
                </a:lnTo>
                <a:lnTo>
                  <a:pt x="4186" y="6391"/>
                </a:lnTo>
                <a:lnTo>
                  <a:pt x="4189" y="6400"/>
                </a:lnTo>
                <a:lnTo>
                  <a:pt x="4193" y="6411"/>
                </a:lnTo>
                <a:lnTo>
                  <a:pt x="4198" y="6420"/>
                </a:lnTo>
                <a:lnTo>
                  <a:pt x="4205" y="6429"/>
                </a:lnTo>
                <a:lnTo>
                  <a:pt x="4212" y="6437"/>
                </a:lnTo>
                <a:lnTo>
                  <a:pt x="4220" y="6445"/>
                </a:lnTo>
                <a:lnTo>
                  <a:pt x="4228" y="6454"/>
                </a:lnTo>
                <a:lnTo>
                  <a:pt x="4237" y="6461"/>
                </a:lnTo>
                <a:lnTo>
                  <a:pt x="4257" y="6474"/>
                </a:lnTo>
                <a:lnTo>
                  <a:pt x="4278" y="6486"/>
                </a:lnTo>
                <a:lnTo>
                  <a:pt x="4300" y="6497"/>
                </a:lnTo>
                <a:lnTo>
                  <a:pt x="4322" y="6506"/>
                </a:lnTo>
                <a:lnTo>
                  <a:pt x="4344" y="6514"/>
                </a:lnTo>
                <a:lnTo>
                  <a:pt x="4364" y="6519"/>
                </a:lnTo>
                <a:lnTo>
                  <a:pt x="4382" y="6524"/>
                </a:lnTo>
                <a:lnTo>
                  <a:pt x="4399" y="6526"/>
                </a:lnTo>
                <a:lnTo>
                  <a:pt x="4412" y="6527"/>
                </a:lnTo>
                <a:lnTo>
                  <a:pt x="4421" y="6527"/>
                </a:lnTo>
                <a:lnTo>
                  <a:pt x="4424" y="6526"/>
                </a:lnTo>
                <a:lnTo>
                  <a:pt x="4426" y="6525"/>
                </a:lnTo>
                <a:lnTo>
                  <a:pt x="4426" y="6525"/>
                </a:lnTo>
                <a:lnTo>
                  <a:pt x="4427" y="6523"/>
                </a:lnTo>
                <a:lnTo>
                  <a:pt x="4427" y="6521"/>
                </a:lnTo>
                <a:lnTo>
                  <a:pt x="4425" y="6515"/>
                </a:lnTo>
                <a:lnTo>
                  <a:pt x="4420" y="6508"/>
                </a:lnTo>
                <a:lnTo>
                  <a:pt x="4412" y="6498"/>
                </a:lnTo>
                <a:lnTo>
                  <a:pt x="4393" y="6475"/>
                </a:lnTo>
                <a:lnTo>
                  <a:pt x="4369" y="6448"/>
                </a:lnTo>
                <a:lnTo>
                  <a:pt x="4358" y="6435"/>
                </a:lnTo>
                <a:lnTo>
                  <a:pt x="4348" y="6421"/>
                </a:lnTo>
                <a:lnTo>
                  <a:pt x="4339" y="6407"/>
                </a:lnTo>
                <a:lnTo>
                  <a:pt x="4330" y="6393"/>
                </a:lnTo>
                <a:lnTo>
                  <a:pt x="4325" y="6380"/>
                </a:lnTo>
                <a:lnTo>
                  <a:pt x="4324" y="6374"/>
                </a:lnTo>
                <a:lnTo>
                  <a:pt x="4323" y="6368"/>
                </a:lnTo>
                <a:lnTo>
                  <a:pt x="4323" y="6362"/>
                </a:lnTo>
                <a:lnTo>
                  <a:pt x="4324" y="6356"/>
                </a:lnTo>
                <a:lnTo>
                  <a:pt x="4326" y="6351"/>
                </a:lnTo>
                <a:lnTo>
                  <a:pt x="4329" y="6346"/>
                </a:lnTo>
                <a:lnTo>
                  <a:pt x="4329" y="6346"/>
                </a:lnTo>
                <a:lnTo>
                  <a:pt x="4333" y="6342"/>
                </a:lnTo>
                <a:lnTo>
                  <a:pt x="4337" y="6339"/>
                </a:lnTo>
                <a:lnTo>
                  <a:pt x="4343" y="6338"/>
                </a:lnTo>
                <a:lnTo>
                  <a:pt x="4347" y="6337"/>
                </a:lnTo>
                <a:lnTo>
                  <a:pt x="4352" y="6337"/>
                </a:lnTo>
                <a:lnTo>
                  <a:pt x="4358" y="6338"/>
                </a:lnTo>
                <a:lnTo>
                  <a:pt x="4370" y="6340"/>
                </a:lnTo>
                <a:lnTo>
                  <a:pt x="4384" y="6343"/>
                </a:lnTo>
                <a:lnTo>
                  <a:pt x="4392" y="6344"/>
                </a:lnTo>
                <a:lnTo>
                  <a:pt x="4399" y="6344"/>
                </a:lnTo>
                <a:lnTo>
                  <a:pt x="4408" y="6344"/>
                </a:lnTo>
                <a:lnTo>
                  <a:pt x="4416" y="6343"/>
                </a:lnTo>
                <a:lnTo>
                  <a:pt x="4425" y="6341"/>
                </a:lnTo>
                <a:lnTo>
                  <a:pt x="4436" y="6337"/>
                </a:lnTo>
                <a:lnTo>
                  <a:pt x="4436" y="6337"/>
                </a:lnTo>
                <a:lnTo>
                  <a:pt x="4437" y="6335"/>
                </a:lnTo>
                <a:lnTo>
                  <a:pt x="4438" y="6332"/>
                </a:lnTo>
                <a:lnTo>
                  <a:pt x="4438" y="6325"/>
                </a:lnTo>
                <a:lnTo>
                  <a:pt x="4436" y="6314"/>
                </a:lnTo>
                <a:lnTo>
                  <a:pt x="4434" y="6299"/>
                </a:lnTo>
                <a:lnTo>
                  <a:pt x="4431" y="6283"/>
                </a:lnTo>
                <a:lnTo>
                  <a:pt x="4428" y="6264"/>
                </a:lnTo>
                <a:lnTo>
                  <a:pt x="4426" y="6243"/>
                </a:lnTo>
                <a:lnTo>
                  <a:pt x="4426" y="6219"/>
                </a:lnTo>
                <a:lnTo>
                  <a:pt x="4428" y="6195"/>
                </a:lnTo>
                <a:lnTo>
                  <a:pt x="4431" y="6182"/>
                </a:lnTo>
                <a:lnTo>
                  <a:pt x="4434" y="6167"/>
                </a:lnTo>
                <a:lnTo>
                  <a:pt x="4437" y="6154"/>
                </a:lnTo>
                <a:lnTo>
                  <a:pt x="4441" y="6139"/>
                </a:lnTo>
                <a:lnTo>
                  <a:pt x="4446" y="6124"/>
                </a:lnTo>
                <a:lnTo>
                  <a:pt x="4453" y="6109"/>
                </a:lnTo>
                <a:lnTo>
                  <a:pt x="4460" y="6094"/>
                </a:lnTo>
                <a:lnTo>
                  <a:pt x="4469" y="6078"/>
                </a:lnTo>
                <a:lnTo>
                  <a:pt x="4479" y="6062"/>
                </a:lnTo>
                <a:lnTo>
                  <a:pt x="4490" y="6046"/>
                </a:lnTo>
                <a:lnTo>
                  <a:pt x="4503" y="6029"/>
                </a:lnTo>
                <a:lnTo>
                  <a:pt x="4516" y="6013"/>
                </a:lnTo>
                <a:lnTo>
                  <a:pt x="4533" y="5996"/>
                </a:lnTo>
                <a:lnTo>
                  <a:pt x="4550" y="5979"/>
                </a:lnTo>
                <a:lnTo>
                  <a:pt x="4550" y="5979"/>
                </a:lnTo>
                <a:lnTo>
                  <a:pt x="4557" y="5990"/>
                </a:lnTo>
                <a:lnTo>
                  <a:pt x="4566" y="6002"/>
                </a:lnTo>
                <a:lnTo>
                  <a:pt x="4578" y="6015"/>
                </a:lnTo>
                <a:lnTo>
                  <a:pt x="4586" y="6022"/>
                </a:lnTo>
                <a:lnTo>
                  <a:pt x="4594" y="6029"/>
                </a:lnTo>
                <a:lnTo>
                  <a:pt x="4603" y="6035"/>
                </a:lnTo>
                <a:lnTo>
                  <a:pt x="4614" y="6043"/>
                </a:lnTo>
                <a:lnTo>
                  <a:pt x="4624" y="6048"/>
                </a:lnTo>
                <a:lnTo>
                  <a:pt x="4636" y="6052"/>
                </a:lnTo>
                <a:lnTo>
                  <a:pt x="4648" y="6056"/>
                </a:lnTo>
                <a:lnTo>
                  <a:pt x="4662" y="6058"/>
                </a:lnTo>
                <a:lnTo>
                  <a:pt x="4662" y="6058"/>
                </a:lnTo>
                <a:lnTo>
                  <a:pt x="4668" y="6059"/>
                </a:lnTo>
                <a:lnTo>
                  <a:pt x="4673" y="6061"/>
                </a:lnTo>
                <a:lnTo>
                  <a:pt x="4677" y="6064"/>
                </a:lnTo>
                <a:lnTo>
                  <a:pt x="4681" y="6067"/>
                </a:lnTo>
                <a:lnTo>
                  <a:pt x="4685" y="6071"/>
                </a:lnTo>
                <a:lnTo>
                  <a:pt x="4688" y="6075"/>
                </a:lnTo>
                <a:lnTo>
                  <a:pt x="4692" y="6087"/>
                </a:lnTo>
                <a:lnTo>
                  <a:pt x="4696" y="6099"/>
                </a:lnTo>
                <a:lnTo>
                  <a:pt x="4698" y="6112"/>
                </a:lnTo>
                <a:lnTo>
                  <a:pt x="4698" y="6125"/>
                </a:lnTo>
                <a:lnTo>
                  <a:pt x="4698" y="6140"/>
                </a:lnTo>
                <a:lnTo>
                  <a:pt x="4696" y="6168"/>
                </a:lnTo>
                <a:lnTo>
                  <a:pt x="4694" y="6193"/>
                </a:lnTo>
                <a:lnTo>
                  <a:pt x="4692" y="6210"/>
                </a:lnTo>
                <a:lnTo>
                  <a:pt x="4692" y="6215"/>
                </a:lnTo>
                <a:lnTo>
                  <a:pt x="4693" y="6216"/>
                </a:lnTo>
                <a:lnTo>
                  <a:pt x="4694" y="6216"/>
                </a:lnTo>
                <a:lnTo>
                  <a:pt x="4694" y="6216"/>
                </a:lnTo>
                <a:lnTo>
                  <a:pt x="4697" y="6215"/>
                </a:lnTo>
                <a:lnTo>
                  <a:pt x="4702" y="6212"/>
                </a:lnTo>
                <a:lnTo>
                  <a:pt x="4708" y="6207"/>
                </a:lnTo>
                <a:lnTo>
                  <a:pt x="4714" y="6200"/>
                </a:lnTo>
                <a:lnTo>
                  <a:pt x="4721" y="6191"/>
                </a:lnTo>
                <a:lnTo>
                  <a:pt x="4729" y="6181"/>
                </a:lnTo>
                <a:lnTo>
                  <a:pt x="4736" y="6167"/>
                </a:lnTo>
                <a:lnTo>
                  <a:pt x="4743" y="6154"/>
                </a:lnTo>
                <a:lnTo>
                  <a:pt x="4751" y="6139"/>
                </a:lnTo>
                <a:lnTo>
                  <a:pt x="4758" y="6121"/>
                </a:lnTo>
                <a:lnTo>
                  <a:pt x="4763" y="6104"/>
                </a:lnTo>
                <a:lnTo>
                  <a:pt x="4768" y="6084"/>
                </a:lnTo>
                <a:lnTo>
                  <a:pt x="4771" y="6064"/>
                </a:lnTo>
                <a:lnTo>
                  <a:pt x="4773" y="6044"/>
                </a:lnTo>
                <a:lnTo>
                  <a:pt x="4772" y="6022"/>
                </a:lnTo>
                <a:lnTo>
                  <a:pt x="4770" y="6000"/>
                </a:lnTo>
                <a:lnTo>
                  <a:pt x="4770" y="6000"/>
                </a:lnTo>
                <a:lnTo>
                  <a:pt x="4778" y="5992"/>
                </a:lnTo>
                <a:lnTo>
                  <a:pt x="4798" y="5975"/>
                </a:lnTo>
                <a:lnTo>
                  <a:pt x="4809" y="5964"/>
                </a:lnTo>
                <a:lnTo>
                  <a:pt x="4819" y="5952"/>
                </a:lnTo>
                <a:lnTo>
                  <a:pt x="4827" y="5938"/>
                </a:lnTo>
                <a:lnTo>
                  <a:pt x="4830" y="5932"/>
                </a:lnTo>
                <a:lnTo>
                  <a:pt x="4832" y="5926"/>
                </a:lnTo>
                <a:lnTo>
                  <a:pt x="4832" y="5926"/>
                </a:lnTo>
                <a:lnTo>
                  <a:pt x="4834" y="5917"/>
                </a:lnTo>
                <a:lnTo>
                  <a:pt x="4835" y="5908"/>
                </a:lnTo>
                <a:lnTo>
                  <a:pt x="4836" y="5899"/>
                </a:lnTo>
                <a:lnTo>
                  <a:pt x="4835" y="5892"/>
                </a:lnTo>
                <a:lnTo>
                  <a:pt x="4834" y="5886"/>
                </a:lnTo>
                <a:lnTo>
                  <a:pt x="4832" y="5880"/>
                </a:lnTo>
                <a:lnTo>
                  <a:pt x="4830" y="5875"/>
                </a:lnTo>
                <a:lnTo>
                  <a:pt x="4827" y="5870"/>
                </a:lnTo>
                <a:lnTo>
                  <a:pt x="4819" y="5861"/>
                </a:lnTo>
                <a:lnTo>
                  <a:pt x="4810" y="5851"/>
                </a:lnTo>
                <a:lnTo>
                  <a:pt x="4800" y="5842"/>
                </a:lnTo>
                <a:lnTo>
                  <a:pt x="4789" y="5831"/>
                </a:lnTo>
                <a:lnTo>
                  <a:pt x="4778" y="5818"/>
                </a:lnTo>
                <a:lnTo>
                  <a:pt x="4772" y="5810"/>
                </a:lnTo>
                <a:lnTo>
                  <a:pt x="4767" y="5801"/>
                </a:lnTo>
                <a:lnTo>
                  <a:pt x="4762" y="5792"/>
                </a:lnTo>
                <a:lnTo>
                  <a:pt x="4757" y="5782"/>
                </a:lnTo>
                <a:lnTo>
                  <a:pt x="4753" y="5770"/>
                </a:lnTo>
                <a:lnTo>
                  <a:pt x="4749" y="5757"/>
                </a:lnTo>
                <a:lnTo>
                  <a:pt x="4744" y="5743"/>
                </a:lnTo>
                <a:lnTo>
                  <a:pt x="4741" y="5727"/>
                </a:lnTo>
                <a:lnTo>
                  <a:pt x="4738" y="5710"/>
                </a:lnTo>
                <a:lnTo>
                  <a:pt x="4736" y="5691"/>
                </a:lnTo>
                <a:lnTo>
                  <a:pt x="4735" y="5670"/>
                </a:lnTo>
                <a:lnTo>
                  <a:pt x="4734" y="5648"/>
                </a:lnTo>
                <a:lnTo>
                  <a:pt x="4734" y="5623"/>
                </a:lnTo>
                <a:lnTo>
                  <a:pt x="4735" y="5597"/>
                </a:lnTo>
                <a:lnTo>
                  <a:pt x="4735" y="5597"/>
                </a:lnTo>
                <a:lnTo>
                  <a:pt x="4735" y="5579"/>
                </a:lnTo>
                <a:lnTo>
                  <a:pt x="4734" y="5573"/>
                </a:lnTo>
                <a:lnTo>
                  <a:pt x="4733" y="5568"/>
                </a:lnTo>
                <a:lnTo>
                  <a:pt x="4731" y="5563"/>
                </a:lnTo>
                <a:lnTo>
                  <a:pt x="4729" y="5559"/>
                </a:lnTo>
                <a:lnTo>
                  <a:pt x="4727" y="5556"/>
                </a:lnTo>
                <a:lnTo>
                  <a:pt x="4724" y="5553"/>
                </a:lnTo>
                <a:lnTo>
                  <a:pt x="4716" y="5547"/>
                </a:lnTo>
                <a:lnTo>
                  <a:pt x="4706" y="5540"/>
                </a:lnTo>
                <a:lnTo>
                  <a:pt x="4693" y="5530"/>
                </a:lnTo>
                <a:lnTo>
                  <a:pt x="4679" y="5518"/>
                </a:lnTo>
                <a:lnTo>
                  <a:pt x="4679" y="5518"/>
                </a:lnTo>
                <a:lnTo>
                  <a:pt x="4671" y="5508"/>
                </a:lnTo>
                <a:lnTo>
                  <a:pt x="4664" y="5498"/>
                </a:lnTo>
                <a:lnTo>
                  <a:pt x="4659" y="5487"/>
                </a:lnTo>
                <a:lnTo>
                  <a:pt x="4655" y="5477"/>
                </a:lnTo>
                <a:lnTo>
                  <a:pt x="4654" y="5469"/>
                </a:lnTo>
                <a:lnTo>
                  <a:pt x="4654" y="5466"/>
                </a:lnTo>
                <a:lnTo>
                  <a:pt x="4654" y="5464"/>
                </a:lnTo>
                <a:lnTo>
                  <a:pt x="4657" y="5462"/>
                </a:lnTo>
                <a:lnTo>
                  <a:pt x="4659" y="5461"/>
                </a:lnTo>
                <a:lnTo>
                  <a:pt x="4661" y="5461"/>
                </a:lnTo>
                <a:lnTo>
                  <a:pt x="4665" y="5462"/>
                </a:lnTo>
                <a:lnTo>
                  <a:pt x="4665" y="5462"/>
                </a:lnTo>
                <a:lnTo>
                  <a:pt x="4679" y="5468"/>
                </a:lnTo>
                <a:lnTo>
                  <a:pt x="4693" y="5472"/>
                </a:lnTo>
                <a:lnTo>
                  <a:pt x="4708" y="5475"/>
                </a:lnTo>
                <a:lnTo>
                  <a:pt x="4723" y="5476"/>
                </a:lnTo>
                <a:lnTo>
                  <a:pt x="4737" y="5477"/>
                </a:lnTo>
                <a:lnTo>
                  <a:pt x="4752" y="5478"/>
                </a:lnTo>
                <a:lnTo>
                  <a:pt x="4765" y="5477"/>
                </a:lnTo>
                <a:lnTo>
                  <a:pt x="4778" y="5476"/>
                </a:lnTo>
                <a:lnTo>
                  <a:pt x="4802" y="5473"/>
                </a:lnTo>
                <a:lnTo>
                  <a:pt x="4819" y="5469"/>
                </a:lnTo>
                <a:lnTo>
                  <a:pt x="4835" y="5465"/>
                </a:lnTo>
                <a:lnTo>
                  <a:pt x="4835" y="5465"/>
                </a:lnTo>
                <a:lnTo>
                  <a:pt x="4844" y="5369"/>
                </a:lnTo>
                <a:lnTo>
                  <a:pt x="4849" y="5294"/>
                </a:lnTo>
                <a:lnTo>
                  <a:pt x="4851" y="5239"/>
                </a:lnTo>
                <a:lnTo>
                  <a:pt x="4851" y="5201"/>
                </a:lnTo>
                <a:lnTo>
                  <a:pt x="4849" y="5176"/>
                </a:lnTo>
                <a:lnTo>
                  <a:pt x="4847" y="5161"/>
                </a:lnTo>
                <a:lnTo>
                  <a:pt x="4845" y="5155"/>
                </a:lnTo>
                <a:lnTo>
                  <a:pt x="4844" y="5153"/>
                </a:lnTo>
                <a:lnTo>
                  <a:pt x="4844" y="5153"/>
                </a:lnTo>
                <a:lnTo>
                  <a:pt x="4825" y="5154"/>
                </a:lnTo>
                <a:lnTo>
                  <a:pt x="4808" y="5153"/>
                </a:lnTo>
                <a:lnTo>
                  <a:pt x="4791" y="5152"/>
                </a:lnTo>
                <a:lnTo>
                  <a:pt x="4776" y="5151"/>
                </a:lnTo>
                <a:lnTo>
                  <a:pt x="4763" y="5149"/>
                </a:lnTo>
                <a:lnTo>
                  <a:pt x="4750" y="5146"/>
                </a:lnTo>
                <a:lnTo>
                  <a:pt x="4737" y="5143"/>
                </a:lnTo>
                <a:lnTo>
                  <a:pt x="4726" y="5139"/>
                </a:lnTo>
                <a:lnTo>
                  <a:pt x="4716" y="5135"/>
                </a:lnTo>
                <a:lnTo>
                  <a:pt x="4707" y="5131"/>
                </a:lnTo>
                <a:lnTo>
                  <a:pt x="4698" y="5125"/>
                </a:lnTo>
                <a:lnTo>
                  <a:pt x="4690" y="5120"/>
                </a:lnTo>
                <a:lnTo>
                  <a:pt x="4683" y="5114"/>
                </a:lnTo>
                <a:lnTo>
                  <a:pt x="4676" y="5109"/>
                </a:lnTo>
                <a:lnTo>
                  <a:pt x="4665" y="5096"/>
                </a:lnTo>
                <a:lnTo>
                  <a:pt x="4665" y="5096"/>
                </a:lnTo>
                <a:lnTo>
                  <a:pt x="4677" y="5099"/>
                </a:lnTo>
                <a:lnTo>
                  <a:pt x="4690" y="5101"/>
                </a:lnTo>
                <a:lnTo>
                  <a:pt x="4717" y="5103"/>
                </a:lnTo>
                <a:lnTo>
                  <a:pt x="4742" y="5103"/>
                </a:lnTo>
                <a:lnTo>
                  <a:pt x="4768" y="5101"/>
                </a:lnTo>
                <a:lnTo>
                  <a:pt x="4790" y="5097"/>
                </a:lnTo>
                <a:lnTo>
                  <a:pt x="4812" y="5091"/>
                </a:lnTo>
                <a:lnTo>
                  <a:pt x="4821" y="5088"/>
                </a:lnTo>
                <a:lnTo>
                  <a:pt x="4829" y="5084"/>
                </a:lnTo>
                <a:lnTo>
                  <a:pt x="4838" y="5078"/>
                </a:lnTo>
                <a:lnTo>
                  <a:pt x="4844" y="5074"/>
                </a:lnTo>
                <a:lnTo>
                  <a:pt x="4844" y="5074"/>
                </a:lnTo>
                <a:lnTo>
                  <a:pt x="4843" y="5026"/>
                </a:lnTo>
                <a:lnTo>
                  <a:pt x="4841" y="4978"/>
                </a:lnTo>
                <a:lnTo>
                  <a:pt x="4838" y="4923"/>
                </a:lnTo>
                <a:lnTo>
                  <a:pt x="4833" y="4868"/>
                </a:lnTo>
                <a:lnTo>
                  <a:pt x="4831" y="4843"/>
                </a:lnTo>
                <a:lnTo>
                  <a:pt x="4828" y="4821"/>
                </a:lnTo>
                <a:lnTo>
                  <a:pt x="4825" y="4802"/>
                </a:lnTo>
                <a:lnTo>
                  <a:pt x="4822" y="4788"/>
                </a:lnTo>
                <a:lnTo>
                  <a:pt x="4820" y="4783"/>
                </a:lnTo>
                <a:lnTo>
                  <a:pt x="4818" y="4780"/>
                </a:lnTo>
                <a:lnTo>
                  <a:pt x="4816" y="4778"/>
                </a:lnTo>
                <a:lnTo>
                  <a:pt x="4814" y="4778"/>
                </a:lnTo>
                <a:lnTo>
                  <a:pt x="4814" y="4778"/>
                </a:lnTo>
                <a:lnTo>
                  <a:pt x="4786" y="4785"/>
                </a:lnTo>
                <a:lnTo>
                  <a:pt x="4760" y="4790"/>
                </a:lnTo>
                <a:lnTo>
                  <a:pt x="4746" y="4791"/>
                </a:lnTo>
                <a:lnTo>
                  <a:pt x="4734" y="4792"/>
                </a:lnTo>
                <a:lnTo>
                  <a:pt x="4722" y="4792"/>
                </a:lnTo>
                <a:lnTo>
                  <a:pt x="4711" y="4791"/>
                </a:lnTo>
                <a:lnTo>
                  <a:pt x="4698" y="4789"/>
                </a:lnTo>
                <a:lnTo>
                  <a:pt x="4687" y="4787"/>
                </a:lnTo>
                <a:lnTo>
                  <a:pt x="4675" y="4784"/>
                </a:lnTo>
                <a:lnTo>
                  <a:pt x="4664" y="4780"/>
                </a:lnTo>
                <a:lnTo>
                  <a:pt x="4652" y="4775"/>
                </a:lnTo>
                <a:lnTo>
                  <a:pt x="4640" y="4770"/>
                </a:lnTo>
                <a:lnTo>
                  <a:pt x="4629" y="4762"/>
                </a:lnTo>
                <a:lnTo>
                  <a:pt x="4618" y="4755"/>
                </a:lnTo>
                <a:lnTo>
                  <a:pt x="4618" y="4755"/>
                </a:lnTo>
                <a:lnTo>
                  <a:pt x="4613" y="4752"/>
                </a:lnTo>
                <a:lnTo>
                  <a:pt x="4608" y="4748"/>
                </a:lnTo>
                <a:lnTo>
                  <a:pt x="4602" y="4740"/>
                </a:lnTo>
                <a:lnTo>
                  <a:pt x="4597" y="4731"/>
                </a:lnTo>
                <a:lnTo>
                  <a:pt x="4594" y="4721"/>
                </a:lnTo>
                <a:lnTo>
                  <a:pt x="4592" y="4709"/>
                </a:lnTo>
                <a:lnTo>
                  <a:pt x="4591" y="4699"/>
                </a:lnTo>
                <a:lnTo>
                  <a:pt x="4590" y="4677"/>
                </a:lnTo>
                <a:lnTo>
                  <a:pt x="4589" y="4655"/>
                </a:lnTo>
                <a:lnTo>
                  <a:pt x="4587" y="4646"/>
                </a:lnTo>
                <a:lnTo>
                  <a:pt x="4585" y="4638"/>
                </a:lnTo>
                <a:lnTo>
                  <a:pt x="4581" y="4631"/>
                </a:lnTo>
                <a:lnTo>
                  <a:pt x="4575" y="4624"/>
                </a:lnTo>
                <a:lnTo>
                  <a:pt x="4571" y="4621"/>
                </a:lnTo>
                <a:lnTo>
                  <a:pt x="4567" y="4619"/>
                </a:lnTo>
                <a:lnTo>
                  <a:pt x="4561" y="4618"/>
                </a:lnTo>
                <a:lnTo>
                  <a:pt x="4556" y="4617"/>
                </a:lnTo>
                <a:lnTo>
                  <a:pt x="4556" y="4617"/>
                </a:lnTo>
                <a:lnTo>
                  <a:pt x="4534" y="4610"/>
                </a:lnTo>
                <a:lnTo>
                  <a:pt x="4511" y="4603"/>
                </a:lnTo>
                <a:lnTo>
                  <a:pt x="4489" y="4595"/>
                </a:lnTo>
                <a:lnTo>
                  <a:pt x="4468" y="4585"/>
                </a:lnTo>
                <a:lnTo>
                  <a:pt x="4448" y="4575"/>
                </a:lnTo>
                <a:lnTo>
                  <a:pt x="4428" y="4564"/>
                </a:lnTo>
                <a:lnTo>
                  <a:pt x="4410" y="4554"/>
                </a:lnTo>
                <a:lnTo>
                  <a:pt x="4394" y="4543"/>
                </a:lnTo>
                <a:lnTo>
                  <a:pt x="4377" y="4531"/>
                </a:lnTo>
                <a:lnTo>
                  <a:pt x="4363" y="4521"/>
                </a:lnTo>
                <a:lnTo>
                  <a:pt x="4337" y="4501"/>
                </a:lnTo>
                <a:lnTo>
                  <a:pt x="4318" y="4482"/>
                </a:lnTo>
                <a:lnTo>
                  <a:pt x="4306" y="4467"/>
                </a:lnTo>
                <a:lnTo>
                  <a:pt x="4306" y="4467"/>
                </a:lnTo>
                <a:lnTo>
                  <a:pt x="4297" y="4455"/>
                </a:lnTo>
                <a:lnTo>
                  <a:pt x="4288" y="4442"/>
                </a:lnTo>
                <a:lnTo>
                  <a:pt x="4282" y="4431"/>
                </a:lnTo>
                <a:lnTo>
                  <a:pt x="4277" y="4420"/>
                </a:lnTo>
                <a:lnTo>
                  <a:pt x="4273" y="4410"/>
                </a:lnTo>
                <a:lnTo>
                  <a:pt x="4270" y="4401"/>
                </a:lnTo>
                <a:lnTo>
                  <a:pt x="4266" y="4384"/>
                </a:lnTo>
                <a:lnTo>
                  <a:pt x="4265" y="4371"/>
                </a:lnTo>
                <a:lnTo>
                  <a:pt x="4265" y="4361"/>
                </a:lnTo>
                <a:lnTo>
                  <a:pt x="4266" y="4352"/>
                </a:lnTo>
                <a:lnTo>
                  <a:pt x="4266" y="4352"/>
                </a:lnTo>
                <a:lnTo>
                  <a:pt x="4284" y="4362"/>
                </a:lnTo>
                <a:lnTo>
                  <a:pt x="4302" y="4368"/>
                </a:lnTo>
                <a:lnTo>
                  <a:pt x="4321" y="4373"/>
                </a:lnTo>
                <a:lnTo>
                  <a:pt x="4340" y="4376"/>
                </a:lnTo>
                <a:lnTo>
                  <a:pt x="4358" y="4378"/>
                </a:lnTo>
                <a:lnTo>
                  <a:pt x="4377" y="4377"/>
                </a:lnTo>
                <a:lnTo>
                  <a:pt x="4396" y="4374"/>
                </a:lnTo>
                <a:lnTo>
                  <a:pt x="4414" y="4370"/>
                </a:lnTo>
                <a:lnTo>
                  <a:pt x="4434" y="4130"/>
                </a:lnTo>
                <a:lnTo>
                  <a:pt x="4434" y="4130"/>
                </a:lnTo>
                <a:lnTo>
                  <a:pt x="4425" y="4129"/>
                </a:lnTo>
                <a:lnTo>
                  <a:pt x="4405" y="4126"/>
                </a:lnTo>
                <a:lnTo>
                  <a:pt x="4392" y="4123"/>
                </a:lnTo>
                <a:lnTo>
                  <a:pt x="4377" y="4119"/>
                </a:lnTo>
                <a:lnTo>
                  <a:pt x="4362" y="4115"/>
                </a:lnTo>
                <a:lnTo>
                  <a:pt x="4348" y="4109"/>
                </a:lnTo>
                <a:lnTo>
                  <a:pt x="4348" y="4109"/>
                </a:lnTo>
                <a:lnTo>
                  <a:pt x="4339" y="4105"/>
                </a:lnTo>
                <a:lnTo>
                  <a:pt x="4331" y="4100"/>
                </a:lnTo>
                <a:lnTo>
                  <a:pt x="4323" y="4094"/>
                </a:lnTo>
                <a:lnTo>
                  <a:pt x="4316" y="4088"/>
                </a:lnTo>
                <a:lnTo>
                  <a:pt x="4302" y="4074"/>
                </a:lnTo>
                <a:lnTo>
                  <a:pt x="4289" y="4061"/>
                </a:lnTo>
                <a:lnTo>
                  <a:pt x="4280" y="4048"/>
                </a:lnTo>
                <a:lnTo>
                  <a:pt x="4273" y="4038"/>
                </a:lnTo>
                <a:lnTo>
                  <a:pt x="4267" y="4028"/>
                </a:lnTo>
                <a:lnTo>
                  <a:pt x="4267" y="4028"/>
                </a:lnTo>
                <a:lnTo>
                  <a:pt x="4274" y="4031"/>
                </a:lnTo>
                <a:lnTo>
                  <a:pt x="4293" y="4039"/>
                </a:lnTo>
                <a:lnTo>
                  <a:pt x="4321" y="4047"/>
                </a:lnTo>
                <a:lnTo>
                  <a:pt x="4339" y="4051"/>
                </a:lnTo>
                <a:lnTo>
                  <a:pt x="4356" y="4054"/>
                </a:lnTo>
                <a:lnTo>
                  <a:pt x="4356" y="4054"/>
                </a:lnTo>
                <a:lnTo>
                  <a:pt x="4375" y="4056"/>
                </a:lnTo>
                <a:lnTo>
                  <a:pt x="4392" y="4057"/>
                </a:lnTo>
                <a:lnTo>
                  <a:pt x="4407" y="4055"/>
                </a:lnTo>
                <a:lnTo>
                  <a:pt x="4419" y="4053"/>
                </a:lnTo>
                <a:lnTo>
                  <a:pt x="4430" y="4051"/>
                </a:lnTo>
                <a:lnTo>
                  <a:pt x="4438" y="4049"/>
                </a:lnTo>
                <a:lnTo>
                  <a:pt x="4444" y="4046"/>
                </a:lnTo>
                <a:lnTo>
                  <a:pt x="4477" y="3775"/>
                </a:lnTo>
                <a:lnTo>
                  <a:pt x="4477" y="3775"/>
                </a:lnTo>
                <a:lnTo>
                  <a:pt x="4451" y="3776"/>
                </a:lnTo>
                <a:lnTo>
                  <a:pt x="4427" y="3775"/>
                </a:lnTo>
                <a:lnTo>
                  <a:pt x="4408" y="3773"/>
                </a:lnTo>
                <a:lnTo>
                  <a:pt x="4392" y="3768"/>
                </a:lnTo>
                <a:lnTo>
                  <a:pt x="4377" y="3762"/>
                </a:lnTo>
                <a:lnTo>
                  <a:pt x="4365" y="3755"/>
                </a:lnTo>
                <a:lnTo>
                  <a:pt x="4356" y="3747"/>
                </a:lnTo>
                <a:lnTo>
                  <a:pt x="4348" y="3739"/>
                </a:lnTo>
                <a:lnTo>
                  <a:pt x="4343" y="3731"/>
                </a:lnTo>
                <a:lnTo>
                  <a:pt x="4337" y="3722"/>
                </a:lnTo>
                <a:lnTo>
                  <a:pt x="4335" y="3713"/>
                </a:lnTo>
                <a:lnTo>
                  <a:pt x="4333" y="3705"/>
                </a:lnTo>
                <a:lnTo>
                  <a:pt x="4332" y="3697"/>
                </a:lnTo>
                <a:lnTo>
                  <a:pt x="4331" y="3691"/>
                </a:lnTo>
                <a:lnTo>
                  <a:pt x="4332" y="3682"/>
                </a:lnTo>
                <a:lnTo>
                  <a:pt x="4332" y="3682"/>
                </a:lnTo>
                <a:lnTo>
                  <a:pt x="4357" y="3677"/>
                </a:lnTo>
                <a:lnTo>
                  <a:pt x="4381" y="3671"/>
                </a:lnTo>
                <a:lnTo>
                  <a:pt x="4405" y="3663"/>
                </a:lnTo>
                <a:lnTo>
                  <a:pt x="4428" y="3656"/>
                </a:lnTo>
                <a:lnTo>
                  <a:pt x="4451" y="3647"/>
                </a:lnTo>
                <a:lnTo>
                  <a:pt x="4473" y="3637"/>
                </a:lnTo>
                <a:lnTo>
                  <a:pt x="4495" y="3626"/>
                </a:lnTo>
                <a:lnTo>
                  <a:pt x="4515" y="3613"/>
                </a:lnTo>
                <a:lnTo>
                  <a:pt x="4536" y="3601"/>
                </a:lnTo>
                <a:lnTo>
                  <a:pt x="4555" y="3588"/>
                </a:lnTo>
                <a:lnTo>
                  <a:pt x="4574" y="3573"/>
                </a:lnTo>
                <a:lnTo>
                  <a:pt x="4592" y="3558"/>
                </a:lnTo>
                <a:lnTo>
                  <a:pt x="4609" y="3543"/>
                </a:lnTo>
                <a:lnTo>
                  <a:pt x="4627" y="3526"/>
                </a:lnTo>
                <a:lnTo>
                  <a:pt x="4642" y="3510"/>
                </a:lnTo>
                <a:lnTo>
                  <a:pt x="4659" y="3493"/>
                </a:lnTo>
                <a:lnTo>
                  <a:pt x="4673" y="3474"/>
                </a:lnTo>
                <a:lnTo>
                  <a:pt x="4688" y="3456"/>
                </a:lnTo>
                <a:lnTo>
                  <a:pt x="4702" y="3437"/>
                </a:lnTo>
                <a:lnTo>
                  <a:pt x="4715" y="3418"/>
                </a:lnTo>
                <a:lnTo>
                  <a:pt x="4727" y="3399"/>
                </a:lnTo>
                <a:lnTo>
                  <a:pt x="4738" y="3379"/>
                </a:lnTo>
                <a:lnTo>
                  <a:pt x="4750" y="3360"/>
                </a:lnTo>
                <a:lnTo>
                  <a:pt x="4760" y="3339"/>
                </a:lnTo>
                <a:lnTo>
                  <a:pt x="4770" y="3319"/>
                </a:lnTo>
                <a:lnTo>
                  <a:pt x="4779" y="3298"/>
                </a:lnTo>
                <a:lnTo>
                  <a:pt x="4787" y="3278"/>
                </a:lnTo>
                <a:lnTo>
                  <a:pt x="4796" y="3257"/>
                </a:lnTo>
                <a:lnTo>
                  <a:pt x="4803" y="3237"/>
                </a:lnTo>
                <a:lnTo>
                  <a:pt x="4809" y="3217"/>
                </a:lnTo>
                <a:lnTo>
                  <a:pt x="4815" y="3196"/>
                </a:lnTo>
                <a:lnTo>
                  <a:pt x="4820" y="3177"/>
                </a:lnTo>
                <a:lnTo>
                  <a:pt x="4820" y="3177"/>
                </a:lnTo>
                <a:lnTo>
                  <a:pt x="4831" y="3183"/>
                </a:lnTo>
                <a:lnTo>
                  <a:pt x="4847" y="3189"/>
                </a:lnTo>
                <a:lnTo>
                  <a:pt x="4864" y="3195"/>
                </a:lnTo>
                <a:lnTo>
                  <a:pt x="4882" y="3200"/>
                </a:lnTo>
                <a:lnTo>
                  <a:pt x="4903" y="3203"/>
                </a:lnTo>
                <a:lnTo>
                  <a:pt x="4913" y="3204"/>
                </a:lnTo>
                <a:lnTo>
                  <a:pt x="4923" y="3205"/>
                </a:lnTo>
                <a:lnTo>
                  <a:pt x="4935" y="3204"/>
                </a:lnTo>
                <a:lnTo>
                  <a:pt x="4945" y="3203"/>
                </a:lnTo>
                <a:lnTo>
                  <a:pt x="4955" y="3201"/>
                </a:lnTo>
                <a:lnTo>
                  <a:pt x="4965" y="3198"/>
                </a:lnTo>
                <a:lnTo>
                  <a:pt x="4965" y="3198"/>
                </a:lnTo>
                <a:lnTo>
                  <a:pt x="4967" y="3170"/>
                </a:lnTo>
                <a:lnTo>
                  <a:pt x="4970" y="3103"/>
                </a:lnTo>
                <a:lnTo>
                  <a:pt x="4972" y="3067"/>
                </a:lnTo>
                <a:lnTo>
                  <a:pt x="4973" y="3033"/>
                </a:lnTo>
                <a:lnTo>
                  <a:pt x="4972" y="3005"/>
                </a:lnTo>
                <a:lnTo>
                  <a:pt x="4972" y="2995"/>
                </a:lnTo>
                <a:lnTo>
                  <a:pt x="4970" y="2989"/>
                </a:lnTo>
                <a:lnTo>
                  <a:pt x="4970" y="2989"/>
                </a:lnTo>
                <a:lnTo>
                  <a:pt x="4955" y="2987"/>
                </a:lnTo>
                <a:lnTo>
                  <a:pt x="4938" y="2984"/>
                </a:lnTo>
                <a:lnTo>
                  <a:pt x="4919" y="2979"/>
                </a:lnTo>
                <a:lnTo>
                  <a:pt x="4911" y="2976"/>
                </a:lnTo>
                <a:lnTo>
                  <a:pt x="4902" y="2973"/>
                </a:lnTo>
                <a:lnTo>
                  <a:pt x="4893" y="2968"/>
                </a:lnTo>
                <a:lnTo>
                  <a:pt x="4885" y="2964"/>
                </a:lnTo>
                <a:lnTo>
                  <a:pt x="4876" y="2958"/>
                </a:lnTo>
                <a:lnTo>
                  <a:pt x="4868" y="2951"/>
                </a:lnTo>
                <a:lnTo>
                  <a:pt x="4861" y="2944"/>
                </a:lnTo>
                <a:lnTo>
                  <a:pt x="4854" y="2935"/>
                </a:lnTo>
                <a:lnTo>
                  <a:pt x="4848" y="2926"/>
                </a:lnTo>
                <a:lnTo>
                  <a:pt x="4842" y="2915"/>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54" name="Freeform 5">
            <a:extLst>
              <a:ext uri="{FF2B5EF4-FFF2-40B4-BE49-F238E27FC236}">
                <a16:creationId xmlns:a16="http://schemas.microsoft.com/office/drawing/2014/main" id="{E518FEDE-29E1-4148-9DBF-C17BDBF2CB4F}"/>
              </a:ext>
            </a:extLst>
          </p:cNvPr>
          <p:cNvSpPr>
            <a:spLocks/>
          </p:cNvSpPr>
          <p:nvPr userDrawn="1"/>
        </p:nvSpPr>
        <p:spPr bwMode="auto">
          <a:xfrm>
            <a:off x="1528763" y="893763"/>
            <a:ext cx="160338" cy="141288"/>
          </a:xfrm>
          <a:custGeom>
            <a:avLst/>
            <a:gdLst>
              <a:gd name="T0" fmla="*/ 623 w 1210"/>
              <a:gd name="T1" fmla="*/ 1065 h 1065"/>
              <a:gd name="T2" fmla="*/ 211 w 1210"/>
              <a:gd name="T3" fmla="*/ 202 h 1065"/>
              <a:gd name="T4" fmla="*/ 194 w 1210"/>
              <a:gd name="T5" fmla="*/ 163 h 1065"/>
              <a:gd name="T6" fmla="*/ 177 w 1210"/>
              <a:gd name="T7" fmla="*/ 131 h 1065"/>
              <a:gd name="T8" fmla="*/ 160 w 1210"/>
              <a:gd name="T9" fmla="*/ 105 h 1065"/>
              <a:gd name="T10" fmla="*/ 139 w 1210"/>
              <a:gd name="T11" fmla="*/ 84 h 1065"/>
              <a:gd name="T12" fmla="*/ 115 w 1210"/>
              <a:gd name="T13" fmla="*/ 69 h 1065"/>
              <a:gd name="T14" fmla="*/ 84 w 1210"/>
              <a:gd name="T15" fmla="*/ 59 h 1065"/>
              <a:gd name="T16" fmla="*/ 47 w 1210"/>
              <a:gd name="T17" fmla="*/ 52 h 1065"/>
              <a:gd name="T18" fmla="*/ 0 w 1210"/>
              <a:gd name="T19" fmla="*/ 50 h 1065"/>
              <a:gd name="T20" fmla="*/ 566 w 1210"/>
              <a:gd name="T21" fmla="*/ 0 h 1065"/>
              <a:gd name="T22" fmla="*/ 566 w 1210"/>
              <a:gd name="T23" fmla="*/ 50 h 1065"/>
              <a:gd name="T24" fmla="*/ 516 w 1210"/>
              <a:gd name="T25" fmla="*/ 52 h 1065"/>
              <a:gd name="T26" fmla="*/ 477 w 1210"/>
              <a:gd name="T27" fmla="*/ 58 h 1065"/>
              <a:gd name="T28" fmla="*/ 448 w 1210"/>
              <a:gd name="T29" fmla="*/ 68 h 1065"/>
              <a:gd name="T30" fmla="*/ 430 w 1210"/>
              <a:gd name="T31" fmla="*/ 81 h 1065"/>
              <a:gd name="T32" fmla="*/ 421 w 1210"/>
              <a:gd name="T33" fmla="*/ 99 h 1065"/>
              <a:gd name="T34" fmla="*/ 419 w 1210"/>
              <a:gd name="T35" fmla="*/ 122 h 1065"/>
              <a:gd name="T36" fmla="*/ 425 w 1210"/>
              <a:gd name="T37" fmla="*/ 150 h 1065"/>
              <a:gd name="T38" fmla="*/ 437 w 1210"/>
              <a:gd name="T39" fmla="*/ 181 h 1065"/>
              <a:gd name="T40" fmla="*/ 922 w 1210"/>
              <a:gd name="T41" fmla="*/ 181 h 1065"/>
              <a:gd name="T42" fmla="*/ 928 w 1210"/>
              <a:gd name="T43" fmla="*/ 165 h 1065"/>
              <a:gd name="T44" fmla="*/ 937 w 1210"/>
              <a:gd name="T45" fmla="*/ 134 h 1065"/>
              <a:gd name="T46" fmla="*/ 938 w 1210"/>
              <a:gd name="T47" fmla="*/ 110 h 1065"/>
              <a:gd name="T48" fmla="*/ 932 w 1210"/>
              <a:gd name="T49" fmla="*/ 89 h 1065"/>
              <a:gd name="T50" fmla="*/ 918 w 1210"/>
              <a:gd name="T51" fmla="*/ 74 h 1065"/>
              <a:gd name="T52" fmla="*/ 894 w 1210"/>
              <a:gd name="T53" fmla="*/ 62 h 1065"/>
              <a:gd name="T54" fmla="*/ 860 w 1210"/>
              <a:gd name="T55" fmla="*/ 54 h 1065"/>
              <a:gd name="T56" fmla="*/ 817 w 1210"/>
              <a:gd name="T57" fmla="*/ 50 h 1065"/>
              <a:gd name="T58" fmla="*/ 792 w 1210"/>
              <a:gd name="T59" fmla="*/ 0 h 1065"/>
              <a:gd name="T60" fmla="*/ 1210 w 1210"/>
              <a:gd name="T61" fmla="*/ 50 h 1065"/>
              <a:gd name="T62" fmla="*/ 1189 w 1210"/>
              <a:gd name="T63" fmla="*/ 50 h 1065"/>
              <a:gd name="T64" fmla="*/ 1151 w 1210"/>
              <a:gd name="T65" fmla="*/ 53 h 1065"/>
              <a:gd name="T66" fmla="*/ 1119 w 1210"/>
              <a:gd name="T67" fmla="*/ 61 h 1065"/>
              <a:gd name="T68" fmla="*/ 1091 w 1210"/>
              <a:gd name="T69" fmla="*/ 73 h 1065"/>
              <a:gd name="T70" fmla="*/ 1068 w 1210"/>
              <a:gd name="T71" fmla="*/ 89 h 1065"/>
              <a:gd name="T72" fmla="*/ 1046 w 1210"/>
              <a:gd name="T73" fmla="*/ 113 h 1065"/>
              <a:gd name="T74" fmla="*/ 1027 w 1210"/>
              <a:gd name="T75" fmla="*/ 142 h 1065"/>
              <a:gd name="T76" fmla="*/ 1008 w 1210"/>
              <a:gd name="T77" fmla="*/ 180 h 1065"/>
              <a:gd name="T78" fmla="*/ 997 w 1210"/>
              <a:gd name="T79" fmla="*/ 202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10" h="1065">
                <a:moveTo>
                  <a:pt x="997" y="202"/>
                </a:moveTo>
                <a:lnTo>
                  <a:pt x="623" y="1065"/>
                </a:lnTo>
                <a:lnTo>
                  <a:pt x="587" y="1065"/>
                </a:lnTo>
                <a:lnTo>
                  <a:pt x="211" y="202"/>
                </a:lnTo>
                <a:lnTo>
                  <a:pt x="211" y="202"/>
                </a:lnTo>
                <a:lnTo>
                  <a:pt x="194" y="163"/>
                </a:lnTo>
                <a:lnTo>
                  <a:pt x="185" y="146"/>
                </a:lnTo>
                <a:lnTo>
                  <a:pt x="177" y="131"/>
                </a:lnTo>
                <a:lnTo>
                  <a:pt x="168" y="117"/>
                </a:lnTo>
                <a:lnTo>
                  <a:pt x="160" y="105"/>
                </a:lnTo>
                <a:lnTo>
                  <a:pt x="150" y="93"/>
                </a:lnTo>
                <a:lnTo>
                  <a:pt x="139" y="84"/>
                </a:lnTo>
                <a:lnTo>
                  <a:pt x="128" y="76"/>
                </a:lnTo>
                <a:lnTo>
                  <a:pt x="115" y="69"/>
                </a:lnTo>
                <a:lnTo>
                  <a:pt x="101" y="63"/>
                </a:lnTo>
                <a:lnTo>
                  <a:pt x="84" y="59"/>
                </a:lnTo>
                <a:lnTo>
                  <a:pt x="67" y="54"/>
                </a:lnTo>
                <a:lnTo>
                  <a:pt x="47" y="52"/>
                </a:lnTo>
                <a:lnTo>
                  <a:pt x="25" y="50"/>
                </a:lnTo>
                <a:lnTo>
                  <a:pt x="0" y="50"/>
                </a:lnTo>
                <a:lnTo>
                  <a:pt x="0" y="0"/>
                </a:lnTo>
                <a:lnTo>
                  <a:pt x="566" y="0"/>
                </a:lnTo>
                <a:lnTo>
                  <a:pt x="566" y="50"/>
                </a:lnTo>
                <a:lnTo>
                  <a:pt x="566" y="50"/>
                </a:lnTo>
                <a:lnTo>
                  <a:pt x="539" y="50"/>
                </a:lnTo>
                <a:lnTo>
                  <a:pt x="516" y="52"/>
                </a:lnTo>
                <a:lnTo>
                  <a:pt x="494" y="54"/>
                </a:lnTo>
                <a:lnTo>
                  <a:pt x="477" y="58"/>
                </a:lnTo>
                <a:lnTo>
                  <a:pt x="460" y="63"/>
                </a:lnTo>
                <a:lnTo>
                  <a:pt x="448" y="68"/>
                </a:lnTo>
                <a:lnTo>
                  <a:pt x="438" y="74"/>
                </a:lnTo>
                <a:lnTo>
                  <a:pt x="430" y="81"/>
                </a:lnTo>
                <a:lnTo>
                  <a:pt x="424" y="90"/>
                </a:lnTo>
                <a:lnTo>
                  <a:pt x="421" y="99"/>
                </a:lnTo>
                <a:lnTo>
                  <a:pt x="419" y="111"/>
                </a:lnTo>
                <a:lnTo>
                  <a:pt x="419" y="122"/>
                </a:lnTo>
                <a:lnTo>
                  <a:pt x="421" y="135"/>
                </a:lnTo>
                <a:lnTo>
                  <a:pt x="425" y="150"/>
                </a:lnTo>
                <a:lnTo>
                  <a:pt x="430" y="165"/>
                </a:lnTo>
                <a:lnTo>
                  <a:pt x="437" y="181"/>
                </a:lnTo>
                <a:lnTo>
                  <a:pt x="678" y="742"/>
                </a:lnTo>
                <a:lnTo>
                  <a:pt x="922" y="181"/>
                </a:lnTo>
                <a:lnTo>
                  <a:pt x="922" y="181"/>
                </a:lnTo>
                <a:lnTo>
                  <a:pt x="928" y="165"/>
                </a:lnTo>
                <a:lnTo>
                  <a:pt x="933" y="149"/>
                </a:lnTo>
                <a:lnTo>
                  <a:pt x="937" y="134"/>
                </a:lnTo>
                <a:lnTo>
                  <a:pt x="938" y="122"/>
                </a:lnTo>
                <a:lnTo>
                  <a:pt x="938" y="110"/>
                </a:lnTo>
                <a:lnTo>
                  <a:pt x="936" y="98"/>
                </a:lnTo>
                <a:lnTo>
                  <a:pt x="932" y="89"/>
                </a:lnTo>
                <a:lnTo>
                  <a:pt x="926" y="81"/>
                </a:lnTo>
                <a:lnTo>
                  <a:pt x="918" y="74"/>
                </a:lnTo>
                <a:lnTo>
                  <a:pt x="906" y="67"/>
                </a:lnTo>
                <a:lnTo>
                  <a:pt x="894" y="62"/>
                </a:lnTo>
                <a:lnTo>
                  <a:pt x="879" y="58"/>
                </a:lnTo>
                <a:lnTo>
                  <a:pt x="860" y="54"/>
                </a:lnTo>
                <a:lnTo>
                  <a:pt x="841" y="52"/>
                </a:lnTo>
                <a:lnTo>
                  <a:pt x="817" y="50"/>
                </a:lnTo>
                <a:lnTo>
                  <a:pt x="792" y="50"/>
                </a:lnTo>
                <a:lnTo>
                  <a:pt x="792" y="0"/>
                </a:lnTo>
                <a:lnTo>
                  <a:pt x="1210" y="0"/>
                </a:lnTo>
                <a:lnTo>
                  <a:pt x="1210" y="50"/>
                </a:lnTo>
                <a:lnTo>
                  <a:pt x="1210" y="50"/>
                </a:lnTo>
                <a:lnTo>
                  <a:pt x="1189" y="50"/>
                </a:lnTo>
                <a:lnTo>
                  <a:pt x="1169" y="51"/>
                </a:lnTo>
                <a:lnTo>
                  <a:pt x="1151" y="53"/>
                </a:lnTo>
                <a:lnTo>
                  <a:pt x="1134" y="57"/>
                </a:lnTo>
                <a:lnTo>
                  <a:pt x="1119" y="61"/>
                </a:lnTo>
                <a:lnTo>
                  <a:pt x="1105" y="66"/>
                </a:lnTo>
                <a:lnTo>
                  <a:pt x="1091" y="73"/>
                </a:lnTo>
                <a:lnTo>
                  <a:pt x="1079" y="80"/>
                </a:lnTo>
                <a:lnTo>
                  <a:pt x="1068" y="89"/>
                </a:lnTo>
                <a:lnTo>
                  <a:pt x="1057" y="100"/>
                </a:lnTo>
                <a:lnTo>
                  <a:pt x="1046" y="113"/>
                </a:lnTo>
                <a:lnTo>
                  <a:pt x="1036" y="127"/>
                </a:lnTo>
                <a:lnTo>
                  <a:pt x="1027" y="142"/>
                </a:lnTo>
                <a:lnTo>
                  <a:pt x="1017" y="161"/>
                </a:lnTo>
                <a:lnTo>
                  <a:pt x="1008" y="180"/>
                </a:lnTo>
                <a:lnTo>
                  <a:pt x="997" y="202"/>
                </a:lnTo>
                <a:lnTo>
                  <a:pt x="997" y="202"/>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55" name="Freeform 6">
            <a:extLst>
              <a:ext uri="{FF2B5EF4-FFF2-40B4-BE49-F238E27FC236}">
                <a16:creationId xmlns:a16="http://schemas.microsoft.com/office/drawing/2014/main" id="{9CE8211D-F405-5B46-8655-DE27EA85F16F}"/>
              </a:ext>
            </a:extLst>
          </p:cNvPr>
          <p:cNvSpPr>
            <a:spLocks noEditPoints="1"/>
          </p:cNvSpPr>
          <p:nvPr userDrawn="1"/>
        </p:nvSpPr>
        <p:spPr bwMode="auto">
          <a:xfrm>
            <a:off x="1671638" y="890590"/>
            <a:ext cx="160338" cy="139700"/>
          </a:xfrm>
          <a:custGeom>
            <a:avLst/>
            <a:gdLst>
              <a:gd name="T0" fmla="*/ 289 w 1210"/>
              <a:gd name="T1" fmla="*/ 883 h 1064"/>
              <a:gd name="T2" fmla="*/ 276 w 1210"/>
              <a:gd name="T3" fmla="*/ 916 h 1064"/>
              <a:gd name="T4" fmla="*/ 271 w 1210"/>
              <a:gd name="T5" fmla="*/ 943 h 1064"/>
              <a:gd name="T6" fmla="*/ 274 w 1210"/>
              <a:gd name="T7" fmla="*/ 966 h 1064"/>
              <a:gd name="T8" fmla="*/ 284 w 1210"/>
              <a:gd name="T9" fmla="*/ 983 h 1064"/>
              <a:gd name="T10" fmla="*/ 303 w 1210"/>
              <a:gd name="T11" fmla="*/ 998 h 1064"/>
              <a:gd name="T12" fmla="*/ 331 w 1210"/>
              <a:gd name="T13" fmla="*/ 1007 h 1064"/>
              <a:gd name="T14" fmla="*/ 369 w 1210"/>
              <a:gd name="T15" fmla="*/ 1013 h 1064"/>
              <a:gd name="T16" fmla="*/ 417 w 1210"/>
              <a:gd name="T17" fmla="*/ 1014 h 1064"/>
              <a:gd name="T18" fmla="*/ 0 w 1210"/>
              <a:gd name="T19" fmla="*/ 1064 h 1064"/>
              <a:gd name="T20" fmla="*/ 0 w 1210"/>
              <a:gd name="T21" fmla="*/ 1014 h 1064"/>
              <a:gd name="T22" fmla="*/ 41 w 1210"/>
              <a:gd name="T23" fmla="*/ 1013 h 1064"/>
              <a:gd name="T24" fmla="*/ 76 w 1210"/>
              <a:gd name="T25" fmla="*/ 1008 h 1064"/>
              <a:gd name="T26" fmla="*/ 106 w 1210"/>
              <a:gd name="T27" fmla="*/ 999 h 1064"/>
              <a:gd name="T28" fmla="*/ 131 w 1210"/>
              <a:gd name="T29" fmla="*/ 984 h 1064"/>
              <a:gd name="T30" fmla="*/ 153 w 1210"/>
              <a:gd name="T31" fmla="*/ 964 h 1064"/>
              <a:gd name="T32" fmla="*/ 173 w 1210"/>
              <a:gd name="T33" fmla="*/ 938 h 1064"/>
              <a:gd name="T34" fmla="*/ 192 w 1210"/>
              <a:gd name="T35" fmla="*/ 904 h 1064"/>
              <a:gd name="T36" fmla="*/ 212 w 1210"/>
              <a:gd name="T37" fmla="*/ 863 h 1064"/>
              <a:gd name="T38" fmla="*/ 623 w 1210"/>
              <a:gd name="T39" fmla="*/ 0 h 1064"/>
              <a:gd name="T40" fmla="*/ 999 w 1210"/>
              <a:gd name="T41" fmla="*/ 863 h 1064"/>
              <a:gd name="T42" fmla="*/ 1025 w 1210"/>
              <a:gd name="T43" fmla="*/ 918 h 1064"/>
              <a:gd name="T44" fmla="*/ 1041 w 1210"/>
              <a:gd name="T45" fmla="*/ 946 h 1064"/>
              <a:gd name="T46" fmla="*/ 1060 w 1210"/>
              <a:gd name="T47" fmla="*/ 970 h 1064"/>
              <a:gd name="T48" fmla="*/ 1082 w 1210"/>
              <a:gd name="T49" fmla="*/ 988 h 1064"/>
              <a:gd name="T50" fmla="*/ 1110 w 1210"/>
              <a:gd name="T51" fmla="*/ 1002 h 1064"/>
              <a:gd name="T52" fmla="*/ 1142 w 1210"/>
              <a:gd name="T53" fmla="*/ 1010 h 1064"/>
              <a:gd name="T54" fmla="*/ 1185 w 1210"/>
              <a:gd name="T55" fmla="*/ 1014 h 1064"/>
              <a:gd name="T56" fmla="*/ 1210 w 1210"/>
              <a:gd name="T57" fmla="*/ 1064 h 1064"/>
              <a:gd name="T58" fmla="*/ 647 w 1210"/>
              <a:gd name="T59" fmla="*/ 1014 h 1064"/>
              <a:gd name="T60" fmla="*/ 674 w 1210"/>
              <a:gd name="T61" fmla="*/ 1014 h 1064"/>
              <a:gd name="T62" fmla="*/ 719 w 1210"/>
              <a:gd name="T63" fmla="*/ 1010 h 1064"/>
              <a:gd name="T64" fmla="*/ 752 w 1210"/>
              <a:gd name="T65" fmla="*/ 1003 h 1064"/>
              <a:gd name="T66" fmla="*/ 775 w 1210"/>
              <a:gd name="T67" fmla="*/ 990 h 1064"/>
              <a:gd name="T68" fmla="*/ 790 w 1210"/>
              <a:gd name="T69" fmla="*/ 974 h 1064"/>
              <a:gd name="T70" fmla="*/ 795 w 1210"/>
              <a:gd name="T71" fmla="*/ 954 h 1064"/>
              <a:gd name="T72" fmla="*/ 793 w 1210"/>
              <a:gd name="T73" fmla="*/ 929 h 1064"/>
              <a:gd name="T74" fmla="*/ 783 w 1210"/>
              <a:gd name="T75" fmla="*/ 899 h 1064"/>
              <a:gd name="T76" fmla="*/ 704 w 1210"/>
              <a:gd name="T77" fmla="*/ 719 h 1064"/>
              <a:gd name="T78" fmla="*/ 289 w 1210"/>
              <a:gd name="T79" fmla="*/ 883 h 1064"/>
              <a:gd name="T80" fmla="*/ 394 w 1210"/>
              <a:gd name="T81" fmla="*/ 642 h 1064"/>
              <a:gd name="T82" fmla="*/ 533 w 1210"/>
              <a:gd name="T83" fmla="*/ 318 h 1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10" h="1064">
                <a:moveTo>
                  <a:pt x="289" y="883"/>
                </a:moveTo>
                <a:lnTo>
                  <a:pt x="289" y="883"/>
                </a:lnTo>
                <a:lnTo>
                  <a:pt x="281" y="900"/>
                </a:lnTo>
                <a:lnTo>
                  <a:pt x="276" y="916"/>
                </a:lnTo>
                <a:lnTo>
                  <a:pt x="273" y="930"/>
                </a:lnTo>
                <a:lnTo>
                  <a:pt x="271" y="943"/>
                </a:lnTo>
                <a:lnTo>
                  <a:pt x="272" y="955"/>
                </a:lnTo>
                <a:lnTo>
                  <a:pt x="274" y="966"/>
                </a:lnTo>
                <a:lnTo>
                  <a:pt x="278" y="975"/>
                </a:lnTo>
                <a:lnTo>
                  <a:pt x="284" y="983"/>
                </a:lnTo>
                <a:lnTo>
                  <a:pt x="293" y="991"/>
                </a:lnTo>
                <a:lnTo>
                  <a:pt x="303" y="998"/>
                </a:lnTo>
                <a:lnTo>
                  <a:pt x="316" y="1003"/>
                </a:lnTo>
                <a:lnTo>
                  <a:pt x="331" y="1007"/>
                </a:lnTo>
                <a:lnTo>
                  <a:pt x="349" y="1010"/>
                </a:lnTo>
                <a:lnTo>
                  <a:pt x="369" y="1013"/>
                </a:lnTo>
                <a:lnTo>
                  <a:pt x="392" y="1014"/>
                </a:lnTo>
                <a:lnTo>
                  <a:pt x="417" y="1014"/>
                </a:lnTo>
                <a:lnTo>
                  <a:pt x="417" y="1064"/>
                </a:lnTo>
                <a:lnTo>
                  <a:pt x="0" y="1064"/>
                </a:lnTo>
                <a:lnTo>
                  <a:pt x="0" y="1014"/>
                </a:lnTo>
                <a:lnTo>
                  <a:pt x="0" y="1014"/>
                </a:lnTo>
                <a:lnTo>
                  <a:pt x="22" y="1014"/>
                </a:lnTo>
                <a:lnTo>
                  <a:pt x="41" y="1013"/>
                </a:lnTo>
                <a:lnTo>
                  <a:pt x="59" y="1011"/>
                </a:lnTo>
                <a:lnTo>
                  <a:pt x="76" y="1008"/>
                </a:lnTo>
                <a:lnTo>
                  <a:pt x="91" y="1004"/>
                </a:lnTo>
                <a:lnTo>
                  <a:pt x="106" y="999"/>
                </a:lnTo>
                <a:lnTo>
                  <a:pt x="119" y="992"/>
                </a:lnTo>
                <a:lnTo>
                  <a:pt x="131" y="984"/>
                </a:lnTo>
                <a:lnTo>
                  <a:pt x="142" y="975"/>
                </a:lnTo>
                <a:lnTo>
                  <a:pt x="153" y="964"/>
                </a:lnTo>
                <a:lnTo>
                  <a:pt x="164" y="952"/>
                </a:lnTo>
                <a:lnTo>
                  <a:pt x="173" y="938"/>
                </a:lnTo>
                <a:lnTo>
                  <a:pt x="183" y="922"/>
                </a:lnTo>
                <a:lnTo>
                  <a:pt x="192" y="904"/>
                </a:lnTo>
                <a:lnTo>
                  <a:pt x="203" y="884"/>
                </a:lnTo>
                <a:lnTo>
                  <a:pt x="212" y="863"/>
                </a:lnTo>
                <a:lnTo>
                  <a:pt x="586" y="0"/>
                </a:lnTo>
                <a:lnTo>
                  <a:pt x="623" y="0"/>
                </a:lnTo>
                <a:lnTo>
                  <a:pt x="999" y="863"/>
                </a:lnTo>
                <a:lnTo>
                  <a:pt x="999" y="863"/>
                </a:lnTo>
                <a:lnTo>
                  <a:pt x="1017" y="900"/>
                </a:lnTo>
                <a:lnTo>
                  <a:pt x="1025" y="918"/>
                </a:lnTo>
                <a:lnTo>
                  <a:pt x="1033" y="933"/>
                </a:lnTo>
                <a:lnTo>
                  <a:pt x="1041" y="946"/>
                </a:lnTo>
                <a:lnTo>
                  <a:pt x="1050" y="959"/>
                </a:lnTo>
                <a:lnTo>
                  <a:pt x="1060" y="970"/>
                </a:lnTo>
                <a:lnTo>
                  <a:pt x="1071" y="980"/>
                </a:lnTo>
                <a:lnTo>
                  <a:pt x="1082" y="988"/>
                </a:lnTo>
                <a:lnTo>
                  <a:pt x="1095" y="995"/>
                </a:lnTo>
                <a:lnTo>
                  <a:pt x="1110" y="1002"/>
                </a:lnTo>
                <a:lnTo>
                  <a:pt x="1125" y="1006"/>
                </a:lnTo>
                <a:lnTo>
                  <a:pt x="1142" y="1010"/>
                </a:lnTo>
                <a:lnTo>
                  <a:pt x="1163" y="1012"/>
                </a:lnTo>
                <a:lnTo>
                  <a:pt x="1185" y="1014"/>
                </a:lnTo>
                <a:lnTo>
                  <a:pt x="1210" y="1014"/>
                </a:lnTo>
                <a:lnTo>
                  <a:pt x="1210" y="1064"/>
                </a:lnTo>
                <a:lnTo>
                  <a:pt x="647" y="1064"/>
                </a:lnTo>
                <a:lnTo>
                  <a:pt x="647" y="1014"/>
                </a:lnTo>
                <a:lnTo>
                  <a:pt x="647" y="1014"/>
                </a:lnTo>
                <a:lnTo>
                  <a:pt x="674" y="1014"/>
                </a:lnTo>
                <a:lnTo>
                  <a:pt x="698" y="1012"/>
                </a:lnTo>
                <a:lnTo>
                  <a:pt x="719" y="1010"/>
                </a:lnTo>
                <a:lnTo>
                  <a:pt x="736" y="1007"/>
                </a:lnTo>
                <a:lnTo>
                  <a:pt x="752" y="1003"/>
                </a:lnTo>
                <a:lnTo>
                  <a:pt x="765" y="996"/>
                </a:lnTo>
                <a:lnTo>
                  <a:pt x="775" y="990"/>
                </a:lnTo>
                <a:lnTo>
                  <a:pt x="783" y="983"/>
                </a:lnTo>
                <a:lnTo>
                  <a:pt x="790" y="974"/>
                </a:lnTo>
                <a:lnTo>
                  <a:pt x="793" y="965"/>
                </a:lnTo>
                <a:lnTo>
                  <a:pt x="795" y="954"/>
                </a:lnTo>
                <a:lnTo>
                  <a:pt x="795" y="942"/>
                </a:lnTo>
                <a:lnTo>
                  <a:pt x="793" y="929"/>
                </a:lnTo>
                <a:lnTo>
                  <a:pt x="789" y="915"/>
                </a:lnTo>
                <a:lnTo>
                  <a:pt x="783" y="899"/>
                </a:lnTo>
                <a:lnTo>
                  <a:pt x="776" y="883"/>
                </a:lnTo>
                <a:lnTo>
                  <a:pt x="704" y="719"/>
                </a:lnTo>
                <a:lnTo>
                  <a:pt x="359" y="719"/>
                </a:lnTo>
                <a:lnTo>
                  <a:pt x="289" y="883"/>
                </a:lnTo>
                <a:close/>
                <a:moveTo>
                  <a:pt x="533" y="318"/>
                </a:moveTo>
                <a:lnTo>
                  <a:pt x="394" y="642"/>
                </a:lnTo>
                <a:lnTo>
                  <a:pt x="671" y="642"/>
                </a:lnTo>
                <a:lnTo>
                  <a:pt x="533" y="318"/>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56" name="Freeform 7">
            <a:extLst>
              <a:ext uri="{FF2B5EF4-FFF2-40B4-BE49-F238E27FC236}">
                <a16:creationId xmlns:a16="http://schemas.microsoft.com/office/drawing/2014/main" id="{D9067B2B-2829-7444-8B91-CC44818880A8}"/>
              </a:ext>
            </a:extLst>
          </p:cNvPr>
          <p:cNvSpPr>
            <a:spLocks/>
          </p:cNvSpPr>
          <p:nvPr userDrawn="1"/>
        </p:nvSpPr>
        <p:spPr bwMode="auto">
          <a:xfrm>
            <a:off x="1849439" y="893765"/>
            <a:ext cx="131763" cy="136525"/>
          </a:xfrm>
          <a:custGeom>
            <a:avLst/>
            <a:gdLst>
              <a:gd name="T0" fmla="*/ 0 w 1002"/>
              <a:gd name="T1" fmla="*/ 0 h 1035"/>
              <a:gd name="T2" fmla="*/ 545 w 1002"/>
              <a:gd name="T3" fmla="*/ 50 h 1035"/>
              <a:gd name="T4" fmla="*/ 519 w 1002"/>
              <a:gd name="T5" fmla="*/ 50 h 1035"/>
              <a:gd name="T6" fmla="*/ 476 w 1002"/>
              <a:gd name="T7" fmla="*/ 54 h 1035"/>
              <a:gd name="T8" fmla="*/ 443 w 1002"/>
              <a:gd name="T9" fmla="*/ 63 h 1035"/>
              <a:gd name="T10" fmla="*/ 424 w 1002"/>
              <a:gd name="T11" fmla="*/ 73 h 1035"/>
              <a:gd name="T12" fmla="*/ 413 w 1002"/>
              <a:gd name="T13" fmla="*/ 81 h 1035"/>
              <a:gd name="T14" fmla="*/ 405 w 1002"/>
              <a:gd name="T15" fmla="*/ 92 h 1035"/>
              <a:gd name="T16" fmla="*/ 394 w 1002"/>
              <a:gd name="T17" fmla="*/ 113 h 1035"/>
              <a:gd name="T18" fmla="*/ 385 w 1002"/>
              <a:gd name="T19" fmla="*/ 148 h 1035"/>
              <a:gd name="T20" fmla="*/ 380 w 1002"/>
              <a:gd name="T21" fmla="*/ 194 h 1035"/>
              <a:gd name="T22" fmla="*/ 379 w 1002"/>
              <a:gd name="T23" fmla="*/ 252 h 1035"/>
              <a:gd name="T24" fmla="*/ 379 w 1002"/>
              <a:gd name="T25" fmla="*/ 756 h 1035"/>
              <a:gd name="T26" fmla="*/ 380 w 1002"/>
              <a:gd name="T27" fmla="*/ 814 h 1035"/>
              <a:gd name="T28" fmla="*/ 385 w 1002"/>
              <a:gd name="T29" fmla="*/ 860 h 1035"/>
              <a:gd name="T30" fmla="*/ 394 w 1002"/>
              <a:gd name="T31" fmla="*/ 896 h 1035"/>
              <a:gd name="T32" fmla="*/ 405 w 1002"/>
              <a:gd name="T33" fmla="*/ 915 h 1035"/>
              <a:gd name="T34" fmla="*/ 413 w 1002"/>
              <a:gd name="T35" fmla="*/ 927 h 1035"/>
              <a:gd name="T36" fmla="*/ 424 w 1002"/>
              <a:gd name="T37" fmla="*/ 936 h 1035"/>
              <a:gd name="T38" fmla="*/ 443 w 1002"/>
              <a:gd name="T39" fmla="*/ 946 h 1035"/>
              <a:gd name="T40" fmla="*/ 476 w 1002"/>
              <a:gd name="T41" fmla="*/ 954 h 1035"/>
              <a:gd name="T42" fmla="*/ 519 w 1002"/>
              <a:gd name="T43" fmla="*/ 957 h 1035"/>
              <a:gd name="T44" fmla="*/ 743 w 1002"/>
              <a:gd name="T45" fmla="*/ 957 h 1035"/>
              <a:gd name="T46" fmla="*/ 772 w 1002"/>
              <a:gd name="T47" fmla="*/ 957 h 1035"/>
              <a:gd name="T48" fmla="*/ 819 w 1002"/>
              <a:gd name="T49" fmla="*/ 953 h 1035"/>
              <a:gd name="T50" fmla="*/ 855 w 1002"/>
              <a:gd name="T51" fmla="*/ 946 h 1035"/>
              <a:gd name="T52" fmla="*/ 883 w 1002"/>
              <a:gd name="T53" fmla="*/ 934 h 1035"/>
              <a:gd name="T54" fmla="*/ 904 w 1002"/>
              <a:gd name="T55" fmla="*/ 917 h 1035"/>
              <a:gd name="T56" fmla="*/ 919 w 1002"/>
              <a:gd name="T57" fmla="*/ 897 h 1035"/>
              <a:gd name="T58" fmla="*/ 930 w 1002"/>
              <a:gd name="T59" fmla="*/ 872 h 1035"/>
              <a:gd name="T60" fmla="*/ 943 w 1002"/>
              <a:gd name="T61" fmla="*/ 826 h 1035"/>
              <a:gd name="T62" fmla="*/ 1002 w 1002"/>
              <a:gd name="T63" fmla="*/ 792 h 1035"/>
              <a:gd name="T64" fmla="*/ 0 w 1002"/>
              <a:gd name="T65" fmla="*/ 1035 h 1035"/>
              <a:gd name="T66" fmla="*/ 0 w 1002"/>
              <a:gd name="T67" fmla="*/ 985 h 1035"/>
              <a:gd name="T68" fmla="*/ 48 w 1002"/>
              <a:gd name="T69" fmla="*/ 984 h 1035"/>
              <a:gd name="T70" fmla="*/ 86 w 1002"/>
              <a:gd name="T71" fmla="*/ 978 h 1035"/>
              <a:gd name="T72" fmla="*/ 114 w 1002"/>
              <a:gd name="T73" fmla="*/ 966 h 1035"/>
              <a:gd name="T74" fmla="*/ 125 w 1002"/>
              <a:gd name="T75" fmla="*/ 958 h 1035"/>
              <a:gd name="T76" fmla="*/ 136 w 1002"/>
              <a:gd name="T77" fmla="*/ 949 h 1035"/>
              <a:gd name="T78" fmla="*/ 143 w 1002"/>
              <a:gd name="T79" fmla="*/ 937 h 1035"/>
              <a:gd name="T80" fmla="*/ 154 w 1002"/>
              <a:gd name="T81" fmla="*/ 906 h 1035"/>
              <a:gd name="T82" fmla="*/ 161 w 1002"/>
              <a:gd name="T83" fmla="*/ 866 h 1035"/>
              <a:gd name="T84" fmla="*/ 163 w 1002"/>
              <a:gd name="T85" fmla="*/ 814 h 1035"/>
              <a:gd name="T86" fmla="*/ 163 w 1002"/>
              <a:gd name="T87" fmla="*/ 252 h 1035"/>
              <a:gd name="T88" fmla="*/ 163 w 1002"/>
              <a:gd name="T89" fmla="*/ 221 h 1035"/>
              <a:gd name="T90" fmla="*/ 161 w 1002"/>
              <a:gd name="T91" fmla="*/ 169 h 1035"/>
              <a:gd name="T92" fmla="*/ 154 w 1002"/>
              <a:gd name="T93" fmla="*/ 129 h 1035"/>
              <a:gd name="T94" fmla="*/ 143 w 1002"/>
              <a:gd name="T95" fmla="*/ 98 h 1035"/>
              <a:gd name="T96" fmla="*/ 136 w 1002"/>
              <a:gd name="T97" fmla="*/ 86 h 1035"/>
              <a:gd name="T98" fmla="*/ 125 w 1002"/>
              <a:gd name="T99" fmla="*/ 77 h 1035"/>
              <a:gd name="T100" fmla="*/ 114 w 1002"/>
              <a:gd name="T101" fmla="*/ 69 h 1035"/>
              <a:gd name="T102" fmla="*/ 86 w 1002"/>
              <a:gd name="T103" fmla="*/ 58 h 1035"/>
              <a:gd name="T104" fmla="*/ 48 w 1002"/>
              <a:gd name="T105" fmla="*/ 51 h 1035"/>
              <a:gd name="T106" fmla="*/ 0 w 1002"/>
              <a:gd name="T107" fmla="*/ 50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02" h="1035">
                <a:moveTo>
                  <a:pt x="0" y="50"/>
                </a:moveTo>
                <a:lnTo>
                  <a:pt x="0" y="0"/>
                </a:lnTo>
                <a:lnTo>
                  <a:pt x="545" y="0"/>
                </a:lnTo>
                <a:lnTo>
                  <a:pt x="545" y="50"/>
                </a:lnTo>
                <a:lnTo>
                  <a:pt x="545" y="50"/>
                </a:lnTo>
                <a:lnTo>
                  <a:pt x="519" y="50"/>
                </a:lnTo>
                <a:lnTo>
                  <a:pt x="497" y="51"/>
                </a:lnTo>
                <a:lnTo>
                  <a:pt x="476" y="54"/>
                </a:lnTo>
                <a:lnTo>
                  <a:pt x="459" y="58"/>
                </a:lnTo>
                <a:lnTo>
                  <a:pt x="443" y="63"/>
                </a:lnTo>
                <a:lnTo>
                  <a:pt x="429" y="69"/>
                </a:lnTo>
                <a:lnTo>
                  <a:pt x="424" y="73"/>
                </a:lnTo>
                <a:lnTo>
                  <a:pt x="418" y="77"/>
                </a:lnTo>
                <a:lnTo>
                  <a:pt x="413" y="81"/>
                </a:lnTo>
                <a:lnTo>
                  <a:pt x="409" y="86"/>
                </a:lnTo>
                <a:lnTo>
                  <a:pt x="405" y="92"/>
                </a:lnTo>
                <a:lnTo>
                  <a:pt x="400" y="98"/>
                </a:lnTo>
                <a:lnTo>
                  <a:pt x="394" y="113"/>
                </a:lnTo>
                <a:lnTo>
                  <a:pt x="389" y="129"/>
                </a:lnTo>
                <a:lnTo>
                  <a:pt x="385" y="148"/>
                </a:lnTo>
                <a:lnTo>
                  <a:pt x="382" y="169"/>
                </a:lnTo>
                <a:lnTo>
                  <a:pt x="380" y="194"/>
                </a:lnTo>
                <a:lnTo>
                  <a:pt x="379" y="221"/>
                </a:lnTo>
                <a:lnTo>
                  <a:pt x="379" y="252"/>
                </a:lnTo>
                <a:lnTo>
                  <a:pt x="379" y="756"/>
                </a:lnTo>
                <a:lnTo>
                  <a:pt x="379" y="756"/>
                </a:lnTo>
                <a:lnTo>
                  <a:pt x="379" y="787"/>
                </a:lnTo>
                <a:lnTo>
                  <a:pt x="380" y="814"/>
                </a:lnTo>
                <a:lnTo>
                  <a:pt x="382" y="839"/>
                </a:lnTo>
                <a:lnTo>
                  <a:pt x="385" y="860"/>
                </a:lnTo>
                <a:lnTo>
                  <a:pt x="389" y="879"/>
                </a:lnTo>
                <a:lnTo>
                  <a:pt x="394" y="896"/>
                </a:lnTo>
                <a:lnTo>
                  <a:pt x="400" y="909"/>
                </a:lnTo>
                <a:lnTo>
                  <a:pt x="405" y="915"/>
                </a:lnTo>
                <a:lnTo>
                  <a:pt x="409" y="921"/>
                </a:lnTo>
                <a:lnTo>
                  <a:pt x="413" y="927"/>
                </a:lnTo>
                <a:lnTo>
                  <a:pt x="418" y="932"/>
                </a:lnTo>
                <a:lnTo>
                  <a:pt x="424" y="936"/>
                </a:lnTo>
                <a:lnTo>
                  <a:pt x="429" y="939"/>
                </a:lnTo>
                <a:lnTo>
                  <a:pt x="443" y="946"/>
                </a:lnTo>
                <a:lnTo>
                  <a:pt x="459" y="950"/>
                </a:lnTo>
                <a:lnTo>
                  <a:pt x="476" y="954"/>
                </a:lnTo>
                <a:lnTo>
                  <a:pt x="497" y="956"/>
                </a:lnTo>
                <a:lnTo>
                  <a:pt x="519" y="957"/>
                </a:lnTo>
                <a:lnTo>
                  <a:pt x="545" y="957"/>
                </a:lnTo>
                <a:lnTo>
                  <a:pt x="743" y="957"/>
                </a:lnTo>
                <a:lnTo>
                  <a:pt x="743" y="957"/>
                </a:lnTo>
                <a:lnTo>
                  <a:pt x="772" y="957"/>
                </a:lnTo>
                <a:lnTo>
                  <a:pt x="796" y="955"/>
                </a:lnTo>
                <a:lnTo>
                  <a:pt x="819" y="953"/>
                </a:lnTo>
                <a:lnTo>
                  <a:pt x="838" y="950"/>
                </a:lnTo>
                <a:lnTo>
                  <a:pt x="855" y="946"/>
                </a:lnTo>
                <a:lnTo>
                  <a:pt x="871" y="940"/>
                </a:lnTo>
                <a:lnTo>
                  <a:pt x="883" y="934"/>
                </a:lnTo>
                <a:lnTo>
                  <a:pt x="894" y="927"/>
                </a:lnTo>
                <a:lnTo>
                  <a:pt x="904" y="917"/>
                </a:lnTo>
                <a:lnTo>
                  <a:pt x="912" y="908"/>
                </a:lnTo>
                <a:lnTo>
                  <a:pt x="919" y="897"/>
                </a:lnTo>
                <a:lnTo>
                  <a:pt x="925" y="886"/>
                </a:lnTo>
                <a:lnTo>
                  <a:pt x="930" y="872"/>
                </a:lnTo>
                <a:lnTo>
                  <a:pt x="935" y="858"/>
                </a:lnTo>
                <a:lnTo>
                  <a:pt x="943" y="826"/>
                </a:lnTo>
                <a:lnTo>
                  <a:pt x="952" y="792"/>
                </a:lnTo>
                <a:lnTo>
                  <a:pt x="1002" y="792"/>
                </a:lnTo>
                <a:lnTo>
                  <a:pt x="988" y="1035"/>
                </a:lnTo>
                <a:lnTo>
                  <a:pt x="0" y="1035"/>
                </a:lnTo>
                <a:lnTo>
                  <a:pt x="0" y="985"/>
                </a:lnTo>
                <a:lnTo>
                  <a:pt x="0" y="985"/>
                </a:lnTo>
                <a:lnTo>
                  <a:pt x="25" y="985"/>
                </a:lnTo>
                <a:lnTo>
                  <a:pt x="48" y="984"/>
                </a:lnTo>
                <a:lnTo>
                  <a:pt x="68" y="982"/>
                </a:lnTo>
                <a:lnTo>
                  <a:pt x="86" y="978"/>
                </a:lnTo>
                <a:lnTo>
                  <a:pt x="101" y="973"/>
                </a:lnTo>
                <a:lnTo>
                  <a:pt x="114" y="966"/>
                </a:lnTo>
                <a:lnTo>
                  <a:pt x="120" y="963"/>
                </a:lnTo>
                <a:lnTo>
                  <a:pt x="125" y="958"/>
                </a:lnTo>
                <a:lnTo>
                  <a:pt x="131" y="954"/>
                </a:lnTo>
                <a:lnTo>
                  <a:pt x="136" y="949"/>
                </a:lnTo>
                <a:lnTo>
                  <a:pt x="140" y="943"/>
                </a:lnTo>
                <a:lnTo>
                  <a:pt x="143" y="937"/>
                </a:lnTo>
                <a:lnTo>
                  <a:pt x="150" y="923"/>
                </a:lnTo>
                <a:lnTo>
                  <a:pt x="154" y="906"/>
                </a:lnTo>
                <a:lnTo>
                  <a:pt x="158" y="888"/>
                </a:lnTo>
                <a:lnTo>
                  <a:pt x="161" y="866"/>
                </a:lnTo>
                <a:lnTo>
                  <a:pt x="162" y="842"/>
                </a:lnTo>
                <a:lnTo>
                  <a:pt x="163" y="814"/>
                </a:lnTo>
                <a:lnTo>
                  <a:pt x="163" y="783"/>
                </a:lnTo>
                <a:lnTo>
                  <a:pt x="163" y="252"/>
                </a:lnTo>
                <a:lnTo>
                  <a:pt x="163" y="252"/>
                </a:lnTo>
                <a:lnTo>
                  <a:pt x="163" y="221"/>
                </a:lnTo>
                <a:lnTo>
                  <a:pt x="162" y="194"/>
                </a:lnTo>
                <a:lnTo>
                  <a:pt x="161" y="169"/>
                </a:lnTo>
                <a:lnTo>
                  <a:pt x="158" y="148"/>
                </a:lnTo>
                <a:lnTo>
                  <a:pt x="154" y="129"/>
                </a:lnTo>
                <a:lnTo>
                  <a:pt x="150" y="113"/>
                </a:lnTo>
                <a:lnTo>
                  <a:pt x="143" y="98"/>
                </a:lnTo>
                <a:lnTo>
                  <a:pt x="140" y="92"/>
                </a:lnTo>
                <a:lnTo>
                  <a:pt x="136" y="86"/>
                </a:lnTo>
                <a:lnTo>
                  <a:pt x="131" y="81"/>
                </a:lnTo>
                <a:lnTo>
                  <a:pt x="125" y="77"/>
                </a:lnTo>
                <a:lnTo>
                  <a:pt x="120" y="73"/>
                </a:lnTo>
                <a:lnTo>
                  <a:pt x="114" y="69"/>
                </a:lnTo>
                <a:lnTo>
                  <a:pt x="101" y="63"/>
                </a:lnTo>
                <a:lnTo>
                  <a:pt x="86" y="58"/>
                </a:lnTo>
                <a:lnTo>
                  <a:pt x="68" y="54"/>
                </a:lnTo>
                <a:lnTo>
                  <a:pt x="48" y="51"/>
                </a:lnTo>
                <a:lnTo>
                  <a:pt x="25" y="50"/>
                </a:lnTo>
                <a:lnTo>
                  <a:pt x="0" y="50"/>
                </a:lnTo>
                <a:lnTo>
                  <a:pt x="0" y="50"/>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57" name="Freeform 8">
            <a:extLst>
              <a:ext uri="{FF2B5EF4-FFF2-40B4-BE49-F238E27FC236}">
                <a16:creationId xmlns:a16="http://schemas.microsoft.com/office/drawing/2014/main" id="{1D2160BE-DEA1-534A-A109-C55F9A86EF32}"/>
              </a:ext>
            </a:extLst>
          </p:cNvPr>
          <p:cNvSpPr>
            <a:spLocks/>
          </p:cNvSpPr>
          <p:nvPr userDrawn="1"/>
        </p:nvSpPr>
        <p:spPr bwMode="auto">
          <a:xfrm>
            <a:off x="1982789" y="893765"/>
            <a:ext cx="142875" cy="136525"/>
          </a:xfrm>
          <a:custGeom>
            <a:avLst/>
            <a:gdLst>
              <a:gd name="T0" fmla="*/ 1028 w 1078"/>
              <a:gd name="T1" fmla="*/ 244 h 1035"/>
              <a:gd name="T2" fmla="*/ 1019 w 1078"/>
              <a:gd name="T3" fmla="*/ 209 h 1035"/>
              <a:gd name="T4" fmla="*/ 1006 w 1078"/>
              <a:gd name="T5" fmla="*/ 163 h 1035"/>
              <a:gd name="T6" fmla="*/ 995 w 1078"/>
              <a:gd name="T7" fmla="*/ 138 h 1035"/>
              <a:gd name="T8" fmla="*/ 979 w 1078"/>
              <a:gd name="T9" fmla="*/ 118 h 1035"/>
              <a:gd name="T10" fmla="*/ 959 w 1078"/>
              <a:gd name="T11" fmla="*/ 101 h 1035"/>
              <a:gd name="T12" fmla="*/ 931 w 1078"/>
              <a:gd name="T13" fmla="*/ 90 h 1035"/>
              <a:gd name="T14" fmla="*/ 895 w 1078"/>
              <a:gd name="T15" fmla="*/ 82 h 1035"/>
              <a:gd name="T16" fmla="*/ 848 w 1078"/>
              <a:gd name="T17" fmla="*/ 78 h 1035"/>
              <a:gd name="T18" fmla="*/ 646 w 1078"/>
              <a:gd name="T19" fmla="*/ 78 h 1035"/>
              <a:gd name="T20" fmla="*/ 646 w 1078"/>
              <a:gd name="T21" fmla="*/ 783 h 1035"/>
              <a:gd name="T22" fmla="*/ 648 w 1078"/>
              <a:gd name="T23" fmla="*/ 842 h 1035"/>
              <a:gd name="T24" fmla="*/ 652 w 1078"/>
              <a:gd name="T25" fmla="*/ 888 h 1035"/>
              <a:gd name="T26" fmla="*/ 661 w 1078"/>
              <a:gd name="T27" fmla="*/ 923 h 1035"/>
              <a:gd name="T28" fmla="*/ 672 w 1078"/>
              <a:gd name="T29" fmla="*/ 943 h 1035"/>
              <a:gd name="T30" fmla="*/ 680 w 1078"/>
              <a:gd name="T31" fmla="*/ 954 h 1035"/>
              <a:gd name="T32" fmla="*/ 691 w 1078"/>
              <a:gd name="T33" fmla="*/ 963 h 1035"/>
              <a:gd name="T34" fmla="*/ 711 w 1078"/>
              <a:gd name="T35" fmla="*/ 973 h 1035"/>
              <a:gd name="T36" fmla="*/ 743 w 1078"/>
              <a:gd name="T37" fmla="*/ 982 h 1035"/>
              <a:gd name="T38" fmla="*/ 786 w 1078"/>
              <a:gd name="T39" fmla="*/ 985 h 1035"/>
              <a:gd name="T40" fmla="*/ 812 w 1078"/>
              <a:gd name="T41" fmla="*/ 1035 h 1035"/>
              <a:gd name="T42" fmla="*/ 267 w 1078"/>
              <a:gd name="T43" fmla="*/ 985 h 1035"/>
              <a:gd name="T44" fmla="*/ 292 w 1078"/>
              <a:gd name="T45" fmla="*/ 985 h 1035"/>
              <a:gd name="T46" fmla="*/ 335 w 1078"/>
              <a:gd name="T47" fmla="*/ 982 h 1035"/>
              <a:gd name="T48" fmla="*/ 368 w 1078"/>
              <a:gd name="T49" fmla="*/ 973 h 1035"/>
              <a:gd name="T50" fmla="*/ 387 w 1078"/>
              <a:gd name="T51" fmla="*/ 963 h 1035"/>
              <a:gd name="T52" fmla="*/ 398 w 1078"/>
              <a:gd name="T53" fmla="*/ 954 h 1035"/>
              <a:gd name="T54" fmla="*/ 407 w 1078"/>
              <a:gd name="T55" fmla="*/ 943 h 1035"/>
              <a:gd name="T56" fmla="*/ 417 w 1078"/>
              <a:gd name="T57" fmla="*/ 923 h 1035"/>
              <a:gd name="T58" fmla="*/ 425 w 1078"/>
              <a:gd name="T59" fmla="*/ 888 h 1035"/>
              <a:gd name="T60" fmla="*/ 429 w 1078"/>
              <a:gd name="T61" fmla="*/ 842 h 1035"/>
              <a:gd name="T62" fmla="*/ 431 w 1078"/>
              <a:gd name="T63" fmla="*/ 783 h 1035"/>
              <a:gd name="T64" fmla="*/ 259 w 1078"/>
              <a:gd name="T65" fmla="*/ 78 h 1035"/>
              <a:gd name="T66" fmla="*/ 231 w 1078"/>
              <a:gd name="T67" fmla="*/ 78 h 1035"/>
              <a:gd name="T68" fmla="*/ 184 w 1078"/>
              <a:gd name="T69" fmla="*/ 82 h 1035"/>
              <a:gd name="T70" fmla="*/ 147 w 1078"/>
              <a:gd name="T71" fmla="*/ 90 h 1035"/>
              <a:gd name="T72" fmla="*/ 120 w 1078"/>
              <a:gd name="T73" fmla="*/ 101 h 1035"/>
              <a:gd name="T74" fmla="*/ 99 w 1078"/>
              <a:gd name="T75" fmla="*/ 118 h 1035"/>
              <a:gd name="T76" fmla="*/ 85 w 1078"/>
              <a:gd name="T77" fmla="*/ 138 h 1035"/>
              <a:gd name="T78" fmla="*/ 74 w 1078"/>
              <a:gd name="T79" fmla="*/ 163 h 1035"/>
              <a:gd name="T80" fmla="*/ 60 w 1078"/>
              <a:gd name="T81" fmla="*/ 209 h 1035"/>
              <a:gd name="T82" fmla="*/ 0 w 1078"/>
              <a:gd name="T83" fmla="*/ 244 h 1035"/>
              <a:gd name="T84" fmla="*/ 1064 w 1078"/>
              <a:gd name="T85" fmla="*/ 0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8" h="1035">
                <a:moveTo>
                  <a:pt x="1078" y="244"/>
                </a:moveTo>
                <a:lnTo>
                  <a:pt x="1028" y="244"/>
                </a:lnTo>
                <a:lnTo>
                  <a:pt x="1019" y="209"/>
                </a:lnTo>
                <a:lnTo>
                  <a:pt x="1019" y="209"/>
                </a:lnTo>
                <a:lnTo>
                  <a:pt x="1011" y="177"/>
                </a:lnTo>
                <a:lnTo>
                  <a:pt x="1006" y="163"/>
                </a:lnTo>
                <a:lnTo>
                  <a:pt x="1001" y="150"/>
                </a:lnTo>
                <a:lnTo>
                  <a:pt x="995" y="138"/>
                </a:lnTo>
                <a:lnTo>
                  <a:pt x="988" y="127"/>
                </a:lnTo>
                <a:lnTo>
                  <a:pt x="979" y="118"/>
                </a:lnTo>
                <a:lnTo>
                  <a:pt x="970" y="109"/>
                </a:lnTo>
                <a:lnTo>
                  <a:pt x="959" y="101"/>
                </a:lnTo>
                <a:lnTo>
                  <a:pt x="946" y="95"/>
                </a:lnTo>
                <a:lnTo>
                  <a:pt x="931" y="90"/>
                </a:lnTo>
                <a:lnTo>
                  <a:pt x="914" y="85"/>
                </a:lnTo>
                <a:lnTo>
                  <a:pt x="895" y="82"/>
                </a:lnTo>
                <a:lnTo>
                  <a:pt x="872" y="80"/>
                </a:lnTo>
                <a:lnTo>
                  <a:pt x="848" y="78"/>
                </a:lnTo>
                <a:lnTo>
                  <a:pt x="819" y="78"/>
                </a:lnTo>
                <a:lnTo>
                  <a:pt x="646" y="78"/>
                </a:lnTo>
                <a:lnTo>
                  <a:pt x="646" y="783"/>
                </a:lnTo>
                <a:lnTo>
                  <a:pt x="646" y="783"/>
                </a:lnTo>
                <a:lnTo>
                  <a:pt x="647" y="814"/>
                </a:lnTo>
                <a:lnTo>
                  <a:pt x="648" y="842"/>
                </a:lnTo>
                <a:lnTo>
                  <a:pt x="649" y="866"/>
                </a:lnTo>
                <a:lnTo>
                  <a:pt x="652" y="888"/>
                </a:lnTo>
                <a:lnTo>
                  <a:pt x="656" y="906"/>
                </a:lnTo>
                <a:lnTo>
                  <a:pt x="661" y="923"/>
                </a:lnTo>
                <a:lnTo>
                  <a:pt x="668" y="937"/>
                </a:lnTo>
                <a:lnTo>
                  <a:pt x="672" y="943"/>
                </a:lnTo>
                <a:lnTo>
                  <a:pt x="676" y="949"/>
                </a:lnTo>
                <a:lnTo>
                  <a:pt x="680" y="954"/>
                </a:lnTo>
                <a:lnTo>
                  <a:pt x="685" y="958"/>
                </a:lnTo>
                <a:lnTo>
                  <a:pt x="691" y="963"/>
                </a:lnTo>
                <a:lnTo>
                  <a:pt x="697" y="966"/>
                </a:lnTo>
                <a:lnTo>
                  <a:pt x="711" y="973"/>
                </a:lnTo>
                <a:lnTo>
                  <a:pt x="726" y="978"/>
                </a:lnTo>
                <a:lnTo>
                  <a:pt x="743" y="982"/>
                </a:lnTo>
                <a:lnTo>
                  <a:pt x="764" y="984"/>
                </a:lnTo>
                <a:lnTo>
                  <a:pt x="786" y="985"/>
                </a:lnTo>
                <a:lnTo>
                  <a:pt x="812" y="985"/>
                </a:lnTo>
                <a:lnTo>
                  <a:pt x="812" y="1035"/>
                </a:lnTo>
                <a:lnTo>
                  <a:pt x="267" y="1035"/>
                </a:lnTo>
                <a:lnTo>
                  <a:pt x="267" y="985"/>
                </a:lnTo>
                <a:lnTo>
                  <a:pt x="267" y="985"/>
                </a:lnTo>
                <a:lnTo>
                  <a:pt x="292" y="985"/>
                </a:lnTo>
                <a:lnTo>
                  <a:pt x="315" y="984"/>
                </a:lnTo>
                <a:lnTo>
                  <a:pt x="335" y="982"/>
                </a:lnTo>
                <a:lnTo>
                  <a:pt x="353" y="978"/>
                </a:lnTo>
                <a:lnTo>
                  <a:pt x="368" y="973"/>
                </a:lnTo>
                <a:lnTo>
                  <a:pt x="381" y="966"/>
                </a:lnTo>
                <a:lnTo>
                  <a:pt x="387" y="963"/>
                </a:lnTo>
                <a:lnTo>
                  <a:pt x="394" y="958"/>
                </a:lnTo>
                <a:lnTo>
                  <a:pt x="398" y="954"/>
                </a:lnTo>
                <a:lnTo>
                  <a:pt x="403" y="949"/>
                </a:lnTo>
                <a:lnTo>
                  <a:pt x="407" y="943"/>
                </a:lnTo>
                <a:lnTo>
                  <a:pt x="411" y="937"/>
                </a:lnTo>
                <a:lnTo>
                  <a:pt x="417" y="923"/>
                </a:lnTo>
                <a:lnTo>
                  <a:pt x="422" y="906"/>
                </a:lnTo>
                <a:lnTo>
                  <a:pt x="425" y="888"/>
                </a:lnTo>
                <a:lnTo>
                  <a:pt x="428" y="866"/>
                </a:lnTo>
                <a:lnTo>
                  <a:pt x="429" y="842"/>
                </a:lnTo>
                <a:lnTo>
                  <a:pt x="430" y="814"/>
                </a:lnTo>
                <a:lnTo>
                  <a:pt x="431" y="783"/>
                </a:lnTo>
                <a:lnTo>
                  <a:pt x="431" y="78"/>
                </a:lnTo>
                <a:lnTo>
                  <a:pt x="259" y="78"/>
                </a:lnTo>
                <a:lnTo>
                  <a:pt x="259" y="78"/>
                </a:lnTo>
                <a:lnTo>
                  <a:pt x="231" y="78"/>
                </a:lnTo>
                <a:lnTo>
                  <a:pt x="205" y="80"/>
                </a:lnTo>
                <a:lnTo>
                  <a:pt x="184" y="82"/>
                </a:lnTo>
                <a:lnTo>
                  <a:pt x="165" y="85"/>
                </a:lnTo>
                <a:lnTo>
                  <a:pt x="147" y="90"/>
                </a:lnTo>
                <a:lnTo>
                  <a:pt x="133" y="95"/>
                </a:lnTo>
                <a:lnTo>
                  <a:pt x="120" y="101"/>
                </a:lnTo>
                <a:lnTo>
                  <a:pt x="108" y="109"/>
                </a:lnTo>
                <a:lnTo>
                  <a:pt x="99" y="118"/>
                </a:lnTo>
                <a:lnTo>
                  <a:pt x="91" y="127"/>
                </a:lnTo>
                <a:lnTo>
                  <a:pt x="85" y="138"/>
                </a:lnTo>
                <a:lnTo>
                  <a:pt x="79" y="150"/>
                </a:lnTo>
                <a:lnTo>
                  <a:pt x="74" y="163"/>
                </a:lnTo>
                <a:lnTo>
                  <a:pt x="68" y="177"/>
                </a:lnTo>
                <a:lnTo>
                  <a:pt x="60" y="209"/>
                </a:lnTo>
                <a:lnTo>
                  <a:pt x="51" y="244"/>
                </a:lnTo>
                <a:lnTo>
                  <a:pt x="0" y="244"/>
                </a:lnTo>
                <a:lnTo>
                  <a:pt x="15" y="0"/>
                </a:lnTo>
                <a:lnTo>
                  <a:pt x="1064" y="0"/>
                </a:lnTo>
                <a:lnTo>
                  <a:pt x="1078" y="244"/>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58" name="Freeform 9">
            <a:extLst>
              <a:ext uri="{FF2B5EF4-FFF2-40B4-BE49-F238E27FC236}">
                <a16:creationId xmlns:a16="http://schemas.microsoft.com/office/drawing/2014/main" id="{7DCC9B10-BD4A-BD4C-B031-9A4754EF4F53}"/>
              </a:ext>
            </a:extLst>
          </p:cNvPr>
          <p:cNvSpPr>
            <a:spLocks/>
          </p:cNvSpPr>
          <p:nvPr userDrawn="1"/>
        </p:nvSpPr>
        <p:spPr bwMode="auto">
          <a:xfrm>
            <a:off x="2152653" y="893765"/>
            <a:ext cx="73025" cy="136525"/>
          </a:xfrm>
          <a:custGeom>
            <a:avLst/>
            <a:gdLst>
              <a:gd name="T0" fmla="*/ 0 w 545"/>
              <a:gd name="T1" fmla="*/ 985 h 1035"/>
              <a:gd name="T2" fmla="*/ 26 w 545"/>
              <a:gd name="T3" fmla="*/ 985 h 1035"/>
              <a:gd name="T4" fmla="*/ 69 w 545"/>
              <a:gd name="T5" fmla="*/ 982 h 1035"/>
              <a:gd name="T6" fmla="*/ 102 w 545"/>
              <a:gd name="T7" fmla="*/ 973 h 1035"/>
              <a:gd name="T8" fmla="*/ 121 w 545"/>
              <a:gd name="T9" fmla="*/ 963 h 1035"/>
              <a:gd name="T10" fmla="*/ 131 w 545"/>
              <a:gd name="T11" fmla="*/ 954 h 1035"/>
              <a:gd name="T12" fmla="*/ 140 w 545"/>
              <a:gd name="T13" fmla="*/ 943 h 1035"/>
              <a:gd name="T14" fmla="*/ 151 w 545"/>
              <a:gd name="T15" fmla="*/ 923 h 1035"/>
              <a:gd name="T16" fmla="*/ 159 w 545"/>
              <a:gd name="T17" fmla="*/ 888 h 1035"/>
              <a:gd name="T18" fmla="*/ 163 w 545"/>
              <a:gd name="T19" fmla="*/ 842 h 1035"/>
              <a:gd name="T20" fmla="*/ 164 w 545"/>
              <a:gd name="T21" fmla="*/ 783 h 1035"/>
              <a:gd name="T22" fmla="*/ 164 w 545"/>
              <a:gd name="T23" fmla="*/ 252 h 1035"/>
              <a:gd name="T24" fmla="*/ 163 w 545"/>
              <a:gd name="T25" fmla="*/ 194 h 1035"/>
              <a:gd name="T26" fmla="*/ 159 w 545"/>
              <a:gd name="T27" fmla="*/ 148 h 1035"/>
              <a:gd name="T28" fmla="*/ 151 w 545"/>
              <a:gd name="T29" fmla="*/ 113 h 1035"/>
              <a:gd name="T30" fmla="*/ 140 w 545"/>
              <a:gd name="T31" fmla="*/ 92 h 1035"/>
              <a:gd name="T32" fmla="*/ 131 w 545"/>
              <a:gd name="T33" fmla="*/ 81 h 1035"/>
              <a:gd name="T34" fmla="*/ 121 w 545"/>
              <a:gd name="T35" fmla="*/ 73 h 1035"/>
              <a:gd name="T36" fmla="*/ 102 w 545"/>
              <a:gd name="T37" fmla="*/ 63 h 1035"/>
              <a:gd name="T38" fmla="*/ 69 w 545"/>
              <a:gd name="T39" fmla="*/ 54 h 1035"/>
              <a:gd name="T40" fmla="*/ 26 w 545"/>
              <a:gd name="T41" fmla="*/ 50 h 1035"/>
              <a:gd name="T42" fmla="*/ 0 w 545"/>
              <a:gd name="T43" fmla="*/ 0 h 1035"/>
              <a:gd name="T44" fmla="*/ 545 w 545"/>
              <a:gd name="T45" fmla="*/ 50 h 1035"/>
              <a:gd name="T46" fmla="*/ 520 w 545"/>
              <a:gd name="T47" fmla="*/ 50 h 1035"/>
              <a:gd name="T48" fmla="*/ 477 w 545"/>
              <a:gd name="T49" fmla="*/ 54 h 1035"/>
              <a:gd name="T50" fmla="*/ 444 w 545"/>
              <a:gd name="T51" fmla="*/ 63 h 1035"/>
              <a:gd name="T52" fmla="*/ 425 w 545"/>
              <a:gd name="T53" fmla="*/ 73 h 1035"/>
              <a:gd name="T54" fmla="*/ 413 w 545"/>
              <a:gd name="T55" fmla="*/ 81 h 1035"/>
              <a:gd name="T56" fmla="*/ 405 w 545"/>
              <a:gd name="T57" fmla="*/ 92 h 1035"/>
              <a:gd name="T58" fmla="*/ 395 w 545"/>
              <a:gd name="T59" fmla="*/ 113 h 1035"/>
              <a:gd name="T60" fmla="*/ 386 w 545"/>
              <a:gd name="T61" fmla="*/ 148 h 1035"/>
              <a:gd name="T62" fmla="*/ 381 w 545"/>
              <a:gd name="T63" fmla="*/ 194 h 1035"/>
              <a:gd name="T64" fmla="*/ 380 w 545"/>
              <a:gd name="T65" fmla="*/ 252 h 1035"/>
              <a:gd name="T66" fmla="*/ 380 w 545"/>
              <a:gd name="T67" fmla="*/ 783 h 1035"/>
              <a:gd name="T68" fmla="*/ 381 w 545"/>
              <a:gd name="T69" fmla="*/ 842 h 1035"/>
              <a:gd name="T70" fmla="*/ 386 w 545"/>
              <a:gd name="T71" fmla="*/ 888 h 1035"/>
              <a:gd name="T72" fmla="*/ 395 w 545"/>
              <a:gd name="T73" fmla="*/ 923 h 1035"/>
              <a:gd name="T74" fmla="*/ 405 w 545"/>
              <a:gd name="T75" fmla="*/ 943 h 1035"/>
              <a:gd name="T76" fmla="*/ 413 w 545"/>
              <a:gd name="T77" fmla="*/ 954 h 1035"/>
              <a:gd name="T78" fmla="*/ 425 w 545"/>
              <a:gd name="T79" fmla="*/ 963 h 1035"/>
              <a:gd name="T80" fmla="*/ 444 w 545"/>
              <a:gd name="T81" fmla="*/ 973 h 1035"/>
              <a:gd name="T82" fmla="*/ 477 w 545"/>
              <a:gd name="T83" fmla="*/ 982 h 1035"/>
              <a:gd name="T84" fmla="*/ 520 w 545"/>
              <a:gd name="T85" fmla="*/ 985 h 1035"/>
              <a:gd name="T86" fmla="*/ 545 w 545"/>
              <a:gd name="T87" fmla="*/ 1035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5" h="1035">
                <a:moveTo>
                  <a:pt x="0" y="1035"/>
                </a:moveTo>
                <a:lnTo>
                  <a:pt x="0" y="985"/>
                </a:lnTo>
                <a:lnTo>
                  <a:pt x="0" y="985"/>
                </a:lnTo>
                <a:lnTo>
                  <a:pt x="26" y="985"/>
                </a:lnTo>
                <a:lnTo>
                  <a:pt x="48" y="984"/>
                </a:lnTo>
                <a:lnTo>
                  <a:pt x="69" y="982"/>
                </a:lnTo>
                <a:lnTo>
                  <a:pt x="86" y="978"/>
                </a:lnTo>
                <a:lnTo>
                  <a:pt x="102" y="973"/>
                </a:lnTo>
                <a:lnTo>
                  <a:pt x="115" y="966"/>
                </a:lnTo>
                <a:lnTo>
                  <a:pt x="121" y="963"/>
                </a:lnTo>
                <a:lnTo>
                  <a:pt x="126" y="958"/>
                </a:lnTo>
                <a:lnTo>
                  <a:pt x="131" y="954"/>
                </a:lnTo>
                <a:lnTo>
                  <a:pt x="136" y="949"/>
                </a:lnTo>
                <a:lnTo>
                  <a:pt x="140" y="943"/>
                </a:lnTo>
                <a:lnTo>
                  <a:pt x="143" y="937"/>
                </a:lnTo>
                <a:lnTo>
                  <a:pt x="151" y="923"/>
                </a:lnTo>
                <a:lnTo>
                  <a:pt x="155" y="906"/>
                </a:lnTo>
                <a:lnTo>
                  <a:pt x="159" y="888"/>
                </a:lnTo>
                <a:lnTo>
                  <a:pt x="162" y="866"/>
                </a:lnTo>
                <a:lnTo>
                  <a:pt x="163" y="842"/>
                </a:lnTo>
                <a:lnTo>
                  <a:pt x="164" y="814"/>
                </a:lnTo>
                <a:lnTo>
                  <a:pt x="164" y="783"/>
                </a:lnTo>
                <a:lnTo>
                  <a:pt x="164" y="252"/>
                </a:lnTo>
                <a:lnTo>
                  <a:pt x="164" y="252"/>
                </a:lnTo>
                <a:lnTo>
                  <a:pt x="164" y="221"/>
                </a:lnTo>
                <a:lnTo>
                  <a:pt x="163" y="194"/>
                </a:lnTo>
                <a:lnTo>
                  <a:pt x="162" y="169"/>
                </a:lnTo>
                <a:lnTo>
                  <a:pt x="159" y="148"/>
                </a:lnTo>
                <a:lnTo>
                  <a:pt x="155" y="129"/>
                </a:lnTo>
                <a:lnTo>
                  <a:pt x="151" y="113"/>
                </a:lnTo>
                <a:lnTo>
                  <a:pt x="143" y="98"/>
                </a:lnTo>
                <a:lnTo>
                  <a:pt x="140" y="92"/>
                </a:lnTo>
                <a:lnTo>
                  <a:pt x="136" y="86"/>
                </a:lnTo>
                <a:lnTo>
                  <a:pt x="131" y="81"/>
                </a:lnTo>
                <a:lnTo>
                  <a:pt x="126" y="77"/>
                </a:lnTo>
                <a:lnTo>
                  <a:pt x="121" y="73"/>
                </a:lnTo>
                <a:lnTo>
                  <a:pt x="115" y="69"/>
                </a:lnTo>
                <a:lnTo>
                  <a:pt x="102" y="63"/>
                </a:lnTo>
                <a:lnTo>
                  <a:pt x="86" y="58"/>
                </a:lnTo>
                <a:lnTo>
                  <a:pt x="69" y="54"/>
                </a:lnTo>
                <a:lnTo>
                  <a:pt x="48" y="51"/>
                </a:lnTo>
                <a:lnTo>
                  <a:pt x="26" y="50"/>
                </a:lnTo>
                <a:lnTo>
                  <a:pt x="0" y="50"/>
                </a:lnTo>
                <a:lnTo>
                  <a:pt x="0" y="0"/>
                </a:lnTo>
                <a:lnTo>
                  <a:pt x="545" y="0"/>
                </a:lnTo>
                <a:lnTo>
                  <a:pt x="545" y="50"/>
                </a:lnTo>
                <a:lnTo>
                  <a:pt x="545" y="50"/>
                </a:lnTo>
                <a:lnTo>
                  <a:pt x="520" y="50"/>
                </a:lnTo>
                <a:lnTo>
                  <a:pt x="497" y="51"/>
                </a:lnTo>
                <a:lnTo>
                  <a:pt x="477" y="54"/>
                </a:lnTo>
                <a:lnTo>
                  <a:pt x="459" y="58"/>
                </a:lnTo>
                <a:lnTo>
                  <a:pt x="444" y="63"/>
                </a:lnTo>
                <a:lnTo>
                  <a:pt x="430" y="69"/>
                </a:lnTo>
                <a:lnTo>
                  <a:pt x="425" y="73"/>
                </a:lnTo>
                <a:lnTo>
                  <a:pt x="418" y="77"/>
                </a:lnTo>
                <a:lnTo>
                  <a:pt x="413" y="81"/>
                </a:lnTo>
                <a:lnTo>
                  <a:pt x="409" y="86"/>
                </a:lnTo>
                <a:lnTo>
                  <a:pt x="405" y="92"/>
                </a:lnTo>
                <a:lnTo>
                  <a:pt x="401" y="98"/>
                </a:lnTo>
                <a:lnTo>
                  <a:pt x="395" y="113"/>
                </a:lnTo>
                <a:lnTo>
                  <a:pt x="390" y="129"/>
                </a:lnTo>
                <a:lnTo>
                  <a:pt x="386" y="148"/>
                </a:lnTo>
                <a:lnTo>
                  <a:pt x="383" y="169"/>
                </a:lnTo>
                <a:lnTo>
                  <a:pt x="381" y="194"/>
                </a:lnTo>
                <a:lnTo>
                  <a:pt x="380" y="221"/>
                </a:lnTo>
                <a:lnTo>
                  <a:pt x="380" y="252"/>
                </a:lnTo>
                <a:lnTo>
                  <a:pt x="380" y="783"/>
                </a:lnTo>
                <a:lnTo>
                  <a:pt x="380" y="783"/>
                </a:lnTo>
                <a:lnTo>
                  <a:pt x="380" y="814"/>
                </a:lnTo>
                <a:lnTo>
                  <a:pt x="381" y="842"/>
                </a:lnTo>
                <a:lnTo>
                  <a:pt x="383" y="866"/>
                </a:lnTo>
                <a:lnTo>
                  <a:pt x="386" y="888"/>
                </a:lnTo>
                <a:lnTo>
                  <a:pt x="390" y="906"/>
                </a:lnTo>
                <a:lnTo>
                  <a:pt x="395" y="923"/>
                </a:lnTo>
                <a:lnTo>
                  <a:pt x="401" y="937"/>
                </a:lnTo>
                <a:lnTo>
                  <a:pt x="405" y="943"/>
                </a:lnTo>
                <a:lnTo>
                  <a:pt x="409" y="949"/>
                </a:lnTo>
                <a:lnTo>
                  <a:pt x="413" y="954"/>
                </a:lnTo>
                <a:lnTo>
                  <a:pt x="418" y="958"/>
                </a:lnTo>
                <a:lnTo>
                  <a:pt x="425" y="963"/>
                </a:lnTo>
                <a:lnTo>
                  <a:pt x="430" y="966"/>
                </a:lnTo>
                <a:lnTo>
                  <a:pt x="444" y="973"/>
                </a:lnTo>
                <a:lnTo>
                  <a:pt x="459" y="978"/>
                </a:lnTo>
                <a:lnTo>
                  <a:pt x="477" y="982"/>
                </a:lnTo>
                <a:lnTo>
                  <a:pt x="497" y="984"/>
                </a:lnTo>
                <a:lnTo>
                  <a:pt x="520" y="985"/>
                </a:lnTo>
                <a:lnTo>
                  <a:pt x="545" y="985"/>
                </a:lnTo>
                <a:lnTo>
                  <a:pt x="545" y="1035"/>
                </a:lnTo>
                <a:lnTo>
                  <a:pt x="0" y="1035"/>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59" name="Freeform 10">
            <a:extLst>
              <a:ext uri="{FF2B5EF4-FFF2-40B4-BE49-F238E27FC236}">
                <a16:creationId xmlns:a16="http://schemas.microsoft.com/office/drawing/2014/main" id="{3D333A13-76A2-BF4F-8FFB-06086F336512}"/>
              </a:ext>
            </a:extLst>
          </p:cNvPr>
          <p:cNvSpPr>
            <a:spLocks noEditPoints="1"/>
          </p:cNvSpPr>
          <p:nvPr userDrawn="1"/>
        </p:nvSpPr>
        <p:spPr bwMode="auto">
          <a:xfrm>
            <a:off x="2260601" y="890590"/>
            <a:ext cx="152400" cy="144463"/>
          </a:xfrm>
          <a:custGeom>
            <a:avLst/>
            <a:gdLst>
              <a:gd name="T0" fmla="*/ 489 w 1152"/>
              <a:gd name="T1" fmla="*/ 1087 h 1094"/>
              <a:gd name="T2" fmla="*/ 353 w 1152"/>
              <a:gd name="T3" fmla="*/ 1051 h 1094"/>
              <a:gd name="T4" fmla="*/ 232 w 1152"/>
              <a:gd name="T5" fmla="*/ 984 h 1094"/>
              <a:gd name="T6" fmla="*/ 132 w 1152"/>
              <a:gd name="T7" fmla="*/ 894 h 1094"/>
              <a:gd name="T8" fmla="*/ 57 w 1152"/>
              <a:gd name="T9" fmla="*/ 783 h 1094"/>
              <a:gd name="T10" fmla="*/ 12 w 1152"/>
              <a:gd name="T11" fmla="*/ 656 h 1094"/>
              <a:gd name="T12" fmla="*/ 0 w 1152"/>
              <a:gd name="T13" fmla="*/ 547 h 1094"/>
              <a:gd name="T14" fmla="*/ 19 w 1152"/>
              <a:gd name="T15" fmla="*/ 411 h 1094"/>
              <a:gd name="T16" fmla="*/ 70 w 1152"/>
              <a:gd name="T17" fmla="*/ 287 h 1094"/>
              <a:gd name="T18" fmla="*/ 151 w 1152"/>
              <a:gd name="T19" fmla="*/ 180 h 1094"/>
              <a:gd name="T20" fmla="*/ 255 w 1152"/>
              <a:gd name="T21" fmla="*/ 94 h 1094"/>
              <a:gd name="T22" fmla="*/ 379 w 1152"/>
              <a:gd name="T23" fmla="*/ 33 h 1094"/>
              <a:gd name="T24" fmla="*/ 518 w 1152"/>
              <a:gd name="T25" fmla="*/ 3 h 1094"/>
              <a:gd name="T26" fmla="*/ 635 w 1152"/>
              <a:gd name="T27" fmla="*/ 3 h 1094"/>
              <a:gd name="T28" fmla="*/ 773 w 1152"/>
              <a:gd name="T29" fmla="*/ 33 h 1094"/>
              <a:gd name="T30" fmla="*/ 897 w 1152"/>
              <a:gd name="T31" fmla="*/ 94 h 1094"/>
              <a:gd name="T32" fmla="*/ 1001 w 1152"/>
              <a:gd name="T33" fmla="*/ 180 h 1094"/>
              <a:gd name="T34" fmla="*/ 1082 w 1152"/>
              <a:gd name="T35" fmla="*/ 287 h 1094"/>
              <a:gd name="T36" fmla="*/ 1133 w 1152"/>
              <a:gd name="T37" fmla="*/ 411 h 1094"/>
              <a:gd name="T38" fmla="*/ 1152 w 1152"/>
              <a:gd name="T39" fmla="*/ 547 h 1094"/>
              <a:gd name="T40" fmla="*/ 1139 w 1152"/>
              <a:gd name="T41" fmla="*/ 656 h 1094"/>
              <a:gd name="T42" fmla="*/ 1094 w 1152"/>
              <a:gd name="T43" fmla="*/ 783 h 1094"/>
              <a:gd name="T44" fmla="*/ 1020 w 1152"/>
              <a:gd name="T45" fmla="*/ 894 h 1094"/>
              <a:gd name="T46" fmla="*/ 919 w 1152"/>
              <a:gd name="T47" fmla="*/ 984 h 1094"/>
              <a:gd name="T48" fmla="*/ 800 w 1152"/>
              <a:gd name="T49" fmla="*/ 1051 h 1094"/>
              <a:gd name="T50" fmla="*/ 664 w 1152"/>
              <a:gd name="T51" fmla="*/ 1087 h 1094"/>
              <a:gd name="T52" fmla="*/ 577 w 1152"/>
              <a:gd name="T53" fmla="*/ 82 h 1094"/>
              <a:gd name="T54" fmla="*/ 492 w 1152"/>
              <a:gd name="T55" fmla="*/ 94 h 1094"/>
              <a:gd name="T56" fmla="*/ 404 w 1152"/>
              <a:gd name="T57" fmla="*/ 137 h 1094"/>
              <a:gd name="T58" fmla="*/ 336 w 1152"/>
              <a:gd name="T59" fmla="*/ 204 h 1094"/>
              <a:gd name="T60" fmla="*/ 285 w 1152"/>
              <a:gd name="T61" fmla="*/ 290 h 1094"/>
              <a:gd name="T62" fmla="*/ 253 w 1152"/>
              <a:gd name="T63" fmla="*/ 386 h 1094"/>
              <a:gd name="T64" fmla="*/ 234 w 1152"/>
              <a:gd name="T65" fmla="*/ 507 h 1094"/>
              <a:gd name="T66" fmla="*/ 240 w 1152"/>
              <a:gd name="T67" fmla="*/ 647 h 1094"/>
              <a:gd name="T68" fmla="*/ 264 w 1152"/>
              <a:gd name="T69" fmla="*/ 747 h 1094"/>
              <a:gd name="T70" fmla="*/ 303 w 1152"/>
              <a:gd name="T71" fmla="*/ 840 h 1094"/>
              <a:gd name="T72" fmla="*/ 360 w 1152"/>
              <a:gd name="T73" fmla="*/ 919 h 1094"/>
              <a:gd name="T74" fmla="*/ 437 w 1152"/>
              <a:gd name="T75" fmla="*/ 977 h 1094"/>
              <a:gd name="T76" fmla="*/ 533 w 1152"/>
              <a:gd name="T77" fmla="*/ 1008 h 1094"/>
              <a:gd name="T78" fmla="*/ 621 w 1152"/>
              <a:gd name="T79" fmla="*/ 1008 h 1094"/>
              <a:gd name="T80" fmla="*/ 716 w 1152"/>
              <a:gd name="T81" fmla="*/ 977 h 1094"/>
              <a:gd name="T82" fmla="*/ 793 w 1152"/>
              <a:gd name="T83" fmla="*/ 919 h 1094"/>
              <a:gd name="T84" fmla="*/ 850 w 1152"/>
              <a:gd name="T85" fmla="*/ 840 h 1094"/>
              <a:gd name="T86" fmla="*/ 890 w 1152"/>
              <a:gd name="T87" fmla="*/ 747 h 1094"/>
              <a:gd name="T88" fmla="*/ 912 w 1152"/>
              <a:gd name="T89" fmla="*/ 647 h 1094"/>
              <a:gd name="T90" fmla="*/ 918 w 1152"/>
              <a:gd name="T91" fmla="*/ 507 h 1094"/>
              <a:gd name="T92" fmla="*/ 901 w 1152"/>
              <a:gd name="T93" fmla="*/ 386 h 1094"/>
              <a:gd name="T94" fmla="*/ 867 w 1152"/>
              <a:gd name="T95" fmla="*/ 290 h 1094"/>
              <a:gd name="T96" fmla="*/ 817 w 1152"/>
              <a:gd name="T97" fmla="*/ 204 h 1094"/>
              <a:gd name="T98" fmla="*/ 749 w 1152"/>
              <a:gd name="T99" fmla="*/ 137 h 1094"/>
              <a:gd name="T100" fmla="*/ 662 w 1152"/>
              <a:gd name="T101" fmla="*/ 94 h 1094"/>
              <a:gd name="T102" fmla="*/ 577 w 1152"/>
              <a:gd name="T103" fmla="*/ 82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52" h="1094">
                <a:moveTo>
                  <a:pt x="577" y="1094"/>
                </a:moveTo>
                <a:lnTo>
                  <a:pt x="577" y="1094"/>
                </a:lnTo>
                <a:lnTo>
                  <a:pt x="547" y="1093"/>
                </a:lnTo>
                <a:lnTo>
                  <a:pt x="518" y="1091"/>
                </a:lnTo>
                <a:lnTo>
                  <a:pt x="489" y="1087"/>
                </a:lnTo>
                <a:lnTo>
                  <a:pt x="460" y="1082"/>
                </a:lnTo>
                <a:lnTo>
                  <a:pt x="433" y="1076"/>
                </a:lnTo>
                <a:lnTo>
                  <a:pt x="406" y="1069"/>
                </a:lnTo>
                <a:lnTo>
                  <a:pt x="379" y="1060"/>
                </a:lnTo>
                <a:lnTo>
                  <a:pt x="353" y="1051"/>
                </a:lnTo>
                <a:lnTo>
                  <a:pt x="327" y="1039"/>
                </a:lnTo>
                <a:lnTo>
                  <a:pt x="303" y="1027"/>
                </a:lnTo>
                <a:lnTo>
                  <a:pt x="278" y="1014"/>
                </a:lnTo>
                <a:lnTo>
                  <a:pt x="255" y="1000"/>
                </a:lnTo>
                <a:lnTo>
                  <a:pt x="232" y="984"/>
                </a:lnTo>
                <a:lnTo>
                  <a:pt x="211" y="968"/>
                </a:lnTo>
                <a:lnTo>
                  <a:pt x="189" y="950"/>
                </a:lnTo>
                <a:lnTo>
                  <a:pt x="170" y="933"/>
                </a:lnTo>
                <a:lnTo>
                  <a:pt x="151" y="914"/>
                </a:lnTo>
                <a:lnTo>
                  <a:pt x="132" y="894"/>
                </a:lnTo>
                <a:lnTo>
                  <a:pt x="115" y="873"/>
                </a:lnTo>
                <a:lnTo>
                  <a:pt x="99" y="851"/>
                </a:lnTo>
                <a:lnTo>
                  <a:pt x="84" y="830"/>
                </a:lnTo>
                <a:lnTo>
                  <a:pt x="70" y="806"/>
                </a:lnTo>
                <a:lnTo>
                  <a:pt x="57" y="783"/>
                </a:lnTo>
                <a:lnTo>
                  <a:pt x="46" y="758"/>
                </a:lnTo>
                <a:lnTo>
                  <a:pt x="36" y="734"/>
                </a:lnTo>
                <a:lnTo>
                  <a:pt x="27" y="708"/>
                </a:lnTo>
                <a:lnTo>
                  <a:pt x="19" y="683"/>
                </a:lnTo>
                <a:lnTo>
                  <a:pt x="12" y="656"/>
                </a:lnTo>
                <a:lnTo>
                  <a:pt x="7" y="629"/>
                </a:lnTo>
                <a:lnTo>
                  <a:pt x="3" y="602"/>
                </a:lnTo>
                <a:lnTo>
                  <a:pt x="1" y="574"/>
                </a:lnTo>
                <a:lnTo>
                  <a:pt x="0" y="547"/>
                </a:lnTo>
                <a:lnTo>
                  <a:pt x="0" y="547"/>
                </a:lnTo>
                <a:lnTo>
                  <a:pt x="1" y="519"/>
                </a:lnTo>
                <a:lnTo>
                  <a:pt x="3" y="491"/>
                </a:lnTo>
                <a:lnTo>
                  <a:pt x="7" y="464"/>
                </a:lnTo>
                <a:lnTo>
                  <a:pt x="12" y="437"/>
                </a:lnTo>
                <a:lnTo>
                  <a:pt x="19" y="411"/>
                </a:lnTo>
                <a:lnTo>
                  <a:pt x="27" y="385"/>
                </a:lnTo>
                <a:lnTo>
                  <a:pt x="36" y="360"/>
                </a:lnTo>
                <a:lnTo>
                  <a:pt x="46" y="335"/>
                </a:lnTo>
                <a:lnTo>
                  <a:pt x="57" y="310"/>
                </a:lnTo>
                <a:lnTo>
                  <a:pt x="70" y="287"/>
                </a:lnTo>
                <a:lnTo>
                  <a:pt x="84" y="264"/>
                </a:lnTo>
                <a:lnTo>
                  <a:pt x="99" y="242"/>
                </a:lnTo>
                <a:lnTo>
                  <a:pt x="115" y="220"/>
                </a:lnTo>
                <a:lnTo>
                  <a:pt x="132" y="200"/>
                </a:lnTo>
                <a:lnTo>
                  <a:pt x="151" y="180"/>
                </a:lnTo>
                <a:lnTo>
                  <a:pt x="170" y="161"/>
                </a:lnTo>
                <a:lnTo>
                  <a:pt x="189" y="143"/>
                </a:lnTo>
                <a:lnTo>
                  <a:pt x="211" y="125"/>
                </a:lnTo>
                <a:lnTo>
                  <a:pt x="232" y="109"/>
                </a:lnTo>
                <a:lnTo>
                  <a:pt x="255" y="94"/>
                </a:lnTo>
                <a:lnTo>
                  <a:pt x="278" y="79"/>
                </a:lnTo>
                <a:lnTo>
                  <a:pt x="303" y="66"/>
                </a:lnTo>
                <a:lnTo>
                  <a:pt x="327" y="54"/>
                </a:lnTo>
                <a:lnTo>
                  <a:pt x="353" y="44"/>
                </a:lnTo>
                <a:lnTo>
                  <a:pt x="379" y="33"/>
                </a:lnTo>
                <a:lnTo>
                  <a:pt x="406" y="24"/>
                </a:lnTo>
                <a:lnTo>
                  <a:pt x="433" y="17"/>
                </a:lnTo>
                <a:lnTo>
                  <a:pt x="460" y="11"/>
                </a:lnTo>
                <a:lnTo>
                  <a:pt x="489" y="6"/>
                </a:lnTo>
                <a:lnTo>
                  <a:pt x="518" y="3"/>
                </a:lnTo>
                <a:lnTo>
                  <a:pt x="547" y="1"/>
                </a:lnTo>
                <a:lnTo>
                  <a:pt x="577" y="0"/>
                </a:lnTo>
                <a:lnTo>
                  <a:pt x="577" y="0"/>
                </a:lnTo>
                <a:lnTo>
                  <a:pt x="607" y="1"/>
                </a:lnTo>
                <a:lnTo>
                  <a:pt x="635" y="3"/>
                </a:lnTo>
                <a:lnTo>
                  <a:pt x="664" y="6"/>
                </a:lnTo>
                <a:lnTo>
                  <a:pt x="692" y="11"/>
                </a:lnTo>
                <a:lnTo>
                  <a:pt x="720" y="17"/>
                </a:lnTo>
                <a:lnTo>
                  <a:pt x="747" y="24"/>
                </a:lnTo>
                <a:lnTo>
                  <a:pt x="773" y="33"/>
                </a:lnTo>
                <a:lnTo>
                  <a:pt x="800" y="44"/>
                </a:lnTo>
                <a:lnTo>
                  <a:pt x="825" y="54"/>
                </a:lnTo>
                <a:lnTo>
                  <a:pt x="850" y="66"/>
                </a:lnTo>
                <a:lnTo>
                  <a:pt x="873" y="79"/>
                </a:lnTo>
                <a:lnTo>
                  <a:pt x="897" y="94"/>
                </a:lnTo>
                <a:lnTo>
                  <a:pt x="919" y="109"/>
                </a:lnTo>
                <a:lnTo>
                  <a:pt x="942" y="125"/>
                </a:lnTo>
                <a:lnTo>
                  <a:pt x="962" y="143"/>
                </a:lnTo>
                <a:lnTo>
                  <a:pt x="983" y="161"/>
                </a:lnTo>
                <a:lnTo>
                  <a:pt x="1001" y="180"/>
                </a:lnTo>
                <a:lnTo>
                  <a:pt x="1020" y="200"/>
                </a:lnTo>
                <a:lnTo>
                  <a:pt x="1037" y="220"/>
                </a:lnTo>
                <a:lnTo>
                  <a:pt x="1052" y="242"/>
                </a:lnTo>
                <a:lnTo>
                  <a:pt x="1068" y="264"/>
                </a:lnTo>
                <a:lnTo>
                  <a:pt x="1082" y="287"/>
                </a:lnTo>
                <a:lnTo>
                  <a:pt x="1094" y="310"/>
                </a:lnTo>
                <a:lnTo>
                  <a:pt x="1106" y="335"/>
                </a:lnTo>
                <a:lnTo>
                  <a:pt x="1116" y="360"/>
                </a:lnTo>
                <a:lnTo>
                  <a:pt x="1125" y="385"/>
                </a:lnTo>
                <a:lnTo>
                  <a:pt x="1133" y="411"/>
                </a:lnTo>
                <a:lnTo>
                  <a:pt x="1139" y="437"/>
                </a:lnTo>
                <a:lnTo>
                  <a:pt x="1144" y="464"/>
                </a:lnTo>
                <a:lnTo>
                  <a:pt x="1148" y="491"/>
                </a:lnTo>
                <a:lnTo>
                  <a:pt x="1151" y="519"/>
                </a:lnTo>
                <a:lnTo>
                  <a:pt x="1152" y="547"/>
                </a:lnTo>
                <a:lnTo>
                  <a:pt x="1152" y="547"/>
                </a:lnTo>
                <a:lnTo>
                  <a:pt x="1151" y="574"/>
                </a:lnTo>
                <a:lnTo>
                  <a:pt x="1148" y="602"/>
                </a:lnTo>
                <a:lnTo>
                  <a:pt x="1144" y="629"/>
                </a:lnTo>
                <a:lnTo>
                  <a:pt x="1139" y="656"/>
                </a:lnTo>
                <a:lnTo>
                  <a:pt x="1133" y="683"/>
                </a:lnTo>
                <a:lnTo>
                  <a:pt x="1125" y="708"/>
                </a:lnTo>
                <a:lnTo>
                  <a:pt x="1116" y="734"/>
                </a:lnTo>
                <a:lnTo>
                  <a:pt x="1106" y="758"/>
                </a:lnTo>
                <a:lnTo>
                  <a:pt x="1094" y="783"/>
                </a:lnTo>
                <a:lnTo>
                  <a:pt x="1082" y="806"/>
                </a:lnTo>
                <a:lnTo>
                  <a:pt x="1068" y="830"/>
                </a:lnTo>
                <a:lnTo>
                  <a:pt x="1052" y="851"/>
                </a:lnTo>
                <a:lnTo>
                  <a:pt x="1037" y="873"/>
                </a:lnTo>
                <a:lnTo>
                  <a:pt x="1020" y="894"/>
                </a:lnTo>
                <a:lnTo>
                  <a:pt x="1001" y="914"/>
                </a:lnTo>
                <a:lnTo>
                  <a:pt x="983" y="933"/>
                </a:lnTo>
                <a:lnTo>
                  <a:pt x="962" y="950"/>
                </a:lnTo>
                <a:lnTo>
                  <a:pt x="942" y="968"/>
                </a:lnTo>
                <a:lnTo>
                  <a:pt x="919" y="984"/>
                </a:lnTo>
                <a:lnTo>
                  <a:pt x="897" y="1000"/>
                </a:lnTo>
                <a:lnTo>
                  <a:pt x="873" y="1014"/>
                </a:lnTo>
                <a:lnTo>
                  <a:pt x="850" y="1027"/>
                </a:lnTo>
                <a:lnTo>
                  <a:pt x="825" y="1039"/>
                </a:lnTo>
                <a:lnTo>
                  <a:pt x="800" y="1051"/>
                </a:lnTo>
                <a:lnTo>
                  <a:pt x="773" y="1060"/>
                </a:lnTo>
                <a:lnTo>
                  <a:pt x="747" y="1069"/>
                </a:lnTo>
                <a:lnTo>
                  <a:pt x="720" y="1076"/>
                </a:lnTo>
                <a:lnTo>
                  <a:pt x="692" y="1082"/>
                </a:lnTo>
                <a:lnTo>
                  <a:pt x="664" y="1087"/>
                </a:lnTo>
                <a:lnTo>
                  <a:pt x="635" y="1091"/>
                </a:lnTo>
                <a:lnTo>
                  <a:pt x="607" y="1093"/>
                </a:lnTo>
                <a:lnTo>
                  <a:pt x="577" y="1094"/>
                </a:lnTo>
                <a:lnTo>
                  <a:pt x="577" y="1094"/>
                </a:lnTo>
                <a:close/>
                <a:moveTo>
                  <a:pt x="577" y="82"/>
                </a:moveTo>
                <a:lnTo>
                  <a:pt x="577" y="82"/>
                </a:lnTo>
                <a:lnTo>
                  <a:pt x="554" y="83"/>
                </a:lnTo>
                <a:lnTo>
                  <a:pt x="533" y="86"/>
                </a:lnTo>
                <a:lnTo>
                  <a:pt x="511" y="90"/>
                </a:lnTo>
                <a:lnTo>
                  <a:pt x="492" y="94"/>
                </a:lnTo>
                <a:lnTo>
                  <a:pt x="473" y="100"/>
                </a:lnTo>
                <a:lnTo>
                  <a:pt x="454" y="108"/>
                </a:lnTo>
                <a:lnTo>
                  <a:pt x="437" y="116"/>
                </a:lnTo>
                <a:lnTo>
                  <a:pt x="419" y="125"/>
                </a:lnTo>
                <a:lnTo>
                  <a:pt x="404" y="137"/>
                </a:lnTo>
                <a:lnTo>
                  <a:pt x="389" y="148"/>
                </a:lnTo>
                <a:lnTo>
                  <a:pt x="374" y="161"/>
                </a:lnTo>
                <a:lnTo>
                  <a:pt x="360" y="174"/>
                </a:lnTo>
                <a:lnTo>
                  <a:pt x="348" y="189"/>
                </a:lnTo>
                <a:lnTo>
                  <a:pt x="336" y="204"/>
                </a:lnTo>
                <a:lnTo>
                  <a:pt x="324" y="219"/>
                </a:lnTo>
                <a:lnTo>
                  <a:pt x="313" y="237"/>
                </a:lnTo>
                <a:lnTo>
                  <a:pt x="303" y="253"/>
                </a:lnTo>
                <a:lnTo>
                  <a:pt x="294" y="272"/>
                </a:lnTo>
                <a:lnTo>
                  <a:pt x="285" y="290"/>
                </a:lnTo>
                <a:lnTo>
                  <a:pt x="277" y="308"/>
                </a:lnTo>
                <a:lnTo>
                  <a:pt x="270" y="327"/>
                </a:lnTo>
                <a:lnTo>
                  <a:pt x="264" y="346"/>
                </a:lnTo>
                <a:lnTo>
                  <a:pt x="258" y="367"/>
                </a:lnTo>
                <a:lnTo>
                  <a:pt x="253" y="386"/>
                </a:lnTo>
                <a:lnTo>
                  <a:pt x="248" y="407"/>
                </a:lnTo>
                <a:lnTo>
                  <a:pt x="245" y="426"/>
                </a:lnTo>
                <a:lnTo>
                  <a:pt x="240" y="446"/>
                </a:lnTo>
                <a:lnTo>
                  <a:pt x="238" y="467"/>
                </a:lnTo>
                <a:lnTo>
                  <a:pt x="234" y="507"/>
                </a:lnTo>
                <a:lnTo>
                  <a:pt x="233" y="547"/>
                </a:lnTo>
                <a:lnTo>
                  <a:pt x="233" y="547"/>
                </a:lnTo>
                <a:lnTo>
                  <a:pt x="234" y="587"/>
                </a:lnTo>
                <a:lnTo>
                  <a:pt x="238" y="626"/>
                </a:lnTo>
                <a:lnTo>
                  <a:pt x="240" y="647"/>
                </a:lnTo>
                <a:lnTo>
                  <a:pt x="245" y="667"/>
                </a:lnTo>
                <a:lnTo>
                  <a:pt x="248" y="687"/>
                </a:lnTo>
                <a:lnTo>
                  <a:pt x="253" y="707"/>
                </a:lnTo>
                <a:lnTo>
                  <a:pt x="258" y="728"/>
                </a:lnTo>
                <a:lnTo>
                  <a:pt x="264" y="747"/>
                </a:lnTo>
                <a:lnTo>
                  <a:pt x="270" y="766"/>
                </a:lnTo>
                <a:lnTo>
                  <a:pt x="277" y="785"/>
                </a:lnTo>
                <a:lnTo>
                  <a:pt x="285" y="804"/>
                </a:lnTo>
                <a:lnTo>
                  <a:pt x="294" y="822"/>
                </a:lnTo>
                <a:lnTo>
                  <a:pt x="303" y="840"/>
                </a:lnTo>
                <a:lnTo>
                  <a:pt x="313" y="857"/>
                </a:lnTo>
                <a:lnTo>
                  <a:pt x="324" y="874"/>
                </a:lnTo>
                <a:lnTo>
                  <a:pt x="336" y="889"/>
                </a:lnTo>
                <a:lnTo>
                  <a:pt x="348" y="904"/>
                </a:lnTo>
                <a:lnTo>
                  <a:pt x="360" y="919"/>
                </a:lnTo>
                <a:lnTo>
                  <a:pt x="374" y="932"/>
                </a:lnTo>
                <a:lnTo>
                  <a:pt x="389" y="945"/>
                </a:lnTo>
                <a:lnTo>
                  <a:pt x="404" y="957"/>
                </a:lnTo>
                <a:lnTo>
                  <a:pt x="419" y="968"/>
                </a:lnTo>
                <a:lnTo>
                  <a:pt x="437" y="977"/>
                </a:lnTo>
                <a:lnTo>
                  <a:pt x="454" y="986"/>
                </a:lnTo>
                <a:lnTo>
                  <a:pt x="473" y="993"/>
                </a:lnTo>
                <a:lnTo>
                  <a:pt x="492" y="1000"/>
                </a:lnTo>
                <a:lnTo>
                  <a:pt x="511" y="1005"/>
                </a:lnTo>
                <a:lnTo>
                  <a:pt x="533" y="1008"/>
                </a:lnTo>
                <a:lnTo>
                  <a:pt x="554" y="1010"/>
                </a:lnTo>
                <a:lnTo>
                  <a:pt x="577" y="1011"/>
                </a:lnTo>
                <a:lnTo>
                  <a:pt x="577" y="1011"/>
                </a:lnTo>
                <a:lnTo>
                  <a:pt x="599" y="1010"/>
                </a:lnTo>
                <a:lnTo>
                  <a:pt x="621" y="1008"/>
                </a:lnTo>
                <a:lnTo>
                  <a:pt x="641" y="1005"/>
                </a:lnTo>
                <a:lnTo>
                  <a:pt x="662" y="1000"/>
                </a:lnTo>
                <a:lnTo>
                  <a:pt x="680" y="993"/>
                </a:lnTo>
                <a:lnTo>
                  <a:pt x="699" y="986"/>
                </a:lnTo>
                <a:lnTo>
                  <a:pt x="716" y="977"/>
                </a:lnTo>
                <a:lnTo>
                  <a:pt x="733" y="968"/>
                </a:lnTo>
                <a:lnTo>
                  <a:pt x="749" y="957"/>
                </a:lnTo>
                <a:lnTo>
                  <a:pt x="764" y="945"/>
                </a:lnTo>
                <a:lnTo>
                  <a:pt x="778" y="932"/>
                </a:lnTo>
                <a:lnTo>
                  <a:pt x="793" y="919"/>
                </a:lnTo>
                <a:lnTo>
                  <a:pt x="805" y="904"/>
                </a:lnTo>
                <a:lnTo>
                  <a:pt x="817" y="889"/>
                </a:lnTo>
                <a:lnTo>
                  <a:pt x="828" y="874"/>
                </a:lnTo>
                <a:lnTo>
                  <a:pt x="840" y="857"/>
                </a:lnTo>
                <a:lnTo>
                  <a:pt x="850" y="840"/>
                </a:lnTo>
                <a:lnTo>
                  <a:pt x="859" y="822"/>
                </a:lnTo>
                <a:lnTo>
                  <a:pt x="867" y="804"/>
                </a:lnTo>
                <a:lnTo>
                  <a:pt x="875" y="785"/>
                </a:lnTo>
                <a:lnTo>
                  <a:pt x="883" y="766"/>
                </a:lnTo>
                <a:lnTo>
                  <a:pt x="890" y="747"/>
                </a:lnTo>
                <a:lnTo>
                  <a:pt x="895" y="728"/>
                </a:lnTo>
                <a:lnTo>
                  <a:pt x="901" y="707"/>
                </a:lnTo>
                <a:lnTo>
                  <a:pt x="905" y="687"/>
                </a:lnTo>
                <a:lnTo>
                  <a:pt x="909" y="667"/>
                </a:lnTo>
                <a:lnTo>
                  <a:pt x="912" y="647"/>
                </a:lnTo>
                <a:lnTo>
                  <a:pt x="915" y="626"/>
                </a:lnTo>
                <a:lnTo>
                  <a:pt x="918" y="587"/>
                </a:lnTo>
                <a:lnTo>
                  <a:pt x="920" y="547"/>
                </a:lnTo>
                <a:lnTo>
                  <a:pt x="920" y="547"/>
                </a:lnTo>
                <a:lnTo>
                  <a:pt x="918" y="507"/>
                </a:lnTo>
                <a:lnTo>
                  <a:pt x="915" y="467"/>
                </a:lnTo>
                <a:lnTo>
                  <a:pt x="912" y="446"/>
                </a:lnTo>
                <a:lnTo>
                  <a:pt x="909" y="426"/>
                </a:lnTo>
                <a:lnTo>
                  <a:pt x="905" y="407"/>
                </a:lnTo>
                <a:lnTo>
                  <a:pt x="901" y="386"/>
                </a:lnTo>
                <a:lnTo>
                  <a:pt x="895" y="367"/>
                </a:lnTo>
                <a:lnTo>
                  <a:pt x="890" y="346"/>
                </a:lnTo>
                <a:lnTo>
                  <a:pt x="883" y="327"/>
                </a:lnTo>
                <a:lnTo>
                  <a:pt x="875" y="308"/>
                </a:lnTo>
                <a:lnTo>
                  <a:pt x="867" y="290"/>
                </a:lnTo>
                <a:lnTo>
                  <a:pt x="859" y="272"/>
                </a:lnTo>
                <a:lnTo>
                  <a:pt x="850" y="253"/>
                </a:lnTo>
                <a:lnTo>
                  <a:pt x="840" y="237"/>
                </a:lnTo>
                <a:lnTo>
                  <a:pt x="828" y="219"/>
                </a:lnTo>
                <a:lnTo>
                  <a:pt x="817" y="204"/>
                </a:lnTo>
                <a:lnTo>
                  <a:pt x="805" y="189"/>
                </a:lnTo>
                <a:lnTo>
                  <a:pt x="793" y="174"/>
                </a:lnTo>
                <a:lnTo>
                  <a:pt x="778" y="161"/>
                </a:lnTo>
                <a:lnTo>
                  <a:pt x="764" y="148"/>
                </a:lnTo>
                <a:lnTo>
                  <a:pt x="749" y="137"/>
                </a:lnTo>
                <a:lnTo>
                  <a:pt x="733" y="125"/>
                </a:lnTo>
                <a:lnTo>
                  <a:pt x="716" y="116"/>
                </a:lnTo>
                <a:lnTo>
                  <a:pt x="699" y="108"/>
                </a:lnTo>
                <a:lnTo>
                  <a:pt x="680" y="100"/>
                </a:lnTo>
                <a:lnTo>
                  <a:pt x="662" y="94"/>
                </a:lnTo>
                <a:lnTo>
                  <a:pt x="641" y="90"/>
                </a:lnTo>
                <a:lnTo>
                  <a:pt x="621" y="86"/>
                </a:lnTo>
                <a:lnTo>
                  <a:pt x="599" y="83"/>
                </a:lnTo>
                <a:lnTo>
                  <a:pt x="577" y="82"/>
                </a:lnTo>
                <a:lnTo>
                  <a:pt x="577" y="82"/>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60" name="Freeform 11">
            <a:extLst>
              <a:ext uri="{FF2B5EF4-FFF2-40B4-BE49-F238E27FC236}">
                <a16:creationId xmlns:a16="http://schemas.microsoft.com/office/drawing/2014/main" id="{005AF851-6FDD-2A46-B43C-A5A3736B10A1}"/>
              </a:ext>
            </a:extLst>
          </p:cNvPr>
          <p:cNvSpPr>
            <a:spLocks/>
          </p:cNvSpPr>
          <p:nvPr userDrawn="1"/>
        </p:nvSpPr>
        <p:spPr bwMode="auto">
          <a:xfrm>
            <a:off x="2447928" y="893763"/>
            <a:ext cx="155575" cy="141288"/>
          </a:xfrm>
          <a:custGeom>
            <a:avLst/>
            <a:gdLst>
              <a:gd name="T0" fmla="*/ 922 w 1165"/>
              <a:gd name="T1" fmla="*/ 252 h 1065"/>
              <a:gd name="T2" fmla="*/ 921 w 1165"/>
              <a:gd name="T3" fmla="*/ 194 h 1065"/>
              <a:gd name="T4" fmla="*/ 916 w 1165"/>
              <a:gd name="T5" fmla="*/ 148 h 1065"/>
              <a:gd name="T6" fmla="*/ 906 w 1165"/>
              <a:gd name="T7" fmla="*/ 113 h 1065"/>
              <a:gd name="T8" fmla="*/ 896 w 1165"/>
              <a:gd name="T9" fmla="*/ 92 h 1065"/>
              <a:gd name="T10" fmla="*/ 888 w 1165"/>
              <a:gd name="T11" fmla="*/ 81 h 1065"/>
              <a:gd name="T12" fmla="*/ 877 w 1165"/>
              <a:gd name="T13" fmla="*/ 73 h 1065"/>
              <a:gd name="T14" fmla="*/ 857 w 1165"/>
              <a:gd name="T15" fmla="*/ 63 h 1065"/>
              <a:gd name="T16" fmla="*/ 825 w 1165"/>
              <a:gd name="T17" fmla="*/ 54 h 1065"/>
              <a:gd name="T18" fmla="*/ 782 w 1165"/>
              <a:gd name="T19" fmla="*/ 50 h 1065"/>
              <a:gd name="T20" fmla="*/ 756 w 1165"/>
              <a:gd name="T21" fmla="*/ 0 h 1065"/>
              <a:gd name="T22" fmla="*/ 1165 w 1165"/>
              <a:gd name="T23" fmla="*/ 50 h 1065"/>
              <a:gd name="T24" fmla="*/ 1139 w 1165"/>
              <a:gd name="T25" fmla="*/ 50 h 1065"/>
              <a:gd name="T26" fmla="*/ 1096 w 1165"/>
              <a:gd name="T27" fmla="*/ 54 h 1065"/>
              <a:gd name="T28" fmla="*/ 1062 w 1165"/>
              <a:gd name="T29" fmla="*/ 63 h 1065"/>
              <a:gd name="T30" fmla="*/ 1042 w 1165"/>
              <a:gd name="T31" fmla="*/ 73 h 1065"/>
              <a:gd name="T32" fmla="*/ 1032 w 1165"/>
              <a:gd name="T33" fmla="*/ 81 h 1065"/>
              <a:gd name="T34" fmla="*/ 1023 w 1165"/>
              <a:gd name="T35" fmla="*/ 92 h 1065"/>
              <a:gd name="T36" fmla="*/ 1014 w 1165"/>
              <a:gd name="T37" fmla="*/ 113 h 1065"/>
              <a:gd name="T38" fmla="*/ 1005 w 1165"/>
              <a:gd name="T39" fmla="*/ 148 h 1065"/>
              <a:gd name="T40" fmla="*/ 1000 w 1165"/>
              <a:gd name="T41" fmla="*/ 194 h 1065"/>
              <a:gd name="T42" fmla="*/ 999 w 1165"/>
              <a:gd name="T43" fmla="*/ 252 h 1065"/>
              <a:gd name="T44" fmla="*/ 955 w 1165"/>
              <a:gd name="T45" fmla="*/ 1065 h 1065"/>
              <a:gd name="T46" fmla="*/ 242 w 1165"/>
              <a:gd name="T47" fmla="*/ 783 h 1065"/>
              <a:gd name="T48" fmla="*/ 242 w 1165"/>
              <a:gd name="T49" fmla="*/ 814 h 1065"/>
              <a:gd name="T50" fmla="*/ 245 w 1165"/>
              <a:gd name="T51" fmla="*/ 866 h 1065"/>
              <a:gd name="T52" fmla="*/ 251 w 1165"/>
              <a:gd name="T53" fmla="*/ 906 h 1065"/>
              <a:gd name="T54" fmla="*/ 263 w 1165"/>
              <a:gd name="T55" fmla="*/ 937 h 1065"/>
              <a:gd name="T56" fmla="*/ 271 w 1165"/>
              <a:gd name="T57" fmla="*/ 949 h 1065"/>
              <a:gd name="T58" fmla="*/ 281 w 1165"/>
              <a:gd name="T59" fmla="*/ 958 h 1065"/>
              <a:gd name="T60" fmla="*/ 292 w 1165"/>
              <a:gd name="T61" fmla="*/ 966 h 1065"/>
              <a:gd name="T62" fmla="*/ 322 w 1165"/>
              <a:gd name="T63" fmla="*/ 978 h 1065"/>
              <a:gd name="T64" fmla="*/ 359 w 1165"/>
              <a:gd name="T65" fmla="*/ 984 h 1065"/>
              <a:gd name="T66" fmla="*/ 407 w 1165"/>
              <a:gd name="T67" fmla="*/ 985 h 1065"/>
              <a:gd name="T68" fmla="*/ 0 w 1165"/>
              <a:gd name="T69" fmla="*/ 1035 h 1065"/>
              <a:gd name="T70" fmla="*/ 0 w 1165"/>
              <a:gd name="T71" fmla="*/ 985 h 1065"/>
              <a:gd name="T72" fmla="*/ 49 w 1165"/>
              <a:gd name="T73" fmla="*/ 984 h 1065"/>
              <a:gd name="T74" fmla="*/ 86 w 1165"/>
              <a:gd name="T75" fmla="*/ 978 h 1065"/>
              <a:gd name="T76" fmla="*/ 115 w 1165"/>
              <a:gd name="T77" fmla="*/ 966 h 1065"/>
              <a:gd name="T78" fmla="*/ 126 w 1165"/>
              <a:gd name="T79" fmla="*/ 958 h 1065"/>
              <a:gd name="T80" fmla="*/ 135 w 1165"/>
              <a:gd name="T81" fmla="*/ 949 h 1065"/>
              <a:gd name="T82" fmla="*/ 144 w 1165"/>
              <a:gd name="T83" fmla="*/ 937 h 1065"/>
              <a:gd name="T84" fmla="*/ 155 w 1165"/>
              <a:gd name="T85" fmla="*/ 906 h 1065"/>
              <a:gd name="T86" fmla="*/ 161 w 1165"/>
              <a:gd name="T87" fmla="*/ 866 h 1065"/>
              <a:gd name="T88" fmla="*/ 164 w 1165"/>
              <a:gd name="T89" fmla="*/ 814 h 1065"/>
              <a:gd name="T90" fmla="*/ 164 w 1165"/>
              <a:gd name="T91" fmla="*/ 252 h 1065"/>
              <a:gd name="T92" fmla="*/ 164 w 1165"/>
              <a:gd name="T93" fmla="*/ 221 h 1065"/>
              <a:gd name="T94" fmla="*/ 161 w 1165"/>
              <a:gd name="T95" fmla="*/ 169 h 1065"/>
              <a:gd name="T96" fmla="*/ 155 w 1165"/>
              <a:gd name="T97" fmla="*/ 129 h 1065"/>
              <a:gd name="T98" fmla="*/ 144 w 1165"/>
              <a:gd name="T99" fmla="*/ 98 h 1065"/>
              <a:gd name="T100" fmla="*/ 135 w 1165"/>
              <a:gd name="T101" fmla="*/ 86 h 1065"/>
              <a:gd name="T102" fmla="*/ 126 w 1165"/>
              <a:gd name="T103" fmla="*/ 77 h 1065"/>
              <a:gd name="T104" fmla="*/ 115 w 1165"/>
              <a:gd name="T105" fmla="*/ 69 h 1065"/>
              <a:gd name="T106" fmla="*/ 86 w 1165"/>
              <a:gd name="T107" fmla="*/ 58 h 1065"/>
              <a:gd name="T108" fmla="*/ 49 w 1165"/>
              <a:gd name="T109" fmla="*/ 51 h 1065"/>
              <a:gd name="T110" fmla="*/ 0 w 1165"/>
              <a:gd name="T111" fmla="*/ 50 h 1065"/>
              <a:gd name="T112" fmla="*/ 345 w 1165"/>
              <a:gd name="T113" fmla="*/ 0 h 1065"/>
              <a:gd name="T114" fmla="*/ 922 w 1165"/>
              <a:gd name="T115" fmla="*/ 252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65" h="1065">
                <a:moveTo>
                  <a:pt x="922" y="252"/>
                </a:moveTo>
                <a:lnTo>
                  <a:pt x="922" y="252"/>
                </a:lnTo>
                <a:lnTo>
                  <a:pt x="921" y="221"/>
                </a:lnTo>
                <a:lnTo>
                  <a:pt x="921" y="194"/>
                </a:lnTo>
                <a:lnTo>
                  <a:pt x="919" y="169"/>
                </a:lnTo>
                <a:lnTo>
                  <a:pt x="916" y="148"/>
                </a:lnTo>
                <a:lnTo>
                  <a:pt x="912" y="129"/>
                </a:lnTo>
                <a:lnTo>
                  <a:pt x="906" y="113"/>
                </a:lnTo>
                <a:lnTo>
                  <a:pt x="900" y="98"/>
                </a:lnTo>
                <a:lnTo>
                  <a:pt x="896" y="92"/>
                </a:lnTo>
                <a:lnTo>
                  <a:pt x="892" y="86"/>
                </a:lnTo>
                <a:lnTo>
                  <a:pt x="888" y="81"/>
                </a:lnTo>
                <a:lnTo>
                  <a:pt x="883" y="77"/>
                </a:lnTo>
                <a:lnTo>
                  <a:pt x="877" y="73"/>
                </a:lnTo>
                <a:lnTo>
                  <a:pt x="872" y="69"/>
                </a:lnTo>
                <a:lnTo>
                  <a:pt x="857" y="63"/>
                </a:lnTo>
                <a:lnTo>
                  <a:pt x="842" y="58"/>
                </a:lnTo>
                <a:lnTo>
                  <a:pt x="825" y="54"/>
                </a:lnTo>
                <a:lnTo>
                  <a:pt x="804" y="51"/>
                </a:lnTo>
                <a:lnTo>
                  <a:pt x="782" y="50"/>
                </a:lnTo>
                <a:lnTo>
                  <a:pt x="756" y="50"/>
                </a:lnTo>
                <a:lnTo>
                  <a:pt x="756" y="0"/>
                </a:lnTo>
                <a:lnTo>
                  <a:pt x="1165" y="0"/>
                </a:lnTo>
                <a:lnTo>
                  <a:pt x="1165" y="50"/>
                </a:lnTo>
                <a:lnTo>
                  <a:pt x="1165" y="50"/>
                </a:lnTo>
                <a:lnTo>
                  <a:pt x="1139" y="50"/>
                </a:lnTo>
                <a:lnTo>
                  <a:pt x="1116" y="51"/>
                </a:lnTo>
                <a:lnTo>
                  <a:pt x="1096" y="54"/>
                </a:lnTo>
                <a:lnTo>
                  <a:pt x="1078" y="58"/>
                </a:lnTo>
                <a:lnTo>
                  <a:pt x="1062" y="63"/>
                </a:lnTo>
                <a:lnTo>
                  <a:pt x="1049" y="69"/>
                </a:lnTo>
                <a:lnTo>
                  <a:pt x="1042" y="73"/>
                </a:lnTo>
                <a:lnTo>
                  <a:pt x="1037" y="77"/>
                </a:lnTo>
                <a:lnTo>
                  <a:pt x="1032" y="81"/>
                </a:lnTo>
                <a:lnTo>
                  <a:pt x="1028" y="86"/>
                </a:lnTo>
                <a:lnTo>
                  <a:pt x="1023" y="92"/>
                </a:lnTo>
                <a:lnTo>
                  <a:pt x="1020" y="98"/>
                </a:lnTo>
                <a:lnTo>
                  <a:pt x="1014" y="113"/>
                </a:lnTo>
                <a:lnTo>
                  <a:pt x="1009" y="129"/>
                </a:lnTo>
                <a:lnTo>
                  <a:pt x="1005" y="148"/>
                </a:lnTo>
                <a:lnTo>
                  <a:pt x="1002" y="169"/>
                </a:lnTo>
                <a:lnTo>
                  <a:pt x="1000" y="194"/>
                </a:lnTo>
                <a:lnTo>
                  <a:pt x="999" y="221"/>
                </a:lnTo>
                <a:lnTo>
                  <a:pt x="999" y="252"/>
                </a:lnTo>
                <a:lnTo>
                  <a:pt x="999" y="1065"/>
                </a:lnTo>
                <a:lnTo>
                  <a:pt x="955" y="1065"/>
                </a:lnTo>
                <a:lnTo>
                  <a:pt x="242" y="212"/>
                </a:lnTo>
                <a:lnTo>
                  <a:pt x="242" y="783"/>
                </a:lnTo>
                <a:lnTo>
                  <a:pt x="242" y="783"/>
                </a:lnTo>
                <a:lnTo>
                  <a:pt x="242" y="814"/>
                </a:lnTo>
                <a:lnTo>
                  <a:pt x="243" y="842"/>
                </a:lnTo>
                <a:lnTo>
                  <a:pt x="245" y="866"/>
                </a:lnTo>
                <a:lnTo>
                  <a:pt x="248" y="888"/>
                </a:lnTo>
                <a:lnTo>
                  <a:pt x="251" y="906"/>
                </a:lnTo>
                <a:lnTo>
                  <a:pt x="256" y="923"/>
                </a:lnTo>
                <a:lnTo>
                  <a:pt x="263" y="937"/>
                </a:lnTo>
                <a:lnTo>
                  <a:pt x="266" y="943"/>
                </a:lnTo>
                <a:lnTo>
                  <a:pt x="271" y="949"/>
                </a:lnTo>
                <a:lnTo>
                  <a:pt x="276" y="954"/>
                </a:lnTo>
                <a:lnTo>
                  <a:pt x="281" y="958"/>
                </a:lnTo>
                <a:lnTo>
                  <a:pt x="286" y="963"/>
                </a:lnTo>
                <a:lnTo>
                  <a:pt x="292" y="966"/>
                </a:lnTo>
                <a:lnTo>
                  <a:pt x="305" y="973"/>
                </a:lnTo>
                <a:lnTo>
                  <a:pt x="322" y="978"/>
                </a:lnTo>
                <a:lnTo>
                  <a:pt x="339" y="982"/>
                </a:lnTo>
                <a:lnTo>
                  <a:pt x="359" y="984"/>
                </a:lnTo>
                <a:lnTo>
                  <a:pt x="382" y="985"/>
                </a:lnTo>
                <a:lnTo>
                  <a:pt x="407" y="985"/>
                </a:lnTo>
                <a:lnTo>
                  <a:pt x="407" y="1035"/>
                </a:lnTo>
                <a:lnTo>
                  <a:pt x="0" y="1035"/>
                </a:lnTo>
                <a:lnTo>
                  <a:pt x="0" y="985"/>
                </a:lnTo>
                <a:lnTo>
                  <a:pt x="0" y="985"/>
                </a:lnTo>
                <a:lnTo>
                  <a:pt x="26" y="985"/>
                </a:lnTo>
                <a:lnTo>
                  <a:pt x="49" y="984"/>
                </a:lnTo>
                <a:lnTo>
                  <a:pt x="69" y="982"/>
                </a:lnTo>
                <a:lnTo>
                  <a:pt x="86" y="978"/>
                </a:lnTo>
                <a:lnTo>
                  <a:pt x="102" y="973"/>
                </a:lnTo>
                <a:lnTo>
                  <a:pt x="115" y="966"/>
                </a:lnTo>
                <a:lnTo>
                  <a:pt x="121" y="963"/>
                </a:lnTo>
                <a:lnTo>
                  <a:pt x="126" y="958"/>
                </a:lnTo>
                <a:lnTo>
                  <a:pt x="131" y="954"/>
                </a:lnTo>
                <a:lnTo>
                  <a:pt x="135" y="949"/>
                </a:lnTo>
                <a:lnTo>
                  <a:pt x="141" y="943"/>
                </a:lnTo>
                <a:lnTo>
                  <a:pt x="144" y="937"/>
                </a:lnTo>
                <a:lnTo>
                  <a:pt x="150" y="923"/>
                </a:lnTo>
                <a:lnTo>
                  <a:pt x="155" y="906"/>
                </a:lnTo>
                <a:lnTo>
                  <a:pt x="159" y="888"/>
                </a:lnTo>
                <a:lnTo>
                  <a:pt x="161" y="866"/>
                </a:lnTo>
                <a:lnTo>
                  <a:pt x="163" y="842"/>
                </a:lnTo>
                <a:lnTo>
                  <a:pt x="164" y="814"/>
                </a:lnTo>
                <a:lnTo>
                  <a:pt x="164" y="783"/>
                </a:lnTo>
                <a:lnTo>
                  <a:pt x="164" y="252"/>
                </a:lnTo>
                <a:lnTo>
                  <a:pt x="164" y="252"/>
                </a:lnTo>
                <a:lnTo>
                  <a:pt x="164" y="221"/>
                </a:lnTo>
                <a:lnTo>
                  <a:pt x="163" y="194"/>
                </a:lnTo>
                <a:lnTo>
                  <a:pt x="161" y="169"/>
                </a:lnTo>
                <a:lnTo>
                  <a:pt x="159" y="148"/>
                </a:lnTo>
                <a:lnTo>
                  <a:pt x="155" y="129"/>
                </a:lnTo>
                <a:lnTo>
                  <a:pt x="150" y="113"/>
                </a:lnTo>
                <a:lnTo>
                  <a:pt x="144" y="98"/>
                </a:lnTo>
                <a:lnTo>
                  <a:pt x="141" y="92"/>
                </a:lnTo>
                <a:lnTo>
                  <a:pt x="135" y="86"/>
                </a:lnTo>
                <a:lnTo>
                  <a:pt x="131" y="81"/>
                </a:lnTo>
                <a:lnTo>
                  <a:pt x="126" y="77"/>
                </a:lnTo>
                <a:lnTo>
                  <a:pt x="121" y="73"/>
                </a:lnTo>
                <a:lnTo>
                  <a:pt x="115" y="69"/>
                </a:lnTo>
                <a:lnTo>
                  <a:pt x="102" y="63"/>
                </a:lnTo>
                <a:lnTo>
                  <a:pt x="86" y="58"/>
                </a:lnTo>
                <a:lnTo>
                  <a:pt x="69" y="54"/>
                </a:lnTo>
                <a:lnTo>
                  <a:pt x="49" y="51"/>
                </a:lnTo>
                <a:lnTo>
                  <a:pt x="26" y="50"/>
                </a:lnTo>
                <a:lnTo>
                  <a:pt x="0" y="50"/>
                </a:lnTo>
                <a:lnTo>
                  <a:pt x="0" y="0"/>
                </a:lnTo>
                <a:lnTo>
                  <a:pt x="345" y="0"/>
                </a:lnTo>
                <a:lnTo>
                  <a:pt x="922" y="686"/>
                </a:lnTo>
                <a:lnTo>
                  <a:pt x="922" y="252"/>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61" name="Freeform 12">
            <a:extLst>
              <a:ext uri="{FF2B5EF4-FFF2-40B4-BE49-F238E27FC236}">
                <a16:creationId xmlns:a16="http://schemas.microsoft.com/office/drawing/2014/main" id="{C4E87749-D64C-2547-9F7D-FD3F337B06D0}"/>
              </a:ext>
            </a:extLst>
          </p:cNvPr>
          <p:cNvSpPr>
            <a:spLocks/>
          </p:cNvSpPr>
          <p:nvPr userDrawn="1"/>
        </p:nvSpPr>
        <p:spPr bwMode="auto">
          <a:xfrm>
            <a:off x="2636838" y="893765"/>
            <a:ext cx="127000" cy="136525"/>
          </a:xfrm>
          <a:custGeom>
            <a:avLst/>
            <a:gdLst>
              <a:gd name="T0" fmla="*/ 25 w 959"/>
              <a:gd name="T1" fmla="*/ 985 h 1035"/>
              <a:gd name="T2" fmla="*/ 86 w 959"/>
              <a:gd name="T3" fmla="*/ 978 h 1035"/>
              <a:gd name="T4" fmla="*/ 120 w 959"/>
              <a:gd name="T5" fmla="*/ 963 h 1035"/>
              <a:gd name="T6" fmla="*/ 136 w 959"/>
              <a:gd name="T7" fmla="*/ 949 h 1035"/>
              <a:gd name="T8" fmla="*/ 150 w 959"/>
              <a:gd name="T9" fmla="*/ 923 h 1035"/>
              <a:gd name="T10" fmla="*/ 161 w 959"/>
              <a:gd name="T11" fmla="*/ 866 h 1035"/>
              <a:gd name="T12" fmla="*/ 163 w 959"/>
              <a:gd name="T13" fmla="*/ 783 h 1035"/>
              <a:gd name="T14" fmla="*/ 163 w 959"/>
              <a:gd name="T15" fmla="*/ 221 h 1035"/>
              <a:gd name="T16" fmla="*/ 158 w 959"/>
              <a:gd name="T17" fmla="*/ 148 h 1035"/>
              <a:gd name="T18" fmla="*/ 143 w 959"/>
              <a:gd name="T19" fmla="*/ 98 h 1035"/>
              <a:gd name="T20" fmla="*/ 131 w 959"/>
              <a:gd name="T21" fmla="*/ 81 h 1035"/>
              <a:gd name="T22" fmla="*/ 114 w 959"/>
              <a:gd name="T23" fmla="*/ 69 h 1035"/>
              <a:gd name="T24" fmla="*/ 68 w 959"/>
              <a:gd name="T25" fmla="*/ 54 h 1035"/>
              <a:gd name="T26" fmla="*/ 0 w 959"/>
              <a:gd name="T27" fmla="*/ 50 h 1035"/>
              <a:gd name="T28" fmla="*/ 902 w 959"/>
              <a:gd name="T29" fmla="*/ 244 h 1035"/>
              <a:gd name="T30" fmla="*/ 843 w 959"/>
              <a:gd name="T31" fmla="*/ 209 h 1035"/>
              <a:gd name="T32" fmla="*/ 824 w 959"/>
              <a:gd name="T33" fmla="*/ 150 h 1035"/>
              <a:gd name="T34" fmla="*/ 803 w 959"/>
              <a:gd name="T35" fmla="*/ 118 h 1035"/>
              <a:gd name="T36" fmla="*/ 770 w 959"/>
              <a:gd name="T37" fmla="*/ 95 h 1035"/>
              <a:gd name="T38" fmla="*/ 719 w 959"/>
              <a:gd name="T39" fmla="*/ 82 h 1035"/>
              <a:gd name="T40" fmla="*/ 643 w 959"/>
              <a:gd name="T41" fmla="*/ 78 h 1035"/>
              <a:gd name="T42" fmla="*/ 474 w 959"/>
              <a:gd name="T43" fmla="*/ 449 h 1035"/>
              <a:gd name="T44" fmla="*/ 532 w 959"/>
              <a:gd name="T45" fmla="*/ 447 h 1035"/>
              <a:gd name="T46" fmla="*/ 597 w 959"/>
              <a:gd name="T47" fmla="*/ 439 h 1035"/>
              <a:gd name="T48" fmla="*/ 634 w 959"/>
              <a:gd name="T49" fmla="*/ 424 h 1035"/>
              <a:gd name="T50" fmla="*/ 649 w 959"/>
              <a:gd name="T51" fmla="*/ 410 h 1035"/>
              <a:gd name="T52" fmla="*/ 662 w 959"/>
              <a:gd name="T53" fmla="*/ 385 h 1035"/>
              <a:gd name="T54" fmla="*/ 673 w 959"/>
              <a:gd name="T55" fmla="*/ 332 h 1035"/>
              <a:gd name="T56" fmla="*/ 725 w 959"/>
              <a:gd name="T57" fmla="*/ 283 h 1035"/>
              <a:gd name="T58" fmla="*/ 675 w 959"/>
              <a:gd name="T59" fmla="*/ 691 h 1035"/>
              <a:gd name="T60" fmla="*/ 671 w 959"/>
              <a:gd name="T61" fmla="*/ 623 h 1035"/>
              <a:gd name="T62" fmla="*/ 656 w 959"/>
              <a:gd name="T63" fmla="*/ 576 h 1035"/>
              <a:gd name="T64" fmla="*/ 644 w 959"/>
              <a:gd name="T65" fmla="*/ 560 h 1035"/>
              <a:gd name="T66" fmla="*/ 628 w 959"/>
              <a:gd name="T67" fmla="*/ 547 h 1035"/>
              <a:gd name="T68" fmla="*/ 578 w 959"/>
              <a:gd name="T69" fmla="*/ 532 h 1035"/>
              <a:gd name="T70" fmla="*/ 505 w 959"/>
              <a:gd name="T71" fmla="*/ 527 h 1035"/>
              <a:gd name="T72" fmla="*/ 379 w 959"/>
              <a:gd name="T73" fmla="*/ 756 h 1035"/>
              <a:gd name="T74" fmla="*/ 380 w 959"/>
              <a:gd name="T75" fmla="*/ 814 h 1035"/>
              <a:gd name="T76" fmla="*/ 389 w 959"/>
              <a:gd name="T77" fmla="*/ 879 h 1035"/>
              <a:gd name="T78" fmla="*/ 405 w 959"/>
              <a:gd name="T79" fmla="*/ 915 h 1035"/>
              <a:gd name="T80" fmla="*/ 418 w 959"/>
              <a:gd name="T81" fmla="*/ 932 h 1035"/>
              <a:gd name="T82" fmla="*/ 444 w 959"/>
              <a:gd name="T83" fmla="*/ 946 h 1035"/>
              <a:gd name="T84" fmla="*/ 497 w 959"/>
              <a:gd name="T85" fmla="*/ 956 h 1035"/>
              <a:gd name="T86" fmla="*/ 700 w 959"/>
              <a:gd name="T87" fmla="*/ 957 h 1035"/>
              <a:gd name="T88" fmla="*/ 753 w 959"/>
              <a:gd name="T89" fmla="*/ 955 h 1035"/>
              <a:gd name="T90" fmla="*/ 813 w 959"/>
              <a:gd name="T91" fmla="*/ 946 h 1035"/>
              <a:gd name="T92" fmla="*/ 852 w 959"/>
              <a:gd name="T93" fmla="*/ 927 h 1035"/>
              <a:gd name="T94" fmla="*/ 876 w 959"/>
              <a:gd name="T95" fmla="*/ 897 h 1035"/>
              <a:gd name="T96" fmla="*/ 891 w 959"/>
              <a:gd name="T97" fmla="*/ 858 h 1035"/>
              <a:gd name="T98" fmla="*/ 959 w 959"/>
              <a:gd name="T99" fmla="*/ 792 h 1035"/>
              <a:gd name="T100" fmla="*/ 0 w 959"/>
              <a:gd name="T101" fmla="*/ 985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59" h="1035">
                <a:moveTo>
                  <a:pt x="0" y="985"/>
                </a:moveTo>
                <a:lnTo>
                  <a:pt x="0" y="985"/>
                </a:lnTo>
                <a:lnTo>
                  <a:pt x="25" y="985"/>
                </a:lnTo>
                <a:lnTo>
                  <a:pt x="48" y="984"/>
                </a:lnTo>
                <a:lnTo>
                  <a:pt x="68" y="982"/>
                </a:lnTo>
                <a:lnTo>
                  <a:pt x="86" y="978"/>
                </a:lnTo>
                <a:lnTo>
                  <a:pt x="101" y="973"/>
                </a:lnTo>
                <a:lnTo>
                  <a:pt x="114" y="966"/>
                </a:lnTo>
                <a:lnTo>
                  <a:pt x="120" y="963"/>
                </a:lnTo>
                <a:lnTo>
                  <a:pt x="126" y="958"/>
                </a:lnTo>
                <a:lnTo>
                  <a:pt x="131" y="954"/>
                </a:lnTo>
                <a:lnTo>
                  <a:pt x="136" y="949"/>
                </a:lnTo>
                <a:lnTo>
                  <a:pt x="140" y="943"/>
                </a:lnTo>
                <a:lnTo>
                  <a:pt x="143" y="937"/>
                </a:lnTo>
                <a:lnTo>
                  <a:pt x="150" y="923"/>
                </a:lnTo>
                <a:lnTo>
                  <a:pt x="154" y="906"/>
                </a:lnTo>
                <a:lnTo>
                  <a:pt x="158" y="888"/>
                </a:lnTo>
                <a:lnTo>
                  <a:pt x="161" y="866"/>
                </a:lnTo>
                <a:lnTo>
                  <a:pt x="162" y="842"/>
                </a:lnTo>
                <a:lnTo>
                  <a:pt x="163" y="814"/>
                </a:lnTo>
                <a:lnTo>
                  <a:pt x="163" y="783"/>
                </a:lnTo>
                <a:lnTo>
                  <a:pt x="163" y="252"/>
                </a:lnTo>
                <a:lnTo>
                  <a:pt x="163" y="252"/>
                </a:lnTo>
                <a:lnTo>
                  <a:pt x="163" y="221"/>
                </a:lnTo>
                <a:lnTo>
                  <a:pt x="162" y="194"/>
                </a:lnTo>
                <a:lnTo>
                  <a:pt x="161" y="169"/>
                </a:lnTo>
                <a:lnTo>
                  <a:pt x="158" y="148"/>
                </a:lnTo>
                <a:lnTo>
                  <a:pt x="154" y="129"/>
                </a:lnTo>
                <a:lnTo>
                  <a:pt x="150" y="113"/>
                </a:lnTo>
                <a:lnTo>
                  <a:pt x="143" y="98"/>
                </a:lnTo>
                <a:lnTo>
                  <a:pt x="140" y="92"/>
                </a:lnTo>
                <a:lnTo>
                  <a:pt x="136" y="86"/>
                </a:lnTo>
                <a:lnTo>
                  <a:pt x="131" y="81"/>
                </a:lnTo>
                <a:lnTo>
                  <a:pt x="126" y="77"/>
                </a:lnTo>
                <a:lnTo>
                  <a:pt x="120" y="73"/>
                </a:lnTo>
                <a:lnTo>
                  <a:pt x="114" y="69"/>
                </a:lnTo>
                <a:lnTo>
                  <a:pt x="101" y="63"/>
                </a:lnTo>
                <a:lnTo>
                  <a:pt x="86" y="58"/>
                </a:lnTo>
                <a:lnTo>
                  <a:pt x="68" y="54"/>
                </a:lnTo>
                <a:lnTo>
                  <a:pt x="48" y="51"/>
                </a:lnTo>
                <a:lnTo>
                  <a:pt x="25" y="50"/>
                </a:lnTo>
                <a:lnTo>
                  <a:pt x="0" y="50"/>
                </a:lnTo>
                <a:lnTo>
                  <a:pt x="0" y="0"/>
                </a:lnTo>
                <a:lnTo>
                  <a:pt x="888" y="0"/>
                </a:lnTo>
                <a:lnTo>
                  <a:pt x="902" y="244"/>
                </a:lnTo>
                <a:lnTo>
                  <a:pt x="852" y="244"/>
                </a:lnTo>
                <a:lnTo>
                  <a:pt x="843" y="209"/>
                </a:lnTo>
                <a:lnTo>
                  <a:pt x="843" y="209"/>
                </a:lnTo>
                <a:lnTo>
                  <a:pt x="834" y="177"/>
                </a:lnTo>
                <a:lnTo>
                  <a:pt x="830" y="163"/>
                </a:lnTo>
                <a:lnTo>
                  <a:pt x="824" y="150"/>
                </a:lnTo>
                <a:lnTo>
                  <a:pt x="818" y="138"/>
                </a:lnTo>
                <a:lnTo>
                  <a:pt x="812" y="127"/>
                </a:lnTo>
                <a:lnTo>
                  <a:pt x="803" y="118"/>
                </a:lnTo>
                <a:lnTo>
                  <a:pt x="794" y="109"/>
                </a:lnTo>
                <a:lnTo>
                  <a:pt x="783" y="101"/>
                </a:lnTo>
                <a:lnTo>
                  <a:pt x="770" y="95"/>
                </a:lnTo>
                <a:lnTo>
                  <a:pt x="755" y="90"/>
                </a:lnTo>
                <a:lnTo>
                  <a:pt x="738" y="85"/>
                </a:lnTo>
                <a:lnTo>
                  <a:pt x="719" y="82"/>
                </a:lnTo>
                <a:lnTo>
                  <a:pt x="696" y="80"/>
                </a:lnTo>
                <a:lnTo>
                  <a:pt x="672" y="78"/>
                </a:lnTo>
                <a:lnTo>
                  <a:pt x="643" y="78"/>
                </a:lnTo>
                <a:lnTo>
                  <a:pt x="379" y="78"/>
                </a:lnTo>
                <a:lnTo>
                  <a:pt x="379" y="449"/>
                </a:lnTo>
                <a:lnTo>
                  <a:pt x="474" y="449"/>
                </a:lnTo>
                <a:lnTo>
                  <a:pt x="474" y="449"/>
                </a:lnTo>
                <a:lnTo>
                  <a:pt x="505" y="448"/>
                </a:lnTo>
                <a:lnTo>
                  <a:pt x="532" y="447"/>
                </a:lnTo>
                <a:lnTo>
                  <a:pt x="557" y="446"/>
                </a:lnTo>
                <a:lnTo>
                  <a:pt x="578" y="443"/>
                </a:lnTo>
                <a:lnTo>
                  <a:pt x="597" y="439"/>
                </a:lnTo>
                <a:lnTo>
                  <a:pt x="613" y="434"/>
                </a:lnTo>
                <a:lnTo>
                  <a:pt x="628" y="428"/>
                </a:lnTo>
                <a:lnTo>
                  <a:pt x="634" y="424"/>
                </a:lnTo>
                <a:lnTo>
                  <a:pt x="639" y="419"/>
                </a:lnTo>
                <a:lnTo>
                  <a:pt x="644" y="415"/>
                </a:lnTo>
                <a:lnTo>
                  <a:pt x="649" y="410"/>
                </a:lnTo>
                <a:lnTo>
                  <a:pt x="653" y="404"/>
                </a:lnTo>
                <a:lnTo>
                  <a:pt x="656" y="398"/>
                </a:lnTo>
                <a:lnTo>
                  <a:pt x="662" y="385"/>
                </a:lnTo>
                <a:lnTo>
                  <a:pt x="667" y="369"/>
                </a:lnTo>
                <a:lnTo>
                  <a:pt x="671" y="352"/>
                </a:lnTo>
                <a:lnTo>
                  <a:pt x="673" y="332"/>
                </a:lnTo>
                <a:lnTo>
                  <a:pt x="674" y="309"/>
                </a:lnTo>
                <a:lnTo>
                  <a:pt x="675" y="283"/>
                </a:lnTo>
                <a:lnTo>
                  <a:pt x="725" y="283"/>
                </a:lnTo>
                <a:lnTo>
                  <a:pt x="725" y="691"/>
                </a:lnTo>
                <a:lnTo>
                  <a:pt x="675" y="691"/>
                </a:lnTo>
                <a:lnTo>
                  <a:pt x="675" y="691"/>
                </a:lnTo>
                <a:lnTo>
                  <a:pt x="674" y="666"/>
                </a:lnTo>
                <a:lnTo>
                  <a:pt x="673" y="643"/>
                </a:lnTo>
                <a:lnTo>
                  <a:pt x="671" y="623"/>
                </a:lnTo>
                <a:lnTo>
                  <a:pt x="667" y="605"/>
                </a:lnTo>
                <a:lnTo>
                  <a:pt x="662" y="589"/>
                </a:lnTo>
                <a:lnTo>
                  <a:pt x="656" y="576"/>
                </a:lnTo>
                <a:lnTo>
                  <a:pt x="653" y="570"/>
                </a:lnTo>
                <a:lnTo>
                  <a:pt x="649" y="565"/>
                </a:lnTo>
                <a:lnTo>
                  <a:pt x="644" y="560"/>
                </a:lnTo>
                <a:lnTo>
                  <a:pt x="639" y="554"/>
                </a:lnTo>
                <a:lnTo>
                  <a:pt x="634" y="550"/>
                </a:lnTo>
                <a:lnTo>
                  <a:pt x="628" y="547"/>
                </a:lnTo>
                <a:lnTo>
                  <a:pt x="613" y="540"/>
                </a:lnTo>
                <a:lnTo>
                  <a:pt x="597" y="536"/>
                </a:lnTo>
                <a:lnTo>
                  <a:pt x="578" y="532"/>
                </a:lnTo>
                <a:lnTo>
                  <a:pt x="557" y="529"/>
                </a:lnTo>
                <a:lnTo>
                  <a:pt x="532" y="528"/>
                </a:lnTo>
                <a:lnTo>
                  <a:pt x="505" y="527"/>
                </a:lnTo>
                <a:lnTo>
                  <a:pt x="474" y="527"/>
                </a:lnTo>
                <a:lnTo>
                  <a:pt x="379" y="527"/>
                </a:lnTo>
                <a:lnTo>
                  <a:pt x="379" y="756"/>
                </a:lnTo>
                <a:lnTo>
                  <a:pt x="379" y="756"/>
                </a:lnTo>
                <a:lnTo>
                  <a:pt x="379" y="787"/>
                </a:lnTo>
                <a:lnTo>
                  <a:pt x="380" y="814"/>
                </a:lnTo>
                <a:lnTo>
                  <a:pt x="382" y="839"/>
                </a:lnTo>
                <a:lnTo>
                  <a:pt x="385" y="860"/>
                </a:lnTo>
                <a:lnTo>
                  <a:pt x="389" y="879"/>
                </a:lnTo>
                <a:lnTo>
                  <a:pt x="394" y="896"/>
                </a:lnTo>
                <a:lnTo>
                  <a:pt x="401" y="909"/>
                </a:lnTo>
                <a:lnTo>
                  <a:pt x="405" y="915"/>
                </a:lnTo>
                <a:lnTo>
                  <a:pt x="409" y="921"/>
                </a:lnTo>
                <a:lnTo>
                  <a:pt x="413" y="927"/>
                </a:lnTo>
                <a:lnTo>
                  <a:pt x="418" y="932"/>
                </a:lnTo>
                <a:lnTo>
                  <a:pt x="424" y="936"/>
                </a:lnTo>
                <a:lnTo>
                  <a:pt x="429" y="939"/>
                </a:lnTo>
                <a:lnTo>
                  <a:pt x="444" y="946"/>
                </a:lnTo>
                <a:lnTo>
                  <a:pt x="459" y="950"/>
                </a:lnTo>
                <a:lnTo>
                  <a:pt x="476" y="954"/>
                </a:lnTo>
                <a:lnTo>
                  <a:pt x="497" y="956"/>
                </a:lnTo>
                <a:lnTo>
                  <a:pt x="519" y="957"/>
                </a:lnTo>
                <a:lnTo>
                  <a:pt x="545" y="957"/>
                </a:lnTo>
                <a:lnTo>
                  <a:pt x="700" y="957"/>
                </a:lnTo>
                <a:lnTo>
                  <a:pt x="700" y="957"/>
                </a:lnTo>
                <a:lnTo>
                  <a:pt x="729" y="957"/>
                </a:lnTo>
                <a:lnTo>
                  <a:pt x="753" y="955"/>
                </a:lnTo>
                <a:lnTo>
                  <a:pt x="776" y="953"/>
                </a:lnTo>
                <a:lnTo>
                  <a:pt x="795" y="950"/>
                </a:lnTo>
                <a:lnTo>
                  <a:pt x="813" y="946"/>
                </a:lnTo>
                <a:lnTo>
                  <a:pt x="827" y="940"/>
                </a:lnTo>
                <a:lnTo>
                  <a:pt x="840" y="934"/>
                </a:lnTo>
                <a:lnTo>
                  <a:pt x="852" y="927"/>
                </a:lnTo>
                <a:lnTo>
                  <a:pt x="861" y="917"/>
                </a:lnTo>
                <a:lnTo>
                  <a:pt x="869" y="908"/>
                </a:lnTo>
                <a:lnTo>
                  <a:pt x="876" y="897"/>
                </a:lnTo>
                <a:lnTo>
                  <a:pt x="882" y="886"/>
                </a:lnTo>
                <a:lnTo>
                  <a:pt x="887" y="872"/>
                </a:lnTo>
                <a:lnTo>
                  <a:pt x="891" y="858"/>
                </a:lnTo>
                <a:lnTo>
                  <a:pt x="901" y="826"/>
                </a:lnTo>
                <a:lnTo>
                  <a:pt x="909" y="792"/>
                </a:lnTo>
                <a:lnTo>
                  <a:pt x="959" y="792"/>
                </a:lnTo>
                <a:lnTo>
                  <a:pt x="946" y="1035"/>
                </a:lnTo>
                <a:lnTo>
                  <a:pt x="0" y="1035"/>
                </a:lnTo>
                <a:lnTo>
                  <a:pt x="0" y="985"/>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62" name="Freeform 13">
            <a:extLst>
              <a:ext uri="{FF2B5EF4-FFF2-40B4-BE49-F238E27FC236}">
                <a16:creationId xmlns:a16="http://schemas.microsoft.com/office/drawing/2014/main" id="{985C0882-23D9-8349-8EFD-8B68F98ECE6E}"/>
              </a:ext>
            </a:extLst>
          </p:cNvPr>
          <p:cNvSpPr>
            <a:spLocks/>
          </p:cNvSpPr>
          <p:nvPr userDrawn="1"/>
        </p:nvSpPr>
        <p:spPr bwMode="auto">
          <a:xfrm>
            <a:off x="2798763" y="893763"/>
            <a:ext cx="152400" cy="141288"/>
          </a:xfrm>
          <a:custGeom>
            <a:avLst/>
            <a:gdLst>
              <a:gd name="T0" fmla="*/ 1159 w 1159"/>
              <a:gd name="T1" fmla="*/ 50 h 1065"/>
              <a:gd name="T2" fmla="*/ 1091 w 1159"/>
              <a:gd name="T3" fmla="*/ 54 h 1065"/>
              <a:gd name="T4" fmla="*/ 1039 w 1159"/>
              <a:gd name="T5" fmla="*/ 73 h 1065"/>
              <a:gd name="T6" fmla="*/ 1019 w 1159"/>
              <a:gd name="T7" fmla="*/ 92 h 1065"/>
              <a:gd name="T8" fmla="*/ 1001 w 1159"/>
              <a:gd name="T9" fmla="*/ 148 h 1065"/>
              <a:gd name="T10" fmla="*/ 996 w 1159"/>
              <a:gd name="T11" fmla="*/ 252 h 1065"/>
              <a:gd name="T12" fmla="*/ 994 w 1159"/>
              <a:gd name="T13" fmla="*/ 700 h 1065"/>
              <a:gd name="T14" fmla="*/ 976 w 1159"/>
              <a:gd name="T15" fmla="*/ 790 h 1065"/>
              <a:gd name="T16" fmla="*/ 944 w 1159"/>
              <a:gd name="T17" fmla="*/ 866 h 1065"/>
              <a:gd name="T18" fmla="*/ 899 w 1159"/>
              <a:gd name="T19" fmla="*/ 932 h 1065"/>
              <a:gd name="T20" fmla="*/ 843 w 1159"/>
              <a:gd name="T21" fmla="*/ 984 h 1065"/>
              <a:gd name="T22" fmla="*/ 777 w 1159"/>
              <a:gd name="T23" fmla="*/ 1023 h 1065"/>
              <a:gd name="T24" fmla="*/ 702 w 1159"/>
              <a:gd name="T25" fmla="*/ 1049 h 1065"/>
              <a:gd name="T26" fmla="*/ 621 w 1159"/>
              <a:gd name="T27" fmla="*/ 1063 h 1065"/>
              <a:gd name="T28" fmla="*/ 558 w 1159"/>
              <a:gd name="T29" fmla="*/ 1065 h 1065"/>
              <a:gd name="T30" fmla="*/ 476 w 1159"/>
              <a:gd name="T31" fmla="*/ 1054 h 1065"/>
              <a:gd name="T32" fmla="*/ 399 w 1159"/>
              <a:gd name="T33" fmla="*/ 1031 h 1065"/>
              <a:gd name="T34" fmla="*/ 331 w 1159"/>
              <a:gd name="T35" fmla="*/ 995 h 1065"/>
              <a:gd name="T36" fmla="*/ 273 w 1159"/>
              <a:gd name="T37" fmla="*/ 946 h 1065"/>
              <a:gd name="T38" fmla="*/ 226 w 1159"/>
              <a:gd name="T39" fmla="*/ 884 h 1065"/>
              <a:gd name="T40" fmla="*/ 191 w 1159"/>
              <a:gd name="T41" fmla="*/ 810 h 1065"/>
              <a:gd name="T42" fmla="*/ 170 w 1159"/>
              <a:gd name="T43" fmla="*/ 723 h 1065"/>
              <a:gd name="T44" fmla="*/ 165 w 1159"/>
              <a:gd name="T45" fmla="*/ 252 h 1065"/>
              <a:gd name="T46" fmla="*/ 162 w 1159"/>
              <a:gd name="T47" fmla="*/ 169 h 1065"/>
              <a:gd name="T48" fmla="*/ 145 w 1159"/>
              <a:gd name="T49" fmla="*/ 98 h 1065"/>
              <a:gd name="T50" fmla="*/ 126 w 1159"/>
              <a:gd name="T51" fmla="*/ 77 h 1065"/>
              <a:gd name="T52" fmla="*/ 87 w 1159"/>
              <a:gd name="T53" fmla="*/ 58 h 1065"/>
              <a:gd name="T54" fmla="*/ 0 w 1159"/>
              <a:gd name="T55" fmla="*/ 50 h 1065"/>
              <a:gd name="T56" fmla="*/ 547 w 1159"/>
              <a:gd name="T57" fmla="*/ 50 h 1065"/>
              <a:gd name="T58" fmla="*/ 460 w 1159"/>
              <a:gd name="T59" fmla="*/ 58 h 1065"/>
              <a:gd name="T60" fmla="*/ 419 w 1159"/>
              <a:gd name="T61" fmla="*/ 77 h 1065"/>
              <a:gd name="T62" fmla="*/ 402 w 1159"/>
              <a:gd name="T63" fmla="*/ 98 h 1065"/>
              <a:gd name="T64" fmla="*/ 384 w 1159"/>
              <a:gd name="T65" fmla="*/ 169 h 1065"/>
              <a:gd name="T66" fmla="*/ 381 w 1159"/>
              <a:gd name="T67" fmla="*/ 631 h 1065"/>
              <a:gd name="T68" fmla="*/ 384 w 1159"/>
              <a:gd name="T69" fmla="*/ 691 h 1065"/>
              <a:gd name="T70" fmla="*/ 397 w 1159"/>
              <a:gd name="T71" fmla="*/ 761 h 1065"/>
              <a:gd name="T72" fmla="*/ 420 w 1159"/>
              <a:gd name="T73" fmla="*/ 819 h 1065"/>
              <a:gd name="T74" fmla="*/ 451 w 1159"/>
              <a:gd name="T75" fmla="*/ 867 h 1065"/>
              <a:gd name="T76" fmla="*/ 488 w 1159"/>
              <a:gd name="T77" fmla="*/ 905 h 1065"/>
              <a:gd name="T78" fmla="*/ 532 w 1159"/>
              <a:gd name="T79" fmla="*/ 933 h 1065"/>
              <a:gd name="T80" fmla="*/ 581 w 1159"/>
              <a:gd name="T81" fmla="*/ 950 h 1065"/>
              <a:gd name="T82" fmla="*/ 635 w 1159"/>
              <a:gd name="T83" fmla="*/ 957 h 1065"/>
              <a:gd name="T84" fmla="*/ 676 w 1159"/>
              <a:gd name="T85" fmla="*/ 956 h 1065"/>
              <a:gd name="T86" fmla="*/ 727 w 1159"/>
              <a:gd name="T87" fmla="*/ 947 h 1065"/>
              <a:gd name="T88" fmla="*/ 773 w 1159"/>
              <a:gd name="T89" fmla="*/ 927 h 1065"/>
              <a:gd name="T90" fmla="*/ 814 w 1159"/>
              <a:gd name="T91" fmla="*/ 897 h 1065"/>
              <a:gd name="T92" fmla="*/ 847 w 1159"/>
              <a:gd name="T93" fmla="*/ 857 h 1065"/>
              <a:gd name="T94" fmla="*/ 873 w 1159"/>
              <a:gd name="T95" fmla="*/ 806 h 1065"/>
              <a:gd name="T96" fmla="*/ 891 w 1159"/>
              <a:gd name="T97" fmla="*/ 745 h 1065"/>
              <a:gd name="T98" fmla="*/ 901 w 1159"/>
              <a:gd name="T99" fmla="*/ 672 h 1065"/>
              <a:gd name="T100" fmla="*/ 903 w 1159"/>
              <a:gd name="T101" fmla="*/ 252 h 1065"/>
              <a:gd name="T102" fmla="*/ 896 w 1159"/>
              <a:gd name="T103" fmla="*/ 148 h 1065"/>
              <a:gd name="T104" fmla="*/ 878 w 1159"/>
              <a:gd name="T105" fmla="*/ 92 h 1065"/>
              <a:gd name="T106" fmla="*/ 859 w 1159"/>
              <a:gd name="T107" fmla="*/ 73 h 1065"/>
              <a:gd name="T108" fmla="*/ 805 w 1159"/>
              <a:gd name="T109" fmla="*/ 54 h 1065"/>
              <a:gd name="T110" fmla="*/ 737 w 1159"/>
              <a:gd name="T111" fmla="*/ 50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59" h="1065">
                <a:moveTo>
                  <a:pt x="737" y="50"/>
                </a:moveTo>
                <a:lnTo>
                  <a:pt x="737" y="0"/>
                </a:lnTo>
                <a:lnTo>
                  <a:pt x="1159" y="0"/>
                </a:lnTo>
                <a:lnTo>
                  <a:pt x="1159" y="50"/>
                </a:lnTo>
                <a:lnTo>
                  <a:pt x="1159" y="50"/>
                </a:lnTo>
                <a:lnTo>
                  <a:pt x="1134" y="50"/>
                </a:lnTo>
                <a:lnTo>
                  <a:pt x="1111" y="51"/>
                </a:lnTo>
                <a:lnTo>
                  <a:pt x="1091" y="54"/>
                </a:lnTo>
                <a:lnTo>
                  <a:pt x="1073" y="58"/>
                </a:lnTo>
                <a:lnTo>
                  <a:pt x="1058" y="63"/>
                </a:lnTo>
                <a:lnTo>
                  <a:pt x="1045" y="69"/>
                </a:lnTo>
                <a:lnTo>
                  <a:pt x="1039" y="73"/>
                </a:lnTo>
                <a:lnTo>
                  <a:pt x="1033" y="77"/>
                </a:lnTo>
                <a:lnTo>
                  <a:pt x="1028" y="81"/>
                </a:lnTo>
                <a:lnTo>
                  <a:pt x="1023" y="86"/>
                </a:lnTo>
                <a:lnTo>
                  <a:pt x="1019" y="92"/>
                </a:lnTo>
                <a:lnTo>
                  <a:pt x="1016" y="98"/>
                </a:lnTo>
                <a:lnTo>
                  <a:pt x="1009" y="113"/>
                </a:lnTo>
                <a:lnTo>
                  <a:pt x="1005" y="129"/>
                </a:lnTo>
                <a:lnTo>
                  <a:pt x="1001" y="148"/>
                </a:lnTo>
                <a:lnTo>
                  <a:pt x="998" y="169"/>
                </a:lnTo>
                <a:lnTo>
                  <a:pt x="997" y="194"/>
                </a:lnTo>
                <a:lnTo>
                  <a:pt x="996" y="221"/>
                </a:lnTo>
                <a:lnTo>
                  <a:pt x="996" y="252"/>
                </a:lnTo>
                <a:lnTo>
                  <a:pt x="996" y="651"/>
                </a:lnTo>
                <a:lnTo>
                  <a:pt x="996" y="651"/>
                </a:lnTo>
                <a:lnTo>
                  <a:pt x="995" y="675"/>
                </a:lnTo>
                <a:lnTo>
                  <a:pt x="994" y="700"/>
                </a:lnTo>
                <a:lnTo>
                  <a:pt x="990" y="723"/>
                </a:lnTo>
                <a:lnTo>
                  <a:pt x="986" y="746"/>
                </a:lnTo>
                <a:lnTo>
                  <a:pt x="982" y="768"/>
                </a:lnTo>
                <a:lnTo>
                  <a:pt x="976" y="790"/>
                </a:lnTo>
                <a:lnTo>
                  <a:pt x="970" y="810"/>
                </a:lnTo>
                <a:lnTo>
                  <a:pt x="962" y="829"/>
                </a:lnTo>
                <a:lnTo>
                  <a:pt x="954" y="849"/>
                </a:lnTo>
                <a:lnTo>
                  <a:pt x="944" y="866"/>
                </a:lnTo>
                <a:lnTo>
                  <a:pt x="934" y="884"/>
                </a:lnTo>
                <a:lnTo>
                  <a:pt x="924" y="901"/>
                </a:lnTo>
                <a:lnTo>
                  <a:pt x="912" y="916"/>
                </a:lnTo>
                <a:lnTo>
                  <a:pt x="899" y="932"/>
                </a:lnTo>
                <a:lnTo>
                  <a:pt x="886" y="946"/>
                </a:lnTo>
                <a:lnTo>
                  <a:pt x="873" y="959"/>
                </a:lnTo>
                <a:lnTo>
                  <a:pt x="859" y="972"/>
                </a:lnTo>
                <a:lnTo>
                  <a:pt x="843" y="984"/>
                </a:lnTo>
                <a:lnTo>
                  <a:pt x="828" y="995"/>
                </a:lnTo>
                <a:lnTo>
                  <a:pt x="812" y="1005"/>
                </a:lnTo>
                <a:lnTo>
                  <a:pt x="794" y="1015"/>
                </a:lnTo>
                <a:lnTo>
                  <a:pt x="777" y="1023"/>
                </a:lnTo>
                <a:lnTo>
                  <a:pt x="759" y="1031"/>
                </a:lnTo>
                <a:lnTo>
                  <a:pt x="741" y="1038"/>
                </a:lnTo>
                <a:lnTo>
                  <a:pt x="722" y="1044"/>
                </a:lnTo>
                <a:lnTo>
                  <a:pt x="702" y="1049"/>
                </a:lnTo>
                <a:lnTo>
                  <a:pt x="683" y="1054"/>
                </a:lnTo>
                <a:lnTo>
                  <a:pt x="662" y="1057"/>
                </a:lnTo>
                <a:lnTo>
                  <a:pt x="643" y="1061"/>
                </a:lnTo>
                <a:lnTo>
                  <a:pt x="621" y="1063"/>
                </a:lnTo>
                <a:lnTo>
                  <a:pt x="601" y="1065"/>
                </a:lnTo>
                <a:lnTo>
                  <a:pt x="579" y="1065"/>
                </a:lnTo>
                <a:lnTo>
                  <a:pt x="579" y="1065"/>
                </a:lnTo>
                <a:lnTo>
                  <a:pt x="558" y="1065"/>
                </a:lnTo>
                <a:lnTo>
                  <a:pt x="538" y="1063"/>
                </a:lnTo>
                <a:lnTo>
                  <a:pt x="516" y="1061"/>
                </a:lnTo>
                <a:lnTo>
                  <a:pt x="496" y="1057"/>
                </a:lnTo>
                <a:lnTo>
                  <a:pt x="476" y="1054"/>
                </a:lnTo>
                <a:lnTo>
                  <a:pt x="456" y="1049"/>
                </a:lnTo>
                <a:lnTo>
                  <a:pt x="437" y="1044"/>
                </a:lnTo>
                <a:lnTo>
                  <a:pt x="418" y="1038"/>
                </a:lnTo>
                <a:lnTo>
                  <a:pt x="399" y="1031"/>
                </a:lnTo>
                <a:lnTo>
                  <a:pt x="382" y="1023"/>
                </a:lnTo>
                <a:lnTo>
                  <a:pt x="365" y="1015"/>
                </a:lnTo>
                <a:lnTo>
                  <a:pt x="347" y="1005"/>
                </a:lnTo>
                <a:lnTo>
                  <a:pt x="331" y="995"/>
                </a:lnTo>
                <a:lnTo>
                  <a:pt x="316" y="984"/>
                </a:lnTo>
                <a:lnTo>
                  <a:pt x="301" y="972"/>
                </a:lnTo>
                <a:lnTo>
                  <a:pt x="286" y="959"/>
                </a:lnTo>
                <a:lnTo>
                  <a:pt x="273" y="946"/>
                </a:lnTo>
                <a:lnTo>
                  <a:pt x="259" y="932"/>
                </a:lnTo>
                <a:lnTo>
                  <a:pt x="247" y="916"/>
                </a:lnTo>
                <a:lnTo>
                  <a:pt x="236" y="901"/>
                </a:lnTo>
                <a:lnTo>
                  <a:pt x="226" y="884"/>
                </a:lnTo>
                <a:lnTo>
                  <a:pt x="215" y="866"/>
                </a:lnTo>
                <a:lnTo>
                  <a:pt x="206" y="849"/>
                </a:lnTo>
                <a:lnTo>
                  <a:pt x="198" y="829"/>
                </a:lnTo>
                <a:lnTo>
                  <a:pt x="191" y="810"/>
                </a:lnTo>
                <a:lnTo>
                  <a:pt x="184" y="790"/>
                </a:lnTo>
                <a:lnTo>
                  <a:pt x="179" y="768"/>
                </a:lnTo>
                <a:lnTo>
                  <a:pt x="174" y="746"/>
                </a:lnTo>
                <a:lnTo>
                  <a:pt x="170" y="723"/>
                </a:lnTo>
                <a:lnTo>
                  <a:pt x="167" y="700"/>
                </a:lnTo>
                <a:lnTo>
                  <a:pt x="166" y="675"/>
                </a:lnTo>
                <a:lnTo>
                  <a:pt x="165" y="651"/>
                </a:lnTo>
                <a:lnTo>
                  <a:pt x="165" y="252"/>
                </a:lnTo>
                <a:lnTo>
                  <a:pt x="165" y="252"/>
                </a:lnTo>
                <a:lnTo>
                  <a:pt x="165" y="221"/>
                </a:lnTo>
                <a:lnTo>
                  <a:pt x="164" y="194"/>
                </a:lnTo>
                <a:lnTo>
                  <a:pt x="162" y="169"/>
                </a:lnTo>
                <a:lnTo>
                  <a:pt x="160" y="148"/>
                </a:lnTo>
                <a:lnTo>
                  <a:pt x="156" y="129"/>
                </a:lnTo>
                <a:lnTo>
                  <a:pt x="151" y="113"/>
                </a:lnTo>
                <a:lnTo>
                  <a:pt x="145" y="98"/>
                </a:lnTo>
                <a:lnTo>
                  <a:pt x="141" y="92"/>
                </a:lnTo>
                <a:lnTo>
                  <a:pt x="137" y="86"/>
                </a:lnTo>
                <a:lnTo>
                  <a:pt x="132" y="81"/>
                </a:lnTo>
                <a:lnTo>
                  <a:pt x="126" y="77"/>
                </a:lnTo>
                <a:lnTo>
                  <a:pt x="121" y="73"/>
                </a:lnTo>
                <a:lnTo>
                  <a:pt x="115" y="69"/>
                </a:lnTo>
                <a:lnTo>
                  <a:pt x="102" y="63"/>
                </a:lnTo>
                <a:lnTo>
                  <a:pt x="87" y="58"/>
                </a:lnTo>
                <a:lnTo>
                  <a:pt x="68" y="54"/>
                </a:lnTo>
                <a:lnTo>
                  <a:pt x="48" y="51"/>
                </a:lnTo>
                <a:lnTo>
                  <a:pt x="25" y="50"/>
                </a:lnTo>
                <a:lnTo>
                  <a:pt x="0" y="50"/>
                </a:lnTo>
                <a:lnTo>
                  <a:pt x="0" y="0"/>
                </a:lnTo>
                <a:lnTo>
                  <a:pt x="547" y="0"/>
                </a:lnTo>
                <a:lnTo>
                  <a:pt x="547" y="50"/>
                </a:lnTo>
                <a:lnTo>
                  <a:pt x="547" y="50"/>
                </a:lnTo>
                <a:lnTo>
                  <a:pt x="521" y="50"/>
                </a:lnTo>
                <a:lnTo>
                  <a:pt x="498" y="51"/>
                </a:lnTo>
                <a:lnTo>
                  <a:pt x="477" y="54"/>
                </a:lnTo>
                <a:lnTo>
                  <a:pt x="460" y="58"/>
                </a:lnTo>
                <a:lnTo>
                  <a:pt x="444" y="63"/>
                </a:lnTo>
                <a:lnTo>
                  <a:pt x="430" y="69"/>
                </a:lnTo>
                <a:lnTo>
                  <a:pt x="425" y="73"/>
                </a:lnTo>
                <a:lnTo>
                  <a:pt x="419" y="77"/>
                </a:lnTo>
                <a:lnTo>
                  <a:pt x="414" y="81"/>
                </a:lnTo>
                <a:lnTo>
                  <a:pt x="410" y="86"/>
                </a:lnTo>
                <a:lnTo>
                  <a:pt x="406" y="92"/>
                </a:lnTo>
                <a:lnTo>
                  <a:pt x="402" y="98"/>
                </a:lnTo>
                <a:lnTo>
                  <a:pt x="395" y="113"/>
                </a:lnTo>
                <a:lnTo>
                  <a:pt x="390" y="129"/>
                </a:lnTo>
                <a:lnTo>
                  <a:pt x="386" y="148"/>
                </a:lnTo>
                <a:lnTo>
                  <a:pt x="384" y="169"/>
                </a:lnTo>
                <a:lnTo>
                  <a:pt x="382" y="194"/>
                </a:lnTo>
                <a:lnTo>
                  <a:pt x="381" y="221"/>
                </a:lnTo>
                <a:lnTo>
                  <a:pt x="381" y="252"/>
                </a:lnTo>
                <a:lnTo>
                  <a:pt x="381" y="631"/>
                </a:lnTo>
                <a:lnTo>
                  <a:pt x="381" y="631"/>
                </a:lnTo>
                <a:lnTo>
                  <a:pt x="381" y="652"/>
                </a:lnTo>
                <a:lnTo>
                  <a:pt x="382" y="672"/>
                </a:lnTo>
                <a:lnTo>
                  <a:pt x="384" y="691"/>
                </a:lnTo>
                <a:lnTo>
                  <a:pt x="386" y="710"/>
                </a:lnTo>
                <a:lnTo>
                  <a:pt x="389" y="727"/>
                </a:lnTo>
                <a:lnTo>
                  <a:pt x="393" y="745"/>
                </a:lnTo>
                <a:lnTo>
                  <a:pt x="397" y="761"/>
                </a:lnTo>
                <a:lnTo>
                  <a:pt x="403" y="776"/>
                </a:lnTo>
                <a:lnTo>
                  <a:pt x="408" y="792"/>
                </a:lnTo>
                <a:lnTo>
                  <a:pt x="413" y="806"/>
                </a:lnTo>
                <a:lnTo>
                  <a:pt x="420" y="819"/>
                </a:lnTo>
                <a:lnTo>
                  <a:pt x="427" y="833"/>
                </a:lnTo>
                <a:lnTo>
                  <a:pt x="434" y="845"/>
                </a:lnTo>
                <a:lnTo>
                  <a:pt x="442" y="857"/>
                </a:lnTo>
                <a:lnTo>
                  <a:pt x="451" y="867"/>
                </a:lnTo>
                <a:lnTo>
                  <a:pt x="459" y="878"/>
                </a:lnTo>
                <a:lnTo>
                  <a:pt x="468" y="888"/>
                </a:lnTo>
                <a:lnTo>
                  <a:pt x="478" y="897"/>
                </a:lnTo>
                <a:lnTo>
                  <a:pt x="488" y="905"/>
                </a:lnTo>
                <a:lnTo>
                  <a:pt x="499" y="913"/>
                </a:lnTo>
                <a:lnTo>
                  <a:pt x="510" y="920"/>
                </a:lnTo>
                <a:lnTo>
                  <a:pt x="521" y="927"/>
                </a:lnTo>
                <a:lnTo>
                  <a:pt x="532" y="933"/>
                </a:lnTo>
                <a:lnTo>
                  <a:pt x="544" y="938"/>
                </a:lnTo>
                <a:lnTo>
                  <a:pt x="556" y="943"/>
                </a:lnTo>
                <a:lnTo>
                  <a:pt x="569" y="947"/>
                </a:lnTo>
                <a:lnTo>
                  <a:pt x="581" y="950"/>
                </a:lnTo>
                <a:lnTo>
                  <a:pt x="595" y="953"/>
                </a:lnTo>
                <a:lnTo>
                  <a:pt x="608" y="955"/>
                </a:lnTo>
                <a:lnTo>
                  <a:pt x="621" y="956"/>
                </a:lnTo>
                <a:lnTo>
                  <a:pt x="635" y="957"/>
                </a:lnTo>
                <a:lnTo>
                  <a:pt x="649" y="957"/>
                </a:lnTo>
                <a:lnTo>
                  <a:pt x="649" y="957"/>
                </a:lnTo>
                <a:lnTo>
                  <a:pt x="662" y="957"/>
                </a:lnTo>
                <a:lnTo>
                  <a:pt x="676" y="956"/>
                </a:lnTo>
                <a:lnTo>
                  <a:pt x="689" y="955"/>
                </a:lnTo>
                <a:lnTo>
                  <a:pt x="702" y="953"/>
                </a:lnTo>
                <a:lnTo>
                  <a:pt x="714" y="950"/>
                </a:lnTo>
                <a:lnTo>
                  <a:pt x="727" y="947"/>
                </a:lnTo>
                <a:lnTo>
                  <a:pt x="739" y="943"/>
                </a:lnTo>
                <a:lnTo>
                  <a:pt x="751" y="938"/>
                </a:lnTo>
                <a:lnTo>
                  <a:pt x="762" y="933"/>
                </a:lnTo>
                <a:lnTo>
                  <a:pt x="773" y="927"/>
                </a:lnTo>
                <a:lnTo>
                  <a:pt x="784" y="920"/>
                </a:lnTo>
                <a:lnTo>
                  <a:pt x="794" y="913"/>
                </a:lnTo>
                <a:lnTo>
                  <a:pt x="803" y="905"/>
                </a:lnTo>
                <a:lnTo>
                  <a:pt x="814" y="897"/>
                </a:lnTo>
                <a:lnTo>
                  <a:pt x="823" y="888"/>
                </a:lnTo>
                <a:lnTo>
                  <a:pt x="831" y="878"/>
                </a:lnTo>
                <a:lnTo>
                  <a:pt x="839" y="867"/>
                </a:lnTo>
                <a:lnTo>
                  <a:pt x="847" y="857"/>
                </a:lnTo>
                <a:lnTo>
                  <a:pt x="854" y="845"/>
                </a:lnTo>
                <a:lnTo>
                  <a:pt x="861" y="833"/>
                </a:lnTo>
                <a:lnTo>
                  <a:pt x="868" y="819"/>
                </a:lnTo>
                <a:lnTo>
                  <a:pt x="873" y="806"/>
                </a:lnTo>
                <a:lnTo>
                  <a:pt x="879" y="792"/>
                </a:lnTo>
                <a:lnTo>
                  <a:pt x="883" y="776"/>
                </a:lnTo>
                <a:lnTo>
                  <a:pt x="887" y="761"/>
                </a:lnTo>
                <a:lnTo>
                  <a:pt x="891" y="745"/>
                </a:lnTo>
                <a:lnTo>
                  <a:pt x="894" y="727"/>
                </a:lnTo>
                <a:lnTo>
                  <a:pt x="897" y="710"/>
                </a:lnTo>
                <a:lnTo>
                  <a:pt x="899" y="691"/>
                </a:lnTo>
                <a:lnTo>
                  <a:pt x="901" y="672"/>
                </a:lnTo>
                <a:lnTo>
                  <a:pt x="902" y="652"/>
                </a:lnTo>
                <a:lnTo>
                  <a:pt x="903" y="631"/>
                </a:lnTo>
                <a:lnTo>
                  <a:pt x="903" y="252"/>
                </a:lnTo>
                <a:lnTo>
                  <a:pt x="903" y="252"/>
                </a:lnTo>
                <a:lnTo>
                  <a:pt x="902" y="221"/>
                </a:lnTo>
                <a:lnTo>
                  <a:pt x="901" y="194"/>
                </a:lnTo>
                <a:lnTo>
                  <a:pt x="899" y="169"/>
                </a:lnTo>
                <a:lnTo>
                  <a:pt x="896" y="148"/>
                </a:lnTo>
                <a:lnTo>
                  <a:pt x="893" y="129"/>
                </a:lnTo>
                <a:lnTo>
                  <a:pt x="888" y="113"/>
                </a:lnTo>
                <a:lnTo>
                  <a:pt x="881" y="98"/>
                </a:lnTo>
                <a:lnTo>
                  <a:pt x="878" y="92"/>
                </a:lnTo>
                <a:lnTo>
                  <a:pt x="874" y="86"/>
                </a:lnTo>
                <a:lnTo>
                  <a:pt x="869" y="81"/>
                </a:lnTo>
                <a:lnTo>
                  <a:pt x="864" y="77"/>
                </a:lnTo>
                <a:lnTo>
                  <a:pt x="859" y="73"/>
                </a:lnTo>
                <a:lnTo>
                  <a:pt x="852" y="69"/>
                </a:lnTo>
                <a:lnTo>
                  <a:pt x="839" y="63"/>
                </a:lnTo>
                <a:lnTo>
                  <a:pt x="824" y="58"/>
                </a:lnTo>
                <a:lnTo>
                  <a:pt x="805" y="54"/>
                </a:lnTo>
                <a:lnTo>
                  <a:pt x="785" y="51"/>
                </a:lnTo>
                <a:lnTo>
                  <a:pt x="762" y="50"/>
                </a:lnTo>
                <a:lnTo>
                  <a:pt x="737" y="50"/>
                </a:lnTo>
                <a:lnTo>
                  <a:pt x="737" y="50"/>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63" name="Freeform 14">
            <a:extLst>
              <a:ext uri="{FF2B5EF4-FFF2-40B4-BE49-F238E27FC236}">
                <a16:creationId xmlns:a16="http://schemas.microsoft.com/office/drawing/2014/main" id="{06E49BB8-6ACF-B54E-8E60-142D9EF181D5}"/>
              </a:ext>
            </a:extLst>
          </p:cNvPr>
          <p:cNvSpPr>
            <a:spLocks/>
          </p:cNvSpPr>
          <p:nvPr userDrawn="1"/>
        </p:nvSpPr>
        <p:spPr bwMode="auto">
          <a:xfrm>
            <a:off x="2962276" y="893763"/>
            <a:ext cx="160338" cy="141288"/>
          </a:xfrm>
          <a:custGeom>
            <a:avLst/>
            <a:gdLst>
              <a:gd name="T0" fmla="*/ 623 w 1210"/>
              <a:gd name="T1" fmla="*/ 1065 h 1065"/>
              <a:gd name="T2" fmla="*/ 211 w 1210"/>
              <a:gd name="T3" fmla="*/ 202 h 1065"/>
              <a:gd name="T4" fmla="*/ 193 w 1210"/>
              <a:gd name="T5" fmla="*/ 163 h 1065"/>
              <a:gd name="T6" fmla="*/ 177 w 1210"/>
              <a:gd name="T7" fmla="*/ 131 h 1065"/>
              <a:gd name="T8" fmla="*/ 159 w 1210"/>
              <a:gd name="T9" fmla="*/ 105 h 1065"/>
              <a:gd name="T10" fmla="*/ 139 w 1210"/>
              <a:gd name="T11" fmla="*/ 84 h 1065"/>
              <a:gd name="T12" fmla="*/ 114 w 1210"/>
              <a:gd name="T13" fmla="*/ 69 h 1065"/>
              <a:gd name="T14" fmla="*/ 85 w 1210"/>
              <a:gd name="T15" fmla="*/ 59 h 1065"/>
              <a:gd name="T16" fmla="*/ 47 w 1210"/>
              <a:gd name="T17" fmla="*/ 52 h 1065"/>
              <a:gd name="T18" fmla="*/ 0 w 1210"/>
              <a:gd name="T19" fmla="*/ 50 h 1065"/>
              <a:gd name="T20" fmla="*/ 566 w 1210"/>
              <a:gd name="T21" fmla="*/ 0 h 1065"/>
              <a:gd name="T22" fmla="*/ 566 w 1210"/>
              <a:gd name="T23" fmla="*/ 50 h 1065"/>
              <a:gd name="T24" fmla="*/ 515 w 1210"/>
              <a:gd name="T25" fmla="*/ 52 h 1065"/>
              <a:gd name="T26" fmla="*/ 476 w 1210"/>
              <a:gd name="T27" fmla="*/ 58 h 1065"/>
              <a:gd name="T28" fmla="*/ 448 w 1210"/>
              <a:gd name="T29" fmla="*/ 68 h 1065"/>
              <a:gd name="T30" fmla="*/ 429 w 1210"/>
              <a:gd name="T31" fmla="*/ 81 h 1065"/>
              <a:gd name="T32" fmla="*/ 420 w 1210"/>
              <a:gd name="T33" fmla="*/ 99 h 1065"/>
              <a:gd name="T34" fmla="*/ 419 w 1210"/>
              <a:gd name="T35" fmla="*/ 122 h 1065"/>
              <a:gd name="T36" fmla="*/ 424 w 1210"/>
              <a:gd name="T37" fmla="*/ 150 h 1065"/>
              <a:gd name="T38" fmla="*/ 436 w 1210"/>
              <a:gd name="T39" fmla="*/ 181 h 1065"/>
              <a:gd name="T40" fmla="*/ 921 w 1210"/>
              <a:gd name="T41" fmla="*/ 181 h 1065"/>
              <a:gd name="T42" fmla="*/ 928 w 1210"/>
              <a:gd name="T43" fmla="*/ 165 h 1065"/>
              <a:gd name="T44" fmla="*/ 936 w 1210"/>
              <a:gd name="T45" fmla="*/ 134 h 1065"/>
              <a:gd name="T46" fmla="*/ 938 w 1210"/>
              <a:gd name="T47" fmla="*/ 110 h 1065"/>
              <a:gd name="T48" fmla="*/ 931 w 1210"/>
              <a:gd name="T49" fmla="*/ 89 h 1065"/>
              <a:gd name="T50" fmla="*/ 917 w 1210"/>
              <a:gd name="T51" fmla="*/ 74 h 1065"/>
              <a:gd name="T52" fmla="*/ 894 w 1210"/>
              <a:gd name="T53" fmla="*/ 62 h 1065"/>
              <a:gd name="T54" fmla="*/ 861 w 1210"/>
              <a:gd name="T55" fmla="*/ 54 h 1065"/>
              <a:gd name="T56" fmla="*/ 817 w 1210"/>
              <a:gd name="T57" fmla="*/ 50 h 1065"/>
              <a:gd name="T58" fmla="*/ 792 w 1210"/>
              <a:gd name="T59" fmla="*/ 0 h 1065"/>
              <a:gd name="T60" fmla="*/ 1210 w 1210"/>
              <a:gd name="T61" fmla="*/ 50 h 1065"/>
              <a:gd name="T62" fmla="*/ 1188 w 1210"/>
              <a:gd name="T63" fmla="*/ 50 h 1065"/>
              <a:gd name="T64" fmla="*/ 1150 w 1210"/>
              <a:gd name="T65" fmla="*/ 53 h 1065"/>
              <a:gd name="T66" fmla="*/ 1119 w 1210"/>
              <a:gd name="T67" fmla="*/ 61 h 1065"/>
              <a:gd name="T68" fmla="*/ 1091 w 1210"/>
              <a:gd name="T69" fmla="*/ 73 h 1065"/>
              <a:gd name="T70" fmla="*/ 1067 w 1210"/>
              <a:gd name="T71" fmla="*/ 89 h 1065"/>
              <a:gd name="T72" fmla="*/ 1046 w 1210"/>
              <a:gd name="T73" fmla="*/ 113 h 1065"/>
              <a:gd name="T74" fmla="*/ 1026 w 1210"/>
              <a:gd name="T75" fmla="*/ 142 h 1065"/>
              <a:gd name="T76" fmla="*/ 1007 w 1210"/>
              <a:gd name="T77" fmla="*/ 180 h 1065"/>
              <a:gd name="T78" fmla="*/ 997 w 1210"/>
              <a:gd name="T79" fmla="*/ 202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10" h="1065">
                <a:moveTo>
                  <a:pt x="997" y="202"/>
                </a:moveTo>
                <a:lnTo>
                  <a:pt x="623" y="1065"/>
                </a:lnTo>
                <a:lnTo>
                  <a:pt x="587" y="1065"/>
                </a:lnTo>
                <a:lnTo>
                  <a:pt x="211" y="202"/>
                </a:lnTo>
                <a:lnTo>
                  <a:pt x="211" y="202"/>
                </a:lnTo>
                <a:lnTo>
                  <a:pt x="193" y="163"/>
                </a:lnTo>
                <a:lnTo>
                  <a:pt x="185" y="146"/>
                </a:lnTo>
                <a:lnTo>
                  <a:pt x="177" y="131"/>
                </a:lnTo>
                <a:lnTo>
                  <a:pt x="169" y="117"/>
                </a:lnTo>
                <a:lnTo>
                  <a:pt x="159" y="105"/>
                </a:lnTo>
                <a:lnTo>
                  <a:pt x="149" y="93"/>
                </a:lnTo>
                <a:lnTo>
                  <a:pt x="139" y="84"/>
                </a:lnTo>
                <a:lnTo>
                  <a:pt x="128" y="76"/>
                </a:lnTo>
                <a:lnTo>
                  <a:pt x="114" y="69"/>
                </a:lnTo>
                <a:lnTo>
                  <a:pt x="100" y="63"/>
                </a:lnTo>
                <a:lnTo>
                  <a:pt x="85" y="59"/>
                </a:lnTo>
                <a:lnTo>
                  <a:pt x="66" y="54"/>
                </a:lnTo>
                <a:lnTo>
                  <a:pt x="47" y="52"/>
                </a:lnTo>
                <a:lnTo>
                  <a:pt x="24" y="50"/>
                </a:lnTo>
                <a:lnTo>
                  <a:pt x="0" y="50"/>
                </a:lnTo>
                <a:lnTo>
                  <a:pt x="0" y="0"/>
                </a:lnTo>
                <a:lnTo>
                  <a:pt x="566" y="0"/>
                </a:lnTo>
                <a:lnTo>
                  <a:pt x="566" y="50"/>
                </a:lnTo>
                <a:lnTo>
                  <a:pt x="566" y="50"/>
                </a:lnTo>
                <a:lnTo>
                  <a:pt x="539" y="50"/>
                </a:lnTo>
                <a:lnTo>
                  <a:pt x="515" y="52"/>
                </a:lnTo>
                <a:lnTo>
                  <a:pt x="494" y="54"/>
                </a:lnTo>
                <a:lnTo>
                  <a:pt x="476" y="58"/>
                </a:lnTo>
                <a:lnTo>
                  <a:pt x="461" y="63"/>
                </a:lnTo>
                <a:lnTo>
                  <a:pt x="448" y="68"/>
                </a:lnTo>
                <a:lnTo>
                  <a:pt x="438" y="74"/>
                </a:lnTo>
                <a:lnTo>
                  <a:pt x="429" y="81"/>
                </a:lnTo>
                <a:lnTo>
                  <a:pt x="423" y="90"/>
                </a:lnTo>
                <a:lnTo>
                  <a:pt x="420" y="99"/>
                </a:lnTo>
                <a:lnTo>
                  <a:pt x="418" y="111"/>
                </a:lnTo>
                <a:lnTo>
                  <a:pt x="419" y="122"/>
                </a:lnTo>
                <a:lnTo>
                  <a:pt x="421" y="135"/>
                </a:lnTo>
                <a:lnTo>
                  <a:pt x="424" y="150"/>
                </a:lnTo>
                <a:lnTo>
                  <a:pt x="429" y="165"/>
                </a:lnTo>
                <a:lnTo>
                  <a:pt x="436" y="181"/>
                </a:lnTo>
                <a:lnTo>
                  <a:pt x="678" y="742"/>
                </a:lnTo>
                <a:lnTo>
                  <a:pt x="921" y="181"/>
                </a:lnTo>
                <a:lnTo>
                  <a:pt x="921" y="181"/>
                </a:lnTo>
                <a:lnTo>
                  <a:pt x="928" y="165"/>
                </a:lnTo>
                <a:lnTo>
                  <a:pt x="933" y="149"/>
                </a:lnTo>
                <a:lnTo>
                  <a:pt x="936" y="134"/>
                </a:lnTo>
                <a:lnTo>
                  <a:pt x="938" y="122"/>
                </a:lnTo>
                <a:lnTo>
                  <a:pt x="938" y="110"/>
                </a:lnTo>
                <a:lnTo>
                  <a:pt x="935" y="98"/>
                </a:lnTo>
                <a:lnTo>
                  <a:pt x="931" y="89"/>
                </a:lnTo>
                <a:lnTo>
                  <a:pt x="925" y="81"/>
                </a:lnTo>
                <a:lnTo>
                  <a:pt x="917" y="74"/>
                </a:lnTo>
                <a:lnTo>
                  <a:pt x="906" y="67"/>
                </a:lnTo>
                <a:lnTo>
                  <a:pt x="894" y="62"/>
                </a:lnTo>
                <a:lnTo>
                  <a:pt x="878" y="58"/>
                </a:lnTo>
                <a:lnTo>
                  <a:pt x="861" y="54"/>
                </a:lnTo>
                <a:lnTo>
                  <a:pt x="840" y="52"/>
                </a:lnTo>
                <a:lnTo>
                  <a:pt x="817" y="50"/>
                </a:lnTo>
                <a:lnTo>
                  <a:pt x="792" y="50"/>
                </a:lnTo>
                <a:lnTo>
                  <a:pt x="792" y="0"/>
                </a:lnTo>
                <a:lnTo>
                  <a:pt x="1210" y="0"/>
                </a:lnTo>
                <a:lnTo>
                  <a:pt x="1210" y="50"/>
                </a:lnTo>
                <a:lnTo>
                  <a:pt x="1210" y="50"/>
                </a:lnTo>
                <a:lnTo>
                  <a:pt x="1188" y="50"/>
                </a:lnTo>
                <a:lnTo>
                  <a:pt x="1169" y="51"/>
                </a:lnTo>
                <a:lnTo>
                  <a:pt x="1150" y="53"/>
                </a:lnTo>
                <a:lnTo>
                  <a:pt x="1134" y="57"/>
                </a:lnTo>
                <a:lnTo>
                  <a:pt x="1119" y="61"/>
                </a:lnTo>
                <a:lnTo>
                  <a:pt x="1104" y="66"/>
                </a:lnTo>
                <a:lnTo>
                  <a:pt x="1091" y="73"/>
                </a:lnTo>
                <a:lnTo>
                  <a:pt x="1079" y="80"/>
                </a:lnTo>
                <a:lnTo>
                  <a:pt x="1067" y="89"/>
                </a:lnTo>
                <a:lnTo>
                  <a:pt x="1056" y="100"/>
                </a:lnTo>
                <a:lnTo>
                  <a:pt x="1046" y="113"/>
                </a:lnTo>
                <a:lnTo>
                  <a:pt x="1036" y="127"/>
                </a:lnTo>
                <a:lnTo>
                  <a:pt x="1026" y="142"/>
                </a:lnTo>
                <a:lnTo>
                  <a:pt x="1016" y="161"/>
                </a:lnTo>
                <a:lnTo>
                  <a:pt x="1007" y="180"/>
                </a:lnTo>
                <a:lnTo>
                  <a:pt x="997" y="202"/>
                </a:lnTo>
                <a:lnTo>
                  <a:pt x="997" y="202"/>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64" name="Freeform 15">
            <a:extLst>
              <a:ext uri="{FF2B5EF4-FFF2-40B4-BE49-F238E27FC236}">
                <a16:creationId xmlns:a16="http://schemas.microsoft.com/office/drawing/2014/main" id="{B0AC8484-A2F8-3247-83AA-7687014EB007}"/>
              </a:ext>
            </a:extLst>
          </p:cNvPr>
          <p:cNvSpPr>
            <a:spLocks noEditPoints="1"/>
          </p:cNvSpPr>
          <p:nvPr userDrawn="1"/>
        </p:nvSpPr>
        <p:spPr bwMode="auto">
          <a:xfrm>
            <a:off x="3135313" y="890590"/>
            <a:ext cx="152400" cy="144463"/>
          </a:xfrm>
          <a:custGeom>
            <a:avLst/>
            <a:gdLst>
              <a:gd name="T0" fmla="*/ 489 w 1151"/>
              <a:gd name="T1" fmla="*/ 1087 h 1094"/>
              <a:gd name="T2" fmla="*/ 353 w 1151"/>
              <a:gd name="T3" fmla="*/ 1051 h 1094"/>
              <a:gd name="T4" fmla="*/ 232 w 1151"/>
              <a:gd name="T5" fmla="*/ 984 h 1094"/>
              <a:gd name="T6" fmla="*/ 132 w 1151"/>
              <a:gd name="T7" fmla="*/ 894 h 1094"/>
              <a:gd name="T8" fmla="*/ 57 w 1151"/>
              <a:gd name="T9" fmla="*/ 783 h 1094"/>
              <a:gd name="T10" fmla="*/ 12 w 1151"/>
              <a:gd name="T11" fmla="*/ 656 h 1094"/>
              <a:gd name="T12" fmla="*/ 0 w 1151"/>
              <a:gd name="T13" fmla="*/ 547 h 1094"/>
              <a:gd name="T14" fmla="*/ 18 w 1151"/>
              <a:gd name="T15" fmla="*/ 411 h 1094"/>
              <a:gd name="T16" fmla="*/ 70 w 1151"/>
              <a:gd name="T17" fmla="*/ 287 h 1094"/>
              <a:gd name="T18" fmla="*/ 150 w 1151"/>
              <a:gd name="T19" fmla="*/ 180 h 1094"/>
              <a:gd name="T20" fmla="*/ 254 w 1151"/>
              <a:gd name="T21" fmla="*/ 94 h 1094"/>
              <a:gd name="T22" fmla="*/ 379 w 1151"/>
              <a:gd name="T23" fmla="*/ 33 h 1094"/>
              <a:gd name="T24" fmla="*/ 517 w 1151"/>
              <a:gd name="T25" fmla="*/ 3 h 1094"/>
              <a:gd name="T26" fmla="*/ 635 w 1151"/>
              <a:gd name="T27" fmla="*/ 3 h 1094"/>
              <a:gd name="T28" fmla="*/ 774 w 1151"/>
              <a:gd name="T29" fmla="*/ 33 h 1094"/>
              <a:gd name="T30" fmla="*/ 897 w 1151"/>
              <a:gd name="T31" fmla="*/ 94 h 1094"/>
              <a:gd name="T32" fmla="*/ 1001 w 1151"/>
              <a:gd name="T33" fmla="*/ 180 h 1094"/>
              <a:gd name="T34" fmla="*/ 1082 w 1151"/>
              <a:gd name="T35" fmla="*/ 287 h 1094"/>
              <a:gd name="T36" fmla="*/ 1133 w 1151"/>
              <a:gd name="T37" fmla="*/ 411 h 1094"/>
              <a:gd name="T38" fmla="*/ 1151 w 1151"/>
              <a:gd name="T39" fmla="*/ 547 h 1094"/>
              <a:gd name="T40" fmla="*/ 1139 w 1151"/>
              <a:gd name="T41" fmla="*/ 656 h 1094"/>
              <a:gd name="T42" fmla="*/ 1094 w 1151"/>
              <a:gd name="T43" fmla="*/ 783 h 1094"/>
              <a:gd name="T44" fmla="*/ 1019 w 1151"/>
              <a:gd name="T45" fmla="*/ 894 h 1094"/>
              <a:gd name="T46" fmla="*/ 919 w 1151"/>
              <a:gd name="T47" fmla="*/ 984 h 1094"/>
              <a:gd name="T48" fmla="*/ 799 w 1151"/>
              <a:gd name="T49" fmla="*/ 1051 h 1094"/>
              <a:gd name="T50" fmla="*/ 663 w 1151"/>
              <a:gd name="T51" fmla="*/ 1087 h 1094"/>
              <a:gd name="T52" fmla="*/ 577 w 1151"/>
              <a:gd name="T53" fmla="*/ 82 h 1094"/>
              <a:gd name="T54" fmla="*/ 492 w 1151"/>
              <a:gd name="T55" fmla="*/ 94 h 1094"/>
              <a:gd name="T56" fmla="*/ 404 w 1151"/>
              <a:gd name="T57" fmla="*/ 137 h 1094"/>
              <a:gd name="T58" fmla="*/ 335 w 1151"/>
              <a:gd name="T59" fmla="*/ 204 h 1094"/>
              <a:gd name="T60" fmla="*/ 285 w 1151"/>
              <a:gd name="T61" fmla="*/ 290 h 1094"/>
              <a:gd name="T62" fmla="*/ 252 w 1151"/>
              <a:gd name="T63" fmla="*/ 386 h 1094"/>
              <a:gd name="T64" fmla="*/ 234 w 1151"/>
              <a:gd name="T65" fmla="*/ 507 h 1094"/>
              <a:gd name="T66" fmla="*/ 240 w 1151"/>
              <a:gd name="T67" fmla="*/ 647 h 1094"/>
              <a:gd name="T68" fmla="*/ 264 w 1151"/>
              <a:gd name="T69" fmla="*/ 747 h 1094"/>
              <a:gd name="T70" fmla="*/ 303 w 1151"/>
              <a:gd name="T71" fmla="*/ 840 h 1094"/>
              <a:gd name="T72" fmla="*/ 360 w 1151"/>
              <a:gd name="T73" fmla="*/ 919 h 1094"/>
              <a:gd name="T74" fmla="*/ 436 w 1151"/>
              <a:gd name="T75" fmla="*/ 977 h 1094"/>
              <a:gd name="T76" fmla="*/ 533 w 1151"/>
              <a:gd name="T77" fmla="*/ 1008 h 1094"/>
              <a:gd name="T78" fmla="*/ 621 w 1151"/>
              <a:gd name="T79" fmla="*/ 1008 h 1094"/>
              <a:gd name="T80" fmla="*/ 716 w 1151"/>
              <a:gd name="T81" fmla="*/ 977 h 1094"/>
              <a:gd name="T82" fmla="*/ 792 w 1151"/>
              <a:gd name="T83" fmla="*/ 919 h 1094"/>
              <a:gd name="T84" fmla="*/ 850 w 1151"/>
              <a:gd name="T85" fmla="*/ 840 h 1094"/>
              <a:gd name="T86" fmla="*/ 889 w 1151"/>
              <a:gd name="T87" fmla="*/ 747 h 1094"/>
              <a:gd name="T88" fmla="*/ 912 w 1151"/>
              <a:gd name="T89" fmla="*/ 647 h 1094"/>
              <a:gd name="T90" fmla="*/ 919 w 1151"/>
              <a:gd name="T91" fmla="*/ 507 h 1094"/>
              <a:gd name="T92" fmla="*/ 901 w 1151"/>
              <a:gd name="T93" fmla="*/ 386 h 1094"/>
              <a:gd name="T94" fmla="*/ 867 w 1151"/>
              <a:gd name="T95" fmla="*/ 290 h 1094"/>
              <a:gd name="T96" fmla="*/ 817 w 1151"/>
              <a:gd name="T97" fmla="*/ 204 h 1094"/>
              <a:gd name="T98" fmla="*/ 748 w 1151"/>
              <a:gd name="T99" fmla="*/ 137 h 1094"/>
              <a:gd name="T100" fmla="*/ 661 w 1151"/>
              <a:gd name="T101" fmla="*/ 94 h 1094"/>
              <a:gd name="T102" fmla="*/ 577 w 1151"/>
              <a:gd name="T103" fmla="*/ 82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51" h="1094">
                <a:moveTo>
                  <a:pt x="577" y="1094"/>
                </a:moveTo>
                <a:lnTo>
                  <a:pt x="577" y="1094"/>
                </a:lnTo>
                <a:lnTo>
                  <a:pt x="547" y="1093"/>
                </a:lnTo>
                <a:lnTo>
                  <a:pt x="517" y="1091"/>
                </a:lnTo>
                <a:lnTo>
                  <a:pt x="489" y="1087"/>
                </a:lnTo>
                <a:lnTo>
                  <a:pt x="461" y="1082"/>
                </a:lnTo>
                <a:lnTo>
                  <a:pt x="432" y="1076"/>
                </a:lnTo>
                <a:lnTo>
                  <a:pt x="406" y="1069"/>
                </a:lnTo>
                <a:lnTo>
                  <a:pt x="379" y="1060"/>
                </a:lnTo>
                <a:lnTo>
                  <a:pt x="353" y="1051"/>
                </a:lnTo>
                <a:lnTo>
                  <a:pt x="327" y="1039"/>
                </a:lnTo>
                <a:lnTo>
                  <a:pt x="303" y="1027"/>
                </a:lnTo>
                <a:lnTo>
                  <a:pt x="278" y="1014"/>
                </a:lnTo>
                <a:lnTo>
                  <a:pt x="254" y="1000"/>
                </a:lnTo>
                <a:lnTo>
                  <a:pt x="232" y="984"/>
                </a:lnTo>
                <a:lnTo>
                  <a:pt x="210" y="968"/>
                </a:lnTo>
                <a:lnTo>
                  <a:pt x="189" y="950"/>
                </a:lnTo>
                <a:lnTo>
                  <a:pt x="170" y="933"/>
                </a:lnTo>
                <a:lnTo>
                  <a:pt x="150" y="914"/>
                </a:lnTo>
                <a:lnTo>
                  <a:pt x="132" y="894"/>
                </a:lnTo>
                <a:lnTo>
                  <a:pt x="115" y="873"/>
                </a:lnTo>
                <a:lnTo>
                  <a:pt x="99" y="851"/>
                </a:lnTo>
                <a:lnTo>
                  <a:pt x="84" y="830"/>
                </a:lnTo>
                <a:lnTo>
                  <a:pt x="70" y="806"/>
                </a:lnTo>
                <a:lnTo>
                  <a:pt x="57" y="783"/>
                </a:lnTo>
                <a:lnTo>
                  <a:pt x="46" y="758"/>
                </a:lnTo>
                <a:lnTo>
                  <a:pt x="36" y="734"/>
                </a:lnTo>
                <a:lnTo>
                  <a:pt x="26" y="708"/>
                </a:lnTo>
                <a:lnTo>
                  <a:pt x="18" y="683"/>
                </a:lnTo>
                <a:lnTo>
                  <a:pt x="12" y="656"/>
                </a:lnTo>
                <a:lnTo>
                  <a:pt x="7" y="629"/>
                </a:lnTo>
                <a:lnTo>
                  <a:pt x="3" y="602"/>
                </a:lnTo>
                <a:lnTo>
                  <a:pt x="1" y="574"/>
                </a:lnTo>
                <a:lnTo>
                  <a:pt x="0" y="547"/>
                </a:lnTo>
                <a:lnTo>
                  <a:pt x="0" y="547"/>
                </a:lnTo>
                <a:lnTo>
                  <a:pt x="1" y="519"/>
                </a:lnTo>
                <a:lnTo>
                  <a:pt x="3" y="491"/>
                </a:lnTo>
                <a:lnTo>
                  <a:pt x="7" y="464"/>
                </a:lnTo>
                <a:lnTo>
                  <a:pt x="12" y="437"/>
                </a:lnTo>
                <a:lnTo>
                  <a:pt x="18" y="411"/>
                </a:lnTo>
                <a:lnTo>
                  <a:pt x="26" y="385"/>
                </a:lnTo>
                <a:lnTo>
                  <a:pt x="36" y="360"/>
                </a:lnTo>
                <a:lnTo>
                  <a:pt x="46" y="335"/>
                </a:lnTo>
                <a:lnTo>
                  <a:pt x="57" y="310"/>
                </a:lnTo>
                <a:lnTo>
                  <a:pt x="70" y="287"/>
                </a:lnTo>
                <a:lnTo>
                  <a:pt x="84" y="264"/>
                </a:lnTo>
                <a:lnTo>
                  <a:pt x="99" y="242"/>
                </a:lnTo>
                <a:lnTo>
                  <a:pt x="115" y="220"/>
                </a:lnTo>
                <a:lnTo>
                  <a:pt x="132" y="200"/>
                </a:lnTo>
                <a:lnTo>
                  <a:pt x="150" y="180"/>
                </a:lnTo>
                <a:lnTo>
                  <a:pt x="170" y="161"/>
                </a:lnTo>
                <a:lnTo>
                  <a:pt x="189" y="143"/>
                </a:lnTo>
                <a:lnTo>
                  <a:pt x="210" y="125"/>
                </a:lnTo>
                <a:lnTo>
                  <a:pt x="232" y="109"/>
                </a:lnTo>
                <a:lnTo>
                  <a:pt x="254" y="94"/>
                </a:lnTo>
                <a:lnTo>
                  <a:pt x="278" y="79"/>
                </a:lnTo>
                <a:lnTo>
                  <a:pt x="303" y="66"/>
                </a:lnTo>
                <a:lnTo>
                  <a:pt x="327" y="54"/>
                </a:lnTo>
                <a:lnTo>
                  <a:pt x="353" y="44"/>
                </a:lnTo>
                <a:lnTo>
                  <a:pt x="379" y="33"/>
                </a:lnTo>
                <a:lnTo>
                  <a:pt x="406" y="24"/>
                </a:lnTo>
                <a:lnTo>
                  <a:pt x="432" y="17"/>
                </a:lnTo>
                <a:lnTo>
                  <a:pt x="461" y="11"/>
                </a:lnTo>
                <a:lnTo>
                  <a:pt x="489" y="6"/>
                </a:lnTo>
                <a:lnTo>
                  <a:pt x="517" y="3"/>
                </a:lnTo>
                <a:lnTo>
                  <a:pt x="547" y="1"/>
                </a:lnTo>
                <a:lnTo>
                  <a:pt x="577" y="0"/>
                </a:lnTo>
                <a:lnTo>
                  <a:pt x="577" y="0"/>
                </a:lnTo>
                <a:lnTo>
                  <a:pt x="606" y="1"/>
                </a:lnTo>
                <a:lnTo>
                  <a:pt x="635" y="3"/>
                </a:lnTo>
                <a:lnTo>
                  <a:pt x="663" y="6"/>
                </a:lnTo>
                <a:lnTo>
                  <a:pt x="692" y="11"/>
                </a:lnTo>
                <a:lnTo>
                  <a:pt x="720" y="17"/>
                </a:lnTo>
                <a:lnTo>
                  <a:pt x="746" y="24"/>
                </a:lnTo>
                <a:lnTo>
                  <a:pt x="774" y="33"/>
                </a:lnTo>
                <a:lnTo>
                  <a:pt x="799" y="44"/>
                </a:lnTo>
                <a:lnTo>
                  <a:pt x="825" y="54"/>
                </a:lnTo>
                <a:lnTo>
                  <a:pt x="850" y="66"/>
                </a:lnTo>
                <a:lnTo>
                  <a:pt x="874" y="79"/>
                </a:lnTo>
                <a:lnTo>
                  <a:pt x="897" y="94"/>
                </a:lnTo>
                <a:lnTo>
                  <a:pt x="919" y="109"/>
                </a:lnTo>
                <a:lnTo>
                  <a:pt x="942" y="125"/>
                </a:lnTo>
                <a:lnTo>
                  <a:pt x="962" y="143"/>
                </a:lnTo>
                <a:lnTo>
                  <a:pt x="982" y="161"/>
                </a:lnTo>
                <a:lnTo>
                  <a:pt x="1001" y="180"/>
                </a:lnTo>
                <a:lnTo>
                  <a:pt x="1019" y="200"/>
                </a:lnTo>
                <a:lnTo>
                  <a:pt x="1037" y="220"/>
                </a:lnTo>
                <a:lnTo>
                  <a:pt x="1052" y="242"/>
                </a:lnTo>
                <a:lnTo>
                  <a:pt x="1067" y="264"/>
                </a:lnTo>
                <a:lnTo>
                  <a:pt x="1082" y="287"/>
                </a:lnTo>
                <a:lnTo>
                  <a:pt x="1094" y="310"/>
                </a:lnTo>
                <a:lnTo>
                  <a:pt x="1105" y="335"/>
                </a:lnTo>
                <a:lnTo>
                  <a:pt x="1116" y="360"/>
                </a:lnTo>
                <a:lnTo>
                  <a:pt x="1125" y="385"/>
                </a:lnTo>
                <a:lnTo>
                  <a:pt x="1133" y="411"/>
                </a:lnTo>
                <a:lnTo>
                  <a:pt x="1139" y="437"/>
                </a:lnTo>
                <a:lnTo>
                  <a:pt x="1144" y="464"/>
                </a:lnTo>
                <a:lnTo>
                  <a:pt x="1148" y="491"/>
                </a:lnTo>
                <a:lnTo>
                  <a:pt x="1150" y="519"/>
                </a:lnTo>
                <a:lnTo>
                  <a:pt x="1151" y="547"/>
                </a:lnTo>
                <a:lnTo>
                  <a:pt x="1151" y="547"/>
                </a:lnTo>
                <a:lnTo>
                  <a:pt x="1150" y="574"/>
                </a:lnTo>
                <a:lnTo>
                  <a:pt x="1148" y="602"/>
                </a:lnTo>
                <a:lnTo>
                  <a:pt x="1144" y="629"/>
                </a:lnTo>
                <a:lnTo>
                  <a:pt x="1139" y="656"/>
                </a:lnTo>
                <a:lnTo>
                  <a:pt x="1133" y="683"/>
                </a:lnTo>
                <a:lnTo>
                  <a:pt x="1125" y="708"/>
                </a:lnTo>
                <a:lnTo>
                  <a:pt x="1116" y="734"/>
                </a:lnTo>
                <a:lnTo>
                  <a:pt x="1105" y="758"/>
                </a:lnTo>
                <a:lnTo>
                  <a:pt x="1094" y="783"/>
                </a:lnTo>
                <a:lnTo>
                  <a:pt x="1082" y="806"/>
                </a:lnTo>
                <a:lnTo>
                  <a:pt x="1067" y="830"/>
                </a:lnTo>
                <a:lnTo>
                  <a:pt x="1052" y="851"/>
                </a:lnTo>
                <a:lnTo>
                  <a:pt x="1037" y="873"/>
                </a:lnTo>
                <a:lnTo>
                  <a:pt x="1019" y="894"/>
                </a:lnTo>
                <a:lnTo>
                  <a:pt x="1001" y="914"/>
                </a:lnTo>
                <a:lnTo>
                  <a:pt x="982" y="933"/>
                </a:lnTo>
                <a:lnTo>
                  <a:pt x="962" y="950"/>
                </a:lnTo>
                <a:lnTo>
                  <a:pt x="942" y="968"/>
                </a:lnTo>
                <a:lnTo>
                  <a:pt x="919" y="984"/>
                </a:lnTo>
                <a:lnTo>
                  <a:pt x="897" y="1000"/>
                </a:lnTo>
                <a:lnTo>
                  <a:pt x="874" y="1014"/>
                </a:lnTo>
                <a:lnTo>
                  <a:pt x="850" y="1027"/>
                </a:lnTo>
                <a:lnTo>
                  <a:pt x="825" y="1039"/>
                </a:lnTo>
                <a:lnTo>
                  <a:pt x="799" y="1051"/>
                </a:lnTo>
                <a:lnTo>
                  <a:pt x="774" y="1060"/>
                </a:lnTo>
                <a:lnTo>
                  <a:pt x="746" y="1069"/>
                </a:lnTo>
                <a:lnTo>
                  <a:pt x="720" y="1076"/>
                </a:lnTo>
                <a:lnTo>
                  <a:pt x="692" y="1082"/>
                </a:lnTo>
                <a:lnTo>
                  <a:pt x="663" y="1087"/>
                </a:lnTo>
                <a:lnTo>
                  <a:pt x="635" y="1091"/>
                </a:lnTo>
                <a:lnTo>
                  <a:pt x="606" y="1093"/>
                </a:lnTo>
                <a:lnTo>
                  <a:pt x="577" y="1094"/>
                </a:lnTo>
                <a:lnTo>
                  <a:pt x="577" y="1094"/>
                </a:lnTo>
                <a:close/>
                <a:moveTo>
                  <a:pt x="577" y="82"/>
                </a:moveTo>
                <a:lnTo>
                  <a:pt x="577" y="82"/>
                </a:lnTo>
                <a:lnTo>
                  <a:pt x="554" y="83"/>
                </a:lnTo>
                <a:lnTo>
                  <a:pt x="533" y="86"/>
                </a:lnTo>
                <a:lnTo>
                  <a:pt x="511" y="90"/>
                </a:lnTo>
                <a:lnTo>
                  <a:pt x="492" y="94"/>
                </a:lnTo>
                <a:lnTo>
                  <a:pt x="472" y="100"/>
                </a:lnTo>
                <a:lnTo>
                  <a:pt x="454" y="108"/>
                </a:lnTo>
                <a:lnTo>
                  <a:pt x="436" y="116"/>
                </a:lnTo>
                <a:lnTo>
                  <a:pt x="419" y="125"/>
                </a:lnTo>
                <a:lnTo>
                  <a:pt x="404" y="137"/>
                </a:lnTo>
                <a:lnTo>
                  <a:pt x="388" y="148"/>
                </a:lnTo>
                <a:lnTo>
                  <a:pt x="374" y="161"/>
                </a:lnTo>
                <a:lnTo>
                  <a:pt x="360" y="174"/>
                </a:lnTo>
                <a:lnTo>
                  <a:pt x="347" y="189"/>
                </a:lnTo>
                <a:lnTo>
                  <a:pt x="335" y="204"/>
                </a:lnTo>
                <a:lnTo>
                  <a:pt x="324" y="219"/>
                </a:lnTo>
                <a:lnTo>
                  <a:pt x="313" y="237"/>
                </a:lnTo>
                <a:lnTo>
                  <a:pt x="303" y="253"/>
                </a:lnTo>
                <a:lnTo>
                  <a:pt x="293" y="272"/>
                </a:lnTo>
                <a:lnTo>
                  <a:pt x="285" y="290"/>
                </a:lnTo>
                <a:lnTo>
                  <a:pt x="277" y="308"/>
                </a:lnTo>
                <a:lnTo>
                  <a:pt x="270" y="327"/>
                </a:lnTo>
                <a:lnTo>
                  <a:pt x="264" y="346"/>
                </a:lnTo>
                <a:lnTo>
                  <a:pt x="258" y="367"/>
                </a:lnTo>
                <a:lnTo>
                  <a:pt x="252" y="386"/>
                </a:lnTo>
                <a:lnTo>
                  <a:pt x="248" y="407"/>
                </a:lnTo>
                <a:lnTo>
                  <a:pt x="244" y="426"/>
                </a:lnTo>
                <a:lnTo>
                  <a:pt x="240" y="446"/>
                </a:lnTo>
                <a:lnTo>
                  <a:pt x="238" y="467"/>
                </a:lnTo>
                <a:lnTo>
                  <a:pt x="234" y="507"/>
                </a:lnTo>
                <a:lnTo>
                  <a:pt x="233" y="547"/>
                </a:lnTo>
                <a:lnTo>
                  <a:pt x="233" y="547"/>
                </a:lnTo>
                <a:lnTo>
                  <a:pt x="234" y="587"/>
                </a:lnTo>
                <a:lnTo>
                  <a:pt x="238" y="626"/>
                </a:lnTo>
                <a:lnTo>
                  <a:pt x="240" y="647"/>
                </a:lnTo>
                <a:lnTo>
                  <a:pt x="244" y="667"/>
                </a:lnTo>
                <a:lnTo>
                  <a:pt x="248" y="687"/>
                </a:lnTo>
                <a:lnTo>
                  <a:pt x="252" y="707"/>
                </a:lnTo>
                <a:lnTo>
                  <a:pt x="258" y="728"/>
                </a:lnTo>
                <a:lnTo>
                  <a:pt x="264" y="747"/>
                </a:lnTo>
                <a:lnTo>
                  <a:pt x="270" y="766"/>
                </a:lnTo>
                <a:lnTo>
                  <a:pt x="277" y="785"/>
                </a:lnTo>
                <a:lnTo>
                  <a:pt x="285" y="804"/>
                </a:lnTo>
                <a:lnTo>
                  <a:pt x="293" y="822"/>
                </a:lnTo>
                <a:lnTo>
                  <a:pt x="303" y="840"/>
                </a:lnTo>
                <a:lnTo>
                  <a:pt x="313" y="857"/>
                </a:lnTo>
                <a:lnTo>
                  <a:pt x="324" y="874"/>
                </a:lnTo>
                <a:lnTo>
                  <a:pt x="335" y="889"/>
                </a:lnTo>
                <a:lnTo>
                  <a:pt x="347" y="904"/>
                </a:lnTo>
                <a:lnTo>
                  <a:pt x="360" y="919"/>
                </a:lnTo>
                <a:lnTo>
                  <a:pt x="374" y="932"/>
                </a:lnTo>
                <a:lnTo>
                  <a:pt x="388" y="945"/>
                </a:lnTo>
                <a:lnTo>
                  <a:pt x="404" y="957"/>
                </a:lnTo>
                <a:lnTo>
                  <a:pt x="419" y="968"/>
                </a:lnTo>
                <a:lnTo>
                  <a:pt x="436" y="977"/>
                </a:lnTo>
                <a:lnTo>
                  <a:pt x="454" y="986"/>
                </a:lnTo>
                <a:lnTo>
                  <a:pt x="472" y="993"/>
                </a:lnTo>
                <a:lnTo>
                  <a:pt x="492" y="1000"/>
                </a:lnTo>
                <a:lnTo>
                  <a:pt x="511" y="1005"/>
                </a:lnTo>
                <a:lnTo>
                  <a:pt x="533" y="1008"/>
                </a:lnTo>
                <a:lnTo>
                  <a:pt x="554" y="1010"/>
                </a:lnTo>
                <a:lnTo>
                  <a:pt x="577" y="1011"/>
                </a:lnTo>
                <a:lnTo>
                  <a:pt x="577" y="1011"/>
                </a:lnTo>
                <a:lnTo>
                  <a:pt x="599" y="1010"/>
                </a:lnTo>
                <a:lnTo>
                  <a:pt x="621" y="1008"/>
                </a:lnTo>
                <a:lnTo>
                  <a:pt x="641" y="1005"/>
                </a:lnTo>
                <a:lnTo>
                  <a:pt x="661" y="1000"/>
                </a:lnTo>
                <a:lnTo>
                  <a:pt x="680" y="993"/>
                </a:lnTo>
                <a:lnTo>
                  <a:pt x="698" y="986"/>
                </a:lnTo>
                <a:lnTo>
                  <a:pt x="716" y="977"/>
                </a:lnTo>
                <a:lnTo>
                  <a:pt x="733" y="968"/>
                </a:lnTo>
                <a:lnTo>
                  <a:pt x="748" y="957"/>
                </a:lnTo>
                <a:lnTo>
                  <a:pt x="764" y="945"/>
                </a:lnTo>
                <a:lnTo>
                  <a:pt x="778" y="932"/>
                </a:lnTo>
                <a:lnTo>
                  <a:pt x="792" y="919"/>
                </a:lnTo>
                <a:lnTo>
                  <a:pt x="805" y="904"/>
                </a:lnTo>
                <a:lnTo>
                  <a:pt x="817" y="889"/>
                </a:lnTo>
                <a:lnTo>
                  <a:pt x="829" y="874"/>
                </a:lnTo>
                <a:lnTo>
                  <a:pt x="839" y="857"/>
                </a:lnTo>
                <a:lnTo>
                  <a:pt x="850" y="840"/>
                </a:lnTo>
                <a:lnTo>
                  <a:pt x="859" y="822"/>
                </a:lnTo>
                <a:lnTo>
                  <a:pt x="867" y="804"/>
                </a:lnTo>
                <a:lnTo>
                  <a:pt x="875" y="785"/>
                </a:lnTo>
                <a:lnTo>
                  <a:pt x="882" y="766"/>
                </a:lnTo>
                <a:lnTo>
                  <a:pt x="889" y="747"/>
                </a:lnTo>
                <a:lnTo>
                  <a:pt x="896" y="728"/>
                </a:lnTo>
                <a:lnTo>
                  <a:pt x="901" y="707"/>
                </a:lnTo>
                <a:lnTo>
                  <a:pt x="905" y="687"/>
                </a:lnTo>
                <a:lnTo>
                  <a:pt x="909" y="667"/>
                </a:lnTo>
                <a:lnTo>
                  <a:pt x="912" y="647"/>
                </a:lnTo>
                <a:lnTo>
                  <a:pt x="915" y="626"/>
                </a:lnTo>
                <a:lnTo>
                  <a:pt x="919" y="587"/>
                </a:lnTo>
                <a:lnTo>
                  <a:pt x="920" y="547"/>
                </a:lnTo>
                <a:lnTo>
                  <a:pt x="920" y="547"/>
                </a:lnTo>
                <a:lnTo>
                  <a:pt x="919" y="507"/>
                </a:lnTo>
                <a:lnTo>
                  <a:pt x="915" y="467"/>
                </a:lnTo>
                <a:lnTo>
                  <a:pt x="912" y="446"/>
                </a:lnTo>
                <a:lnTo>
                  <a:pt x="909" y="426"/>
                </a:lnTo>
                <a:lnTo>
                  <a:pt x="905" y="407"/>
                </a:lnTo>
                <a:lnTo>
                  <a:pt x="901" y="386"/>
                </a:lnTo>
                <a:lnTo>
                  <a:pt x="896" y="367"/>
                </a:lnTo>
                <a:lnTo>
                  <a:pt x="889" y="346"/>
                </a:lnTo>
                <a:lnTo>
                  <a:pt x="882" y="327"/>
                </a:lnTo>
                <a:lnTo>
                  <a:pt x="875" y="308"/>
                </a:lnTo>
                <a:lnTo>
                  <a:pt x="867" y="290"/>
                </a:lnTo>
                <a:lnTo>
                  <a:pt x="859" y="272"/>
                </a:lnTo>
                <a:lnTo>
                  <a:pt x="850" y="253"/>
                </a:lnTo>
                <a:lnTo>
                  <a:pt x="839" y="237"/>
                </a:lnTo>
                <a:lnTo>
                  <a:pt x="829" y="219"/>
                </a:lnTo>
                <a:lnTo>
                  <a:pt x="817" y="204"/>
                </a:lnTo>
                <a:lnTo>
                  <a:pt x="805" y="189"/>
                </a:lnTo>
                <a:lnTo>
                  <a:pt x="792" y="174"/>
                </a:lnTo>
                <a:lnTo>
                  <a:pt x="778" y="161"/>
                </a:lnTo>
                <a:lnTo>
                  <a:pt x="764" y="148"/>
                </a:lnTo>
                <a:lnTo>
                  <a:pt x="748" y="137"/>
                </a:lnTo>
                <a:lnTo>
                  <a:pt x="733" y="125"/>
                </a:lnTo>
                <a:lnTo>
                  <a:pt x="716" y="116"/>
                </a:lnTo>
                <a:lnTo>
                  <a:pt x="698" y="108"/>
                </a:lnTo>
                <a:lnTo>
                  <a:pt x="680" y="100"/>
                </a:lnTo>
                <a:lnTo>
                  <a:pt x="661" y="94"/>
                </a:lnTo>
                <a:lnTo>
                  <a:pt x="641" y="90"/>
                </a:lnTo>
                <a:lnTo>
                  <a:pt x="621" y="86"/>
                </a:lnTo>
                <a:lnTo>
                  <a:pt x="599" y="83"/>
                </a:lnTo>
                <a:lnTo>
                  <a:pt x="577" y="82"/>
                </a:lnTo>
                <a:lnTo>
                  <a:pt x="577" y="82"/>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65" name="Freeform 16">
            <a:extLst>
              <a:ext uri="{FF2B5EF4-FFF2-40B4-BE49-F238E27FC236}">
                <a16:creationId xmlns:a16="http://schemas.microsoft.com/office/drawing/2014/main" id="{B5D68C21-7AED-414B-9238-BC99BD377826}"/>
              </a:ext>
            </a:extLst>
          </p:cNvPr>
          <p:cNvSpPr>
            <a:spLocks/>
          </p:cNvSpPr>
          <p:nvPr userDrawn="1"/>
        </p:nvSpPr>
        <p:spPr bwMode="auto">
          <a:xfrm>
            <a:off x="3332165" y="889002"/>
            <a:ext cx="93663" cy="146050"/>
          </a:xfrm>
          <a:custGeom>
            <a:avLst/>
            <a:gdLst>
              <a:gd name="T0" fmla="*/ 52 w 712"/>
              <a:gd name="T1" fmla="*/ 723 h 1103"/>
              <a:gd name="T2" fmla="*/ 75 w 712"/>
              <a:gd name="T3" fmla="*/ 804 h 1103"/>
              <a:gd name="T4" fmla="*/ 112 w 712"/>
              <a:gd name="T5" fmla="*/ 875 h 1103"/>
              <a:gd name="T6" fmla="*/ 159 w 712"/>
              <a:gd name="T7" fmla="*/ 933 h 1103"/>
              <a:gd name="T8" fmla="*/ 215 w 712"/>
              <a:gd name="T9" fmla="*/ 978 h 1103"/>
              <a:gd name="T10" fmla="*/ 278 w 712"/>
              <a:gd name="T11" fmla="*/ 1009 h 1103"/>
              <a:gd name="T12" fmla="*/ 343 w 712"/>
              <a:gd name="T13" fmla="*/ 1024 h 1103"/>
              <a:gd name="T14" fmla="*/ 405 w 712"/>
              <a:gd name="T15" fmla="*/ 1022 h 1103"/>
              <a:gd name="T16" fmla="*/ 481 w 712"/>
              <a:gd name="T17" fmla="*/ 992 h 1103"/>
              <a:gd name="T18" fmla="*/ 529 w 712"/>
              <a:gd name="T19" fmla="*/ 929 h 1103"/>
              <a:gd name="T20" fmla="*/ 541 w 712"/>
              <a:gd name="T21" fmla="*/ 854 h 1103"/>
              <a:gd name="T22" fmla="*/ 528 w 712"/>
              <a:gd name="T23" fmla="*/ 795 h 1103"/>
              <a:gd name="T24" fmla="*/ 490 w 712"/>
              <a:gd name="T25" fmla="*/ 737 h 1103"/>
              <a:gd name="T26" fmla="*/ 429 w 712"/>
              <a:gd name="T27" fmla="*/ 688 h 1103"/>
              <a:gd name="T28" fmla="*/ 198 w 712"/>
              <a:gd name="T29" fmla="*/ 566 h 1103"/>
              <a:gd name="T30" fmla="*/ 94 w 712"/>
              <a:gd name="T31" fmla="*/ 485 h 1103"/>
              <a:gd name="T32" fmla="*/ 32 w 712"/>
              <a:gd name="T33" fmla="*/ 380 h 1103"/>
              <a:gd name="T34" fmla="*/ 16 w 712"/>
              <a:gd name="T35" fmla="*/ 267 h 1103"/>
              <a:gd name="T36" fmla="*/ 25 w 712"/>
              <a:gd name="T37" fmla="*/ 204 h 1103"/>
              <a:gd name="T38" fmla="*/ 52 w 712"/>
              <a:gd name="T39" fmla="*/ 145 h 1103"/>
              <a:gd name="T40" fmla="*/ 94 w 712"/>
              <a:gd name="T41" fmla="*/ 95 h 1103"/>
              <a:gd name="T42" fmla="*/ 148 w 712"/>
              <a:gd name="T43" fmla="*/ 54 h 1103"/>
              <a:gd name="T44" fmla="*/ 212 w 712"/>
              <a:gd name="T45" fmla="*/ 25 h 1103"/>
              <a:gd name="T46" fmla="*/ 285 w 712"/>
              <a:gd name="T47" fmla="*/ 11 h 1103"/>
              <a:gd name="T48" fmla="*/ 352 w 712"/>
              <a:gd name="T49" fmla="*/ 11 h 1103"/>
              <a:gd name="T50" fmla="*/ 427 w 712"/>
              <a:gd name="T51" fmla="*/ 25 h 1103"/>
              <a:gd name="T52" fmla="*/ 526 w 712"/>
              <a:gd name="T53" fmla="*/ 79 h 1103"/>
              <a:gd name="T54" fmla="*/ 556 w 712"/>
              <a:gd name="T55" fmla="*/ 47 h 1103"/>
              <a:gd name="T56" fmla="*/ 624 w 712"/>
              <a:gd name="T57" fmla="*/ 0 h 1103"/>
              <a:gd name="T58" fmla="*/ 568 w 712"/>
              <a:gd name="T59" fmla="*/ 328 h 1103"/>
              <a:gd name="T60" fmla="*/ 527 w 712"/>
              <a:gd name="T61" fmla="*/ 203 h 1103"/>
              <a:gd name="T62" fmla="*/ 481 w 712"/>
              <a:gd name="T63" fmla="*/ 142 h 1103"/>
              <a:gd name="T64" fmla="*/ 428 w 712"/>
              <a:gd name="T65" fmla="*/ 106 h 1103"/>
              <a:gd name="T66" fmla="*/ 358 w 712"/>
              <a:gd name="T67" fmla="*/ 86 h 1103"/>
              <a:gd name="T68" fmla="*/ 300 w 712"/>
              <a:gd name="T69" fmla="*/ 87 h 1103"/>
              <a:gd name="T70" fmla="*/ 240 w 712"/>
              <a:gd name="T71" fmla="*/ 113 h 1103"/>
              <a:gd name="T72" fmla="*/ 199 w 712"/>
              <a:gd name="T73" fmla="*/ 165 h 1103"/>
              <a:gd name="T74" fmla="*/ 187 w 712"/>
              <a:gd name="T75" fmla="*/ 222 h 1103"/>
              <a:gd name="T76" fmla="*/ 200 w 712"/>
              <a:gd name="T77" fmla="*/ 278 h 1103"/>
              <a:gd name="T78" fmla="*/ 241 w 712"/>
              <a:gd name="T79" fmla="*/ 336 h 1103"/>
              <a:gd name="T80" fmla="*/ 308 w 712"/>
              <a:gd name="T81" fmla="*/ 390 h 1103"/>
              <a:gd name="T82" fmla="*/ 535 w 712"/>
              <a:gd name="T83" fmla="*/ 510 h 1103"/>
              <a:gd name="T84" fmla="*/ 631 w 712"/>
              <a:gd name="T85" fmla="*/ 590 h 1103"/>
              <a:gd name="T86" fmla="*/ 695 w 712"/>
              <a:gd name="T87" fmla="*/ 693 h 1103"/>
              <a:gd name="T88" fmla="*/ 712 w 712"/>
              <a:gd name="T89" fmla="*/ 789 h 1103"/>
              <a:gd name="T90" fmla="*/ 701 w 712"/>
              <a:gd name="T91" fmla="*/ 872 h 1103"/>
              <a:gd name="T92" fmla="*/ 669 w 712"/>
              <a:gd name="T93" fmla="*/ 945 h 1103"/>
              <a:gd name="T94" fmla="*/ 619 w 712"/>
              <a:gd name="T95" fmla="*/ 1005 h 1103"/>
              <a:gd name="T96" fmla="*/ 556 w 712"/>
              <a:gd name="T97" fmla="*/ 1053 h 1103"/>
              <a:gd name="T98" fmla="*/ 483 w 712"/>
              <a:gd name="T99" fmla="*/ 1085 h 1103"/>
              <a:gd name="T100" fmla="*/ 402 w 712"/>
              <a:gd name="T101" fmla="*/ 1101 h 1103"/>
              <a:gd name="T102" fmla="*/ 323 w 712"/>
              <a:gd name="T103" fmla="*/ 1100 h 1103"/>
              <a:gd name="T104" fmla="*/ 223 w 712"/>
              <a:gd name="T105" fmla="*/ 1073 h 1103"/>
              <a:gd name="T106" fmla="*/ 111 w 712"/>
              <a:gd name="T107" fmla="*/ 1024 h 1103"/>
              <a:gd name="T108" fmla="*/ 77 w 712"/>
              <a:gd name="T109" fmla="*/ 1044 h 1103"/>
              <a:gd name="T110" fmla="*/ 51 w 712"/>
              <a:gd name="T111" fmla="*/ 1103 h 1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2" h="1103">
                <a:moveTo>
                  <a:pt x="51" y="1103"/>
                </a:moveTo>
                <a:lnTo>
                  <a:pt x="0" y="1103"/>
                </a:lnTo>
                <a:lnTo>
                  <a:pt x="0" y="723"/>
                </a:lnTo>
                <a:lnTo>
                  <a:pt x="52" y="723"/>
                </a:lnTo>
                <a:lnTo>
                  <a:pt x="52" y="723"/>
                </a:lnTo>
                <a:lnTo>
                  <a:pt x="56" y="740"/>
                </a:lnTo>
                <a:lnTo>
                  <a:pt x="60" y="757"/>
                </a:lnTo>
                <a:lnTo>
                  <a:pt x="64" y="773"/>
                </a:lnTo>
                <a:lnTo>
                  <a:pt x="69" y="789"/>
                </a:lnTo>
                <a:lnTo>
                  <a:pt x="75" y="804"/>
                </a:lnTo>
                <a:lnTo>
                  <a:pt x="81" y="819"/>
                </a:lnTo>
                <a:lnTo>
                  <a:pt x="88" y="834"/>
                </a:lnTo>
                <a:lnTo>
                  <a:pt x="96" y="848"/>
                </a:lnTo>
                <a:lnTo>
                  <a:pt x="104" y="861"/>
                </a:lnTo>
                <a:lnTo>
                  <a:pt x="112" y="875"/>
                </a:lnTo>
                <a:lnTo>
                  <a:pt x="120" y="888"/>
                </a:lnTo>
                <a:lnTo>
                  <a:pt x="129" y="899"/>
                </a:lnTo>
                <a:lnTo>
                  <a:pt x="139" y="911"/>
                </a:lnTo>
                <a:lnTo>
                  <a:pt x="149" y="923"/>
                </a:lnTo>
                <a:lnTo>
                  <a:pt x="159" y="933"/>
                </a:lnTo>
                <a:lnTo>
                  <a:pt x="170" y="943"/>
                </a:lnTo>
                <a:lnTo>
                  <a:pt x="180" y="952"/>
                </a:lnTo>
                <a:lnTo>
                  <a:pt x="192" y="962"/>
                </a:lnTo>
                <a:lnTo>
                  <a:pt x="204" y="970"/>
                </a:lnTo>
                <a:lnTo>
                  <a:pt x="215" y="978"/>
                </a:lnTo>
                <a:lnTo>
                  <a:pt x="227" y="985"/>
                </a:lnTo>
                <a:lnTo>
                  <a:pt x="240" y="992"/>
                </a:lnTo>
                <a:lnTo>
                  <a:pt x="252" y="998"/>
                </a:lnTo>
                <a:lnTo>
                  <a:pt x="264" y="1003"/>
                </a:lnTo>
                <a:lnTo>
                  <a:pt x="278" y="1009"/>
                </a:lnTo>
                <a:lnTo>
                  <a:pt x="290" y="1013"/>
                </a:lnTo>
                <a:lnTo>
                  <a:pt x="303" y="1017"/>
                </a:lnTo>
                <a:lnTo>
                  <a:pt x="316" y="1020"/>
                </a:lnTo>
                <a:lnTo>
                  <a:pt x="330" y="1022"/>
                </a:lnTo>
                <a:lnTo>
                  <a:pt x="343" y="1024"/>
                </a:lnTo>
                <a:lnTo>
                  <a:pt x="356" y="1025"/>
                </a:lnTo>
                <a:lnTo>
                  <a:pt x="370" y="1025"/>
                </a:lnTo>
                <a:lnTo>
                  <a:pt x="370" y="1025"/>
                </a:lnTo>
                <a:lnTo>
                  <a:pt x="388" y="1024"/>
                </a:lnTo>
                <a:lnTo>
                  <a:pt x="405" y="1022"/>
                </a:lnTo>
                <a:lnTo>
                  <a:pt x="423" y="1019"/>
                </a:lnTo>
                <a:lnTo>
                  <a:pt x="438" y="1015"/>
                </a:lnTo>
                <a:lnTo>
                  <a:pt x="453" y="1009"/>
                </a:lnTo>
                <a:lnTo>
                  <a:pt x="468" y="1000"/>
                </a:lnTo>
                <a:lnTo>
                  <a:pt x="481" y="992"/>
                </a:lnTo>
                <a:lnTo>
                  <a:pt x="493" y="982"/>
                </a:lnTo>
                <a:lnTo>
                  <a:pt x="504" y="971"/>
                </a:lnTo>
                <a:lnTo>
                  <a:pt x="514" y="958"/>
                </a:lnTo>
                <a:lnTo>
                  <a:pt x="522" y="944"/>
                </a:lnTo>
                <a:lnTo>
                  <a:pt x="529" y="929"/>
                </a:lnTo>
                <a:lnTo>
                  <a:pt x="534" y="912"/>
                </a:lnTo>
                <a:lnTo>
                  <a:pt x="538" y="894"/>
                </a:lnTo>
                <a:lnTo>
                  <a:pt x="541" y="875"/>
                </a:lnTo>
                <a:lnTo>
                  <a:pt x="541" y="854"/>
                </a:lnTo>
                <a:lnTo>
                  <a:pt x="541" y="854"/>
                </a:lnTo>
                <a:lnTo>
                  <a:pt x="541" y="842"/>
                </a:lnTo>
                <a:lnTo>
                  <a:pt x="539" y="831"/>
                </a:lnTo>
                <a:lnTo>
                  <a:pt x="537" y="818"/>
                </a:lnTo>
                <a:lnTo>
                  <a:pt x="533" y="806"/>
                </a:lnTo>
                <a:lnTo>
                  <a:pt x="528" y="795"/>
                </a:lnTo>
                <a:lnTo>
                  <a:pt x="523" y="783"/>
                </a:lnTo>
                <a:lnTo>
                  <a:pt x="516" y="771"/>
                </a:lnTo>
                <a:lnTo>
                  <a:pt x="509" y="759"/>
                </a:lnTo>
                <a:lnTo>
                  <a:pt x="499" y="748"/>
                </a:lnTo>
                <a:lnTo>
                  <a:pt x="490" y="737"/>
                </a:lnTo>
                <a:lnTo>
                  <a:pt x="480" y="726"/>
                </a:lnTo>
                <a:lnTo>
                  <a:pt x="469" y="716"/>
                </a:lnTo>
                <a:lnTo>
                  <a:pt x="457" y="706"/>
                </a:lnTo>
                <a:lnTo>
                  <a:pt x="443" y="697"/>
                </a:lnTo>
                <a:lnTo>
                  <a:pt x="429" y="688"/>
                </a:lnTo>
                <a:lnTo>
                  <a:pt x="415" y="680"/>
                </a:lnTo>
                <a:lnTo>
                  <a:pt x="250" y="593"/>
                </a:lnTo>
                <a:lnTo>
                  <a:pt x="250" y="593"/>
                </a:lnTo>
                <a:lnTo>
                  <a:pt x="223" y="580"/>
                </a:lnTo>
                <a:lnTo>
                  <a:pt x="198" y="566"/>
                </a:lnTo>
                <a:lnTo>
                  <a:pt x="174" y="551"/>
                </a:lnTo>
                <a:lnTo>
                  <a:pt x="152" y="535"/>
                </a:lnTo>
                <a:lnTo>
                  <a:pt x="131" y="520"/>
                </a:lnTo>
                <a:lnTo>
                  <a:pt x="112" y="502"/>
                </a:lnTo>
                <a:lnTo>
                  <a:pt x="94" y="485"/>
                </a:lnTo>
                <a:lnTo>
                  <a:pt x="78" y="467"/>
                </a:lnTo>
                <a:lnTo>
                  <a:pt x="64" y="447"/>
                </a:lnTo>
                <a:lnTo>
                  <a:pt x="52" y="426"/>
                </a:lnTo>
                <a:lnTo>
                  <a:pt x="40" y="404"/>
                </a:lnTo>
                <a:lnTo>
                  <a:pt x="32" y="380"/>
                </a:lnTo>
                <a:lnTo>
                  <a:pt x="25" y="355"/>
                </a:lnTo>
                <a:lnTo>
                  <a:pt x="20" y="328"/>
                </a:lnTo>
                <a:lnTo>
                  <a:pt x="17" y="299"/>
                </a:lnTo>
                <a:lnTo>
                  <a:pt x="16" y="267"/>
                </a:lnTo>
                <a:lnTo>
                  <a:pt x="16" y="267"/>
                </a:lnTo>
                <a:lnTo>
                  <a:pt x="16" y="254"/>
                </a:lnTo>
                <a:lnTo>
                  <a:pt x="17" y="242"/>
                </a:lnTo>
                <a:lnTo>
                  <a:pt x="19" y="228"/>
                </a:lnTo>
                <a:lnTo>
                  <a:pt x="22" y="216"/>
                </a:lnTo>
                <a:lnTo>
                  <a:pt x="25" y="204"/>
                </a:lnTo>
                <a:lnTo>
                  <a:pt x="29" y="192"/>
                </a:lnTo>
                <a:lnTo>
                  <a:pt x="34" y="179"/>
                </a:lnTo>
                <a:lnTo>
                  <a:pt x="39" y="167"/>
                </a:lnTo>
                <a:lnTo>
                  <a:pt x="45" y="156"/>
                </a:lnTo>
                <a:lnTo>
                  <a:pt x="52" y="145"/>
                </a:lnTo>
                <a:lnTo>
                  <a:pt x="59" y="134"/>
                </a:lnTo>
                <a:lnTo>
                  <a:pt x="67" y="123"/>
                </a:lnTo>
                <a:lnTo>
                  <a:pt x="75" y="114"/>
                </a:lnTo>
                <a:lnTo>
                  <a:pt x="83" y="104"/>
                </a:lnTo>
                <a:lnTo>
                  <a:pt x="94" y="95"/>
                </a:lnTo>
                <a:lnTo>
                  <a:pt x="103" y="85"/>
                </a:lnTo>
                <a:lnTo>
                  <a:pt x="113" y="76"/>
                </a:lnTo>
                <a:lnTo>
                  <a:pt x="124" y="69"/>
                </a:lnTo>
                <a:lnTo>
                  <a:pt x="135" y="61"/>
                </a:lnTo>
                <a:lnTo>
                  <a:pt x="148" y="54"/>
                </a:lnTo>
                <a:lnTo>
                  <a:pt x="160" y="46"/>
                </a:lnTo>
                <a:lnTo>
                  <a:pt x="172" y="40"/>
                </a:lnTo>
                <a:lnTo>
                  <a:pt x="186" y="34"/>
                </a:lnTo>
                <a:lnTo>
                  <a:pt x="199" y="29"/>
                </a:lnTo>
                <a:lnTo>
                  <a:pt x="212" y="25"/>
                </a:lnTo>
                <a:lnTo>
                  <a:pt x="226" y="21"/>
                </a:lnTo>
                <a:lnTo>
                  <a:pt x="241" y="17"/>
                </a:lnTo>
                <a:lnTo>
                  <a:pt x="255" y="14"/>
                </a:lnTo>
                <a:lnTo>
                  <a:pt x="269" y="12"/>
                </a:lnTo>
                <a:lnTo>
                  <a:pt x="285" y="11"/>
                </a:lnTo>
                <a:lnTo>
                  <a:pt x="300" y="10"/>
                </a:lnTo>
                <a:lnTo>
                  <a:pt x="315" y="9"/>
                </a:lnTo>
                <a:lnTo>
                  <a:pt x="315" y="9"/>
                </a:lnTo>
                <a:lnTo>
                  <a:pt x="335" y="10"/>
                </a:lnTo>
                <a:lnTo>
                  <a:pt x="352" y="11"/>
                </a:lnTo>
                <a:lnTo>
                  <a:pt x="369" y="12"/>
                </a:lnTo>
                <a:lnTo>
                  <a:pt x="384" y="15"/>
                </a:lnTo>
                <a:lnTo>
                  <a:pt x="399" y="18"/>
                </a:lnTo>
                <a:lnTo>
                  <a:pt x="414" y="21"/>
                </a:lnTo>
                <a:lnTo>
                  <a:pt x="427" y="25"/>
                </a:lnTo>
                <a:lnTo>
                  <a:pt x="440" y="30"/>
                </a:lnTo>
                <a:lnTo>
                  <a:pt x="464" y="40"/>
                </a:lnTo>
                <a:lnTo>
                  <a:pt x="486" y="53"/>
                </a:lnTo>
                <a:lnTo>
                  <a:pt x="507" y="66"/>
                </a:lnTo>
                <a:lnTo>
                  <a:pt x="526" y="79"/>
                </a:lnTo>
                <a:lnTo>
                  <a:pt x="526" y="79"/>
                </a:lnTo>
                <a:lnTo>
                  <a:pt x="534" y="73"/>
                </a:lnTo>
                <a:lnTo>
                  <a:pt x="541" y="65"/>
                </a:lnTo>
                <a:lnTo>
                  <a:pt x="549" y="57"/>
                </a:lnTo>
                <a:lnTo>
                  <a:pt x="556" y="47"/>
                </a:lnTo>
                <a:lnTo>
                  <a:pt x="562" y="36"/>
                </a:lnTo>
                <a:lnTo>
                  <a:pt x="568" y="26"/>
                </a:lnTo>
                <a:lnTo>
                  <a:pt x="572" y="14"/>
                </a:lnTo>
                <a:lnTo>
                  <a:pt x="576" y="0"/>
                </a:lnTo>
                <a:lnTo>
                  <a:pt x="624" y="0"/>
                </a:lnTo>
                <a:lnTo>
                  <a:pt x="624" y="380"/>
                </a:lnTo>
                <a:lnTo>
                  <a:pt x="575" y="380"/>
                </a:lnTo>
                <a:lnTo>
                  <a:pt x="575" y="380"/>
                </a:lnTo>
                <a:lnTo>
                  <a:pt x="572" y="354"/>
                </a:lnTo>
                <a:lnTo>
                  <a:pt x="568" y="328"/>
                </a:lnTo>
                <a:lnTo>
                  <a:pt x="563" y="301"/>
                </a:lnTo>
                <a:lnTo>
                  <a:pt x="556" y="275"/>
                </a:lnTo>
                <a:lnTo>
                  <a:pt x="549" y="250"/>
                </a:lnTo>
                <a:lnTo>
                  <a:pt x="538" y="225"/>
                </a:lnTo>
                <a:lnTo>
                  <a:pt x="527" y="203"/>
                </a:lnTo>
                <a:lnTo>
                  <a:pt x="514" y="180"/>
                </a:lnTo>
                <a:lnTo>
                  <a:pt x="507" y="170"/>
                </a:lnTo>
                <a:lnTo>
                  <a:pt x="498" y="160"/>
                </a:lnTo>
                <a:lnTo>
                  <a:pt x="490" y="151"/>
                </a:lnTo>
                <a:lnTo>
                  <a:pt x="481" y="142"/>
                </a:lnTo>
                <a:lnTo>
                  <a:pt x="472" y="133"/>
                </a:lnTo>
                <a:lnTo>
                  <a:pt x="462" y="125"/>
                </a:lnTo>
                <a:lnTo>
                  <a:pt x="451" y="118"/>
                </a:lnTo>
                <a:lnTo>
                  <a:pt x="440" y="112"/>
                </a:lnTo>
                <a:lnTo>
                  <a:pt x="428" y="106"/>
                </a:lnTo>
                <a:lnTo>
                  <a:pt x="416" y="101"/>
                </a:lnTo>
                <a:lnTo>
                  <a:pt x="402" y="96"/>
                </a:lnTo>
                <a:lnTo>
                  <a:pt x="388" y="91"/>
                </a:lnTo>
                <a:lnTo>
                  <a:pt x="374" y="88"/>
                </a:lnTo>
                <a:lnTo>
                  <a:pt x="358" y="86"/>
                </a:lnTo>
                <a:lnTo>
                  <a:pt x="343" y="85"/>
                </a:lnTo>
                <a:lnTo>
                  <a:pt x="327" y="84"/>
                </a:lnTo>
                <a:lnTo>
                  <a:pt x="327" y="84"/>
                </a:lnTo>
                <a:lnTo>
                  <a:pt x="313" y="85"/>
                </a:lnTo>
                <a:lnTo>
                  <a:pt x="300" y="87"/>
                </a:lnTo>
                <a:lnTo>
                  <a:pt x="287" y="90"/>
                </a:lnTo>
                <a:lnTo>
                  <a:pt x="275" y="95"/>
                </a:lnTo>
                <a:lnTo>
                  <a:pt x="262" y="100"/>
                </a:lnTo>
                <a:lnTo>
                  <a:pt x="251" y="106"/>
                </a:lnTo>
                <a:lnTo>
                  <a:pt x="240" y="113"/>
                </a:lnTo>
                <a:lnTo>
                  <a:pt x="230" y="121"/>
                </a:lnTo>
                <a:lnTo>
                  <a:pt x="220" y="131"/>
                </a:lnTo>
                <a:lnTo>
                  <a:pt x="212" y="142"/>
                </a:lnTo>
                <a:lnTo>
                  <a:pt x="205" y="153"/>
                </a:lnTo>
                <a:lnTo>
                  <a:pt x="199" y="165"/>
                </a:lnTo>
                <a:lnTo>
                  <a:pt x="194" y="178"/>
                </a:lnTo>
                <a:lnTo>
                  <a:pt x="190" y="192"/>
                </a:lnTo>
                <a:lnTo>
                  <a:pt x="188" y="207"/>
                </a:lnTo>
                <a:lnTo>
                  <a:pt x="187" y="222"/>
                </a:lnTo>
                <a:lnTo>
                  <a:pt x="187" y="222"/>
                </a:lnTo>
                <a:lnTo>
                  <a:pt x="187" y="233"/>
                </a:lnTo>
                <a:lnTo>
                  <a:pt x="189" y="244"/>
                </a:lnTo>
                <a:lnTo>
                  <a:pt x="192" y="254"/>
                </a:lnTo>
                <a:lnTo>
                  <a:pt x="195" y="265"/>
                </a:lnTo>
                <a:lnTo>
                  <a:pt x="200" y="278"/>
                </a:lnTo>
                <a:lnTo>
                  <a:pt x="206" y="289"/>
                </a:lnTo>
                <a:lnTo>
                  <a:pt x="213" y="301"/>
                </a:lnTo>
                <a:lnTo>
                  <a:pt x="221" y="312"/>
                </a:lnTo>
                <a:lnTo>
                  <a:pt x="231" y="325"/>
                </a:lnTo>
                <a:lnTo>
                  <a:pt x="241" y="336"/>
                </a:lnTo>
                <a:lnTo>
                  <a:pt x="252" y="348"/>
                </a:lnTo>
                <a:lnTo>
                  <a:pt x="264" y="359"/>
                </a:lnTo>
                <a:lnTo>
                  <a:pt x="278" y="370"/>
                </a:lnTo>
                <a:lnTo>
                  <a:pt x="292" y="380"/>
                </a:lnTo>
                <a:lnTo>
                  <a:pt x="308" y="390"/>
                </a:lnTo>
                <a:lnTo>
                  <a:pt x="325" y="399"/>
                </a:lnTo>
                <a:lnTo>
                  <a:pt x="490" y="483"/>
                </a:lnTo>
                <a:lnTo>
                  <a:pt x="490" y="483"/>
                </a:lnTo>
                <a:lnTo>
                  <a:pt x="513" y="495"/>
                </a:lnTo>
                <a:lnTo>
                  <a:pt x="535" y="510"/>
                </a:lnTo>
                <a:lnTo>
                  <a:pt x="556" y="524"/>
                </a:lnTo>
                <a:lnTo>
                  <a:pt x="576" y="538"/>
                </a:lnTo>
                <a:lnTo>
                  <a:pt x="596" y="555"/>
                </a:lnTo>
                <a:lnTo>
                  <a:pt x="614" y="572"/>
                </a:lnTo>
                <a:lnTo>
                  <a:pt x="631" y="590"/>
                </a:lnTo>
                <a:lnTo>
                  <a:pt x="648" y="609"/>
                </a:lnTo>
                <a:lnTo>
                  <a:pt x="662" y="628"/>
                </a:lnTo>
                <a:lnTo>
                  <a:pt x="674" y="649"/>
                </a:lnTo>
                <a:lnTo>
                  <a:pt x="686" y="670"/>
                </a:lnTo>
                <a:lnTo>
                  <a:pt x="695" y="693"/>
                </a:lnTo>
                <a:lnTo>
                  <a:pt x="703" y="715"/>
                </a:lnTo>
                <a:lnTo>
                  <a:pt x="708" y="739"/>
                </a:lnTo>
                <a:lnTo>
                  <a:pt x="711" y="763"/>
                </a:lnTo>
                <a:lnTo>
                  <a:pt x="712" y="789"/>
                </a:lnTo>
                <a:lnTo>
                  <a:pt x="712" y="789"/>
                </a:lnTo>
                <a:lnTo>
                  <a:pt x="712" y="806"/>
                </a:lnTo>
                <a:lnTo>
                  <a:pt x="711" y="824"/>
                </a:lnTo>
                <a:lnTo>
                  <a:pt x="708" y="840"/>
                </a:lnTo>
                <a:lnTo>
                  <a:pt x="705" y="856"/>
                </a:lnTo>
                <a:lnTo>
                  <a:pt x="701" y="872"/>
                </a:lnTo>
                <a:lnTo>
                  <a:pt x="696" y="887"/>
                </a:lnTo>
                <a:lnTo>
                  <a:pt x="691" y="902"/>
                </a:lnTo>
                <a:lnTo>
                  <a:pt x="684" y="917"/>
                </a:lnTo>
                <a:lnTo>
                  <a:pt x="676" y="931"/>
                </a:lnTo>
                <a:lnTo>
                  <a:pt x="669" y="945"/>
                </a:lnTo>
                <a:lnTo>
                  <a:pt x="660" y="957"/>
                </a:lnTo>
                <a:lnTo>
                  <a:pt x="651" y="971"/>
                </a:lnTo>
                <a:lnTo>
                  <a:pt x="641" y="983"/>
                </a:lnTo>
                <a:lnTo>
                  <a:pt x="630" y="994"/>
                </a:lnTo>
                <a:lnTo>
                  <a:pt x="619" y="1005"/>
                </a:lnTo>
                <a:lnTo>
                  <a:pt x="608" y="1016"/>
                </a:lnTo>
                <a:lnTo>
                  <a:pt x="596" y="1026"/>
                </a:lnTo>
                <a:lnTo>
                  <a:pt x="582" y="1035"/>
                </a:lnTo>
                <a:lnTo>
                  <a:pt x="570" y="1044"/>
                </a:lnTo>
                <a:lnTo>
                  <a:pt x="556" y="1053"/>
                </a:lnTo>
                <a:lnTo>
                  <a:pt x="542" y="1061"/>
                </a:lnTo>
                <a:lnTo>
                  <a:pt x="528" y="1068"/>
                </a:lnTo>
                <a:lnTo>
                  <a:pt x="513" y="1074"/>
                </a:lnTo>
                <a:lnTo>
                  <a:pt x="498" y="1080"/>
                </a:lnTo>
                <a:lnTo>
                  <a:pt x="483" y="1085"/>
                </a:lnTo>
                <a:lnTo>
                  <a:pt x="467" y="1089"/>
                </a:lnTo>
                <a:lnTo>
                  <a:pt x="451" y="1093"/>
                </a:lnTo>
                <a:lnTo>
                  <a:pt x="435" y="1096"/>
                </a:lnTo>
                <a:lnTo>
                  <a:pt x="419" y="1100"/>
                </a:lnTo>
                <a:lnTo>
                  <a:pt x="402" y="1101"/>
                </a:lnTo>
                <a:lnTo>
                  <a:pt x="386" y="1103"/>
                </a:lnTo>
                <a:lnTo>
                  <a:pt x="370" y="1103"/>
                </a:lnTo>
                <a:lnTo>
                  <a:pt x="370" y="1103"/>
                </a:lnTo>
                <a:lnTo>
                  <a:pt x="345" y="1102"/>
                </a:lnTo>
                <a:lnTo>
                  <a:pt x="323" y="1100"/>
                </a:lnTo>
                <a:lnTo>
                  <a:pt x="300" y="1096"/>
                </a:lnTo>
                <a:lnTo>
                  <a:pt x="280" y="1091"/>
                </a:lnTo>
                <a:lnTo>
                  <a:pt x="260" y="1086"/>
                </a:lnTo>
                <a:lnTo>
                  <a:pt x="241" y="1080"/>
                </a:lnTo>
                <a:lnTo>
                  <a:pt x="223" y="1073"/>
                </a:lnTo>
                <a:lnTo>
                  <a:pt x="206" y="1067"/>
                </a:lnTo>
                <a:lnTo>
                  <a:pt x="175" y="1053"/>
                </a:lnTo>
                <a:lnTo>
                  <a:pt x="147" y="1039"/>
                </a:lnTo>
                <a:lnTo>
                  <a:pt x="122" y="1028"/>
                </a:lnTo>
                <a:lnTo>
                  <a:pt x="111" y="1024"/>
                </a:lnTo>
                <a:lnTo>
                  <a:pt x="101" y="1022"/>
                </a:lnTo>
                <a:lnTo>
                  <a:pt x="101" y="1022"/>
                </a:lnTo>
                <a:lnTo>
                  <a:pt x="93" y="1028"/>
                </a:lnTo>
                <a:lnTo>
                  <a:pt x="85" y="1036"/>
                </a:lnTo>
                <a:lnTo>
                  <a:pt x="77" y="1044"/>
                </a:lnTo>
                <a:lnTo>
                  <a:pt x="71" y="1055"/>
                </a:lnTo>
                <a:lnTo>
                  <a:pt x="64" y="1065"/>
                </a:lnTo>
                <a:lnTo>
                  <a:pt x="59" y="1076"/>
                </a:lnTo>
                <a:lnTo>
                  <a:pt x="54" y="1089"/>
                </a:lnTo>
                <a:lnTo>
                  <a:pt x="51" y="1103"/>
                </a:lnTo>
                <a:lnTo>
                  <a:pt x="51" y="1103"/>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66" name="Freeform 17">
            <a:extLst>
              <a:ext uri="{FF2B5EF4-FFF2-40B4-BE49-F238E27FC236}">
                <a16:creationId xmlns:a16="http://schemas.microsoft.com/office/drawing/2014/main" id="{66C73EC7-6D1D-844B-A699-5AF0D250FD86}"/>
              </a:ext>
            </a:extLst>
          </p:cNvPr>
          <p:cNvSpPr>
            <a:spLocks/>
          </p:cNvSpPr>
          <p:nvPr userDrawn="1"/>
        </p:nvSpPr>
        <p:spPr bwMode="auto">
          <a:xfrm>
            <a:off x="3455990" y="893765"/>
            <a:ext cx="142875" cy="136525"/>
          </a:xfrm>
          <a:custGeom>
            <a:avLst/>
            <a:gdLst>
              <a:gd name="T0" fmla="*/ 1028 w 1078"/>
              <a:gd name="T1" fmla="*/ 244 h 1035"/>
              <a:gd name="T2" fmla="*/ 1020 w 1078"/>
              <a:gd name="T3" fmla="*/ 209 h 1035"/>
              <a:gd name="T4" fmla="*/ 1006 w 1078"/>
              <a:gd name="T5" fmla="*/ 163 h 1035"/>
              <a:gd name="T6" fmla="*/ 995 w 1078"/>
              <a:gd name="T7" fmla="*/ 138 h 1035"/>
              <a:gd name="T8" fmla="*/ 980 w 1078"/>
              <a:gd name="T9" fmla="*/ 118 h 1035"/>
              <a:gd name="T10" fmla="*/ 959 w 1078"/>
              <a:gd name="T11" fmla="*/ 101 h 1035"/>
              <a:gd name="T12" fmla="*/ 932 w 1078"/>
              <a:gd name="T13" fmla="*/ 90 h 1035"/>
              <a:gd name="T14" fmla="*/ 895 w 1078"/>
              <a:gd name="T15" fmla="*/ 82 h 1035"/>
              <a:gd name="T16" fmla="*/ 848 w 1078"/>
              <a:gd name="T17" fmla="*/ 78 h 1035"/>
              <a:gd name="T18" fmla="*/ 646 w 1078"/>
              <a:gd name="T19" fmla="*/ 78 h 1035"/>
              <a:gd name="T20" fmla="*/ 646 w 1078"/>
              <a:gd name="T21" fmla="*/ 783 h 1035"/>
              <a:gd name="T22" fmla="*/ 648 w 1078"/>
              <a:gd name="T23" fmla="*/ 842 h 1035"/>
              <a:gd name="T24" fmla="*/ 652 w 1078"/>
              <a:gd name="T25" fmla="*/ 888 h 1035"/>
              <a:gd name="T26" fmla="*/ 662 w 1078"/>
              <a:gd name="T27" fmla="*/ 923 h 1035"/>
              <a:gd name="T28" fmla="*/ 672 w 1078"/>
              <a:gd name="T29" fmla="*/ 943 h 1035"/>
              <a:gd name="T30" fmla="*/ 680 w 1078"/>
              <a:gd name="T31" fmla="*/ 954 h 1035"/>
              <a:gd name="T32" fmla="*/ 691 w 1078"/>
              <a:gd name="T33" fmla="*/ 963 h 1035"/>
              <a:gd name="T34" fmla="*/ 711 w 1078"/>
              <a:gd name="T35" fmla="*/ 973 h 1035"/>
              <a:gd name="T36" fmla="*/ 743 w 1078"/>
              <a:gd name="T37" fmla="*/ 982 h 1035"/>
              <a:gd name="T38" fmla="*/ 787 w 1078"/>
              <a:gd name="T39" fmla="*/ 985 h 1035"/>
              <a:gd name="T40" fmla="*/ 812 w 1078"/>
              <a:gd name="T41" fmla="*/ 1035 h 1035"/>
              <a:gd name="T42" fmla="*/ 267 w 1078"/>
              <a:gd name="T43" fmla="*/ 985 h 1035"/>
              <a:gd name="T44" fmla="*/ 293 w 1078"/>
              <a:gd name="T45" fmla="*/ 985 h 1035"/>
              <a:gd name="T46" fmla="*/ 335 w 1078"/>
              <a:gd name="T47" fmla="*/ 982 h 1035"/>
              <a:gd name="T48" fmla="*/ 369 w 1078"/>
              <a:gd name="T49" fmla="*/ 973 h 1035"/>
              <a:gd name="T50" fmla="*/ 388 w 1078"/>
              <a:gd name="T51" fmla="*/ 963 h 1035"/>
              <a:gd name="T52" fmla="*/ 399 w 1078"/>
              <a:gd name="T53" fmla="*/ 954 h 1035"/>
              <a:gd name="T54" fmla="*/ 407 w 1078"/>
              <a:gd name="T55" fmla="*/ 943 h 1035"/>
              <a:gd name="T56" fmla="*/ 417 w 1078"/>
              <a:gd name="T57" fmla="*/ 923 h 1035"/>
              <a:gd name="T58" fmla="*/ 425 w 1078"/>
              <a:gd name="T59" fmla="*/ 888 h 1035"/>
              <a:gd name="T60" fmla="*/ 430 w 1078"/>
              <a:gd name="T61" fmla="*/ 842 h 1035"/>
              <a:gd name="T62" fmla="*/ 432 w 1078"/>
              <a:gd name="T63" fmla="*/ 783 h 1035"/>
              <a:gd name="T64" fmla="*/ 259 w 1078"/>
              <a:gd name="T65" fmla="*/ 78 h 1035"/>
              <a:gd name="T66" fmla="*/ 231 w 1078"/>
              <a:gd name="T67" fmla="*/ 78 h 1035"/>
              <a:gd name="T68" fmla="*/ 184 w 1078"/>
              <a:gd name="T69" fmla="*/ 82 h 1035"/>
              <a:gd name="T70" fmla="*/ 147 w 1078"/>
              <a:gd name="T71" fmla="*/ 90 h 1035"/>
              <a:gd name="T72" fmla="*/ 120 w 1078"/>
              <a:gd name="T73" fmla="*/ 101 h 1035"/>
              <a:gd name="T74" fmla="*/ 99 w 1078"/>
              <a:gd name="T75" fmla="*/ 118 h 1035"/>
              <a:gd name="T76" fmla="*/ 85 w 1078"/>
              <a:gd name="T77" fmla="*/ 138 h 1035"/>
              <a:gd name="T78" fmla="*/ 74 w 1078"/>
              <a:gd name="T79" fmla="*/ 163 h 1035"/>
              <a:gd name="T80" fmla="*/ 60 w 1078"/>
              <a:gd name="T81" fmla="*/ 209 h 1035"/>
              <a:gd name="T82" fmla="*/ 0 w 1078"/>
              <a:gd name="T83" fmla="*/ 244 h 1035"/>
              <a:gd name="T84" fmla="*/ 1065 w 1078"/>
              <a:gd name="T85" fmla="*/ 0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8" h="1035">
                <a:moveTo>
                  <a:pt x="1078" y="244"/>
                </a:moveTo>
                <a:lnTo>
                  <a:pt x="1028" y="244"/>
                </a:lnTo>
                <a:lnTo>
                  <a:pt x="1020" y="209"/>
                </a:lnTo>
                <a:lnTo>
                  <a:pt x="1020" y="209"/>
                </a:lnTo>
                <a:lnTo>
                  <a:pt x="1011" y="177"/>
                </a:lnTo>
                <a:lnTo>
                  <a:pt x="1006" y="163"/>
                </a:lnTo>
                <a:lnTo>
                  <a:pt x="1001" y="150"/>
                </a:lnTo>
                <a:lnTo>
                  <a:pt x="995" y="138"/>
                </a:lnTo>
                <a:lnTo>
                  <a:pt x="988" y="127"/>
                </a:lnTo>
                <a:lnTo>
                  <a:pt x="980" y="118"/>
                </a:lnTo>
                <a:lnTo>
                  <a:pt x="970" y="109"/>
                </a:lnTo>
                <a:lnTo>
                  <a:pt x="959" y="101"/>
                </a:lnTo>
                <a:lnTo>
                  <a:pt x="947" y="95"/>
                </a:lnTo>
                <a:lnTo>
                  <a:pt x="932" y="90"/>
                </a:lnTo>
                <a:lnTo>
                  <a:pt x="914" y="85"/>
                </a:lnTo>
                <a:lnTo>
                  <a:pt x="895" y="82"/>
                </a:lnTo>
                <a:lnTo>
                  <a:pt x="872" y="80"/>
                </a:lnTo>
                <a:lnTo>
                  <a:pt x="848" y="78"/>
                </a:lnTo>
                <a:lnTo>
                  <a:pt x="819" y="78"/>
                </a:lnTo>
                <a:lnTo>
                  <a:pt x="646" y="78"/>
                </a:lnTo>
                <a:lnTo>
                  <a:pt x="646" y="783"/>
                </a:lnTo>
                <a:lnTo>
                  <a:pt x="646" y="783"/>
                </a:lnTo>
                <a:lnTo>
                  <a:pt x="647" y="814"/>
                </a:lnTo>
                <a:lnTo>
                  <a:pt x="648" y="842"/>
                </a:lnTo>
                <a:lnTo>
                  <a:pt x="649" y="866"/>
                </a:lnTo>
                <a:lnTo>
                  <a:pt x="652" y="888"/>
                </a:lnTo>
                <a:lnTo>
                  <a:pt x="657" y="906"/>
                </a:lnTo>
                <a:lnTo>
                  <a:pt x="662" y="923"/>
                </a:lnTo>
                <a:lnTo>
                  <a:pt x="668" y="937"/>
                </a:lnTo>
                <a:lnTo>
                  <a:pt x="672" y="943"/>
                </a:lnTo>
                <a:lnTo>
                  <a:pt x="676" y="949"/>
                </a:lnTo>
                <a:lnTo>
                  <a:pt x="680" y="954"/>
                </a:lnTo>
                <a:lnTo>
                  <a:pt x="685" y="958"/>
                </a:lnTo>
                <a:lnTo>
                  <a:pt x="691" y="963"/>
                </a:lnTo>
                <a:lnTo>
                  <a:pt x="697" y="966"/>
                </a:lnTo>
                <a:lnTo>
                  <a:pt x="711" y="973"/>
                </a:lnTo>
                <a:lnTo>
                  <a:pt x="726" y="978"/>
                </a:lnTo>
                <a:lnTo>
                  <a:pt x="743" y="982"/>
                </a:lnTo>
                <a:lnTo>
                  <a:pt x="764" y="984"/>
                </a:lnTo>
                <a:lnTo>
                  <a:pt x="787" y="985"/>
                </a:lnTo>
                <a:lnTo>
                  <a:pt x="812" y="985"/>
                </a:lnTo>
                <a:lnTo>
                  <a:pt x="812" y="1035"/>
                </a:lnTo>
                <a:lnTo>
                  <a:pt x="267" y="1035"/>
                </a:lnTo>
                <a:lnTo>
                  <a:pt x="267" y="985"/>
                </a:lnTo>
                <a:lnTo>
                  <a:pt x="267" y="985"/>
                </a:lnTo>
                <a:lnTo>
                  <a:pt x="293" y="985"/>
                </a:lnTo>
                <a:lnTo>
                  <a:pt x="315" y="984"/>
                </a:lnTo>
                <a:lnTo>
                  <a:pt x="335" y="982"/>
                </a:lnTo>
                <a:lnTo>
                  <a:pt x="353" y="978"/>
                </a:lnTo>
                <a:lnTo>
                  <a:pt x="369" y="973"/>
                </a:lnTo>
                <a:lnTo>
                  <a:pt x="383" y="966"/>
                </a:lnTo>
                <a:lnTo>
                  <a:pt x="388" y="963"/>
                </a:lnTo>
                <a:lnTo>
                  <a:pt x="394" y="958"/>
                </a:lnTo>
                <a:lnTo>
                  <a:pt x="399" y="954"/>
                </a:lnTo>
                <a:lnTo>
                  <a:pt x="403" y="949"/>
                </a:lnTo>
                <a:lnTo>
                  <a:pt x="407" y="943"/>
                </a:lnTo>
                <a:lnTo>
                  <a:pt x="411" y="937"/>
                </a:lnTo>
                <a:lnTo>
                  <a:pt x="417" y="923"/>
                </a:lnTo>
                <a:lnTo>
                  <a:pt x="422" y="906"/>
                </a:lnTo>
                <a:lnTo>
                  <a:pt x="425" y="888"/>
                </a:lnTo>
                <a:lnTo>
                  <a:pt x="429" y="866"/>
                </a:lnTo>
                <a:lnTo>
                  <a:pt x="430" y="842"/>
                </a:lnTo>
                <a:lnTo>
                  <a:pt x="431" y="814"/>
                </a:lnTo>
                <a:lnTo>
                  <a:pt x="432" y="783"/>
                </a:lnTo>
                <a:lnTo>
                  <a:pt x="432" y="78"/>
                </a:lnTo>
                <a:lnTo>
                  <a:pt x="259" y="78"/>
                </a:lnTo>
                <a:lnTo>
                  <a:pt x="259" y="78"/>
                </a:lnTo>
                <a:lnTo>
                  <a:pt x="231" y="78"/>
                </a:lnTo>
                <a:lnTo>
                  <a:pt x="206" y="80"/>
                </a:lnTo>
                <a:lnTo>
                  <a:pt x="184" y="82"/>
                </a:lnTo>
                <a:lnTo>
                  <a:pt x="165" y="85"/>
                </a:lnTo>
                <a:lnTo>
                  <a:pt x="147" y="90"/>
                </a:lnTo>
                <a:lnTo>
                  <a:pt x="133" y="95"/>
                </a:lnTo>
                <a:lnTo>
                  <a:pt x="120" y="101"/>
                </a:lnTo>
                <a:lnTo>
                  <a:pt x="110" y="109"/>
                </a:lnTo>
                <a:lnTo>
                  <a:pt x="99" y="118"/>
                </a:lnTo>
                <a:lnTo>
                  <a:pt x="91" y="127"/>
                </a:lnTo>
                <a:lnTo>
                  <a:pt x="85" y="138"/>
                </a:lnTo>
                <a:lnTo>
                  <a:pt x="79" y="150"/>
                </a:lnTo>
                <a:lnTo>
                  <a:pt x="74" y="163"/>
                </a:lnTo>
                <a:lnTo>
                  <a:pt x="69" y="177"/>
                </a:lnTo>
                <a:lnTo>
                  <a:pt x="60" y="209"/>
                </a:lnTo>
                <a:lnTo>
                  <a:pt x="51" y="244"/>
                </a:lnTo>
                <a:lnTo>
                  <a:pt x="0" y="244"/>
                </a:lnTo>
                <a:lnTo>
                  <a:pt x="15" y="0"/>
                </a:lnTo>
                <a:lnTo>
                  <a:pt x="1065" y="0"/>
                </a:lnTo>
                <a:lnTo>
                  <a:pt x="1078" y="244"/>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67" name="Freeform 18">
            <a:extLst>
              <a:ext uri="{FF2B5EF4-FFF2-40B4-BE49-F238E27FC236}">
                <a16:creationId xmlns:a16="http://schemas.microsoft.com/office/drawing/2014/main" id="{C59FF6E7-70B2-104B-BA19-464BCC297FEA}"/>
              </a:ext>
            </a:extLst>
          </p:cNvPr>
          <p:cNvSpPr>
            <a:spLocks noEditPoints="1"/>
          </p:cNvSpPr>
          <p:nvPr userDrawn="1"/>
        </p:nvSpPr>
        <p:spPr bwMode="auto">
          <a:xfrm>
            <a:off x="3627438" y="890590"/>
            <a:ext cx="152400" cy="144463"/>
          </a:xfrm>
          <a:custGeom>
            <a:avLst/>
            <a:gdLst>
              <a:gd name="T0" fmla="*/ 487 w 1150"/>
              <a:gd name="T1" fmla="*/ 1087 h 1094"/>
              <a:gd name="T2" fmla="*/ 351 w 1150"/>
              <a:gd name="T3" fmla="*/ 1051 h 1094"/>
              <a:gd name="T4" fmla="*/ 231 w 1150"/>
              <a:gd name="T5" fmla="*/ 984 h 1094"/>
              <a:gd name="T6" fmla="*/ 131 w 1150"/>
              <a:gd name="T7" fmla="*/ 894 h 1094"/>
              <a:gd name="T8" fmla="*/ 56 w 1150"/>
              <a:gd name="T9" fmla="*/ 783 h 1094"/>
              <a:gd name="T10" fmla="*/ 11 w 1150"/>
              <a:gd name="T11" fmla="*/ 656 h 1094"/>
              <a:gd name="T12" fmla="*/ 0 w 1150"/>
              <a:gd name="T13" fmla="*/ 547 h 1094"/>
              <a:gd name="T14" fmla="*/ 17 w 1150"/>
              <a:gd name="T15" fmla="*/ 411 h 1094"/>
              <a:gd name="T16" fmla="*/ 69 w 1150"/>
              <a:gd name="T17" fmla="*/ 287 h 1094"/>
              <a:gd name="T18" fmla="*/ 149 w 1150"/>
              <a:gd name="T19" fmla="*/ 180 h 1094"/>
              <a:gd name="T20" fmla="*/ 253 w 1150"/>
              <a:gd name="T21" fmla="*/ 94 h 1094"/>
              <a:gd name="T22" fmla="*/ 378 w 1150"/>
              <a:gd name="T23" fmla="*/ 33 h 1094"/>
              <a:gd name="T24" fmla="*/ 517 w 1150"/>
              <a:gd name="T25" fmla="*/ 3 h 1094"/>
              <a:gd name="T26" fmla="*/ 634 w 1150"/>
              <a:gd name="T27" fmla="*/ 3 h 1094"/>
              <a:gd name="T28" fmla="*/ 773 w 1150"/>
              <a:gd name="T29" fmla="*/ 33 h 1094"/>
              <a:gd name="T30" fmla="*/ 895 w 1150"/>
              <a:gd name="T31" fmla="*/ 94 h 1094"/>
              <a:gd name="T32" fmla="*/ 1000 w 1150"/>
              <a:gd name="T33" fmla="*/ 180 h 1094"/>
              <a:gd name="T34" fmla="*/ 1080 w 1150"/>
              <a:gd name="T35" fmla="*/ 287 h 1094"/>
              <a:gd name="T36" fmla="*/ 1132 w 1150"/>
              <a:gd name="T37" fmla="*/ 411 h 1094"/>
              <a:gd name="T38" fmla="*/ 1150 w 1150"/>
              <a:gd name="T39" fmla="*/ 547 h 1094"/>
              <a:gd name="T40" fmla="*/ 1138 w 1150"/>
              <a:gd name="T41" fmla="*/ 656 h 1094"/>
              <a:gd name="T42" fmla="*/ 1093 w 1150"/>
              <a:gd name="T43" fmla="*/ 783 h 1094"/>
              <a:gd name="T44" fmla="*/ 1018 w 1150"/>
              <a:gd name="T45" fmla="*/ 894 h 1094"/>
              <a:gd name="T46" fmla="*/ 919 w 1150"/>
              <a:gd name="T47" fmla="*/ 984 h 1094"/>
              <a:gd name="T48" fmla="*/ 798 w 1150"/>
              <a:gd name="T49" fmla="*/ 1051 h 1094"/>
              <a:gd name="T50" fmla="*/ 662 w 1150"/>
              <a:gd name="T51" fmla="*/ 1087 h 1094"/>
              <a:gd name="T52" fmla="*/ 575 w 1150"/>
              <a:gd name="T53" fmla="*/ 82 h 1094"/>
              <a:gd name="T54" fmla="*/ 490 w 1150"/>
              <a:gd name="T55" fmla="*/ 94 h 1094"/>
              <a:gd name="T56" fmla="*/ 403 w 1150"/>
              <a:gd name="T57" fmla="*/ 137 h 1094"/>
              <a:gd name="T58" fmla="*/ 334 w 1150"/>
              <a:gd name="T59" fmla="*/ 204 h 1094"/>
              <a:gd name="T60" fmla="*/ 284 w 1150"/>
              <a:gd name="T61" fmla="*/ 290 h 1094"/>
              <a:gd name="T62" fmla="*/ 251 w 1150"/>
              <a:gd name="T63" fmla="*/ 386 h 1094"/>
              <a:gd name="T64" fmla="*/ 233 w 1150"/>
              <a:gd name="T65" fmla="*/ 507 h 1094"/>
              <a:gd name="T66" fmla="*/ 240 w 1150"/>
              <a:gd name="T67" fmla="*/ 647 h 1094"/>
              <a:gd name="T68" fmla="*/ 262 w 1150"/>
              <a:gd name="T69" fmla="*/ 747 h 1094"/>
              <a:gd name="T70" fmla="*/ 302 w 1150"/>
              <a:gd name="T71" fmla="*/ 840 h 1094"/>
              <a:gd name="T72" fmla="*/ 360 w 1150"/>
              <a:gd name="T73" fmla="*/ 919 h 1094"/>
              <a:gd name="T74" fmla="*/ 435 w 1150"/>
              <a:gd name="T75" fmla="*/ 977 h 1094"/>
              <a:gd name="T76" fmla="*/ 531 w 1150"/>
              <a:gd name="T77" fmla="*/ 1008 h 1094"/>
              <a:gd name="T78" fmla="*/ 619 w 1150"/>
              <a:gd name="T79" fmla="*/ 1008 h 1094"/>
              <a:gd name="T80" fmla="*/ 715 w 1150"/>
              <a:gd name="T81" fmla="*/ 977 h 1094"/>
              <a:gd name="T82" fmla="*/ 791 w 1150"/>
              <a:gd name="T83" fmla="*/ 919 h 1094"/>
              <a:gd name="T84" fmla="*/ 848 w 1150"/>
              <a:gd name="T85" fmla="*/ 840 h 1094"/>
              <a:gd name="T86" fmla="*/ 888 w 1150"/>
              <a:gd name="T87" fmla="*/ 747 h 1094"/>
              <a:gd name="T88" fmla="*/ 911 w 1150"/>
              <a:gd name="T89" fmla="*/ 647 h 1094"/>
              <a:gd name="T90" fmla="*/ 918 w 1150"/>
              <a:gd name="T91" fmla="*/ 507 h 1094"/>
              <a:gd name="T92" fmla="*/ 899 w 1150"/>
              <a:gd name="T93" fmla="*/ 386 h 1094"/>
              <a:gd name="T94" fmla="*/ 867 w 1150"/>
              <a:gd name="T95" fmla="*/ 290 h 1094"/>
              <a:gd name="T96" fmla="*/ 816 w 1150"/>
              <a:gd name="T97" fmla="*/ 204 h 1094"/>
              <a:gd name="T98" fmla="*/ 747 w 1150"/>
              <a:gd name="T99" fmla="*/ 137 h 1094"/>
              <a:gd name="T100" fmla="*/ 660 w 1150"/>
              <a:gd name="T101" fmla="*/ 94 h 1094"/>
              <a:gd name="T102" fmla="*/ 575 w 1150"/>
              <a:gd name="T103" fmla="*/ 82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50" h="1094">
                <a:moveTo>
                  <a:pt x="575" y="1094"/>
                </a:moveTo>
                <a:lnTo>
                  <a:pt x="575" y="1094"/>
                </a:lnTo>
                <a:lnTo>
                  <a:pt x="546" y="1093"/>
                </a:lnTo>
                <a:lnTo>
                  <a:pt x="517" y="1091"/>
                </a:lnTo>
                <a:lnTo>
                  <a:pt x="487" y="1087"/>
                </a:lnTo>
                <a:lnTo>
                  <a:pt x="460" y="1082"/>
                </a:lnTo>
                <a:lnTo>
                  <a:pt x="431" y="1076"/>
                </a:lnTo>
                <a:lnTo>
                  <a:pt x="405" y="1069"/>
                </a:lnTo>
                <a:lnTo>
                  <a:pt x="378" y="1060"/>
                </a:lnTo>
                <a:lnTo>
                  <a:pt x="351" y="1051"/>
                </a:lnTo>
                <a:lnTo>
                  <a:pt x="326" y="1039"/>
                </a:lnTo>
                <a:lnTo>
                  <a:pt x="301" y="1027"/>
                </a:lnTo>
                <a:lnTo>
                  <a:pt x="277" y="1014"/>
                </a:lnTo>
                <a:lnTo>
                  <a:pt x="253" y="1000"/>
                </a:lnTo>
                <a:lnTo>
                  <a:pt x="231" y="984"/>
                </a:lnTo>
                <a:lnTo>
                  <a:pt x="209" y="968"/>
                </a:lnTo>
                <a:lnTo>
                  <a:pt x="188" y="950"/>
                </a:lnTo>
                <a:lnTo>
                  <a:pt x="168" y="933"/>
                </a:lnTo>
                <a:lnTo>
                  <a:pt x="149" y="914"/>
                </a:lnTo>
                <a:lnTo>
                  <a:pt x="131" y="894"/>
                </a:lnTo>
                <a:lnTo>
                  <a:pt x="114" y="873"/>
                </a:lnTo>
                <a:lnTo>
                  <a:pt x="98" y="851"/>
                </a:lnTo>
                <a:lnTo>
                  <a:pt x="82" y="830"/>
                </a:lnTo>
                <a:lnTo>
                  <a:pt x="69" y="806"/>
                </a:lnTo>
                <a:lnTo>
                  <a:pt x="56" y="783"/>
                </a:lnTo>
                <a:lnTo>
                  <a:pt x="45" y="758"/>
                </a:lnTo>
                <a:lnTo>
                  <a:pt x="34" y="734"/>
                </a:lnTo>
                <a:lnTo>
                  <a:pt x="25" y="708"/>
                </a:lnTo>
                <a:lnTo>
                  <a:pt x="17" y="683"/>
                </a:lnTo>
                <a:lnTo>
                  <a:pt x="11" y="656"/>
                </a:lnTo>
                <a:lnTo>
                  <a:pt x="6" y="629"/>
                </a:lnTo>
                <a:lnTo>
                  <a:pt x="2" y="602"/>
                </a:lnTo>
                <a:lnTo>
                  <a:pt x="0" y="574"/>
                </a:lnTo>
                <a:lnTo>
                  <a:pt x="0" y="547"/>
                </a:lnTo>
                <a:lnTo>
                  <a:pt x="0" y="547"/>
                </a:lnTo>
                <a:lnTo>
                  <a:pt x="0" y="519"/>
                </a:lnTo>
                <a:lnTo>
                  <a:pt x="2" y="491"/>
                </a:lnTo>
                <a:lnTo>
                  <a:pt x="6" y="464"/>
                </a:lnTo>
                <a:lnTo>
                  <a:pt x="11" y="437"/>
                </a:lnTo>
                <a:lnTo>
                  <a:pt x="17" y="411"/>
                </a:lnTo>
                <a:lnTo>
                  <a:pt x="25" y="385"/>
                </a:lnTo>
                <a:lnTo>
                  <a:pt x="34" y="360"/>
                </a:lnTo>
                <a:lnTo>
                  <a:pt x="45" y="335"/>
                </a:lnTo>
                <a:lnTo>
                  <a:pt x="56" y="310"/>
                </a:lnTo>
                <a:lnTo>
                  <a:pt x="69" y="287"/>
                </a:lnTo>
                <a:lnTo>
                  <a:pt x="82" y="264"/>
                </a:lnTo>
                <a:lnTo>
                  <a:pt x="98" y="242"/>
                </a:lnTo>
                <a:lnTo>
                  <a:pt x="114" y="220"/>
                </a:lnTo>
                <a:lnTo>
                  <a:pt x="131" y="200"/>
                </a:lnTo>
                <a:lnTo>
                  <a:pt x="149" y="180"/>
                </a:lnTo>
                <a:lnTo>
                  <a:pt x="168" y="161"/>
                </a:lnTo>
                <a:lnTo>
                  <a:pt x="188" y="143"/>
                </a:lnTo>
                <a:lnTo>
                  <a:pt x="209" y="125"/>
                </a:lnTo>
                <a:lnTo>
                  <a:pt x="231" y="109"/>
                </a:lnTo>
                <a:lnTo>
                  <a:pt x="253" y="94"/>
                </a:lnTo>
                <a:lnTo>
                  <a:pt x="277" y="79"/>
                </a:lnTo>
                <a:lnTo>
                  <a:pt x="301" y="66"/>
                </a:lnTo>
                <a:lnTo>
                  <a:pt x="326" y="54"/>
                </a:lnTo>
                <a:lnTo>
                  <a:pt x="351" y="44"/>
                </a:lnTo>
                <a:lnTo>
                  <a:pt x="378" y="33"/>
                </a:lnTo>
                <a:lnTo>
                  <a:pt x="405" y="24"/>
                </a:lnTo>
                <a:lnTo>
                  <a:pt x="431" y="17"/>
                </a:lnTo>
                <a:lnTo>
                  <a:pt x="460" y="11"/>
                </a:lnTo>
                <a:lnTo>
                  <a:pt x="487" y="6"/>
                </a:lnTo>
                <a:lnTo>
                  <a:pt x="517" y="3"/>
                </a:lnTo>
                <a:lnTo>
                  <a:pt x="546" y="1"/>
                </a:lnTo>
                <a:lnTo>
                  <a:pt x="575" y="0"/>
                </a:lnTo>
                <a:lnTo>
                  <a:pt x="575" y="0"/>
                </a:lnTo>
                <a:lnTo>
                  <a:pt x="605" y="1"/>
                </a:lnTo>
                <a:lnTo>
                  <a:pt x="634" y="3"/>
                </a:lnTo>
                <a:lnTo>
                  <a:pt x="662" y="6"/>
                </a:lnTo>
                <a:lnTo>
                  <a:pt x="691" y="11"/>
                </a:lnTo>
                <a:lnTo>
                  <a:pt x="719" y="17"/>
                </a:lnTo>
                <a:lnTo>
                  <a:pt x="746" y="24"/>
                </a:lnTo>
                <a:lnTo>
                  <a:pt x="773" y="33"/>
                </a:lnTo>
                <a:lnTo>
                  <a:pt x="798" y="44"/>
                </a:lnTo>
                <a:lnTo>
                  <a:pt x="824" y="54"/>
                </a:lnTo>
                <a:lnTo>
                  <a:pt x="848" y="66"/>
                </a:lnTo>
                <a:lnTo>
                  <a:pt x="873" y="79"/>
                </a:lnTo>
                <a:lnTo>
                  <a:pt x="895" y="94"/>
                </a:lnTo>
                <a:lnTo>
                  <a:pt x="919" y="109"/>
                </a:lnTo>
                <a:lnTo>
                  <a:pt x="940" y="125"/>
                </a:lnTo>
                <a:lnTo>
                  <a:pt x="961" y="143"/>
                </a:lnTo>
                <a:lnTo>
                  <a:pt x="981" y="161"/>
                </a:lnTo>
                <a:lnTo>
                  <a:pt x="1000" y="180"/>
                </a:lnTo>
                <a:lnTo>
                  <a:pt x="1018" y="200"/>
                </a:lnTo>
                <a:lnTo>
                  <a:pt x="1035" y="220"/>
                </a:lnTo>
                <a:lnTo>
                  <a:pt x="1052" y="242"/>
                </a:lnTo>
                <a:lnTo>
                  <a:pt x="1066" y="264"/>
                </a:lnTo>
                <a:lnTo>
                  <a:pt x="1080" y="287"/>
                </a:lnTo>
                <a:lnTo>
                  <a:pt x="1093" y="310"/>
                </a:lnTo>
                <a:lnTo>
                  <a:pt x="1104" y="335"/>
                </a:lnTo>
                <a:lnTo>
                  <a:pt x="1115" y="360"/>
                </a:lnTo>
                <a:lnTo>
                  <a:pt x="1123" y="385"/>
                </a:lnTo>
                <a:lnTo>
                  <a:pt x="1132" y="411"/>
                </a:lnTo>
                <a:lnTo>
                  <a:pt x="1138" y="437"/>
                </a:lnTo>
                <a:lnTo>
                  <a:pt x="1143" y="464"/>
                </a:lnTo>
                <a:lnTo>
                  <a:pt x="1147" y="491"/>
                </a:lnTo>
                <a:lnTo>
                  <a:pt x="1149" y="519"/>
                </a:lnTo>
                <a:lnTo>
                  <a:pt x="1150" y="547"/>
                </a:lnTo>
                <a:lnTo>
                  <a:pt x="1150" y="547"/>
                </a:lnTo>
                <a:lnTo>
                  <a:pt x="1149" y="574"/>
                </a:lnTo>
                <a:lnTo>
                  <a:pt x="1147" y="602"/>
                </a:lnTo>
                <a:lnTo>
                  <a:pt x="1143" y="629"/>
                </a:lnTo>
                <a:lnTo>
                  <a:pt x="1138" y="656"/>
                </a:lnTo>
                <a:lnTo>
                  <a:pt x="1132" y="683"/>
                </a:lnTo>
                <a:lnTo>
                  <a:pt x="1123" y="708"/>
                </a:lnTo>
                <a:lnTo>
                  <a:pt x="1115" y="734"/>
                </a:lnTo>
                <a:lnTo>
                  <a:pt x="1104" y="758"/>
                </a:lnTo>
                <a:lnTo>
                  <a:pt x="1093" y="783"/>
                </a:lnTo>
                <a:lnTo>
                  <a:pt x="1080" y="806"/>
                </a:lnTo>
                <a:lnTo>
                  <a:pt x="1066" y="830"/>
                </a:lnTo>
                <a:lnTo>
                  <a:pt x="1052" y="851"/>
                </a:lnTo>
                <a:lnTo>
                  <a:pt x="1035" y="873"/>
                </a:lnTo>
                <a:lnTo>
                  <a:pt x="1018" y="894"/>
                </a:lnTo>
                <a:lnTo>
                  <a:pt x="1000" y="914"/>
                </a:lnTo>
                <a:lnTo>
                  <a:pt x="981" y="933"/>
                </a:lnTo>
                <a:lnTo>
                  <a:pt x="961" y="950"/>
                </a:lnTo>
                <a:lnTo>
                  <a:pt x="940" y="968"/>
                </a:lnTo>
                <a:lnTo>
                  <a:pt x="919" y="984"/>
                </a:lnTo>
                <a:lnTo>
                  <a:pt x="895" y="1000"/>
                </a:lnTo>
                <a:lnTo>
                  <a:pt x="873" y="1014"/>
                </a:lnTo>
                <a:lnTo>
                  <a:pt x="848" y="1027"/>
                </a:lnTo>
                <a:lnTo>
                  <a:pt x="824" y="1039"/>
                </a:lnTo>
                <a:lnTo>
                  <a:pt x="798" y="1051"/>
                </a:lnTo>
                <a:lnTo>
                  <a:pt x="773" y="1060"/>
                </a:lnTo>
                <a:lnTo>
                  <a:pt x="746" y="1069"/>
                </a:lnTo>
                <a:lnTo>
                  <a:pt x="719" y="1076"/>
                </a:lnTo>
                <a:lnTo>
                  <a:pt x="691" y="1082"/>
                </a:lnTo>
                <a:lnTo>
                  <a:pt x="662" y="1087"/>
                </a:lnTo>
                <a:lnTo>
                  <a:pt x="634" y="1091"/>
                </a:lnTo>
                <a:lnTo>
                  <a:pt x="605" y="1093"/>
                </a:lnTo>
                <a:lnTo>
                  <a:pt x="575" y="1094"/>
                </a:lnTo>
                <a:lnTo>
                  <a:pt x="575" y="1094"/>
                </a:lnTo>
                <a:close/>
                <a:moveTo>
                  <a:pt x="575" y="82"/>
                </a:moveTo>
                <a:lnTo>
                  <a:pt x="575" y="82"/>
                </a:lnTo>
                <a:lnTo>
                  <a:pt x="553" y="83"/>
                </a:lnTo>
                <a:lnTo>
                  <a:pt x="531" y="86"/>
                </a:lnTo>
                <a:lnTo>
                  <a:pt x="510" y="90"/>
                </a:lnTo>
                <a:lnTo>
                  <a:pt x="490" y="94"/>
                </a:lnTo>
                <a:lnTo>
                  <a:pt x="471" y="100"/>
                </a:lnTo>
                <a:lnTo>
                  <a:pt x="453" y="108"/>
                </a:lnTo>
                <a:lnTo>
                  <a:pt x="435" y="116"/>
                </a:lnTo>
                <a:lnTo>
                  <a:pt x="419" y="125"/>
                </a:lnTo>
                <a:lnTo>
                  <a:pt x="403" y="137"/>
                </a:lnTo>
                <a:lnTo>
                  <a:pt x="387" y="148"/>
                </a:lnTo>
                <a:lnTo>
                  <a:pt x="373" y="161"/>
                </a:lnTo>
                <a:lnTo>
                  <a:pt x="360" y="174"/>
                </a:lnTo>
                <a:lnTo>
                  <a:pt x="346" y="189"/>
                </a:lnTo>
                <a:lnTo>
                  <a:pt x="334" y="204"/>
                </a:lnTo>
                <a:lnTo>
                  <a:pt x="323" y="219"/>
                </a:lnTo>
                <a:lnTo>
                  <a:pt x="312" y="237"/>
                </a:lnTo>
                <a:lnTo>
                  <a:pt x="302" y="253"/>
                </a:lnTo>
                <a:lnTo>
                  <a:pt x="292" y="272"/>
                </a:lnTo>
                <a:lnTo>
                  <a:pt x="284" y="290"/>
                </a:lnTo>
                <a:lnTo>
                  <a:pt x="276" y="308"/>
                </a:lnTo>
                <a:lnTo>
                  <a:pt x="269" y="327"/>
                </a:lnTo>
                <a:lnTo>
                  <a:pt x="262" y="346"/>
                </a:lnTo>
                <a:lnTo>
                  <a:pt x="256" y="367"/>
                </a:lnTo>
                <a:lnTo>
                  <a:pt x="251" y="386"/>
                </a:lnTo>
                <a:lnTo>
                  <a:pt x="247" y="407"/>
                </a:lnTo>
                <a:lnTo>
                  <a:pt x="243" y="426"/>
                </a:lnTo>
                <a:lnTo>
                  <a:pt x="240" y="446"/>
                </a:lnTo>
                <a:lnTo>
                  <a:pt x="237" y="467"/>
                </a:lnTo>
                <a:lnTo>
                  <a:pt x="233" y="507"/>
                </a:lnTo>
                <a:lnTo>
                  <a:pt x="232" y="547"/>
                </a:lnTo>
                <a:lnTo>
                  <a:pt x="232" y="547"/>
                </a:lnTo>
                <a:lnTo>
                  <a:pt x="233" y="587"/>
                </a:lnTo>
                <a:lnTo>
                  <a:pt x="237" y="626"/>
                </a:lnTo>
                <a:lnTo>
                  <a:pt x="240" y="647"/>
                </a:lnTo>
                <a:lnTo>
                  <a:pt x="243" y="667"/>
                </a:lnTo>
                <a:lnTo>
                  <a:pt x="247" y="687"/>
                </a:lnTo>
                <a:lnTo>
                  <a:pt x="251" y="707"/>
                </a:lnTo>
                <a:lnTo>
                  <a:pt x="256" y="728"/>
                </a:lnTo>
                <a:lnTo>
                  <a:pt x="262" y="747"/>
                </a:lnTo>
                <a:lnTo>
                  <a:pt x="269" y="766"/>
                </a:lnTo>
                <a:lnTo>
                  <a:pt x="276" y="785"/>
                </a:lnTo>
                <a:lnTo>
                  <a:pt x="284" y="804"/>
                </a:lnTo>
                <a:lnTo>
                  <a:pt x="292" y="822"/>
                </a:lnTo>
                <a:lnTo>
                  <a:pt x="302" y="840"/>
                </a:lnTo>
                <a:lnTo>
                  <a:pt x="312" y="857"/>
                </a:lnTo>
                <a:lnTo>
                  <a:pt x="323" y="874"/>
                </a:lnTo>
                <a:lnTo>
                  <a:pt x="334" y="889"/>
                </a:lnTo>
                <a:lnTo>
                  <a:pt x="346" y="904"/>
                </a:lnTo>
                <a:lnTo>
                  <a:pt x="360" y="919"/>
                </a:lnTo>
                <a:lnTo>
                  <a:pt x="373" y="932"/>
                </a:lnTo>
                <a:lnTo>
                  <a:pt x="387" y="945"/>
                </a:lnTo>
                <a:lnTo>
                  <a:pt x="403" y="957"/>
                </a:lnTo>
                <a:lnTo>
                  <a:pt x="419" y="968"/>
                </a:lnTo>
                <a:lnTo>
                  <a:pt x="435" y="977"/>
                </a:lnTo>
                <a:lnTo>
                  <a:pt x="453" y="986"/>
                </a:lnTo>
                <a:lnTo>
                  <a:pt x="471" y="993"/>
                </a:lnTo>
                <a:lnTo>
                  <a:pt x="490" y="1000"/>
                </a:lnTo>
                <a:lnTo>
                  <a:pt x="510" y="1005"/>
                </a:lnTo>
                <a:lnTo>
                  <a:pt x="531" y="1008"/>
                </a:lnTo>
                <a:lnTo>
                  <a:pt x="553" y="1010"/>
                </a:lnTo>
                <a:lnTo>
                  <a:pt x="575" y="1011"/>
                </a:lnTo>
                <a:lnTo>
                  <a:pt x="575" y="1011"/>
                </a:lnTo>
                <a:lnTo>
                  <a:pt x="598" y="1010"/>
                </a:lnTo>
                <a:lnTo>
                  <a:pt x="619" y="1008"/>
                </a:lnTo>
                <a:lnTo>
                  <a:pt x="640" y="1005"/>
                </a:lnTo>
                <a:lnTo>
                  <a:pt x="660" y="1000"/>
                </a:lnTo>
                <a:lnTo>
                  <a:pt x="679" y="993"/>
                </a:lnTo>
                <a:lnTo>
                  <a:pt x="697" y="986"/>
                </a:lnTo>
                <a:lnTo>
                  <a:pt x="715" y="977"/>
                </a:lnTo>
                <a:lnTo>
                  <a:pt x="732" y="968"/>
                </a:lnTo>
                <a:lnTo>
                  <a:pt x="747" y="957"/>
                </a:lnTo>
                <a:lnTo>
                  <a:pt x="762" y="945"/>
                </a:lnTo>
                <a:lnTo>
                  <a:pt x="777" y="932"/>
                </a:lnTo>
                <a:lnTo>
                  <a:pt x="791" y="919"/>
                </a:lnTo>
                <a:lnTo>
                  <a:pt x="803" y="904"/>
                </a:lnTo>
                <a:lnTo>
                  <a:pt x="816" y="889"/>
                </a:lnTo>
                <a:lnTo>
                  <a:pt x="828" y="874"/>
                </a:lnTo>
                <a:lnTo>
                  <a:pt x="838" y="857"/>
                </a:lnTo>
                <a:lnTo>
                  <a:pt x="848" y="840"/>
                </a:lnTo>
                <a:lnTo>
                  <a:pt x="858" y="822"/>
                </a:lnTo>
                <a:lnTo>
                  <a:pt x="867" y="804"/>
                </a:lnTo>
                <a:lnTo>
                  <a:pt x="874" y="785"/>
                </a:lnTo>
                <a:lnTo>
                  <a:pt x="881" y="766"/>
                </a:lnTo>
                <a:lnTo>
                  <a:pt x="888" y="747"/>
                </a:lnTo>
                <a:lnTo>
                  <a:pt x="894" y="728"/>
                </a:lnTo>
                <a:lnTo>
                  <a:pt x="899" y="707"/>
                </a:lnTo>
                <a:lnTo>
                  <a:pt x="904" y="687"/>
                </a:lnTo>
                <a:lnTo>
                  <a:pt x="908" y="667"/>
                </a:lnTo>
                <a:lnTo>
                  <a:pt x="911" y="647"/>
                </a:lnTo>
                <a:lnTo>
                  <a:pt x="914" y="626"/>
                </a:lnTo>
                <a:lnTo>
                  <a:pt x="918" y="587"/>
                </a:lnTo>
                <a:lnTo>
                  <a:pt x="919" y="547"/>
                </a:lnTo>
                <a:lnTo>
                  <a:pt x="919" y="547"/>
                </a:lnTo>
                <a:lnTo>
                  <a:pt x="918" y="507"/>
                </a:lnTo>
                <a:lnTo>
                  <a:pt x="914" y="467"/>
                </a:lnTo>
                <a:lnTo>
                  <a:pt x="911" y="446"/>
                </a:lnTo>
                <a:lnTo>
                  <a:pt x="908" y="426"/>
                </a:lnTo>
                <a:lnTo>
                  <a:pt x="904" y="407"/>
                </a:lnTo>
                <a:lnTo>
                  <a:pt x="899" y="386"/>
                </a:lnTo>
                <a:lnTo>
                  <a:pt x="894" y="367"/>
                </a:lnTo>
                <a:lnTo>
                  <a:pt x="888" y="346"/>
                </a:lnTo>
                <a:lnTo>
                  <a:pt x="881" y="327"/>
                </a:lnTo>
                <a:lnTo>
                  <a:pt x="874" y="308"/>
                </a:lnTo>
                <a:lnTo>
                  <a:pt x="867" y="290"/>
                </a:lnTo>
                <a:lnTo>
                  <a:pt x="858" y="272"/>
                </a:lnTo>
                <a:lnTo>
                  <a:pt x="848" y="253"/>
                </a:lnTo>
                <a:lnTo>
                  <a:pt x="838" y="237"/>
                </a:lnTo>
                <a:lnTo>
                  <a:pt x="828" y="219"/>
                </a:lnTo>
                <a:lnTo>
                  <a:pt x="816" y="204"/>
                </a:lnTo>
                <a:lnTo>
                  <a:pt x="803" y="189"/>
                </a:lnTo>
                <a:lnTo>
                  <a:pt x="791" y="174"/>
                </a:lnTo>
                <a:lnTo>
                  <a:pt x="777" y="161"/>
                </a:lnTo>
                <a:lnTo>
                  <a:pt x="762" y="148"/>
                </a:lnTo>
                <a:lnTo>
                  <a:pt x="747" y="137"/>
                </a:lnTo>
                <a:lnTo>
                  <a:pt x="732" y="125"/>
                </a:lnTo>
                <a:lnTo>
                  <a:pt x="715" y="116"/>
                </a:lnTo>
                <a:lnTo>
                  <a:pt x="697" y="108"/>
                </a:lnTo>
                <a:lnTo>
                  <a:pt x="679" y="100"/>
                </a:lnTo>
                <a:lnTo>
                  <a:pt x="660" y="94"/>
                </a:lnTo>
                <a:lnTo>
                  <a:pt x="640" y="90"/>
                </a:lnTo>
                <a:lnTo>
                  <a:pt x="619" y="86"/>
                </a:lnTo>
                <a:lnTo>
                  <a:pt x="598" y="83"/>
                </a:lnTo>
                <a:lnTo>
                  <a:pt x="575" y="82"/>
                </a:lnTo>
                <a:lnTo>
                  <a:pt x="575" y="82"/>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68" name="Freeform 19">
            <a:extLst>
              <a:ext uri="{FF2B5EF4-FFF2-40B4-BE49-F238E27FC236}">
                <a16:creationId xmlns:a16="http://schemas.microsoft.com/office/drawing/2014/main" id="{54877859-8FA6-8348-BA35-6A9AE7383771}"/>
              </a:ext>
            </a:extLst>
          </p:cNvPr>
          <p:cNvSpPr>
            <a:spLocks/>
          </p:cNvSpPr>
          <p:nvPr userDrawn="1"/>
        </p:nvSpPr>
        <p:spPr bwMode="auto">
          <a:xfrm>
            <a:off x="1552576" y="1154115"/>
            <a:ext cx="90488" cy="144463"/>
          </a:xfrm>
          <a:custGeom>
            <a:avLst/>
            <a:gdLst>
              <a:gd name="T0" fmla="*/ 38 w 683"/>
              <a:gd name="T1" fmla="*/ 752 h 1102"/>
              <a:gd name="T2" fmla="*/ 64 w 683"/>
              <a:gd name="T3" fmla="*/ 849 h 1102"/>
              <a:gd name="T4" fmla="*/ 104 w 683"/>
              <a:gd name="T5" fmla="*/ 921 h 1102"/>
              <a:gd name="T6" fmla="*/ 171 w 683"/>
              <a:gd name="T7" fmla="*/ 985 h 1102"/>
              <a:gd name="T8" fmla="*/ 273 w 683"/>
              <a:gd name="T9" fmla="*/ 1026 h 1102"/>
              <a:gd name="T10" fmla="*/ 377 w 683"/>
              <a:gd name="T11" fmla="*/ 1032 h 1102"/>
              <a:gd name="T12" fmla="*/ 476 w 683"/>
              <a:gd name="T13" fmla="*/ 1002 h 1102"/>
              <a:gd name="T14" fmla="*/ 544 w 683"/>
              <a:gd name="T15" fmla="*/ 937 h 1102"/>
              <a:gd name="T16" fmla="*/ 570 w 683"/>
              <a:gd name="T17" fmla="*/ 844 h 1102"/>
              <a:gd name="T18" fmla="*/ 556 w 683"/>
              <a:gd name="T19" fmla="*/ 787 h 1102"/>
              <a:gd name="T20" fmla="*/ 501 w 683"/>
              <a:gd name="T21" fmla="*/ 720 h 1102"/>
              <a:gd name="T22" fmla="*/ 413 w 683"/>
              <a:gd name="T23" fmla="*/ 659 h 1102"/>
              <a:gd name="T24" fmla="*/ 168 w 683"/>
              <a:gd name="T25" fmla="*/ 529 h 1102"/>
              <a:gd name="T26" fmla="*/ 86 w 683"/>
              <a:gd name="T27" fmla="*/ 455 h 1102"/>
              <a:gd name="T28" fmla="*/ 30 w 683"/>
              <a:gd name="T29" fmla="*/ 358 h 1102"/>
              <a:gd name="T30" fmla="*/ 14 w 683"/>
              <a:gd name="T31" fmla="*/ 265 h 1102"/>
              <a:gd name="T32" fmla="*/ 23 w 683"/>
              <a:gd name="T33" fmla="*/ 201 h 1102"/>
              <a:gd name="T34" fmla="*/ 46 w 683"/>
              <a:gd name="T35" fmla="*/ 142 h 1102"/>
              <a:gd name="T36" fmla="*/ 85 w 683"/>
              <a:gd name="T37" fmla="*/ 92 h 1102"/>
              <a:gd name="T38" fmla="*/ 136 w 683"/>
              <a:gd name="T39" fmla="*/ 52 h 1102"/>
              <a:gd name="T40" fmla="*/ 199 w 683"/>
              <a:gd name="T41" fmla="*/ 24 h 1102"/>
              <a:gd name="T42" fmla="*/ 269 w 683"/>
              <a:gd name="T43" fmla="*/ 9 h 1102"/>
              <a:gd name="T44" fmla="*/ 337 w 683"/>
              <a:gd name="T45" fmla="*/ 10 h 1102"/>
              <a:gd name="T46" fmla="*/ 411 w 683"/>
              <a:gd name="T47" fmla="*/ 25 h 1102"/>
              <a:gd name="T48" fmla="*/ 511 w 683"/>
              <a:gd name="T49" fmla="*/ 79 h 1102"/>
              <a:gd name="T50" fmla="*/ 540 w 683"/>
              <a:gd name="T51" fmla="*/ 46 h 1102"/>
              <a:gd name="T52" fmla="*/ 595 w 683"/>
              <a:gd name="T53" fmla="*/ 0 h 1102"/>
              <a:gd name="T54" fmla="*/ 553 w 683"/>
              <a:gd name="T55" fmla="*/ 326 h 1102"/>
              <a:gd name="T56" fmla="*/ 512 w 683"/>
              <a:gd name="T57" fmla="*/ 200 h 1102"/>
              <a:gd name="T58" fmla="*/ 473 w 683"/>
              <a:gd name="T59" fmla="*/ 145 h 1102"/>
              <a:gd name="T60" fmla="*/ 420 w 683"/>
              <a:gd name="T61" fmla="*/ 106 h 1102"/>
              <a:gd name="T62" fmla="*/ 348 w 683"/>
              <a:gd name="T63" fmla="*/ 82 h 1102"/>
              <a:gd name="T64" fmla="*/ 277 w 683"/>
              <a:gd name="T65" fmla="*/ 78 h 1102"/>
              <a:gd name="T66" fmla="*/ 200 w 683"/>
              <a:gd name="T67" fmla="*/ 104 h 1102"/>
              <a:gd name="T68" fmla="*/ 148 w 683"/>
              <a:gd name="T69" fmla="*/ 158 h 1102"/>
              <a:gd name="T70" fmla="*/ 128 w 683"/>
              <a:gd name="T71" fmla="*/ 231 h 1102"/>
              <a:gd name="T72" fmla="*/ 139 w 683"/>
              <a:gd name="T73" fmla="*/ 292 h 1102"/>
              <a:gd name="T74" fmla="*/ 191 w 683"/>
              <a:gd name="T75" fmla="*/ 355 h 1102"/>
              <a:gd name="T76" fmla="*/ 287 w 683"/>
              <a:gd name="T77" fmla="*/ 417 h 1102"/>
              <a:gd name="T78" fmla="*/ 548 w 683"/>
              <a:gd name="T79" fmla="*/ 556 h 1102"/>
              <a:gd name="T80" fmla="*/ 631 w 683"/>
              <a:gd name="T81" fmla="*/ 633 h 1102"/>
              <a:gd name="T82" fmla="*/ 674 w 683"/>
              <a:gd name="T83" fmla="*/ 720 h 1102"/>
              <a:gd name="T84" fmla="*/ 683 w 683"/>
              <a:gd name="T85" fmla="*/ 792 h 1102"/>
              <a:gd name="T86" fmla="*/ 673 w 683"/>
              <a:gd name="T87" fmla="*/ 874 h 1102"/>
              <a:gd name="T88" fmla="*/ 643 w 683"/>
              <a:gd name="T89" fmla="*/ 947 h 1102"/>
              <a:gd name="T90" fmla="*/ 597 w 683"/>
              <a:gd name="T91" fmla="*/ 1007 h 1102"/>
              <a:gd name="T92" fmla="*/ 536 w 683"/>
              <a:gd name="T93" fmla="*/ 1053 h 1102"/>
              <a:gd name="T94" fmla="*/ 466 w 683"/>
              <a:gd name="T95" fmla="*/ 1085 h 1102"/>
              <a:gd name="T96" fmla="*/ 387 w 683"/>
              <a:gd name="T97" fmla="*/ 1100 h 1102"/>
              <a:gd name="T98" fmla="*/ 307 w 683"/>
              <a:gd name="T99" fmla="*/ 1099 h 1102"/>
              <a:gd name="T100" fmla="*/ 208 w 683"/>
              <a:gd name="T101" fmla="*/ 1073 h 1102"/>
              <a:gd name="T102" fmla="*/ 95 w 683"/>
              <a:gd name="T103" fmla="*/ 1024 h 1102"/>
              <a:gd name="T104" fmla="*/ 62 w 683"/>
              <a:gd name="T105" fmla="*/ 1044 h 1102"/>
              <a:gd name="T106" fmla="*/ 35 w 683"/>
              <a:gd name="T107" fmla="*/ 1102 h 1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83" h="1102">
                <a:moveTo>
                  <a:pt x="0" y="723"/>
                </a:moveTo>
                <a:lnTo>
                  <a:pt x="36" y="723"/>
                </a:lnTo>
                <a:lnTo>
                  <a:pt x="36" y="723"/>
                </a:lnTo>
                <a:lnTo>
                  <a:pt x="37" y="736"/>
                </a:lnTo>
                <a:lnTo>
                  <a:pt x="38" y="752"/>
                </a:lnTo>
                <a:lnTo>
                  <a:pt x="41" y="771"/>
                </a:lnTo>
                <a:lnTo>
                  <a:pt x="46" y="795"/>
                </a:lnTo>
                <a:lnTo>
                  <a:pt x="54" y="821"/>
                </a:lnTo>
                <a:lnTo>
                  <a:pt x="59" y="835"/>
                </a:lnTo>
                <a:lnTo>
                  <a:pt x="64" y="849"/>
                </a:lnTo>
                <a:lnTo>
                  <a:pt x="70" y="863"/>
                </a:lnTo>
                <a:lnTo>
                  <a:pt x="77" y="878"/>
                </a:lnTo>
                <a:lnTo>
                  <a:pt x="84" y="893"/>
                </a:lnTo>
                <a:lnTo>
                  <a:pt x="93" y="907"/>
                </a:lnTo>
                <a:lnTo>
                  <a:pt x="104" y="921"/>
                </a:lnTo>
                <a:lnTo>
                  <a:pt x="115" y="935"/>
                </a:lnTo>
                <a:lnTo>
                  <a:pt x="127" y="948"/>
                </a:lnTo>
                <a:lnTo>
                  <a:pt x="140" y="961"/>
                </a:lnTo>
                <a:lnTo>
                  <a:pt x="155" y="974"/>
                </a:lnTo>
                <a:lnTo>
                  <a:pt x="171" y="985"/>
                </a:lnTo>
                <a:lnTo>
                  <a:pt x="189" y="995"/>
                </a:lnTo>
                <a:lnTo>
                  <a:pt x="207" y="1004"/>
                </a:lnTo>
                <a:lnTo>
                  <a:pt x="227" y="1012"/>
                </a:lnTo>
                <a:lnTo>
                  <a:pt x="250" y="1020"/>
                </a:lnTo>
                <a:lnTo>
                  <a:pt x="273" y="1026"/>
                </a:lnTo>
                <a:lnTo>
                  <a:pt x="298" y="1030"/>
                </a:lnTo>
                <a:lnTo>
                  <a:pt x="326" y="1032"/>
                </a:lnTo>
                <a:lnTo>
                  <a:pt x="354" y="1033"/>
                </a:lnTo>
                <a:lnTo>
                  <a:pt x="354" y="1033"/>
                </a:lnTo>
                <a:lnTo>
                  <a:pt x="377" y="1032"/>
                </a:lnTo>
                <a:lnTo>
                  <a:pt x="398" y="1030"/>
                </a:lnTo>
                <a:lnTo>
                  <a:pt x="420" y="1025"/>
                </a:lnTo>
                <a:lnTo>
                  <a:pt x="439" y="1019"/>
                </a:lnTo>
                <a:lnTo>
                  <a:pt x="458" y="1011"/>
                </a:lnTo>
                <a:lnTo>
                  <a:pt x="476" y="1002"/>
                </a:lnTo>
                <a:lnTo>
                  <a:pt x="492" y="992"/>
                </a:lnTo>
                <a:lnTo>
                  <a:pt x="508" y="980"/>
                </a:lnTo>
                <a:lnTo>
                  <a:pt x="522" y="966"/>
                </a:lnTo>
                <a:lnTo>
                  <a:pt x="533" y="952"/>
                </a:lnTo>
                <a:lnTo>
                  <a:pt x="544" y="937"/>
                </a:lnTo>
                <a:lnTo>
                  <a:pt x="553" y="919"/>
                </a:lnTo>
                <a:lnTo>
                  <a:pt x="560" y="902"/>
                </a:lnTo>
                <a:lnTo>
                  <a:pt x="565" y="884"/>
                </a:lnTo>
                <a:lnTo>
                  <a:pt x="569" y="864"/>
                </a:lnTo>
                <a:lnTo>
                  <a:pt x="570" y="844"/>
                </a:lnTo>
                <a:lnTo>
                  <a:pt x="570" y="844"/>
                </a:lnTo>
                <a:lnTo>
                  <a:pt x="569" y="828"/>
                </a:lnTo>
                <a:lnTo>
                  <a:pt x="566" y="814"/>
                </a:lnTo>
                <a:lnTo>
                  <a:pt x="562" y="800"/>
                </a:lnTo>
                <a:lnTo>
                  <a:pt x="556" y="787"/>
                </a:lnTo>
                <a:lnTo>
                  <a:pt x="547" y="772"/>
                </a:lnTo>
                <a:lnTo>
                  <a:pt x="538" y="759"/>
                </a:lnTo>
                <a:lnTo>
                  <a:pt x="527" y="746"/>
                </a:lnTo>
                <a:lnTo>
                  <a:pt x="515" y="732"/>
                </a:lnTo>
                <a:lnTo>
                  <a:pt x="501" y="720"/>
                </a:lnTo>
                <a:lnTo>
                  <a:pt x="486" y="707"/>
                </a:lnTo>
                <a:lnTo>
                  <a:pt x="470" y="695"/>
                </a:lnTo>
                <a:lnTo>
                  <a:pt x="452" y="682"/>
                </a:lnTo>
                <a:lnTo>
                  <a:pt x="434" y="670"/>
                </a:lnTo>
                <a:lnTo>
                  <a:pt x="413" y="659"/>
                </a:lnTo>
                <a:lnTo>
                  <a:pt x="372" y="634"/>
                </a:lnTo>
                <a:lnTo>
                  <a:pt x="206" y="550"/>
                </a:lnTo>
                <a:lnTo>
                  <a:pt x="206" y="550"/>
                </a:lnTo>
                <a:lnTo>
                  <a:pt x="186" y="540"/>
                </a:lnTo>
                <a:lnTo>
                  <a:pt x="168" y="529"/>
                </a:lnTo>
                <a:lnTo>
                  <a:pt x="151" y="516"/>
                </a:lnTo>
                <a:lnTo>
                  <a:pt x="133" y="502"/>
                </a:lnTo>
                <a:lnTo>
                  <a:pt x="117" y="488"/>
                </a:lnTo>
                <a:lnTo>
                  <a:pt x="101" y="472"/>
                </a:lnTo>
                <a:lnTo>
                  <a:pt x="86" y="455"/>
                </a:lnTo>
                <a:lnTo>
                  <a:pt x="72" y="438"/>
                </a:lnTo>
                <a:lnTo>
                  <a:pt x="60" y="419"/>
                </a:lnTo>
                <a:lnTo>
                  <a:pt x="48" y="400"/>
                </a:lnTo>
                <a:lnTo>
                  <a:pt x="38" y="380"/>
                </a:lnTo>
                <a:lnTo>
                  <a:pt x="30" y="358"/>
                </a:lnTo>
                <a:lnTo>
                  <a:pt x="23" y="336"/>
                </a:lnTo>
                <a:lnTo>
                  <a:pt x="18" y="313"/>
                </a:lnTo>
                <a:lnTo>
                  <a:pt x="15" y="290"/>
                </a:lnTo>
                <a:lnTo>
                  <a:pt x="14" y="265"/>
                </a:lnTo>
                <a:lnTo>
                  <a:pt x="14" y="265"/>
                </a:lnTo>
                <a:lnTo>
                  <a:pt x="15" y="252"/>
                </a:lnTo>
                <a:lnTo>
                  <a:pt x="16" y="240"/>
                </a:lnTo>
                <a:lnTo>
                  <a:pt x="17" y="226"/>
                </a:lnTo>
                <a:lnTo>
                  <a:pt x="20" y="213"/>
                </a:lnTo>
                <a:lnTo>
                  <a:pt x="23" y="201"/>
                </a:lnTo>
                <a:lnTo>
                  <a:pt x="26" y="188"/>
                </a:lnTo>
                <a:lnTo>
                  <a:pt x="30" y="177"/>
                </a:lnTo>
                <a:lnTo>
                  <a:pt x="35" y="165"/>
                </a:lnTo>
                <a:lnTo>
                  <a:pt x="40" y="154"/>
                </a:lnTo>
                <a:lnTo>
                  <a:pt x="46" y="142"/>
                </a:lnTo>
                <a:lnTo>
                  <a:pt x="54" y="132"/>
                </a:lnTo>
                <a:lnTo>
                  <a:pt x="61" y="121"/>
                </a:lnTo>
                <a:lnTo>
                  <a:pt x="68" y="112"/>
                </a:lnTo>
                <a:lnTo>
                  <a:pt x="76" y="101"/>
                </a:lnTo>
                <a:lnTo>
                  <a:pt x="85" y="92"/>
                </a:lnTo>
                <a:lnTo>
                  <a:pt x="94" y="83"/>
                </a:lnTo>
                <a:lnTo>
                  <a:pt x="105" y="75"/>
                </a:lnTo>
                <a:lnTo>
                  <a:pt x="115" y="67"/>
                </a:lnTo>
                <a:lnTo>
                  <a:pt x="125" y="60"/>
                </a:lnTo>
                <a:lnTo>
                  <a:pt x="136" y="52"/>
                </a:lnTo>
                <a:lnTo>
                  <a:pt x="148" y="45"/>
                </a:lnTo>
                <a:lnTo>
                  <a:pt x="160" y="39"/>
                </a:lnTo>
                <a:lnTo>
                  <a:pt x="172" y="34"/>
                </a:lnTo>
                <a:lnTo>
                  <a:pt x="185" y="29"/>
                </a:lnTo>
                <a:lnTo>
                  <a:pt x="199" y="24"/>
                </a:lnTo>
                <a:lnTo>
                  <a:pt x="212" y="20"/>
                </a:lnTo>
                <a:lnTo>
                  <a:pt x="225" y="17"/>
                </a:lnTo>
                <a:lnTo>
                  <a:pt x="240" y="14"/>
                </a:lnTo>
                <a:lnTo>
                  <a:pt x="255" y="12"/>
                </a:lnTo>
                <a:lnTo>
                  <a:pt x="269" y="9"/>
                </a:lnTo>
                <a:lnTo>
                  <a:pt x="285" y="8"/>
                </a:lnTo>
                <a:lnTo>
                  <a:pt x="300" y="8"/>
                </a:lnTo>
                <a:lnTo>
                  <a:pt x="300" y="8"/>
                </a:lnTo>
                <a:lnTo>
                  <a:pt x="319" y="8"/>
                </a:lnTo>
                <a:lnTo>
                  <a:pt x="337" y="10"/>
                </a:lnTo>
                <a:lnTo>
                  <a:pt x="353" y="12"/>
                </a:lnTo>
                <a:lnTo>
                  <a:pt x="368" y="15"/>
                </a:lnTo>
                <a:lnTo>
                  <a:pt x="384" y="18"/>
                </a:lnTo>
                <a:lnTo>
                  <a:pt x="398" y="21"/>
                </a:lnTo>
                <a:lnTo>
                  <a:pt x="411" y="25"/>
                </a:lnTo>
                <a:lnTo>
                  <a:pt x="425" y="30"/>
                </a:lnTo>
                <a:lnTo>
                  <a:pt x="448" y="40"/>
                </a:lnTo>
                <a:lnTo>
                  <a:pt x="471" y="52"/>
                </a:lnTo>
                <a:lnTo>
                  <a:pt x="491" y="66"/>
                </a:lnTo>
                <a:lnTo>
                  <a:pt x="511" y="79"/>
                </a:lnTo>
                <a:lnTo>
                  <a:pt x="511" y="79"/>
                </a:lnTo>
                <a:lnTo>
                  <a:pt x="519" y="73"/>
                </a:lnTo>
                <a:lnTo>
                  <a:pt x="526" y="65"/>
                </a:lnTo>
                <a:lnTo>
                  <a:pt x="533" y="57"/>
                </a:lnTo>
                <a:lnTo>
                  <a:pt x="540" y="46"/>
                </a:lnTo>
                <a:lnTo>
                  <a:pt x="546" y="36"/>
                </a:lnTo>
                <a:lnTo>
                  <a:pt x="553" y="25"/>
                </a:lnTo>
                <a:lnTo>
                  <a:pt x="557" y="13"/>
                </a:lnTo>
                <a:lnTo>
                  <a:pt x="561" y="0"/>
                </a:lnTo>
                <a:lnTo>
                  <a:pt x="595" y="0"/>
                </a:lnTo>
                <a:lnTo>
                  <a:pt x="595" y="380"/>
                </a:lnTo>
                <a:lnTo>
                  <a:pt x="559" y="380"/>
                </a:lnTo>
                <a:lnTo>
                  <a:pt x="559" y="380"/>
                </a:lnTo>
                <a:lnTo>
                  <a:pt x="557" y="353"/>
                </a:lnTo>
                <a:lnTo>
                  <a:pt x="553" y="326"/>
                </a:lnTo>
                <a:lnTo>
                  <a:pt x="547" y="300"/>
                </a:lnTo>
                <a:lnTo>
                  <a:pt x="541" y="274"/>
                </a:lnTo>
                <a:lnTo>
                  <a:pt x="533" y="249"/>
                </a:lnTo>
                <a:lnTo>
                  <a:pt x="523" y="223"/>
                </a:lnTo>
                <a:lnTo>
                  <a:pt x="512" y="200"/>
                </a:lnTo>
                <a:lnTo>
                  <a:pt x="504" y="187"/>
                </a:lnTo>
                <a:lnTo>
                  <a:pt x="497" y="177"/>
                </a:lnTo>
                <a:lnTo>
                  <a:pt x="490" y="166"/>
                </a:lnTo>
                <a:lnTo>
                  <a:pt x="482" y="156"/>
                </a:lnTo>
                <a:lnTo>
                  <a:pt x="473" y="145"/>
                </a:lnTo>
                <a:lnTo>
                  <a:pt x="464" y="136"/>
                </a:lnTo>
                <a:lnTo>
                  <a:pt x="453" y="128"/>
                </a:lnTo>
                <a:lnTo>
                  <a:pt x="443" y="120"/>
                </a:lnTo>
                <a:lnTo>
                  <a:pt x="431" y="112"/>
                </a:lnTo>
                <a:lnTo>
                  <a:pt x="420" y="106"/>
                </a:lnTo>
                <a:lnTo>
                  <a:pt x="406" y="99"/>
                </a:lnTo>
                <a:lnTo>
                  <a:pt x="393" y="93"/>
                </a:lnTo>
                <a:lnTo>
                  <a:pt x="379" y="89"/>
                </a:lnTo>
                <a:lnTo>
                  <a:pt x="363" y="85"/>
                </a:lnTo>
                <a:lnTo>
                  <a:pt x="348" y="82"/>
                </a:lnTo>
                <a:lnTo>
                  <a:pt x="331" y="79"/>
                </a:lnTo>
                <a:lnTo>
                  <a:pt x="313" y="78"/>
                </a:lnTo>
                <a:lnTo>
                  <a:pt x="295" y="78"/>
                </a:lnTo>
                <a:lnTo>
                  <a:pt x="295" y="78"/>
                </a:lnTo>
                <a:lnTo>
                  <a:pt x="277" y="78"/>
                </a:lnTo>
                <a:lnTo>
                  <a:pt x="260" y="81"/>
                </a:lnTo>
                <a:lnTo>
                  <a:pt x="244" y="84"/>
                </a:lnTo>
                <a:lnTo>
                  <a:pt x="228" y="89"/>
                </a:lnTo>
                <a:lnTo>
                  <a:pt x="214" y="95"/>
                </a:lnTo>
                <a:lnTo>
                  <a:pt x="200" y="104"/>
                </a:lnTo>
                <a:lnTo>
                  <a:pt x="188" y="112"/>
                </a:lnTo>
                <a:lnTo>
                  <a:pt x="175" y="122"/>
                </a:lnTo>
                <a:lnTo>
                  <a:pt x="165" y="133"/>
                </a:lnTo>
                <a:lnTo>
                  <a:pt x="156" y="144"/>
                </a:lnTo>
                <a:lnTo>
                  <a:pt x="148" y="158"/>
                </a:lnTo>
                <a:lnTo>
                  <a:pt x="140" y="171"/>
                </a:lnTo>
                <a:lnTo>
                  <a:pt x="135" y="185"/>
                </a:lnTo>
                <a:lnTo>
                  <a:pt x="131" y="200"/>
                </a:lnTo>
                <a:lnTo>
                  <a:pt x="128" y="215"/>
                </a:lnTo>
                <a:lnTo>
                  <a:pt x="128" y="231"/>
                </a:lnTo>
                <a:lnTo>
                  <a:pt x="128" y="231"/>
                </a:lnTo>
                <a:lnTo>
                  <a:pt x="128" y="248"/>
                </a:lnTo>
                <a:lnTo>
                  <a:pt x="131" y="263"/>
                </a:lnTo>
                <a:lnTo>
                  <a:pt x="134" y="277"/>
                </a:lnTo>
                <a:lnTo>
                  <a:pt x="139" y="292"/>
                </a:lnTo>
                <a:lnTo>
                  <a:pt x="147" y="305"/>
                </a:lnTo>
                <a:lnTo>
                  <a:pt x="155" y="317"/>
                </a:lnTo>
                <a:lnTo>
                  <a:pt x="165" y="331"/>
                </a:lnTo>
                <a:lnTo>
                  <a:pt x="177" y="343"/>
                </a:lnTo>
                <a:lnTo>
                  <a:pt x="191" y="355"/>
                </a:lnTo>
                <a:lnTo>
                  <a:pt x="206" y="366"/>
                </a:lnTo>
                <a:lnTo>
                  <a:pt x="223" y="379"/>
                </a:lnTo>
                <a:lnTo>
                  <a:pt x="242" y="392"/>
                </a:lnTo>
                <a:lnTo>
                  <a:pt x="263" y="404"/>
                </a:lnTo>
                <a:lnTo>
                  <a:pt x="287" y="417"/>
                </a:lnTo>
                <a:lnTo>
                  <a:pt x="339" y="445"/>
                </a:lnTo>
                <a:lnTo>
                  <a:pt x="502" y="530"/>
                </a:lnTo>
                <a:lnTo>
                  <a:pt x="502" y="530"/>
                </a:lnTo>
                <a:lnTo>
                  <a:pt x="526" y="542"/>
                </a:lnTo>
                <a:lnTo>
                  <a:pt x="548" y="556"/>
                </a:lnTo>
                <a:lnTo>
                  <a:pt x="568" y="571"/>
                </a:lnTo>
                <a:lnTo>
                  <a:pt x="586" y="585"/>
                </a:lnTo>
                <a:lnTo>
                  <a:pt x="603" y="601"/>
                </a:lnTo>
                <a:lnTo>
                  <a:pt x="618" y="617"/>
                </a:lnTo>
                <a:lnTo>
                  <a:pt x="631" y="633"/>
                </a:lnTo>
                <a:lnTo>
                  <a:pt x="643" y="651"/>
                </a:lnTo>
                <a:lnTo>
                  <a:pt x="653" y="667"/>
                </a:lnTo>
                <a:lnTo>
                  <a:pt x="661" y="684"/>
                </a:lnTo>
                <a:lnTo>
                  <a:pt x="668" y="703"/>
                </a:lnTo>
                <a:lnTo>
                  <a:pt x="674" y="720"/>
                </a:lnTo>
                <a:lnTo>
                  <a:pt x="678" y="738"/>
                </a:lnTo>
                <a:lnTo>
                  <a:pt x="681" y="756"/>
                </a:lnTo>
                <a:lnTo>
                  <a:pt x="682" y="774"/>
                </a:lnTo>
                <a:lnTo>
                  <a:pt x="683" y="792"/>
                </a:lnTo>
                <a:lnTo>
                  <a:pt x="683" y="792"/>
                </a:lnTo>
                <a:lnTo>
                  <a:pt x="683" y="809"/>
                </a:lnTo>
                <a:lnTo>
                  <a:pt x="681" y="826"/>
                </a:lnTo>
                <a:lnTo>
                  <a:pt x="679" y="843"/>
                </a:lnTo>
                <a:lnTo>
                  <a:pt x="676" y="859"/>
                </a:lnTo>
                <a:lnTo>
                  <a:pt x="673" y="874"/>
                </a:lnTo>
                <a:lnTo>
                  <a:pt x="668" y="890"/>
                </a:lnTo>
                <a:lnTo>
                  <a:pt x="663" y="905"/>
                </a:lnTo>
                <a:lnTo>
                  <a:pt x="657" y="919"/>
                </a:lnTo>
                <a:lnTo>
                  <a:pt x="650" y="934"/>
                </a:lnTo>
                <a:lnTo>
                  <a:pt x="643" y="947"/>
                </a:lnTo>
                <a:lnTo>
                  <a:pt x="634" y="960"/>
                </a:lnTo>
                <a:lnTo>
                  <a:pt x="626" y="973"/>
                </a:lnTo>
                <a:lnTo>
                  <a:pt x="617" y="985"/>
                </a:lnTo>
                <a:lnTo>
                  <a:pt x="607" y="996"/>
                </a:lnTo>
                <a:lnTo>
                  <a:pt x="597" y="1007"/>
                </a:lnTo>
                <a:lnTo>
                  <a:pt x="585" y="1018"/>
                </a:lnTo>
                <a:lnTo>
                  <a:pt x="574" y="1028"/>
                </a:lnTo>
                <a:lnTo>
                  <a:pt x="562" y="1037"/>
                </a:lnTo>
                <a:lnTo>
                  <a:pt x="549" y="1045"/>
                </a:lnTo>
                <a:lnTo>
                  <a:pt x="536" y="1053"/>
                </a:lnTo>
                <a:lnTo>
                  <a:pt x="523" y="1062"/>
                </a:lnTo>
                <a:lnTo>
                  <a:pt x="509" y="1068"/>
                </a:lnTo>
                <a:lnTo>
                  <a:pt x="495" y="1075"/>
                </a:lnTo>
                <a:lnTo>
                  <a:pt x="480" y="1080"/>
                </a:lnTo>
                <a:lnTo>
                  <a:pt x="466" y="1085"/>
                </a:lnTo>
                <a:lnTo>
                  <a:pt x="450" y="1089"/>
                </a:lnTo>
                <a:lnTo>
                  <a:pt x="435" y="1093"/>
                </a:lnTo>
                <a:lnTo>
                  <a:pt x="419" y="1096"/>
                </a:lnTo>
                <a:lnTo>
                  <a:pt x="403" y="1099"/>
                </a:lnTo>
                <a:lnTo>
                  <a:pt x="387" y="1100"/>
                </a:lnTo>
                <a:lnTo>
                  <a:pt x="371" y="1101"/>
                </a:lnTo>
                <a:lnTo>
                  <a:pt x="354" y="1102"/>
                </a:lnTo>
                <a:lnTo>
                  <a:pt x="354" y="1102"/>
                </a:lnTo>
                <a:lnTo>
                  <a:pt x="330" y="1101"/>
                </a:lnTo>
                <a:lnTo>
                  <a:pt x="307" y="1099"/>
                </a:lnTo>
                <a:lnTo>
                  <a:pt x="285" y="1095"/>
                </a:lnTo>
                <a:lnTo>
                  <a:pt x="264" y="1091"/>
                </a:lnTo>
                <a:lnTo>
                  <a:pt x="245" y="1086"/>
                </a:lnTo>
                <a:lnTo>
                  <a:pt x="225" y="1080"/>
                </a:lnTo>
                <a:lnTo>
                  <a:pt x="208" y="1073"/>
                </a:lnTo>
                <a:lnTo>
                  <a:pt x="191" y="1067"/>
                </a:lnTo>
                <a:lnTo>
                  <a:pt x="160" y="1052"/>
                </a:lnTo>
                <a:lnTo>
                  <a:pt x="131" y="1039"/>
                </a:lnTo>
                <a:lnTo>
                  <a:pt x="107" y="1028"/>
                </a:lnTo>
                <a:lnTo>
                  <a:pt x="95" y="1024"/>
                </a:lnTo>
                <a:lnTo>
                  <a:pt x="85" y="1021"/>
                </a:lnTo>
                <a:lnTo>
                  <a:pt x="85" y="1021"/>
                </a:lnTo>
                <a:lnTo>
                  <a:pt x="77" y="1028"/>
                </a:lnTo>
                <a:lnTo>
                  <a:pt x="70" y="1036"/>
                </a:lnTo>
                <a:lnTo>
                  <a:pt x="62" y="1044"/>
                </a:lnTo>
                <a:lnTo>
                  <a:pt x="56" y="1053"/>
                </a:lnTo>
                <a:lnTo>
                  <a:pt x="48" y="1065"/>
                </a:lnTo>
                <a:lnTo>
                  <a:pt x="43" y="1076"/>
                </a:lnTo>
                <a:lnTo>
                  <a:pt x="38" y="1088"/>
                </a:lnTo>
                <a:lnTo>
                  <a:pt x="35" y="1102"/>
                </a:lnTo>
                <a:lnTo>
                  <a:pt x="0" y="1102"/>
                </a:lnTo>
                <a:lnTo>
                  <a:pt x="0" y="723"/>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69" name="Freeform 20">
            <a:extLst>
              <a:ext uri="{FF2B5EF4-FFF2-40B4-BE49-F238E27FC236}">
                <a16:creationId xmlns:a16="http://schemas.microsoft.com/office/drawing/2014/main" id="{A84706CA-E44B-774B-BAA9-508708757137}"/>
              </a:ext>
            </a:extLst>
          </p:cNvPr>
          <p:cNvSpPr>
            <a:spLocks/>
          </p:cNvSpPr>
          <p:nvPr userDrawn="1"/>
        </p:nvSpPr>
        <p:spPr bwMode="auto">
          <a:xfrm>
            <a:off x="1671638" y="1158878"/>
            <a:ext cx="141288" cy="136525"/>
          </a:xfrm>
          <a:custGeom>
            <a:avLst/>
            <a:gdLst>
              <a:gd name="T0" fmla="*/ 304 w 1077"/>
              <a:gd name="T1" fmla="*/ 999 h 1035"/>
              <a:gd name="T2" fmla="*/ 352 w 1077"/>
              <a:gd name="T3" fmla="*/ 997 h 1035"/>
              <a:gd name="T4" fmla="*/ 390 w 1077"/>
              <a:gd name="T5" fmla="*/ 991 h 1035"/>
              <a:gd name="T6" fmla="*/ 419 w 1077"/>
              <a:gd name="T7" fmla="*/ 981 h 1035"/>
              <a:gd name="T8" fmla="*/ 431 w 1077"/>
              <a:gd name="T9" fmla="*/ 972 h 1035"/>
              <a:gd name="T10" fmla="*/ 441 w 1077"/>
              <a:gd name="T11" fmla="*/ 962 h 1035"/>
              <a:gd name="T12" fmla="*/ 448 w 1077"/>
              <a:gd name="T13" fmla="*/ 951 h 1035"/>
              <a:gd name="T14" fmla="*/ 460 w 1077"/>
              <a:gd name="T15" fmla="*/ 920 h 1035"/>
              <a:gd name="T16" fmla="*/ 466 w 1077"/>
              <a:gd name="T17" fmla="*/ 879 h 1035"/>
              <a:gd name="T18" fmla="*/ 469 w 1077"/>
              <a:gd name="T19" fmla="*/ 827 h 1035"/>
              <a:gd name="T20" fmla="*/ 469 w 1077"/>
              <a:gd name="T21" fmla="*/ 68 h 1035"/>
              <a:gd name="T22" fmla="*/ 245 w 1077"/>
              <a:gd name="T23" fmla="*/ 68 h 1035"/>
              <a:gd name="T24" fmla="*/ 192 w 1077"/>
              <a:gd name="T25" fmla="*/ 69 h 1035"/>
              <a:gd name="T26" fmla="*/ 150 w 1077"/>
              <a:gd name="T27" fmla="*/ 75 h 1035"/>
              <a:gd name="T28" fmla="*/ 119 w 1077"/>
              <a:gd name="T29" fmla="*/ 85 h 1035"/>
              <a:gd name="T30" fmla="*/ 94 w 1077"/>
              <a:gd name="T31" fmla="*/ 98 h 1035"/>
              <a:gd name="T32" fmla="*/ 77 w 1077"/>
              <a:gd name="T33" fmla="*/ 117 h 1035"/>
              <a:gd name="T34" fmla="*/ 64 w 1077"/>
              <a:gd name="T35" fmla="*/ 139 h 1035"/>
              <a:gd name="T36" fmla="*/ 54 w 1077"/>
              <a:gd name="T37" fmla="*/ 167 h 1035"/>
              <a:gd name="T38" fmla="*/ 37 w 1077"/>
              <a:gd name="T39" fmla="*/ 233 h 1035"/>
              <a:gd name="T40" fmla="*/ 15 w 1077"/>
              <a:gd name="T41" fmla="*/ 0 h 1035"/>
              <a:gd name="T42" fmla="*/ 1077 w 1077"/>
              <a:gd name="T43" fmla="*/ 233 h 1035"/>
              <a:gd name="T44" fmla="*/ 1032 w 1077"/>
              <a:gd name="T45" fmla="*/ 198 h 1035"/>
              <a:gd name="T46" fmla="*/ 1023 w 1077"/>
              <a:gd name="T47" fmla="*/ 167 h 1035"/>
              <a:gd name="T48" fmla="*/ 1012 w 1077"/>
              <a:gd name="T49" fmla="*/ 139 h 1035"/>
              <a:gd name="T50" fmla="*/ 1000 w 1077"/>
              <a:gd name="T51" fmla="*/ 117 h 1035"/>
              <a:gd name="T52" fmla="*/ 983 w 1077"/>
              <a:gd name="T53" fmla="*/ 98 h 1035"/>
              <a:gd name="T54" fmla="*/ 958 w 1077"/>
              <a:gd name="T55" fmla="*/ 85 h 1035"/>
              <a:gd name="T56" fmla="*/ 926 w 1077"/>
              <a:gd name="T57" fmla="*/ 75 h 1035"/>
              <a:gd name="T58" fmla="*/ 884 w 1077"/>
              <a:gd name="T59" fmla="*/ 69 h 1035"/>
              <a:gd name="T60" fmla="*/ 831 w 1077"/>
              <a:gd name="T61" fmla="*/ 68 h 1035"/>
              <a:gd name="T62" fmla="*/ 607 w 1077"/>
              <a:gd name="T63" fmla="*/ 797 h 1035"/>
              <a:gd name="T64" fmla="*/ 607 w 1077"/>
              <a:gd name="T65" fmla="*/ 827 h 1035"/>
              <a:gd name="T66" fmla="*/ 610 w 1077"/>
              <a:gd name="T67" fmla="*/ 879 h 1035"/>
              <a:gd name="T68" fmla="*/ 617 w 1077"/>
              <a:gd name="T69" fmla="*/ 920 h 1035"/>
              <a:gd name="T70" fmla="*/ 629 w 1077"/>
              <a:gd name="T71" fmla="*/ 951 h 1035"/>
              <a:gd name="T72" fmla="*/ 636 w 1077"/>
              <a:gd name="T73" fmla="*/ 962 h 1035"/>
              <a:gd name="T74" fmla="*/ 646 w 1077"/>
              <a:gd name="T75" fmla="*/ 972 h 1035"/>
              <a:gd name="T76" fmla="*/ 657 w 1077"/>
              <a:gd name="T77" fmla="*/ 981 h 1035"/>
              <a:gd name="T78" fmla="*/ 687 w 1077"/>
              <a:gd name="T79" fmla="*/ 991 h 1035"/>
              <a:gd name="T80" fmla="*/ 725 w 1077"/>
              <a:gd name="T81" fmla="*/ 997 h 1035"/>
              <a:gd name="T82" fmla="*/ 773 w 1077"/>
              <a:gd name="T83" fmla="*/ 999 h 1035"/>
              <a:gd name="T84" fmla="*/ 304 w 1077"/>
              <a:gd name="T85" fmla="*/ 1035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7" h="1035">
                <a:moveTo>
                  <a:pt x="304" y="999"/>
                </a:moveTo>
                <a:lnTo>
                  <a:pt x="304" y="999"/>
                </a:lnTo>
                <a:lnTo>
                  <a:pt x="329" y="998"/>
                </a:lnTo>
                <a:lnTo>
                  <a:pt x="352" y="997"/>
                </a:lnTo>
                <a:lnTo>
                  <a:pt x="372" y="995"/>
                </a:lnTo>
                <a:lnTo>
                  <a:pt x="390" y="991"/>
                </a:lnTo>
                <a:lnTo>
                  <a:pt x="406" y="987"/>
                </a:lnTo>
                <a:lnTo>
                  <a:pt x="419" y="981"/>
                </a:lnTo>
                <a:lnTo>
                  <a:pt x="425" y="977"/>
                </a:lnTo>
                <a:lnTo>
                  <a:pt x="431" y="972"/>
                </a:lnTo>
                <a:lnTo>
                  <a:pt x="436" y="967"/>
                </a:lnTo>
                <a:lnTo>
                  <a:pt x="441" y="962"/>
                </a:lnTo>
                <a:lnTo>
                  <a:pt x="445" y="957"/>
                </a:lnTo>
                <a:lnTo>
                  <a:pt x="448" y="951"/>
                </a:lnTo>
                <a:lnTo>
                  <a:pt x="455" y="937"/>
                </a:lnTo>
                <a:lnTo>
                  <a:pt x="460" y="920"/>
                </a:lnTo>
                <a:lnTo>
                  <a:pt x="463" y="901"/>
                </a:lnTo>
                <a:lnTo>
                  <a:pt x="466" y="879"/>
                </a:lnTo>
                <a:lnTo>
                  <a:pt x="468" y="855"/>
                </a:lnTo>
                <a:lnTo>
                  <a:pt x="469" y="827"/>
                </a:lnTo>
                <a:lnTo>
                  <a:pt x="469" y="797"/>
                </a:lnTo>
                <a:lnTo>
                  <a:pt x="469" y="68"/>
                </a:lnTo>
                <a:lnTo>
                  <a:pt x="245" y="68"/>
                </a:lnTo>
                <a:lnTo>
                  <a:pt x="245" y="68"/>
                </a:lnTo>
                <a:lnTo>
                  <a:pt x="217" y="68"/>
                </a:lnTo>
                <a:lnTo>
                  <a:pt x="192" y="69"/>
                </a:lnTo>
                <a:lnTo>
                  <a:pt x="170" y="72"/>
                </a:lnTo>
                <a:lnTo>
                  <a:pt x="150" y="75"/>
                </a:lnTo>
                <a:lnTo>
                  <a:pt x="133" y="79"/>
                </a:lnTo>
                <a:lnTo>
                  <a:pt x="119" y="85"/>
                </a:lnTo>
                <a:lnTo>
                  <a:pt x="105" y="91"/>
                </a:lnTo>
                <a:lnTo>
                  <a:pt x="94" y="98"/>
                </a:lnTo>
                <a:lnTo>
                  <a:pt x="85" y="106"/>
                </a:lnTo>
                <a:lnTo>
                  <a:pt x="77" y="117"/>
                </a:lnTo>
                <a:lnTo>
                  <a:pt x="71" y="127"/>
                </a:lnTo>
                <a:lnTo>
                  <a:pt x="64" y="139"/>
                </a:lnTo>
                <a:lnTo>
                  <a:pt x="59" y="152"/>
                </a:lnTo>
                <a:lnTo>
                  <a:pt x="54" y="167"/>
                </a:lnTo>
                <a:lnTo>
                  <a:pt x="45" y="198"/>
                </a:lnTo>
                <a:lnTo>
                  <a:pt x="37" y="233"/>
                </a:lnTo>
                <a:lnTo>
                  <a:pt x="0" y="233"/>
                </a:lnTo>
                <a:lnTo>
                  <a:pt x="15" y="0"/>
                </a:lnTo>
                <a:lnTo>
                  <a:pt x="1061" y="0"/>
                </a:lnTo>
                <a:lnTo>
                  <a:pt x="1077" y="233"/>
                </a:lnTo>
                <a:lnTo>
                  <a:pt x="1040" y="233"/>
                </a:lnTo>
                <a:lnTo>
                  <a:pt x="1032" y="198"/>
                </a:lnTo>
                <a:lnTo>
                  <a:pt x="1032" y="198"/>
                </a:lnTo>
                <a:lnTo>
                  <a:pt x="1023" y="167"/>
                </a:lnTo>
                <a:lnTo>
                  <a:pt x="1017" y="152"/>
                </a:lnTo>
                <a:lnTo>
                  <a:pt x="1012" y="139"/>
                </a:lnTo>
                <a:lnTo>
                  <a:pt x="1006" y="127"/>
                </a:lnTo>
                <a:lnTo>
                  <a:pt x="1000" y="117"/>
                </a:lnTo>
                <a:lnTo>
                  <a:pt x="992" y="106"/>
                </a:lnTo>
                <a:lnTo>
                  <a:pt x="983" y="98"/>
                </a:lnTo>
                <a:lnTo>
                  <a:pt x="971" y="91"/>
                </a:lnTo>
                <a:lnTo>
                  <a:pt x="958" y="85"/>
                </a:lnTo>
                <a:lnTo>
                  <a:pt x="944" y="79"/>
                </a:lnTo>
                <a:lnTo>
                  <a:pt x="926" y="75"/>
                </a:lnTo>
                <a:lnTo>
                  <a:pt x="907" y="72"/>
                </a:lnTo>
                <a:lnTo>
                  <a:pt x="884" y="69"/>
                </a:lnTo>
                <a:lnTo>
                  <a:pt x="860" y="68"/>
                </a:lnTo>
                <a:lnTo>
                  <a:pt x="831" y="68"/>
                </a:lnTo>
                <a:lnTo>
                  <a:pt x="607" y="68"/>
                </a:lnTo>
                <a:lnTo>
                  <a:pt x="607" y="797"/>
                </a:lnTo>
                <a:lnTo>
                  <a:pt x="607" y="797"/>
                </a:lnTo>
                <a:lnTo>
                  <a:pt x="607" y="827"/>
                </a:lnTo>
                <a:lnTo>
                  <a:pt x="608" y="855"/>
                </a:lnTo>
                <a:lnTo>
                  <a:pt x="610" y="879"/>
                </a:lnTo>
                <a:lnTo>
                  <a:pt x="614" y="901"/>
                </a:lnTo>
                <a:lnTo>
                  <a:pt x="617" y="920"/>
                </a:lnTo>
                <a:lnTo>
                  <a:pt x="622" y="937"/>
                </a:lnTo>
                <a:lnTo>
                  <a:pt x="629" y="951"/>
                </a:lnTo>
                <a:lnTo>
                  <a:pt x="632" y="957"/>
                </a:lnTo>
                <a:lnTo>
                  <a:pt x="636" y="962"/>
                </a:lnTo>
                <a:lnTo>
                  <a:pt x="641" y="967"/>
                </a:lnTo>
                <a:lnTo>
                  <a:pt x="646" y="972"/>
                </a:lnTo>
                <a:lnTo>
                  <a:pt x="651" y="977"/>
                </a:lnTo>
                <a:lnTo>
                  <a:pt x="657" y="981"/>
                </a:lnTo>
                <a:lnTo>
                  <a:pt x="671" y="987"/>
                </a:lnTo>
                <a:lnTo>
                  <a:pt x="687" y="991"/>
                </a:lnTo>
                <a:lnTo>
                  <a:pt x="705" y="995"/>
                </a:lnTo>
                <a:lnTo>
                  <a:pt x="725" y="997"/>
                </a:lnTo>
                <a:lnTo>
                  <a:pt x="747" y="998"/>
                </a:lnTo>
                <a:lnTo>
                  <a:pt x="773" y="999"/>
                </a:lnTo>
                <a:lnTo>
                  <a:pt x="773" y="1035"/>
                </a:lnTo>
                <a:lnTo>
                  <a:pt x="304" y="1035"/>
                </a:lnTo>
                <a:lnTo>
                  <a:pt x="304" y="999"/>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70" name="Freeform 21">
            <a:extLst>
              <a:ext uri="{FF2B5EF4-FFF2-40B4-BE49-F238E27FC236}">
                <a16:creationId xmlns:a16="http://schemas.microsoft.com/office/drawing/2014/main" id="{624144CE-E5A6-D842-BB2E-FE41CEB927EB}"/>
              </a:ext>
            </a:extLst>
          </p:cNvPr>
          <p:cNvSpPr>
            <a:spLocks noEditPoints="1"/>
          </p:cNvSpPr>
          <p:nvPr userDrawn="1"/>
        </p:nvSpPr>
        <p:spPr bwMode="auto">
          <a:xfrm>
            <a:off x="1811340" y="1154113"/>
            <a:ext cx="157163" cy="141288"/>
          </a:xfrm>
          <a:custGeom>
            <a:avLst/>
            <a:gdLst>
              <a:gd name="T0" fmla="*/ 0 w 1196"/>
              <a:gd name="T1" fmla="*/ 1029 h 1065"/>
              <a:gd name="T2" fmla="*/ 48 w 1196"/>
              <a:gd name="T3" fmla="*/ 1027 h 1065"/>
              <a:gd name="T4" fmla="*/ 86 w 1196"/>
              <a:gd name="T5" fmla="*/ 1022 h 1065"/>
              <a:gd name="T6" fmla="*/ 115 w 1196"/>
              <a:gd name="T7" fmla="*/ 1013 h 1065"/>
              <a:gd name="T8" fmla="*/ 137 w 1196"/>
              <a:gd name="T9" fmla="*/ 999 h 1065"/>
              <a:gd name="T10" fmla="*/ 156 w 1196"/>
              <a:gd name="T11" fmla="*/ 979 h 1065"/>
              <a:gd name="T12" fmla="*/ 172 w 1196"/>
              <a:gd name="T13" fmla="*/ 953 h 1065"/>
              <a:gd name="T14" fmla="*/ 188 w 1196"/>
              <a:gd name="T15" fmla="*/ 920 h 1065"/>
              <a:gd name="T16" fmla="*/ 586 w 1196"/>
              <a:gd name="T17" fmla="*/ 0 h 1065"/>
              <a:gd name="T18" fmla="*/ 990 w 1196"/>
              <a:gd name="T19" fmla="*/ 879 h 1065"/>
              <a:gd name="T20" fmla="*/ 1008 w 1196"/>
              <a:gd name="T21" fmla="*/ 920 h 1065"/>
              <a:gd name="T22" fmla="*/ 1025 w 1196"/>
              <a:gd name="T23" fmla="*/ 953 h 1065"/>
              <a:gd name="T24" fmla="*/ 1041 w 1196"/>
              <a:gd name="T25" fmla="*/ 979 h 1065"/>
              <a:gd name="T26" fmla="*/ 1060 w 1196"/>
              <a:gd name="T27" fmla="*/ 999 h 1065"/>
              <a:gd name="T28" fmla="*/ 1082 w 1196"/>
              <a:gd name="T29" fmla="*/ 1013 h 1065"/>
              <a:gd name="T30" fmla="*/ 1111 w 1196"/>
              <a:gd name="T31" fmla="*/ 1022 h 1065"/>
              <a:gd name="T32" fmla="*/ 1148 w 1196"/>
              <a:gd name="T33" fmla="*/ 1027 h 1065"/>
              <a:gd name="T34" fmla="*/ 1196 w 1196"/>
              <a:gd name="T35" fmla="*/ 1029 h 1065"/>
              <a:gd name="T36" fmla="*/ 717 w 1196"/>
              <a:gd name="T37" fmla="*/ 1065 h 1065"/>
              <a:gd name="T38" fmla="*/ 717 w 1196"/>
              <a:gd name="T39" fmla="*/ 1029 h 1065"/>
              <a:gd name="T40" fmla="*/ 766 w 1196"/>
              <a:gd name="T41" fmla="*/ 1027 h 1065"/>
              <a:gd name="T42" fmla="*/ 805 w 1196"/>
              <a:gd name="T43" fmla="*/ 1022 h 1065"/>
              <a:gd name="T44" fmla="*/ 834 w 1196"/>
              <a:gd name="T45" fmla="*/ 1013 h 1065"/>
              <a:gd name="T46" fmla="*/ 854 w 1196"/>
              <a:gd name="T47" fmla="*/ 998 h 1065"/>
              <a:gd name="T48" fmla="*/ 865 w 1196"/>
              <a:gd name="T49" fmla="*/ 981 h 1065"/>
              <a:gd name="T50" fmla="*/ 868 w 1196"/>
              <a:gd name="T51" fmla="*/ 958 h 1065"/>
              <a:gd name="T52" fmla="*/ 864 w 1196"/>
              <a:gd name="T53" fmla="*/ 931 h 1065"/>
              <a:gd name="T54" fmla="*/ 852 w 1196"/>
              <a:gd name="T55" fmla="*/ 897 h 1065"/>
              <a:gd name="T56" fmla="*/ 352 w 1196"/>
              <a:gd name="T57" fmla="*/ 706 h 1065"/>
              <a:gd name="T58" fmla="*/ 269 w 1196"/>
              <a:gd name="T59" fmla="*/ 897 h 1065"/>
              <a:gd name="T60" fmla="*/ 257 w 1196"/>
              <a:gd name="T61" fmla="*/ 930 h 1065"/>
              <a:gd name="T62" fmla="*/ 253 w 1196"/>
              <a:gd name="T63" fmla="*/ 957 h 1065"/>
              <a:gd name="T64" fmla="*/ 256 w 1196"/>
              <a:gd name="T65" fmla="*/ 980 h 1065"/>
              <a:gd name="T66" fmla="*/ 267 w 1196"/>
              <a:gd name="T67" fmla="*/ 998 h 1065"/>
              <a:gd name="T68" fmla="*/ 288 w 1196"/>
              <a:gd name="T69" fmla="*/ 1012 h 1065"/>
              <a:gd name="T70" fmla="*/ 316 w 1196"/>
              <a:gd name="T71" fmla="*/ 1021 h 1065"/>
              <a:gd name="T72" fmla="*/ 355 w 1196"/>
              <a:gd name="T73" fmla="*/ 1027 h 1065"/>
              <a:gd name="T74" fmla="*/ 403 w 1196"/>
              <a:gd name="T75" fmla="*/ 1029 h 1065"/>
              <a:gd name="T76" fmla="*/ 0 w 1196"/>
              <a:gd name="T77" fmla="*/ 1065 h 1065"/>
              <a:gd name="T78" fmla="*/ 740 w 1196"/>
              <a:gd name="T79" fmla="*/ 643 h 1065"/>
              <a:gd name="T80" fmla="*/ 380 w 1196"/>
              <a:gd name="T81" fmla="*/ 643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96" h="1065">
                <a:moveTo>
                  <a:pt x="0" y="1029"/>
                </a:moveTo>
                <a:lnTo>
                  <a:pt x="0" y="1029"/>
                </a:lnTo>
                <a:lnTo>
                  <a:pt x="26" y="1028"/>
                </a:lnTo>
                <a:lnTo>
                  <a:pt x="48" y="1027"/>
                </a:lnTo>
                <a:lnTo>
                  <a:pt x="68" y="1025"/>
                </a:lnTo>
                <a:lnTo>
                  <a:pt x="86" y="1022"/>
                </a:lnTo>
                <a:lnTo>
                  <a:pt x="102" y="1018"/>
                </a:lnTo>
                <a:lnTo>
                  <a:pt x="115" y="1013"/>
                </a:lnTo>
                <a:lnTo>
                  <a:pt x="127" y="1007"/>
                </a:lnTo>
                <a:lnTo>
                  <a:pt x="137" y="999"/>
                </a:lnTo>
                <a:lnTo>
                  <a:pt x="148" y="990"/>
                </a:lnTo>
                <a:lnTo>
                  <a:pt x="156" y="979"/>
                </a:lnTo>
                <a:lnTo>
                  <a:pt x="164" y="967"/>
                </a:lnTo>
                <a:lnTo>
                  <a:pt x="172" y="953"/>
                </a:lnTo>
                <a:lnTo>
                  <a:pt x="180" y="937"/>
                </a:lnTo>
                <a:lnTo>
                  <a:pt x="188" y="920"/>
                </a:lnTo>
                <a:lnTo>
                  <a:pt x="207" y="879"/>
                </a:lnTo>
                <a:lnTo>
                  <a:pt x="586" y="0"/>
                </a:lnTo>
                <a:lnTo>
                  <a:pt x="609" y="0"/>
                </a:lnTo>
                <a:lnTo>
                  <a:pt x="990" y="879"/>
                </a:lnTo>
                <a:lnTo>
                  <a:pt x="990" y="879"/>
                </a:lnTo>
                <a:lnTo>
                  <a:pt x="1008" y="920"/>
                </a:lnTo>
                <a:lnTo>
                  <a:pt x="1017" y="937"/>
                </a:lnTo>
                <a:lnTo>
                  <a:pt x="1025" y="953"/>
                </a:lnTo>
                <a:lnTo>
                  <a:pt x="1033" y="967"/>
                </a:lnTo>
                <a:lnTo>
                  <a:pt x="1041" y="979"/>
                </a:lnTo>
                <a:lnTo>
                  <a:pt x="1049" y="990"/>
                </a:lnTo>
                <a:lnTo>
                  <a:pt x="1060" y="999"/>
                </a:lnTo>
                <a:lnTo>
                  <a:pt x="1070" y="1007"/>
                </a:lnTo>
                <a:lnTo>
                  <a:pt x="1082" y="1013"/>
                </a:lnTo>
                <a:lnTo>
                  <a:pt x="1095" y="1018"/>
                </a:lnTo>
                <a:lnTo>
                  <a:pt x="1111" y="1022"/>
                </a:lnTo>
                <a:lnTo>
                  <a:pt x="1128" y="1025"/>
                </a:lnTo>
                <a:lnTo>
                  <a:pt x="1148" y="1027"/>
                </a:lnTo>
                <a:lnTo>
                  <a:pt x="1170" y="1028"/>
                </a:lnTo>
                <a:lnTo>
                  <a:pt x="1196" y="1029"/>
                </a:lnTo>
                <a:lnTo>
                  <a:pt x="1196" y="1065"/>
                </a:lnTo>
                <a:lnTo>
                  <a:pt x="717" y="1065"/>
                </a:lnTo>
                <a:lnTo>
                  <a:pt x="717" y="1029"/>
                </a:lnTo>
                <a:lnTo>
                  <a:pt x="717" y="1029"/>
                </a:lnTo>
                <a:lnTo>
                  <a:pt x="743" y="1028"/>
                </a:lnTo>
                <a:lnTo>
                  <a:pt x="766" y="1027"/>
                </a:lnTo>
                <a:lnTo>
                  <a:pt x="787" y="1025"/>
                </a:lnTo>
                <a:lnTo>
                  <a:pt x="805" y="1022"/>
                </a:lnTo>
                <a:lnTo>
                  <a:pt x="820" y="1018"/>
                </a:lnTo>
                <a:lnTo>
                  <a:pt x="834" y="1013"/>
                </a:lnTo>
                <a:lnTo>
                  <a:pt x="845" y="1006"/>
                </a:lnTo>
                <a:lnTo>
                  <a:pt x="854" y="998"/>
                </a:lnTo>
                <a:lnTo>
                  <a:pt x="861" y="990"/>
                </a:lnTo>
                <a:lnTo>
                  <a:pt x="865" y="981"/>
                </a:lnTo>
                <a:lnTo>
                  <a:pt x="868" y="970"/>
                </a:lnTo>
                <a:lnTo>
                  <a:pt x="868" y="958"/>
                </a:lnTo>
                <a:lnTo>
                  <a:pt x="867" y="945"/>
                </a:lnTo>
                <a:lnTo>
                  <a:pt x="864" y="931"/>
                </a:lnTo>
                <a:lnTo>
                  <a:pt x="859" y="915"/>
                </a:lnTo>
                <a:lnTo>
                  <a:pt x="852" y="897"/>
                </a:lnTo>
                <a:lnTo>
                  <a:pt x="769" y="706"/>
                </a:lnTo>
                <a:lnTo>
                  <a:pt x="352" y="706"/>
                </a:lnTo>
                <a:lnTo>
                  <a:pt x="269" y="897"/>
                </a:lnTo>
                <a:lnTo>
                  <a:pt x="269" y="897"/>
                </a:lnTo>
                <a:lnTo>
                  <a:pt x="262" y="915"/>
                </a:lnTo>
                <a:lnTo>
                  <a:pt x="257" y="930"/>
                </a:lnTo>
                <a:lnTo>
                  <a:pt x="254" y="944"/>
                </a:lnTo>
                <a:lnTo>
                  <a:pt x="253" y="957"/>
                </a:lnTo>
                <a:lnTo>
                  <a:pt x="253" y="969"/>
                </a:lnTo>
                <a:lnTo>
                  <a:pt x="256" y="980"/>
                </a:lnTo>
                <a:lnTo>
                  <a:pt x="260" y="989"/>
                </a:lnTo>
                <a:lnTo>
                  <a:pt x="267" y="998"/>
                </a:lnTo>
                <a:lnTo>
                  <a:pt x="276" y="1006"/>
                </a:lnTo>
                <a:lnTo>
                  <a:pt x="288" y="1012"/>
                </a:lnTo>
                <a:lnTo>
                  <a:pt x="301" y="1017"/>
                </a:lnTo>
                <a:lnTo>
                  <a:pt x="316" y="1021"/>
                </a:lnTo>
                <a:lnTo>
                  <a:pt x="335" y="1025"/>
                </a:lnTo>
                <a:lnTo>
                  <a:pt x="355" y="1027"/>
                </a:lnTo>
                <a:lnTo>
                  <a:pt x="378" y="1028"/>
                </a:lnTo>
                <a:lnTo>
                  <a:pt x="403" y="1029"/>
                </a:lnTo>
                <a:lnTo>
                  <a:pt x="403" y="1065"/>
                </a:lnTo>
                <a:lnTo>
                  <a:pt x="0" y="1065"/>
                </a:lnTo>
                <a:lnTo>
                  <a:pt x="0" y="1029"/>
                </a:lnTo>
                <a:close/>
                <a:moveTo>
                  <a:pt x="740" y="643"/>
                </a:moveTo>
                <a:lnTo>
                  <a:pt x="559" y="226"/>
                </a:lnTo>
                <a:lnTo>
                  <a:pt x="380" y="643"/>
                </a:lnTo>
                <a:lnTo>
                  <a:pt x="740" y="643"/>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71" name="Freeform 22">
            <a:extLst>
              <a:ext uri="{FF2B5EF4-FFF2-40B4-BE49-F238E27FC236}">
                <a16:creationId xmlns:a16="http://schemas.microsoft.com/office/drawing/2014/main" id="{A387DB3F-83D5-0A40-B69D-A25DB16F3840}"/>
              </a:ext>
            </a:extLst>
          </p:cNvPr>
          <p:cNvSpPr>
            <a:spLocks/>
          </p:cNvSpPr>
          <p:nvPr userDrawn="1"/>
        </p:nvSpPr>
        <p:spPr bwMode="auto">
          <a:xfrm>
            <a:off x="1966913" y="1158878"/>
            <a:ext cx="142875" cy="136525"/>
          </a:xfrm>
          <a:custGeom>
            <a:avLst/>
            <a:gdLst>
              <a:gd name="T0" fmla="*/ 304 w 1077"/>
              <a:gd name="T1" fmla="*/ 999 h 1035"/>
              <a:gd name="T2" fmla="*/ 353 w 1077"/>
              <a:gd name="T3" fmla="*/ 997 h 1035"/>
              <a:gd name="T4" fmla="*/ 391 w 1077"/>
              <a:gd name="T5" fmla="*/ 991 h 1035"/>
              <a:gd name="T6" fmla="*/ 420 w 1077"/>
              <a:gd name="T7" fmla="*/ 981 h 1035"/>
              <a:gd name="T8" fmla="*/ 431 w 1077"/>
              <a:gd name="T9" fmla="*/ 972 h 1035"/>
              <a:gd name="T10" fmla="*/ 441 w 1077"/>
              <a:gd name="T11" fmla="*/ 962 h 1035"/>
              <a:gd name="T12" fmla="*/ 449 w 1077"/>
              <a:gd name="T13" fmla="*/ 951 h 1035"/>
              <a:gd name="T14" fmla="*/ 461 w 1077"/>
              <a:gd name="T15" fmla="*/ 920 h 1035"/>
              <a:gd name="T16" fmla="*/ 467 w 1077"/>
              <a:gd name="T17" fmla="*/ 879 h 1035"/>
              <a:gd name="T18" fmla="*/ 470 w 1077"/>
              <a:gd name="T19" fmla="*/ 827 h 1035"/>
              <a:gd name="T20" fmla="*/ 470 w 1077"/>
              <a:gd name="T21" fmla="*/ 68 h 1035"/>
              <a:gd name="T22" fmla="*/ 246 w 1077"/>
              <a:gd name="T23" fmla="*/ 68 h 1035"/>
              <a:gd name="T24" fmla="*/ 193 w 1077"/>
              <a:gd name="T25" fmla="*/ 69 h 1035"/>
              <a:gd name="T26" fmla="*/ 151 w 1077"/>
              <a:gd name="T27" fmla="*/ 75 h 1035"/>
              <a:gd name="T28" fmla="*/ 119 w 1077"/>
              <a:gd name="T29" fmla="*/ 85 h 1035"/>
              <a:gd name="T30" fmla="*/ 95 w 1077"/>
              <a:gd name="T31" fmla="*/ 98 h 1035"/>
              <a:gd name="T32" fmla="*/ 78 w 1077"/>
              <a:gd name="T33" fmla="*/ 117 h 1035"/>
              <a:gd name="T34" fmla="*/ 65 w 1077"/>
              <a:gd name="T35" fmla="*/ 139 h 1035"/>
              <a:gd name="T36" fmla="*/ 55 w 1077"/>
              <a:gd name="T37" fmla="*/ 167 h 1035"/>
              <a:gd name="T38" fmla="*/ 37 w 1077"/>
              <a:gd name="T39" fmla="*/ 233 h 1035"/>
              <a:gd name="T40" fmla="*/ 17 w 1077"/>
              <a:gd name="T41" fmla="*/ 0 h 1035"/>
              <a:gd name="T42" fmla="*/ 1077 w 1077"/>
              <a:gd name="T43" fmla="*/ 233 h 1035"/>
              <a:gd name="T44" fmla="*/ 1032 w 1077"/>
              <a:gd name="T45" fmla="*/ 198 h 1035"/>
              <a:gd name="T46" fmla="*/ 1024 w 1077"/>
              <a:gd name="T47" fmla="*/ 167 h 1035"/>
              <a:gd name="T48" fmla="*/ 1014 w 1077"/>
              <a:gd name="T49" fmla="*/ 139 h 1035"/>
              <a:gd name="T50" fmla="*/ 1000 w 1077"/>
              <a:gd name="T51" fmla="*/ 117 h 1035"/>
              <a:gd name="T52" fmla="*/ 983 w 1077"/>
              <a:gd name="T53" fmla="*/ 98 h 1035"/>
              <a:gd name="T54" fmla="*/ 960 w 1077"/>
              <a:gd name="T55" fmla="*/ 85 h 1035"/>
              <a:gd name="T56" fmla="*/ 927 w 1077"/>
              <a:gd name="T57" fmla="*/ 75 h 1035"/>
              <a:gd name="T58" fmla="*/ 886 w 1077"/>
              <a:gd name="T59" fmla="*/ 69 h 1035"/>
              <a:gd name="T60" fmla="*/ 833 w 1077"/>
              <a:gd name="T61" fmla="*/ 68 h 1035"/>
              <a:gd name="T62" fmla="*/ 608 w 1077"/>
              <a:gd name="T63" fmla="*/ 797 h 1035"/>
              <a:gd name="T64" fmla="*/ 609 w 1077"/>
              <a:gd name="T65" fmla="*/ 827 h 1035"/>
              <a:gd name="T66" fmla="*/ 611 w 1077"/>
              <a:gd name="T67" fmla="*/ 879 h 1035"/>
              <a:gd name="T68" fmla="*/ 618 w 1077"/>
              <a:gd name="T69" fmla="*/ 920 h 1035"/>
              <a:gd name="T70" fmla="*/ 629 w 1077"/>
              <a:gd name="T71" fmla="*/ 951 h 1035"/>
              <a:gd name="T72" fmla="*/ 637 w 1077"/>
              <a:gd name="T73" fmla="*/ 962 h 1035"/>
              <a:gd name="T74" fmla="*/ 647 w 1077"/>
              <a:gd name="T75" fmla="*/ 972 h 1035"/>
              <a:gd name="T76" fmla="*/ 658 w 1077"/>
              <a:gd name="T77" fmla="*/ 981 h 1035"/>
              <a:gd name="T78" fmla="*/ 688 w 1077"/>
              <a:gd name="T79" fmla="*/ 991 h 1035"/>
              <a:gd name="T80" fmla="*/ 725 w 1077"/>
              <a:gd name="T81" fmla="*/ 997 h 1035"/>
              <a:gd name="T82" fmla="*/ 773 w 1077"/>
              <a:gd name="T83" fmla="*/ 999 h 1035"/>
              <a:gd name="T84" fmla="*/ 304 w 1077"/>
              <a:gd name="T85" fmla="*/ 1035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7" h="1035">
                <a:moveTo>
                  <a:pt x="304" y="999"/>
                </a:moveTo>
                <a:lnTo>
                  <a:pt x="304" y="999"/>
                </a:lnTo>
                <a:lnTo>
                  <a:pt x="330" y="998"/>
                </a:lnTo>
                <a:lnTo>
                  <a:pt x="353" y="997"/>
                </a:lnTo>
                <a:lnTo>
                  <a:pt x="373" y="995"/>
                </a:lnTo>
                <a:lnTo>
                  <a:pt x="391" y="991"/>
                </a:lnTo>
                <a:lnTo>
                  <a:pt x="406" y="987"/>
                </a:lnTo>
                <a:lnTo>
                  <a:pt x="420" y="981"/>
                </a:lnTo>
                <a:lnTo>
                  <a:pt x="426" y="977"/>
                </a:lnTo>
                <a:lnTo>
                  <a:pt x="431" y="972"/>
                </a:lnTo>
                <a:lnTo>
                  <a:pt x="436" y="967"/>
                </a:lnTo>
                <a:lnTo>
                  <a:pt x="441" y="962"/>
                </a:lnTo>
                <a:lnTo>
                  <a:pt x="445" y="957"/>
                </a:lnTo>
                <a:lnTo>
                  <a:pt x="449" y="951"/>
                </a:lnTo>
                <a:lnTo>
                  <a:pt x="455" y="937"/>
                </a:lnTo>
                <a:lnTo>
                  <a:pt x="461" y="920"/>
                </a:lnTo>
                <a:lnTo>
                  <a:pt x="465" y="901"/>
                </a:lnTo>
                <a:lnTo>
                  <a:pt x="467" y="879"/>
                </a:lnTo>
                <a:lnTo>
                  <a:pt x="469" y="855"/>
                </a:lnTo>
                <a:lnTo>
                  <a:pt x="470" y="827"/>
                </a:lnTo>
                <a:lnTo>
                  <a:pt x="470" y="797"/>
                </a:lnTo>
                <a:lnTo>
                  <a:pt x="470" y="68"/>
                </a:lnTo>
                <a:lnTo>
                  <a:pt x="246" y="68"/>
                </a:lnTo>
                <a:lnTo>
                  <a:pt x="246" y="68"/>
                </a:lnTo>
                <a:lnTo>
                  <a:pt x="217" y="68"/>
                </a:lnTo>
                <a:lnTo>
                  <a:pt x="193" y="69"/>
                </a:lnTo>
                <a:lnTo>
                  <a:pt x="170" y="72"/>
                </a:lnTo>
                <a:lnTo>
                  <a:pt x="151" y="75"/>
                </a:lnTo>
                <a:lnTo>
                  <a:pt x="134" y="79"/>
                </a:lnTo>
                <a:lnTo>
                  <a:pt x="119" y="85"/>
                </a:lnTo>
                <a:lnTo>
                  <a:pt x="107" y="91"/>
                </a:lnTo>
                <a:lnTo>
                  <a:pt x="95" y="98"/>
                </a:lnTo>
                <a:lnTo>
                  <a:pt x="86" y="106"/>
                </a:lnTo>
                <a:lnTo>
                  <a:pt x="78" y="117"/>
                </a:lnTo>
                <a:lnTo>
                  <a:pt x="71" y="127"/>
                </a:lnTo>
                <a:lnTo>
                  <a:pt x="65" y="139"/>
                </a:lnTo>
                <a:lnTo>
                  <a:pt x="60" y="152"/>
                </a:lnTo>
                <a:lnTo>
                  <a:pt x="55" y="167"/>
                </a:lnTo>
                <a:lnTo>
                  <a:pt x="45" y="198"/>
                </a:lnTo>
                <a:lnTo>
                  <a:pt x="37" y="233"/>
                </a:lnTo>
                <a:lnTo>
                  <a:pt x="0" y="233"/>
                </a:lnTo>
                <a:lnTo>
                  <a:pt x="17" y="0"/>
                </a:lnTo>
                <a:lnTo>
                  <a:pt x="1062" y="0"/>
                </a:lnTo>
                <a:lnTo>
                  <a:pt x="1077" y="233"/>
                </a:lnTo>
                <a:lnTo>
                  <a:pt x="1041" y="233"/>
                </a:lnTo>
                <a:lnTo>
                  <a:pt x="1032" y="198"/>
                </a:lnTo>
                <a:lnTo>
                  <a:pt x="1032" y="198"/>
                </a:lnTo>
                <a:lnTo>
                  <a:pt x="1024" y="167"/>
                </a:lnTo>
                <a:lnTo>
                  <a:pt x="1019" y="152"/>
                </a:lnTo>
                <a:lnTo>
                  <a:pt x="1014" y="139"/>
                </a:lnTo>
                <a:lnTo>
                  <a:pt x="1008" y="127"/>
                </a:lnTo>
                <a:lnTo>
                  <a:pt x="1000" y="117"/>
                </a:lnTo>
                <a:lnTo>
                  <a:pt x="992" y="106"/>
                </a:lnTo>
                <a:lnTo>
                  <a:pt x="983" y="98"/>
                </a:lnTo>
                <a:lnTo>
                  <a:pt x="972" y="91"/>
                </a:lnTo>
                <a:lnTo>
                  <a:pt x="960" y="85"/>
                </a:lnTo>
                <a:lnTo>
                  <a:pt x="944" y="79"/>
                </a:lnTo>
                <a:lnTo>
                  <a:pt x="927" y="75"/>
                </a:lnTo>
                <a:lnTo>
                  <a:pt x="907" y="72"/>
                </a:lnTo>
                <a:lnTo>
                  <a:pt x="886" y="69"/>
                </a:lnTo>
                <a:lnTo>
                  <a:pt x="860" y="68"/>
                </a:lnTo>
                <a:lnTo>
                  <a:pt x="833" y="68"/>
                </a:lnTo>
                <a:lnTo>
                  <a:pt x="608" y="68"/>
                </a:lnTo>
                <a:lnTo>
                  <a:pt x="608" y="797"/>
                </a:lnTo>
                <a:lnTo>
                  <a:pt x="608" y="797"/>
                </a:lnTo>
                <a:lnTo>
                  <a:pt x="609" y="827"/>
                </a:lnTo>
                <a:lnTo>
                  <a:pt x="609" y="855"/>
                </a:lnTo>
                <a:lnTo>
                  <a:pt x="611" y="879"/>
                </a:lnTo>
                <a:lnTo>
                  <a:pt x="614" y="901"/>
                </a:lnTo>
                <a:lnTo>
                  <a:pt x="618" y="920"/>
                </a:lnTo>
                <a:lnTo>
                  <a:pt x="623" y="937"/>
                </a:lnTo>
                <a:lnTo>
                  <a:pt x="629" y="951"/>
                </a:lnTo>
                <a:lnTo>
                  <a:pt x="633" y="957"/>
                </a:lnTo>
                <a:lnTo>
                  <a:pt x="637" y="962"/>
                </a:lnTo>
                <a:lnTo>
                  <a:pt x="642" y="967"/>
                </a:lnTo>
                <a:lnTo>
                  <a:pt x="647" y="972"/>
                </a:lnTo>
                <a:lnTo>
                  <a:pt x="653" y="977"/>
                </a:lnTo>
                <a:lnTo>
                  <a:pt x="658" y="981"/>
                </a:lnTo>
                <a:lnTo>
                  <a:pt x="672" y="987"/>
                </a:lnTo>
                <a:lnTo>
                  <a:pt x="688" y="991"/>
                </a:lnTo>
                <a:lnTo>
                  <a:pt x="705" y="995"/>
                </a:lnTo>
                <a:lnTo>
                  <a:pt x="725" y="997"/>
                </a:lnTo>
                <a:lnTo>
                  <a:pt x="748" y="998"/>
                </a:lnTo>
                <a:lnTo>
                  <a:pt x="773" y="999"/>
                </a:lnTo>
                <a:lnTo>
                  <a:pt x="773" y="1035"/>
                </a:lnTo>
                <a:lnTo>
                  <a:pt x="304" y="1035"/>
                </a:lnTo>
                <a:lnTo>
                  <a:pt x="304" y="999"/>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72" name="Freeform 23">
            <a:extLst>
              <a:ext uri="{FF2B5EF4-FFF2-40B4-BE49-F238E27FC236}">
                <a16:creationId xmlns:a16="http://schemas.microsoft.com/office/drawing/2014/main" id="{5E0A04C1-F1DF-C14C-AE96-48E5572CFC9C}"/>
              </a:ext>
            </a:extLst>
          </p:cNvPr>
          <p:cNvSpPr>
            <a:spLocks/>
          </p:cNvSpPr>
          <p:nvPr userDrawn="1"/>
        </p:nvSpPr>
        <p:spPr bwMode="auto">
          <a:xfrm>
            <a:off x="2141538" y="1154115"/>
            <a:ext cx="88900" cy="144463"/>
          </a:xfrm>
          <a:custGeom>
            <a:avLst/>
            <a:gdLst>
              <a:gd name="T0" fmla="*/ 39 w 683"/>
              <a:gd name="T1" fmla="*/ 752 h 1102"/>
              <a:gd name="T2" fmla="*/ 64 w 683"/>
              <a:gd name="T3" fmla="*/ 849 h 1102"/>
              <a:gd name="T4" fmla="*/ 104 w 683"/>
              <a:gd name="T5" fmla="*/ 921 h 1102"/>
              <a:gd name="T6" fmla="*/ 171 w 683"/>
              <a:gd name="T7" fmla="*/ 985 h 1102"/>
              <a:gd name="T8" fmla="*/ 273 w 683"/>
              <a:gd name="T9" fmla="*/ 1026 h 1102"/>
              <a:gd name="T10" fmla="*/ 377 w 683"/>
              <a:gd name="T11" fmla="*/ 1032 h 1102"/>
              <a:gd name="T12" fmla="*/ 476 w 683"/>
              <a:gd name="T13" fmla="*/ 1002 h 1102"/>
              <a:gd name="T14" fmla="*/ 544 w 683"/>
              <a:gd name="T15" fmla="*/ 937 h 1102"/>
              <a:gd name="T16" fmla="*/ 570 w 683"/>
              <a:gd name="T17" fmla="*/ 844 h 1102"/>
              <a:gd name="T18" fmla="*/ 555 w 683"/>
              <a:gd name="T19" fmla="*/ 787 h 1102"/>
              <a:gd name="T20" fmla="*/ 501 w 683"/>
              <a:gd name="T21" fmla="*/ 720 h 1102"/>
              <a:gd name="T22" fmla="*/ 413 w 683"/>
              <a:gd name="T23" fmla="*/ 659 h 1102"/>
              <a:gd name="T24" fmla="*/ 169 w 683"/>
              <a:gd name="T25" fmla="*/ 529 h 1102"/>
              <a:gd name="T26" fmla="*/ 86 w 683"/>
              <a:gd name="T27" fmla="*/ 455 h 1102"/>
              <a:gd name="T28" fmla="*/ 30 w 683"/>
              <a:gd name="T29" fmla="*/ 358 h 1102"/>
              <a:gd name="T30" fmla="*/ 14 w 683"/>
              <a:gd name="T31" fmla="*/ 265 h 1102"/>
              <a:gd name="T32" fmla="*/ 23 w 683"/>
              <a:gd name="T33" fmla="*/ 201 h 1102"/>
              <a:gd name="T34" fmla="*/ 46 w 683"/>
              <a:gd name="T35" fmla="*/ 142 h 1102"/>
              <a:gd name="T36" fmla="*/ 85 w 683"/>
              <a:gd name="T37" fmla="*/ 92 h 1102"/>
              <a:gd name="T38" fmla="*/ 136 w 683"/>
              <a:gd name="T39" fmla="*/ 52 h 1102"/>
              <a:gd name="T40" fmla="*/ 199 w 683"/>
              <a:gd name="T41" fmla="*/ 24 h 1102"/>
              <a:gd name="T42" fmla="*/ 269 w 683"/>
              <a:gd name="T43" fmla="*/ 9 h 1102"/>
              <a:gd name="T44" fmla="*/ 337 w 683"/>
              <a:gd name="T45" fmla="*/ 10 h 1102"/>
              <a:gd name="T46" fmla="*/ 411 w 683"/>
              <a:gd name="T47" fmla="*/ 25 h 1102"/>
              <a:gd name="T48" fmla="*/ 510 w 683"/>
              <a:gd name="T49" fmla="*/ 79 h 1102"/>
              <a:gd name="T50" fmla="*/ 540 w 683"/>
              <a:gd name="T51" fmla="*/ 46 h 1102"/>
              <a:gd name="T52" fmla="*/ 595 w 683"/>
              <a:gd name="T53" fmla="*/ 0 h 1102"/>
              <a:gd name="T54" fmla="*/ 552 w 683"/>
              <a:gd name="T55" fmla="*/ 326 h 1102"/>
              <a:gd name="T56" fmla="*/ 511 w 683"/>
              <a:gd name="T57" fmla="*/ 200 h 1102"/>
              <a:gd name="T58" fmla="*/ 473 w 683"/>
              <a:gd name="T59" fmla="*/ 145 h 1102"/>
              <a:gd name="T60" fmla="*/ 419 w 683"/>
              <a:gd name="T61" fmla="*/ 106 h 1102"/>
              <a:gd name="T62" fmla="*/ 348 w 683"/>
              <a:gd name="T63" fmla="*/ 82 h 1102"/>
              <a:gd name="T64" fmla="*/ 277 w 683"/>
              <a:gd name="T65" fmla="*/ 78 h 1102"/>
              <a:gd name="T66" fmla="*/ 200 w 683"/>
              <a:gd name="T67" fmla="*/ 104 h 1102"/>
              <a:gd name="T68" fmla="*/ 147 w 683"/>
              <a:gd name="T69" fmla="*/ 158 h 1102"/>
              <a:gd name="T70" fmla="*/ 128 w 683"/>
              <a:gd name="T71" fmla="*/ 231 h 1102"/>
              <a:gd name="T72" fmla="*/ 139 w 683"/>
              <a:gd name="T73" fmla="*/ 292 h 1102"/>
              <a:gd name="T74" fmla="*/ 190 w 683"/>
              <a:gd name="T75" fmla="*/ 355 h 1102"/>
              <a:gd name="T76" fmla="*/ 287 w 683"/>
              <a:gd name="T77" fmla="*/ 417 h 1102"/>
              <a:gd name="T78" fmla="*/ 548 w 683"/>
              <a:gd name="T79" fmla="*/ 556 h 1102"/>
              <a:gd name="T80" fmla="*/ 631 w 683"/>
              <a:gd name="T81" fmla="*/ 633 h 1102"/>
              <a:gd name="T82" fmla="*/ 674 w 683"/>
              <a:gd name="T83" fmla="*/ 720 h 1102"/>
              <a:gd name="T84" fmla="*/ 683 w 683"/>
              <a:gd name="T85" fmla="*/ 792 h 1102"/>
              <a:gd name="T86" fmla="*/ 673 w 683"/>
              <a:gd name="T87" fmla="*/ 874 h 1102"/>
              <a:gd name="T88" fmla="*/ 642 w 683"/>
              <a:gd name="T89" fmla="*/ 947 h 1102"/>
              <a:gd name="T90" fmla="*/ 596 w 683"/>
              <a:gd name="T91" fmla="*/ 1007 h 1102"/>
              <a:gd name="T92" fmla="*/ 536 w 683"/>
              <a:gd name="T93" fmla="*/ 1053 h 1102"/>
              <a:gd name="T94" fmla="*/ 465 w 683"/>
              <a:gd name="T95" fmla="*/ 1085 h 1102"/>
              <a:gd name="T96" fmla="*/ 387 w 683"/>
              <a:gd name="T97" fmla="*/ 1100 h 1102"/>
              <a:gd name="T98" fmla="*/ 307 w 683"/>
              <a:gd name="T99" fmla="*/ 1099 h 1102"/>
              <a:gd name="T100" fmla="*/ 208 w 683"/>
              <a:gd name="T101" fmla="*/ 1073 h 1102"/>
              <a:gd name="T102" fmla="*/ 95 w 683"/>
              <a:gd name="T103" fmla="*/ 1024 h 1102"/>
              <a:gd name="T104" fmla="*/ 62 w 683"/>
              <a:gd name="T105" fmla="*/ 1044 h 1102"/>
              <a:gd name="T106" fmla="*/ 35 w 683"/>
              <a:gd name="T107" fmla="*/ 1102 h 1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83" h="1102">
                <a:moveTo>
                  <a:pt x="0" y="723"/>
                </a:moveTo>
                <a:lnTo>
                  <a:pt x="36" y="723"/>
                </a:lnTo>
                <a:lnTo>
                  <a:pt x="36" y="723"/>
                </a:lnTo>
                <a:lnTo>
                  <a:pt x="37" y="736"/>
                </a:lnTo>
                <a:lnTo>
                  <a:pt x="39" y="752"/>
                </a:lnTo>
                <a:lnTo>
                  <a:pt x="41" y="771"/>
                </a:lnTo>
                <a:lnTo>
                  <a:pt x="46" y="795"/>
                </a:lnTo>
                <a:lnTo>
                  <a:pt x="53" y="821"/>
                </a:lnTo>
                <a:lnTo>
                  <a:pt x="59" y="835"/>
                </a:lnTo>
                <a:lnTo>
                  <a:pt x="64" y="849"/>
                </a:lnTo>
                <a:lnTo>
                  <a:pt x="70" y="863"/>
                </a:lnTo>
                <a:lnTo>
                  <a:pt x="77" y="878"/>
                </a:lnTo>
                <a:lnTo>
                  <a:pt x="85" y="893"/>
                </a:lnTo>
                <a:lnTo>
                  <a:pt x="93" y="907"/>
                </a:lnTo>
                <a:lnTo>
                  <a:pt x="104" y="921"/>
                </a:lnTo>
                <a:lnTo>
                  <a:pt x="115" y="935"/>
                </a:lnTo>
                <a:lnTo>
                  <a:pt x="127" y="948"/>
                </a:lnTo>
                <a:lnTo>
                  <a:pt x="140" y="961"/>
                </a:lnTo>
                <a:lnTo>
                  <a:pt x="155" y="974"/>
                </a:lnTo>
                <a:lnTo>
                  <a:pt x="171" y="985"/>
                </a:lnTo>
                <a:lnTo>
                  <a:pt x="188" y="995"/>
                </a:lnTo>
                <a:lnTo>
                  <a:pt x="207" y="1004"/>
                </a:lnTo>
                <a:lnTo>
                  <a:pt x="227" y="1012"/>
                </a:lnTo>
                <a:lnTo>
                  <a:pt x="250" y="1020"/>
                </a:lnTo>
                <a:lnTo>
                  <a:pt x="273" y="1026"/>
                </a:lnTo>
                <a:lnTo>
                  <a:pt x="298" y="1030"/>
                </a:lnTo>
                <a:lnTo>
                  <a:pt x="325" y="1032"/>
                </a:lnTo>
                <a:lnTo>
                  <a:pt x="354" y="1033"/>
                </a:lnTo>
                <a:lnTo>
                  <a:pt x="354" y="1033"/>
                </a:lnTo>
                <a:lnTo>
                  <a:pt x="377" y="1032"/>
                </a:lnTo>
                <a:lnTo>
                  <a:pt x="398" y="1030"/>
                </a:lnTo>
                <a:lnTo>
                  <a:pt x="419" y="1025"/>
                </a:lnTo>
                <a:lnTo>
                  <a:pt x="439" y="1019"/>
                </a:lnTo>
                <a:lnTo>
                  <a:pt x="458" y="1011"/>
                </a:lnTo>
                <a:lnTo>
                  <a:pt x="476" y="1002"/>
                </a:lnTo>
                <a:lnTo>
                  <a:pt x="492" y="992"/>
                </a:lnTo>
                <a:lnTo>
                  <a:pt x="507" y="980"/>
                </a:lnTo>
                <a:lnTo>
                  <a:pt x="522" y="966"/>
                </a:lnTo>
                <a:lnTo>
                  <a:pt x="534" y="952"/>
                </a:lnTo>
                <a:lnTo>
                  <a:pt x="544" y="937"/>
                </a:lnTo>
                <a:lnTo>
                  <a:pt x="553" y="919"/>
                </a:lnTo>
                <a:lnTo>
                  <a:pt x="560" y="902"/>
                </a:lnTo>
                <a:lnTo>
                  <a:pt x="566" y="884"/>
                </a:lnTo>
                <a:lnTo>
                  <a:pt x="569" y="864"/>
                </a:lnTo>
                <a:lnTo>
                  <a:pt x="570" y="844"/>
                </a:lnTo>
                <a:lnTo>
                  <a:pt x="570" y="844"/>
                </a:lnTo>
                <a:lnTo>
                  <a:pt x="569" y="828"/>
                </a:lnTo>
                <a:lnTo>
                  <a:pt x="566" y="814"/>
                </a:lnTo>
                <a:lnTo>
                  <a:pt x="562" y="800"/>
                </a:lnTo>
                <a:lnTo>
                  <a:pt x="555" y="787"/>
                </a:lnTo>
                <a:lnTo>
                  <a:pt x="547" y="772"/>
                </a:lnTo>
                <a:lnTo>
                  <a:pt x="538" y="759"/>
                </a:lnTo>
                <a:lnTo>
                  <a:pt x="527" y="746"/>
                </a:lnTo>
                <a:lnTo>
                  <a:pt x="515" y="732"/>
                </a:lnTo>
                <a:lnTo>
                  <a:pt x="501" y="720"/>
                </a:lnTo>
                <a:lnTo>
                  <a:pt x="486" y="707"/>
                </a:lnTo>
                <a:lnTo>
                  <a:pt x="470" y="695"/>
                </a:lnTo>
                <a:lnTo>
                  <a:pt x="452" y="682"/>
                </a:lnTo>
                <a:lnTo>
                  <a:pt x="434" y="670"/>
                </a:lnTo>
                <a:lnTo>
                  <a:pt x="413" y="659"/>
                </a:lnTo>
                <a:lnTo>
                  <a:pt x="371" y="634"/>
                </a:lnTo>
                <a:lnTo>
                  <a:pt x="206" y="550"/>
                </a:lnTo>
                <a:lnTo>
                  <a:pt x="206" y="550"/>
                </a:lnTo>
                <a:lnTo>
                  <a:pt x="186" y="540"/>
                </a:lnTo>
                <a:lnTo>
                  <a:pt x="169" y="529"/>
                </a:lnTo>
                <a:lnTo>
                  <a:pt x="151" y="516"/>
                </a:lnTo>
                <a:lnTo>
                  <a:pt x="133" y="502"/>
                </a:lnTo>
                <a:lnTo>
                  <a:pt x="117" y="488"/>
                </a:lnTo>
                <a:lnTo>
                  <a:pt x="100" y="472"/>
                </a:lnTo>
                <a:lnTo>
                  <a:pt x="86" y="455"/>
                </a:lnTo>
                <a:lnTo>
                  <a:pt x="72" y="438"/>
                </a:lnTo>
                <a:lnTo>
                  <a:pt x="60" y="419"/>
                </a:lnTo>
                <a:lnTo>
                  <a:pt x="48" y="400"/>
                </a:lnTo>
                <a:lnTo>
                  <a:pt x="38" y="380"/>
                </a:lnTo>
                <a:lnTo>
                  <a:pt x="30" y="358"/>
                </a:lnTo>
                <a:lnTo>
                  <a:pt x="23" y="336"/>
                </a:lnTo>
                <a:lnTo>
                  <a:pt x="18" y="313"/>
                </a:lnTo>
                <a:lnTo>
                  <a:pt x="15" y="290"/>
                </a:lnTo>
                <a:lnTo>
                  <a:pt x="14" y="265"/>
                </a:lnTo>
                <a:lnTo>
                  <a:pt x="14" y="265"/>
                </a:lnTo>
                <a:lnTo>
                  <a:pt x="15" y="252"/>
                </a:lnTo>
                <a:lnTo>
                  <a:pt x="16" y="240"/>
                </a:lnTo>
                <a:lnTo>
                  <a:pt x="17" y="226"/>
                </a:lnTo>
                <a:lnTo>
                  <a:pt x="20" y="213"/>
                </a:lnTo>
                <a:lnTo>
                  <a:pt x="23" y="201"/>
                </a:lnTo>
                <a:lnTo>
                  <a:pt x="26" y="188"/>
                </a:lnTo>
                <a:lnTo>
                  <a:pt x="30" y="177"/>
                </a:lnTo>
                <a:lnTo>
                  <a:pt x="35" y="165"/>
                </a:lnTo>
                <a:lnTo>
                  <a:pt x="41" y="154"/>
                </a:lnTo>
                <a:lnTo>
                  <a:pt x="46" y="142"/>
                </a:lnTo>
                <a:lnTo>
                  <a:pt x="53" y="132"/>
                </a:lnTo>
                <a:lnTo>
                  <a:pt x="61" y="121"/>
                </a:lnTo>
                <a:lnTo>
                  <a:pt x="68" y="112"/>
                </a:lnTo>
                <a:lnTo>
                  <a:pt x="76" y="101"/>
                </a:lnTo>
                <a:lnTo>
                  <a:pt x="85" y="92"/>
                </a:lnTo>
                <a:lnTo>
                  <a:pt x="94" y="83"/>
                </a:lnTo>
                <a:lnTo>
                  <a:pt x="105" y="75"/>
                </a:lnTo>
                <a:lnTo>
                  <a:pt x="115" y="67"/>
                </a:lnTo>
                <a:lnTo>
                  <a:pt x="125" y="60"/>
                </a:lnTo>
                <a:lnTo>
                  <a:pt x="136" y="52"/>
                </a:lnTo>
                <a:lnTo>
                  <a:pt x="147" y="45"/>
                </a:lnTo>
                <a:lnTo>
                  <a:pt x="160" y="39"/>
                </a:lnTo>
                <a:lnTo>
                  <a:pt x="172" y="34"/>
                </a:lnTo>
                <a:lnTo>
                  <a:pt x="185" y="29"/>
                </a:lnTo>
                <a:lnTo>
                  <a:pt x="199" y="24"/>
                </a:lnTo>
                <a:lnTo>
                  <a:pt x="212" y="20"/>
                </a:lnTo>
                <a:lnTo>
                  <a:pt x="226" y="17"/>
                </a:lnTo>
                <a:lnTo>
                  <a:pt x="239" y="14"/>
                </a:lnTo>
                <a:lnTo>
                  <a:pt x="255" y="12"/>
                </a:lnTo>
                <a:lnTo>
                  <a:pt x="269" y="9"/>
                </a:lnTo>
                <a:lnTo>
                  <a:pt x="284" y="8"/>
                </a:lnTo>
                <a:lnTo>
                  <a:pt x="300" y="8"/>
                </a:lnTo>
                <a:lnTo>
                  <a:pt x="300" y="8"/>
                </a:lnTo>
                <a:lnTo>
                  <a:pt x="319" y="8"/>
                </a:lnTo>
                <a:lnTo>
                  <a:pt x="337" y="10"/>
                </a:lnTo>
                <a:lnTo>
                  <a:pt x="353" y="12"/>
                </a:lnTo>
                <a:lnTo>
                  <a:pt x="369" y="15"/>
                </a:lnTo>
                <a:lnTo>
                  <a:pt x="384" y="18"/>
                </a:lnTo>
                <a:lnTo>
                  <a:pt x="398" y="21"/>
                </a:lnTo>
                <a:lnTo>
                  <a:pt x="411" y="25"/>
                </a:lnTo>
                <a:lnTo>
                  <a:pt x="425" y="30"/>
                </a:lnTo>
                <a:lnTo>
                  <a:pt x="448" y="40"/>
                </a:lnTo>
                <a:lnTo>
                  <a:pt x="471" y="52"/>
                </a:lnTo>
                <a:lnTo>
                  <a:pt x="491" y="66"/>
                </a:lnTo>
                <a:lnTo>
                  <a:pt x="510" y="79"/>
                </a:lnTo>
                <a:lnTo>
                  <a:pt x="510" y="79"/>
                </a:lnTo>
                <a:lnTo>
                  <a:pt x="519" y="73"/>
                </a:lnTo>
                <a:lnTo>
                  <a:pt x="526" y="65"/>
                </a:lnTo>
                <a:lnTo>
                  <a:pt x="533" y="57"/>
                </a:lnTo>
                <a:lnTo>
                  <a:pt x="540" y="46"/>
                </a:lnTo>
                <a:lnTo>
                  <a:pt x="546" y="36"/>
                </a:lnTo>
                <a:lnTo>
                  <a:pt x="552" y="25"/>
                </a:lnTo>
                <a:lnTo>
                  <a:pt x="557" y="13"/>
                </a:lnTo>
                <a:lnTo>
                  <a:pt x="561" y="0"/>
                </a:lnTo>
                <a:lnTo>
                  <a:pt x="595" y="0"/>
                </a:lnTo>
                <a:lnTo>
                  <a:pt x="595" y="380"/>
                </a:lnTo>
                <a:lnTo>
                  <a:pt x="560" y="380"/>
                </a:lnTo>
                <a:lnTo>
                  <a:pt x="560" y="380"/>
                </a:lnTo>
                <a:lnTo>
                  <a:pt x="556" y="353"/>
                </a:lnTo>
                <a:lnTo>
                  <a:pt x="552" y="326"/>
                </a:lnTo>
                <a:lnTo>
                  <a:pt x="547" y="300"/>
                </a:lnTo>
                <a:lnTo>
                  <a:pt x="541" y="274"/>
                </a:lnTo>
                <a:lnTo>
                  <a:pt x="533" y="249"/>
                </a:lnTo>
                <a:lnTo>
                  <a:pt x="523" y="223"/>
                </a:lnTo>
                <a:lnTo>
                  <a:pt x="511" y="200"/>
                </a:lnTo>
                <a:lnTo>
                  <a:pt x="504" y="187"/>
                </a:lnTo>
                <a:lnTo>
                  <a:pt x="497" y="177"/>
                </a:lnTo>
                <a:lnTo>
                  <a:pt x="490" y="166"/>
                </a:lnTo>
                <a:lnTo>
                  <a:pt x="482" y="156"/>
                </a:lnTo>
                <a:lnTo>
                  <a:pt x="473" y="145"/>
                </a:lnTo>
                <a:lnTo>
                  <a:pt x="463" y="136"/>
                </a:lnTo>
                <a:lnTo>
                  <a:pt x="453" y="128"/>
                </a:lnTo>
                <a:lnTo>
                  <a:pt x="443" y="120"/>
                </a:lnTo>
                <a:lnTo>
                  <a:pt x="431" y="112"/>
                </a:lnTo>
                <a:lnTo>
                  <a:pt x="419" y="106"/>
                </a:lnTo>
                <a:lnTo>
                  <a:pt x="406" y="99"/>
                </a:lnTo>
                <a:lnTo>
                  <a:pt x="393" y="93"/>
                </a:lnTo>
                <a:lnTo>
                  <a:pt x="379" y="89"/>
                </a:lnTo>
                <a:lnTo>
                  <a:pt x="363" y="85"/>
                </a:lnTo>
                <a:lnTo>
                  <a:pt x="348" y="82"/>
                </a:lnTo>
                <a:lnTo>
                  <a:pt x="331" y="79"/>
                </a:lnTo>
                <a:lnTo>
                  <a:pt x="313" y="78"/>
                </a:lnTo>
                <a:lnTo>
                  <a:pt x="295" y="78"/>
                </a:lnTo>
                <a:lnTo>
                  <a:pt x="295" y="78"/>
                </a:lnTo>
                <a:lnTo>
                  <a:pt x="277" y="78"/>
                </a:lnTo>
                <a:lnTo>
                  <a:pt x="260" y="81"/>
                </a:lnTo>
                <a:lnTo>
                  <a:pt x="244" y="84"/>
                </a:lnTo>
                <a:lnTo>
                  <a:pt x="228" y="89"/>
                </a:lnTo>
                <a:lnTo>
                  <a:pt x="214" y="95"/>
                </a:lnTo>
                <a:lnTo>
                  <a:pt x="200" y="104"/>
                </a:lnTo>
                <a:lnTo>
                  <a:pt x="187" y="112"/>
                </a:lnTo>
                <a:lnTo>
                  <a:pt x="175" y="122"/>
                </a:lnTo>
                <a:lnTo>
                  <a:pt x="165" y="133"/>
                </a:lnTo>
                <a:lnTo>
                  <a:pt x="156" y="144"/>
                </a:lnTo>
                <a:lnTo>
                  <a:pt x="147" y="158"/>
                </a:lnTo>
                <a:lnTo>
                  <a:pt x="140" y="171"/>
                </a:lnTo>
                <a:lnTo>
                  <a:pt x="135" y="185"/>
                </a:lnTo>
                <a:lnTo>
                  <a:pt x="131" y="200"/>
                </a:lnTo>
                <a:lnTo>
                  <a:pt x="129" y="215"/>
                </a:lnTo>
                <a:lnTo>
                  <a:pt x="128" y="231"/>
                </a:lnTo>
                <a:lnTo>
                  <a:pt x="128" y="231"/>
                </a:lnTo>
                <a:lnTo>
                  <a:pt x="128" y="248"/>
                </a:lnTo>
                <a:lnTo>
                  <a:pt x="131" y="263"/>
                </a:lnTo>
                <a:lnTo>
                  <a:pt x="134" y="277"/>
                </a:lnTo>
                <a:lnTo>
                  <a:pt x="139" y="292"/>
                </a:lnTo>
                <a:lnTo>
                  <a:pt x="146" y="305"/>
                </a:lnTo>
                <a:lnTo>
                  <a:pt x="155" y="317"/>
                </a:lnTo>
                <a:lnTo>
                  <a:pt x="165" y="331"/>
                </a:lnTo>
                <a:lnTo>
                  <a:pt x="177" y="343"/>
                </a:lnTo>
                <a:lnTo>
                  <a:pt x="190" y="355"/>
                </a:lnTo>
                <a:lnTo>
                  <a:pt x="206" y="366"/>
                </a:lnTo>
                <a:lnTo>
                  <a:pt x="223" y="379"/>
                </a:lnTo>
                <a:lnTo>
                  <a:pt x="243" y="392"/>
                </a:lnTo>
                <a:lnTo>
                  <a:pt x="263" y="404"/>
                </a:lnTo>
                <a:lnTo>
                  <a:pt x="287" y="417"/>
                </a:lnTo>
                <a:lnTo>
                  <a:pt x="339" y="445"/>
                </a:lnTo>
                <a:lnTo>
                  <a:pt x="502" y="530"/>
                </a:lnTo>
                <a:lnTo>
                  <a:pt x="502" y="530"/>
                </a:lnTo>
                <a:lnTo>
                  <a:pt x="526" y="542"/>
                </a:lnTo>
                <a:lnTo>
                  <a:pt x="548" y="556"/>
                </a:lnTo>
                <a:lnTo>
                  <a:pt x="568" y="571"/>
                </a:lnTo>
                <a:lnTo>
                  <a:pt x="586" y="585"/>
                </a:lnTo>
                <a:lnTo>
                  <a:pt x="604" y="601"/>
                </a:lnTo>
                <a:lnTo>
                  <a:pt x="618" y="617"/>
                </a:lnTo>
                <a:lnTo>
                  <a:pt x="631" y="633"/>
                </a:lnTo>
                <a:lnTo>
                  <a:pt x="642" y="651"/>
                </a:lnTo>
                <a:lnTo>
                  <a:pt x="653" y="667"/>
                </a:lnTo>
                <a:lnTo>
                  <a:pt x="661" y="684"/>
                </a:lnTo>
                <a:lnTo>
                  <a:pt x="668" y="703"/>
                </a:lnTo>
                <a:lnTo>
                  <a:pt x="674" y="720"/>
                </a:lnTo>
                <a:lnTo>
                  <a:pt x="678" y="738"/>
                </a:lnTo>
                <a:lnTo>
                  <a:pt x="681" y="756"/>
                </a:lnTo>
                <a:lnTo>
                  <a:pt x="682" y="774"/>
                </a:lnTo>
                <a:lnTo>
                  <a:pt x="683" y="792"/>
                </a:lnTo>
                <a:lnTo>
                  <a:pt x="683" y="792"/>
                </a:lnTo>
                <a:lnTo>
                  <a:pt x="683" y="809"/>
                </a:lnTo>
                <a:lnTo>
                  <a:pt x="681" y="826"/>
                </a:lnTo>
                <a:lnTo>
                  <a:pt x="679" y="843"/>
                </a:lnTo>
                <a:lnTo>
                  <a:pt x="676" y="859"/>
                </a:lnTo>
                <a:lnTo>
                  <a:pt x="673" y="874"/>
                </a:lnTo>
                <a:lnTo>
                  <a:pt x="668" y="890"/>
                </a:lnTo>
                <a:lnTo>
                  <a:pt x="663" y="905"/>
                </a:lnTo>
                <a:lnTo>
                  <a:pt x="657" y="919"/>
                </a:lnTo>
                <a:lnTo>
                  <a:pt x="651" y="934"/>
                </a:lnTo>
                <a:lnTo>
                  <a:pt x="642" y="947"/>
                </a:lnTo>
                <a:lnTo>
                  <a:pt x="634" y="960"/>
                </a:lnTo>
                <a:lnTo>
                  <a:pt x="626" y="973"/>
                </a:lnTo>
                <a:lnTo>
                  <a:pt x="617" y="985"/>
                </a:lnTo>
                <a:lnTo>
                  <a:pt x="607" y="996"/>
                </a:lnTo>
                <a:lnTo>
                  <a:pt x="596" y="1007"/>
                </a:lnTo>
                <a:lnTo>
                  <a:pt x="585" y="1018"/>
                </a:lnTo>
                <a:lnTo>
                  <a:pt x="574" y="1028"/>
                </a:lnTo>
                <a:lnTo>
                  <a:pt x="562" y="1037"/>
                </a:lnTo>
                <a:lnTo>
                  <a:pt x="549" y="1045"/>
                </a:lnTo>
                <a:lnTo>
                  <a:pt x="536" y="1053"/>
                </a:lnTo>
                <a:lnTo>
                  <a:pt x="523" y="1062"/>
                </a:lnTo>
                <a:lnTo>
                  <a:pt x="509" y="1068"/>
                </a:lnTo>
                <a:lnTo>
                  <a:pt x="495" y="1075"/>
                </a:lnTo>
                <a:lnTo>
                  <a:pt x="480" y="1080"/>
                </a:lnTo>
                <a:lnTo>
                  <a:pt x="465" y="1085"/>
                </a:lnTo>
                <a:lnTo>
                  <a:pt x="450" y="1089"/>
                </a:lnTo>
                <a:lnTo>
                  <a:pt x="435" y="1093"/>
                </a:lnTo>
                <a:lnTo>
                  <a:pt x="419" y="1096"/>
                </a:lnTo>
                <a:lnTo>
                  <a:pt x="403" y="1099"/>
                </a:lnTo>
                <a:lnTo>
                  <a:pt x="387" y="1100"/>
                </a:lnTo>
                <a:lnTo>
                  <a:pt x="370" y="1101"/>
                </a:lnTo>
                <a:lnTo>
                  <a:pt x="354" y="1102"/>
                </a:lnTo>
                <a:lnTo>
                  <a:pt x="354" y="1102"/>
                </a:lnTo>
                <a:lnTo>
                  <a:pt x="329" y="1101"/>
                </a:lnTo>
                <a:lnTo>
                  <a:pt x="307" y="1099"/>
                </a:lnTo>
                <a:lnTo>
                  <a:pt x="286" y="1095"/>
                </a:lnTo>
                <a:lnTo>
                  <a:pt x="264" y="1091"/>
                </a:lnTo>
                <a:lnTo>
                  <a:pt x="245" y="1086"/>
                </a:lnTo>
                <a:lnTo>
                  <a:pt x="225" y="1080"/>
                </a:lnTo>
                <a:lnTo>
                  <a:pt x="208" y="1073"/>
                </a:lnTo>
                <a:lnTo>
                  <a:pt x="190" y="1067"/>
                </a:lnTo>
                <a:lnTo>
                  <a:pt x="160" y="1052"/>
                </a:lnTo>
                <a:lnTo>
                  <a:pt x="131" y="1039"/>
                </a:lnTo>
                <a:lnTo>
                  <a:pt x="107" y="1028"/>
                </a:lnTo>
                <a:lnTo>
                  <a:pt x="95" y="1024"/>
                </a:lnTo>
                <a:lnTo>
                  <a:pt x="85" y="1021"/>
                </a:lnTo>
                <a:lnTo>
                  <a:pt x="85" y="1021"/>
                </a:lnTo>
                <a:lnTo>
                  <a:pt x="77" y="1028"/>
                </a:lnTo>
                <a:lnTo>
                  <a:pt x="70" y="1036"/>
                </a:lnTo>
                <a:lnTo>
                  <a:pt x="62" y="1044"/>
                </a:lnTo>
                <a:lnTo>
                  <a:pt x="55" y="1053"/>
                </a:lnTo>
                <a:lnTo>
                  <a:pt x="49" y="1065"/>
                </a:lnTo>
                <a:lnTo>
                  <a:pt x="43" y="1076"/>
                </a:lnTo>
                <a:lnTo>
                  <a:pt x="38" y="1088"/>
                </a:lnTo>
                <a:lnTo>
                  <a:pt x="35" y="1102"/>
                </a:lnTo>
                <a:lnTo>
                  <a:pt x="0" y="1102"/>
                </a:lnTo>
                <a:lnTo>
                  <a:pt x="0" y="723"/>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73" name="Freeform 24">
            <a:extLst>
              <a:ext uri="{FF2B5EF4-FFF2-40B4-BE49-F238E27FC236}">
                <a16:creationId xmlns:a16="http://schemas.microsoft.com/office/drawing/2014/main" id="{C2FB785F-D8AC-CA4C-BD62-D6AEA6FE7B59}"/>
              </a:ext>
            </a:extLst>
          </p:cNvPr>
          <p:cNvSpPr>
            <a:spLocks noEditPoints="1"/>
          </p:cNvSpPr>
          <p:nvPr userDrawn="1"/>
        </p:nvSpPr>
        <p:spPr bwMode="auto">
          <a:xfrm>
            <a:off x="2270126" y="1158878"/>
            <a:ext cx="133350" cy="136525"/>
          </a:xfrm>
          <a:custGeom>
            <a:avLst/>
            <a:gdLst>
              <a:gd name="T0" fmla="*/ 49 w 1009"/>
              <a:gd name="T1" fmla="*/ 997 h 1035"/>
              <a:gd name="T2" fmla="*/ 115 w 1009"/>
              <a:gd name="T3" fmla="*/ 981 h 1035"/>
              <a:gd name="T4" fmla="*/ 136 w 1009"/>
              <a:gd name="T5" fmla="*/ 962 h 1035"/>
              <a:gd name="T6" fmla="*/ 155 w 1009"/>
              <a:gd name="T7" fmla="*/ 920 h 1035"/>
              <a:gd name="T8" fmla="*/ 163 w 1009"/>
              <a:gd name="T9" fmla="*/ 827 h 1035"/>
              <a:gd name="T10" fmla="*/ 163 w 1009"/>
              <a:gd name="T11" fmla="*/ 206 h 1035"/>
              <a:gd name="T12" fmla="*/ 155 w 1009"/>
              <a:gd name="T13" fmla="*/ 114 h 1035"/>
              <a:gd name="T14" fmla="*/ 136 w 1009"/>
              <a:gd name="T15" fmla="*/ 72 h 1035"/>
              <a:gd name="T16" fmla="*/ 115 w 1009"/>
              <a:gd name="T17" fmla="*/ 54 h 1035"/>
              <a:gd name="T18" fmla="*/ 49 w 1009"/>
              <a:gd name="T19" fmla="*/ 38 h 1035"/>
              <a:gd name="T20" fmla="*/ 456 w 1009"/>
              <a:gd name="T21" fmla="*/ 0 h 1035"/>
              <a:gd name="T22" fmla="*/ 520 w 1009"/>
              <a:gd name="T23" fmla="*/ 3 h 1035"/>
              <a:gd name="T24" fmla="*/ 597 w 1009"/>
              <a:gd name="T25" fmla="*/ 17 h 1035"/>
              <a:gd name="T26" fmla="*/ 663 w 1009"/>
              <a:gd name="T27" fmla="*/ 42 h 1035"/>
              <a:gd name="T28" fmla="*/ 718 w 1009"/>
              <a:gd name="T29" fmla="*/ 76 h 1035"/>
              <a:gd name="T30" fmla="*/ 763 w 1009"/>
              <a:gd name="T31" fmla="*/ 118 h 1035"/>
              <a:gd name="T32" fmla="*/ 796 w 1009"/>
              <a:gd name="T33" fmla="*/ 166 h 1035"/>
              <a:gd name="T34" fmla="*/ 817 w 1009"/>
              <a:gd name="T35" fmla="*/ 219 h 1035"/>
              <a:gd name="T36" fmla="*/ 826 w 1009"/>
              <a:gd name="T37" fmla="*/ 276 h 1035"/>
              <a:gd name="T38" fmla="*/ 825 w 1009"/>
              <a:gd name="T39" fmla="*/ 319 h 1035"/>
              <a:gd name="T40" fmla="*/ 815 w 1009"/>
              <a:gd name="T41" fmla="*/ 372 h 1035"/>
              <a:gd name="T42" fmla="*/ 794 w 1009"/>
              <a:gd name="T43" fmla="*/ 421 h 1035"/>
              <a:gd name="T44" fmla="*/ 764 w 1009"/>
              <a:gd name="T45" fmla="*/ 465 h 1035"/>
              <a:gd name="T46" fmla="*/ 726 w 1009"/>
              <a:gd name="T47" fmla="*/ 503 h 1035"/>
              <a:gd name="T48" fmla="*/ 677 w 1009"/>
              <a:gd name="T49" fmla="*/ 535 h 1035"/>
              <a:gd name="T50" fmla="*/ 620 w 1009"/>
              <a:gd name="T51" fmla="*/ 559 h 1035"/>
              <a:gd name="T52" fmla="*/ 555 w 1009"/>
              <a:gd name="T53" fmla="*/ 576 h 1035"/>
              <a:gd name="T54" fmla="*/ 689 w 1009"/>
              <a:gd name="T55" fmla="*/ 779 h 1035"/>
              <a:gd name="T56" fmla="*/ 767 w 1009"/>
              <a:gd name="T57" fmla="*/ 863 h 1035"/>
              <a:gd name="T58" fmla="*/ 848 w 1009"/>
              <a:gd name="T59" fmla="*/ 929 h 1035"/>
              <a:gd name="T60" fmla="*/ 930 w 1009"/>
              <a:gd name="T61" fmla="*/ 977 h 1035"/>
              <a:gd name="T62" fmla="*/ 1009 w 1009"/>
              <a:gd name="T63" fmla="*/ 999 h 1035"/>
              <a:gd name="T64" fmla="*/ 302 w 1009"/>
              <a:gd name="T65" fmla="*/ 581 h 1035"/>
              <a:gd name="T66" fmla="*/ 303 w 1009"/>
              <a:gd name="T67" fmla="*/ 855 h 1035"/>
              <a:gd name="T68" fmla="*/ 316 w 1009"/>
              <a:gd name="T69" fmla="*/ 937 h 1035"/>
              <a:gd name="T70" fmla="*/ 335 w 1009"/>
              <a:gd name="T71" fmla="*/ 967 h 1035"/>
              <a:gd name="T72" fmla="*/ 365 w 1009"/>
              <a:gd name="T73" fmla="*/ 987 h 1035"/>
              <a:gd name="T74" fmla="*/ 440 w 1009"/>
              <a:gd name="T75" fmla="*/ 998 h 1035"/>
              <a:gd name="T76" fmla="*/ 0 w 1009"/>
              <a:gd name="T77" fmla="*/ 999 h 1035"/>
              <a:gd name="T78" fmla="*/ 494 w 1009"/>
              <a:gd name="T79" fmla="*/ 516 h 1035"/>
              <a:gd name="T80" fmla="*/ 541 w 1009"/>
              <a:gd name="T81" fmla="*/ 505 h 1035"/>
              <a:gd name="T82" fmla="*/ 580 w 1009"/>
              <a:gd name="T83" fmla="*/ 486 h 1035"/>
              <a:gd name="T84" fmla="*/ 633 w 1009"/>
              <a:gd name="T85" fmla="*/ 437 h 1035"/>
              <a:gd name="T86" fmla="*/ 665 w 1009"/>
              <a:gd name="T87" fmla="*/ 359 h 1035"/>
              <a:gd name="T88" fmla="*/ 672 w 1009"/>
              <a:gd name="T89" fmla="*/ 291 h 1035"/>
              <a:gd name="T90" fmla="*/ 660 w 1009"/>
              <a:gd name="T91" fmla="*/ 204 h 1035"/>
              <a:gd name="T92" fmla="*/ 619 w 1009"/>
              <a:gd name="T93" fmla="*/ 131 h 1035"/>
              <a:gd name="T94" fmla="*/ 571 w 1009"/>
              <a:gd name="T95" fmla="*/ 91 h 1035"/>
              <a:gd name="T96" fmla="*/ 529 w 1009"/>
              <a:gd name="T97" fmla="*/ 74 h 1035"/>
              <a:gd name="T98" fmla="*/ 481 w 1009"/>
              <a:gd name="T99" fmla="*/ 65 h 1035"/>
              <a:gd name="T100" fmla="*/ 302 w 1009"/>
              <a:gd name="T101" fmla="*/ 519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09" h="1035">
                <a:moveTo>
                  <a:pt x="0" y="999"/>
                </a:moveTo>
                <a:lnTo>
                  <a:pt x="0" y="999"/>
                </a:lnTo>
                <a:lnTo>
                  <a:pt x="25" y="998"/>
                </a:lnTo>
                <a:lnTo>
                  <a:pt x="49" y="997"/>
                </a:lnTo>
                <a:lnTo>
                  <a:pt x="68" y="995"/>
                </a:lnTo>
                <a:lnTo>
                  <a:pt x="87" y="991"/>
                </a:lnTo>
                <a:lnTo>
                  <a:pt x="102" y="987"/>
                </a:lnTo>
                <a:lnTo>
                  <a:pt x="115" y="981"/>
                </a:lnTo>
                <a:lnTo>
                  <a:pt x="120" y="977"/>
                </a:lnTo>
                <a:lnTo>
                  <a:pt x="126" y="972"/>
                </a:lnTo>
                <a:lnTo>
                  <a:pt x="132" y="967"/>
                </a:lnTo>
                <a:lnTo>
                  <a:pt x="136" y="962"/>
                </a:lnTo>
                <a:lnTo>
                  <a:pt x="140" y="957"/>
                </a:lnTo>
                <a:lnTo>
                  <a:pt x="144" y="951"/>
                </a:lnTo>
                <a:lnTo>
                  <a:pt x="150" y="937"/>
                </a:lnTo>
                <a:lnTo>
                  <a:pt x="155" y="920"/>
                </a:lnTo>
                <a:lnTo>
                  <a:pt x="158" y="901"/>
                </a:lnTo>
                <a:lnTo>
                  <a:pt x="161" y="879"/>
                </a:lnTo>
                <a:lnTo>
                  <a:pt x="163" y="855"/>
                </a:lnTo>
                <a:lnTo>
                  <a:pt x="163" y="827"/>
                </a:lnTo>
                <a:lnTo>
                  <a:pt x="164" y="797"/>
                </a:lnTo>
                <a:lnTo>
                  <a:pt x="164" y="236"/>
                </a:lnTo>
                <a:lnTo>
                  <a:pt x="164" y="236"/>
                </a:lnTo>
                <a:lnTo>
                  <a:pt x="163" y="206"/>
                </a:lnTo>
                <a:lnTo>
                  <a:pt x="163" y="178"/>
                </a:lnTo>
                <a:lnTo>
                  <a:pt x="161" y="153"/>
                </a:lnTo>
                <a:lnTo>
                  <a:pt x="158" y="132"/>
                </a:lnTo>
                <a:lnTo>
                  <a:pt x="155" y="114"/>
                </a:lnTo>
                <a:lnTo>
                  <a:pt x="150" y="97"/>
                </a:lnTo>
                <a:lnTo>
                  <a:pt x="144" y="83"/>
                </a:lnTo>
                <a:lnTo>
                  <a:pt x="140" y="77"/>
                </a:lnTo>
                <a:lnTo>
                  <a:pt x="136" y="72"/>
                </a:lnTo>
                <a:lnTo>
                  <a:pt x="132" y="67"/>
                </a:lnTo>
                <a:lnTo>
                  <a:pt x="126" y="61"/>
                </a:lnTo>
                <a:lnTo>
                  <a:pt x="120" y="57"/>
                </a:lnTo>
                <a:lnTo>
                  <a:pt x="115" y="54"/>
                </a:lnTo>
                <a:lnTo>
                  <a:pt x="102" y="48"/>
                </a:lnTo>
                <a:lnTo>
                  <a:pt x="87" y="43"/>
                </a:lnTo>
                <a:lnTo>
                  <a:pt x="68" y="40"/>
                </a:lnTo>
                <a:lnTo>
                  <a:pt x="49" y="38"/>
                </a:lnTo>
                <a:lnTo>
                  <a:pt x="25" y="37"/>
                </a:lnTo>
                <a:lnTo>
                  <a:pt x="0" y="36"/>
                </a:lnTo>
                <a:lnTo>
                  <a:pt x="0" y="0"/>
                </a:lnTo>
                <a:lnTo>
                  <a:pt x="456" y="0"/>
                </a:lnTo>
                <a:lnTo>
                  <a:pt x="456" y="0"/>
                </a:lnTo>
                <a:lnTo>
                  <a:pt x="478" y="0"/>
                </a:lnTo>
                <a:lnTo>
                  <a:pt x="500" y="1"/>
                </a:lnTo>
                <a:lnTo>
                  <a:pt x="520" y="3"/>
                </a:lnTo>
                <a:lnTo>
                  <a:pt x="541" y="6"/>
                </a:lnTo>
                <a:lnTo>
                  <a:pt x="560" y="9"/>
                </a:lnTo>
                <a:lnTo>
                  <a:pt x="578" y="13"/>
                </a:lnTo>
                <a:lnTo>
                  <a:pt x="597" y="17"/>
                </a:lnTo>
                <a:lnTo>
                  <a:pt x="614" y="23"/>
                </a:lnTo>
                <a:lnTo>
                  <a:pt x="632" y="29"/>
                </a:lnTo>
                <a:lnTo>
                  <a:pt x="648" y="35"/>
                </a:lnTo>
                <a:lnTo>
                  <a:pt x="663" y="42"/>
                </a:lnTo>
                <a:lnTo>
                  <a:pt x="679" y="50"/>
                </a:lnTo>
                <a:lnTo>
                  <a:pt x="693" y="58"/>
                </a:lnTo>
                <a:lnTo>
                  <a:pt x="706" y="67"/>
                </a:lnTo>
                <a:lnTo>
                  <a:pt x="718" y="76"/>
                </a:lnTo>
                <a:lnTo>
                  <a:pt x="731" y="85"/>
                </a:lnTo>
                <a:lnTo>
                  <a:pt x="742" y="95"/>
                </a:lnTo>
                <a:lnTo>
                  <a:pt x="753" y="106"/>
                </a:lnTo>
                <a:lnTo>
                  <a:pt x="763" y="118"/>
                </a:lnTo>
                <a:lnTo>
                  <a:pt x="773" y="129"/>
                </a:lnTo>
                <a:lnTo>
                  <a:pt x="781" y="140"/>
                </a:lnTo>
                <a:lnTo>
                  <a:pt x="789" y="152"/>
                </a:lnTo>
                <a:lnTo>
                  <a:pt x="796" y="166"/>
                </a:lnTo>
                <a:lnTo>
                  <a:pt x="802" y="178"/>
                </a:lnTo>
                <a:lnTo>
                  <a:pt x="807" y="191"/>
                </a:lnTo>
                <a:lnTo>
                  <a:pt x="813" y="205"/>
                </a:lnTo>
                <a:lnTo>
                  <a:pt x="817" y="219"/>
                </a:lnTo>
                <a:lnTo>
                  <a:pt x="821" y="233"/>
                </a:lnTo>
                <a:lnTo>
                  <a:pt x="823" y="248"/>
                </a:lnTo>
                <a:lnTo>
                  <a:pt x="825" y="262"/>
                </a:lnTo>
                <a:lnTo>
                  <a:pt x="826" y="276"/>
                </a:lnTo>
                <a:lnTo>
                  <a:pt x="827" y="291"/>
                </a:lnTo>
                <a:lnTo>
                  <a:pt x="827" y="291"/>
                </a:lnTo>
                <a:lnTo>
                  <a:pt x="826" y="306"/>
                </a:lnTo>
                <a:lnTo>
                  <a:pt x="825" y="319"/>
                </a:lnTo>
                <a:lnTo>
                  <a:pt x="824" y="332"/>
                </a:lnTo>
                <a:lnTo>
                  <a:pt x="822" y="346"/>
                </a:lnTo>
                <a:lnTo>
                  <a:pt x="819" y="359"/>
                </a:lnTo>
                <a:lnTo>
                  <a:pt x="815" y="372"/>
                </a:lnTo>
                <a:lnTo>
                  <a:pt x="810" y="385"/>
                </a:lnTo>
                <a:lnTo>
                  <a:pt x="805" y="397"/>
                </a:lnTo>
                <a:lnTo>
                  <a:pt x="800" y="409"/>
                </a:lnTo>
                <a:lnTo>
                  <a:pt x="794" y="421"/>
                </a:lnTo>
                <a:lnTo>
                  <a:pt x="788" y="433"/>
                </a:lnTo>
                <a:lnTo>
                  <a:pt x="781" y="444"/>
                </a:lnTo>
                <a:lnTo>
                  <a:pt x="773" y="454"/>
                </a:lnTo>
                <a:lnTo>
                  <a:pt x="764" y="465"/>
                </a:lnTo>
                <a:lnTo>
                  <a:pt x="755" y="475"/>
                </a:lnTo>
                <a:lnTo>
                  <a:pt x="746" y="485"/>
                </a:lnTo>
                <a:lnTo>
                  <a:pt x="736" y="494"/>
                </a:lnTo>
                <a:lnTo>
                  <a:pt x="726" y="503"/>
                </a:lnTo>
                <a:lnTo>
                  <a:pt x="714" y="511"/>
                </a:lnTo>
                <a:lnTo>
                  <a:pt x="702" y="519"/>
                </a:lnTo>
                <a:lnTo>
                  <a:pt x="690" y="528"/>
                </a:lnTo>
                <a:lnTo>
                  <a:pt x="677" y="535"/>
                </a:lnTo>
                <a:lnTo>
                  <a:pt x="663" y="542"/>
                </a:lnTo>
                <a:lnTo>
                  <a:pt x="650" y="548"/>
                </a:lnTo>
                <a:lnTo>
                  <a:pt x="635" y="554"/>
                </a:lnTo>
                <a:lnTo>
                  <a:pt x="620" y="559"/>
                </a:lnTo>
                <a:lnTo>
                  <a:pt x="605" y="564"/>
                </a:lnTo>
                <a:lnTo>
                  <a:pt x="589" y="569"/>
                </a:lnTo>
                <a:lnTo>
                  <a:pt x="572" y="573"/>
                </a:lnTo>
                <a:lnTo>
                  <a:pt x="555" y="576"/>
                </a:lnTo>
                <a:lnTo>
                  <a:pt x="537" y="579"/>
                </a:lnTo>
                <a:lnTo>
                  <a:pt x="519" y="581"/>
                </a:lnTo>
                <a:lnTo>
                  <a:pt x="689" y="779"/>
                </a:lnTo>
                <a:lnTo>
                  <a:pt x="689" y="779"/>
                </a:lnTo>
                <a:lnTo>
                  <a:pt x="707" y="802"/>
                </a:lnTo>
                <a:lnTo>
                  <a:pt x="728" y="823"/>
                </a:lnTo>
                <a:lnTo>
                  <a:pt x="747" y="844"/>
                </a:lnTo>
                <a:lnTo>
                  <a:pt x="767" y="863"/>
                </a:lnTo>
                <a:lnTo>
                  <a:pt x="787" y="881"/>
                </a:lnTo>
                <a:lnTo>
                  <a:pt x="807" y="899"/>
                </a:lnTo>
                <a:lnTo>
                  <a:pt x="828" y="915"/>
                </a:lnTo>
                <a:lnTo>
                  <a:pt x="848" y="929"/>
                </a:lnTo>
                <a:lnTo>
                  <a:pt x="869" y="944"/>
                </a:lnTo>
                <a:lnTo>
                  <a:pt x="889" y="956"/>
                </a:lnTo>
                <a:lnTo>
                  <a:pt x="910" y="966"/>
                </a:lnTo>
                <a:lnTo>
                  <a:pt x="930" y="977"/>
                </a:lnTo>
                <a:lnTo>
                  <a:pt x="950" y="985"/>
                </a:lnTo>
                <a:lnTo>
                  <a:pt x="970" y="991"/>
                </a:lnTo>
                <a:lnTo>
                  <a:pt x="989" y="996"/>
                </a:lnTo>
                <a:lnTo>
                  <a:pt x="1009" y="999"/>
                </a:lnTo>
                <a:lnTo>
                  <a:pt x="1009" y="1035"/>
                </a:lnTo>
                <a:lnTo>
                  <a:pt x="725" y="1035"/>
                </a:lnTo>
                <a:lnTo>
                  <a:pt x="383" y="581"/>
                </a:lnTo>
                <a:lnTo>
                  <a:pt x="302" y="581"/>
                </a:lnTo>
                <a:lnTo>
                  <a:pt x="302" y="797"/>
                </a:lnTo>
                <a:lnTo>
                  <a:pt x="302" y="797"/>
                </a:lnTo>
                <a:lnTo>
                  <a:pt x="302" y="827"/>
                </a:lnTo>
                <a:lnTo>
                  <a:pt x="303" y="855"/>
                </a:lnTo>
                <a:lnTo>
                  <a:pt x="304" y="879"/>
                </a:lnTo>
                <a:lnTo>
                  <a:pt x="307" y="901"/>
                </a:lnTo>
                <a:lnTo>
                  <a:pt x="312" y="920"/>
                </a:lnTo>
                <a:lnTo>
                  <a:pt x="316" y="937"/>
                </a:lnTo>
                <a:lnTo>
                  <a:pt x="323" y="951"/>
                </a:lnTo>
                <a:lnTo>
                  <a:pt x="326" y="957"/>
                </a:lnTo>
                <a:lnTo>
                  <a:pt x="330" y="962"/>
                </a:lnTo>
                <a:lnTo>
                  <a:pt x="335" y="967"/>
                </a:lnTo>
                <a:lnTo>
                  <a:pt x="340" y="972"/>
                </a:lnTo>
                <a:lnTo>
                  <a:pt x="345" y="977"/>
                </a:lnTo>
                <a:lnTo>
                  <a:pt x="351" y="981"/>
                </a:lnTo>
                <a:lnTo>
                  <a:pt x="365" y="987"/>
                </a:lnTo>
                <a:lnTo>
                  <a:pt x="380" y="991"/>
                </a:lnTo>
                <a:lnTo>
                  <a:pt x="397" y="995"/>
                </a:lnTo>
                <a:lnTo>
                  <a:pt x="418" y="997"/>
                </a:lnTo>
                <a:lnTo>
                  <a:pt x="440" y="998"/>
                </a:lnTo>
                <a:lnTo>
                  <a:pt x="466" y="999"/>
                </a:lnTo>
                <a:lnTo>
                  <a:pt x="466" y="1035"/>
                </a:lnTo>
                <a:lnTo>
                  <a:pt x="0" y="1035"/>
                </a:lnTo>
                <a:lnTo>
                  <a:pt x="0" y="999"/>
                </a:lnTo>
                <a:close/>
                <a:moveTo>
                  <a:pt x="454" y="519"/>
                </a:moveTo>
                <a:lnTo>
                  <a:pt x="454" y="519"/>
                </a:lnTo>
                <a:lnTo>
                  <a:pt x="481" y="517"/>
                </a:lnTo>
                <a:lnTo>
                  <a:pt x="494" y="516"/>
                </a:lnTo>
                <a:lnTo>
                  <a:pt x="507" y="514"/>
                </a:lnTo>
                <a:lnTo>
                  <a:pt x="518" y="512"/>
                </a:lnTo>
                <a:lnTo>
                  <a:pt x="529" y="509"/>
                </a:lnTo>
                <a:lnTo>
                  <a:pt x="541" y="505"/>
                </a:lnTo>
                <a:lnTo>
                  <a:pt x="552" y="501"/>
                </a:lnTo>
                <a:lnTo>
                  <a:pt x="561" y="497"/>
                </a:lnTo>
                <a:lnTo>
                  <a:pt x="571" y="492"/>
                </a:lnTo>
                <a:lnTo>
                  <a:pt x="580" y="486"/>
                </a:lnTo>
                <a:lnTo>
                  <a:pt x="589" y="481"/>
                </a:lnTo>
                <a:lnTo>
                  <a:pt x="605" y="467"/>
                </a:lnTo>
                <a:lnTo>
                  <a:pt x="619" y="452"/>
                </a:lnTo>
                <a:lnTo>
                  <a:pt x="633" y="437"/>
                </a:lnTo>
                <a:lnTo>
                  <a:pt x="643" y="418"/>
                </a:lnTo>
                <a:lnTo>
                  <a:pt x="652" y="400"/>
                </a:lnTo>
                <a:lnTo>
                  <a:pt x="660" y="380"/>
                </a:lnTo>
                <a:lnTo>
                  <a:pt x="665" y="359"/>
                </a:lnTo>
                <a:lnTo>
                  <a:pt x="669" y="338"/>
                </a:lnTo>
                <a:lnTo>
                  <a:pt x="672" y="315"/>
                </a:lnTo>
                <a:lnTo>
                  <a:pt x="672" y="291"/>
                </a:lnTo>
                <a:lnTo>
                  <a:pt x="672" y="291"/>
                </a:lnTo>
                <a:lnTo>
                  <a:pt x="672" y="268"/>
                </a:lnTo>
                <a:lnTo>
                  <a:pt x="669" y="245"/>
                </a:lnTo>
                <a:lnTo>
                  <a:pt x="665" y="224"/>
                </a:lnTo>
                <a:lnTo>
                  <a:pt x="660" y="204"/>
                </a:lnTo>
                <a:lnTo>
                  <a:pt x="652" y="183"/>
                </a:lnTo>
                <a:lnTo>
                  <a:pt x="643" y="165"/>
                </a:lnTo>
                <a:lnTo>
                  <a:pt x="633" y="147"/>
                </a:lnTo>
                <a:lnTo>
                  <a:pt x="619" y="131"/>
                </a:lnTo>
                <a:lnTo>
                  <a:pt x="605" y="117"/>
                </a:lnTo>
                <a:lnTo>
                  <a:pt x="589" y="103"/>
                </a:lnTo>
                <a:lnTo>
                  <a:pt x="580" y="97"/>
                </a:lnTo>
                <a:lnTo>
                  <a:pt x="571" y="91"/>
                </a:lnTo>
                <a:lnTo>
                  <a:pt x="561" y="86"/>
                </a:lnTo>
                <a:lnTo>
                  <a:pt x="552" y="82"/>
                </a:lnTo>
                <a:lnTo>
                  <a:pt x="541" y="78"/>
                </a:lnTo>
                <a:lnTo>
                  <a:pt x="529" y="74"/>
                </a:lnTo>
                <a:lnTo>
                  <a:pt x="518" y="71"/>
                </a:lnTo>
                <a:lnTo>
                  <a:pt x="507" y="69"/>
                </a:lnTo>
                <a:lnTo>
                  <a:pt x="494" y="67"/>
                </a:lnTo>
                <a:lnTo>
                  <a:pt x="481" y="65"/>
                </a:lnTo>
                <a:lnTo>
                  <a:pt x="468" y="63"/>
                </a:lnTo>
                <a:lnTo>
                  <a:pt x="454" y="63"/>
                </a:lnTo>
                <a:lnTo>
                  <a:pt x="302" y="63"/>
                </a:lnTo>
                <a:lnTo>
                  <a:pt x="302" y="519"/>
                </a:lnTo>
                <a:lnTo>
                  <a:pt x="454" y="519"/>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74" name="Freeform 25">
            <a:extLst>
              <a:ext uri="{FF2B5EF4-FFF2-40B4-BE49-F238E27FC236}">
                <a16:creationId xmlns:a16="http://schemas.microsoft.com/office/drawing/2014/main" id="{FA661C93-19C4-494A-8C2E-93A472BDE956}"/>
              </a:ext>
            </a:extLst>
          </p:cNvPr>
          <p:cNvSpPr>
            <a:spLocks noEditPoints="1"/>
          </p:cNvSpPr>
          <p:nvPr userDrawn="1"/>
        </p:nvSpPr>
        <p:spPr bwMode="auto">
          <a:xfrm>
            <a:off x="2411415" y="1103313"/>
            <a:ext cx="157163" cy="192088"/>
          </a:xfrm>
          <a:custGeom>
            <a:avLst/>
            <a:gdLst>
              <a:gd name="T0" fmla="*/ 48 w 1195"/>
              <a:gd name="T1" fmla="*/ 1411 h 1449"/>
              <a:gd name="T2" fmla="*/ 115 w 1195"/>
              <a:gd name="T3" fmla="*/ 1397 h 1449"/>
              <a:gd name="T4" fmla="*/ 157 w 1195"/>
              <a:gd name="T5" fmla="*/ 1363 h 1449"/>
              <a:gd name="T6" fmla="*/ 188 w 1195"/>
              <a:gd name="T7" fmla="*/ 1304 h 1449"/>
              <a:gd name="T8" fmla="*/ 990 w 1195"/>
              <a:gd name="T9" fmla="*/ 1263 h 1449"/>
              <a:gd name="T10" fmla="*/ 1025 w 1195"/>
              <a:gd name="T11" fmla="*/ 1337 h 1449"/>
              <a:gd name="T12" fmla="*/ 1059 w 1195"/>
              <a:gd name="T13" fmla="*/ 1383 h 1449"/>
              <a:gd name="T14" fmla="*/ 1111 w 1195"/>
              <a:gd name="T15" fmla="*/ 1406 h 1449"/>
              <a:gd name="T16" fmla="*/ 1195 w 1195"/>
              <a:gd name="T17" fmla="*/ 1413 h 1449"/>
              <a:gd name="T18" fmla="*/ 718 w 1195"/>
              <a:gd name="T19" fmla="*/ 1413 h 1449"/>
              <a:gd name="T20" fmla="*/ 805 w 1195"/>
              <a:gd name="T21" fmla="*/ 1406 h 1449"/>
              <a:gd name="T22" fmla="*/ 854 w 1195"/>
              <a:gd name="T23" fmla="*/ 1382 h 1449"/>
              <a:gd name="T24" fmla="*/ 868 w 1195"/>
              <a:gd name="T25" fmla="*/ 1342 h 1449"/>
              <a:gd name="T26" fmla="*/ 852 w 1195"/>
              <a:gd name="T27" fmla="*/ 1281 h 1449"/>
              <a:gd name="T28" fmla="*/ 269 w 1195"/>
              <a:gd name="T29" fmla="*/ 1281 h 1449"/>
              <a:gd name="T30" fmla="*/ 253 w 1195"/>
              <a:gd name="T31" fmla="*/ 1341 h 1449"/>
              <a:gd name="T32" fmla="*/ 267 w 1195"/>
              <a:gd name="T33" fmla="*/ 1382 h 1449"/>
              <a:gd name="T34" fmla="*/ 316 w 1195"/>
              <a:gd name="T35" fmla="*/ 1405 h 1449"/>
              <a:gd name="T36" fmla="*/ 404 w 1195"/>
              <a:gd name="T37" fmla="*/ 1413 h 1449"/>
              <a:gd name="T38" fmla="*/ 740 w 1195"/>
              <a:gd name="T39" fmla="*/ 1027 h 1449"/>
              <a:gd name="T40" fmla="*/ 450 w 1195"/>
              <a:gd name="T41" fmla="*/ 141 h 1449"/>
              <a:gd name="T42" fmla="*/ 456 w 1195"/>
              <a:gd name="T43" fmla="*/ 99 h 1449"/>
              <a:gd name="T44" fmla="*/ 482 w 1195"/>
              <a:gd name="T45" fmla="*/ 51 h 1449"/>
              <a:gd name="T46" fmla="*/ 524 w 1195"/>
              <a:gd name="T47" fmla="*/ 17 h 1449"/>
              <a:gd name="T48" fmla="*/ 577 w 1195"/>
              <a:gd name="T49" fmla="*/ 1 h 1449"/>
              <a:gd name="T50" fmla="*/ 621 w 1195"/>
              <a:gd name="T51" fmla="*/ 3 h 1449"/>
              <a:gd name="T52" fmla="*/ 672 w 1195"/>
              <a:gd name="T53" fmla="*/ 25 h 1449"/>
              <a:gd name="T54" fmla="*/ 711 w 1195"/>
              <a:gd name="T55" fmla="*/ 62 h 1449"/>
              <a:gd name="T56" fmla="*/ 732 w 1195"/>
              <a:gd name="T57" fmla="*/ 112 h 1449"/>
              <a:gd name="T58" fmla="*/ 734 w 1195"/>
              <a:gd name="T59" fmla="*/ 156 h 1449"/>
              <a:gd name="T60" fmla="*/ 718 w 1195"/>
              <a:gd name="T61" fmla="*/ 210 h 1449"/>
              <a:gd name="T62" fmla="*/ 683 w 1195"/>
              <a:gd name="T63" fmla="*/ 252 h 1449"/>
              <a:gd name="T64" fmla="*/ 634 w 1195"/>
              <a:gd name="T65" fmla="*/ 278 h 1449"/>
              <a:gd name="T66" fmla="*/ 591 w 1195"/>
              <a:gd name="T67" fmla="*/ 284 h 1449"/>
              <a:gd name="T68" fmla="*/ 536 w 1195"/>
              <a:gd name="T69" fmla="*/ 273 h 1449"/>
              <a:gd name="T70" fmla="*/ 491 w 1195"/>
              <a:gd name="T71" fmla="*/ 242 h 1449"/>
              <a:gd name="T72" fmla="*/ 461 w 1195"/>
              <a:gd name="T73" fmla="*/ 197 h 1449"/>
              <a:gd name="T74" fmla="*/ 450 w 1195"/>
              <a:gd name="T75" fmla="*/ 141 h 1449"/>
              <a:gd name="T76" fmla="*/ 671 w 1195"/>
              <a:gd name="T77" fmla="*/ 133 h 1449"/>
              <a:gd name="T78" fmla="*/ 662 w 1195"/>
              <a:gd name="T79" fmla="*/ 104 h 1449"/>
              <a:gd name="T80" fmla="*/ 642 w 1195"/>
              <a:gd name="T81" fmla="*/ 82 h 1449"/>
              <a:gd name="T82" fmla="*/ 615 w 1195"/>
              <a:gd name="T83" fmla="*/ 67 h 1449"/>
              <a:gd name="T84" fmla="*/ 591 w 1195"/>
              <a:gd name="T85" fmla="*/ 63 h 1449"/>
              <a:gd name="T86" fmla="*/ 562 w 1195"/>
              <a:gd name="T87" fmla="*/ 70 h 1449"/>
              <a:gd name="T88" fmla="*/ 536 w 1195"/>
              <a:gd name="T89" fmla="*/ 86 h 1449"/>
              <a:gd name="T90" fmla="*/ 519 w 1195"/>
              <a:gd name="T91" fmla="*/ 111 h 1449"/>
              <a:gd name="T92" fmla="*/ 512 w 1195"/>
              <a:gd name="T93" fmla="*/ 141 h 1449"/>
              <a:gd name="T94" fmla="*/ 516 w 1195"/>
              <a:gd name="T95" fmla="*/ 165 h 1449"/>
              <a:gd name="T96" fmla="*/ 531 w 1195"/>
              <a:gd name="T97" fmla="*/ 191 h 1449"/>
              <a:gd name="T98" fmla="*/ 554 w 1195"/>
              <a:gd name="T99" fmla="*/ 211 h 1449"/>
              <a:gd name="T100" fmla="*/ 584 w 1195"/>
              <a:gd name="T101" fmla="*/ 220 h 1449"/>
              <a:gd name="T102" fmla="*/ 608 w 1195"/>
              <a:gd name="T103" fmla="*/ 219 h 1449"/>
              <a:gd name="T104" fmla="*/ 636 w 1195"/>
              <a:gd name="T105" fmla="*/ 207 h 1449"/>
              <a:gd name="T106" fmla="*/ 658 w 1195"/>
              <a:gd name="T107" fmla="*/ 185 h 1449"/>
              <a:gd name="T108" fmla="*/ 669 w 1195"/>
              <a:gd name="T109" fmla="*/ 157 h 1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95" h="1449">
                <a:moveTo>
                  <a:pt x="0" y="1413"/>
                </a:moveTo>
                <a:lnTo>
                  <a:pt x="0" y="1413"/>
                </a:lnTo>
                <a:lnTo>
                  <a:pt x="26" y="1412"/>
                </a:lnTo>
                <a:lnTo>
                  <a:pt x="48" y="1411"/>
                </a:lnTo>
                <a:lnTo>
                  <a:pt x="69" y="1409"/>
                </a:lnTo>
                <a:lnTo>
                  <a:pt x="86" y="1406"/>
                </a:lnTo>
                <a:lnTo>
                  <a:pt x="101" y="1402"/>
                </a:lnTo>
                <a:lnTo>
                  <a:pt x="115" y="1397"/>
                </a:lnTo>
                <a:lnTo>
                  <a:pt x="127" y="1391"/>
                </a:lnTo>
                <a:lnTo>
                  <a:pt x="138" y="1383"/>
                </a:lnTo>
                <a:lnTo>
                  <a:pt x="147" y="1374"/>
                </a:lnTo>
                <a:lnTo>
                  <a:pt x="157" y="1363"/>
                </a:lnTo>
                <a:lnTo>
                  <a:pt x="165" y="1351"/>
                </a:lnTo>
                <a:lnTo>
                  <a:pt x="172" y="1337"/>
                </a:lnTo>
                <a:lnTo>
                  <a:pt x="180" y="1321"/>
                </a:lnTo>
                <a:lnTo>
                  <a:pt x="188" y="1304"/>
                </a:lnTo>
                <a:lnTo>
                  <a:pt x="207" y="1263"/>
                </a:lnTo>
                <a:lnTo>
                  <a:pt x="586" y="384"/>
                </a:lnTo>
                <a:lnTo>
                  <a:pt x="609" y="384"/>
                </a:lnTo>
                <a:lnTo>
                  <a:pt x="990" y="1263"/>
                </a:lnTo>
                <a:lnTo>
                  <a:pt x="990" y="1263"/>
                </a:lnTo>
                <a:lnTo>
                  <a:pt x="1008" y="1304"/>
                </a:lnTo>
                <a:lnTo>
                  <a:pt x="1017" y="1321"/>
                </a:lnTo>
                <a:lnTo>
                  <a:pt x="1025" y="1337"/>
                </a:lnTo>
                <a:lnTo>
                  <a:pt x="1033" y="1351"/>
                </a:lnTo>
                <a:lnTo>
                  <a:pt x="1041" y="1363"/>
                </a:lnTo>
                <a:lnTo>
                  <a:pt x="1049" y="1374"/>
                </a:lnTo>
                <a:lnTo>
                  <a:pt x="1059" y="1383"/>
                </a:lnTo>
                <a:lnTo>
                  <a:pt x="1070" y="1391"/>
                </a:lnTo>
                <a:lnTo>
                  <a:pt x="1082" y="1397"/>
                </a:lnTo>
                <a:lnTo>
                  <a:pt x="1095" y="1402"/>
                </a:lnTo>
                <a:lnTo>
                  <a:pt x="1111" y="1406"/>
                </a:lnTo>
                <a:lnTo>
                  <a:pt x="1128" y="1409"/>
                </a:lnTo>
                <a:lnTo>
                  <a:pt x="1147" y="1411"/>
                </a:lnTo>
                <a:lnTo>
                  <a:pt x="1170" y="1412"/>
                </a:lnTo>
                <a:lnTo>
                  <a:pt x="1195" y="1413"/>
                </a:lnTo>
                <a:lnTo>
                  <a:pt x="1195" y="1449"/>
                </a:lnTo>
                <a:lnTo>
                  <a:pt x="718" y="1449"/>
                </a:lnTo>
                <a:lnTo>
                  <a:pt x="718" y="1413"/>
                </a:lnTo>
                <a:lnTo>
                  <a:pt x="718" y="1413"/>
                </a:lnTo>
                <a:lnTo>
                  <a:pt x="744" y="1412"/>
                </a:lnTo>
                <a:lnTo>
                  <a:pt x="766" y="1411"/>
                </a:lnTo>
                <a:lnTo>
                  <a:pt x="786" y="1409"/>
                </a:lnTo>
                <a:lnTo>
                  <a:pt x="805" y="1406"/>
                </a:lnTo>
                <a:lnTo>
                  <a:pt x="820" y="1402"/>
                </a:lnTo>
                <a:lnTo>
                  <a:pt x="834" y="1397"/>
                </a:lnTo>
                <a:lnTo>
                  <a:pt x="845" y="1390"/>
                </a:lnTo>
                <a:lnTo>
                  <a:pt x="854" y="1382"/>
                </a:lnTo>
                <a:lnTo>
                  <a:pt x="861" y="1374"/>
                </a:lnTo>
                <a:lnTo>
                  <a:pt x="865" y="1365"/>
                </a:lnTo>
                <a:lnTo>
                  <a:pt x="868" y="1354"/>
                </a:lnTo>
                <a:lnTo>
                  <a:pt x="868" y="1342"/>
                </a:lnTo>
                <a:lnTo>
                  <a:pt x="867" y="1329"/>
                </a:lnTo>
                <a:lnTo>
                  <a:pt x="864" y="1315"/>
                </a:lnTo>
                <a:lnTo>
                  <a:pt x="859" y="1299"/>
                </a:lnTo>
                <a:lnTo>
                  <a:pt x="852" y="1281"/>
                </a:lnTo>
                <a:lnTo>
                  <a:pt x="769" y="1090"/>
                </a:lnTo>
                <a:lnTo>
                  <a:pt x="352" y="1090"/>
                </a:lnTo>
                <a:lnTo>
                  <a:pt x="269" y="1281"/>
                </a:lnTo>
                <a:lnTo>
                  <a:pt x="269" y="1281"/>
                </a:lnTo>
                <a:lnTo>
                  <a:pt x="262" y="1299"/>
                </a:lnTo>
                <a:lnTo>
                  <a:pt x="257" y="1314"/>
                </a:lnTo>
                <a:lnTo>
                  <a:pt x="254" y="1328"/>
                </a:lnTo>
                <a:lnTo>
                  <a:pt x="253" y="1341"/>
                </a:lnTo>
                <a:lnTo>
                  <a:pt x="253" y="1353"/>
                </a:lnTo>
                <a:lnTo>
                  <a:pt x="256" y="1364"/>
                </a:lnTo>
                <a:lnTo>
                  <a:pt x="260" y="1373"/>
                </a:lnTo>
                <a:lnTo>
                  <a:pt x="267" y="1382"/>
                </a:lnTo>
                <a:lnTo>
                  <a:pt x="276" y="1390"/>
                </a:lnTo>
                <a:lnTo>
                  <a:pt x="287" y="1396"/>
                </a:lnTo>
                <a:lnTo>
                  <a:pt x="301" y="1401"/>
                </a:lnTo>
                <a:lnTo>
                  <a:pt x="316" y="1405"/>
                </a:lnTo>
                <a:lnTo>
                  <a:pt x="335" y="1409"/>
                </a:lnTo>
                <a:lnTo>
                  <a:pt x="355" y="1411"/>
                </a:lnTo>
                <a:lnTo>
                  <a:pt x="378" y="1412"/>
                </a:lnTo>
                <a:lnTo>
                  <a:pt x="404" y="1413"/>
                </a:lnTo>
                <a:lnTo>
                  <a:pt x="404" y="1449"/>
                </a:lnTo>
                <a:lnTo>
                  <a:pt x="0" y="1449"/>
                </a:lnTo>
                <a:lnTo>
                  <a:pt x="0" y="1413"/>
                </a:lnTo>
                <a:close/>
                <a:moveTo>
                  <a:pt x="740" y="1027"/>
                </a:moveTo>
                <a:lnTo>
                  <a:pt x="558" y="610"/>
                </a:lnTo>
                <a:lnTo>
                  <a:pt x="380" y="1027"/>
                </a:lnTo>
                <a:lnTo>
                  <a:pt x="740" y="1027"/>
                </a:lnTo>
                <a:close/>
                <a:moveTo>
                  <a:pt x="450" y="141"/>
                </a:moveTo>
                <a:lnTo>
                  <a:pt x="450" y="141"/>
                </a:lnTo>
                <a:lnTo>
                  <a:pt x="451" y="127"/>
                </a:lnTo>
                <a:lnTo>
                  <a:pt x="453" y="112"/>
                </a:lnTo>
                <a:lnTo>
                  <a:pt x="456" y="99"/>
                </a:lnTo>
                <a:lnTo>
                  <a:pt x="461" y="87"/>
                </a:lnTo>
                <a:lnTo>
                  <a:pt x="467" y="74"/>
                </a:lnTo>
                <a:lnTo>
                  <a:pt x="474" y="62"/>
                </a:lnTo>
                <a:lnTo>
                  <a:pt x="482" y="51"/>
                </a:lnTo>
                <a:lnTo>
                  <a:pt x="491" y="42"/>
                </a:lnTo>
                <a:lnTo>
                  <a:pt x="501" y="33"/>
                </a:lnTo>
                <a:lnTo>
                  <a:pt x="512" y="25"/>
                </a:lnTo>
                <a:lnTo>
                  <a:pt x="524" y="17"/>
                </a:lnTo>
                <a:lnTo>
                  <a:pt x="536" y="11"/>
                </a:lnTo>
                <a:lnTo>
                  <a:pt x="549" y="6"/>
                </a:lnTo>
                <a:lnTo>
                  <a:pt x="563" y="3"/>
                </a:lnTo>
                <a:lnTo>
                  <a:pt x="577" y="1"/>
                </a:lnTo>
                <a:lnTo>
                  <a:pt x="591" y="0"/>
                </a:lnTo>
                <a:lnTo>
                  <a:pt x="591" y="0"/>
                </a:lnTo>
                <a:lnTo>
                  <a:pt x="607" y="1"/>
                </a:lnTo>
                <a:lnTo>
                  <a:pt x="621" y="3"/>
                </a:lnTo>
                <a:lnTo>
                  <a:pt x="634" y="6"/>
                </a:lnTo>
                <a:lnTo>
                  <a:pt x="647" y="11"/>
                </a:lnTo>
                <a:lnTo>
                  <a:pt x="660" y="17"/>
                </a:lnTo>
                <a:lnTo>
                  <a:pt x="672" y="25"/>
                </a:lnTo>
                <a:lnTo>
                  <a:pt x="683" y="33"/>
                </a:lnTo>
                <a:lnTo>
                  <a:pt x="693" y="42"/>
                </a:lnTo>
                <a:lnTo>
                  <a:pt x="703" y="51"/>
                </a:lnTo>
                <a:lnTo>
                  <a:pt x="711" y="62"/>
                </a:lnTo>
                <a:lnTo>
                  <a:pt x="718" y="74"/>
                </a:lnTo>
                <a:lnTo>
                  <a:pt x="724" y="87"/>
                </a:lnTo>
                <a:lnTo>
                  <a:pt x="728" y="99"/>
                </a:lnTo>
                <a:lnTo>
                  <a:pt x="732" y="112"/>
                </a:lnTo>
                <a:lnTo>
                  <a:pt x="734" y="127"/>
                </a:lnTo>
                <a:lnTo>
                  <a:pt x="735" y="141"/>
                </a:lnTo>
                <a:lnTo>
                  <a:pt x="735" y="141"/>
                </a:lnTo>
                <a:lnTo>
                  <a:pt x="734" y="156"/>
                </a:lnTo>
                <a:lnTo>
                  <a:pt x="732" y="170"/>
                </a:lnTo>
                <a:lnTo>
                  <a:pt x="728" y="184"/>
                </a:lnTo>
                <a:lnTo>
                  <a:pt x="724" y="197"/>
                </a:lnTo>
                <a:lnTo>
                  <a:pt x="718" y="210"/>
                </a:lnTo>
                <a:lnTo>
                  <a:pt x="711" y="222"/>
                </a:lnTo>
                <a:lnTo>
                  <a:pt x="703" y="232"/>
                </a:lnTo>
                <a:lnTo>
                  <a:pt x="693" y="242"/>
                </a:lnTo>
                <a:lnTo>
                  <a:pt x="683" y="252"/>
                </a:lnTo>
                <a:lnTo>
                  <a:pt x="672" y="260"/>
                </a:lnTo>
                <a:lnTo>
                  <a:pt x="660" y="267"/>
                </a:lnTo>
                <a:lnTo>
                  <a:pt x="647" y="273"/>
                </a:lnTo>
                <a:lnTo>
                  <a:pt x="634" y="278"/>
                </a:lnTo>
                <a:lnTo>
                  <a:pt x="621" y="281"/>
                </a:lnTo>
                <a:lnTo>
                  <a:pt x="607" y="284"/>
                </a:lnTo>
                <a:lnTo>
                  <a:pt x="591" y="284"/>
                </a:lnTo>
                <a:lnTo>
                  <a:pt x="591" y="284"/>
                </a:lnTo>
                <a:lnTo>
                  <a:pt x="577" y="284"/>
                </a:lnTo>
                <a:lnTo>
                  <a:pt x="563" y="281"/>
                </a:lnTo>
                <a:lnTo>
                  <a:pt x="549" y="278"/>
                </a:lnTo>
                <a:lnTo>
                  <a:pt x="536" y="273"/>
                </a:lnTo>
                <a:lnTo>
                  <a:pt x="524" y="267"/>
                </a:lnTo>
                <a:lnTo>
                  <a:pt x="512" y="260"/>
                </a:lnTo>
                <a:lnTo>
                  <a:pt x="501" y="252"/>
                </a:lnTo>
                <a:lnTo>
                  <a:pt x="491" y="242"/>
                </a:lnTo>
                <a:lnTo>
                  <a:pt x="482" y="232"/>
                </a:lnTo>
                <a:lnTo>
                  <a:pt x="474" y="222"/>
                </a:lnTo>
                <a:lnTo>
                  <a:pt x="467" y="210"/>
                </a:lnTo>
                <a:lnTo>
                  <a:pt x="461" y="197"/>
                </a:lnTo>
                <a:lnTo>
                  <a:pt x="456" y="184"/>
                </a:lnTo>
                <a:lnTo>
                  <a:pt x="453" y="170"/>
                </a:lnTo>
                <a:lnTo>
                  <a:pt x="451" y="156"/>
                </a:lnTo>
                <a:lnTo>
                  <a:pt x="450" y="141"/>
                </a:lnTo>
                <a:lnTo>
                  <a:pt x="450" y="141"/>
                </a:lnTo>
                <a:close/>
                <a:moveTo>
                  <a:pt x="671" y="141"/>
                </a:moveTo>
                <a:lnTo>
                  <a:pt x="671" y="141"/>
                </a:lnTo>
                <a:lnTo>
                  <a:pt x="671" y="133"/>
                </a:lnTo>
                <a:lnTo>
                  <a:pt x="669" y="126"/>
                </a:lnTo>
                <a:lnTo>
                  <a:pt x="668" y="119"/>
                </a:lnTo>
                <a:lnTo>
                  <a:pt x="665" y="111"/>
                </a:lnTo>
                <a:lnTo>
                  <a:pt x="662" y="104"/>
                </a:lnTo>
                <a:lnTo>
                  <a:pt x="658" y="98"/>
                </a:lnTo>
                <a:lnTo>
                  <a:pt x="653" y="92"/>
                </a:lnTo>
                <a:lnTo>
                  <a:pt x="647" y="86"/>
                </a:lnTo>
                <a:lnTo>
                  <a:pt x="642" y="82"/>
                </a:lnTo>
                <a:lnTo>
                  <a:pt x="636" y="77"/>
                </a:lnTo>
                <a:lnTo>
                  <a:pt x="629" y="73"/>
                </a:lnTo>
                <a:lnTo>
                  <a:pt x="622" y="70"/>
                </a:lnTo>
                <a:lnTo>
                  <a:pt x="615" y="67"/>
                </a:lnTo>
                <a:lnTo>
                  <a:pt x="608" y="65"/>
                </a:lnTo>
                <a:lnTo>
                  <a:pt x="599" y="64"/>
                </a:lnTo>
                <a:lnTo>
                  <a:pt x="591" y="63"/>
                </a:lnTo>
                <a:lnTo>
                  <a:pt x="591" y="63"/>
                </a:lnTo>
                <a:lnTo>
                  <a:pt x="584" y="64"/>
                </a:lnTo>
                <a:lnTo>
                  <a:pt x="576" y="65"/>
                </a:lnTo>
                <a:lnTo>
                  <a:pt x="569" y="67"/>
                </a:lnTo>
                <a:lnTo>
                  <a:pt x="562" y="70"/>
                </a:lnTo>
                <a:lnTo>
                  <a:pt x="554" y="73"/>
                </a:lnTo>
                <a:lnTo>
                  <a:pt x="547" y="77"/>
                </a:lnTo>
                <a:lnTo>
                  <a:pt x="541" y="82"/>
                </a:lnTo>
                <a:lnTo>
                  <a:pt x="536" y="86"/>
                </a:lnTo>
                <a:lnTo>
                  <a:pt x="531" y="92"/>
                </a:lnTo>
                <a:lnTo>
                  <a:pt x="526" y="98"/>
                </a:lnTo>
                <a:lnTo>
                  <a:pt x="522" y="104"/>
                </a:lnTo>
                <a:lnTo>
                  <a:pt x="519" y="111"/>
                </a:lnTo>
                <a:lnTo>
                  <a:pt x="516" y="119"/>
                </a:lnTo>
                <a:lnTo>
                  <a:pt x="513" y="126"/>
                </a:lnTo>
                <a:lnTo>
                  <a:pt x="512" y="133"/>
                </a:lnTo>
                <a:lnTo>
                  <a:pt x="512" y="141"/>
                </a:lnTo>
                <a:lnTo>
                  <a:pt x="512" y="141"/>
                </a:lnTo>
                <a:lnTo>
                  <a:pt x="512" y="149"/>
                </a:lnTo>
                <a:lnTo>
                  <a:pt x="513" y="157"/>
                </a:lnTo>
                <a:lnTo>
                  <a:pt x="516" y="165"/>
                </a:lnTo>
                <a:lnTo>
                  <a:pt x="519" y="172"/>
                </a:lnTo>
                <a:lnTo>
                  <a:pt x="522" y="179"/>
                </a:lnTo>
                <a:lnTo>
                  <a:pt x="526" y="185"/>
                </a:lnTo>
                <a:lnTo>
                  <a:pt x="531" y="191"/>
                </a:lnTo>
                <a:lnTo>
                  <a:pt x="536" y="197"/>
                </a:lnTo>
                <a:lnTo>
                  <a:pt x="541" y="202"/>
                </a:lnTo>
                <a:lnTo>
                  <a:pt x="547" y="207"/>
                </a:lnTo>
                <a:lnTo>
                  <a:pt x="554" y="211"/>
                </a:lnTo>
                <a:lnTo>
                  <a:pt x="562" y="215"/>
                </a:lnTo>
                <a:lnTo>
                  <a:pt x="569" y="217"/>
                </a:lnTo>
                <a:lnTo>
                  <a:pt x="576" y="219"/>
                </a:lnTo>
                <a:lnTo>
                  <a:pt x="584" y="220"/>
                </a:lnTo>
                <a:lnTo>
                  <a:pt x="591" y="221"/>
                </a:lnTo>
                <a:lnTo>
                  <a:pt x="591" y="221"/>
                </a:lnTo>
                <a:lnTo>
                  <a:pt x="599" y="220"/>
                </a:lnTo>
                <a:lnTo>
                  <a:pt x="608" y="219"/>
                </a:lnTo>
                <a:lnTo>
                  <a:pt x="615" y="217"/>
                </a:lnTo>
                <a:lnTo>
                  <a:pt x="622" y="215"/>
                </a:lnTo>
                <a:lnTo>
                  <a:pt x="629" y="211"/>
                </a:lnTo>
                <a:lnTo>
                  <a:pt x="636" y="207"/>
                </a:lnTo>
                <a:lnTo>
                  <a:pt x="642" y="202"/>
                </a:lnTo>
                <a:lnTo>
                  <a:pt x="647" y="197"/>
                </a:lnTo>
                <a:lnTo>
                  <a:pt x="653" y="191"/>
                </a:lnTo>
                <a:lnTo>
                  <a:pt x="658" y="185"/>
                </a:lnTo>
                <a:lnTo>
                  <a:pt x="662" y="179"/>
                </a:lnTo>
                <a:lnTo>
                  <a:pt x="665" y="172"/>
                </a:lnTo>
                <a:lnTo>
                  <a:pt x="668" y="165"/>
                </a:lnTo>
                <a:lnTo>
                  <a:pt x="669" y="157"/>
                </a:lnTo>
                <a:lnTo>
                  <a:pt x="671" y="149"/>
                </a:lnTo>
                <a:lnTo>
                  <a:pt x="671" y="141"/>
                </a:lnTo>
                <a:lnTo>
                  <a:pt x="671" y="141"/>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75" name="Freeform 26">
            <a:extLst>
              <a:ext uri="{FF2B5EF4-FFF2-40B4-BE49-F238E27FC236}">
                <a16:creationId xmlns:a16="http://schemas.microsoft.com/office/drawing/2014/main" id="{9A29B5C2-6BCF-864E-A249-62F234E2F11F}"/>
              </a:ext>
            </a:extLst>
          </p:cNvPr>
          <p:cNvSpPr>
            <a:spLocks noEditPoints="1"/>
          </p:cNvSpPr>
          <p:nvPr userDrawn="1"/>
        </p:nvSpPr>
        <p:spPr bwMode="auto">
          <a:xfrm>
            <a:off x="2586040" y="1158878"/>
            <a:ext cx="138113" cy="136525"/>
          </a:xfrm>
          <a:custGeom>
            <a:avLst/>
            <a:gdLst>
              <a:gd name="T0" fmla="*/ 48 w 1043"/>
              <a:gd name="T1" fmla="*/ 997 h 1035"/>
              <a:gd name="T2" fmla="*/ 115 w 1043"/>
              <a:gd name="T3" fmla="*/ 981 h 1035"/>
              <a:gd name="T4" fmla="*/ 135 w 1043"/>
              <a:gd name="T5" fmla="*/ 962 h 1035"/>
              <a:gd name="T6" fmla="*/ 155 w 1043"/>
              <a:gd name="T7" fmla="*/ 920 h 1035"/>
              <a:gd name="T8" fmla="*/ 164 w 1043"/>
              <a:gd name="T9" fmla="*/ 827 h 1035"/>
              <a:gd name="T10" fmla="*/ 164 w 1043"/>
              <a:gd name="T11" fmla="*/ 206 h 1035"/>
              <a:gd name="T12" fmla="*/ 155 w 1043"/>
              <a:gd name="T13" fmla="*/ 114 h 1035"/>
              <a:gd name="T14" fmla="*/ 135 w 1043"/>
              <a:gd name="T15" fmla="*/ 72 h 1035"/>
              <a:gd name="T16" fmla="*/ 115 w 1043"/>
              <a:gd name="T17" fmla="*/ 54 h 1035"/>
              <a:gd name="T18" fmla="*/ 48 w 1043"/>
              <a:gd name="T19" fmla="*/ 38 h 1035"/>
              <a:gd name="T20" fmla="*/ 468 w 1043"/>
              <a:gd name="T21" fmla="*/ 0 h 1035"/>
              <a:gd name="T22" fmla="*/ 574 w 1043"/>
              <a:gd name="T23" fmla="*/ 6 h 1035"/>
              <a:gd name="T24" fmla="*/ 699 w 1043"/>
              <a:gd name="T25" fmla="*/ 32 h 1035"/>
              <a:gd name="T26" fmla="*/ 803 w 1043"/>
              <a:gd name="T27" fmla="*/ 75 h 1035"/>
              <a:gd name="T28" fmla="*/ 888 w 1043"/>
              <a:gd name="T29" fmla="*/ 135 h 1035"/>
              <a:gd name="T30" fmla="*/ 953 w 1043"/>
              <a:gd name="T31" fmla="*/ 209 h 1035"/>
              <a:gd name="T32" fmla="*/ 1001 w 1043"/>
              <a:gd name="T33" fmla="*/ 294 h 1035"/>
              <a:gd name="T34" fmla="*/ 1031 w 1043"/>
              <a:gd name="T35" fmla="*/ 389 h 1035"/>
              <a:gd name="T36" fmla="*/ 1043 w 1043"/>
              <a:gd name="T37" fmla="*/ 491 h 1035"/>
              <a:gd name="T38" fmla="*/ 1041 w 1043"/>
              <a:gd name="T39" fmla="*/ 570 h 1035"/>
              <a:gd name="T40" fmla="*/ 1025 w 1043"/>
              <a:gd name="T41" fmla="*/ 671 h 1035"/>
              <a:gd name="T42" fmla="*/ 991 w 1043"/>
              <a:gd name="T43" fmla="*/ 764 h 1035"/>
              <a:gd name="T44" fmla="*/ 939 w 1043"/>
              <a:gd name="T45" fmla="*/ 846 h 1035"/>
              <a:gd name="T46" fmla="*/ 868 w 1043"/>
              <a:gd name="T47" fmla="*/ 916 h 1035"/>
              <a:gd name="T48" fmla="*/ 779 w 1043"/>
              <a:gd name="T49" fmla="*/ 972 h 1035"/>
              <a:gd name="T50" fmla="*/ 670 w 1043"/>
              <a:gd name="T51" fmla="*/ 1011 h 1035"/>
              <a:gd name="T52" fmla="*/ 540 w 1043"/>
              <a:gd name="T53" fmla="*/ 1032 h 1035"/>
              <a:gd name="T54" fmla="*/ 0 w 1043"/>
              <a:gd name="T55" fmla="*/ 999 h 1035"/>
              <a:gd name="T56" fmla="*/ 529 w 1043"/>
              <a:gd name="T57" fmla="*/ 968 h 1035"/>
              <a:gd name="T58" fmla="*/ 631 w 1043"/>
              <a:gd name="T59" fmla="*/ 947 h 1035"/>
              <a:gd name="T60" fmla="*/ 713 w 1043"/>
              <a:gd name="T61" fmla="*/ 906 h 1035"/>
              <a:gd name="T62" fmla="*/ 775 w 1043"/>
              <a:gd name="T63" fmla="*/ 852 h 1035"/>
              <a:gd name="T64" fmla="*/ 820 w 1043"/>
              <a:gd name="T65" fmla="*/ 785 h 1035"/>
              <a:gd name="T66" fmla="*/ 851 w 1043"/>
              <a:gd name="T67" fmla="*/ 712 h 1035"/>
              <a:gd name="T68" fmla="*/ 869 w 1043"/>
              <a:gd name="T69" fmla="*/ 634 h 1035"/>
              <a:gd name="T70" fmla="*/ 878 w 1043"/>
              <a:gd name="T71" fmla="*/ 517 h 1035"/>
              <a:gd name="T72" fmla="*/ 865 w 1043"/>
              <a:gd name="T73" fmla="*/ 380 h 1035"/>
              <a:gd name="T74" fmla="*/ 845 w 1043"/>
              <a:gd name="T75" fmla="*/ 304 h 1035"/>
              <a:gd name="T76" fmla="*/ 810 w 1043"/>
              <a:gd name="T77" fmla="*/ 231 h 1035"/>
              <a:gd name="T78" fmla="*/ 761 w 1043"/>
              <a:gd name="T79" fmla="*/ 168 h 1035"/>
              <a:gd name="T80" fmla="*/ 695 w 1043"/>
              <a:gd name="T81" fmla="*/ 117 h 1035"/>
              <a:gd name="T82" fmla="*/ 608 w 1043"/>
              <a:gd name="T83" fmla="*/ 81 h 1035"/>
              <a:gd name="T84" fmla="*/ 500 w 1043"/>
              <a:gd name="T85" fmla="*/ 65 h 1035"/>
              <a:gd name="T86" fmla="*/ 302 w 1043"/>
              <a:gd name="T87" fmla="*/ 771 h 1035"/>
              <a:gd name="T88" fmla="*/ 307 w 1043"/>
              <a:gd name="T89" fmla="*/ 875 h 1035"/>
              <a:gd name="T90" fmla="*/ 324 w 1043"/>
              <a:gd name="T91" fmla="*/ 931 h 1035"/>
              <a:gd name="T92" fmla="*/ 344 w 1043"/>
              <a:gd name="T93" fmla="*/ 950 h 1035"/>
              <a:gd name="T94" fmla="*/ 395 w 1043"/>
              <a:gd name="T95" fmla="*/ 967 h 1035"/>
              <a:gd name="T96" fmla="*/ 469 w 1043"/>
              <a:gd name="T97" fmla="*/ 971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43" h="1035">
                <a:moveTo>
                  <a:pt x="0" y="999"/>
                </a:moveTo>
                <a:lnTo>
                  <a:pt x="0" y="999"/>
                </a:lnTo>
                <a:lnTo>
                  <a:pt x="25" y="998"/>
                </a:lnTo>
                <a:lnTo>
                  <a:pt x="48" y="997"/>
                </a:lnTo>
                <a:lnTo>
                  <a:pt x="68" y="995"/>
                </a:lnTo>
                <a:lnTo>
                  <a:pt x="86" y="991"/>
                </a:lnTo>
                <a:lnTo>
                  <a:pt x="102" y="987"/>
                </a:lnTo>
                <a:lnTo>
                  <a:pt x="115" y="981"/>
                </a:lnTo>
                <a:lnTo>
                  <a:pt x="121" y="977"/>
                </a:lnTo>
                <a:lnTo>
                  <a:pt x="126" y="972"/>
                </a:lnTo>
                <a:lnTo>
                  <a:pt x="131" y="967"/>
                </a:lnTo>
                <a:lnTo>
                  <a:pt x="135" y="962"/>
                </a:lnTo>
                <a:lnTo>
                  <a:pt x="139" y="957"/>
                </a:lnTo>
                <a:lnTo>
                  <a:pt x="143" y="951"/>
                </a:lnTo>
                <a:lnTo>
                  <a:pt x="150" y="937"/>
                </a:lnTo>
                <a:lnTo>
                  <a:pt x="155" y="920"/>
                </a:lnTo>
                <a:lnTo>
                  <a:pt x="158" y="901"/>
                </a:lnTo>
                <a:lnTo>
                  <a:pt x="161" y="879"/>
                </a:lnTo>
                <a:lnTo>
                  <a:pt x="163" y="855"/>
                </a:lnTo>
                <a:lnTo>
                  <a:pt x="164" y="827"/>
                </a:lnTo>
                <a:lnTo>
                  <a:pt x="164" y="797"/>
                </a:lnTo>
                <a:lnTo>
                  <a:pt x="164" y="236"/>
                </a:lnTo>
                <a:lnTo>
                  <a:pt x="164" y="236"/>
                </a:lnTo>
                <a:lnTo>
                  <a:pt x="164" y="206"/>
                </a:lnTo>
                <a:lnTo>
                  <a:pt x="163" y="178"/>
                </a:lnTo>
                <a:lnTo>
                  <a:pt x="161" y="153"/>
                </a:lnTo>
                <a:lnTo>
                  <a:pt x="158" y="132"/>
                </a:lnTo>
                <a:lnTo>
                  <a:pt x="155" y="114"/>
                </a:lnTo>
                <a:lnTo>
                  <a:pt x="150" y="97"/>
                </a:lnTo>
                <a:lnTo>
                  <a:pt x="143" y="83"/>
                </a:lnTo>
                <a:lnTo>
                  <a:pt x="139" y="77"/>
                </a:lnTo>
                <a:lnTo>
                  <a:pt x="135" y="72"/>
                </a:lnTo>
                <a:lnTo>
                  <a:pt x="131" y="67"/>
                </a:lnTo>
                <a:lnTo>
                  <a:pt x="126" y="61"/>
                </a:lnTo>
                <a:lnTo>
                  <a:pt x="121" y="57"/>
                </a:lnTo>
                <a:lnTo>
                  <a:pt x="115" y="54"/>
                </a:lnTo>
                <a:lnTo>
                  <a:pt x="102" y="48"/>
                </a:lnTo>
                <a:lnTo>
                  <a:pt x="86" y="43"/>
                </a:lnTo>
                <a:lnTo>
                  <a:pt x="68" y="40"/>
                </a:lnTo>
                <a:lnTo>
                  <a:pt x="48" y="38"/>
                </a:lnTo>
                <a:lnTo>
                  <a:pt x="25" y="37"/>
                </a:lnTo>
                <a:lnTo>
                  <a:pt x="0" y="36"/>
                </a:lnTo>
                <a:lnTo>
                  <a:pt x="0" y="0"/>
                </a:lnTo>
                <a:lnTo>
                  <a:pt x="468" y="0"/>
                </a:lnTo>
                <a:lnTo>
                  <a:pt x="468" y="0"/>
                </a:lnTo>
                <a:lnTo>
                  <a:pt x="504" y="0"/>
                </a:lnTo>
                <a:lnTo>
                  <a:pt x="540" y="2"/>
                </a:lnTo>
                <a:lnTo>
                  <a:pt x="574" y="6"/>
                </a:lnTo>
                <a:lnTo>
                  <a:pt x="608" y="10"/>
                </a:lnTo>
                <a:lnTo>
                  <a:pt x="639" y="16"/>
                </a:lnTo>
                <a:lnTo>
                  <a:pt x="670" y="24"/>
                </a:lnTo>
                <a:lnTo>
                  <a:pt x="699" y="32"/>
                </a:lnTo>
                <a:lnTo>
                  <a:pt x="727" y="41"/>
                </a:lnTo>
                <a:lnTo>
                  <a:pt x="754" y="51"/>
                </a:lnTo>
                <a:lnTo>
                  <a:pt x="779" y="62"/>
                </a:lnTo>
                <a:lnTo>
                  <a:pt x="803" y="75"/>
                </a:lnTo>
                <a:lnTo>
                  <a:pt x="827" y="88"/>
                </a:lnTo>
                <a:lnTo>
                  <a:pt x="848" y="103"/>
                </a:lnTo>
                <a:lnTo>
                  <a:pt x="868" y="119"/>
                </a:lnTo>
                <a:lnTo>
                  <a:pt x="888" y="135"/>
                </a:lnTo>
                <a:lnTo>
                  <a:pt x="906" y="151"/>
                </a:lnTo>
                <a:lnTo>
                  <a:pt x="924" y="170"/>
                </a:lnTo>
                <a:lnTo>
                  <a:pt x="939" y="188"/>
                </a:lnTo>
                <a:lnTo>
                  <a:pt x="953" y="209"/>
                </a:lnTo>
                <a:lnTo>
                  <a:pt x="968" y="228"/>
                </a:lnTo>
                <a:lnTo>
                  <a:pt x="980" y="250"/>
                </a:lnTo>
                <a:lnTo>
                  <a:pt x="991" y="271"/>
                </a:lnTo>
                <a:lnTo>
                  <a:pt x="1001" y="294"/>
                </a:lnTo>
                <a:lnTo>
                  <a:pt x="1010" y="316"/>
                </a:lnTo>
                <a:lnTo>
                  <a:pt x="1018" y="340"/>
                </a:lnTo>
                <a:lnTo>
                  <a:pt x="1025" y="364"/>
                </a:lnTo>
                <a:lnTo>
                  <a:pt x="1031" y="389"/>
                </a:lnTo>
                <a:lnTo>
                  <a:pt x="1035" y="413"/>
                </a:lnTo>
                <a:lnTo>
                  <a:pt x="1039" y="439"/>
                </a:lnTo>
                <a:lnTo>
                  <a:pt x="1041" y="464"/>
                </a:lnTo>
                <a:lnTo>
                  <a:pt x="1043" y="491"/>
                </a:lnTo>
                <a:lnTo>
                  <a:pt x="1043" y="517"/>
                </a:lnTo>
                <a:lnTo>
                  <a:pt x="1043" y="517"/>
                </a:lnTo>
                <a:lnTo>
                  <a:pt x="1043" y="544"/>
                </a:lnTo>
                <a:lnTo>
                  <a:pt x="1041" y="570"/>
                </a:lnTo>
                <a:lnTo>
                  <a:pt x="1039" y="596"/>
                </a:lnTo>
                <a:lnTo>
                  <a:pt x="1035" y="622"/>
                </a:lnTo>
                <a:lnTo>
                  <a:pt x="1031" y="646"/>
                </a:lnTo>
                <a:lnTo>
                  <a:pt x="1025" y="671"/>
                </a:lnTo>
                <a:lnTo>
                  <a:pt x="1018" y="694"/>
                </a:lnTo>
                <a:lnTo>
                  <a:pt x="1010" y="718"/>
                </a:lnTo>
                <a:lnTo>
                  <a:pt x="1001" y="741"/>
                </a:lnTo>
                <a:lnTo>
                  <a:pt x="991" y="764"/>
                </a:lnTo>
                <a:lnTo>
                  <a:pt x="980" y="785"/>
                </a:lnTo>
                <a:lnTo>
                  <a:pt x="968" y="806"/>
                </a:lnTo>
                <a:lnTo>
                  <a:pt x="953" y="826"/>
                </a:lnTo>
                <a:lnTo>
                  <a:pt x="939" y="846"/>
                </a:lnTo>
                <a:lnTo>
                  <a:pt x="924" y="865"/>
                </a:lnTo>
                <a:lnTo>
                  <a:pt x="906" y="882"/>
                </a:lnTo>
                <a:lnTo>
                  <a:pt x="888" y="900"/>
                </a:lnTo>
                <a:lnTo>
                  <a:pt x="868" y="916"/>
                </a:lnTo>
                <a:lnTo>
                  <a:pt x="848" y="932"/>
                </a:lnTo>
                <a:lnTo>
                  <a:pt x="827" y="946"/>
                </a:lnTo>
                <a:lnTo>
                  <a:pt x="803" y="959"/>
                </a:lnTo>
                <a:lnTo>
                  <a:pt x="779" y="972"/>
                </a:lnTo>
                <a:lnTo>
                  <a:pt x="754" y="984"/>
                </a:lnTo>
                <a:lnTo>
                  <a:pt x="727" y="994"/>
                </a:lnTo>
                <a:lnTo>
                  <a:pt x="699" y="1003"/>
                </a:lnTo>
                <a:lnTo>
                  <a:pt x="670" y="1011"/>
                </a:lnTo>
                <a:lnTo>
                  <a:pt x="639" y="1018"/>
                </a:lnTo>
                <a:lnTo>
                  <a:pt x="608" y="1025"/>
                </a:lnTo>
                <a:lnTo>
                  <a:pt x="574" y="1029"/>
                </a:lnTo>
                <a:lnTo>
                  <a:pt x="540" y="1032"/>
                </a:lnTo>
                <a:lnTo>
                  <a:pt x="504" y="1034"/>
                </a:lnTo>
                <a:lnTo>
                  <a:pt x="468" y="1035"/>
                </a:lnTo>
                <a:lnTo>
                  <a:pt x="0" y="1035"/>
                </a:lnTo>
                <a:lnTo>
                  <a:pt x="0" y="999"/>
                </a:lnTo>
                <a:close/>
                <a:moveTo>
                  <a:pt x="469" y="971"/>
                </a:moveTo>
                <a:lnTo>
                  <a:pt x="469" y="971"/>
                </a:lnTo>
                <a:lnTo>
                  <a:pt x="500" y="970"/>
                </a:lnTo>
                <a:lnTo>
                  <a:pt x="529" y="968"/>
                </a:lnTo>
                <a:lnTo>
                  <a:pt x="557" y="964"/>
                </a:lnTo>
                <a:lnTo>
                  <a:pt x="583" y="960"/>
                </a:lnTo>
                <a:lnTo>
                  <a:pt x="608" y="954"/>
                </a:lnTo>
                <a:lnTo>
                  <a:pt x="631" y="947"/>
                </a:lnTo>
                <a:lnTo>
                  <a:pt x="654" y="938"/>
                </a:lnTo>
                <a:lnTo>
                  <a:pt x="675" y="928"/>
                </a:lnTo>
                <a:lnTo>
                  <a:pt x="695" y="918"/>
                </a:lnTo>
                <a:lnTo>
                  <a:pt x="713" y="906"/>
                </a:lnTo>
                <a:lnTo>
                  <a:pt x="730" y="894"/>
                </a:lnTo>
                <a:lnTo>
                  <a:pt x="747" y="880"/>
                </a:lnTo>
                <a:lnTo>
                  <a:pt x="761" y="866"/>
                </a:lnTo>
                <a:lnTo>
                  <a:pt x="775" y="852"/>
                </a:lnTo>
                <a:lnTo>
                  <a:pt x="788" y="836"/>
                </a:lnTo>
                <a:lnTo>
                  <a:pt x="800" y="820"/>
                </a:lnTo>
                <a:lnTo>
                  <a:pt x="810" y="803"/>
                </a:lnTo>
                <a:lnTo>
                  <a:pt x="820" y="785"/>
                </a:lnTo>
                <a:lnTo>
                  <a:pt x="830" y="768"/>
                </a:lnTo>
                <a:lnTo>
                  <a:pt x="838" y="750"/>
                </a:lnTo>
                <a:lnTo>
                  <a:pt x="845" y="731"/>
                </a:lnTo>
                <a:lnTo>
                  <a:pt x="851" y="712"/>
                </a:lnTo>
                <a:lnTo>
                  <a:pt x="856" y="692"/>
                </a:lnTo>
                <a:lnTo>
                  <a:pt x="861" y="673"/>
                </a:lnTo>
                <a:lnTo>
                  <a:pt x="865" y="653"/>
                </a:lnTo>
                <a:lnTo>
                  <a:pt x="869" y="634"/>
                </a:lnTo>
                <a:lnTo>
                  <a:pt x="875" y="595"/>
                </a:lnTo>
                <a:lnTo>
                  <a:pt x="877" y="555"/>
                </a:lnTo>
                <a:lnTo>
                  <a:pt x="878" y="517"/>
                </a:lnTo>
                <a:lnTo>
                  <a:pt x="878" y="517"/>
                </a:lnTo>
                <a:lnTo>
                  <a:pt x="877" y="479"/>
                </a:lnTo>
                <a:lnTo>
                  <a:pt x="875" y="440"/>
                </a:lnTo>
                <a:lnTo>
                  <a:pt x="869" y="401"/>
                </a:lnTo>
                <a:lnTo>
                  <a:pt x="865" y="380"/>
                </a:lnTo>
                <a:lnTo>
                  <a:pt x="861" y="361"/>
                </a:lnTo>
                <a:lnTo>
                  <a:pt x="856" y="342"/>
                </a:lnTo>
                <a:lnTo>
                  <a:pt x="851" y="323"/>
                </a:lnTo>
                <a:lnTo>
                  <a:pt x="845" y="304"/>
                </a:lnTo>
                <a:lnTo>
                  <a:pt x="838" y="285"/>
                </a:lnTo>
                <a:lnTo>
                  <a:pt x="830" y="267"/>
                </a:lnTo>
                <a:lnTo>
                  <a:pt x="820" y="249"/>
                </a:lnTo>
                <a:lnTo>
                  <a:pt x="810" y="231"/>
                </a:lnTo>
                <a:lnTo>
                  <a:pt x="800" y="215"/>
                </a:lnTo>
                <a:lnTo>
                  <a:pt x="788" y="198"/>
                </a:lnTo>
                <a:lnTo>
                  <a:pt x="775" y="183"/>
                </a:lnTo>
                <a:lnTo>
                  <a:pt x="761" y="168"/>
                </a:lnTo>
                <a:lnTo>
                  <a:pt x="747" y="154"/>
                </a:lnTo>
                <a:lnTo>
                  <a:pt x="730" y="140"/>
                </a:lnTo>
                <a:lnTo>
                  <a:pt x="713" y="128"/>
                </a:lnTo>
                <a:lnTo>
                  <a:pt x="695" y="117"/>
                </a:lnTo>
                <a:lnTo>
                  <a:pt x="675" y="106"/>
                </a:lnTo>
                <a:lnTo>
                  <a:pt x="654" y="96"/>
                </a:lnTo>
                <a:lnTo>
                  <a:pt x="631" y="88"/>
                </a:lnTo>
                <a:lnTo>
                  <a:pt x="608" y="81"/>
                </a:lnTo>
                <a:lnTo>
                  <a:pt x="583" y="75"/>
                </a:lnTo>
                <a:lnTo>
                  <a:pt x="557" y="70"/>
                </a:lnTo>
                <a:lnTo>
                  <a:pt x="529" y="67"/>
                </a:lnTo>
                <a:lnTo>
                  <a:pt x="500" y="65"/>
                </a:lnTo>
                <a:lnTo>
                  <a:pt x="469" y="63"/>
                </a:lnTo>
                <a:lnTo>
                  <a:pt x="302" y="63"/>
                </a:lnTo>
                <a:lnTo>
                  <a:pt x="302" y="771"/>
                </a:lnTo>
                <a:lnTo>
                  <a:pt x="302" y="771"/>
                </a:lnTo>
                <a:lnTo>
                  <a:pt x="302" y="802"/>
                </a:lnTo>
                <a:lnTo>
                  <a:pt x="303" y="829"/>
                </a:lnTo>
                <a:lnTo>
                  <a:pt x="304" y="854"/>
                </a:lnTo>
                <a:lnTo>
                  <a:pt x="307" y="875"/>
                </a:lnTo>
                <a:lnTo>
                  <a:pt x="310" y="894"/>
                </a:lnTo>
                <a:lnTo>
                  <a:pt x="315" y="910"/>
                </a:lnTo>
                <a:lnTo>
                  <a:pt x="321" y="924"/>
                </a:lnTo>
                <a:lnTo>
                  <a:pt x="324" y="931"/>
                </a:lnTo>
                <a:lnTo>
                  <a:pt x="329" y="936"/>
                </a:lnTo>
                <a:lnTo>
                  <a:pt x="334" y="941"/>
                </a:lnTo>
                <a:lnTo>
                  <a:pt x="338" y="946"/>
                </a:lnTo>
                <a:lnTo>
                  <a:pt x="344" y="950"/>
                </a:lnTo>
                <a:lnTo>
                  <a:pt x="349" y="953"/>
                </a:lnTo>
                <a:lnTo>
                  <a:pt x="362" y="959"/>
                </a:lnTo>
                <a:lnTo>
                  <a:pt x="378" y="964"/>
                </a:lnTo>
                <a:lnTo>
                  <a:pt x="395" y="967"/>
                </a:lnTo>
                <a:lnTo>
                  <a:pt x="414" y="969"/>
                </a:lnTo>
                <a:lnTo>
                  <a:pt x="437" y="970"/>
                </a:lnTo>
                <a:lnTo>
                  <a:pt x="463" y="971"/>
                </a:lnTo>
                <a:lnTo>
                  <a:pt x="469" y="971"/>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76" name="Freeform 27">
            <a:extLst>
              <a:ext uri="{FF2B5EF4-FFF2-40B4-BE49-F238E27FC236}">
                <a16:creationId xmlns:a16="http://schemas.microsoft.com/office/drawing/2014/main" id="{568DB860-340B-C44E-BD54-38E675CD9CE2}"/>
              </a:ext>
            </a:extLst>
          </p:cNvPr>
          <p:cNvSpPr>
            <a:spLocks/>
          </p:cNvSpPr>
          <p:nvPr userDrawn="1"/>
        </p:nvSpPr>
        <p:spPr bwMode="auto">
          <a:xfrm>
            <a:off x="2760665" y="1158878"/>
            <a:ext cx="112713" cy="136525"/>
          </a:xfrm>
          <a:custGeom>
            <a:avLst/>
            <a:gdLst>
              <a:gd name="T0" fmla="*/ 26 w 859"/>
              <a:gd name="T1" fmla="*/ 998 h 1035"/>
              <a:gd name="T2" fmla="*/ 86 w 859"/>
              <a:gd name="T3" fmla="*/ 991 h 1035"/>
              <a:gd name="T4" fmla="*/ 121 w 859"/>
              <a:gd name="T5" fmla="*/ 977 h 1035"/>
              <a:gd name="T6" fmla="*/ 135 w 859"/>
              <a:gd name="T7" fmla="*/ 962 h 1035"/>
              <a:gd name="T8" fmla="*/ 150 w 859"/>
              <a:gd name="T9" fmla="*/ 937 h 1035"/>
              <a:gd name="T10" fmla="*/ 161 w 859"/>
              <a:gd name="T11" fmla="*/ 879 h 1035"/>
              <a:gd name="T12" fmla="*/ 164 w 859"/>
              <a:gd name="T13" fmla="*/ 797 h 1035"/>
              <a:gd name="T14" fmla="*/ 164 w 859"/>
              <a:gd name="T15" fmla="*/ 206 h 1035"/>
              <a:gd name="T16" fmla="*/ 159 w 859"/>
              <a:gd name="T17" fmla="*/ 132 h 1035"/>
              <a:gd name="T18" fmla="*/ 143 w 859"/>
              <a:gd name="T19" fmla="*/ 83 h 1035"/>
              <a:gd name="T20" fmla="*/ 131 w 859"/>
              <a:gd name="T21" fmla="*/ 67 h 1035"/>
              <a:gd name="T22" fmla="*/ 115 w 859"/>
              <a:gd name="T23" fmla="*/ 54 h 1035"/>
              <a:gd name="T24" fmla="*/ 69 w 859"/>
              <a:gd name="T25" fmla="*/ 40 h 1035"/>
              <a:gd name="T26" fmla="*/ 0 w 859"/>
              <a:gd name="T27" fmla="*/ 36 h 1035"/>
              <a:gd name="T28" fmla="*/ 802 w 859"/>
              <a:gd name="T29" fmla="*/ 227 h 1035"/>
              <a:gd name="T30" fmla="*/ 757 w 859"/>
              <a:gd name="T31" fmla="*/ 193 h 1035"/>
              <a:gd name="T32" fmla="*/ 739 w 859"/>
              <a:gd name="T33" fmla="*/ 135 h 1035"/>
              <a:gd name="T34" fmla="*/ 717 w 859"/>
              <a:gd name="T35" fmla="*/ 103 h 1035"/>
              <a:gd name="T36" fmla="*/ 684 w 859"/>
              <a:gd name="T37" fmla="*/ 81 h 1035"/>
              <a:gd name="T38" fmla="*/ 632 w 859"/>
              <a:gd name="T39" fmla="*/ 68 h 1035"/>
              <a:gd name="T40" fmla="*/ 558 w 859"/>
              <a:gd name="T41" fmla="*/ 63 h 1035"/>
              <a:gd name="T42" fmla="*/ 388 w 859"/>
              <a:gd name="T43" fmla="*/ 455 h 1035"/>
              <a:gd name="T44" fmla="*/ 446 w 859"/>
              <a:gd name="T45" fmla="*/ 454 h 1035"/>
              <a:gd name="T46" fmla="*/ 512 w 859"/>
              <a:gd name="T47" fmla="*/ 446 h 1035"/>
              <a:gd name="T48" fmla="*/ 547 w 859"/>
              <a:gd name="T49" fmla="*/ 431 h 1035"/>
              <a:gd name="T50" fmla="*/ 563 w 859"/>
              <a:gd name="T51" fmla="*/ 417 h 1035"/>
              <a:gd name="T52" fmla="*/ 577 w 859"/>
              <a:gd name="T53" fmla="*/ 393 h 1035"/>
              <a:gd name="T54" fmla="*/ 587 w 859"/>
              <a:gd name="T55" fmla="*/ 339 h 1035"/>
              <a:gd name="T56" fmla="*/ 625 w 859"/>
              <a:gd name="T57" fmla="*/ 289 h 1035"/>
              <a:gd name="T58" fmla="*/ 588 w 859"/>
              <a:gd name="T59" fmla="*/ 685 h 1035"/>
              <a:gd name="T60" fmla="*/ 585 w 859"/>
              <a:gd name="T61" fmla="*/ 616 h 1035"/>
              <a:gd name="T62" fmla="*/ 571 w 859"/>
              <a:gd name="T63" fmla="*/ 569 h 1035"/>
              <a:gd name="T64" fmla="*/ 559 w 859"/>
              <a:gd name="T65" fmla="*/ 552 h 1035"/>
              <a:gd name="T66" fmla="*/ 541 w 859"/>
              <a:gd name="T67" fmla="*/ 540 h 1035"/>
              <a:gd name="T68" fmla="*/ 492 w 859"/>
              <a:gd name="T69" fmla="*/ 525 h 1035"/>
              <a:gd name="T70" fmla="*/ 419 w 859"/>
              <a:gd name="T71" fmla="*/ 519 h 1035"/>
              <a:gd name="T72" fmla="*/ 302 w 859"/>
              <a:gd name="T73" fmla="*/ 771 h 1035"/>
              <a:gd name="T74" fmla="*/ 303 w 859"/>
              <a:gd name="T75" fmla="*/ 829 h 1035"/>
              <a:gd name="T76" fmla="*/ 311 w 859"/>
              <a:gd name="T77" fmla="*/ 894 h 1035"/>
              <a:gd name="T78" fmla="*/ 326 w 859"/>
              <a:gd name="T79" fmla="*/ 931 h 1035"/>
              <a:gd name="T80" fmla="*/ 340 w 859"/>
              <a:gd name="T81" fmla="*/ 946 h 1035"/>
              <a:gd name="T82" fmla="*/ 364 w 859"/>
              <a:gd name="T83" fmla="*/ 959 h 1035"/>
              <a:gd name="T84" fmla="*/ 417 w 859"/>
              <a:gd name="T85" fmla="*/ 969 h 1035"/>
              <a:gd name="T86" fmla="*/ 614 w 859"/>
              <a:gd name="T87" fmla="*/ 971 h 1035"/>
              <a:gd name="T88" fmla="*/ 668 w 859"/>
              <a:gd name="T89" fmla="*/ 969 h 1035"/>
              <a:gd name="T90" fmla="*/ 726 w 859"/>
              <a:gd name="T91" fmla="*/ 959 h 1035"/>
              <a:gd name="T92" fmla="*/ 765 w 859"/>
              <a:gd name="T93" fmla="*/ 940 h 1035"/>
              <a:gd name="T94" fmla="*/ 790 w 859"/>
              <a:gd name="T95" fmla="*/ 911 h 1035"/>
              <a:gd name="T96" fmla="*/ 806 w 859"/>
              <a:gd name="T97" fmla="*/ 872 h 1035"/>
              <a:gd name="T98" fmla="*/ 859 w 859"/>
              <a:gd name="T99" fmla="*/ 806 h 1035"/>
              <a:gd name="T100" fmla="*/ 0 w 859"/>
              <a:gd name="T101" fmla="*/ 999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59" h="1035">
                <a:moveTo>
                  <a:pt x="0" y="999"/>
                </a:moveTo>
                <a:lnTo>
                  <a:pt x="0" y="999"/>
                </a:lnTo>
                <a:lnTo>
                  <a:pt x="26" y="998"/>
                </a:lnTo>
                <a:lnTo>
                  <a:pt x="48" y="997"/>
                </a:lnTo>
                <a:lnTo>
                  <a:pt x="69" y="995"/>
                </a:lnTo>
                <a:lnTo>
                  <a:pt x="86" y="991"/>
                </a:lnTo>
                <a:lnTo>
                  <a:pt x="102" y="987"/>
                </a:lnTo>
                <a:lnTo>
                  <a:pt x="115" y="981"/>
                </a:lnTo>
                <a:lnTo>
                  <a:pt x="121" y="977"/>
                </a:lnTo>
                <a:lnTo>
                  <a:pt x="126" y="972"/>
                </a:lnTo>
                <a:lnTo>
                  <a:pt x="131" y="967"/>
                </a:lnTo>
                <a:lnTo>
                  <a:pt x="135" y="962"/>
                </a:lnTo>
                <a:lnTo>
                  <a:pt x="140" y="957"/>
                </a:lnTo>
                <a:lnTo>
                  <a:pt x="143" y="951"/>
                </a:lnTo>
                <a:lnTo>
                  <a:pt x="150" y="937"/>
                </a:lnTo>
                <a:lnTo>
                  <a:pt x="155" y="920"/>
                </a:lnTo>
                <a:lnTo>
                  <a:pt x="159" y="901"/>
                </a:lnTo>
                <a:lnTo>
                  <a:pt x="161" y="879"/>
                </a:lnTo>
                <a:lnTo>
                  <a:pt x="163" y="855"/>
                </a:lnTo>
                <a:lnTo>
                  <a:pt x="164" y="827"/>
                </a:lnTo>
                <a:lnTo>
                  <a:pt x="164" y="797"/>
                </a:lnTo>
                <a:lnTo>
                  <a:pt x="164" y="236"/>
                </a:lnTo>
                <a:lnTo>
                  <a:pt x="164" y="236"/>
                </a:lnTo>
                <a:lnTo>
                  <a:pt x="164" y="206"/>
                </a:lnTo>
                <a:lnTo>
                  <a:pt x="163" y="178"/>
                </a:lnTo>
                <a:lnTo>
                  <a:pt x="161" y="153"/>
                </a:lnTo>
                <a:lnTo>
                  <a:pt x="159" y="132"/>
                </a:lnTo>
                <a:lnTo>
                  <a:pt x="155" y="114"/>
                </a:lnTo>
                <a:lnTo>
                  <a:pt x="150" y="97"/>
                </a:lnTo>
                <a:lnTo>
                  <a:pt x="143" y="83"/>
                </a:lnTo>
                <a:lnTo>
                  <a:pt x="140" y="77"/>
                </a:lnTo>
                <a:lnTo>
                  <a:pt x="135" y="72"/>
                </a:lnTo>
                <a:lnTo>
                  <a:pt x="131" y="67"/>
                </a:lnTo>
                <a:lnTo>
                  <a:pt x="126" y="61"/>
                </a:lnTo>
                <a:lnTo>
                  <a:pt x="121" y="57"/>
                </a:lnTo>
                <a:lnTo>
                  <a:pt x="115" y="54"/>
                </a:lnTo>
                <a:lnTo>
                  <a:pt x="102" y="48"/>
                </a:lnTo>
                <a:lnTo>
                  <a:pt x="86" y="43"/>
                </a:lnTo>
                <a:lnTo>
                  <a:pt x="69" y="40"/>
                </a:lnTo>
                <a:lnTo>
                  <a:pt x="48" y="38"/>
                </a:lnTo>
                <a:lnTo>
                  <a:pt x="26" y="37"/>
                </a:lnTo>
                <a:lnTo>
                  <a:pt x="0" y="36"/>
                </a:lnTo>
                <a:lnTo>
                  <a:pt x="0" y="0"/>
                </a:lnTo>
                <a:lnTo>
                  <a:pt x="787" y="0"/>
                </a:lnTo>
                <a:lnTo>
                  <a:pt x="802" y="227"/>
                </a:lnTo>
                <a:lnTo>
                  <a:pt x="766" y="227"/>
                </a:lnTo>
                <a:lnTo>
                  <a:pt x="757" y="193"/>
                </a:lnTo>
                <a:lnTo>
                  <a:pt x="757" y="193"/>
                </a:lnTo>
                <a:lnTo>
                  <a:pt x="749" y="162"/>
                </a:lnTo>
                <a:lnTo>
                  <a:pt x="744" y="147"/>
                </a:lnTo>
                <a:lnTo>
                  <a:pt x="739" y="135"/>
                </a:lnTo>
                <a:lnTo>
                  <a:pt x="732" y="123"/>
                </a:lnTo>
                <a:lnTo>
                  <a:pt x="725" y="113"/>
                </a:lnTo>
                <a:lnTo>
                  <a:pt x="717" y="103"/>
                </a:lnTo>
                <a:lnTo>
                  <a:pt x="708" y="95"/>
                </a:lnTo>
                <a:lnTo>
                  <a:pt x="697" y="87"/>
                </a:lnTo>
                <a:lnTo>
                  <a:pt x="684" y="81"/>
                </a:lnTo>
                <a:lnTo>
                  <a:pt x="669" y="76"/>
                </a:lnTo>
                <a:lnTo>
                  <a:pt x="653" y="72"/>
                </a:lnTo>
                <a:lnTo>
                  <a:pt x="632" y="68"/>
                </a:lnTo>
                <a:lnTo>
                  <a:pt x="611" y="66"/>
                </a:lnTo>
                <a:lnTo>
                  <a:pt x="585" y="65"/>
                </a:lnTo>
                <a:lnTo>
                  <a:pt x="558" y="63"/>
                </a:lnTo>
                <a:lnTo>
                  <a:pt x="302" y="63"/>
                </a:lnTo>
                <a:lnTo>
                  <a:pt x="302" y="455"/>
                </a:lnTo>
                <a:lnTo>
                  <a:pt x="388" y="455"/>
                </a:lnTo>
                <a:lnTo>
                  <a:pt x="388" y="455"/>
                </a:lnTo>
                <a:lnTo>
                  <a:pt x="419" y="455"/>
                </a:lnTo>
                <a:lnTo>
                  <a:pt x="446" y="454"/>
                </a:lnTo>
                <a:lnTo>
                  <a:pt x="471" y="452"/>
                </a:lnTo>
                <a:lnTo>
                  <a:pt x="492" y="450"/>
                </a:lnTo>
                <a:lnTo>
                  <a:pt x="512" y="446"/>
                </a:lnTo>
                <a:lnTo>
                  <a:pt x="527" y="441"/>
                </a:lnTo>
                <a:lnTo>
                  <a:pt x="541" y="435"/>
                </a:lnTo>
                <a:lnTo>
                  <a:pt x="547" y="431"/>
                </a:lnTo>
                <a:lnTo>
                  <a:pt x="553" y="426"/>
                </a:lnTo>
                <a:lnTo>
                  <a:pt x="559" y="422"/>
                </a:lnTo>
                <a:lnTo>
                  <a:pt x="563" y="417"/>
                </a:lnTo>
                <a:lnTo>
                  <a:pt x="567" y="412"/>
                </a:lnTo>
                <a:lnTo>
                  <a:pt x="571" y="406"/>
                </a:lnTo>
                <a:lnTo>
                  <a:pt x="577" y="393"/>
                </a:lnTo>
                <a:lnTo>
                  <a:pt x="581" y="376"/>
                </a:lnTo>
                <a:lnTo>
                  <a:pt x="585" y="359"/>
                </a:lnTo>
                <a:lnTo>
                  <a:pt x="587" y="339"/>
                </a:lnTo>
                <a:lnTo>
                  <a:pt x="588" y="315"/>
                </a:lnTo>
                <a:lnTo>
                  <a:pt x="588" y="289"/>
                </a:lnTo>
                <a:lnTo>
                  <a:pt x="625" y="289"/>
                </a:lnTo>
                <a:lnTo>
                  <a:pt x="625" y="685"/>
                </a:lnTo>
                <a:lnTo>
                  <a:pt x="588" y="685"/>
                </a:lnTo>
                <a:lnTo>
                  <a:pt x="588" y="685"/>
                </a:lnTo>
                <a:lnTo>
                  <a:pt x="588" y="659"/>
                </a:lnTo>
                <a:lnTo>
                  <a:pt x="587" y="636"/>
                </a:lnTo>
                <a:lnTo>
                  <a:pt x="585" y="616"/>
                </a:lnTo>
                <a:lnTo>
                  <a:pt x="581" y="597"/>
                </a:lnTo>
                <a:lnTo>
                  <a:pt x="577" y="582"/>
                </a:lnTo>
                <a:lnTo>
                  <a:pt x="571" y="569"/>
                </a:lnTo>
                <a:lnTo>
                  <a:pt x="567" y="562"/>
                </a:lnTo>
                <a:lnTo>
                  <a:pt x="563" y="557"/>
                </a:lnTo>
                <a:lnTo>
                  <a:pt x="559" y="552"/>
                </a:lnTo>
                <a:lnTo>
                  <a:pt x="553" y="547"/>
                </a:lnTo>
                <a:lnTo>
                  <a:pt x="547" y="543"/>
                </a:lnTo>
                <a:lnTo>
                  <a:pt x="541" y="540"/>
                </a:lnTo>
                <a:lnTo>
                  <a:pt x="527" y="533"/>
                </a:lnTo>
                <a:lnTo>
                  <a:pt x="512" y="529"/>
                </a:lnTo>
                <a:lnTo>
                  <a:pt x="492" y="525"/>
                </a:lnTo>
                <a:lnTo>
                  <a:pt x="471" y="522"/>
                </a:lnTo>
                <a:lnTo>
                  <a:pt x="446" y="521"/>
                </a:lnTo>
                <a:lnTo>
                  <a:pt x="419" y="519"/>
                </a:lnTo>
                <a:lnTo>
                  <a:pt x="388" y="519"/>
                </a:lnTo>
                <a:lnTo>
                  <a:pt x="302" y="519"/>
                </a:lnTo>
                <a:lnTo>
                  <a:pt x="302" y="771"/>
                </a:lnTo>
                <a:lnTo>
                  <a:pt x="302" y="771"/>
                </a:lnTo>
                <a:lnTo>
                  <a:pt x="302" y="802"/>
                </a:lnTo>
                <a:lnTo>
                  <a:pt x="303" y="829"/>
                </a:lnTo>
                <a:lnTo>
                  <a:pt x="305" y="854"/>
                </a:lnTo>
                <a:lnTo>
                  <a:pt x="307" y="875"/>
                </a:lnTo>
                <a:lnTo>
                  <a:pt x="311" y="894"/>
                </a:lnTo>
                <a:lnTo>
                  <a:pt x="316" y="910"/>
                </a:lnTo>
                <a:lnTo>
                  <a:pt x="322" y="924"/>
                </a:lnTo>
                <a:lnTo>
                  <a:pt x="326" y="931"/>
                </a:lnTo>
                <a:lnTo>
                  <a:pt x="331" y="936"/>
                </a:lnTo>
                <a:lnTo>
                  <a:pt x="335" y="941"/>
                </a:lnTo>
                <a:lnTo>
                  <a:pt x="340" y="946"/>
                </a:lnTo>
                <a:lnTo>
                  <a:pt x="345" y="950"/>
                </a:lnTo>
                <a:lnTo>
                  <a:pt x="351" y="953"/>
                </a:lnTo>
                <a:lnTo>
                  <a:pt x="364" y="959"/>
                </a:lnTo>
                <a:lnTo>
                  <a:pt x="380" y="964"/>
                </a:lnTo>
                <a:lnTo>
                  <a:pt x="398" y="967"/>
                </a:lnTo>
                <a:lnTo>
                  <a:pt x="417" y="969"/>
                </a:lnTo>
                <a:lnTo>
                  <a:pt x="440" y="970"/>
                </a:lnTo>
                <a:lnTo>
                  <a:pt x="466" y="971"/>
                </a:lnTo>
                <a:lnTo>
                  <a:pt x="614" y="971"/>
                </a:lnTo>
                <a:lnTo>
                  <a:pt x="614" y="971"/>
                </a:lnTo>
                <a:lnTo>
                  <a:pt x="642" y="970"/>
                </a:lnTo>
                <a:lnTo>
                  <a:pt x="668" y="969"/>
                </a:lnTo>
                <a:lnTo>
                  <a:pt x="689" y="966"/>
                </a:lnTo>
                <a:lnTo>
                  <a:pt x="709" y="963"/>
                </a:lnTo>
                <a:lnTo>
                  <a:pt x="726" y="959"/>
                </a:lnTo>
                <a:lnTo>
                  <a:pt x="742" y="954"/>
                </a:lnTo>
                <a:lnTo>
                  <a:pt x="754" y="947"/>
                </a:lnTo>
                <a:lnTo>
                  <a:pt x="765" y="940"/>
                </a:lnTo>
                <a:lnTo>
                  <a:pt x="775" y="932"/>
                </a:lnTo>
                <a:lnTo>
                  <a:pt x="784" y="921"/>
                </a:lnTo>
                <a:lnTo>
                  <a:pt x="790" y="911"/>
                </a:lnTo>
                <a:lnTo>
                  <a:pt x="796" y="899"/>
                </a:lnTo>
                <a:lnTo>
                  <a:pt x="801" y="886"/>
                </a:lnTo>
                <a:lnTo>
                  <a:pt x="806" y="872"/>
                </a:lnTo>
                <a:lnTo>
                  <a:pt x="814" y="840"/>
                </a:lnTo>
                <a:lnTo>
                  <a:pt x="823" y="806"/>
                </a:lnTo>
                <a:lnTo>
                  <a:pt x="859" y="806"/>
                </a:lnTo>
                <a:lnTo>
                  <a:pt x="846" y="1035"/>
                </a:lnTo>
                <a:lnTo>
                  <a:pt x="0" y="1035"/>
                </a:lnTo>
                <a:lnTo>
                  <a:pt x="0" y="999"/>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77" name="Freeform 28">
            <a:extLst>
              <a:ext uri="{FF2B5EF4-FFF2-40B4-BE49-F238E27FC236}">
                <a16:creationId xmlns:a16="http://schemas.microsoft.com/office/drawing/2014/main" id="{BAD311A5-E6DF-034A-AC06-9BA8B657ADCF}"/>
              </a:ext>
            </a:extLst>
          </p:cNvPr>
          <p:cNvSpPr>
            <a:spLocks/>
          </p:cNvSpPr>
          <p:nvPr userDrawn="1"/>
        </p:nvSpPr>
        <p:spPr bwMode="auto">
          <a:xfrm>
            <a:off x="2903540" y="1158878"/>
            <a:ext cx="142875" cy="136525"/>
          </a:xfrm>
          <a:custGeom>
            <a:avLst/>
            <a:gdLst>
              <a:gd name="T0" fmla="*/ 304 w 1077"/>
              <a:gd name="T1" fmla="*/ 999 h 1035"/>
              <a:gd name="T2" fmla="*/ 352 w 1077"/>
              <a:gd name="T3" fmla="*/ 997 h 1035"/>
              <a:gd name="T4" fmla="*/ 391 w 1077"/>
              <a:gd name="T5" fmla="*/ 991 h 1035"/>
              <a:gd name="T6" fmla="*/ 419 w 1077"/>
              <a:gd name="T7" fmla="*/ 981 h 1035"/>
              <a:gd name="T8" fmla="*/ 431 w 1077"/>
              <a:gd name="T9" fmla="*/ 972 h 1035"/>
              <a:gd name="T10" fmla="*/ 441 w 1077"/>
              <a:gd name="T11" fmla="*/ 962 h 1035"/>
              <a:gd name="T12" fmla="*/ 449 w 1077"/>
              <a:gd name="T13" fmla="*/ 951 h 1035"/>
              <a:gd name="T14" fmla="*/ 460 w 1077"/>
              <a:gd name="T15" fmla="*/ 920 h 1035"/>
              <a:gd name="T16" fmla="*/ 466 w 1077"/>
              <a:gd name="T17" fmla="*/ 879 h 1035"/>
              <a:gd name="T18" fmla="*/ 469 w 1077"/>
              <a:gd name="T19" fmla="*/ 827 h 1035"/>
              <a:gd name="T20" fmla="*/ 469 w 1077"/>
              <a:gd name="T21" fmla="*/ 68 h 1035"/>
              <a:gd name="T22" fmla="*/ 246 w 1077"/>
              <a:gd name="T23" fmla="*/ 68 h 1035"/>
              <a:gd name="T24" fmla="*/ 192 w 1077"/>
              <a:gd name="T25" fmla="*/ 69 h 1035"/>
              <a:gd name="T26" fmla="*/ 150 w 1077"/>
              <a:gd name="T27" fmla="*/ 75 h 1035"/>
              <a:gd name="T28" fmla="*/ 119 w 1077"/>
              <a:gd name="T29" fmla="*/ 85 h 1035"/>
              <a:gd name="T30" fmla="*/ 95 w 1077"/>
              <a:gd name="T31" fmla="*/ 98 h 1035"/>
              <a:gd name="T32" fmla="*/ 78 w 1077"/>
              <a:gd name="T33" fmla="*/ 117 h 1035"/>
              <a:gd name="T34" fmla="*/ 65 w 1077"/>
              <a:gd name="T35" fmla="*/ 139 h 1035"/>
              <a:gd name="T36" fmla="*/ 54 w 1077"/>
              <a:gd name="T37" fmla="*/ 167 h 1035"/>
              <a:gd name="T38" fmla="*/ 37 w 1077"/>
              <a:gd name="T39" fmla="*/ 233 h 1035"/>
              <a:gd name="T40" fmla="*/ 15 w 1077"/>
              <a:gd name="T41" fmla="*/ 0 h 1035"/>
              <a:gd name="T42" fmla="*/ 1077 w 1077"/>
              <a:gd name="T43" fmla="*/ 233 h 1035"/>
              <a:gd name="T44" fmla="*/ 1032 w 1077"/>
              <a:gd name="T45" fmla="*/ 198 h 1035"/>
              <a:gd name="T46" fmla="*/ 1023 w 1077"/>
              <a:gd name="T47" fmla="*/ 167 h 1035"/>
              <a:gd name="T48" fmla="*/ 1013 w 1077"/>
              <a:gd name="T49" fmla="*/ 139 h 1035"/>
              <a:gd name="T50" fmla="*/ 1000 w 1077"/>
              <a:gd name="T51" fmla="*/ 117 h 1035"/>
              <a:gd name="T52" fmla="*/ 983 w 1077"/>
              <a:gd name="T53" fmla="*/ 98 h 1035"/>
              <a:gd name="T54" fmla="*/ 958 w 1077"/>
              <a:gd name="T55" fmla="*/ 85 h 1035"/>
              <a:gd name="T56" fmla="*/ 927 w 1077"/>
              <a:gd name="T57" fmla="*/ 75 h 1035"/>
              <a:gd name="T58" fmla="*/ 886 w 1077"/>
              <a:gd name="T59" fmla="*/ 69 h 1035"/>
              <a:gd name="T60" fmla="*/ 832 w 1077"/>
              <a:gd name="T61" fmla="*/ 68 h 1035"/>
              <a:gd name="T62" fmla="*/ 608 w 1077"/>
              <a:gd name="T63" fmla="*/ 797 h 1035"/>
              <a:gd name="T64" fmla="*/ 608 w 1077"/>
              <a:gd name="T65" fmla="*/ 827 h 1035"/>
              <a:gd name="T66" fmla="*/ 611 w 1077"/>
              <a:gd name="T67" fmla="*/ 879 h 1035"/>
              <a:gd name="T68" fmla="*/ 618 w 1077"/>
              <a:gd name="T69" fmla="*/ 920 h 1035"/>
              <a:gd name="T70" fmla="*/ 629 w 1077"/>
              <a:gd name="T71" fmla="*/ 951 h 1035"/>
              <a:gd name="T72" fmla="*/ 637 w 1077"/>
              <a:gd name="T73" fmla="*/ 962 h 1035"/>
              <a:gd name="T74" fmla="*/ 646 w 1077"/>
              <a:gd name="T75" fmla="*/ 972 h 1035"/>
              <a:gd name="T76" fmla="*/ 658 w 1077"/>
              <a:gd name="T77" fmla="*/ 981 h 1035"/>
              <a:gd name="T78" fmla="*/ 687 w 1077"/>
              <a:gd name="T79" fmla="*/ 991 h 1035"/>
              <a:gd name="T80" fmla="*/ 725 w 1077"/>
              <a:gd name="T81" fmla="*/ 997 h 1035"/>
              <a:gd name="T82" fmla="*/ 773 w 1077"/>
              <a:gd name="T83" fmla="*/ 999 h 1035"/>
              <a:gd name="T84" fmla="*/ 304 w 1077"/>
              <a:gd name="T85" fmla="*/ 1035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7" h="1035">
                <a:moveTo>
                  <a:pt x="304" y="999"/>
                </a:moveTo>
                <a:lnTo>
                  <a:pt x="304" y="999"/>
                </a:lnTo>
                <a:lnTo>
                  <a:pt x="329" y="998"/>
                </a:lnTo>
                <a:lnTo>
                  <a:pt x="352" y="997"/>
                </a:lnTo>
                <a:lnTo>
                  <a:pt x="372" y="995"/>
                </a:lnTo>
                <a:lnTo>
                  <a:pt x="391" y="991"/>
                </a:lnTo>
                <a:lnTo>
                  <a:pt x="406" y="987"/>
                </a:lnTo>
                <a:lnTo>
                  <a:pt x="419" y="981"/>
                </a:lnTo>
                <a:lnTo>
                  <a:pt x="426" y="977"/>
                </a:lnTo>
                <a:lnTo>
                  <a:pt x="431" y="972"/>
                </a:lnTo>
                <a:lnTo>
                  <a:pt x="436" y="967"/>
                </a:lnTo>
                <a:lnTo>
                  <a:pt x="441" y="962"/>
                </a:lnTo>
                <a:lnTo>
                  <a:pt x="445" y="957"/>
                </a:lnTo>
                <a:lnTo>
                  <a:pt x="449" y="951"/>
                </a:lnTo>
                <a:lnTo>
                  <a:pt x="455" y="937"/>
                </a:lnTo>
                <a:lnTo>
                  <a:pt x="460" y="920"/>
                </a:lnTo>
                <a:lnTo>
                  <a:pt x="464" y="901"/>
                </a:lnTo>
                <a:lnTo>
                  <a:pt x="466" y="879"/>
                </a:lnTo>
                <a:lnTo>
                  <a:pt x="468" y="855"/>
                </a:lnTo>
                <a:lnTo>
                  <a:pt x="469" y="827"/>
                </a:lnTo>
                <a:lnTo>
                  <a:pt x="469" y="797"/>
                </a:lnTo>
                <a:lnTo>
                  <a:pt x="469" y="68"/>
                </a:lnTo>
                <a:lnTo>
                  <a:pt x="246" y="68"/>
                </a:lnTo>
                <a:lnTo>
                  <a:pt x="246" y="68"/>
                </a:lnTo>
                <a:lnTo>
                  <a:pt x="217" y="68"/>
                </a:lnTo>
                <a:lnTo>
                  <a:pt x="192" y="69"/>
                </a:lnTo>
                <a:lnTo>
                  <a:pt x="170" y="72"/>
                </a:lnTo>
                <a:lnTo>
                  <a:pt x="150" y="75"/>
                </a:lnTo>
                <a:lnTo>
                  <a:pt x="133" y="79"/>
                </a:lnTo>
                <a:lnTo>
                  <a:pt x="119" y="85"/>
                </a:lnTo>
                <a:lnTo>
                  <a:pt x="105" y="91"/>
                </a:lnTo>
                <a:lnTo>
                  <a:pt x="95" y="98"/>
                </a:lnTo>
                <a:lnTo>
                  <a:pt x="85" y="106"/>
                </a:lnTo>
                <a:lnTo>
                  <a:pt x="78" y="117"/>
                </a:lnTo>
                <a:lnTo>
                  <a:pt x="71" y="127"/>
                </a:lnTo>
                <a:lnTo>
                  <a:pt x="65" y="139"/>
                </a:lnTo>
                <a:lnTo>
                  <a:pt x="59" y="152"/>
                </a:lnTo>
                <a:lnTo>
                  <a:pt x="54" y="167"/>
                </a:lnTo>
                <a:lnTo>
                  <a:pt x="45" y="198"/>
                </a:lnTo>
                <a:lnTo>
                  <a:pt x="37" y="233"/>
                </a:lnTo>
                <a:lnTo>
                  <a:pt x="0" y="233"/>
                </a:lnTo>
                <a:lnTo>
                  <a:pt x="15" y="0"/>
                </a:lnTo>
                <a:lnTo>
                  <a:pt x="1062" y="0"/>
                </a:lnTo>
                <a:lnTo>
                  <a:pt x="1077" y="233"/>
                </a:lnTo>
                <a:lnTo>
                  <a:pt x="1041" y="233"/>
                </a:lnTo>
                <a:lnTo>
                  <a:pt x="1032" y="198"/>
                </a:lnTo>
                <a:lnTo>
                  <a:pt x="1032" y="198"/>
                </a:lnTo>
                <a:lnTo>
                  <a:pt x="1023" y="167"/>
                </a:lnTo>
                <a:lnTo>
                  <a:pt x="1019" y="152"/>
                </a:lnTo>
                <a:lnTo>
                  <a:pt x="1013" y="139"/>
                </a:lnTo>
                <a:lnTo>
                  <a:pt x="1007" y="127"/>
                </a:lnTo>
                <a:lnTo>
                  <a:pt x="1000" y="117"/>
                </a:lnTo>
                <a:lnTo>
                  <a:pt x="992" y="106"/>
                </a:lnTo>
                <a:lnTo>
                  <a:pt x="983" y="98"/>
                </a:lnTo>
                <a:lnTo>
                  <a:pt x="972" y="91"/>
                </a:lnTo>
                <a:lnTo>
                  <a:pt x="958" y="85"/>
                </a:lnTo>
                <a:lnTo>
                  <a:pt x="944" y="79"/>
                </a:lnTo>
                <a:lnTo>
                  <a:pt x="927" y="75"/>
                </a:lnTo>
                <a:lnTo>
                  <a:pt x="907" y="72"/>
                </a:lnTo>
                <a:lnTo>
                  <a:pt x="886" y="69"/>
                </a:lnTo>
                <a:lnTo>
                  <a:pt x="860" y="68"/>
                </a:lnTo>
                <a:lnTo>
                  <a:pt x="832" y="68"/>
                </a:lnTo>
                <a:lnTo>
                  <a:pt x="608" y="68"/>
                </a:lnTo>
                <a:lnTo>
                  <a:pt x="608" y="797"/>
                </a:lnTo>
                <a:lnTo>
                  <a:pt x="608" y="797"/>
                </a:lnTo>
                <a:lnTo>
                  <a:pt x="608" y="827"/>
                </a:lnTo>
                <a:lnTo>
                  <a:pt x="609" y="855"/>
                </a:lnTo>
                <a:lnTo>
                  <a:pt x="611" y="879"/>
                </a:lnTo>
                <a:lnTo>
                  <a:pt x="614" y="901"/>
                </a:lnTo>
                <a:lnTo>
                  <a:pt x="618" y="920"/>
                </a:lnTo>
                <a:lnTo>
                  <a:pt x="622" y="937"/>
                </a:lnTo>
                <a:lnTo>
                  <a:pt x="629" y="951"/>
                </a:lnTo>
                <a:lnTo>
                  <a:pt x="633" y="957"/>
                </a:lnTo>
                <a:lnTo>
                  <a:pt x="637" y="962"/>
                </a:lnTo>
                <a:lnTo>
                  <a:pt x="641" y="967"/>
                </a:lnTo>
                <a:lnTo>
                  <a:pt x="646" y="972"/>
                </a:lnTo>
                <a:lnTo>
                  <a:pt x="651" y="977"/>
                </a:lnTo>
                <a:lnTo>
                  <a:pt x="658" y="981"/>
                </a:lnTo>
                <a:lnTo>
                  <a:pt x="672" y="987"/>
                </a:lnTo>
                <a:lnTo>
                  <a:pt x="687" y="991"/>
                </a:lnTo>
                <a:lnTo>
                  <a:pt x="705" y="995"/>
                </a:lnTo>
                <a:lnTo>
                  <a:pt x="725" y="997"/>
                </a:lnTo>
                <a:lnTo>
                  <a:pt x="748" y="998"/>
                </a:lnTo>
                <a:lnTo>
                  <a:pt x="773" y="999"/>
                </a:lnTo>
                <a:lnTo>
                  <a:pt x="773" y="1035"/>
                </a:lnTo>
                <a:lnTo>
                  <a:pt x="304" y="1035"/>
                </a:lnTo>
                <a:lnTo>
                  <a:pt x="304" y="999"/>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sz="1800"/>
          </a:p>
        </p:txBody>
      </p:sp>
    </p:spTree>
    <p:extLst>
      <p:ext uri="{BB962C8B-B14F-4D97-AF65-F5344CB8AC3E}">
        <p14:creationId xmlns:p14="http://schemas.microsoft.com/office/powerpoint/2010/main" val="228018455"/>
      </p:ext>
    </p:extLst>
  </p:cSld>
  <p:clrMapOvr>
    <a:masterClrMapping/>
  </p:clrMapOvr>
  <p:extLst mod="1">
    <p:ext uri="{DCECCB84-F9BA-43D5-87BE-67443E8EF086}">
      <p15:sldGuideLst xmlns:p15="http://schemas.microsoft.com/office/powerpoint/2012/main">
        <p15:guide id="1" orient="horz" pos="162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Otsikko ja sisältö Sote-pieni">
    <p:spTree>
      <p:nvGrpSpPr>
        <p:cNvPr id="1" name=""/>
        <p:cNvGrpSpPr/>
        <p:nvPr/>
      </p:nvGrpSpPr>
      <p:grpSpPr>
        <a:xfrm>
          <a:off x="0" y="0"/>
          <a:ext cx="0" cy="0"/>
          <a:chOff x="0" y="0"/>
          <a:chExt cx="0" cy="0"/>
        </a:xfrm>
      </p:grpSpPr>
      <p:sp>
        <p:nvSpPr>
          <p:cNvPr id="10" name="Freeform 6"/>
          <p:cNvSpPr>
            <a:spLocks/>
          </p:cNvSpPr>
          <p:nvPr userDrawn="1"/>
        </p:nvSpPr>
        <p:spPr bwMode="auto">
          <a:xfrm>
            <a:off x="7975600" y="2"/>
            <a:ext cx="1168400" cy="1317625"/>
          </a:xfrm>
          <a:custGeom>
            <a:avLst/>
            <a:gdLst>
              <a:gd name="T0" fmla="*/ 548 w 736"/>
              <a:gd name="T1" fmla="*/ 713 h 830"/>
              <a:gd name="T2" fmla="*/ 548 w 736"/>
              <a:gd name="T3" fmla="*/ 713 h 830"/>
              <a:gd name="T4" fmla="*/ 594 w 736"/>
              <a:gd name="T5" fmla="*/ 745 h 830"/>
              <a:gd name="T6" fmla="*/ 640 w 736"/>
              <a:gd name="T7" fmla="*/ 775 h 830"/>
              <a:gd name="T8" fmla="*/ 688 w 736"/>
              <a:gd name="T9" fmla="*/ 803 h 830"/>
              <a:gd name="T10" fmla="*/ 736 w 736"/>
              <a:gd name="T11" fmla="*/ 830 h 830"/>
              <a:gd name="T12" fmla="*/ 736 w 736"/>
              <a:gd name="T13" fmla="*/ 0 h 830"/>
              <a:gd name="T14" fmla="*/ 0 w 736"/>
              <a:gd name="T15" fmla="*/ 0 h 830"/>
              <a:gd name="T16" fmla="*/ 0 w 736"/>
              <a:gd name="T17" fmla="*/ 0 h 830"/>
              <a:gd name="T18" fmla="*/ 22 w 736"/>
              <a:gd name="T19" fmla="*/ 55 h 830"/>
              <a:gd name="T20" fmla="*/ 46 w 736"/>
              <a:gd name="T21" fmla="*/ 108 h 830"/>
              <a:gd name="T22" fmla="*/ 72 w 736"/>
              <a:gd name="T23" fmla="*/ 161 h 830"/>
              <a:gd name="T24" fmla="*/ 100 w 736"/>
              <a:gd name="T25" fmla="*/ 211 h 830"/>
              <a:gd name="T26" fmla="*/ 129 w 736"/>
              <a:gd name="T27" fmla="*/ 261 h 830"/>
              <a:gd name="T28" fmla="*/ 160 w 736"/>
              <a:gd name="T29" fmla="*/ 309 h 830"/>
              <a:gd name="T30" fmla="*/ 192 w 736"/>
              <a:gd name="T31" fmla="*/ 357 h 830"/>
              <a:gd name="T32" fmla="*/ 226 w 736"/>
              <a:gd name="T33" fmla="*/ 402 h 830"/>
              <a:gd name="T34" fmla="*/ 262 w 736"/>
              <a:gd name="T35" fmla="*/ 445 h 830"/>
              <a:gd name="T36" fmla="*/ 298 w 736"/>
              <a:gd name="T37" fmla="*/ 488 h 830"/>
              <a:gd name="T38" fmla="*/ 338 w 736"/>
              <a:gd name="T39" fmla="*/ 530 h 830"/>
              <a:gd name="T40" fmla="*/ 377 w 736"/>
              <a:gd name="T41" fmla="*/ 569 h 830"/>
              <a:gd name="T42" fmla="*/ 418 w 736"/>
              <a:gd name="T43" fmla="*/ 607 h 830"/>
              <a:gd name="T44" fmla="*/ 460 w 736"/>
              <a:gd name="T45" fmla="*/ 645 h 830"/>
              <a:gd name="T46" fmla="*/ 503 w 736"/>
              <a:gd name="T47" fmla="*/ 679 h 830"/>
              <a:gd name="T48" fmla="*/ 548 w 736"/>
              <a:gd name="T49" fmla="*/ 713 h 830"/>
              <a:gd name="T50" fmla="*/ 548 w 736"/>
              <a:gd name="T51" fmla="*/ 713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830">
                <a:moveTo>
                  <a:pt x="548" y="713"/>
                </a:moveTo>
                <a:lnTo>
                  <a:pt x="548" y="713"/>
                </a:lnTo>
                <a:lnTo>
                  <a:pt x="594" y="745"/>
                </a:lnTo>
                <a:lnTo>
                  <a:pt x="640" y="775"/>
                </a:lnTo>
                <a:lnTo>
                  <a:pt x="688" y="803"/>
                </a:lnTo>
                <a:lnTo>
                  <a:pt x="736" y="830"/>
                </a:lnTo>
                <a:lnTo>
                  <a:pt x="736" y="0"/>
                </a:lnTo>
                <a:lnTo>
                  <a:pt x="0" y="0"/>
                </a:lnTo>
                <a:lnTo>
                  <a:pt x="0" y="0"/>
                </a:lnTo>
                <a:lnTo>
                  <a:pt x="22" y="55"/>
                </a:lnTo>
                <a:lnTo>
                  <a:pt x="46" y="108"/>
                </a:lnTo>
                <a:lnTo>
                  <a:pt x="72" y="161"/>
                </a:lnTo>
                <a:lnTo>
                  <a:pt x="100" y="211"/>
                </a:lnTo>
                <a:lnTo>
                  <a:pt x="129" y="261"/>
                </a:lnTo>
                <a:lnTo>
                  <a:pt x="160" y="309"/>
                </a:lnTo>
                <a:lnTo>
                  <a:pt x="192" y="357"/>
                </a:lnTo>
                <a:lnTo>
                  <a:pt x="226" y="402"/>
                </a:lnTo>
                <a:lnTo>
                  <a:pt x="262" y="445"/>
                </a:lnTo>
                <a:lnTo>
                  <a:pt x="298" y="488"/>
                </a:lnTo>
                <a:lnTo>
                  <a:pt x="338" y="530"/>
                </a:lnTo>
                <a:lnTo>
                  <a:pt x="377" y="569"/>
                </a:lnTo>
                <a:lnTo>
                  <a:pt x="418" y="607"/>
                </a:lnTo>
                <a:lnTo>
                  <a:pt x="460" y="645"/>
                </a:lnTo>
                <a:lnTo>
                  <a:pt x="503" y="679"/>
                </a:lnTo>
                <a:lnTo>
                  <a:pt x="548" y="713"/>
                </a:lnTo>
                <a:lnTo>
                  <a:pt x="548" y="713"/>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3" name="Sisällön paikkamerkki 2"/>
          <p:cNvSpPr>
            <a:spLocks noGrp="1"/>
          </p:cNvSpPr>
          <p:nvPr userDrawn="1">
            <p:ph idx="1"/>
          </p:nvPr>
        </p:nvSpPr>
        <p:spPr>
          <a:xfrm>
            <a:off x="432787" y="1317627"/>
            <a:ext cx="7523591" cy="3486373"/>
          </a:xfrm>
        </p:spPr>
        <p:txBody>
          <a:bodyPr/>
          <a:lstStyle>
            <a:lvl1pPr>
              <a:spcBef>
                <a:spcPts val="400"/>
              </a:spcBef>
              <a:defRPr/>
            </a:lvl1pPr>
            <a:lvl2pPr>
              <a:spcBef>
                <a:spcPts val="400"/>
              </a:spcBef>
              <a:defRPr/>
            </a:lvl2pPr>
            <a:lvl3pPr>
              <a:spcBef>
                <a:spcPts val="400"/>
              </a:spcBef>
              <a:defRPr/>
            </a:lvl3pPr>
            <a:lvl4pPr>
              <a:spcBef>
                <a:spcPts val="400"/>
              </a:spcBef>
              <a:defRPr/>
            </a:lvl4pPr>
            <a:lvl5pPr>
              <a:spcBef>
                <a:spcPts val="400"/>
              </a:spcBef>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8" name="Otsikko 7"/>
          <p:cNvSpPr>
            <a:spLocks noGrp="1"/>
          </p:cNvSpPr>
          <p:nvPr userDrawn="1">
            <p:ph type="title"/>
          </p:nvPr>
        </p:nvSpPr>
        <p:spPr>
          <a:xfrm>
            <a:off x="432787" y="235342"/>
            <a:ext cx="7523591" cy="974270"/>
          </a:xfrm>
        </p:spPr>
        <p:txBody>
          <a:bodyPr/>
          <a:lstStyle>
            <a:lvl1pPr>
              <a:defRPr>
                <a:solidFill>
                  <a:srgbClr val="595965"/>
                </a:solidFill>
              </a:defRPr>
            </a:lvl1pPr>
          </a:lstStyle>
          <a:p>
            <a:r>
              <a:rPr lang="en-US" dirty="0"/>
              <a:t>Click to edit Master title style</a:t>
            </a:r>
            <a:endParaRPr lang="fi-FI" dirty="0"/>
          </a:p>
        </p:txBody>
      </p:sp>
      <p:pic>
        <p:nvPicPr>
          <p:cNvPr id="5" name="Picture 4">
            <a:extLst>
              <a:ext uri="{FF2B5EF4-FFF2-40B4-BE49-F238E27FC236}">
                <a16:creationId xmlns:a16="http://schemas.microsoft.com/office/drawing/2014/main" id="{D7751274-4DD9-C549-B707-1280A51F7A5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24330" y="4699761"/>
            <a:ext cx="1439764" cy="274350"/>
          </a:xfrm>
          <a:prstGeom prst="rect">
            <a:avLst/>
          </a:prstGeom>
        </p:spPr>
      </p:pic>
      <p:pic>
        <p:nvPicPr>
          <p:cNvPr id="6" name="Picture 5">
            <a:extLst>
              <a:ext uri="{FF2B5EF4-FFF2-40B4-BE49-F238E27FC236}">
                <a16:creationId xmlns:a16="http://schemas.microsoft.com/office/drawing/2014/main" id="{4F591584-9FCE-5A4F-A985-77C337C3AB8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604450" y="235342"/>
            <a:ext cx="305495" cy="419486"/>
          </a:xfrm>
          <a:prstGeom prst="rect">
            <a:avLst/>
          </a:prstGeom>
        </p:spPr>
      </p:pic>
    </p:spTree>
    <p:extLst>
      <p:ext uri="{BB962C8B-B14F-4D97-AF65-F5344CB8AC3E}">
        <p14:creationId xmlns:p14="http://schemas.microsoft.com/office/powerpoint/2010/main" val="424911125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Otsikko ja sisältö Sote-pieni">
    <p:spTree>
      <p:nvGrpSpPr>
        <p:cNvPr id="1" name=""/>
        <p:cNvGrpSpPr/>
        <p:nvPr/>
      </p:nvGrpSpPr>
      <p:grpSpPr>
        <a:xfrm>
          <a:off x="0" y="0"/>
          <a:ext cx="0" cy="0"/>
          <a:chOff x="0" y="0"/>
          <a:chExt cx="0" cy="0"/>
        </a:xfrm>
      </p:grpSpPr>
      <p:sp>
        <p:nvSpPr>
          <p:cNvPr id="10" name="Freeform 6"/>
          <p:cNvSpPr>
            <a:spLocks/>
          </p:cNvSpPr>
          <p:nvPr userDrawn="1"/>
        </p:nvSpPr>
        <p:spPr bwMode="auto">
          <a:xfrm>
            <a:off x="7975600" y="2"/>
            <a:ext cx="1168400" cy="1317625"/>
          </a:xfrm>
          <a:custGeom>
            <a:avLst/>
            <a:gdLst>
              <a:gd name="T0" fmla="*/ 548 w 736"/>
              <a:gd name="T1" fmla="*/ 713 h 830"/>
              <a:gd name="T2" fmla="*/ 548 w 736"/>
              <a:gd name="T3" fmla="*/ 713 h 830"/>
              <a:gd name="T4" fmla="*/ 594 w 736"/>
              <a:gd name="T5" fmla="*/ 745 h 830"/>
              <a:gd name="T6" fmla="*/ 640 w 736"/>
              <a:gd name="T7" fmla="*/ 775 h 830"/>
              <a:gd name="T8" fmla="*/ 688 w 736"/>
              <a:gd name="T9" fmla="*/ 803 h 830"/>
              <a:gd name="T10" fmla="*/ 736 w 736"/>
              <a:gd name="T11" fmla="*/ 830 h 830"/>
              <a:gd name="T12" fmla="*/ 736 w 736"/>
              <a:gd name="T13" fmla="*/ 0 h 830"/>
              <a:gd name="T14" fmla="*/ 0 w 736"/>
              <a:gd name="T15" fmla="*/ 0 h 830"/>
              <a:gd name="T16" fmla="*/ 0 w 736"/>
              <a:gd name="T17" fmla="*/ 0 h 830"/>
              <a:gd name="T18" fmla="*/ 22 w 736"/>
              <a:gd name="T19" fmla="*/ 55 h 830"/>
              <a:gd name="T20" fmla="*/ 46 w 736"/>
              <a:gd name="T21" fmla="*/ 108 h 830"/>
              <a:gd name="T22" fmla="*/ 72 w 736"/>
              <a:gd name="T23" fmla="*/ 161 h 830"/>
              <a:gd name="T24" fmla="*/ 100 w 736"/>
              <a:gd name="T25" fmla="*/ 211 h 830"/>
              <a:gd name="T26" fmla="*/ 129 w 736"/>
              <a:gd name="T27" fmla="*/ 261 h 830"/>
              <a:gd name="T28" fmla="*/ 160 w 736"/>
              <a:gd name="T29" fmla="*/ 309 h 830"/>
              <a:gd name="T30" fmla="*/ 192 w 736"/>
              <a:gd name="T31" fmla="*/ 357 h 830"/>
              <a:gd name="T32" fmla="*/ 226 w 736"/>
              <a:gd name="T33" fmla="*/ 402 h 830"/>
              <a:gd name="T34" fmla="*/ 262 w 736"/>
              <a:gd name="T35" fmla="*/ 445 h 830"/>
              <a:gd name="T36" fmla="*/ 298 w 736"/>
              <a:gd name="T37" fmla="*/ 488 h 830"/>
              <a:gd name="T38" fmla="*/ 338 w 736"/>
              <a:gd name="T39" fmla="*/ 530 h 830"/>
              <a:gd name="T40" fmla="*/ 377 w 736"/>
              <a:gd name="T41" fmla="*/ 569 h 830"/>
              <a:gd name="T42" fmla="*/ 418 w 736"/>
              <a:gd name="T43" fmla="*/ 607 h 830"/>
              <a:gd name="T44" fmla="*/ 460 w 736"/>
              <a:gd name="T45" fmla="*/ 645 h 830"/>
              <a:gd name="T46" fmla="*/ 503 w 736"/>
              <a:gd name="T47" fmla="*/ 679 h 830"/>
              <a:gd name="T48" fmla="*/ 548 w 736"/>
              <a:gd name="T49" fmla="*/ 713 h 830"/>
              <a:gd name="T50" fmla="*/ 548 w 736"/>
              <a:gd name="T51" fmla="*/ 713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830">
                <a:moveTo>
                  <a:pt x="548" y="713"/>
                </a:moveTo>
                <a:lnTo>
                  <a:pt x="548" y="713"/>
                </a:lnTo>
                <a:lnTo>
                  <a:pt x="594" y="745"/>
                </a:lnTo>
                <a:lnTo>
                  <a:pt x="640" y="775"/>
                </a:lnTo>
                <a:lnTo>
                  <a:pt x="688" y="803"/>
                </a:lnTo>
                <a:lnTo>
                  <a:pt x="736" y="830"/>
                </a:lnTo>
                <a:lnTo>
                  <a:pt x="736" y="0"/>
                </a:lnTo>
                <a:lnTo>
                  <a:pt x="0" y="0"/>
                </a:lnTo>
                <a:lnTo>
                  <a:pt x="0" y="0"/>
                </a:lnTo>
                <a:lnTo>
                  <a:pt x="22" y="55"/>
                </a:lnTo>
                <a:lnTo>
                  <a:pt x="46" y="108"/>
                </a:lnTo>
                <a:lnTo>
                  <a:pt x="72" y="161"/>
                </a:lnTo>
                <a:lnTo>
                  <a:pt x="100" y="211"/>
                </a:lnTo>
                <a:lnTo>
                  <a:pt x="129" y="261"/>
                </a:lnTo>
                <a:lnTo>
                  <a:pt x="160" y="309"/>
                </a:lnTo>
                <a:lnTo>
                  <a:pt x="192" y="357"/>
                </a:lnTo>
                <a:lnTo>
                  <a:pt x="226" y="402"/>
                </a:lnTo>
                <a:lnTo>
                  <a:pt x="262" y="445"/>
                </a:lnTo>
                <a:lnTo>
                  <a:pt x="298" y="488"/>
                </a:lnTo>
                <a:lnTo>
                  <a:pt x="338" y="530"/>
                </a:lnTo>
                <a:lnTo>
                  <a:pt x="377" y="569"/>
                </a:lnTo>
                <a:lnTo>
                  <a:pt x="418" y="607"/>
                </a:lnTo>
                <a:lnTo>
                  <a:pt x="460" y="645"/>
                </a:lnTo>
                <a:lnTo>
                  <a:pt x="503" y="679"/>
                </a:lnTo>
                <a:lnTo>
                  <a:pt x="548" y="713"/>
                </a:lnTo>
                <a:lnTo>
                  <a:pt x="548" y="713"/>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3" name="Sisällön paikkamerkki 2"/>
          <p:cNvSpPr>
            <a:spLocks noGrp="1"/>
          </p:cNvSpPr>
          <p:nvPr userDrawn="1">
            <p:ph idx="1"/>
          </p:nvPr>
        </p:nvSpPr>
        <p:spPr>
          <a:xfrm>
            <a:off x="432787" y="1317627"/>
            <a:ext cx="7523591" cy="3486373"/>
          </a:xfrm>
        </p:spPr>
        <p:txBody>
          <a:bodyPr/>
          <a:lstStyle>
            <a:lvl1pPr>
              <a:spcBef>
                <a:spcPts val="400"/>
              </a:spcBef>
              <a:defRPr/>
            </a:lvl1pPr>
            <a:lvl2pPr>
              <a:spcBef>
                <a:spcPts val="400"/>
              </a:spcBef>
              <a:defRPr/>
            </a:lvl2pPr>
            <a:lvl3pPr>
              <a:spcBef>
                <a:spcPts val="400"/>
              </a:spcBef>
              <a:defRPr/>
            </a:lvl3pPr>
            <a:lvl4pPr>
              <a:spcBef>
                <a:spcPts val="400"/>
              </a:spcBef>
              <a:defRPr/>
            </a:lvl4pPr>
            <a:lvl5pPr>
              <a:spcBef>
                <a:spcPts val="400"/>
              </a:spcBef>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8" name="Otsikko 7"/>
          <p:cNvSpPr>
            <a:spLocks noGrp="1"/>
          </p:cNvSpPr>
          <p:nvPr userDrawn="1">
            <p:ph type="title"/>
          </p:nvPr>
        </p:nvSpPr>
        <p:spPr>
          <a:xfrm>
            <a:off x="432787" y="235342"/>
            <a:ext cx="7523591" cy="974270"/>
          </a:xfrm>
        </p:spPr>
        <p:txBody>
          <a:bodyPr/>
          <a:lstStyle>
            <a:lvl1pPr>
              <a:defRPr>
                <a:solidFill>
                  <a:srgbClr val="595965"/>
                </a:solidFill>
              </a:defRPr>
            </a:lvl1pPr>
          </a:lstStyle>
          <a:p>
            <a:r>
              <a:rPr lang="en-US" dirty="0"/>
              <a:t>Click to edit Master title style</a:t>
            </a:r>
            <a:endParaRPr lang="fi-FI" dirty="0"/>
          </a:p>
        </p:txBody>
      </p:sp>
      <p:pic>
        <p:nvPicPr>
          <p:cNvPr id="6" name="Picture 5">
            <a:extLst>
              <a:ext uri="{FF2B5EF4-FFF2-40B4-BE49-F238E27FC236}">
                <a16:creationId xmlns:a16="http://schemas.microsoft.com/office/drawing/2014/main" id="{4F591584-9FCE-5A4F-A985-77C337C3AB8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04450" y="235342"/>
            <a:ext cx="305495" cy="419486"/>
          </a:xfrm>
          <a:prstGeom prst="rect">
            <a:avLst/>
          </a:prstGeom>
        </p:spPr>
      </p:pic>
    </p:spTree>
    <p:extLst>
      <p:ext uri="{BB962C8B-B14F-4D97-AF65-F5344CB8AC3E}">
        <p14:creationId xmlns:p14="http://schemas.microsoft.com/office/powerpoint/2010/main" val="1134855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Otsikko ja sisältö Sote">
    <p:spTree>
      <p:nvGrpSpPr>
        <p:cNvPr id="1" name=""/>
        <p:cNvGrpSpPr/>
        <p:nvPr/>
      </p:nvGrpSpPr>
      <p:grpSpPr>
        <a:xfrm>
          <a:off x="0" y="0"/>
          <a:ext cx="0" cy="0"/>
          <a:chOff x="0" y="0"/>
          <a:chExt cx="0" cy="0"/>
        </a:xfrm>
      </p:grpSpPr>
      <p:grpSp>
        <p:nvGrpSpPr>
          <p:cNvPr id="42" name="Group 41"/>
          <p:cNvGrpSpPr/>
          <p:nvPr userDrawn="1"/>
        </p:nvGrpSpPr>
        <p:grpSpPr>
          <a:xfrm>
            <a:off x="6788150" y="0"/>
            <a:ext cx="2355850" cy="5143501"/>
            <a:chOff x="6788150" y="0"/>
            <a:chExt cx="2355850" cy="5143501"/>
          </a:xfrm>
        </p:grpSpPr>
        <p:sp>
          <p:nvSpPr>
            <p:cNvPr id="31" name="Freeform 22"/>
            <p:cNvSpPr>
              <a:spLocks/>
            </p:cNvSpPr>
            <p:nvPr userDrawn="1"/>
          </p:nvSpPr>
          <p:spPr bwMode="auto">
            <a:xfrm>
              <a:off x="7845425" y="4103688"/>
              <a:ext cx="1298575" cy="1039813"/>
            </a:xfrm>
            <a:custGeom>
              <a:avLst/>
              <a:gdLst>
                <a:gd name="T0" fmla="*/ 482 w 818"/>
                <a:gd name="T1" fmla="*/ 0 h 655"/>
                <a:gd name="T2" fmla="*/ 483 w 818"/>
                <a:gd name="T3" fmla="*/ 0 h 655"/>
                <a:gd name="T4" fmla="*/ 483 w 818"/>
                <a:gd name="T5" fmla="*/ 0 h 655"/>
                <a:gd name="T6" fmla="*/ 482 w 818"/>
                <a:gd name="T7" fmla="*/ 0 h 655"/>
                <a:gd name="T8" fmla="*/ 482 w 818"/>
                <a:gd name="T9" fmla="*/ 0 h 655"/>
                <a:gd name="T10" fmla="*/ 482 w 818"/>
                <a:gd name="T11" fmla="*/ 0 h 655"/>
                <a:gd name="T12" fmla="*/ 442 w 818"/>
                <a:gd name="T13" fmla="*/ 40 h 655"/>
                <a:gd name="T14" fmla="*/ 404 w 818"/>
                <a:gd name="T15" fmla="*/ 79 h 655"/>
                <a:gd name="T16" fmla="*/ 369 w 818"/>
                <a:gd name="T17" fmla="*/ 118 h 655"/>
                <a:gd name="T18" fmla="*/ 334 w 818"/>
                <a:gd name="T19" fmla="*/ 156 h 655"/>
                <a:gd name="T20" fmla="*/ 303 w 818"/>
                <a:gd name="T21" fmla="*/ 194 h 655"/>
                <a:gd name="T22" fmla="*/ 271 w 818"/>
                <a:gd name="T23" fmla="*/ 232 h 655"/>
                <a:gd name="T24" fmla="*/ 242 w 818"/>
                <a:gd name="T25" fmla="*/ 269 h 655"/>
                <a:gd name="T26" fmla="*/ 214 w 818"/>
                <a:gd name="T27" fmla="*/ 309 h 655"/>
                <a:gd name="T28" fmla="*/ 186 w 818"/>
                <a:gd name="T29" fmla="*/ 347 h 655"/>
                <a:gd name="T30" fmla="*/ 159 w 818"/>
                <a:gd name="T31" fmla="*/ 387 h 655"/>
                <a:gd name="T32" fmla="*/ 132 w 818"/>
                <a:gd name="T33" fmla="*/ 428 h 655"/>
                <a:gd name="T34" fmla="*/ 106 w 818"/>
                <a:gd name="T35" fmla="*/ 469 h 655"/>
                <a:gd name="T36" fmla="*/ 80 w 818"/>
                <a:gd name="T37" fmla="*/ 513 h 655"/>
                <a:gd name="T38" fmla="*/ 53 w 818"/>
                <a:gd name="T39" fmla="*/ 558 h 655"/>
                <a:gd name="T40" fmla="*/ 0 w 818"/>
                <a:gd name="T41" fmla="*/ 655 h 655"/>
                <a:gd name="T42" fmla="*/ 818 w 818"/>
                <a:gd name="T43" fmla="*/ 655 h 655"/>
                <a:gd name="T44" fmla="*/ 818 w 818"/>
                <a:gd name="T45" fmla="*/ 163 h 655"/>
                <a:gd name="T46" fmla="*/ 818 w 818"/>
                <a:gd name="T47" fmla="*/ 163 h 655"/>
                <a:gd name="T48" fmla="*/ 795 w 818"/>
                <a:gd name="T49" fmla="*/ 157 h 655"/>
                <a:gd name="T50" fmla="*/ 772 w 818"/>
                <a:gd name="T51" fmla="*/ 148 h 655"/>
                <a:gd name="T52" fmla="*/ 746 w 818"/>
                <a:gd name="T53" fmla="*/ 136 h 655"/>
                <a:gd name="T54" fmla="*/ 719 w 818"/>
                <a:gd name="T55" fmla="*/ 125 h 655"/>
                <a:gd name="T56" fmla="*/ 663 w 818"/>
                <a:gd name="T57" fmla="*/ 98 h 655"/>
                <a:gd name="T58" fmla="*/ 609 w 818"/>
                <a:gd name="T59" fmla="*/ 70 h 655"/>
                <a:gd name="T60" fmla="*/ 559 w 818"/>
                <a:gd name="T61" fmla="*/ 43 h 655"/>
                <a:gd name="T62" fmla="*/ 519 w 818"/>
                <a:gd name="T63" fmla="*/ 22 h 655"/>
                <a:gd name="T64" fmla="*/ 482 w 818"/>
                <a:gd name="T65" fmla="*/ 0 h 655"/>
                <a:gd name="T66" fmla="*/ 482 w 818"/>
                <a:gd name="T67" fmla="*/ 0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18" h="655">
                  <a:moveTo>
                    <a:pt x="482" y="0"/>
                  </a:moveTo>
                  <a:lnTo>
                    <a:pt x="483" y="0"/>
                  </a:lnTo>
                  <a:lnTo>
                    <a:pt x="483" y="0"/>
                  </a:lnTo>
                  <a:lnTo>
                    <a:pt x="482" y="0"/>
                  </a:lnTo>
                  <a:lnTo>
                    <a:pt x="482" y="0"/>
                  </a:lnTo>
                  <a:lnTo>
                    <a:pt x="482" y="0"/>
                  </a:lnTo>
                  <a:lnTo>
                    <a:pt x="442" y="40"/>
                  </a:lnTo>
                  <a:lnTo>
                    <a:pt x="404" y="79"/>
                  </a:lnTo>
                  <a:lnTo>
                    <a:pt x="369" y="118"/>
                  </a:lnTo>
                  <a:lnTo>
                    <a:pt x="334" y="156"/>
                  </a:lnTo>
                  <a:lnTo>
                    <a:pt x="303" y="194"/>
                  </a:lnTo>
                  <a:lnTo>
                    <a:pt x="271" y="232"/>
                  </a:lnTo>
                  <a:lnTo>
                    <a:pt x="242" y="269"/>
                  </a:lnTo>
                  <a:lnTo>
                    <a:pt x="214" y="309"/>
                  </a:lnTo>
                  <a:lnTo>
                    <a:pt x="186" y="347"/>
                  </a:lnTo>
                  <a:lnTo>
                    <a:pt x="159" y="387"/>
                  </a:lnTo>
                  <a:lnTo>
                    <a:pt x="132" y="428"/>
                  </a:lnTo>
                  <a:lnTo>
                    <a:pt x="106" y="469"/>
                  </a:lnTo>
                  <a:lnTo>
                    <a:pt x="80" y="513"/>
                  </a:lnTo>
                  <a:lnTo>
                    <a:pt x="53" y="558"/>
                  </a:lnTo>
                  <a:lnTo>
                    <a:pt x="0" y="655"/>
                  </a:lnTo>
                  <a:lnTo>
                    <a:pt x="818" y="655"/>
                  </a:lnTo>
                  <a:lnTo>
                    <a:pt x="818" y="163"/>
                  </a:lnTo>
                  <a:lnTo>
                    <a:pt x="818" y="163"/>
                  </a:lnTo>
                  <a:lnTo>
                    <a:pt x="795" y="157"/>
                  </a:lnTo>
                  <a:lnTo>
                    <a:pt x="772" y="148"/>
                  </a:lnTo>
                  <a:lnTo>
                    <a:pt x="746" y="136"/>
                  </a:lnTo>
                  <a:lnTo>
                    <a:pt x="719" y="125"/>
                  </a:lnTo>
                  <a:lnTo>
                    <a:pt x="663" y="98"/>
                  </a:lnTo>
                  <a:lnTo>
                    <a:pt x="609" y="70"/>
                  </a:lnTo>
                  <a:lnTo>
                    <a:pt x="559" y="43"/>
                  </a:lnTo>
                  <a:lnTo>
                    <a:pt x="519" y="22"/>
                  </a:lnTo>
                  <a:lnTo>
                    <a:pt x="482" y="0"/>
                  </a:lnTo>
                  <a:lnTo>
                    <a:pt x="482" y="0"/>
                  </a:lnTo>
                  <a:close/>
                </a:path>
              </a:pathLst>
            </a:custGeom>
            <a:solidFill>
              <a:schemeClr val="tx2">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2" name="Freeform 23"/>
            <p:cNvSpPr>
              <a:spLocks/>
            </p:cNvSpPr>
            <p:nvPr userDrawn="1"/>
          </p:nvSpPr>
          <p:spPr bwMode="auto">
            <a:xfrm>
              <a:off x="6788150" y="0"/>
              <a:ext cx="1822450" cy="4084638"/>
            </a:xfrm>
            <a:custGeom>
              <a:avLst/>
              <a:gdLst>
                <a:gd name="T0" fmla="*/ 1148 w 1148"/>
                <a:gd name="T1" fmla="*/ 864 h 2573"/>
                <a:gd name="T2" fmla="*/ 1148 w 1148"/>
                <a:gd name="T3" fmla="*/ 864 h 2573"/>
                <a:gd name="T4" fmla="*/ 1148 w 1148"/>
                <a:gd name="T5" fmla="*/ 864 h 2573"/>
                <a:gd name="T6" fmla="*/ 104 w 1148"/>
                <a:gd name="T7" fmla="*/ 0 h 2573"/>
                <a:gd name="T8" fmla="*/ 19 w 1148"/>
                <a:gd name="T9" fmla="*/ 0 h 2573"/>
                <a:gd name="T10" fmla="*/ 11 w 1148"/>
                <a:gd name="T11" fmla="*/ 77 h 2573"/>
                <a:gd name="T12" fmla="*/ 1 w 1148"/>
                <a:gd name="T13" fmla="*/ 230 h 2573"/>
                <a:gd name="T14" fmla="*/ 0 w 1148"/>
                <a:gd name="T15" fmla="*/ 381 h 2573"/>
                <a:gd name="T16" fmla="*/ 7 w 1148"/>
                <a:gd name="T17" fmla="*/ 533 h 2573"/>
                <a:gd name="T18" fmla="*/ 21 w 1148"/>
                <a:gd name="T19" fmla="*/ 683 h 2573"/>
                <a:gd name="T20" fmla="*/ 45 w 1148"/>
                <a:gd name="T21" fmla="*/ 831 h 2573"/>
                <a:gd name="T22" fmla="*/ 75 w 1148"/>
                <a:gd name="T23" fmla="*/ 978 h 2573"/>
                <a:gd name="T24" fmla="*/ 115 w 1148"/>
                <a:gd name="T25" fmla="*/ 1122 h 2573"/>
                <a:gd name="T26" fmla="*/ 136 w 1148"/>
                <a:gd name="T27" fmla="*/ 1193 h 2573"/>
                <a:gd name="T28" fmla="*/ 173 w 1148"/>
                <a:gd name="T29" fmla="*/ 1299 h 2573"/>
                <a:gd name="T30" fmla="*/ 214 w 1148"/>
                <a:gd name="T31" fmla="*/ 1404 h 2573"/>
                <a:gd name="T32" fmla="*/ 259 w 1148"/>
                <a:gd name="T33" fmla="*/ 1505 h 2573"/>
                <a:gd name="T34" fmla="*/ 307 w 1148"/>
                <a:gd name="T35" fmla="*/ 1604 h 2573"/>
                <a:gd name="T36" fmla="*/ 359 w 1148"/>
                <a:gd name="T37" fmla="*/ 1701 h 2573"/>
                <a:gd name="T38" fmla="*/ 414 w 1148"/>
                <a:gd name="T39" fmla="*/ 1794 h 2573"/>
                <a:gd name="T40" fmla="*/ 473 w 1148"/>
                <a:gd name="T41" fmla="*/ 1886 h 2573"/>
                <a:gd name="T42" fmla="*/ 534 w 1148"/>
                <a:gd name="T43" fmla="*/ 1973 h 2573"/>
                <a:gd name="T44" fmla="*/ 600 w 1148"/>
                <a:gd name="T45" fmla="*/ 2059 h 2573"/>
                <a:gd name="T46" fmla="*/ 667 w 1148"/>
                <a:gd name="T47" fmla="*/ 2142 h 2573"/>
                <a:gd name="T48" fmla="*/ 738 w 1148"/>
                <a:gd name="T49" fmla="*/ 2221 h 2573"/>
                <a:gd name="T50" fmla="*/ 811 w 1148"/>
                <a:gd name="T51" fmla="*/ 2297 h 2573"/>
                <a:gd name="T52" fmla="*/ 888 w 1148"/>
                <a:gd name="T53" fmla="*/ 2372 h 2573"/>
                <a:gd name="T54" fmla="*/ 966 w 1148"/>
                <a:gd name="T55" fmla="*/ 2441 h 2573"/>
                <a:gd name="T56" fmla="*/ 1049 w 1148"/>
                <a:gd name="T57" fmla="*/ 2509 h 2573"/>
                <a:gd name="T58" fmla="*/ 1132 w 1148"/>
                <a:gd name="T59" fmla="*/ 2573 h 2573"/>
                <a:gd name="T60" fmla="*/ 1131 w 1148"/>
                <a:gd name="T61" fmla="*/ 2553 h 2573"/>
                <a:gd name="T62" fmla="*/ 1131 w 1148"/>
                <a:gd name="T63" fmla="*/ 2304 h 2573"/>
                <a:gd name="T64" fmla="*/ 1144 w 1148"/>
                <a:gd name="T65" fmla="*/ 1131 h 2573"/>
                <a:gd name="T66" fmla="*/ 1148 w 1148"/>
                <a:gd name="T67" fmla="*/ 864 h 2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48" h="2573">
                  <a:moveTo>
                    <a:pt x="1148" y="864"/>
                  </a:moveTo>
                  <a:lnTo>
                    <a:pt x="1148" y="864"/>
                  </a:lnTo>
                  <a:lnTo>
                    <a:pt x="1148" y="864"/>
                  </a:lnTo>
                  <a:lnTo>
                    <a:pt x="1148" y="864"/>
                  </a:lnTo>
                  <a:lnTo>
                    <a:pt x="1148" y="864"/>
                  </a:lnTo>
                  <a:lnTo>
                    <a:pt x="1148" y="864"/>
                  </a:lnTo>
                  <a:lnTo>
                    <a:pt x="663" y="0"/>
                  </a:lnTo>
                  <a:lnTo>
                    <a:pt x="104" y="0"/>
                  </a:lnTo>
                  <a:lnTo>
                    <a:pt x="86" y="0"/>
                  </a:lnTo>
                  <a:lnTo>
                    <a:pt x="19" y="0"/>
                  </a:lnTo>
                  <a:lnTo>
                    <a:pt x="19" y="0"/>
                  </a:lnTo>
                  <a:lnTo>
                    <a:pt x="11" y="77"/>
                  </a:lnTo>
                  <a:lnTo>
                    <a:pt x="6" y="153"/>
                  </a:lnTo>
                  <a:lnTo>
                    <a:pt x="1" y="230"/>
                  </a:lnTo>
                  <a:lnTo>
                    <a:pt x="0" y="306"/>
                  </a:lnTo>
                  <a:lnTo>
                    <a:pt x="0" y="381"/>
                  </a:lnTo>
                  <a:lnTo>
                    <a:pt x="2" y="458"/>
                  </a:lnTo>
                  <a:lnTo>
                    <a:pt x="7" y="533"/>
                  </a:lnTo>
                  <a:lnTo>
                    <a:pt x="14" y="609"/>
                  </a:lnTo>
                  <a:lnTo>
                    <a:pt x="21" y="683"/>
                  </a:lnTo>
                  <a:lnTo>
                    <a:pt x="33" y="757"/>
                  </a:lnTo>
                  <a:lnTo>
                    <a:pt x="45" y="831"/>
                  </a:lnTo>
                  <a:lnTo>
                    <a:pt x="60" y="905"/>
                  </a:lnTo>
                  <a:lnTo>
                    <a:pt x="75" y="978"/>
                  </a:lnTo>
                  <a:lnTo>
                    <a:pt x="95" y="1050"/>
                  </a:lnTo>
                  <a:lnTo>
                    <a:pt x="115" y="1122"/>
                  </a:lnTo>
                  <a:lnTo>
                    <a:pt x="136" y="1193"/>
                  </a:lnTo>
                  <a:lnTo>
                    <a:pt x="136" y="1193"/>
                  </a:lnTo>
                  <a:lnTo>
                    <a:pt x="154" y="1247"/>
                  </a:lnTo>
                  <a:lnTo>
                    <a:pt x="173" y="1299"/>
                  </a:lnTo>
                  <a:lnTo>
                    <a:pt x="194" y="1351"/>
                  </a:lnTo>
                  <a:lnTo>
                    <a:pt x="214" y="1404"/>
                  </a:lnTo>
                  <a:lnTo>
                    <a:pt x="236" y="1455"/>
                  </a:lnTo>
                  <a:lnTo>
                    <a:pt x="259" y="1505"/>
                  </a:lnTo>
                  <a:lnTo>
                    <a:pt x="282" y="1555"/>
                  </a:lnTo>
                  <a:lnTo>
                    <a:pt x="307" y="1604"/>
                  </a:lnTo>
                  <a:lnTo>
                    <a:pt x="333" y="1653"/>
                  </a:lnTo>
                  <a:lnTo>
                    <a:pt x="359" y="1701"/>
                  </a:lnTo>
                  <a:lnTo>
                    <a:pt x="386" y="1748"/>
                  </a:lnTo>
                  <a:lnTo>
                    <a:pt x="414" y="1794"/>
                  </a:lnTo>
                  <a:lnTo>
                    <a:pt x="443" y="1841"/>
                  </a:lnTo>
                  <a:lnTo>
                    <a:pt x="473" y="1886"/>
                  </a:lnTo>
                  <a:lnTo>
                    <a:pt x="503" y="1929"/>
                  </a:lnTo>
                  <a:lnTo>
                    <a:pt x="534" y="1973"/>
                  </a:lnTo>
                  <a:lnTo>
                    <a:pt x="567" y="2017"/>
                  </a:lnTo>
                  <a:lnTo>
                    <a:pt x="600" y="2059"/>
                  </a:lnTo>
                  <a:lnTo>
                    <a:pt x="633" y="2100"/>
                  </a:lnTo>
                  <a:lnTo>
                    <a:pt x="667" y="2142"/>
                  </a:lnTo>
                  <a:lnTo>
                    <a:pt x="702" y="2181"/>
                  </a:lnTo>
                  <a:lnTo>
                    <a:pt x="738" y="2221"/>
                  </a:lnTo>
                  <a:lnTo>
                    <a:pt x="774" y="2260"/>
                  </a:lnTo>
                  <a:lnTo>
                    <a:pt x="811" y="2297"/>
                  </a:lnTo>
                  <a:lnTo>
                    <a:pt x="849" y="2334"/>
                  </a:lnTo>
                  <a:lnTo>
                    <a:pt x="888" y="2372"/>
                  </a:lnTo>
                  <a:lnTo>
                    <a:pt x="927" y="2406"/>
                  </a:lnTo>
                  <a:lnTo>
                    <a:pt x="966" y="2441"/>
                  </a:lnTo>
                  <a:lnTo>
                    <a:pt x="1007" y="2476"/>
                  </a:lnTo>
                  <a:lnTo>
                    <a:pt x="1049" y="2509"/>
                  </a:lnTo>
                  <a:lnTo>
                    <a:pt x="1089" y="2541"/>
                  </a:lnTo>
                  <a:lnTo>
                    <a:pt x="1132" y="2573"/>
                  </a:lnTo>
                  <a:lnTo>
                    <a:pt x="1132" y="2573"/>
                  </a:lnTo>
                  <a:lnTo>
                    <a:pt x="1131" y="2553"/>
                  </a:lnTo>
                  <a:lnTo>
                    <a:pt x="1131" y="2498"/>
                  </a:lnTo>
                  <a:lnTo>
                    <a:pt x="1131" y="2304"/>
                  </a:lnTo>
                  <a:lnTo>
                    <a:pt x="1137" y="1717"/>
                  </a:lnTo>
                  <a:lnTo>
                    <a:pt x="1144" y="1131"/>
                  </a:lnTo>
                  <a:lnTo>
                    <a:pt x="1148" y="864"/>
                  </a:lnTo>
                  <a:lnTo>
                    <a:pt x="1148" y="864"/>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3" name="Freeform 24"/>
            <p:cNvSpPr>
              <a:spLocks noEditPoints="1"/>
            </p:cNvSpPr>
            <p:nvPr userDrawn="1"/>
          </p:nvSpPr>
          <p:spPr bwMode="auto">
            <a:xfrm>
              <a:off x="6953250" y="0"/>
              <a:ext cx="2001838" cy="4103688"/>
            </a:xfrm>
            <a:custGeom>
              <a:avLst/>
              <a:gdLst>
                <a:gd name="T0" fmla="*/ 582 w 1261"/>
                <a:gd name="T1" fmla="*/ 0 h 2585"/>
                <a:gd name="T2" fmla="*/ 0 w 1261"/>
                <a:gd name="T3" fmla="*/ 0 h 2585"/>
                <a:gd name="T4" fmla="*/ 6 w 1261"/>
                <a:gd name="T5" fmla="*/ 33 h 2585"/>
                <a:gd name="T6" fmla="*/ 22 w 1261"/>
                <a:gd name="T7" fmla="*/ 97 h 2585"/>
                <a:gd name="T8" fmla="*/ 32 w 1261"/>
                <a:gd name="T9" fmla="*/ 129 h 2585"/>
                <a:gd name="T10" fmla="*/ 63 w 1261"/>
                <a:gd name="T11" fmla="*/ 210 h 2585"/>
                <a:gd name="T12" fmla="*/ 99 w 1261"/>
                <a:gd name="T13" fmla="*/ 288 h 2585"/>
                <a:gd name="T14" fmla="*/ 140 w 1261"/>
                <a:gd name="T15" fmla="*/ 361 h 2585"/>
                <a:gd name="T16" fmla="*/ 186 w 1261"/>
                <a:gd name="T17" fmla="*/ 431 h 2585"/>
                <a:gd name="T18" fmla="*/ 238 w 1261"/>
                <a:gd name="T19" fmla="*/ 495 h 2585"/>
                <a:gd name="T20" fmla="*/ 294 w 1261"/>
                <a:gd name="T21" fmla="*/ 556 h 2585"/>
                <a:gd name="T22" fmla="*/ 355 w 1261"/>
                <a:gd name="T23" fmla="*/ 611 h 2585"/>
                <a:gd name="T24" fmla="*/ 419 w 1261"/>
                <a:gd name="T25" fmla="*/ 660 h 2585"/>
                <a:gd name="T26" fmla="*/ 454 w 1261"/>
                <a:gd name="T27" fmla="*/ 686 h 2585"/>
                <a:gd name="T28" fmla="*/ 528 w 1261"/>
                <a:gd name="T29" fmla="*/ 730 h 2585"/>
                <a:gd name="T30" fmla="*/ 604 w 1261"/>
                <a:gd name="T31" fmla="*/ 768 h 2585"/>
                <a:gd name="T32" fmla="*/ 681 w 1261"/>
                <a:gd name="T33" fmla="*/ 801 h 2585"/>
                <a:gd name="T34" fmla="*/ 761 w 1261"/>
                <a:gd name="T35" fmla="*/ 826 h 2585"/>
                <a:gd name="T36" fmla="*/ 841 w 1261"/>
                <a:gd name="T37" fmla="*/ 845 h 2585"/>
                <a:gd name="T38" fmla="*/ 922 w 1261"/>
                <a:gd name="T39" fmla="*/ 857 h 2585"/>
                <a:gd name="T40" fmla="*/ 1003 w 1261"/>
                <a:gd name="T41" fmla="*/ 863 h 2585"/>
                <a:gd name="T42" fmla="*/ 1044 w 1261"/>
                <a:gd name="T43" fmla="*/ 864 h 2585"/>
                <a:gd name="T44" fmla="*/ 976 w 1261"/>
                <a:gd name="T45" fmla="*/ 918 h 2585"/>
                <a:gd name="T46" fmla="*/ 913 w 1261"/>
                <a:gd name="T47" fmla="*/ 977 h 2585"/>
                <a:gd name="T48" fmla="*/ 857 w 1261"/>
                <a:gd name="T49" fmla="*/ 1038 h 2585"/>
                <a:gd name="T50" fmla="*/ 805 w 1261"/>
                <a:gd name="T51" fmla="*/ 1104 h 2585"/>
                <a:gd name="T52" fmla="*/ 759 w 1261"/>
                <a:gd name="T53" fmla="*/ 1173 h 2585"/>
                <a:gd name="T54" fmla="*/ 720 w 1261"/>
                <a:gd name="T55" fmla="*/ 1245 h 2585"/>
                <a:gd name="T56" fmla="*/ 686 w 1261"/>
                <a:gd name="T57" fmla="*/ 1320 h 2585"/>
                <a:gd name="T58" fmla="*/ 658 w 1261"/>
                <a:gd name="T59" fmla="*/ 1396 h 2585"/>
                <a:gd name="T60" fmla="*/ 645 w 1261"/>
                <a:gd name="T61" fmla="*/ 1438 h 2585"/>
                <a:gd name="T62" fmla="*/ 625 w 1261"/>
                <a:gd name="T63" fmla="*/ 1521 h 2585"/>
                <a:gd name="T64" fmla="*/ 612 w 1261"/>
                <a:gd name="T65" fmla="*/ 1605 h 2585"/>
                <a:gd name="T66" fmla="*/ 606 w 1261"/>
                <a:gd name="T67" fmla="*/ 1689 h 2585"/>
                <a:gd name="T68" fmla="*/ 606 w 1261"/>
                <a:gd name="T69" fmla="*/ 1772 h 2585"/>
                <a:gd name="T70" fmla="*/ 614 w 1261"/>
                <a:gd name="T71" fmla="*/ 1854 h 2585"/>
                <a:gd name="T72" fmla="*/ 626 w 1261"/>
                <a:gd name="T73" fmla="*/ 1935 h 2585"/>
                <a:gd name="T74" fmla="*/ 645 w 1261"/>
                <a:gd name="T75" fmla="*/ 2015 h 2585"/>
                <a:gd name="T76" fmla="*/ 658 w 1261"/>
                <a:gd name="T77" fmla="*/ 2053 h 2585"/>
                <a:gd name="T78" fmla="*/ 688 w 1261"/>
                <a:gd name="T79" fmla="*/ 2135 h 2585"/>
                <a:gd name="T80" fmla="*/ 724 w 1261"/>
                <a:gd name="T81" fmla="*/ 2212 h 2585"/>
                <a:gd name="T82" fmla="*/ 766 w 1261"/>
                <a:gd name="T83" fmla="*/ 2286 h 2585"/>
                <a:gd name="T84" fmla="*/ 812 w 1261"/>
                <a:gd name="T85" fmla="*/ 2355 h 2585"/>
                <a:gd name="T86" fmla="*/ 864 w 1261"/>
                <a:gd name="T87" fmla="*/ 2420 h 2585"/>
                <a:gd name="T88" fmla="*/ 920 w 1261"/>
                <a:gd name="T89" fmla="*/ 2480 h 2585"/>
                <a:gd name="T90" fmla="*/ 979 w 1261"/>
                <a:gd name="T91" fmla="*/ 2535 h 2585"/>
                <a:gd name="T92" fmla="*/ 1044 w 1261"/>
                <a:gd name="T93" fmla="*/ 2585 h 2585"/>
                <a:gd name="T94" fmla="*/ 1044 w 1261"/>
                <a:gd name="T95" fmla="*/ 2585 h 2585"/>
                <a:gd name="T96" fmla="*/ 1261 w 1261"/>
                <a:gd name="T97" fmla="*/ 2376 h 2585"/>
                <a:gd name="T98" fmla="*/ 1044 w 1261"/>
                <a:gd name="T99" fmla="*/ 864 h 2585"/>
                <a:gd name="T100" fmla="*/ 1044 w 1261"/>
                <a:gd name="T101" fmla="*/ 864 h 2585"/>
                <a:gd name="T102" fmla="*/ 1044 w 1261"/>
                <a:gd name="T103" fmla="*/ 864 h 2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61" h="2585">
                  <a:moveTo>
                    <a:pt x="1255" y="0"/>
                  </a:moveTo>
                  <a:lnTo>
                    <a:pt x="582" y="0"/>
                  </a:lnTo>
                  <a:lnTo>
                    <a:pt x="470" y="0"/>
                  </a:lnTo>
                  <a:lnTo>
                    <a:pt x="0" y="0"/>
                  </a:lnTo>
                  <a:lnTo>
                    <a:pt x="0" y="0"/>
                  </a:lnTo>
                  <a:lnTo>
                    <a:pt x="6" y="33"/>
                  </a:lnTo>
                  <a:lnTo>
                    <a:pt x="14" y="65"/>
                  </a:lnTo>
                  <a:lnTo>
                    <a:pt x="22" y="97"/>
                  </a:lnTo>
                  <a:lnTo>
                    <a:pt x="32" y="129"/>
                  </a:lnTo>
                  <a:lnTo>
                    <a:pt x="32" y="129"/>
                  </a:lnTo>
                  <a:lnTo>
                    <a:pt x="47" y="170"/>
                  </a:lnTo>
                  <a:lnTo>
                    <a:pt x="63" y="210"/>
                  </a:lnTo>
                  <a:lnTo>
                    <a:pt x="79" y="250"/>
                  </a:lnTo>
                  <a:lnTo>
                    <a:pt x="99" y="288"/>
                  </a:lnTo>
                  <a:lnTo>
                    <a:pt x="119" y="325"/>
                  </a:lnTo>
                  <a:lnTo>
                    <a:pt x="140" y="361"/>
                  </a:lnTo>
                  <a:lnTo>
                    <a:pt x="163" y="396"/>
                  </a:lnTo>
                  <a:lnTo>
                    <a:pt x="186" y="431"/>
                  </a:lnTo>
                  <a:lnTo>
                    <a:pt x="212" y="464"/>
                  </a:lnTo>
                  <a:lnTo>
                    <a:pt x="238" y="495"/>
                  </a:lnTo>
                  <a:lnTo>
                    <a:pt x="266" y="525"/>
                  </a:lnTo>
                  <a:lnTo>
                    <a:pt x="294" y="556"/>
                  </a:lnTo>
                  <a:lnTo>
                    <a:pt x="324" y="584"/>
                  </a:lnTo>
                  <a:lnTo>
                    <a:pt x="355" y="611"/>
                  </a:lnTo>
                  <a:lnTo>
                    <a:pt x="387" y="637"/>
                  </a:lnTo>
                  <a:lnTo>
                    <a:pt x="419" y="660"/>
                  </a:lnTo>
                  <a:lnTo>
                    <a:pt x="419" y="660"/>
                  </a:lnTo>
                  <a:lnTo>
                    <a:pt x="454" y="686"/>
                  </a:lnTo>
                  <a:lnTo>
                    <a:pt x="491" y="709"/>
                  </a:lnTo>
                  <a:lnTo>
                    <a:pt x="528" y="730"/>
                  </a:lnTo>
                  <a:lnTo>
                    <a:pt x="565" y="750"/>
                  </a:lnTo>
                  <a:lnTo>
                    <a:pt x="604" y="768"/>
                  </a:lnTo>
                  <a:lnTo>
                    <a:pt x="642" y="785"/>
                  </a:lnTo>
                  <a:lnTo>
                    <a:pt x="681" y="801"/>
                  </a:lnTo>
                  <a:lnTo>
                    <a:pt x="721" y="815"/>
                  </a:lnTo>
                  <a:lnTo>
                    <a:pt x="761" y="826"/>
                  </a:lnTo>
                  <a:lnTo>
                    <a:pt x="801" y="836"/>
                  </a:lnTo>
                  <a:lnTo>
                    <a:pt x="841" y="845"/>
                  </a:lnTo>
                  <a:lnTo>
                    <a:pt x="882" y="852"/>
                  </a:lnTo>
                  <a:lnTo>
                    <a:pt x="922" y="857"/>
                  </a:lnTo>
                  <a:lnTo>
                    <a:pt x="963" y="861"/>
                  </a:lnTo>
                  <a:lnTo>
                    <a:pt x="1003" y="863"/>
                  </a:lnTo>
                  <a:lnTo>
                    <a:pt x="1044" y="864"/>
                  </a:lnTo>
                  <a:lnTo>
                    <a:pt x="1044" y="864"/>
                  </a:lnTo>
                  <a:lnTo>
                    <a:pt x="1010" y="890"/>
                  </a:lnTo>
                  <a:lnTo>
                    <a:pt x="976" y="918"/>
                  </a:lnTo>
                  <a:lnTo>
                    <a:pt x="943" y="946"/>
                  </a:lnTo>
                  <a:lnTo>
                    <a:pt x="913" y="977"/>
                  </a:lnTo>
                  <a:lnTo>
                    <a:pt x="884" y="1007"/>
                  </a:lnTo>
                  <a:lnTo>
                    <a:pt x="857" y="1038"/>
                  </a:lnTo>
                  <a:lnTo>
                    <a:pt x="830" y="1071"/>
                  </a:lnTo>
                  <a:lnTo>
                    <a:pt x="805" y="1104"/>
                  </a:lnTo>
                  <a:lnTo>
                    <a:pt x="781" y="1139"/>
                  </a:lnTo>
                  <a:lnTo>
                    <a:pt x="759" y="1173"/>
                  </a:lnTo>
                  <a:lnTo>
                    <a:pt x="739" y="1208"/>
                  </a:lnTo>
                  <a:lnTo>
                    <a:pt x="720" y="1245"/>
                  </a:lnTo>
                  <a:lnTo>
                    <a:pt x="702" y="1281"/>
                  </a:lnTo>
                  <a:lnTo>
                    <a:pt x="686" y="1320"/>
                  </a:lnTo>
                  <a:lnTo>
                    <a:pt x="671" y="1358"/>
                  </a:lnTo>
                  <a:lnTo>
                    <a:pt x="658" y="1396"/>
                  </a:lnTo>
                  <a:lnTo>
                    <a:pt x="658" y="1396"/>
                  </a:lnTo>
                  <a:lnTo>
                    <a:pt x="645" y="1438"/>
                  </a:lnTo>
                  <a:lnTo>
                    <a:pt x="634" y="1479"/>
                  </a:lnTo>
                  <a:lnTo>
                    <a:pt x="625" y="1521"/>
                  </a:lnTo>
                  <a:lnTo>
                    <a:pt x="617" y="1564"/>
                  </a:lnTo>
                  <a:lnTo>
                    <a:pt x="612" y="1605"/>
                  </a:lnTo>
                  <a:lnTo>
                    <a:pt x="608" y="1647"/>
                  </a:lnTo>
                  <a:lnTo>
                    <a:pt x="606" y="1689"/>
                  </a:lnTo>
                  <a:lnTo>
                    <a:pt x="605" y="1730"/>
                  </a:lnTo>
                  <a:lnTo>
                    <a:pt x="606" y="1772"/>
                  </a:lnTo>
                  <a:lnTo>
                    <a:pt x="609" y="1814"/>
                  </a:lnTo>
                  <a:lnTo>
                    <a:pt x="614" y="1854"/>
                  </a:lnTo>
                  <a:lnTo>
                    <a:pt x="619" y="1895"/>
                  </a:lnTo>
                  <a:lnTo>
                    <a:pt x="626" y="1935"/>
                  </a:lnTo>
                  <a:lnTo>
                    <a:pt x="635" y="1974"/>
                  </a:lnTo>
                  <a:lnTo>
                    <a:pt x="645" y="2015"/>
                  </a:lnTo>
                  <a:lnTo>
                    <a:pt x="658" y="2053"/>
                  </a:lnTo>
                  <a:lnTo>
                    <a:pt x="658" y="2053"/>
                  </a:lnTo>
                  <a:lnTo>
                    <a:pt x="672" y="2095"/>
                  </a:lnTo>
                  <a:lnTo>
                    <a:pt x="688" y="2135"/>
                  </a:lnTo>
                  <a:lnTo>
                    <a:pt x="705" y="2174"/>
                  </a:lnTo>
                  <a:lnTo>
                    <a:pt x="724" y="2212"/>
                  </a:lnTo>
                  <a:lnTo>
                    <a:pt x="744" y="2249"/>
                  </a:lnTo>
                  <a:lnTo>
                    <a:pt x="766" y="2286"/>
                  </a:lnTo>
                  <a:lnTo>
                    <a:pt x="788" y="2321"/>
                  </a:lnTo>
                  <a:lnTo>
                    <a:pt x="812" y="2355"/>
                  </a:lnTo>
                  <a:lnTo>
                    <a:pt x="838" y="2387"/>
                  </a:lnTo>
                  <a:lnTo>
                    <a:pt x="864" y="2420"/>
                  </a:lnTo>
                  <a:lnTo>
                    <a:pt x="891" y="2450"/>
                  </a:lnTo>
                  <a:lnTo>
                    <a:pt x="920" y="2480"/>
                  </a:lnTo>
                  <a:lnTo>
                    <a:pt x="949" y="2508"/>
                  </a:lnTo>
                  <a:lnTo>
                    <a:pt x="979" y="2535"/>
                  </a:lnTo>
                  <a:lnTo>
                    <a:pt x="1012" y="2561"/>
                  </a:lnTo>
                  <a:lnTo>
                    <a:pt x="1044" y="2585"/>
                  </a:lnTo>
                  <a:lnTo>
                    <a:pt x="1044" y="2585"/>
                  </a:lnTo>
                  <a:lnTo>
                    <a:pt x="1044" y="2585"/>
                  </a:lnTo>
                  <a:lnTo>
                    <a:pt x="1044" y="2585"/>
                  </a:lnTo>
                  <a:lnTo>
                    <a:pt x="1261" y="2376"/>
                  </a:lnTo>
                  <a:lnTo>
                    <a:pt x="1255" y="0"/>
                  </a:lnTo>
                  <a:close/>
                  <a:moveTo>
                    <a:pt x="1044" y="864"/>
                  </a:moveTo>
                  <a:lnTo>
                    <a:pt x="1044" y="864"/>
                  </a:lnTo>
                  <a:lnTo>
                    <a:pt x="1044" y="864"/>
                  </a:lnTo>
                  <a:lnTo>
                    <a:pt x="1045" y="864"/>
                  </a:lnTo>
                  <a:lnTo>
                    <a:pt x="1044" y="864"/>
                  </a:lnTo>
                  <a:close/>
                </a:path>
              </a:pathLst>
            </a:custGeom>
            <a:solidFill>
              <a:schemeClr val="accent4">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dirty="0"/>
            </a:p>
          </p:txBody>
        </p:sp>
        <p:sp>
          <p:nvSpPr>
            <p:cNvPr id="34" name="Freeform 25"/>
            <p:cNvSpPr>
              <a:spLocks/>
            </p:cNvSpPr>
            <p:nvPr userDrawn="1"/>
          </p:nvSpPr>
          <p:spPr bwMode="auto">
            <a:xfrm>
              <a:off x="7877175" y="0"/>
              <a:ext cx="1266825" cy="4103688"/>
            </a:xfrm>
            <a:custGeom>
              <a:avLst/>
              <a:gdLst>
                <a:gd name="T0" fmla="*/ 0 w 798"/>
                <a:gd name="T1" fmla="*/ 0 h 2585"/>
                <a:gd name="T2" fmla="*/ 73 w 798"/>
                <a:gd name="T3" fmla="*/ 96 h 2585"/>
                <a:gd name="T4" fmla="*/ 142 w 798"/>
                <a:gd name="T5" fmla="*/ 196 h 2585"/>
                <a:gd name="T6" fmla="*/ 206 w 798"/>
                <a:gd name="T7" fmla="*/ 299 h 2585"/>
                <a:gd name="T8" fmla="*/ 267 w 798"/>
                <a:gd name="T9" fmla="*/ 405 h 2585"/>
                <a:gd name="T10" fmla="*/ 322 w 798"/>
                <a:gd name="T11" fmla="*/ 515 h 2585"/>
                <a:gd name="T12" fmla="*/ 374 w 798"/>
                <a:gd name="T13" fmla="*/ 629 h 2585"/>
                <a:gd name="T14" fmla="*/ 420 w 798"/>
                <a:gd name="T15" fmla="*/ 745 h 2585"/>
                <a:gd name="T16" fmla="*/ 462 w 798"/>
                <a:gd name="T17" fmla="*/ 864 h 2585"/>
                <a:gd name="T18" fmla="*/ 463 w 798"/>
                <a:gd name="T19" fmla="*/ 864 h 2585"/>
                <a:gd name="T20" fmla="*/ 462 w 798"/>
                <a:gd name="T21" fmla="*/ 864 h 2585"/>
                <a:gd name="T22" fmla="*/ 462 w 798"/>
                <a:gd name="T23" fmla="*/ 864 h 2585"/>
                <a:gd name="T24" fmla="*/ 478 w 798"/>
                <a:gd name="T25" fmla="*/ 915 h 2585"/>
                <a:gd name="T26" fmla="*/ 508 w 798"/>
                <a:gd name="T27" fmla="*/ 1017 h 2585"/>
                <a:gd name="T28" fmla="*/ 532 w 798"/>
                <a:gd name="T29" fmla="*/ 1122 h 2585"/>
                <a:gd name="T30" fmla="*/ 554 w 798"/>
                <a:gd name="T31" fmla="*/ 1226 h 2585"/>
                <a:gd name="T32" fmla="*/ 571 w 798"/>
                <a:gd name="T33" fmla="*/ 1332 h 2585"/>
                <a:gd name="T34" fmla="*/ 584 w 798"/>
                <a:gd name="T35" fmla="*/ 1439 h 2585"/>
                <a:gd name="T36" fmla="*/ 593 w 798"/>
                <a:gd name="T37" fmla="*/ 1547 h 2585"/>
                <a:gd name="T38" fmla="*/ 598 w 798"/>
                <a:gd name="T39" fmla="*/ 1655 h 2585"/>
                <a:gd name="T40" fmla="*/ 599 w 798"/>
                <a:gd name="T41" fmla="*/ 1763 h 2585"/>
                <a:gd name="T42" fmla="*/ 595 w 798"/>
                <a:gd name="T43" fmla="*/ 1873 h 2585"/>
                <a:gd name="T44" fmla="*/ 586 w 798"/>
                <a:gd name="T45" fmla="*/ 1982 h 2585"/>
                <a:gd name="T46" fmla="*/ 574 w 798"/>
                <a:gd name="T47" fmla="*/ 2091 h 2585"/>
                <a:gd name="T48" fmla="*/ 557 w 798"/>
                <a:gd name="T49" fmla="*/ 2202 h 2585"/>
                <a:gd name="T50" fmla="*/ 536 w 798"/>
                <a:gd name="T51" fmla="*/ 2312 h 2585"/>
                <a:gd name="T52" fmla="*/ 510 w 798"/>
                <a:gd name="T53" fmla="*/ 2421 h 2585"/>
                <a:gd name="T54" fmla="*/ 480 w 798"/>
                <a:gd name="T55" fmla="*/ 2530 h 2585"/>
                <a:gd name="T56" fmla="*/ 462 w 798"/>
                <a:gd name="T57" fmla="*/ 2585 h 2585"/>
                <a:gd name="T58" fmla="*/ 597 w 798"/>
                <a:gd name="T59" fmla="*/ 2529 h 2585"/>
                <a:gd name="T60" fmla="*/ 675 w 798"/>
                <a:gd name="T61" fmla="*/ 2492 h 2585"/>
                <a:gd name="T62" fmla="*/ 798 w 798"/>
                <a:gd name="T63" fmla="*/ 2430 h 2585"/>
                <a:gd name="T64" fmla="*/ 798 w 798"/>
                <a:gd name="T65" fmla="*/ 0 h 2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98" h="2585">
                  <a:moveTo>
                    <a:pt x="0" y="0"/>
                  </a:moveTo>
                  <a:lnTo>
                    <a:pt x="0" y="0"/>
                  </a:lnTo>
                  <a:lnTo>
                    <a:pt x="37" y="47"/>
                  </a:lnTo>
                  <a:lnTo>
                    <a:pt x="73" y="96"/>
                  </a:lnTo>
                  <a:lnTo>
                    <a:pt x="108" y="145"/>
                  </a:lnTo>
                  <a:lnTo>
                    <a:pt x="142" y="196"/>
                  </a:lnTo>
                  <a:lnTo>
                    <a:pt x="175" y="246"/>
                  </a:lnTo>
                  <a:lnTo>
                    <a:pt x="206" y="299"/>
                  </a:lnTo>
                  <a:lnTo>
                    <a:pt x="237" y="352"/>
                  </a:lnTo>
                  <a:lnTo>
                    <a:pt x="267" y="405"/>
                  </a:lnTo>
                  <a:lnTo>
                    <a:pt x="295" y="460"/>
                  </a:lnTo>
                  <a:lnTo>
                    <a:pt x="322" y="515"/>
                  </a:lnTo>
                  <a:lnTo>
                    <a:pt x="349" y="572"/>
                  </a:lnTo>
                  <a:lnTo>
                    <a:pt x="374" y="629"/>
                  </a:lnTo>
                  <a:lnTo>
                    <a:pt x="397" y="686"/>
                  </a:lnTo>
                  <a:lnTo>
                    <a:pt x="420" y="745"/>
                  </a:lnTo>
                  <a:lnTo>
                    <a:pt x="441" y="804"/>
                  </a:lnTo>
                  <a:lnTo>
                    <a:pt x="462" y="864"/>
                  </a:lnTo>
                  <a:lnTo>
                    <a:pt x="462" y="864"/>
                  </a:lnTo>
                  <a:lnTo>
                    <a:pt x="463" y="864"/>
                  </a:lnTo>
                  <a:lnTo>
                    <a:pt x="463" y="864"/>
                  </a:lnTo>
                  <a:lnTo>
                    <a:pt x="462" y="864"/>
                  </a:lnTo>
                  <a:lnTo>
                    <a:pt x="462" y="864"/>
                  </a:lnTo>
                  <a:lnTo>
                    <a:pt x="462" y="864"/>
                  </a:lnTo>
                  <a:lnTo>
                    <a:pt x="462" y="864"/>
                  </a:lnTo>
                  <a:lnTo>
                    <a:pt x="478" y="915"/>
                  </a:lnTo>
                  <a:lnTo>
                    <a:pt x="493" y="966"/>
                  </a:lnTo>
                  <a:lnTo>
                    <a:pt x="508" y="1017"/>
                  </a:lnTo>
                  <a:lnTo>
                    <a:pt x="520" y="1069"/>
                  </a:lnTo>
                  <a:lnTo>
                    <a:pt x="532" y="1122"/>
                  </a:lnTo>
                  <a:lnTo>
                    <a:pt x="544" y="1173"/>
                  </a:lnTo>
                  <a:lnTo>
                    <a:pt x="554" y="1226"/>
                  </a:lnTo>
                  <a:lnTo>
                    <a:pt x="563" y="1279"/>
                  </a:lnTo>
                  <a:lnTo>
                    <a:pt x="571" y="1332"/>
                  </a:lnTo>
                  <a:lnTo>
                    <a:pt x="579" y="1386"/>
                  </a:lnTo>
                  <a:lnTo>
                    <a:pt x="584" y="1439"/>
                  </a:lnTo>
                  <a:lnTo>
                    <a:pt x="590" y="1493"/>
                  </a:lnTo>
                  <a:lnTo>
                    <a:pt x="593" y="1547"/>
                  </a:lnTo>
                  <a:lnTo>
                    <a:pt x="597" y="1601"/>
                  </a:lnTo>
                  <a:lnTo>
                    <a:pt x="598" y="1655"/>
                  </a:lnTo>
                  <a:lnTo>
                    <a:pt x="599" y="1709"/>
                  </a:lnTo>
                  <a:lnTo>
                    <a:pt x="599" y="1763"/>
                  </a:lnTo>
                  <a:lnTo>
                    <a:pt x="598" y="1818"/>
                  </a:lnTo>
                  <a:lnTo>
                    <a:pt x="595" y="1873"/>
                  </a:lnTo>
                  <a:lnTo>
                    <a:pt x="592" y="1927"/>
                  </a:lnTo>
                  <a:lnTo>
                    <a:pt x="586" y="1982"/>
                  </a:lnTo>
                  <a:lnTo>
                    <a:pt x="581" y="2037"/>
                  </a:lnTo>
                  <a:lnTo>
                    <a:pt x="574" y="2091"/>
                  </a:lnTo>
                  <a:lnTo>
                    <a:pt x="566" y="2147"/>
                  </a:lnTo>
                  <a:lnTo>
                    <a:pt x="557" y="2202"/>
                  </a:lnTo>
                  <a:lnTo>
                    <a:pt x="547" y="2257"/>
                  </a:lnTo>
                  <a:lnTo>
                    <a:pt x="536" y="2312"/>
                  </a:lnTo>
                  <a:lnTo>
                    <a:pt x="523" y="2366"/>
                  </a:lnTo>
                  <a:lnTo>
                    <a:pt x="510" y="2421"/>
                  </a:lnTo>
                  <a:lnTo>
                    <a:pt x="495" y="2476"/>
                  </a:lnTo>
                  <a:lnTo>
                    <a:pt x="480" y="2530"/>
                  </a:lnTo>
                  <a:lnTo>
                    <a:pt x="462" y="2585"/>
                  </a:lnTo>
                  <a:lnTo>
                    <a:pt x="462" y="2585"/>
                  </a:lnTo>
                  <a:lnTo>
                    <a:pt x="555" y="2547"/>
                  </a:lnTo>
                  <a:lnTo>
                    <a:pt x="597" y="2529"/>
                  </a:lnTo>
                  <a:lnTo>
                    <a:pt x="637" y="2511"/>
                  </a:lnTo>
                  <a:lnTo>
                    <a:pt x="675" y="2492"/>
                  </a:lnTo>
                  <a:lnTo>
                    <a:pt x="715" y="2473"/>
                  </a:lnTo>
                  <a:lnTo>
                    <a:pt x="798" y="2430"/>
                  </a:lnTo>
                  <a:lnTo>
                    <a:pt x="798" y="701"/>
                  </a:lnTo>
                  <a:lnTo>
                    <a:pt x="798" y="0"/>
                  </a:lnTo>
                  <a:lnTo>
                    <a:pt x="0"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dirty="0"/>
            </a:p>
          </p:txBody>
        </p:sp>
        <p:sp>
          <p:nvSpPr>
            <p:cNvPr id="35" name="Freeform 26"/>
            <p:cNvSpPr>
              <a:spLocks/>
            </p:cNvSpPr>
            <p:nvPr userDrawn="1"/>
          </p:nvSpPr>
          <p:spPr bwMode="auto">
            <a:xfrm>
              <a:off x="8610600" y="1112838"/>
              <a:ext cx="533400" cy="258763"/>
            </a:xfrm>
            <a:custGeom>
              <a:avLst/>
              <a:gdLst>
                <a:gd name="T0" fmla="*/ 336 w 336"/>
                <a:gd name="T1" fmla="*/ 0 h 163"/>
                <a:gd name="T2" fmla="*/ 336 w 336"/>
                <a:gd name="T3" fmla="*/ 0 h 163"/>
                <a:gd name="T4" fmla="*/ 291 w 336"/>
                <a:gd name="T5" fmla="*/ 13 h 163"/>
                <a:gd name="T6" fmla="*/ 246 w 336"/>
                <a:gd name="T7" fmla="*/ 29 h 163"/>
                <a:gd name="T8" fmla="*/ 202 w 336"/>
                <a:gd name="T9" fmla="*/ 47 h 163"/>
                <a:gd name="T10" fmla="*/ 159 w 336"/>
                <a:gd name="T11" fmla="*/ 67 h 163"/>
                <a:gd name="T12" fmla="*/ 118 w 336"/>
                <a:gd name="T13" fmla="*/ 89 h 163"/>
                <a:gd name="T14" fmla="*/ 77 w 336"/>
                <a:gd name="T15" fmla="*/ 111 h 163"/>
                <a:gd name="T16" fmla="*/ 38 w 336"/>
                <a:gd name="T17" fmla="*/ 136 h 163"/>
                <a:gd name="T18" fmla="*/ 0 w 336"/>
                <a:gd name="T19" fmla="*/ 163 h 163"/>
                <a:gd name="T20" fmla="*/ 0 w 336"/>
                <a:gd name="T21" fmla="*/ 163 h 163"/>
                <a:gd name="T22" fmla="*/ 43 w 336"/>
                <a:gd name="T23" fmla="*/ 162 h 163"/>
                <a:gd name="T24" fmla="*/ 87 w 336"/>
                <a:gd name="T25" fmla="*/ 160 h 163"/>
                <a:gd name="T26" fmla="*/ 130 w 336"/>
                <a:gd name="T27" fmla="*/ 155 h 163"/>
                <a:gd name="T28" fmla="*/ 173 w 336"/>
                <a:gd name="T29" fmla="*/ 150 h 163"/>
                <a:gd name="T30" fmla="*/ 214 w 336"/>
                <a:gd name="T31" fmla="*/ 142 h 163"/>
                <a:gd name="T32" fmla="*/ 255 w 336"/>
                <a:gd name="T33" fmla="*/ 133 h 163"/>
                <a:gd name="T34" fmla="*/ 297 w 336"/>
                <a:gd name="T35" fmla="*/ 121 h 163"/>
                <a:gd name="T36" fmla="*/ 336 w 336"/>
                <a:gd name="T37" fmla="*/ 109 h 163"/>
                <a:gd name="T38" fmla="*/ 336 w 336"/>
                <a:gd name="T39"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6" h="163">
                  <a:moveTo>
                    <a:pt x="336" y="0"/>
                  </a:moveTo>
                  <a:lnTo>
                    <a:pt x="336" y="0"/>
                  </a:lnTo>
                  <a:lnTo>
                    <a:pt x="291" y="13"/>
                  </a:lnTo>
                  <a:lnTo>
                    <a:pt x="246" y="29"/>
                  </a:lnTo>
                  <a:lnTo>
                    <a:pt x="202" y="47"/>
                  </a:lnTo>
                  <a:lnTo>
                    <a:pt x="159" y="67"/>
                  </a:lnTo>
                  <a:lnTo>
                    <a:pt x="118" y="89"/>
                  </a:lnTo>
                  <a:lnTo>
                    <a:pt x="77" y="111"/>
                  </a:lnTo>
                  <a:lnTo>
                    <a:pt x="38" y="136"/>
                  </a:lnTo>
                  <a:lnTo>
                    <a:pt x="0" y="163"/>
                  </a:lnTo>
                  <a:lnTo>
                    <a:pt x="0" y="163"/>
                  </a:lnTo>
                  <a:lnTo>
                    <a:pt x="43" y="162"/>
                  </a:lnTo>
                  <a:lnTo>
                    <a:pt x="87" y="160"/>
                  </a:lnTo>
                  <a:lnTo>
                    <a:pt x="130" y="155"/>
                  </a:lnTo>
                  <a:lnTo>
                    <a:pt x="173" y="150"/>
                  </a:lnTo>
                  <a:lnTo>
                    <a:pt x="214" y="142"/>
                  </a:lnTo>
                  <a:lnTo>
                    <a:pt x="255" y="133"/>
                  </a:lnTo>
                  <a:lnTo>
                    <a:pt x="297" y="121"/>
                  </a:lnTo>
                  <a:lnTo>
                    <a:pt x="336" y="109"/>
                  </a:lnTo>
                  <a:lnTo>
                    <a:pt x="336" y="0"/>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6" name="Freeform 27"/>
            <p:cNvSpPr>
              <a:spLocks/>
            </p:cNvSpPr>
            <p:nvPr userDrawn="1"/>
          </p:nvSpPr>
          <p:spPr bwMode="auto">
            <a:xfrm>
              <a:off x="8610600" y="4103688"/>
              <a:ext cx="28575" cy="20638"/>
            </a:xfrm>
            <a:custGeom>
              <a:avLst/>
              <a:gdLst>
                <a:gd name="T0" fmla="*/ 18 w 18"/>
                <a:gd name="T1" fmla="*/ 13 h 13"/>
                <a:gd name="T2" fmla="*/ 18 w 18"/>
                <a:gd name="T3" fmla="*/ 13 h 13"/>
                <a:gd name="T4" fmla="*/ 0 w 18"/>
                <a:gd name="T5" fmla="*/ 0 h 13"/>
                <a:gd name="T6" fmla="*/ 0 w 18"/>
                <a:gd name="T7" fmla="*/ 0 h 13"/>
                <a:gd name="T8" fmla="*/ 18 w 18"/>
                <a:gd name="T9" fmla="*/ 13 h 13"/>
                <a:gd name="T10" fmla="*/ 18 w 18"/>
                <a:gd name="T11" fmla="*/ 13 h 13"/>
              </a:gdLst>
              <a:ahLst/>
              <a:cxnLst>
                <a:cxn ang="0">
                  <a:pos x="T0" y="T1"/>
                </a:cxn>
                <a:cxn ang="0">
                  <a:pos x="T2" y="T3"/>
                </a:cxn>
                <a:cxn ang="0">
                  <a:pos x="T4" y="T5"/>
                </a:cxn>
                <a:cxn ang="0">
                  <a:pos x="T6" y="T7"/>
                </a:cxn>
                <a:cxn ang="0">
                  <a:pos x="T8" y="T9"/>
                </a:cxn>
                <a:cxn ang="0">
                  <a:pos x="T10" y="T11"/>
                </a:cxn>
              </a:cxnLst>
              <a:rect l="0" t="0" r="r" b="b"/>
              <a:pathLst>
                <a:path w="18" h="13">
                  <a:moveTo>
                    <a:pt x="18" y="13"/>
                  </a:moveTo>
                  <a:lnTo>
                    <a:pt x="18" y="13"/>
                  </a:lnTo>
                  <a:lnTo>
                    <a:pt x="0" y="0"/>
                  </a:lnTo>
                  <a:lnTo>
                    <a:pt x="0" y="0"/>
                  </a:lnTo>
                  <a:lnTo>
                    <a:pt x="18" y="13"/>
                  </a:lnTo>
                  <a:lnTo>
                    <a:pt x="18" y="13"/>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7" name="Freeform 28"/>
            <p:cNvSpPr>
              <a:spLocks/>
            </p:cNvSpPr>
            <p:nvPr userDrawn="1"/>
          </p:nvSpPr>
          <p:spPr bwMode="auto">
            <a:xfrm>
              <a:off x="8639175" y="4124325"/>
              <a:ext cx="504825" cy="312738"/>
            </a:xfrm>
            <a:custGeom>
              <a:avLst/>
              <a:gdLst>
                <a:gd name="T0" fmla="*/ 318 w 318"/>
                <a:gd name="T1" fmla="*/ 150 h 197"/>
                <a:gd name="T2" fmla="*/ 318 w 318"/>
                <a:gd name="T3" fmla="*/ 150 h 197"/>
                <a:gd name="T4" fmla="*/ 276 w 318"/>
                <a:gd name="T5" fmla="*/ 138 h 197"/>
                <a:gd name="T6" fmla="*/ 236 w 318"/>
                <a:gd name="T7" fmla="*/ 123 h 197"/>
                <a:gd name="T8" fmla="*/ 195 w 318"/>
                <a:gd name="T9" fmla="*/ 108 h 197"/>
                <a:gd name="T10" fmla="*/ 155 w 318"/>
                <a:gd name="T11" fmla="*/ 90 h 197"/>
                <a:gd name="T12" fmla="*/ 115 w 318"/>
                <a:gd name="T13" fmla="*/ 69 h 197"/>
                <a:gd name="T14" fmla="*/ 76 w 318"/>
                <a:gd name="T15" fmla="*/ 48 h 197"/>
                <a:gd name="T16" fmla="*/ 38 w 318"/>
                <a:gd name="T17" fmla="*/ 24 h 197"/>
                <a:gd name="T18" fmla="*/ 0 w 318"/>
                <a:gd name="T19" fmla="*/ 0 h 197"/>
                <a:gd name="T20" fmla="*/ 0 w 318"/>
                <a:gd name="T21" fmla="*/ 0 h 197"/>
                <a:gd name="T22" fmla="*/ 39 w 318"/>
                <a:gd name="T23" fmla="*/ 27 h 197"/>
                <a:gd name="T24" fmla="*/ 77 w 318"/>
                <a:gd name="T25" fmla="*/ 54 h 197"/>
                <a:gd name="T26" fmla="*/ 117 w 318"/>
                <a:gd name="T27" fmla="*/ 80 h 197"/>
                <a:gd name="T28" fmla="*/ 157 w 318"/>
                <a:gd name="T29" fmla="*/ 104 h 197"/>
                <a:gd name="T30" fmla="*/ 196 w 318"/>
                <a:gd name="T31" fmla="*/ 128 h 197"/>
                <a:gd name="T32" fmla="*/ 237 w 318"/>
                <a:gd name="T33" fmla="*/ 152 h 197"/>
                <a:gd name="T34" fmla="*/ 277 w 318"/>
                <a:gd name="T35" fmla="*/ 174 h 197"/>
                <a:gd name="T36" fmla="*/ 318 w 318"/>
                <a:gd name="T37" fmla="*/ 197 h 197"/>
                <a:gd name="T38" fmla="*/ 318 w 318"/>
                <a:gd name="T39" fmla="*/ 15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8" h="197">
                  <a:moveTo>
                    <a:pt x="318" y="150"/>
                  </a:moveTo>
                  <a:lnTo>
                    <a:pt x="318" y="150"/>
                  </a:lnTo>
                  <a:lnTo>
                    <a:pt x="276" y="138"/>
                  </a:lnTo>
                  <a:lnTo>
                    <a:pt x="236" y="123"/>
                  </a:lnTo>
                  <a:lnTo>
                    <a:pt x="195" y="108"/>
                  </a:lnTo>
                  <a:lnTo>
                    <a:pt x="155" y="90"/>
                  </a:lnTo>
                  <a:lnTo>
                    <a:pt x="115" y="69"/>
                  </a:lnTo>
                  <a:lnTo>
                    <a:pt x="76" y="48"/>
                  </a:lnTo>
                  <a:lnTo>
                    <a:pt x="38" y="24"/>
                  </a:lnTo>
                  <a:lnTo>
                    <a:pt x="0" y="0"/>
                  </a:lnTo>
                  <a:lnTo>
                    <a:pt x="0" y="0"/>
                  </a:lnTo>
                  <a:lnTo>
                    <a:pt x="39" y="27"/>
                  </a:lnTo>
                  <a:lnTo>
                    <a:pt x="77" y="54"/>
                  </a:lnTo>
                  <a:lnTo>
                    <a:pt x="117" y="80"/>
                  </a:lnTo>
                  <a:lnTo>
                    <a:pt x="157" y="104"/>
                  </a:lnTo>
                  <a:lnTo>
                    <a:pt x="196" y="128"/>
                  </a:lnTo>
                  <a:lnTo>
                    <a:pt x="237" y="152"/>
                  </a:lnTo>
                  <a:lnTo>
                    <a:pt x="277" y="174"/>
                  </a:lnTo>
                  <a:lnTo>
                    <a:pt x="318" y="197"/>
                  </a:lnTo>
                  <a:lnTo>
                    <a:pt x="318" y="150"/>
                  </a:ln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dirty="0"/>
            </a:p>
          </p:txBody>
        </p:sp>
        <p:sp>
          <p:nvSpPr>
            <p:cNvPr id="38" name="Freeform 29"/>
            <p:cNvSpPr>
              <a:spLocks/>
            </p:cNvSpPr>
            <p:nvPr userDrawn="1"/>
          </p:nvSpPr>
          <p:spPr bwMode="auto">
            <a:xfrm>
              <a:off x="8585200" y="4084638"/>
              <a:ext cx="25400" cy="19050"/>
            </a:xfrm>
            <a:custGeom>
              <a:avLst/>
              <a:gdLst>
                <a:gd name="T0" fmla="*/ 0 w 16"/>
                <a:gd name="T1" fmla="*/ 0 h 12"/>
                <a:gd name="T2" fmla="*/ 0 w 16"/>
                <a:gd name="T3" fmla="*/ 0 h 12"/>
                <a:gd name="T4" fmla="*/ 16 w 16"/>
                <a:gd name="T5" fmla="*/ 12 h 12"/>
                <a:gd name="T6" fmla="*/ 16 w 16"/>
                <a:gd name="T7" fmla="*/ 12 h 12"/>
                <a:gd name="T8" fmla="*/ 0 w 16"/>
                <a:gd name="T9" fmla="*/ 0 h 12"/>
                <a:gd name="T10" fmla="*/ 0 w 16"/>
                <a:gd name="T11" fmla="*/ 0 h 12"/>
              </a:gdLst>
              <a:ahLst/>
              <a:cxnLst>
                <a:cxn ang="0">
                  <a:pos x="T0" y="T1"/>
                </a:cxn>
                <a:cxn ang="0">
                  <a:pos x="T2" y="T3"/>
                </a:cxn>
                <a:cxn ang="0">
                  <a:pos x="T4" y="T5"/>
                </a:cxn>
                <a:cxn ang="0">
                  <a:pos x="T6" y="T7"/>
                </a:cxn>
                <a:cxn ang="0">
                  <a:pos x="T8" y="T9"/>
                </a:cxn>
                <a:cxn ang="0">
                  <a:pos x="T10" y="T11"/>
                </a:cxn>
              </a:cxnLst>
              <a:rect l="0" t="0" r="r" b="b"/>
              <a:pathLst>
                <a:path w="16" h="12">
                  <a:moveTo>
                    <a:pt x="0" y="0"/>
                  </a:moveTo>
                  <a:lnTo>
                    <a:pt x="0" y="0"/>
                  </a:lnTo>
                  <a:lnTo>
                    <a:pt x="16" y="12"/>
                  </a:lnTo>
                  <a:lnTo>
                    <a:pt x="16" y="12"/>
                  </a:lnTo>
                  <a:lnTo>
                    <a:pt x="0" y="0"/>
                  </a:lnTo>
                  <a:lnTo>
                    <a:pt x="0" y="0"/>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39" name="Freeform 30"/>
            <p:cNvSpPr>
              <a:spLocks/>
            </p:cNvSpPr>
            <p:nvPr userDrawn="1"/>
          </p:nvSpPr>
          <p:spPr bwMode="auto">
            <a:xfrm>
              <a:off x="7588250" y="4103688"/>
              <a:ext cx="1022350" cy="1039813"/>
            </a:xfrm>
            <a:custGeom>
              <a:avLst/>
              <a:gdLst>
                <a:gd name="T0" fmla="*/ 0 w 644"/>
                <a:gd name="T1" fmla="*/ 655 h 655"/>
                <a:gd name="T2" fmla="*/ 332 w 644"/>
                <a:gd name="T3" fmla="*/ 655 h 655"/>
                <a:gd name="T4" fmla="*/ 332 w 644"/>
                <a:gd name="T5" fmla="*/ 655 h 655"/>
                <a:gd name="T6" fmla="*/ 357 w 644"/>
                <a:gd name="T7" fmla="*/ 617 h 655"/>
                <a:gd name="T8" fmla="*/ 381 w 644"/>
                <a:gd name="T9" fmla="*/ 577 h 655"/>
                <a:gd name="T10" fmla="*/ 404 w 644"/>
                <a:gd name="T11" fmla="*/ 538 h 655"/>
                <a:gd name="T12" fmla="*/ 426 w 644"/>
                <a:gd name="T13" fmla="*/ 499 h 655"/>
                <a:gd name="T14" fmla="*/ 449 w 644"/>
                <a:gd name="T15" fmla="*/ 458 h 655"/>
                <a:gd name="T16" fmla="*/ 470 w 644"/>
                <a:gd name="T17" fmla="*/ 418 h 655"/>
                <a:gd name="T18" fmla="*/ 491 w 644"/>
                <a:gd name="T19" fmla="*/ 377 h 655"/>
                <a:gd name="T20" fmla="*/ 511 w 644"/>
                <a:gd name="T21" fmla="*/ 337 h 655"/>
                <a:gd name="T22" fmla="*/ 530 w 644"/>
                <a:gd name="T23" fmla="*/ 295 h 655"/>
                <a:gd name="T24" fmla="*/ 548 w 644"/>
                <a:gd name="T25" fmla="*/ 253 h 655"/>
                <a:gd name="T26" fmla="*/ 566 w 644"/>
                <a:gd name="T27" fmla="*/ 212 h 655"/>
                <a:gd name="T28" fmla="*/ 583 w 644"/>
                <a:gd name="T29" fmla="*/ 170 h 655"/>
                <a:gd name="T30" fmla="*/ 600 w 644"/>
                <a:gd name="T31" fmla="*/ 129 h 655"/>
                <a:gd name="T32" fmla="*/ 614 w 644"/>
                <a:gd name="T33" fmla="*/ 86 h 655"/>
                <a:gd name="T34" fmla="*/ 630 w 644"/>
                <a:gd name="T35" fmla="*/ 43 h 655"/>
                <a:gd name="T36" fmla="*/ 644 w 644"/>
                <a:gd name="T37" fmla="*/ 0 h 655"/>
                <a:gd name="T38" fmla="*/ 644 w 644"/>
                <a:gd name="T39" fmla="*/ 0 h 655"/>
                <a:gd name="T40" fmla="*/ 644 w 644"/>
                <a:gd name="T41" fmla="*/ 0 h 655"/>
                <a:gd name="T42" fmla="*/ 596 w 644"/>
                <a:gd name="T43" fmla="*/ 35 h 655"/>
                <a:gd name="T44" fmla="*/ 550 w 644"/>
                <a:gd name="T45" fmla="*/ 72 h 655"/>
                <a:gd name="T46" fmla="*/ 504 w 644"/>
                <a:gd name="T47" fmla="*/ 108 h 655"/>
                <a:gd name="T48" fmla="*/ 459 w 644"/>
                <a:gd name="T49" fmla="*/ 147 h 655"/>
                <a:gd name="T50" fmla="*/ 415 w 644"/>
                <a:gd name="T51" fmla="*/ 185 h 655"/>
                <a:gd name="T52" fmla="*/ 372 w 644"/>
                <a:gd name="T53" fmla="*/ 224 h 655"/>
                <a:gd name="T54" fmla="*/ 331 w 644"/>
                <a:gd name="T55" fmla="*/ 265 h 655"/>
                <a:gd name="T56" fmla="*/ 290 w 644"/>
                <a:gd name="T57" fmla="*/ 305 h 655"/>
                <a:gd name="T58" fmla="*/ 250 w 644"/>
                <a:gd name="T59" fmla="*/ 347 h 655"/>
                <a:gd name="T60" fmla="*/ 212 w 644"/>
                <a:gd name="T61" fmla="*/ 388 h 655"/>
                <a:gd name="T62" fmla="*/ 173 w 644"/>
                <a:gd name="T63" fmla="*/ 431 h 655"/>
                <a:gd name="T64" fmla="*/ 137 w 644"/>
                <a:gd name="T65" fmla="*/ 475 h 655"/>
                <a:gd name="T66" fmla="*/ 101 w 644"/>
                <a:gd name="T67" fmla="*/ 519 h 655"/>
                <a:gd name="T68" fmla="*/ 66 w 644"/>
                <a:gd name="T69" fmla="*/ 564 h 655"/>
                <a:gd name="T70" fmla="*/ 33 w 644"/>
                <a:gd name="T71" fmla="*/ 609 h 655"/>
                <a:gd name="T72" fmla="*/ 0 w 644"/>
                <a:gd name="T73" fmla="*/ 655 h 655"/>
                <a:gd name="T74" fmla="*/ 0 w 644"/>
                <a:gd name="T75" fmla="*/ 655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44" h="655">
                  <a:moveTo>
                    <a:pt x="0" y="655"/>
                  </a:moveTo>
                  <a:lnTo>
                    <a:pt x="332" y="655"/>
                  </a:lnTo>
                  <a:lnTo>
                    <a:pt x="332" y="655"/>
                  </a:lnTo>
                  <a:lnTo>
                    <a:pt x="357" y="617"/>
                  </a:lnTo>
                  <a:lnTo>
                    <a:pt x="381" y="577"/>
                  </a:lnTo>
                  <a:lnTo>
                    <a:pt x="404" y="538"/>
                  </a:lnTo>
                  <a:lnTo>
                    <a:pt x="426" y="499"/>
                  </a:lnTo>
                  <a:lnTo>
                    <a:pt x="449" y="458"/>
                  </a:lnTo>
                  <a:lnTo>
                    <a:pt x="470" y="418"/>
                  </a:lnTo>
                  <a:lnTo>
                    <a:pt x="491" y="377"/>
                  </a:lnTo>
                  <a:lnTo>
                    <a:pt x="511" y="337"/>
                  </a:lnTo>
                  <a:lnTo>
                    <a:pt x="530" y="295"/>
                  </a:lnTo>
                  <a:lnTo>
                    <a:pt x="548" y="253"/>
                  </a:lnTo>
                  <a:lnTo>
                    <a:pt x="566" y="212"/>
                  </a:lnTo>
                  <a:lnTo>
                    <a:pt x="583" y="170"/>
                  </a:lnTo>
                  <a:lnTo>
                    <a:pt x="600" y="129"/>
                  </a:lnTo>
                  <a:lnTo>
                    <a:pt x="614" y="86"/>
                  </a:lnTo>
                  <a:lnTo>
                    <a:pt x="630" y="43"/>
                  </a:lnTo>
                  <a:lnTo>
                    <a:pt x="644" y="0"/>
                  </a:lnTo>
                  <a:lnTo>
                    <a:pt x="644" y="0"/>
                  </a:lnTo>
                  <a:lnTo>
                    <a:pt x="644" y="0"/>
                  </a:lnTo>
                  <a:lnTo>
                    <a:pt x="596" y="35"/>
                  </a:lnTo>
                  <a:lnTo>
                    <a:pt x="550" y="72"/>
                  </a:lnTo>
                  <a:lnTo>
                    <a:pt x="504" y="108"/>
                  </a:lnTo>
                  <a:lnTo>
                    <a:pt x="459" y="147"/>
                  </a:lnTo>
                  <a:lnTo>
                    <a:pt x="415" y="185"/>
                  </a:lnTo>
                  <a:lnTo>
                    <a:pt x="372" y="224"/>
                  </a:lnTo>
                  <a:lnTo>
                    <a:pt x="331" y="265"/>
                  </a:lnTo>
                  <a:lnTo>
                    <a:pt x="290" y="305"/>
                  </a:lnTo>
                  <a:lnTo>
                    <a:pt x="250" y="347"/>
                  </a:lnTo>
                  <a:lnTo>
                    <a:pt x="212" y="388"/>
                  </a:lnTo>
                  <a:lnTo>
                    <a:pt x="173" y="431"/>
                  </a:lnTo>
                  <a:lnTo>
                    <a:pt x="137" y="475"/>
                  </a:lnTo>
                  <a:lnTo>
                    <a:pt x="101" y="519"/>
                  </a:lnTo>
                  <a:lnTo>
                    <a:pt x="66" y="564"/>
                  </a:lnTo>
                  <a:lnTo>
                    <a:pt x="33" y="609"/>
                  </a:lnTo>
                  <a:lnTo>
                    <a:pt x="0" y="655"/>
                  </a:lnTo>
                  <a:lnTo>
                    <a:pt x="0" y="655"/>
                  </a:lnTo>
                  <a:close/>
                </a:path>
              </a:pathLst>
            </a:custGeom>
            <a:solidFill>
              <a:schemeClr val="tx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40" name="Freeform 31"/>
            <p:cNvSpPr>
              <a:spLocks/>
            </p:cNvSpPr>
            <p:nvPr userDrawn="1"/>
          </p:nvSpPr>
          <p:spPr bwMode="auto">
            <a:xfrm>
              <a:off x="8610600" y="3771900"/>
              <a:ext cx="533400" cy="619125"/>
            </a:xfrm>
            <a:custGeom>
              <a:avLst/>
              <a:gdLst>
                <a:gd name="T0" fmla="*/ 336 w 336"/>
                <a:gd name="T1" fmla="*/ 0 h 390"/>
                <a:gd name="T2" fmla="*/ 336 w 336"/>
                <a:gd name="T3" fmla="*/ 0 h 390"/>
                <a:gd name="T4" fmla="*/ 292 w 336"/>
                <a:gd name="T5" fmla="*/ 24 h 390"/>
                <a:gd name="T6" fmla="*/ 249 w 336"/>
                <a:gd name="T7" fmla="*/ 47 h 390"/>
                <a:gd name="T8" fmla="*/ 207 w 336"/>
                <a:gd name="T9" fmla="*/ 73 h 390"/>
                <a:gd name="T10" fmla="*/ 164 w 336"/>
                <a:gd name="T11" fmla="*/ 99 h 390"/>
                <a:gd name="T12" fmla="*/ 122 w 336"/>
                <a:gd name="T13" fmla="*/ 125 h 390"/>
                <a:gd name="T14" fmla="*/ 81 w 336"/>
                <a:gd name="T15" fmla="*/ 152 h 390"/>
                <a:gd name="T16" fmla="*/ 40 w 336"/>
                <a:gd name="T17" fmla="*/ 180 h 390"/>
                <a:gd name="T18" fmla="*/ 0 w 336"/>
                <a:gd name="T19" fmla="*/ 209 h 390"/>
                <a:gd name="T20" fmla="*/ 1 w 336"/>
                <a:gd name="T21" fmla="*/ 209 h 390"/>
                <a:gd name="T22" fmla="*/ 1 w 336"/>
                <a:gd name="T23" fmla="*/ 209 h 390"/>
                <a:gd name="T24" fmla="*/ 41 w 336"/>
                <a:gd name="T25" fmla="*/ 239 h 390"/>
                <a:gd name="T26" fmla="*/ 83 w 336"/>
                <a:gd name="T27" fmla="*/ 267 h 390"/>
                <a:gd name="T28" fmla="*/ 124 w 336"/>
                <a:gd name="T29" fmla="*/ 293 h 390"/>
                <a:gd name="T30" fmla="*/ 167 w 336"/>
                <a:gd name="T31" fmla="*/ 317 h 390"/>
                <a:gd name="T32" fmla="*/ 210 w 336"/>
                <a:gd name="T33" fmla="*/ 340 h 390"/>
                <a:gd name="T34" fmla="*/ 252 w 336"/>
                <a:gd name="T35" fmla="*/ 360 h 390"/>
                <a:gd name="T36" fmla="*/ 273 w 336"/>
                <a:gd name="T37" fmla="*/ 369 h 390"/>
                <a:gd name="T38" fmla="*/ 294 w 336"/>
                <a:gd name="T39" fmla="*/ 377 h 390"/>
                <a:gd name="T40" fmla="*/ 315 w 336"/>
                <a:gd name="T41" fmla="*/ 384 h 390"/>
                <a:gd name="T42" fmla="*/ 336 w 336"/>
                <a:gd name="T43" fmla="*/ 390 h 390"/>
                <a:gd name="T44" fmla="*/ 336 w 336"/>
                <a:gd name="T45" fmla="*/ 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6" h="390">
                  <a:moveTo>
                    <a:pt x="336" y="0"/>
                  </a:moveTo>
                  <a:lnTo>
                    <a:pt x="336" y="0"/>
                  </a:lnTo>
                  <a:lnTo>
                    <a:pt x="292" y="24"/>
                  </a:lnTo>
                  <a:lnTo>
                    <a:pt x="249" y="47"/>
                  </a:lnTo>
                  <a:lnTo>
                    <a:pt x="207" y="73"/>
                  </a:lnTo>
                  <a:lnTo>
                    <a:pt x="164" y="99"/>
                  </a:lnTo>
                  <a:lnTo>
                    <a:pt x="122" y="125"/>
                  </a:lnTo>
                  <a:lnTo>
                    <a:pt x="81" y="152"/>
                  </a:lnTo>
                  <a:lnTo>
                    <a:pt x="40" y="180"/>
                  </a:lnTo>
                  <a:lnTo>
                    <a:pt x="0" y="209"/>
                  </a:lnTo>
                  <a:lnTo>
                    <a:pt x="1" y="209"/>
                  </a:lnTo>
                  <a:lnTo>
                    <a:pt x="1" y="209"/>
                  </a:lnTo>
                  <a:lnTo>
                    <a:pt x="41" y="239"/>
                  </a:lnTo>
                  <a:lnTo>
                    <a:pt x="83" y="267"/>
                  </a:lnTo>
                  <a:lnTo>
                    <a:pt x="124" y="293"/>
                  </a:lnTo>
                  <a:lnTo>
                    <a:pt x="167" y="317"/>
                  </a:lnTo>
                  <a:lnTo>
                    <a:pt x="210" y="340"/>
                  </a:lnTo>
                  <a:lnTo>
                    <a:pt x="252" y="360"/>
                  </a:lnTo>
                  <a:lnTo>
                    <a:pt x="273" y="369"/>
                  </a:lnTo>
                  <a:lnTo>
                    <a:pt x="294" y="377"/>
                  </a:lnTo>
                  <a:lnTo>
                    <a:pt x="315" y="384"/>
                  </a:lnTo>
                  <a:lnTo>
                    <a:pt x="336" y="390"/>
                  </a:lnTo>
                  <a:lnTo>
                    <a:pt x="336"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dirty="0"/>
            </a:p>
          </p:txBody>
        </p:sp>
      </p:grpSp>
      <p:sp>
        <p:nvSpPr>
          <p:cNvPr id="8" name="Otsikko 7"/>
          <p:cNvSpPr>
            <a:spLocks noGrp="1"/>
          </p:cNvSpPr>
          <p:nvPr>
            <p:ph type="title"/>
          </p:nvPr>
        </p:nvSpPr>
        <p:spPr>
          <a:xfrm>
            <a:off x="432785" y="235340"/>
            <a:ext cx="6587487" cy="974270"/>
          </a:xfrm>
        </p:spPr>
        <p:txBody>
          <a:bodyPr/>
          <a:lstStyle>
            <a:lvl1pPr>
              <a:defRPr>
                <a:solidFill>
                  <a:srgbClr val="595965"/>
                </a:solidFill>
              </a:defRPr>
            </a:lvl1pPr>
          </a:lstStyle>
          <a:p>
            <a:r>
              <a:rPr lang="en-US" dirty="0"/>
              <a:t>Click to edit Master title style</a:t>
            </a:r>
            <a:endParaRPr lang="fi-FI" dirty="0"/>
          </a:p>
        </p:txBody>
      </p:sp>
      <p:pic>
        <p:nvPicPr>
          <p:cNvPr id="16" name="Picture 15">
            <a:extLst>
              <a:ext uri="{FF2B5EF4-FFF2-40B4-BE49-F238E27FC236}">
                <a16:creationId xmlns:a16="http://schemas.microsoft.com/office/drawing/2014/main" id="{69A31FAB-93E6-9C47-A33D-8A717BF62E1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24328" y="4699761"/>
            <a:ext cx="1439764" cy="274350"/>
          </a:xfrm>
          <a:prstGeom prst="rect">
            <a:avLst/>
          </a:prstGeom>
        </p:spPr>
      </p:pic>
      <p:pic>
        <p:nvPicPr>
          <p:cNvPr id="17" name="Picture 16">
            <a:extLst>
              <a:ext uri="{FF2B5EF4-FFF2-40B4-BE49-F238E27FC236}">
                <a16:creationId xmlns:a16="http://schemas.microsoft.com/office/drawing/2014/main" id="{B2B30F64-7970-AA4F-A58E-1B0E2975A93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604448" y="235340"/>
            <a:ext cx="305495" cy="419486"/>
          </a:xfrm>
          <a:prstGeom prst="rect">
            <a:avLst/>
          </a:prstGeom>
        </p:spPr>
      </p:pic>
      <p:sp>
        <p:nvSpPr>
          <p:cNvPr id="18" name="Sisällön paikkamerkki 2"/>
          <p:cNvSpPr>
            <a:spLocks noGrp="1"/>
          </p:cNvSpPr>
          <p:nvPr>
            <p:ph idx="1"/>
          </p:nvPr>
        </p:nvSpPr>
        <p:spPr>
          <a:xfrm>
            <a:off x="432785" y="1317625"/>
            <a:ext cx="7523591" cy="3486373"/>
          </a:xfrm>
        </p:spPr>
        <p:txBody>
          <a:bodyPr/>
          <a:lstStyle>
            <a:lvl1pPr>
              <a:defRPr>
                <a:solidFill>
                  <a:srgbClr val="595965"/>
                </a:solidFill>
              </a:defRPr>
            </a:lvl1pPr>
            <a:lvl2pPr>
              <a:defRPr>
                <a:solidFill>
                  <a:srgbClr val="595965"/>
                </a:solidFill>
              </a:defRPr>
            </a:lvl2pPr>
            <a:lvl3pPr>
              <a:defRPr>
                <a:solidFill>
                  <a:srgbClr val="595965"/>
                </a:solidFill>
              </a:defRPr>
            </a:lvl3pPr>
            <a:lvl4pPr>
              <a:defRPr>
                <a:solidFill>
                  <a:srgbClr val="595965"/>
                </a:solidFill>
              </a:defRPr>
            </a:lvl4pPr>
            <a:lvl5pPr>
              <a:defRPr>
                <a:solidFill>
                  <a:srgbClr val="595965"/>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Tree>
    <p:extLst>
      <p:ext uri="{BB962C8B-B14F-4D97-AF65-F5344CB8AC3E}">
        <p14:creationId xmlns:p14="http://schemas.microsoft.com/office/powerpoint/2010/main" val="192953389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Otsikko ja sisältö Sote ">
    <p:spTree>
      <p:nvGrpSpPr>
        <p:cNvPr id="1" name=""/>
        <p:cNvGrpSpPr/>
        <p:nvPr/>
      </p:nvGrpSpPr>
      <p:grpSpPr>
        <a:xfrm>
          <a:off x="0" y="0"/>
          <a:ext cx="0" cy="0"/>
          <a:chOff x="0" y="0"/>
          <a:chExt cx="0" cy="0"/>
        </a:xfrm>
      </p:grpSpPr>
      <p:grpSp>
        <p:nvGrpSpPr>
          <p:cNvPr id="11" name="Group 10"/>
          <p:cNvGrpSpPr/>
          <p:nvPr userDrawn="1"/>
        </p:nvGrpSpPr>
        <p:grpSpPr>
          <a:xfrm>
            <a:off x="7605715" y="2"/>
            <a:ext cx="1538287" cy="4587875"/>
            <a:chOff x="7631113" y="0"/>
            <a:chExt cx="1538287" cy="4587875"/>
          </a:xfrm>
        </p:grpSpPr>
        <p:sp>
          <p:nvSpPr>
            <p:cNvPr id="7" name="Freeform 5"/>
            <p:cNvSpPr>
              <a:spLocks/>
            </p:cNvSpPr>
            <p:nvPr userDrawn="1"/>
          </p:nvSpPr>
          <p:spPr bwMode="auto">
            <a:xfrm>
              <a:off x="7631113" y="0"/>
              <a:ext cx="1538287" cy="4587875"/>
            </a:xfrm>
            <a:custGeom>
              <a:avLst/>
              <a:gdLst>
                <a:gd name="T0" fmla="*/ 6 w 969"/>
                <a:gd name="T1" fmla="*/ 0 h 2890"/>
                <a:gd name="T2" fmla="*/ 6 w 969"/>
                <a:gd name="T3" fmla="*/ 0 h 2890"/>
                <a:gd name="T4" fmla="*/ 1 w 969"/>
                <a:gd name="T5" fmla="*/ 97 h 2890"/>
                <a:gd name="T6" fmla="*/ 0 w 969"/>
                <a:gd name="T7" fmla="*/ 193 h 2890"/>
                <a:gd name="T8" fmla="*/ 0 w 969"/>
                <a:gd name="T9" fmla="*/ 290 h 2890"/>
                <a:gd name="T10" fmla="*/ 2 w 969"/>
                <a:gd name="T11" fmla="*/ 386 h 2890"/>
                <a:gd name="T12" fmla="*/ 8 w 969"/>
                <a:gd name="T13" fmla="*/ 483 h 2890"/>
                <a:gd name="T14" fmla="*/ 15 w 969"/>
                <a:gd name="T15" fmla="*/ 577 h 2890"/>
                <a:gd name="T16" fmla="*/ 24 w 969"/>
                <a:gd name="T17" fmla="*/ 673 h 2890"/>
                <a:gd name="T18" fmla="*/ 36 w 969"/>
                <a:gd name="T19" fmla="*/ 767 h 2890"/>
                <a:gd name="T20" fmla="*/ 50 w 969"/>
                <a:gd name="T21" fmla="*/ 862 h 2890"/>
                <a:gd name="T22" fmla="*/ 65 w 969"/>
                <a:gd name="T23" fmla="*/ 956 h 2890"/>
                <a:gd name="T24" fmla="*/ 83 w 969"/>
                <a:gd name="T25" fmla="*/ 1048 h 2890"/>
                <a:gd name="T26" fmla="*/ 104 w 969"/>
                <a:gd name="T27" fmla="*/ 1142 h 2890"/>
                <a:gd name="T28" fmla="*/ 125 w 969"/>
                <a:gd name="T29" fmla="*/ 1234 h 2890"/>
                <a:gd name="T30" fmla="*/ 150 w 969"/>
                <a:gd name="T31" fmla="*/ 1325 h 2890"/>
                <a:gd name="T32" fmla="*/ 176 w 969"/>
                <a:gd name="T33" fmla="*/ 1416 h 2890"/>
                <a:gd name="T34" fmla="*/ 204 w 969"/>
                <a:gd name="T35" fmla="*/ 1506 h 2890"/>
                <a:gd name="T36" fmla="*/ 204 w 969"/>
                <a:gd name="T37" fmla="*/ 1506 h 2890"/>
                <a:gd name="T38" fmla="*/ 236 w 969"/>
                <a:gd name="T39" fmla="*/ 1604 h 2890"/>
                <a:gd name="T40" fmla="*/ 272 w 969"/>
                <a:gd name="T41" fmla="*/ 1700 h 2890"/>
                <a:gd name="T42" fmla="*/ 309 w 969"/>
                <a:gd name="T43" fmla="*/ 1794 h 2890"/>
                <a:gd name="T44" fmla="*/ 349 w 969"/>
                <a:gd name="T45" fmla="*/ 1888 h 2890"/>
                <a:gd name="T46" fmla="*/ 389 w 969"/>
                <a:gd name="T47" fmla="*/ 1979 h 2890"/>
                <a:gd name="T48" fmla="*/ 433 w 969"/>
                <a:gd name="T49" fmla="*/ 2069 h 2890"/>
                <a:gd name="T50" fmla="*/ 478 w 969"/>
                <a:gd name="T51" fmla="*/ 2158 h 2890"/>
                <a:gd name="T52" fmla="*/ 526 w 969"/>
                <a:gd name="T53" fmla="*/ 2245 h 2890"/>
                <a:gd name="T54" fmla="*/ 575 w 969"/>
                <a:gd name="T55" fmla="*/ 2331 h 2890"/>
                <a:gd name="T56" fmla="*/ 626 w 969"/>
                <a:gd name="T57" fmla="*/ 2415 h 2890"/>
                <a:gd name="T58" fmla="*/ 679 w 969"/>
                <a:gd name="T59" fmla="*/ 2499 h 2890"/>
                <a:gd name="T60" fmla="*/ 733 w 969"/>
                <a:gd name="T61" fmla="*/ 2580 h 2890"/>
                <a:gd name="T62" fmla="*/ 790 w 969"/>
                <a:gd name="T63" fmla="*/ 2659 h 2890"/>
                <a:gd name="T64" fmla="*/ 847 w 969"/>
                <a:gd name="T65" fmla="*/ 2738 h 2890"/>
                <a:gd name="T66" fmla="*/ 907 w 969"/>
                <a:gd name="T67" fmla="*/ 2815 h 2890"/>
                <a:gd name="T68" fmla="*/ 969 w 969"/>
                <a:gd name="T69" fmla="*/ 2890 h 2890"/>
                <a:gd name="T70" fmla="*/ 969 w 969"/>
                <a:gd name="T71" fmla="*/ 0 h 2890"/>
                <a:gd name="T72" fmla="*/ 6 w 969"/>
                <a:gd name="T73" fmla="*/ 0 h 2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69" h="2890">
                  <a:moveTo>
                    <a:pt x="6" y="0"/>
                  </a:moveTo>
                  <a:lnTo>
                    <a:pt x="6" y="0"/>
                  </a:lnTo>
                  <a:lnTo>
                    <a:pt x="1" y="97"/>
                  </a:lnTo>
                  <a:lnTo>
                    <a:pt x="0" y="193"/>
                  </a:lnTo>
                  <a:lnTo>
                    <a:pt x="0" y="290"/>
                  </a:lnTo>
                  <a:lnTo>
                    <a:pt x="2" y="386"/>
                  </a:lnTo>
                  <a:lnTo>
                    <a:pt x="8" y="483"/>
                  </a:lnTo>
                  <a:lnTo>
                    <a:pt x="15" y="577"/>
                  </a:lnTo>
                  <a:lnTo>
                    <a:pt x="24" y="673"/>
                  </a:lnTo>
                  <a:lnTo>
                    <a:pt x="36" y="767"/>
                  </a:lnTo>
                  <a:lnTo>
                    <a:pt x="50" y="862"/>
                  </a:lnTo>
                  <a:lnTo>
                    <a:pt x="65" y="956"/>
                  </a:lnTo>
                  <a:lnTo>
                    <a:pt x="83" y="1048"/>
                  </a:lnTo>
                  <a:lnTo>
                    <a:pt x="104" y="1142"/>
                  </a:lnTo>
                  <a:lnTo>
                    <a:pt x="125" y="1234"/>
                  </a:lnTo>
                  <a:lnTo>
                    <a:pt x="150" y="1325"/>
                  </a:lnTo>
                  <a:lnTo>
                    <a:pt x="176" y="1416"/>
                  </a:lnTo>
                  <a:lnTo>
                    <a:pt x="204" y="1506"/>
                  </a:lnTo>
                  <a:lnTo>
                    <a:pt x="204" y="1506"/>
                  </a:lnTo>
                  <a:lnTo>
                    <a:pt x="236" y="1604"/>
                  </a:lnTo>
                  <a:lnTo>
                    <a:pt x="272" y="1700"/>
                  </a:lnTo>
                  <a:lnTo>
                    <a:pt x="309" y="1794"/>
                  </a:lnTo>
                  <a:lnTo>
                    <a:pt x="349" y="1888"/>
                  </a:lnTo>
                  <a:lnTo>
                    <a:pt x="389" y="1979"/>
                  </a:lnTo>
                  <a:lnTo>
                    <a:pt x="433" y="2069"/>
                  </a:lnTo>
                  <a:lnTo>
                    <a:pt x="478" y="2158"/>
                  </a:lnTo>
                  <a:lnTo>
                    <a:pt x="526" y="2245"/>
                  </a:lnTo>
                  <a:lnTo>
                    <a:pt x="575" y="2331"/>
                  </a:lnTo>
                  <a:lnTo>
                    <a:pt x="626" y="2415"/>
                  </a:lnTo>
                  <a:lnTo>
                    <a:pt x="679" y="2499"/>
                  </a:lnTo>
                  <a:lnTo>
                    <a:pt x="733" y="2580"/>
                  </a:lnTo>
                  <a:lnTo>
                    <a:pt x="790" y="2659"/>
                  </a:lnTo>
                  <a:lnTo>
                    <a:pt x="847" y="2738"/>
                  </a:lnTo>
                  <a:lnTo>
                    <a:pt x="907" y="2815"/>
                  </a:lnTo>
                  <a:lnTo>
                    <a:pt x="969" y="2890"/>
                  </a:lnTo>
                  <a:lnTo>
                    <a:pt x="969" y="0"/>
                  </a:lnTo>
                  <a:lnTo>
                    <a:pt x="6"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dirty="0"/>
            </a:p>
          </p:txBody>
        </p:sp>
        <p:sp>
          <p:nvSpPr>
            <p:cNvPr id="10" name="Freeform 6"/>
            <p:cNvSpPr>
              <a:spLocks/>
            </p:cNvSpPr>
            <p:nvPr userDrawn="1"/>
          </p:nvSpPr>
          <p:spPr bwMode="auto">
            <a:xfrm>
              <a:off x="8001000" y="0"/>
              <a:ext cx="1168400" cy="1317625"/>
            </a:xfrm>
            <a:custGeom>
              <a:avLst/>
              <a:gdLst>
                <a:gd name="T0" fmla="*/ 548 w 736"/>
                <a:gd name="T1" fmla="*/ 713 h 830"/>
                <a:gd name="T2" fmla="*/ 548 w 736"/>
                <a:gd name="T3" fmla="*/ 713 h 830"/>
                <a:gd name="T4" fmla="*/ 594 w 736"/>
                <a:gd name="T5" fmla="*/ 745 h 830"/>
                <a:gd name="T6" fmla="*/ 640 w 736"/>
                <a:gd name="T7" fmla="*/ 775 h 830"/>
                <a:gd name="T8" fmla="*/ 688 w 736"/>
                <a:gd name="T9" fmla="*/ 803 h 830"/>
                <a:gd name="T10" fmla="*/ 736 w 736"/>
                <a:gd name="T11" fmla="*/ 830 h 830"/>
                <a:gd name="T12" fmla="*/ 736 w 736"/>
                <a:gd name="T13" fmla="*/ 0 h 830"/>
                <a:gd name="T14" fmla="*/ 0 w 736"/>
                <a:gd name="T15" fmla="*/ 0 h 830"/>
                <a:gd name="T16" fmla="*/ 0 w 736"/>
                <a:gd name="T17" fmla="*/ 0 h 830"/>
                <a:gd name="T18" fmla="*/ 22 w 736"/>
                <a:gd name="T19" fmla="*/ 55 h 830"/>
                <a:gd name="T20" fmla="*/ 46 w 736"/>
                <a:gd name="T21" fmla="*/ 108 h 830"/>
                <a:gd name="T22" fmla="*/ 72 w 736"/>
                <a:gd name="T23" fmla="*/ 161 h 830"/>
                <a:gd name="T24" fmla="*/ 100 w 736"/>
                <a:gd name="T25" fmla="*/ 211 h 830"/>
                <a:gd name="T26" fmla="*/ 129 w 736"/>
                <a:gd name="T27" fmla="*/ 261 h 830"/>
                <a:gd name="T28" fmla="*/ 160 w 736"/>
                <a:gd name="T29" fmla="*/ 309 h 830"/>
                <a:gd name="T30" fmla="*/ 192 w 736"/>
                <a:gd name="T31" fmla="*/ 357 h 830"/>
                <a:gd name="T32" fmla="*/ 226 w 736"/>
                <a:gd name="T33" fmla="*/ 402 h 830"/>
                <a:gd name="T34" fmla="*/ 262 w 736"/>
                <a:gd name="T35" fmla="*/ 445 h 830"/>
                <a:gd name="T36" fmla="*/ 298 w 736"/>
                <a:gd name="T37" fmla="*/ 488 h 830"/>
                <a:gd name="T38" fmla="*/ 338 w 736"/>
                <a:gd name="T39" fmla="*/ 530 h 830"/>
                <a:gd name="T40" fmla="*/ 377 w 736"/>
                <a:gd name="T41" fmla="*/ 569 h 830"/>
                <a:gd name="T42" fmla="*/ 418 w 736"/>
                <a:gd name="T43" fmla="*/ 607 h 830"/>
                <a:gd name="T44" fmla="*/ 460 w 736"/>
                <a:gd name="T45" fmla="*/ 645 h 830"/>
                <a:gd name="T46" fmla="*/ 503 w 736"/>
                <a:gd name="T47" fmla="*/ 679 h 830"/>
                <a:gd name="T48" fmla="*/ 548 w 736"/>
                <a:gd name="T49" fmla="*/ 713 h 830"/>
                <a:gd name="T50" fmla="*/ 548 w 736"/>
                <a:gd name="T51" fmla="*/ 713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830">
                  <a:moveTo>
                    <a:pt x="548" y="713"/>
                  </a:moveTo>
                  <a:lnTo>
                    <a:pt x="548" y="713"/>
                  </a:lnTo>
                  <a:lnTo>
                    <a:pt x="594" y="745"/>
                  </a:lnTo>
                  <a:lnTo>
                    <a:pt x="640" y="775"/>
                  </a:lnTo>
                  <a:lnTo>
                    <a:pt x="688" y="803"/>
                  </a:lnTo>
                  <a:lnTo>
                    <a:pt x="736" y="830"/>
                  </a:lnTo>
                  <a:lnTo>
                    <a:pt x="736" y="0"/>
                  </a:lnTo>
                  <a:lnTo>
                    <a:pt x="0" y="0"/>
                  </a:lnTo>
                  <a:lnTo>
                    <a:pt x="0" y="0"/>
                  </a:lnTo>
                  <a:lnTo>
                    <a:pt x="22" y="55"/>
                  </a:lnTo>
                  <a:lnTo>
                    <a:pt x="46" y="108"/>
                  </a:lnTo>
                  <a:lnTo>
                    <a:pt x="72" y="161"/>
                  </a:lnTo>
                  <a:lnTo>
                    <a:pt x="100" y="211"/>
                  </a:lnTo>
                  <a:lnTo>
                    <a:pt x="129" y="261"/>
                  </a:lnTo>
                  <a:lnTo>
                    <a:pt x="160" y="309"/>
                  </a:lnTo>
                  <a:lnTo>
                    <a:pt x="192" y="357"/>
                  </a:lnTo>
                  <a:lnTo>
                    <a:pt x="226" y="402"/>
                  </a:lnTo>
                  <a:lnTo>
                    <a:pt x="262" y="445"/>
                  </a:lnTo>
                  <a:lnTo>
                    <a:pt x="298" y="488"/>
                  </a:lnTo>
                  <a:lnTo>
                    <a:pt x="338" y="530"/>
                  </a:lnTo>
                  <a:lnTo>
                    <a:pt x="377" y="569"/>
                  </a:lnTo>
                  <a:lnTo>
                    <a:pt x="418" y="607"/>
                  </a:lnTo>
                  <a:lnTo>
                    <a:pt x="460" y="645"/>
                  </a:lnTo>
                  <a:lnTo>
                    <a:pt x="503" y="679"/>
                  </a:lnTo>
                  <a:lnTo>
                    <a:pt x="548" y="713"/>
                  </a:lnTo>
                  <a:lnTo>
                    <a:pt x="548" y="71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dirty="0"/>
            </a:p>
          </p:txBody>
        </p:sp>
      </p:grpSp>
      <p:sp>
        <p:nvSpPr>
          <p:cNvPr id="3" name="Sisällön paikkamerkki 2"/>
          <p:cNvSpPr>
            <a:spLocks noGrp="1"/>
          </p:cNvSpPr>
          <p:nvPr userDrawn="1">
            <p:ph idx="1"/>
          </p:nvPr>
        </p:nvSpPr>
        <p:spPr>
          <a:xfrm>
            <a:off x="432787" y="1317627"/>
            <a:ext cx="7523591" cy="3486373"/>
          </a:xfrm>
        </p:spPr>
        <p:txBody>
          <a:bodyPr/>
          <a:lstStyle>
            <a:lvl1pPr>
              <a:defRPr>
                <a:solidFill>
                  <a:srgbClr val="595965"/>
                </a:solidFill>
              </a:defRPr>
            </a:lvl1pPr>
            <a:lvl2pPr>
              <a:defRPr>
                <a:solidFill>
                  <a:srgbClr val="595965"/>
                </a:solidFill>
              </a:defRPr>
            </a:lvl2pPr>
            <a:lvl3pPr>
              <a:defRPr>
                <a:solidFill>
                  <a:srgbClr val="595965"/>
                </a:solidFill>
              </a:defRPr>
            </a:lvl3pPr>
            <a:lvl4pPr>
              <a:defRPr>
                <a:solidFill>
                  <a:srgbClr val="595965"/>
                </a:solidFill>
              </a:defRPr>
            </a:lvl4pPr>
            <a:lvl5pPr>
              <a:defRPr>
                <a:solidFill>
                  <a:srgbClr val="595965"/>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8" name="Otsikko 7"/>
          <p:cNvSpPr>
            <a:spLocks noGrp="1"/>
          </p:cNvSpPr>
          <p:nvPr userDrawn="1">
            <p:ph type="title"/>
          </p:nvPr>
        </p:nvSpPr>
        <p:spPr>
          <a:xfrm>
            <a:off x="432787" y="235342"/>
            <a:ext cx="7523591" cy="974270"/>
          </a:xfrm>
        </p:spPr>
        <p:txBody>
          <a:bodyPr/>
          <a:lstStyle>
            <a:lvl1pPr>
              <a:defRPr>
                <a:solidFill>
                  <a:srgbClr val="595965"/>
                </a:solidFill>
              </a:defRPr>
            </a:lvl1pPr>
          </a:lstStyle>
          <a:p>
            <a:r>
              <a:rPr lang="en-US" dirty="0"/>
              <a:t>Click to edit Master title style</a:t>
            </a:r>
            <a:endParaRPr lang="fi-FI" dirty="0"/>
          </a:p>
        </p:txBody>
      </p:sp>
      <p:pic>
        <p:nvPicPr>
          <p:cNvPr id="4" name="Picture 3">
            <a:extLst>
              <a:ext uri="{FF2B5EF4-FFF2-40B4-BE49-F238E27FC236}">
                <a16:creationId xmlns:a16="http://schemas.microsoft.com/office/drawing/2014/main" id="{754219E2-E925-5346-9128-1CC5851983C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24330" y="4699761"/>
            <a:ext cx="1439764" cy="274350"/>
          </a:xfrm>
          <a:prstGeom prst="rect">
            <a:avLst/>
          </a:prstGeom>
        </p:spPr>
      </p:pic>
      <p:pic>
        <p:nvPicPr>
          <p:cNvPr id="9" name="Picture 8">
            <a:extLst>
              <a:ext uri="{FF2B5EF4-FFF2-40B4-BE49-F238E27FC236}">
                <a16:creationId xmlns:a16="http://schemas.microsoft.com/office/drawing/2014/main" id="{6A34F243-EB61-D748-AAD4-903B490D52C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604450" y="235342"/>
            <a:ext cx="305495" cy="419486"/>
          </a:xfrm>
          <a:prstGeom prst="rect">
            <a:avLst/>
          </a:prstGeom>
        </p:spPr>
      </p:pic>
    </p:spTree>
    <p:extLst>
      <p:ext uri="{BB962C8B-B14F-4D97-AF65-F5344CB8AC3E}">
        <p14:creationId xmlns:p14="http://schemas.microsoft.com/office/powerpoint/2010/main" val="115841939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_Otsikko ja sisältö Sote">
    <p:spTree>
      <p:nvGrpSpPr>
        <p:cNvPr id="1" name=""/>
        <p:cNvGrpSpPr/>
        <p:nvPr/>
      </p:nvGrpSpPr>
      <p:grpSpPr>
        <a:xfrm>
          <a:off x="0" y="0"/>
          <a:ext cx="0" cy="0"/>
          <a:chOff x="0" y="0"/>
          <a:chExt cx="0" cy="0"/>
        </a:xfrm>
      </p:grpSpPr>
      <p:grpSp>
        <p:nvGrpSpPr>
          <p:cNvPr id="42" name="Group 41"/>
          <p:cNvGrpSpPr/>
          <p:nvPr userDrawn="1"/>
        </p:nvGrpSpPr>
        <p:grpSpPr>
          <a:xfrm>
            <a:off x="6788151" y="2"/>
            <a:ext cx="2355850" cy="5143501"/>
            <a:chOff x="6788150" y="0"/>
            <a:chExt cx="2355850" cy="5143501"/>
          </a:xfrm>
        </p:grpSpPr>
        <p:sp>
          <p:nvSpPr>
            <p:cNvPr id="31" name="Freeform 22"/>
            <p:cNvSpPr>
              <a:spLocks/>
            </p:cNvSpPr>
            <p:nvPr userDrawn="1"/>
          </p:nvSpPr>
          <p:spPr bwMode="auto">
            <a:xfrm>
              <a:off x="7845425" y="4103688"/>
              <a:ext cx="1298575" cy="1039813"/>
            </a:xfrm>
            <a:custGeom>
              <a:avLst/>
              <a:gdLst>
                <a:gd name="T0" fmla="*/ 482 w 818"/>
                <a:gd name="T1" fmla="*/ 0 h 655"/>
                <a:gd name="T2" fmla="*/ 483 w 818"/>
                <a:gd name="T3" fmla="*/ 0 h 655"/>
                <a:gd name="T4" fmla="*/ 483 w 818"/>
                <a:gd name="T5" fmla="*/ 0 h 655"/>
                <a:gd name="T6" fmla="*/ 482 w 818"/>
                <a:gd name="T7" fmla="*/ 0 h 655"/>
                <a:gd name="T8" fmla="*/ 482 w 818"/>
                <a:gd name="T9" fmla="*/ 0 h 655"/>
                <a:gd name="T10" fmla="*/ 482 w 818"/>
                <a:gd name="T11" fmla="*/ 0 h 655"/>
                <a:gd name="T12" fmla="*/ 442 w 818"/>
                <a:gd name="T13" fmla="*/ 40 h 655"/>
                <a:gd name="T14" fmla="*/ 404 w 818"/>
                <a:gd name="T15" fmla="*/ 79 h 655"/>
                <a:gd name="T16" fmla="*/ 369 w 818"/>
                <a:gd name="T17" fmla="*/ 118 h 655"/>
                <a:gd name="T18" fmla="*/ 334 w 818"/>
                <a:gd name="T19" fmla="*/ 156 h 655"/>
                <a:gd name="T20" fmla="*/ 303 w 818"/>
                <a:gd name="T21" fmla="*/ 194 h 655"/>
                <a:gd name="T22" fmla="*/ 271 w 818"/>
                <a:gd name="T23" fmla="*/ 232 h 655"/>
                <a:gd name="T24" fmla="*/ 242 w 818"/>
                <a:gd name="T25" fmla="*/ 269 h 655"/>
                <a:gd name="T26" fmla="*/ 214 w 818"/>
                <a:gd name="T27" fmla="*/ 309 h 655"/>
                <a:gd name="T28" fmla="*/ 186 w 818"/>
                <a:gd name="T29" fmla="*/ 347 h 655"/>
                <a:gd name="T30" fmla="*/ 159 w 818"/>
                <a:gd name="T31" fmla="*/ 387 h 655"/>
                <a:gd name="T32" fmla="*/ 132 w 818"/>
                <a:gd name="T33" fmla="*/ 428 h 655"/>
                <a:gd name="T34" fmla="*/ 106 w 818"/>
                <a:gd name="T35" fmla="*/ 469 h 655"/>
                <a:gd name="T36" fmla="*/ 80 w 818"/>
                <a:gd name="T37" fmla="*/ 513 h 655"/>
                <a:gd name="T38" fmla="*/ 53 w 818"/>
                <a:gd name="T39" fmla="*/ 558 h 655"/>
                <a:gd name="T40" fmla="*/ 0 w 818"/>
                <a:gd name="T41" fmla="*/ 655 h 655"/>
                <a:gd name="T42" fmla="*/ 818 w 818"/>
                <a:gd name="T43" fmla="*/ 655 h 655"/>
                <a:gd name="T44" fmla="*/ 818 w 818"/>
                <a:gd name="T45" fmla="*/ 163 h 655"/>
                <a:gd name="T46" fmla="*/ 818 w 818"/>
                <a:gd name="T47" fmla="*/ 163 h 655"/>
                <a:gd name="T48" fmla="*/ 795 w 818"/>
                <a:gd name="T49" fmla="*/ 157 h 655"/>
                <a:gd name="T50" fmla="*/ 772 w 818"/>
                <a:gd name="T51" fmla="*/ 148 h 655"/>
                <a:gd name="T52" fmla="*/ 746 w 818"/>
                <a:gd name="T53" fmla="*/ 136 h 655"/>
                <a:gd name="T54" fmla="*/ 719 w 818"/>
                <a:gd name="T55" fmla="*/ 125 h 655"/>
                <a:gd name="T56" fmla="*/ 663 w 818"/>
                <a:gd name="T57" fmla="*/ 98 h 655"/>
                <a:gd name="T58" fmla="*/ 609 w 818"/>
                <a:gd name="T59" fmla="*/ 70 h 655"/>
                <a:gd name="T60" fmla="*/ 559 w 818"/>
                <a:gd name="T61" fmla="*/ 43 h 655"/>
                <a:gd name="T62" fmla="*/ 519 w 818"/>
                <a:gd name="T63" fmla="*/ 22 h 655"/>
                <a:gd name="T64" fmla="*/ 482 w 818"/>
                <a:gd name="T65" fmla="*/ 0 h 655"/>
                <a:gd name="T66" fmla="*/ 482 w 818"/>
                <a:gd name="T67" fmla="*/ 0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18" h="655">
                  <a:moveTo>
                    <a:pt x="482" y="0"/>
                  </a:moveTo>
                  <a:lnTo>
                    <a:pt x="483" y="0"/>
                  </a:lnTo>
                  <a:lnTo>
                    <a:pt x="483" y="0"/>
                  </a:lnTo>
                  <a:lnTo>
                    <a:pt x="482" y="0"/>
                  </a:lnTo>
                  <a:lnTo>
                    <a:pt x="482" y="0"/>
                  </a:lnTo>
                  <a:lnTo>
                    <a:pt x="482" y="0"/>
                  </a:lnTo>
                  <a:lnTo>
                    <a:pt x="442" y="40"/>
                  </a:lnTo>
                  <a:lnTo>
                    <a:pt x="404" y="79"/>
                  </a:lnTo>
                  <a:lnTo>
                    <a:pt x="369" y="118"/>
                  </a:lnTo>
                  <a:lnTo>
                    <a:pt x="334" y="156"/>
                  </a:lnTo>
                  <a:lnTo>
                    <a:pt x="303" y="194"/>
                  </a:lnTo>
                  <a:lnTo>
                    <a:pt x="271" y="232"/>
                  </a:lnTo>
                  <a:lnTo>
                    <a:pt x="242" y="269"/>
                  </a:lnTo>
                  <a:lnTo>
                    <a:pt x="214" y="309"/>
                  </a:lnTo>
                  <a:lnTo>
                    <a:pt x="186" y="347"/>
                  </a:lnTo>
                  <a:lnTo>
                    <a:pt x="159" y="387"/>
                  </a:lnTo>
                  <a:lnTo>
                    <a:pt x="132" y="428"/>
                  </a:lnTo>
                  <a:lnTo>
                    <a:pt x="106" y="469"/>
                  </a:lnTo>
                  <a:lnTo>
                    <a:pt x="80" y="513"/>
                  </a:lnTo>
                  <a:lnTo>
                    <a:pt x="53" y="558"/>
                  </a:lnTo>
                  <a:lnTo>
                    <a:pt x="0" y="655"/>
                  </a:lnTo>
                  <a:lnTo>
                    <a:pt x="818" y="655"/>
                  </a:lnTo>
                  <a:lnTo>
                    <a:pt x="818" y="163"/>
                  </a:lnTo>
                  <a:lnTo>
                    <a:pt x="818" y="163"/>
                  </a:lnTo>
                  <a:lnTo>
                    <a:pt x="795" y="157"/>
                  </a:lnTo>
                  <a:lnTo>
                    <a:pt x="772" y="148"/>
                  </a:lnTo>
                  <a:lnTo>
                    <a:pt x="746" y="136"/>
                  </a:lnTo>
                  <a:lnTo>
                    <a:pt x="719" y="125"/>
                  </a:lnTo>
                  <a:lnTo>
                    <a:pt x="663" y="98"/>
                  </a:lnTo>
                  <a:lnTo>
                    <a:pt x="609" y="70"/>
                  </a:lnTo>
                  <a:lnTo>
                    <a:pt x="559" y="43"/>
                  </a:lnTo>
                  <a:lnTo>
                    <a:pt x="519" y="22"/>
                  </a:lnTo>
                  <a:lnTo>
                    <a:pt x="482" y="0"/>
                  </a:lnTo>
                  <a:lnTo>
                    <a:pt x="482" y="0"/>
                  </a:lnTo>
                  <a:close/>
                </a:path>
              </a:pathLst>
            </a:custGeom>
            <a:solidFill>
              <a:schemeClr val="tx2">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2" name="Freeform 23"/>
            <p:cNvSpPr>
              <a:spLocks/>
            </p:cNvSpPr>
            <p:nvPr userDrawn="1"/>
          </p:nvSpPr>
          <p:spPr bwMode="auto">
            <a:xfrm>
              <a:off x="6788150" y="0"/>
              <a:ext cx="1822450" cy="4084638"/>
            </a:xfrm>
            <a:custGeom>
              <a:avLst/>
              <a:gdLst>
                <a:gd name="T0" fmla="*/ 1148 w 1148"/>
                <a:gd name="T1" fmla="*/ 864 h 2573"/>
                <a:gd name="T2" fmla="*/ 1148 w 1148"/>
                <a:gd name="T3" fmla="*/ 864 h 2573"/>
                <a:gd name="T4" fmla="*/ 1148 w 1148"/>
                <a:gd name="T5" fmla="*/ 864 h 2573"/>
                <a:gd name="T6" fmla="*/ 104 w 1148"/>
                <a:gd name="T7" fmla="*/ 0 h 2573"/>
                <a:gd name="T8" fmla="*/ 19 w 1148"/>
                <a:gd name="T9" fmla="*/ 0 h 2573"/>
                <a:gd name="T10" fmla="*/ 11 w 1148"/>
                <a:gd name="T11" fmla="*/ 77 h 2573"/>
                <a:gd name="T12" fmla="*/ 1 w 1148"/>
                <a:gd name="T13" fmla="*/ 230 h 2573"/>
                <a:gd name="T14" fmla="*/ 0 w 1148"/>
                <a:gd name="T15" fmla="*/ 381 h 2573"/>
                <a:gd name="T16" fmla="*/ 7 w 1148"/>
                <a:gd name="T17" fmla="*/ 533 h 2573"/>
                <a:gd name="T18" fmla="*/ 21 w 1148"/>
                <a:gd name="T19" fmla="*/ 683 h 2573"/>
                <a:gd name="T20" fmla="*/ 45 w 1148"/>
                <a:gd name="T21" fmla="*/ 831 h 2573"/>
                <a:gd name="T22" fmla="*/ 75 w 1148"/>
                <a:gd name="T23" fmla="*/ 978 h 2573"/>
                <a:gd name="T24" fmla="*/ 115 w 1148"/>
                <a:gd name="T25" fmla="*/ 1122 h 2573"/>
                <a:gd name="T26" fmla="*/ 136 w 1148"/>
                <a:gd name="T27" fmla="*/ 1193 h 2573"/>
                <a:gd name="T28" fmla="*/ 173 w 1148"/>
                <a:gd name="T29" fmla="*/ 1299 h 2573"/>
                <a:gd name="T30" fmla="*/ 214 w 1148"/>
                <a:gd name="T31" fmla="*/ 1404 h 2573"/>
                <a:gd name="T32" fmla="*/ 259 w 1148"/>
                <a:gd name="T33" fmla="*/ 1505 h 2573"/>
                <a:gd name="T34" fmla="*/ 307 w 1148"/>
                <a:gd name="T35" fmla="*/ 1604 h 2573"/>
                <a:gd name="T36" fmla="*/ 359 w 1148"/>
                <a:gd name="T37" fmla="*/ 1701 h 2573"/>
                <a:gd name="T38" fmla="*/ 414 w 1148"/>
                <a:gd name="T39" fmla="*/ 1794 h 2573"/>
                <a:gd name="T40" fmla="*/ 473 w 1148"/>
                <a:gd name="T41" fmla="*/ 1886 h 2573"/>
                <a:gd name="T42" fmla="*/ 534 w 1148"/>
                <a:gd name="T43" fmla="*/ 1973 h 2573"/>
                <a:gd name="T44" fmla="*/ 600 w 1148"/>
                <a:gd name="T45" fmla="*/ 2059 h 2573"/>
                <a:gd name="T46" fmla="*/ 667 w 1148"/>
                <a:gd name="T47" fmla="*/ 2142 h 2573"/>
                <a:gd name="T48" fmla="*/ 738 w 1148"/>
                <a:gd name="T49" fmla="*/ 2221 h 2573"/>
                <a:gd name="T50" fmla="*/ 811 w 1148"/>
                <a:gd name="T51" fmla="*/ 2297 h 2573"/>
                <a:gd name="T52" fmla="*/ 888 w 1148"/>
                <a:gd name="T53" fmla="*/ 2372 h 2573"/>
                <a:gd name="T54" fmla="*/ 966 w 1148"/>
                <a:gd name="T55" fmla="*/ 2441 h 2573"/>
                <a:gd name="T56" fmla="*/ 1049 w 1148"/>
                <a:gd name="T57" fmla="*/ 2509 h 2573"/>
                <a:gd name="T58" fmla="*/ 1132 w 1148"/>
                <a:gd name="T59" fmla="*/ 2573 h 2573"/>
                <a:gd name="T60" fmla="*/ 1131 w 1148"/>
                <a:gd name="T61" fmla="*/ 2553 h 2573"/>
                <a:gd name="T62" fmla="*/ 1131 w 1148"/>
                <a:gd name="T63" fmla="*/ 2304 h 2573"/>
                <a:gd name="T64" fmla="*/ 1144 w 1148"/>
                <a:gd name="T65" fmla="*/ 1131 h 2573"/>
                <a:gd name="T66" fmla="*/ 1148 w 1148"/>
                <a:gd name="T67" fmla="*/ 864 h 2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48" h="2573">
                  <a:moveTo>
                    <a:pt x="1148" y="864"/>
                  </a:moveTo>
                  <a:lnTo>
                    <a:pt x="1148" y="864"/>
                  </a:lnTo>
                  <a:lnTo>
                    <a:pt x="1148" y="864"/>
                  </a:lnTo>
                  <a:lnTo>
                    <a:pt x="1148" y="864"/>
                  </a:lnTo>
                  <a:lnTo>
                    <a:pt x="1148" y="864"/>
                  </a:lnTo>
                  <a:lnTo>
                    <a:pt x="1148" y="864"/>
                  </a:lnTo>
                  <a:lnTo>
                    <a:pt x="663" y="0"/>
                  </a:lnTo>
                  <a:lnTo>
                    <a:pt x="104" y="0"/>
                  </a:lnTo>
                  <a:lnTo>
                    <a:pt x="86" y="0"/>
                  </a:lnTo>
                  <a:lnTo>
                    <a:pt x="19" y="0"/>
                  </a:lnTo>
                  <a:lnTo>
                    <a:pt x="19" y="0"/>
                  </a:lnTo>
                  <a:lnTo>
                    <a:pt x="11" y="77"/>
                  </a:lnTo>
                  <a:lnTo>
                    <a:pt x="6" y="153"/>
                  </a:lnTo>
                  <a:lnTo>
                    <a:pt x="1" y="230"/>
                  </a:lnTo>
                  <a:lnTo>
                    <a:pt x="0" y="306"/>
                  </a:lnTo>
                  <a:lnTo>
                    <a:pt x="0" y="381"/>
                  </a:lnTo>
                  <a:lnTo>
                    <a:pt x="2" y="458"/>
                  </a:lnTo>
                  <a:lnTo>
                    <a:pt x="7" y="533"/>
                  </a:lnTo>
                  <a:lnTo>
                    <a:pt x="14" y="609"/>
                  </a:lnTo>
                  <a:lnTo>
                    <a:pt x="21" y="683"/>
                  </a:lnTo>
                  <a:lnTo>
                    <a:pt x="33" y="757"/>
                  </a:lnTo>
                  <a:lnTo>
                    <a:pt x="45" y="831"/>
                  </a:lnTo>
                  <a:lnTo>
                    <a:pt x="60" y="905"/>
                  </a:lnTo>
                  <a:lnTo>
                    <a:pt x="75" y="978"/>
                  </a:lnTo>
                  <a:lnTo>
                    <a:pt x="95" y="1050"/>
                  </a:lnTo>
                  <a:lnTo>
                    <a:pt x="115" y="1122"/>
                  </a:lnTo>
                  <a:lnTo>
                    <a:pt x="136" y="1193"/>
                  </a:lnTo>
                  <a:lnTo>
                    <a:pt x="136" y="1193"/>
                  </a:lnTo>
                  <a:lnTo>
                    <a:pt x="154" y="1247"/>
                  </a:lnTo>
                  <a:lnTo>
                    <a:pt x="173" y="1299"/>
                  </a:lnTo>
                  <a:lnTo>
                    <a:pt x="194" y="1351"/>
                  </a:lnTo>
                  <a:lnTo>
                    <a:pt x="214" y="1404"/>
                  </a:lnTo>
                  <a:lnTo>
                    <a:pt x="236" y="1455"/>
                  </a:lnTo>
                  <a:lnTo>
                    <a:pt x="259" y="1505"/>
                  </a:lnTo>
                  <a:lnTo>
                    <a:pt x="282" y="1555"/>
                  </a:lnTo>
                  <a:lnTo>
                    <a:pt x="307" y="1604"/>
                  </a:lnTo>
                  <a:lnTo>
                    <a:pt x="333" y="1653"/>
                  </a:lnTo>
                  <a:lnTo>
                    <a:pt x="359" y="1701"/>
                  </a:lnTo>
                  <a:lnTo>
                    <a:pt x="386" y="1748"/>
                  </a:lnTo>
                  <a:lnTo>
                    <a:pt x="414" y="1794"/>
                  </a:lnTo>
                  <a:lnTo>
                    <a:pt x="443" y="1841"/>
                  </a:lnTo>
                  <a:lnTo>
                    <a:pt x="473" y="1886"/>
                  </a:lnTo>
                  <a:lnTo>
                    <a:pt x="503" y="1929"/>
                  </a:lnTo>
                  <a:lnTo>
                    <a:pt x="534" y="1973"/>
                  </a:lnTo>
                  <a:lnTo>
                    <a:pt x="567" y="2017"/>
                  </a:lnTo>
                  <a:lnTo>
                    <a:pt x="600" y="2059"/>
                  </a:lnTo>
                  <a:lnTo>
                    <a:pt x="633" y="2100"/>
                  </a:lnTo>
                  <a:lnTo>
                    <a:pt x="667" y="2142"/>
                  </a:lnTo>
                  <a:lnTo>
                    <a:pt x="702" y="2181"/>
                  </a:lnTo>
                  <a:lnTo>
                    <a:pt x="738" y="2221"/>
                  </a:lnTo>
                  <a:lnTo>
                    <a:pt x="774" y="2260"/>
                  </a:lnTo>
                  <a:lnTo>
                    <a:pt x="811" y="2297"/>
                  </a:lnTo>
                  <a:lnTo>
                    <a:pt x="849" y="2334"/>
                  </a:lnTo>
                  <a:lnTo>
                    <a:pt x="888" y="2372"/>
                  </a:lnTo>
                  <a:lnTo>
                    <a:pt x="927" y="2406"/>
                  </a:lnTo>
                  <a:lnTo>
                    <a:pt x="966" y="2441"/>
                  </a:lnTo>
                  <a:lnTo>
                    <a:pt x="1007" y="2476"/>
                  </a:lnTo>
                  <a:lnTo>
                    <a:pt x="1049" y="2509"/>
                  </a:lnTo>
                  <a:lnTo>
                    <a:pt x="1089" y="2541"/>
                  </a:lnTo>
                  <a:lnTo>
                    <a:pt x="1132" y="2573"/>
                  </a:lnTo>
                  <a:lnTo>
                    <a:pt x="1132" y="2573"/>
                  </a:lnTo>
                  <a:lnTo>
                    <a:pt x="1131" y="2553"/>
                  </a:lnTo>
                  <a:lnTo>
                    <a:pt x="1131" y="2498"/>
                  </a:lnTo>
                  <a:lnTo>
                    <a:pt x="1131" y="2304"/>
                  </a:lnTo>
                  <a:lnTo>
                    <a:pt x="1137" y="1717"/>
                  </a:lnTo>
                  <a:lnTo>
                    <a:pt x="1144" y="1131"/>
                  </a:lnTo>
                  <a:lnTo>
                    <a:pt x="1148" y="864"/>
                  </a:lnTo>
                  <a:lnTo>
                    <a:pt x="1148" y="864"/>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3" name="Freeform 24"/>
            <p:cNvSpPr>
              <a:spLocks noEditPoints="1"/>
            </p:cNvSpPr>
            <p:nvPr userDrawn="1"/>
          </p:nvSpPr>
          <p:spPr bwMode="auto">
            <a:xfrm>
              <a:off x="6953250" y="0"/>
              <a:ext cx="2001838" cy="4103688"/>
            </a:xfrm>
            <a:custGeom>
              <a:avLst/>
              <a:gdLst>
                <a:gd name="T0" fmla="*/ 582 w 1261"/>
                <a:gd name="T1" fmla="*/ 0 h 2585"/>
                <a:gd name="T2" fmla="*/ 0 w 1261"/>
                <a:gd name="T3" fmla="*/ 0 h 2585"/>
                <a:gd name="T4" fmla="*/ 6 w 1261"/>
                <a:gd name="T5" fmla="*/ 33 h 2585"/>
                <a:gd name="T6" fmla="*/ 22 w 1261"/>
                <a:gd name="T7" fmla="*/ 97 h 2585"/>
                <a:gd name="T8" fmla="*/ 32 w 1261"/>
                <a:gd name="T9" fmla="*/ 129 h 2585"/>
                <a:gd name="T10" fmla="*/ 63 w 1261"/>
                <a:gd name="T11" fmla="*/ 210 h 2585"/>
                <a:gd name="T12" fmla="*/ 99 w 1261"/>
                <a:gd name="T13" fmla="*/ 288 h 2585"/>
                <a:gd name="T14" fmla="*/ 140 w 1261"/>
                <a:gd name="T15" fmla="*/ 361 h 2585"/>
                <a:gd name="T16" fmla="*/ 186 w 1261"/>
                <a:gd name="T17" fmla="*/ 431 h 2585"/>
                <a:gd name="T18" fmla="*/ 238 w 1261"/>
                <a:gd name="T19" fmla="*/ 495 h 2585"/>
                <a:gd name="T20" fmla="*/ 294 w 1261"/>
                <a:gd name="T21" fmla="*/ 556 h 2585"/>
                <a:gd name="T22" fmla="*/ 355 w 1261"/>
                <a:gd name="T23" fmla="*/ 611 h 2585"/>
                <a:gd name="T24" fmla="*/ 419 w 1261"/>
                <a:gd name="T25" fmla="*/ 660 h 2585"/>
                <a:gd name="T26" fmla="*/ 454 w 1261"/>
                <a:gd name="T27" fmla="*/ 686 h 2585"/>
                <a:gd name="T28" fmla="*/ 528 w 1261"/>
                <a:gd name="T29" fmla="*/ 730 h 2585"/>
                <a:gd name="T30" fmla="*/ 604 w 1261"/>
                <a:gd name="T31" fmla="*/ 768 h 2585"/>
                <a:gd name="T32" fmla="*/ 681 w 1261"/>
                <a:gd name="T33" fmla="*/ 801 h 2585"/>
                <a:gd name="T34" fmla="*/ 761 w 1261"/>
                <a:gd name="T35" fmla="*/ 826 h 2585"/>
                <a:gd name="T36" fmla="*/ 841 w 1261"/>
                <a:gd name="T37" fmla="*/ 845 h 2585"/>
                <a:gd name="T38" fmla="*/ 922 w 1261"/>
                <a:gd name="T39" fmla="*/ 857 h 2585"/>
                <a:gd name="T40" fmla="*/ 1003 w 1261"/>
                <a:gd name="T41" fmla="*/ 863 h 2585"/>
                <a:gd name="T42" fmla="*/ 1044 w 1261"/>
                <a:gd name="T43" fmla="*/ 864 h 2585"/>
                <a:gd name="T44" fmla="*/ 976 w 1261"/>
                <a:gd name="T45" fmla="*/ 918 h 2585"/>
                <a:gd name="T46" fmla="*/ 913 w 1261"/>
                <a:gd name="T47" fmla="*/ 977 h 2585"/>
                <a:gd name="T48" fmla="*/ 857 w 1261"/>
                <a:gd name="T49" fmla="*/ 1038 h 2585"/>
                <a:gd name="T50" fmla="*/ 805 w 1261"/>
                <a:gd name="T51" fmla="*/ 1104 h 2585"/>
                <a:gd name="T52" fmla="*/ 759 w 1261"/>
                <a:gd name="T53" fmla="*/ 1173 h 2585"/>
                <a:gd name="T54" fmla="*/ 720 w 1261"/>
                <a:gd name="T55" fmla="*/ 1245 h 2585"/>
                <a:gd name="T56" fmla="*/ 686 w 1261"/>
                <a:gd name="T57" fmla="*/ 1320 h 2585"/>
                <a:gd name="T58" fmla="*/ 658 w 1261"/>
                <a:gd name="T59" fmla="*/ 1396 h 2585"/>
                <a:gd name="T60" fmla="*/ 645 w 1261"/>
                <a:gd name="T61" fmla="*/ 1438 h 2585"/>
                <a:gd name="T62" fmla="*/ 625 w 1261"/>
                <a:gd name="T63" fmla="*/ 1521 h 2585"/>
                <a:gd name="T64" fmla="*/ 612 w 1261"/>
                <a:gd name="T65" fmla="*/ 1605 h 2585"/>
                <a:gd name="T66" fmla="*/ 606 w 1261"/>
                <a:gd name="T67" fmla="*/ 1689 h 2585"/>
                <a:gd name="T68" fmla="*/ 606 w 1261"/>
                <a:gd name="T69" fmla="*/ 1772 h 2585"/>
                <a:gd name="T70" fmla="*/ 614 w 1261"/>
                <a:gd name="T71" fmla="*/ 1854 h 2585"/>
                <a:gd name="T72" fmla="*/ 626 w 1261"/>
                <a:gd name="T73" fmla="*/ 1935 h 2585"/>
                <a:gd name="T74" fmla="*/ 645 w 1261"/>
                <a:gd name="T75" fmla="*/ 2015 h 2585"/>
                <a:gd name="T76" fmla="*/ 658 w 1261"/>
                <a:gd name="T77" fmla="*/ 2053 h 2585"/>
                <a:gd name="T78" fmla="*/ 688 w 1261"/>
                <a:gd name="T79" fmla="*/ 2135 h 2585"/>
                <a:gd name="T80" fmla="*/ 724 w 1261"/>
                <a:gd name="T81" fmla="*/ 2212 h 2585"/>
                <a:gd name="T82" fmla="*/ 766 w 1261"/>
                <a:gd name="T83" fmla="*/ 2286 h 2585"/>
                <a:gd name="T84" fmla="*/ 812 w 1261"/>
                <a:gd name="T85" fmla="*/ 2355 h 2585"/>
                <a:gd name="T86" fmla="*/ 864 w 1261"/>
                <a:gd name="T87" fmla="*/ 2420 h 2585"/>
                <a:gd name="T88" fmla="*/ 920 w 1261"/>
                <a:gd name="T89" fmla="*/ 2480 h 2585"/>
                <a:gd name="T90" fmla="*/ 979 w 1261"/>
                <a:gd name="T91" fmla="*/ 2535 h 2585"/>
                <a:gd name="T92" fmla="*/ 1044 w 1261"/>
                <a:gd name="T93" fmla="*/ 2585 h 2585"/>
                <a:gd name="T94" fmla="*/ 1044 w 1261"/>
                <a:gd name="T95" fmla="*/ 2585 h 2585"/>
                <a:gd name="T96" fmla="*/ 1261 w 1261"/>
                <a:gd name="T97" fmla="*/ 2376 h 2585"/>
                <a:gd name="T98" fmla="*/ 1044 w 1261"/>
                <a:gd name="T99" fmla="*/ 864 h 2585"/>
                <a:gd name="T100" fmla="*/ 1044 w 1261"/>
                <a:gd name="T101" fmla="*/ 864 h 2585"/>
                <a:gd name="T102" fmla="*/ 1044 w 1261"/>
                <a:gd name="T103" fmla="*/ 864 h 2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61" h="2585">
                  <a:moveTo>
                    <a:pt x="1255" y="0"/>
                  </a:moveTo>
                  <a:lnTo>
                    <a:pt x="582" y="0"/>
                  </a:lnTo>
                  <a:lnTo>
                    <a:pt x="470" y="0"/>
                  </a:lnTo>
                  <a:lnTo>
                    <a:pt x="0" y="0"/>
                  </a:lnTo>
                  <a:lnTo>
                    <a:pt x="0" y="0"/>
                  </a:lnTo>
                  <a:lnTo>
                    <a:pt x="6" y="33"/>
                  </a:lnTo>
                  <a:lnTo>
                    <a:pt x="14" y="65"/>
                  </a:lnTo>
                  <a:lnTo>
                    <a:pt x="22" y="97"/>
                  </a:lnTo>
                  <a:lnTo>
                    <a:pt x="32" y="129"/>
                  </a:lnTo>
                  <a:lnTo>
                    <a:pt x="32" y="129"/>
                  </a:lnTo>
                  <a:lnTo>
                    <a:pt x="47" y="170"/>
                  </a:lnTo>
                  <a:lnTo>
                    <a:pt x="63" y="210"/>
                  </a:lnTo>
                  <a:lnTo>
                    <a:pt x="79" y="250"/>
                  </a:lnTo>
                  <a:lnTo>
                    <a:pt x="99" y="288"/>
                  </a:lnTo>
                  <a:lnTo>
                    <a:pt x="119" y="325"/>
                  </a:lnTo>
                  <a:lnTo>
                    <a:pt x="140" y="361"/>
                  </a:lnTo>
                  <a:lnTo>
                    <a:pt x="163" y="396"/>
                  </a:lnTo>
                  <a:lnTo>
                    <a:pt x="186" y="431"/>
                  </a:lnTo>
                  <a:lnTo>
                    <a:pt x="212" y="464"/>
                  </a:lnTo>
                  <a:lnTo>
                    <a:pt x="238" y="495"/>
                  </a:lnTo>
                  <a:lnTo>
                    <a:pt x="266" y="525"/>
                  </a:lnTo>
                  <a:lnTo>
                    <a:pt x="294" y="556"/>
                  </a:lnTo>
                  <a:lnTo>
                    <a:pt x="324" y="584"/>
                  </a:lnTo>
                  <a:lnTo>
                    <a:pt x="355" y="611"/>
                  </a:lnTo>
                  <a:lnTo>
                    <a:pt x="387" y="637"/>
                  </a:lnTo>
                  <a:lnTo>
                    <a:pt x="419" y="660"/>
                  </a:lnTo>
                  <a:lnTo>
                    <a:pt x="419" y="660"/>
                  </a:lnTo>
                  <a:lnTo>
                    <a:pt x="454" y="686"/>
                  </a:lnTo>
                  <a:lnTo>
                    <a:pt x="491" y="709"/>
                  </a:lnTo>
                  <a:lnTo>
                    <a:pt x="528" y="730"/>
                  </a:lnTo>
                  <a:lnTo>
                    <a:pt x="565" y="750"/>
                  </a:lnTo>
                  <a:lnTo>
                    <a:pt x="604" y="768"/>
                  </a:lnTo>
                  <a:lnTo>
                    <a:pt x="642" y="785"/>
                  </a:lnTo>
                  <a:lnTo>
                    <a:pt x="681" y="801"/>
                  </a:lnTo>
                  <a:lnTo>
                    <a:pt x="721" y="815"/>
                  </a:lnTo>
                  <a:lnTo>
                    <a:pt x="761" y="826"/>
                  </a:lnTo>
                  <a:lnTo>
                    <a:pt x="801" y="836"/>
                  </a:lnTo>
                  <a:lnTo>
                    <a:pt x="841" y="845"/>
                  </a:lnTo>
                  <a:lnTo>
                    <a:pt x="882" y="852"/>
                  </a:lnTo>
                  <a:lnTo>
                    <a:pt x="922" y="857"/>
                  </a:lnTo>
                  <a:lnTo>
                    <a:pt x="963" y="861"/>
                  </a:lnTo>
                  <a:lnTo>
                    <a:pt x="1003" y="863"/>
                  </a:lnTo>
                  <a:lnTo>
                    <a:pt x="1044" y="864"/>
                  </a:lnTo>
                  <a:lnTo>
                    <a:pt x="1044" y="864"/>
                  </a:lnTo>
                  <a:lnTo>
                    <a:pt x="1010" y="890"/>
                  </a:lnTo>
                  <a:lnTo>
                    <a:pt x="976" y="918"/>
                  </a:lnTo>
                  <a:lnTo>
                    <a:pt x="943" y="946"/>
                  </a:lnTo>
                  <a:lnTo>
                    <a:pt x="913" y="977"/>
                  </a:lnTo>
                  <a:lnTo>
                    <a:pt x="884" y="1007"/>
                  </a:lnTo>
                  <a:lnTo>
                    <a:pt x="857" y="1038"/>
                  </a:lnTo>
                  <a:lnTo>
                    <a:pt x="830" y="1071"/>
                  </a:lnTo>
                  <a:lnTo>
                    <a:pt x="805" y="1104"/>
                  </a:lnTo>
                  <a:lnTo>
                    <a:pt x="781" y="1139"/>
                  </a:lnTo>
                  <a:lnTo>
                    <a:pt x="759" y="1173"/>
                  </a:lnTo>
                  <a:lnTo>
                    <a:pt x="739" y="1208"/>
                  </a:lnTo>
                  <a:lnTo>
                    <a:pt x="720" y="1245"/>
                  </a:lnTo>
                  <a:lnTo>
                    <a:pt x="702" y="1281"/>
                  </a:lnTo>
                  <a:lnTo>
                    <a:pt x="686" y="1320"/>
                  </a:lnTo>
                  <a:lnTo>
                    <a:pt x="671" y="1358"/>
                  </a:lnTo>
                  <a:lnTo>
                    <a:pt x="658" y="1396"/>
                  </a:lnTo>
                  <a:lnTo>
                    <a:pt x="658" y="1396"/>
                  </a:lnTo>
                  <a:lnTo>
                    <a:pt x="645" y="1438"/>
                  </a:lnTo>
                  <a:lnTo>
                    <a:pt x="634" y="1479"/>
                  </a:lnTo>
                  <a:lnTo>
                    <a:pt x="625" y="1521"/>
                  </a:lnTo>
                  <a:lnTo>
                    <a:pt x="617" y="1564"/>
                  </a:lnTo>
                  <a:lnTo>
                    <a:pt x="612" y="1605"/>
                  </a:lnTo>
                  <a:lnTo>
                    <a:pt x="608" y="1647"/>
                  </a:lnTo>
                  <a:lnTo>
                    <a:pt x="606" y="1689"/>
                  </a:lnTo>
                  <a:lnTo>
                    <a:pt x="605" y="1730"/>
                  </a:lnTo>
                  <a:lnTo>
                    <a:pt x="606" y="1772"/>
                  </a:lnTo>
                  <a:lnTo>
                    <a:pt x="609" y="1814"/>
                  </a:lnTo>
                  <a:lnTo>
                    <a:pt x="614" y="1854"/>
                  </a:lnTo>
                  <a:lnTo>
                    <a:pt x="619" y="1895"/>
                  </a:lnTo>
                  <a:lnTo>
                    <a:pt x="626" y="1935"/>
                  </a:lnTo>
                  <a:lnTo>
                    <a:pt x="635" y="1974"/>
                  </a:lnTo>
                  <a:lnTo>
                    <a:pt x="645" y="2015"/>
                  </a:lnTo>
                  <a:lnTo>
                    <a:pt x="658" y="2053"/>
                  </a:lnTo>
                  <a:lnTo>
                    <a:pt x="658" y="2053"/>
                  </a:lnTo>
                  <a:lnTo>
                    <a:pt x="672" y="2095"/>
                  </a:lnTo>
                  <a:lnTo>
                    <a:pt x="688" y="2135"/>
                  </a:lnTo>
                  <a:lnTo>
                    <a:pt x="705" y="2174"/>
                  </a:lnTo>
                  <a:lnTo>
                    <a:pt x="724" y="2212"/>
                  </a:lnTo>
                  <a:lnTo>
                    <a:pt x="744" y="2249"/>
                  </a:lnTo>
                  <a:lnTo>
                    <a:pt x="766" y="2286"/>
                  </a:lnTo>
                  <a:lnTo>
                    <a:pt x="788" y="2321"/>
                  </a:lnTo>
                  <a:lnTo>
                    <a:pt x="812" y="2355"/>
                  </a:lnTo>
                  <a:lnTo>
                    <a:pt x="838" y="2387"/>
                  </a:lnTo>
                  <a:lnTo>
                    <a:pt x="864" y="2420"/>
                  </a:lnTo>
                  <a:lnTo>
                    <a:pt x="891" y="2450"/>
                  </a:lnTo>
                  <a:lnTo>
                    <a:pt x="920" y="2480"/>
                  </a:lnTo>
                  <a:lnTo>
                    <a:pt x="949" y="2508"/>
                  </a:lnTo>
                  <a:lnTo>
                    <a:pt x="979" y="2535"/>
                  </a:lnTo>
                  <a:lnTo>
                    <a:pt x="1012" y="2561"/>
                  </a:lnTo>
                  <a:lnTo>
                    <a:pt x="1044" y="2585"/>
                  </a:lnTo>
                  <a:lnTo>
                    <a:pt x="1044" y="2585"/>
                  </a:lnTo>
                  <a:lnTo>
                    <a:pt x="1044" y="2585"/>
                  </a:lnTo>
                  <a:lnTo>
                    <a:pt x="1044" y="2585"/>
                  </a:lnTo>
                  <a:lnTo>
                    <a:pt x="1261" y="2376"/>
                  </a:lnTo>
                  <a:lnTo>
                    <a:pt x="1255" y="0"/>
                  </a:lnTo>
                  <a:close/>
                  <a:moveTo>
                    <a:pt x="1044" y="864"/>
                  </a:moveTo>
                  <a:lnTo>
                    <a:pt x="1044" y="864"/>
                  </a:lnTo>
                  <a:lnTo>
                    <a:pt x="1044" y="864"/>
                  </a:lnTo>
                  <a:lnTo>
                    <a:pt x="1045" y="864"/>
                  </a:lnTo>
                  <a:lnTo>
                    <a:pt x="1044" y="864"/>
                  </a:lnTo>
                  <a:close/>
                </a:path>
              </a:pathLst>
            </a:custGeom>
            <a:solidFill>
              <a:schemeClr val="accent4">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dirty="0"/>
            </a:p>
          </p:txBody>
        </p:sp>
        <p:sp>
          <p:nvSpPr>
            <p:cNvPr id="34" name="Freeform 25"/>
            <p:cNvSpPr>
              <a:spLocks/>
            </p:cNvSpPr>
            <p:nvPr userDrawn="1"/>
          </p:nvSpPr>
          <p:spPr bwMode="auto">
            <a:xfrm>
              <a:off x="7877175" y="0"/>
              <a:ext cx="1266825" cy="4103688"/>
            </a:xfrm>
            <a:custGeom>
              <a:avLst/>
              <a:gdLst>
                <a:gd name="T0" fmla="*/ 0 w 798"/>
                <a:gd name="T1" fmla="*/ 0 h 2585"/>
                <a:gd name="T2" fmla="*/ 73 w 798"/>
                <a:gd name="T3" fmla="*/ 96 h 2585"/>
                <a:gd name="T4" fmla="*/ 142 w 798"/>
                <a:gd name="T5" fmla="*/ 196 h 2585"/>
                <a:gd name="T6" fmla="*/ 206 w 798"/>
                <a:gd name="T7" fmla="*/ 299 h 2585"/>
                <a:gd name="T8" fmla="*/ 267 w 798"/>
                <a:gd name="T9" fmla="*/ 405 h 2585"/>
                <a:gd name="T10" fmla="*/ 322 w 798"/>
                <a:gd name="T11" fmla="*/ 515 h 2585"/>
                <a:gd name="T12" fmla="*/ 374 w 798"/>
                <a:gd name="T13" fmla="*/ 629 h 2585"/>
                <a:gd name="T14" fmla="*/ 420 w 798"/>
                <a:gd name="T15" fmla="*/ 745 h 2585"/>
                <a:gd name="T16" fmla="*/ 462 w 798"/>
                <a:gd name="T17" fmla="*/ 864 h 2585"/>
                <a:gd name="T18" fmla="*/ 463 w 798"/>
                <a:gd name="T19" fmla="*/ 864 h 2585"/>
                <a:gd name="T20" fmla="*/ 462 w 798"/>
                <a:gd name="T21" fmla="*/ 864 h 2585"/>
                <a:gd name="T22" fmla="*/ 462 w 798"/>
                <a:gd name="T23" fmla="*/ 864 h 2585"/>
                <a:gd name="T24" fmla="*/ 478 w 798"/>
                <a:gd name="T25" fmla="*/ 915 h 2585"/>
                <a:gd name="T26" fmla="*/ 508 w 798"/>
                <a:gd name="T27" fmla="*/ 1017 h 2585"/>
                <a:gd name="T28" fmla="*/ 532 w 798"/>
                <a:gd name="T29" fmla="*/ 1122 h 2585"/>
                <a:gd name="T30" fmla="*/ 554 w 798"/>
                <a:gd name="T31" fmla="*/ 1226 h 2585"/>
                <a:gd name="T32" fmla="*/ 571 w 798"/>
                <a:gd name="T33" fmla="*/ 1332 h 2585"/>
                <a:gd name="T34" fmla="*/ 584 w 798"/>
                <a:gd name="T35" fmla="*/ 1439 h 2585"/>
                <a:gd name="T36" fmla="*/ 593 w 798"/>
                <a:gd name="T37" fmla="*/ 1547 h 2585"/>
                <a:gd name="T38" fmla="*/ 598 w 798"/>
                <a:gd name="T39" fmla="*/ 1655 h 2585"/>
                <a:gd name="T40" fmla="*/ 599 w 798"/>
                <a:gd name="T41" fmla="*/ 1763 h 2585"/>
                <a:gd name="T42" fmla="*/ 595 w 798"/>
                <a:gd name="T43" fmla="*/ 1873 h 2585"/>
                <a:gd name="T44" fmla="*/ 586 w 798"/>
                <a:gd name="T45" fmla="*/ 1982 h 2585"/>
                <a:gd name="T46" fmla="*/ 574 w 798"/>
                <a:gd name="T47" fmla="*/ 2091 h 2585"/>
                <a:gd name="T48" fmla="*/ 557 w 798"/>
                <a:gd name="T49" fmla="*/ 2202 h 2585"/>
                <a:gd name="T50" fmla="*/ 536 w 798"/>
                <a:gd name="T51" fmla="*/ 2312 h 2585"/>
                <a:gd name="T52" fmla="*/ 510 w 798"/>
                <a:gd name="T53" fmla="*/ 2421 h 2585"/>
                <a:gd name="T54" fmla="*/ 480 w 798"/>
                <a:gd name="T55" fmla="*/ 2530 h 2585"/>
                <a:gd name="T56" fmla="*/ 462 w 798"/>
                <a:gd name="T57" fmla="*/ 2585 h 2585"/>
                <a:gd name="T58" fmla="*/ 597 w 798"/>
                <a:gd name="T59" fmla="*/ 2529 h 2585"/>
                <a:gd name="T60" fmla="*/ 675 w 798"/>
                <a:gd name="T61" fmla="*/ 2492 h 2585"/>
                <a:gd name="T62" fmla="*/ 798 w 798"/>
                <a:gd name="T63" fmla="*/ 2430 h 2585"/>
                <a:gd name="T64" fmla="*/ 798 w 798"/>
                <a:gd name="T65" fmla="*/ 0 h 2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98" h="2585">
                  <a:moveTo>
                    <a:pt x="0" y="0"/>
                  </a:moveTo>
                  <a:lnTo>
                    <a:pt x="0" y="0"/>
                  </a:lnTo>
                  <a:lnTo>
                    <a:pt x="37" y="47"/>
                  </a:lnTo>
                  <a:lnTo>
                    <a:pt x="73" y="96"/>
                  </a:lnTo>
                  <a:lnTo>
                    <a:pt x="108" y="145"/>
                  </a:lnTo>
                  <a:lnTo>
                    <a:pt x="142" y="196"/>
                  </a:lnTo>
                  <a:lnTo>
                    <a:pt x="175" y="246"/>
                  </a:lnTo>
                  <a:lnTo>
                    <a:pt x="206" y="299"/>
                  </a:lnTo>
                  <a:lnTo>
                    <a:pt x="237" y="352"/>
                  </a:lnTo>
                  <a:lnTo>
                    <a:pt x="267" y="405"/>
                  </a:lnTo>
                  <a:lnTo>
                    <a:pt x="295" y="460"/>
                  </a:lnTo>
                  <a:lnTo>
                    <a:pt x="322" y="515"/>
                  </a:lnTo>
                  <a:lnTo>
                    <a:pt x="349" y="572"/>
                  </a:lnTo>
                  <a:lnTo>
                    <a:pt x="374" y="629"/>
                  </a:lnTo>
                  <a:lnTo>
                    <a:pt x="397" y="686"/>
                  </a:lnTo>
                  <a:lnTo>
                    <a:pt x="420" y="745"/>
                  </a:lnTo>
                  <a:lnTo>
                    <a:pt x="441" y="804"/>
                  </a:lnTo>
                  <a:lnTo>
                    <a:pt x="462" y="864"/>
                  </a:lnTo>
                  <a:lnTo>
                    <a:pt x="462" y="864"/>
                  </a:lnTo>
                  <a:lnTo>
                    <a:pt x="463" y="864"/>
                  </a:lnTo>
                  <a:lnTo>
                    <a:pt x="463" y="864"/>
                  </a:lnTo>
                  <a:lnTo>
                    <a:pt x="462" y="864"/>
                  </a:lnTo>
                  <a:lnTo>
                    <a:pt x="462" y="864"/>
                  </a:lnTo>
                  <a:lnTo>
                    <a:pt x="462" y="864"/>
                  </a:lnTo>
                  <a:lnTo>
                    <a:pt x="462" y="864"/>
                  </a:lnTo>
                  <a:lnTo>
                    <a:pt x="478" y="915"/>
                  </a:lnTo>
                  <a:lnTo>
                    <a:pt x="493" y="966"/>
                  </a:lnTo>
                  <a:lnTo>
                    <a:pt x="508" y="1017"/>
                  </a:lnTo>
                  <a:lnTo>
                    <a:pt x="520" y="1069"/>
                  </a:lnTo>
                  <a:lnTo>
                    <a:pt x="532" y="1122"/>
                  </a:lnTo>
                  <a:lnTo>
                    <a:pt x="544" y="1173"/>
                  </a:lnTo>
                  <a:lnTo>
                    <a:pt x="554" y="1226"/>
                  </a:lnTo>
                  <a:lnTo>
                    <a:pt x="563" y="1279"/>
                  </a:lnTo>
                  <a:lnTo>
                    <a:pt x="571" y="1332"/>
                  </a:lnTo>
                  <a:lnTo>
                    <a:pt x="579" y="1386"/>
                  </a:lnTo>
                  <a:lnTo>
                    <a:pt x="584" y="1439"/>
                  </a:lnTo>
                  <a:lnTo>
                    <a:pt x="590" y="1493"/>
                  </a:lnTo>
                  <a:lnTo>
                    <a:pt x="593" y="1547"/>
                  </a:lnTo>
                  <a:lnTo>
                    <a:pt x="597" y="1601"/>
                  </a:lnTo>
                  <a:lnTo>
                    <a:pt x="598" y="1655"/>
                  </a:lnTo>
                  <a:lnTo>
                    <a:pt x="599" y="1709"/>
                  </a:lnTo>
                  <a:lnTo>
                    <a:pt x="599" y="1763"/>
                  </a:lnTo>
                  <a:lnTo>
                    <a:pt x="598" y="1818"/>
                  </a:lnTo>
                  <a:lnTo>
                    <a:pt x="595" y="1873"/>
                  </a:lnTo>
                  <a:lnTo>
                    <a:pt x="592" y="1927"/>
                  </a:lnTo>
                  <a:lnTo>
                    <a:pt x="586" y="1982"/>
                  </a:lnTo>
                  <a:lnTo>
                    <a:pt x="581" y="2037"/>
                  </a:lnTo>
                  <a:lnTo>
                    <a:pt x="574" y="2091"/>
                  </a:lnTo>
                  <a:lnTo>
                    <a:pt x="566" y="2147"/>
                  </a:lnTo>
                  <a:lnTo>
                    <a:pt x="557" y="2202"/>
                  </a:lnTo>
                  <a:lnTo>
                    <a:pt x="547" y="2257"/>
                  </a:lnTo>
                  <a:lnTo>
                    <a:pt x="536" y="2312"/>
                  </a:lnTo>
                  <a:lnTo>
                    <a:pt x="523" y="2366"/>
                  </a:lnTo>
                  <a:lnTo>
                    <a:pt x="510" y="2421"/>
                  </a:lnTo>
                  <a:lnTo>
                    <a:pt x="495" y="2476"/>
                  </a:lnTo>
                  <a:lnTo>
                    <a:pt x="480" y="2530"/>
                  </a:lnTo>
                  <a:lnTo>
                    <a:pt x="462" y="2585"/>
                  </a:lnTo>
                  <a:lnTo>
                    <a:pt x="462" y="2585"/>
                  </a:lnTo>
                  <a:lnTo>
                    <a:pt x="555" y="2547"/>
                  </a:lnTo>
                  <a:lnTo>
                    <a:pt x="597" y="2529"/>
                  </a:lnTo>
                  <a:lnTo>
                    <a:pt x="637" y="2511"/>
                  </a:lnTo>
                  <a:lnTo>
                    <a:pt x="675" y="2492"/>
                  </a:lnTo>
                  <a:lnTo>
                    <a:pt x="715" y="2473"/>
                  </a:lnTo>
                  <a:lnTo>
                    <a:pt x="798" y="2430"/>
                  </a:lnTo>
                  <a:lnTo>
                    <a:pt x="798" y="701"/>
                  </a:lnTo>
                  <a:lnTo>
                    <a:pt x="798" y="0"/>
                  </a:lnTo>
                  <a:lnTo>
                    <a:pt x="0"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dirty="0"/>
            </a:p>
          </p:txBody>
        </p:sp>
        <p:sp>
          <p:nvSpPr>
            <p:cNvPr id="35" name="Freeform 26"/>
            <p:cNvSpPr>
              <a:spLocks/>
            </p:cNvSpPr>
            <p:nvPr userDrawn="1"/>
          </p:nvSpPr>
          <p:spPr bwMode="auto">
            <a:xfrm>
              <a:off x="8610600" y="1112838"/>
              <a:ext cx="533400" cy="258763"/>
            </a:xfrm>
            <a:custGeom>
              <a:avLst/>
              <a:gdLst>
                <a:gd name="T0" fmla="*/ 336 w 336"/>
                <a:gd name="T1" fmla="*/ 0 h 163"/>
                <a:gd name="T2" fmla="*/ 336 w 336"/>
                <a:gd name="T3" fmla="*/ 0 h 163"/>
                <a:gd name="T4" fmla="*/ 291 w 336"/>
                <a:gd name="T5" fmla="*/ 13 h 163"/>
                <a:gd name="T6" fmla="*/ 246 w 336"/>
                <a:gd name="T7" fmla="*/ 29 h 163"/>
                <a:gd name="T8" fmla="*/ 202 w 336"/>
                <a:gd name="T9" fmla="*/ 47 h 163"/>
                <a:gd name="T10" fmla="*/ 159 w 336"/>
                <a:gd name="T11" fmla="*/ 67 h 163"/>
                <a:gd name="T12" fmla="*/ 118 w 336"/>
                <a:gd name="T13" fmla="*/ 89 h 163"/>
                <a:gd name="T14" fmla="*/ 77 w 336"/>
                <a:gd name="T15" fmla="*/ 111 h 163"/>
                <a:gd name="T16" fmla="*/ 38 w 336"/>
                <a:gd name="T17" fmla="*/ 136 h 163"/>
                <a:gd name="T18" fmla="*/ 0 w 336"/>
                <a:gd name="T19" fmla="*/ 163 h 163"/>
                <a:gd name="T20" fmla="*/ 0 w 336"/>
                <a:gd name="T21" fmla="*/ 163 h 163"/>
                <a:gd name="T22" fmla="*/ 43 w 336"/>
                <a:gd name="T23" fmla="*/ 162 h 163"/>
                <a:gd name="T24" fmla="*/ 87 w 336"/>
                <a:gd name="T25" fmla="*/ 160 h 163"/>
                <a:gd name="T26" fmla="*/ 130 w 336"/>
                <a:gd name="T27" fmla="*/ 155 h 163"/>
                <a:gd name="T28" fmla="*/ 173 w 336"/>
                <a:gd name="T29" fmla="*/ 150 h 163"/>
                <a:gd name="T30" fmla="*/ 214 w 336"/>
                <a:gd name="T31" fmla="*/ 142 h 163"/>
                <a:gd name="T32" fmla="*/ 255 w 336"/>
                <a:gd name="T33" fmla="*/ 133 h 163"/>
                <a:gd name="T34" fmla="*/ 297 w 336"/>
                <a:gd name="T35" fmla="*/ 121 h 163"/>
                <a:gd name="T36" fmla="*/ 336 w 336"/>
                <a:gd name="T37" fmla="*/ 109 h 163"/>
                <a:gd name="T38" fmla="*/ 336 w 336"/>
                <a:gd name="T39"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6" h="163">
                  <a:moveTo>
                    <a:pt x="336" y="0"/>
                  </a:moveTo>
                  <a:lnTo>
                    <a:pt x="336" y="0"/>
                  </a:lnTo>
                  <a:lnTo>
                    <a:pt x="291" y="13"/>
                  </a:lnTo>
                  <a:lnTo>
                    <a:pt x="246" y="29"/>
                  </a:lnTo>
                  <a:lnTo>
                    <a:pt x="202" y="47"/>
                  </a:lnTo>
                  <a:lnTo>
                    <a:pt x="159" y="67"/>
                  </a:lnTo>
                  <a:lnTo>
                    <a:pt x="118" y="89"/>
                  </a:lnTo>
                  <a:lnTo>
                    <a:pt x="77" y="111"/>
                  </a:lnTo>
                  <a:lnTo>
                    <a:pt x="38" y="136"/>
                  </a:lnTo>
                  <a:lnTo>
                    <a:pt x="0" y="163"/>
                  </a:lnTo>
                  <a:lnTo>
                    <a:pt x="0" y="163"/>
                  </a:lnTo>
                  <a:lnTo>
                    <a:pt x="43" y="162"/>
                  </a:lnTo>
                  <a:lnTo>
                    <a:pt x="87" y="160"/>
                  </a:lnTo>
                  <a:lnTo>
                    <a:pt x="130" y="155"/>
                  </a:lnTo>
                  <a:lnTo>
                    <a:pt x="173" y="150"/>
                  </a:lnTo>
                  <a:lnTo>
                    <a:pt x="214" y="142"/>
                  </a:lnTo>
                  <a:lnTo>
                    <a:pt x="255" y="133"/>
                  </a:lnTo>
                  <a:lnTo>
                    <a:pt x="297" y="121"/>
                  </a:lnTo>
                  <a:lnTo>
                    <a:pt x="336" y="109"/>
                  </a:lnTo>
                  <a:lnTo>
                    <a:pt x="336" y="0"/>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6" name="Freeform 27"/>
            <p:cNvSpPr>
              <a:spLocks/>
            </p:cNvSpPr>
            <p:nvPr userDrawn="1"/>
          </p:nvSpPr>
          <p:spPr bwMode="auto">
            <a:xfrm>
              <a:off x="8610600" y="4103688"/>
              <a:ext cx="28575" cy="20638"/>
            </a:xfrm>
            <a:custGeom>
              <a:avLst/>
              <a:gdLst>
                <a:gd name="T0" fmla="*/ 18 w 18"/>
                <a:gd name="T1" fmla="*/ 13 h 13"/>
                <a:gd name="T2" fmla="*/ 18 w 18"/>
                <a:gd name="T3" fmla="*/ 13 h 13"/>
                <a:gd name="T4" fmla="*/ 0 w 18"/>
                <a:gd name="T5" fmla="*/ 0 h 13"/>
                <a:gd name="T6" fmla="*/ 0 w 18"/>
                <a:gd name="T7" fmla="*/ 0 h 13"/>
                <a:gd name="T8" fmla="*/ 18 w 18"/>
                <a:gd name="T9" fmla="*/ 13 h 13"/>
                <a:gd name="T10" fmla="*/ 18 w 18"/>
                <a:gd name="T11" fmla="*/ 13 h 13"/>
              </a:gdLst>
              <a:ahLst/>
              <a:cxnLst>
                <a:cxn ang="0">
                  <a:pos x="T0" y="T1"/>
                </a:cxn>
                <a:cxn ang="0">
                  <a:pos x="T2" y="T3"/>
                </a:cxn>
                <a:cxn ang="0">
                  <a:pos x="T4" y="T5"/>
                </a:cxn>
                <a:cxn ang="0">
                  <a:pos x="T6" y="T7"/>
                </a:cxn>
                <a:cxn ang="0">
                  <a:pos x="T8" y="T9"/>
                </a:cxn>
                <a:cxn ang="0">
                  <a:pos x="T10" y="T11"/>
                </a:cxn>
              </a:cxnLst>
              <a:rect l="0" t="0" r="r" b="b"/>
              <a:pathLst>
                <a:path w="18" h="13">
                  <a:moveTo>
                    <a:pt x="18" y="13"/>
                  </a:moveTo>
                  <a:lnTo>
                    <a:pt x="18" y="13"/>
                  </a:lnTo>
                  <a:lnTo>
                    <a:pt x="0" y="0"/>
                  </a:lnTo>
                  <a:lnTo>
                    <a:pt x="0" y="0"/>
                  </a:lnTo>
                  <a:lnTo>
                    <a:pt x="18" y="13"/>
                  </a:lnTo>
                  <a:lnTo>
                    <a:pt x="18" y="13"/>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7" name="Freeform 28"/>
            <p:cNvSpPr>
              <a:spLocks/>
            </p:cNvSpPr>
            <p:nvPr userDrawn="1"/>
          </p:nvSpPr>
          <p:spPr bwMode="auto">
            <a:xfrm>
              <a:off x="8639175" y="4124325"/>
              <a:ext cx="504825" cy="312738"/>
            </a:xfrm>
            <a:custGeom>
              <a:avLst/>
              <a:gdLst>
                <a:gd name="T0" fmla="*/ 318 w 318"/>
                <a:gd name="T1" fmla="*/ 150 h 197"/>
                <a:gd name="T2" fmla="*/ 318 w 318"/>
                <a:gd name="T3" fmla="*/ 150 h 197"/>
                <a:gd name="T4" fmla="*/ 276 w 318"/>
                <a:gd name="T5" fmla="*/ 138 h 197"/>
                <a:gd name="T6" fmla="*/ 236 w 318"/>
                <a:gd name="T7" fmla="*/ 123 h 197"/>
                <a:gd name="T8" fmla="*/ 195 w 318"/>
                <a:gd name="T9" fmla="*/ 108 h 197"/>
                <a:gd name="T10" fmla="*/ 155 w 318"/>
                <a:gd name="T11" fmla="*/ 90 h 197"/>
                <a:gd name="T12" fmla="*/ 115 w 318"/>
                <a:gd name="T13" fmla="*/ 69 h 197"/>
                <a:gd name="T14" fmla="*/ 76 w 318"/>
                <a:gd name="T15" fmla="*/ 48 h 197"/>
                <a:gd name="T16" fmla="*/ 38 w 318"/>
                <a:gd name="T17" fmla="*/ 24 h 197"/>
                <a:gd name="T18" fmla="*/ 0 w 318"/>
                <a:gd name="T19" fmla="*/ 0 h 197"/>
                <a:gd name="T20" fmla="*/ 0 w 318"/>
                <a:gd name="T21" fmla="*/ 0 h 197"/>
                <a:gd name="T22" fmla="*/ 39 w 318"/>
                <a:gd name="T23" fmla="*/ 27 h 197"/>
                <a:gd name="T24" fmla="*/ 77 w 318"/>
                <a:gd name="T25" fmla="*/ 54 h 197"/>
                <a:gd name="T26" fmla="*/ 117 w 318"/>
                <a:gd name="T27" fmla="*/ 80 h 197"/>
                <a:gd name="T28" fmla="*/ 157 w 318"/>
                <a:gd name="T29" fmla="*/ 104 h 197"/>
                <a:gd name="T30" fmla="*/ 196 w 318"/>
                <a:gd name="T31" fmla="*/ 128 h 197"/>
                <a:gd name="T32" fmla="*/ 237 w 318"/>
                <a:gd name="T33" fmla="*/ 152 h 197"/>
                <a:gd name="T34" fmla="*/ 277 w 318"/>
                <a:gd name="T35" fmla="*/ 174 h 197"/>
                <a:gd name="T36" fmla="*/ 318 w 318"/>
                <a:gd name="T37" fmla="*/ 197 h 197"/>
                <a:gd name="T38" fmla="*/ 318 w 318"/>
                <a:gd name="T39" fmla="*/ 15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8" h="197">
                  <a:moveTo>
                    <a:pt x="318" y="150"/>
                  </a:moveTo>
                  <a:lnTo>
                    <a:pt x="318" y="150"/>
                  </a:lnTo>
                  <a:lnTo>
                    <a:pt x="276" y="138"/>
                  </a:lnTo>
                  <a:lnTo>
                    <a:pt x="236" y="123"/>
                  </a:lnTo>
                  <a:lnTo>
                    <a:pt x="195" y="108"/>
                  </a:lnTo>
                  <a:lnTo>
                    <a:pt x="155" y="90"/>
                  </a:lnTo>
                  <a:lnTo>
                    <a:pt x="115" y="69"/>
                  </a:lnTo>
                  <a:lnTo>
                    <a:pt x="76" y="48"/>
                  </a:lnTo>
                  <a:lnTo>
                    <a:pt x="38" y="24"/>
                  </a:lnTo>
                  <a:lnTo>
                    <a:pt x="0" y="0"/>
                  </a:lnTo>
                  <a:lnTo>
                    <a:pt x="0" y="0"/>
                  </a:lnTo>
                  <a:lnTo>
                    <a:pt x="39" y="27"/>
                  </a:lnTo>
                  <a:lnTo>
                    <a:pt x="77" y="54"/>
                  </a:lnTo>
                  <a:lnTo>
                    <a:pt x="117" y="80"/>
                  </a:lnTo>
                  <a:lnTo>
                    <a:pt x="157" y="104"/>
                  </a:lnTo>
                  <a:lnTo>
                    <a:pt x="196" y="128"/>
                  </a:lnTo>
                  <a:lnTo>
                    <a:pt x="237" y="152"/>
                  </a:lnTo>
                  <a:lnTo>
                    <a:pt x="277" y="174"/>
                  </a:lnTo>
                  <a:lnTo>
                    <a:pt x="318" y="197"/>
                  </a:lnTo>
                  <a:lnTo>
                    <a:pt x="318" y="150"/>
                  </a:ln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dirty="0"/>
            </a:p>
          </p:txBody>
        </p:sp>
        <p:sp>
          <p:nvSpPr>
            <p:cNvPr id="38" name="Freeform 29"/>
            <p:cNvSpPr>
              <a:spLocks/>
            </p:cNvSpPr>
            <p:nvPr userDrawn="1"/>
          </p:nvSpPr>
          <p:spPr bwMode="auto">
            <a:xfrm>
              <a:off x="8585200" y="4084638"/>
              <a:ext cx="25400" cy="19050"/>
            </a:xfrm>
            <a:custGeom>
              <a:avLst/>
              <a:gdLst>
                <a:gd name="T0" fmla="*/ 0 w 16"/>
                <a:gd name="T1" fmla="*/ 0 h 12"/>
                <a:gd name="T2" fmla="*/ 0 w 16"/>
                <a:gd name="T3" fmla="*/ 0 h 12"/>
                <a:gd name="T4" fmla="*/ 16 w 16"/>
                <a:gd name="T5" fmla="*/ 12 h 12"/>
                <a:gd name="T6" fmla="*/ 16 w 16"/>
                <a:gd name="T7" fmla="*/ 12 h 12"/>
                <a:gd name="T8" fmla="*/ 0 w 16"/>
                <a:gd name="T9" fmla="*/ 0 h 12"/>
                <a:gd name="T10" fmla="*/ 0 w 16"/>
                <a:gd name="T11" fmla="*/ 0 h 12"/>
              </a:gdLst>
              <a:ahLst/>
              <a:cxnLst>
                <a:cxn ang="0">
                  <a:pos x="T0" y="T1"/>
                </a:cxn>
                <a:cxn ang="0">
                  <a:pos x="T2" y="T3"/>
                </a:cxn>
                <a:cxn ang="0">
                  <a:pos x="T4" y="T5"/>
                </a:cxn>
                <a:cxn ang="0">
                  <a:pos x="T6" y="T7"/>
                </a:cxn>
                <a:cxn ang="0">
                  <a:pos x="T8" y="T9"/>
                </a:cxn>
                <a:cxn ang="0">
                  <a:pos x="T10" y="T11"/>
                </a:cxn>
              </a:cxnLst>
              <a:rect l="0" t="0" r="r" b="b"/>
              <a:pathLst>
                <a:path w="16" h="12">
                  <a:moveTo>
                    <a:pt x="0" y="0"/>
                  </a:moveTo>
                  <a:lnTo>
                    <a:pt x="0" y="0"/>
                  </a:lnTo>
                  <a:lnTo>
                    <a:pt x="16" y="12"/>
                  </a:lnTo>
                  <a:lnTo>
                    <a:pt x="16" y="12"/>
                  </a:lnTo>
                  <a:lnTo>
                    <a:pt x="0" y="0"/>
                  </a:lnTo>
                  <a:lnTo>
                    <a:pt x="0" y="0"/>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9" name="Freeform 30"/>
            <p:cNvSpPr>
              <a:spLocks/>
            </p:cNvSpPr>
            <p:nvPr userDrawn="1"/>
          </p:nvSpPr>
          <p:spPr bwMode="auto">
            <a:xfrm>
              <a:off x="7588250" y="4103688"/>
              <a:ext cx="1022350" cy="1039813"/>
            </a:xfrm>
            <a:custGeom>
              <a:avLst/>
              <a:gdLst>
                <a:gd name="T0" fmla="*/ 0 w 644"/>
                <a:gd name="T1" fmla="*/ 655 h 655"/>
                <a:gd name="T2" fmla="*/ 332 w 644"/>
                <a:gd name="T3" fmla="*/ 655 h 655"/>
                <a:gd name="T4" fmla="*/ 332 w 644"/>
                <a:gd name="T5" fmla="*/ 655 h 655"/>
                <a:gd name="T6" fmla="*/ 357 w 644"/>
                <a:gd name="T7" fmla="*/ 617 h 655"/>
                <a:gd name="T8" fmla="*/ 381 w 644"/>
                <a:gd name="T9" fmla="*/ 577 h 655"/>
                <a:gd name="T10" fmla="*/ 404 w 644"/>
                <a:gd name="T11" fmla="*/ 538 h 655"/>
                <a:gd name="T12" fmla="*/ 426 w 644"/>
                <a:gd name="T13" fmla="*/ 499 h 655"/>
                <a:gd name="T14" fmla="*/ 449 w 644"/>
                <a:gd name="T15" fmla="*/ 458 h 655"/>
                <a:gd name="T16" fmla="*/ 470 w 644"/>
                <a:gd name="T17" fmla="*/ 418 h 655"/>
                <a:gd name="T18" fmla="*/ 491 w 644"/>
                <a:gd name="T19" fmla="*/ 377 h 655"/>
                <a:gd name="T20" fmla="*/ 511 w 644"/>
                <a:gd name="T21" fmla="*/ 337 h 655"/>
                <a:gd name="T22" fmla="*/ 530 w 644"/>
                <a:gd name="T23" fmla="*/ 295 h 655"/>
                <a:gd name="T24" fmla="*/ 548 w 644"/>
                <a:gd name="T25" fmla="*/ 253 h 655"/>
                <a:gd name="T26" fmla="*/ 566 w 644"/>
                <a:gd name="T27" fmla="*/ 212 h 655"/>
                <a:gd name="T28" fmla="*/ 583 w 644"/>
                <a:gd name="T29" fmla="*/ 170 h 655"/>
                <a:gd name="T30" fmla="*/ 600 w 644"/>
                <a:gd name="T31" fmla="*/ 129 h 655"/>
                <a:gd name="T32" fmla="*/ 614 w 644"/>
                <a:gd name="T33" fmla="*/ 86 h 655"/>
                <a:gd name="T34" fmla="*/ 630 w 644"/>
                <a:gd name="T35" fmla="*/ 43 h 655"/>
                <a:gd name="T36" fmla="*/ 644 w 644"/>
                <a:gd name="T37" fmla="*/ 0 h 655"/>
                <a:gd name="T38" fmla="*/ 644 w 644"/>
                <a:gd name="T39" fmla="*/ 0 h 655"/>
                <a:gd name="T40" fmla="*/ 644 w 644"/>
                <a:gd name="T41" fmla="*/ 0 h 655"/>
                <a:gd name="T42" fmla="*/ 596 w 644"/>
                <a:gd name="T43" fmla="*/ 35 h 655"/>
                <a:gd name="T44" fmla="*/ 550 w 644"/>
                <a:gd name="T45" fmla="*/ 72 h 655"/>
                <a:gd name="T46" fmla="*/ 504 w 644"/>
                <a:gd name="T47" fmla="*/ 108 h 655"/>
                <a:gd name="T48" fmla="*/ 459 w 644"/>
                <a:gd name="T49" fmla="*/ 147 h 655"/>
                <a:gd name="T50" fmla="*/ 415 w 644"/>
                <a:gd name="T51" fmla="*/ 185 h 655"/>
                <a:gd name="T52" fmla="*/ 372 w 644"/>
                <a:gd name="T53" fmla="*/ 224 h 655"/>
                <a:gd name="T54" fmla="*/ 331 w 644"/>
                <a:gd name="T55" fmla="*/ 265 h 655"/>
                <a:gd name="T56" fmla="*/ 290 w 644"/>
                <a:gd name="T57" fmla="*/ 305 h 655"/>
                <a:gd name="T58" fmla="*/ 250 w 644"/>
                <a:gd name="T59" fmla="*/ 347 h 655"/>
                <a:gd name="T60" fmla="*/ 212 w 644"/>
                <a:gd name="T61" fmla="*/ 388 h 655"/>
                <a:gd name="T62" fmla="*/ 173 w 644"/>
                <a:gd name="T63" fmla="*/ 431 h 655"/>
                <a:gd name="T64" fmla="*/ 137 w 644"/>
                <a:gd name="T65" fmla="*/ 475 h 655"/>
                <a:gd name="T66" fmla="*/ 101 w 644"/>
                <a:gd name="T67" fmla="*/ 519 h 655"/>
                <a:gd name="T68" fmla="*/ 66 w 644"/>
                <a:gd name="T69" fmla="*/ 564 h 655"/>
                <a:gd name="T70" fmla="*/ 33 w 644"/>
                <a:gd name="T71" fmla="*/ 609 h 655"/>
                <a:gd name="T72" fmla="*/ 0 w 644"/>
                <a:gd name="T73" fmla="*/ 655 h 655"/>
                <a:gd name="T74" fmla="*/ 0 w 644"/>
                <a:gd name="T75" fmla="*/ 655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44" h="655">
                  <a:moveTo>
                    <a:pt x="0" y="655"/>
                  </a:moveTo>
                  <a:lnTo>
                    <a:pt x="332" y="655"/>
                  </a:lnTo>
                  <a:lnTo>
                    <a:pt x="332" y="655"/>
                  </a:lnTo>
                  <a:lnTo>
                    <a:pt x="357" y="617"/>
                  </a:lnTo>
                  <a:lnTo>
                    <a:pt x="381" y="577"/>
                  </a:lnTo>
                  <a:lnTo>
                    <a:pt x="404" y="538"/>
                  </a:lnTo>
                  <a:lnTo>
                    <a:pt x="426" y="499"/>
                  </a:lnTo>
                  <a:lnTo>
                    <a:pt x="449" y="458"/>
                  </a:lnTo>
                  <a:lnTo>
                    <a:pt x="470" y="418"/>
                  </a:lnTo>
                  <a:lnTo>
                    <a:pt x="491" y="377"/>
                  </a:lnTo>
                  <a:lnTo>
                    <a:pt x="511" y="337"/>
                  </a:lnTo>
                  <a:lnTo>
                    <a:pt x="530" y="295"/>
                  </a:lnTo>
                  <a:lnTo>
                    <a:pt x="548" y="253"/>
                  </a:lnTo>
                  <a:lnTo>
                    <a:pt x="566" y="212"/>
                  </a:lnTo>
                  <a:lnTo>
                    <a:pt x="583" y="170"/>
                  </a:lnTo>
                  <a:lnTo>
                    <a:pt x="600" y="129"/>
                  </a:lnTo>
                  <a:lnTo>
                    <a:pt x="614" y="86"/>
                  </a:lnTo>
                  <a:lnTo>
                    <a:pt x="630" y="43"/>
                  </a:lnTo>
                  <a:lnTo>
                    <a:pt x="644" y="0"/>
                  </a:lnTo>
                  <a:lnTo>
                    <a:pt x="644" y="0"/>
                  </a:lnTo>
                  <a:lnTo>
                    <a:pt x="644" y="0"/>
                  </a:lnTo>
                  <a:lnTo>
                    <a:pt x="596" y="35"/>
                  </a:lnTo>
                  <a:lnTo>
                    <a:pt x="550" y="72"/>
                  </a:lnTo>
                  <a:lnTo>
                    <a:pt x="504" y="108"/>
                  </a:lnTo>
                  <a:lnTo>
                    <a:pt x="459" y="147"/>
                  </a:lnTo>
                  <a:lnTo>
                    <a:pt x="415" y="185"/>
                  </a:lnTo>
                  <a:lnTo>
                    <a:pt x="372" y="224"/>
                  </a:lnTo>
                  <a:lnTo>
                    <a:pt x="331" y="265"/>
                  </a:lnTo>
                  <a:lnTo>
                    <a:pt x="290" y="305"/>
                  </a:lnTo>
                  <a:lnTo>
                    <a:pt x="250" y="347"/>
                  </a:lnTo>
                  <a:lnTo>
                    <a:pt x="212" y="388"/>
                  </a:lnTo>
                  <a:lnTo>
                    <a:pt x="173" y="431"/>
                  </a:lnTo>
                  <a:lnTo>
                    <a:pt x="137" y="475"/>
                  </a:lnTo>
                  <a:lnTo>
                    <a:pt x="101" y="519"/>
                  </a:lnTo>
                  <a:lnTo>
                    <a:pt x="66" y="564"/>
                  </a:lnTo>
                  <a:lnTo>
                    <a:pt x="33" y="609"/>
                  </a:lnTo>
                  <a:lnTo>
                    <a:pt x="0" y="655"/>
                  </a:lnTo>
                  <a:lnTo>
                    <a:pt x="0" y="655"/>
                  </a:lnTo>
                  <a:close/>
                </a:path>
              </a:pathLst>
            </a:custGeom>
            <a:solidFill>
              <a:schemeClr val="tx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0" name="Freeform 31"/>
            <p:cNvSpPr>
              <a:spLocks/>
            </p:cNvSpPr>
            <p:nvPr userDrawn="1"/>
          </p:nvSpPr>
          <p:spPr bwMode="auto">
            <a:xfrm>
              <a:off x="8610600" y="3771900"/>
              <a:ext cx="533400" cy="619125"/>
            </a:xfrm>
            <a:custGeom>
              <a:avLst/>
              <a:gdLst>
                <a:gd name="T0" fmla="*/ 336 w 336"/>
                <a:gd name="T1" fmla="*/ 0 h 390"/>
                <a:gd name="T2" fmla="*/ 336 w 336"/>
                <a:gd name="T3" fmla="*/ 0 h 390"/>
                <a:gd name="T4" fmla="*/ 292 w 336"/>
                <a:gd name="T5" fmla="*/ 24 h 390"/>
                <a:gd name="T6" fmla="*/ 249 w 336"/>
                <a:gd name="T7" fmla="*/ 47 h 390"/>
                <a:gd name="T8" fmla="*/ 207 w 336"/>
                <a:gd name="T9" fmla="*/ 73 h 390"/>
                <a:gd name="T10" fmla="*/ 164 w 336"/>
                <a:gd name="T11" fmla="*/ 99 h 390"/>
                <a:gd name="T12" fmla="*/ 122 w 336"/>
                <a:gd name="T13" fmla="*/ 125 h 390"/>
                <a:gd name="T14" fmla="*/ 81 w 336"/>
                <a:gd name="T15" fmla="*/ 152 h 390"/>
                <a:gd name="T16" fmla="*/ 40 w 336"/>
                <a:gd name="T17" fmla="*/ 180 h 390"/>
                <a:gd name="T18" fmla="*/ 0 w 336"/>
                <a:gd name="T19" fmla="*/ 209 h 390"/>
                <a:gd name="T20" fmla="*/ 1 w 336"/>
                <a:gd name="T21" fmla="*/ 209 h 390"/>
                <a:gd name="T22" fmla="*/ 1 w 336"/>
                <a:gd name="T23" fmla="*/ 209 h 390"/>
                <a:gd name="T24" fmla="*/ 41 w 336"/>
                <a:gd name="T25" fmla="*/ 239 h 390"/>
                <a:gd name="T26" fmla="*/ 83 w 336"/>
                <a:gd name="T27" fmla="*/ 267 h 390"/>
                <a:gd name="T28" fmla="*/ 124 w 336"/>
                <a:gd name="T29" fmla="*/ 293 h 390"/>
                <a:gd name="T30" fmla="*/ 167 w 336"/>
                <a:gd name="T31" fmla="*/ 317 h 390"/>
                <a:gd name="T32" fmla="*/ 210 w 336"/>
                <a:gd name="T33" fmla="*/ 340 h 390"/>
                <a:gd name="T34" fmla="*/ 252 w 336"/>
                <a:gd name="T35" fmla="*/ 360 h 390"/>
                <a:gd name="T36" fmla="*/ 273 w 336"/>
                <a:gd name="T37" fmla="*/ 369 h 390"/>
                <a:gd name="T38" fmla="*/ 294 w 336"/>
                <a:gd name="T39" fmla="*/ 377 h 390"/>
                <a:gd name="T40" fmla="*/ 315 w 336"/>
                <a:gd name="T41" fmla="*/ 384 h 390"/>
                <a:gd name="T42" fmla="*/ 336 w 336"/>
                <a:gd name="T43" fmla="*/ 390 h 390"/>
                <a:gd name="T44" fmla="*/ 336 w 336"/>
                <a:gd name="T45" fmla="*/ 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6" h="390">
                  <a:moveTo>
                    <a:pt x="336" y="0"/>
                  </a:moveTo>
                  <a:lnTo>
                    <a:pt x="336" y="0"/>
                  </a:lnTo>
                  <a:lnTo>
                    <a:pt x="292" y="24"/>
                  </a:lnTo>
                  <a:lnTo>
                    <a:pt x="249" y="47"/>
                  </a:lnTo>
                  <a:lnTo>
                    <a:pt x="207" y="73"/>
                  </a:lnTo>
                  <a:lnTo>
                    <a:pt x="164" y="99"/>
                  </a:lnTo>
                  <a:lnTo>
                    <a:pt x="122" y="125"/>
                  </a:lnTo>
                  <a:lnTo>
                    <a:pt x="81" y="152"/>
                  </a:lnTo>
                  <a:lnTo>
                    <a:pt x="40" y="180"/>
                  </a:lnTo>
                  <a:lnTo>
                    <a:pt x="0" y="209"/>
                  </a:lnTo>
                  <a:lnTo>
                    <a:pt x="1" y="209"/>
                  </a:lnTo>
                  <a:lnTo>
                    <a:pt x="1" y="209"/>
                  </a:lnTo>
                  <a:lnTo>
                    <a:pt x="41" y="239"/>
                  </a:lnTo>
                  <a:lnTo>
                    <a:pt x="83" y="267"/>
                  </a:lnTo>
                  <a:lnTo>
                    <a:pt x="124" y="293"/>
                  </a:lnTo>
                  <a:lnTo>
                    <a:pt x="167" y="317"/>
                  </a:lnTo>
                  <a:lnTo>
                    <a:pt x="210" y="340"/>
                  </a:lnTo>
                  <a:lnTo>
                    <a:pt x="252" y="360"/>
                  </a:lnTo>
                  <a:lnTo>
                    <a:pt x="273" y="369"/>
                  </a:lnTo>
                  <a:lnTo>
                    <a:pt x="294" y="377"/>
                  </a:lnTo>
                  <a:lnTo>
                    <a:pt x="315" y="384"/>
                  </a:lnTo>
                  <a:lnTo>
                    <a:pt x="336" y="390"/>
                  </a:lnTo>
                  <a:lnTo>
                    <a:pt x="336"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dirty="0"/>
            </a:p>
          </p:txBody>
        </p:sp>
      </p:grpSp>
      <p:sp>
        <p:nvSpPr>
          <p:cNvPr id="8" name="Otsikko 7"/>
          <p:cNvSpPr>
            <a:spLocks noGrp="1"/>
          </p:cNvSpPr>
          <p:nvPr>
            <p:ph type="title"/>
          </p:nvPr>
        </p:nvSpPr>
        <p:spPr>
          <a:xfrm>
            <a:off x="432785" y="235342"/>
            <a:ext cx="6587487" cy="974270"/>
          </a:xfrm>
        </p:spPr>
        <p:txBody>
          <a:bodyPr/>
          <a:lstStyle>
            <a:lvl1pPr>
              <a:defRPr>
                <a:solidFill>
                  <a:srgbClr val="595965"/>
                </a:solidFill>
              </a:defRPr>
            </a:lvl1pPr>
          </a:lstStyle>
          <a:p>
            <a:r>
              <a:rPr lang="en-US" dirty="0"/>
              <a:t>Click to edit Master title style</a:t>
            </a:r>
            <a:endParaRPr lang="fi-FI" dirty="0"/>
          </a:p>
        </p:txBody>
      </p:sp>
      <p:pic>
        <p:nvPicPr>
          <p:cNvPr id="16" name="Picture 15">
            <a:extLst>
              <a:ext uri="{FF2B5EF4-FFF2-40B4-BE49-F238E27FC236}">
                <a16:creationId xmlns:a16="http://schemas.microsoft.com/office/drawing/2014/main" id="{69A31FAB-93E6-9C47-A33D-8A717BF62E1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24330" y="4699761"/>
            <a:ext cx="1439764" cy="274350"/>
          </a:xfrm>
          <a:prstGeom prst="rect">
            <a:avLst/>
          </a:prstGeom>
        </p:spPr>
      </p:pic>
      <p:pic>
        <p:nvPicPr>
          <p:cNvPr id="17" name="Picture 16">
            <a:extLst>
              <a:ext uri="{FF2B5EF4-FFF2-40B4-BE49-F238E27FC236}">
                <a16:creationId xmlns:a16="http://schemas.microsoft.com/office/drawing/2014/main" id="{B2B30F64-7970-AA4F-A58E-1B0E2975A93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604450" y="235342"/>
            <a:ext cx="305495" cy="419486"/>
          </a:xfrm>
          <a:prstGeom prst="rect">
            <a:avLst/>
          </a:prstGeom>
        </p:spPr>
      </p:pic>
      <p:sp>
        <p:nvSpPr>
          <p:cNvPr id="18" name="Sisällön paikkamerkki 2"/>
          <p:cNvSpPr>
            <a:spLocks noGrp="1"/>
          </p:cNvSpPr>
          <p:nvPr>
            <p:ph idx="1"/>
          </p:nvPr>
        </p:nvSpPr>
        <p:spPr>
          <a:xfrm>
            <a:off x="432787" y="1317627"/>
            <a:ext cx="7523591" cy="3486373"/>
          </a:xfrm>
        </p:spPr>
        <p:txBody>
          <a:bodyPr/>
          <a:lstStyle>
            <a:lvl1pPr>
              <a:defRPr>
                <a:solidFill>
                  <a:srgbClr val="595965"/>
                </a:solidFill>
              </a:defRPr>
            </a:lvl1pPr>
            <a:lvl2pPr>
              <a:defRPr>
                <a:solidFill>
                  <a:srgbClr val="595965"/>
                </a:solidFill>
              </a:defRPr>
            </a:lvl2pPr>
            <a:lvl3pPr>
              <a:defRPr>
                <a:solidFill>
                  <a:srgbClr val="595965"/>
                </a:solidFill>
              </a:defRPr>
            </a:lvl3pPr>
            <a:lvl4pPr>
              <a:defRPr>
                <a:solidFill>
                  <a:srgbClr val="595965"/>
                </a:solidFill>
              </a:defRPr>
            </a:lvl4pPr>
            <a:lvl5pPr>
              <a:defRPr>
                <a:solidFill>
                  <a:srgbClr val="595965"/>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Tree>
    <p:extLst>
      <p:ext uri="{BB962C8B-B14F-4D97-AF65-F5344CB8AC3E}">
        <p14:creationId xmlns:p14="http://schemas.microsoft.com/office/powerpoint/2010/main" val="20526297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6_Otsikko ja sisältö tyhjä">
    <p:spTree>
      <p:nvGrpSpPr>
        <p:cNvPr id="1" name=""/>
        <p:cNvGrpSpPr/>
        <p:nvPr/>
      </p:nvGrpSpPr>
      <p:grpSpPr>
        <a:xfrm>
          <a:off x="0" y="0"/>
          <a:ext cx="0" cy="0"/>
          <a:chOff x="0" y="0"/>
          <a:chExt cx="0" cy="0"/>
        </a:xfrm>
      </p:grpSpPr>
      <p:sp>
        <p:nvSpPr>
          <p:cNvPr id="8" name="Otsikko 7"/>
          <p:cNvSpPr>
            <a:spLocks noGrp="1"/>
          </p:cNvSpPr>
          <p:nvPr>
            <p:ph type="title"/>
          </p:nvPr>
        </p:nvSpPr>
        <p:spPr>
          <a:xfrm>
            <a:off x="432786" y="235342"/>
            <a:ext cx="8224354" cy="974270"/>
          </a:xfrm>
        </p:spPr>
        <p:txBody>
          <a:bodyPr/>
          <a:lstStyle>
            <a:lvl1pPr>
              <a:defRPr>
                <a:solidFill>
                  <a:srgbClr val="595965"/>
                </a:solidFill>
              </a:defRPr>
            </a:lvl1pPr>
          </a:lstStyle>
          <a:p>
            <a:r>
              <a:rPr lang="en-US" dirty="0"/>
              <a:t>Click to edit Master title style</a:t>
            </a:r>
            <a:endParaRPr lang="fi-FI" dirty="0"/>
          </a:p>
        </p:txBody>
      </p:sp>
      <p:sp>
        <p:nvSpPr>
          <p:cNvPr id="4" name="Sisällön paikkamerkki 2"/>
          <p:cNvSpPr>
            <a:spLocks noGrp="1"/>
          </p:cNvSpPr>
          <p:nvPr>
            <p:ph idx="1"/>
          </p:nvPr>
        </p:nvSpPr>
        <p:spPr>
          <a:xfrm>
            <a:off x="432787" y="1317627"/>
            <a:ext cx="7523591" cy="3486373"/>
          </a:xfrm>
        </p:spPr>
        <p:txBody>
          <a:bodyPr/>
          <a:lstStyle>
            <a:lvl1pPr>
              <a:defRPr>
                <a:solidFill>
                  <a:srgbClr val="595965"/>
                </a:solidFill>
              </a:defRPr>
            </a:lvl1pPr>
            <a:lvl2pPr>
              <a:defRPr>
                <a:solidFill>
                  <a:srgbClr val="595965"/>
                </a:solidFill>
              </a:defRPr>
            </a:lvl2pPr>
            <a:lvl3pPr>
              <a:defRPr>
                <a:solidFill>
                  <a:srgbClr val="595965"/>
                </a:solidFill>
              </a:defRPr>
            </a:lvl3pPr>
            <a:lvl4pPr>
              <a:defRPr>
                <a:solidFill>
                  <a:srgbClr val="595965"/>
                </a:solidFill>
              </a:defRPr>
            </a:lvl4pPr>
            <a:lvl5pPr>
              <a:defRPr>
                <a:solidFill>
                  <a:srgbClr val="595965"/>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Tree>
    <p:extLst>
      <p:ext uri="{BB962C8B-B14F-4D97-AF65-F5344CB8AC3E}">
        <p14:creationId xmlns:p14="http://schemas.microsoft.com/office/powerpoint/2010/main" val="148138332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title" preserve="1">
  <p:cSld name="2_Lopetus Sote">
    <p:spTree>
      <p:nvGrpSpPr>
        <p:cNvPr id="1" name=""/>
        <p:cNvGrpSpPr/>
        <p:nvPr/>
      </p:nvGrpSpPr>
      <p:grpSpPr>
        <a:xfrm>
          <a:off x="0" y="0"/>
          <a:ext cx="0" cy="0"/>
          <a:chOff x="0" y="0"/>
          <a:chExt cx="0" cy="0"/>
        </a:xfrm>
      </p:grpSpPr>
      <p:sp>
        <p:nvSpPr>
          <p:cNvPr id="4" name="Suorakulmio 3"/>
          <p:cNvSpPr/>
          <p:nvPr userDrawn="1"/>
        </p:nvSpPr>
        <p:spPr>
          <a:xfrm>
            <a:off x="2" y="1"/>
            <a:ext cx="9140109" cy="51422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92" y="1227"/>
            <a:ext cx="9136219" cy="5141050"/>
          </a:xfrm>
          <a:prstGeom prst="rect">
            <a:avLst/>
          </a:prstGeom>
        </p:spPr>
      </p:pic>
      <p:sp>
        <p:nvSpPr>
          <p:cNvPr id="2" name="Otsikko 1"/>
          <p:cNvSpPr>
            <a:spLocks noGrp="1"/>
          </p:cNvSpPr>
          <p:nvPr>
            <p:ph type="ctrTitle" hasCustomPrompt="1"/>
          </p:nvPr>
        </p:nvSpPr>
        <p:spPr>
          <a:xfrm>
            <a:off x="812802" y="1923679"/>
            <a:ext cx="5855530" cy="1114418"/>
          </a:xfrm>
        </p:spPr>
        <p:txBody>
          <a:bodyPr anchor="b" anchorCtr="0"/>
          <a:lstStyle>
            <a:lvl1pPr algn="l">
              <a:defRPr>
                <a:solidFill>
                  <a:schemeClr val="accent4"/>
                </a:solidFill>
              </a:defRPr>
            </a:lvl1pPr>
          </a:lstStyle>
          <a:p>
            <a:r>
              <a:rPr lang="fi-FI" dirty="0"/>
              <a:t>Esityksen päättävä teksti</a:t>
            </a:r>
          </a:p>
        </p:txBody>
      </p:sp>
      <p:sp>
        <p:nvSpPr>
          <p:cNvPr id="3" name="Alaotsikko 2"/>
          <p:cNvSpPr>
            <a:spLocks noGrp="1"/>
          </p:cNvSpPr>
          <p:nvPr>
            <p:ph type="subTitle" idx="1"/>
          </p:nvPr>
        </p:nvSpPr>
        <p:spPr>
          <a:xfrm>
            <a:off x="812802" y="3147814"/>
            <a:ext cx="5855530" cy="1512168"/>
          </a:xfrm>
        </p:spPr>
        <p:txBody>
          <a:bodyPr>
            <a:normAutofit/>
          </a:bodyPr>
          <a:lstStyle>
            <a:lvl1pPr marL="0" indent="0" algn="l">
              <a:spcBef>
                <a:spcPts val="0"/>
              </a:spcBef>
              <a:buNone/>
              <a:defRPr sz="1800">
                <a:solidFill>
                  <a:srgbClr val="595965"/>
                </a:solidFill>
              </a:defRPr>
            </a:lvl1pPr>
            <a:lvl2pPr marL="457178" indent="0" algn="ctr">
              <a:buNone/>
              <a:defRPr>
                <a:solidFill>
                  <a:schemeClr val="tx1">
                    <a:tint val="75000"/>
                  </a:schemeClr>
                </a:solidFill>
              </a:defRPr>
            </a:lvl2pPr>
            <a:lvl3pPr marL="914355"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4"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dirty="0"/>
              <a:t>Click to edit Master subtitle style</a:t>
            </a:r>
            <a:endParaRPr lang="fi-FI" dirty="0"/>
          </a:p>
        </p:txBody>
      </p:sp>
      <p:pic>
        <p:nvPicPr>
          <p:cNvPr id="6" name="Picture 5">
            <a:extLst>
              <a:ext uri="{FF2B5EF4-FFF2-40B4-BE49-F238E27FC236}">
                <a16:creationId xmlns:a16="http://schemas.microsoft.com/office/drawing/2014/main" id="{54CBBF4F-860A-6245-8AAB-382104654A3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24330" y="4699764"/>
            <a:ext cx="1439764" cy="274348"/>
          </a:xfrm>
          <a:prstGeom prst="rect">
            <a:avLst/>
          </a:prstGeom>
        </p:spPr>
      </p:pic>
      <p:pic>
        <p:nvPicPr>
          <p:cNvPr id="7" name="Picture 6">
            <a:extLst>
              <a:ext uri="{FF2B5EF4-FFF2-40B4-BE49-F238E27FC236}">
                <a16:creationId xmlns:a16="http://schemas.microsoft.com/office/drawing/2014/main" id="{3AEFC440-453E-0D42-BF52-3C7282112DB0}"/>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04450" y="235342"/>
            <a:ext cx="305495" cy="419486"/>
          </a:xfrm>
          <a:prstGeom prst="rect">
            <a:avLst/>
          </a:prstGeom>
        </p:spPr>
      </p:pic>
    </p:spTree>
    <p:extLst>
      <p:ext uri="{BB962C8B-B14F-4D97-AF65-F5344CB8AC3E}">
        <p14:creationId xmlns:p14="http://schemas.microsoft.com/office/powerpoint/2010/main" val="175167356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yhjä">
    <p:spTree>
      <p:nvGrpSpPr>
        <p:cNvPr id="1" name=""/>
        <p:cNvGrpSpPr/>
        <p:nvPr/>
      </p:nvGrpSpPr>
      <p:grpSpPr>
        <a:xfrm>
          <a:off x="0" y="0"/>
          <a:ext cx="0" cy="0"/>
          <a:chOff x="0" y="0"/>
          <a:chExt cx="0" cy="0"/>
        </a:xfrm>
      </p:grpSpPr>
    </p:spTree>
    <p:extLst>
      <p:ext uri="{BB962C8B-B14F-4D97-AF65-F5344CB8AC3E}">
        <p14:creationId xmlns:p14="http://schemas.microsoft.com/office/powerpoint/2010/main" val="77575207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_Pääotsikko Sote">
    <p:spTree>
      <p:nvGrpSpPr>
        <p:cNvPr id="1" name=""/>
        <p:cNvGrpSpPr/>
        <p:nvPr/>
      </p:nvGrpSpPr>
      <p:grpSpPr>
        <a:xfrm>
          <a:off x="0" y="0"/>
          <a:ext cx="0" cy="0"/>
          <a:chOff x="0" y="0"/>
          <a:chExt cx="0" cy="0"/>
        </a:xfrm>
      </p:grpSpPr>
      <p:sp>
        <p:nvSpPr>
          <p:cNvPr id="7" name="Otsikko 1"/>
          <p:cNvSpPr>
            <a:spLocks noGrp="1"/>
          </p:cNvSpPr>
          <p:nvPr>
            <p:ph type="ctrTitle"/>
          </p:nvPr>
        </p:nvSpPr>
        <p:spPr>
          <a:xfrm>
            <a:off x="683568" y="1851671"/>
            <a:ext cx="5832648" cy="2095528"/>
          </a:xfrm>
        </p:spPr>
        <p:txBody>
          <a:bodyPr anchor="b" anchorCtr="0">
            <a:noAutofit/>
          </a:bodyPr>
          <a:lstStyle>
            <a:lvl1pPr algn="l">
              <a:defRPr sz="4000">
                <a:solidFill>
                  <a:srgbClr val="FFFFFF"/>
                </a:solidFill>
              </a:defRPr>
            </a:lvl1pPr>
          </a:lstStyle>
          <a:p>
            <a:r>
              <a:rPr lang="en-US" dirty="0"/>
              <a:t>Click to edit Master title style</a:t>
            </a:r>
            <a:endParaRPr lang="fi-FI" dirty="0"/>
          </a:p>
        </p:txBody>
      </p:sp>
      <p:sp>
        <p:nvSpPr>
          <p:cNvPr id="8" name="Alaotsikko 2"/>
          <p:cNvSpPr>
            <a:spLocks noGrp="1"/>
          </p:cNvSpPr>
          <p:nvPr>
            <p:ph type="subTitle" idx="1"/>
          </p:nvPr>
        </p:nvSpPr>
        <p:spPr>
          <a:xfrm>
            <a:off x="683568" y="4064578"/>
            <a:ext cx="5832648" cy="667413"/>
          </a:xfrm>
        </p:spPr>
        <p:txBody>
          <a:bodyPr>
            <a:normAutofit/>
          </a:bodyPr>
          <a:lstStyle>
            <a:lvl1pPr marL="0" indent="0" algn="l">
              <a:spcBef>
                <a:spcPts val="0"/>
              </a:spcBef>
              <a:buNone/>
              <a:defRPr sz="1800">
                <a:solidFill>
                  <a:srgbClr val="FFFFFF"/>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fi-FI" dirty="0"/>
          </a:p>
        </p:txBody>
      </p:sp>
      <p:pic>
        <p:nvPicPr>
          <p:cNvPr id="3" name="Picture 2">
            <a:extLst>
              <a:ext uri="{FF2B5EF4-FFF2-40B4-BE49-F238E27FC236}">
                <a16:creationId xmlns:a16="http://schemas.microsoft.com/office/drawing/2014/main" id="{DE92C5AF-A585-B247-8A1C-ABA6794D7A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512" y="0"/>
            <a:ext cx="9180512" cy="5164038"/>
          </a:xfrm>
          <a:prstGeom prst="rect">
            <a:avLst/>
          </a:prstGeom>
        </p:spPr>
      </p:pic>
      <p:pic>
        <p:nvPicPr>
          <p:cNvPr id="4" name="Picture 3">
            <a:extLst>
              <a:ext uri="{FF2B5EF4-FFF2-40B4-BE49-F238E27FC236}">
                <a16:creationId xmlns:a16="http://schemas.microsoft.com/office/drawing/2014/main" id="{F1689B57-8BAA-BF42-B648-10782572357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804249" y="4443959"/>
            <a:ext cx="2088034" cy="397877"/>
          </a:xfrm>
          <a:prstGeom prst="rect">
            <a:avLst/>
          </a:prstGeom>
        </p:spPr>
      </p:pic>
      <p:sp>
        <p:nvSpPr>
          <p:cNvPr id="53" name="Freeform 29">
            <a:extLst>
              <a:ext uri="{FF2B5EF4-FFF2-40B4-BE49-F238E27FC236}">
                <a16:creationId xmlns:a16="http://schemas.microsoft.com/office/drawing/2014/main" id="{72F12E7F-4413-244A-830A-CC060AC20C68}"/>
              </a:ext>
            </a:extLst>
          </p:cNvPr>
          <p:cNvSpPr>
            <a:spLocks noEditPoints="1"/>
          </p:cNvSpPr>
          <p:nvPr userDrawn="1"/>
        </p:nvSpPr>
        <p:spPr bwMode="auto">
          <a:xfrm>
            <a:off x="703264" y="627064"/>
            <a:ext cx="657225" cy="898525"/>
          </a:xfrm>
          <a:custGeom>
            <a:avLst/>
            <a:gdLst>
              <a:gd name="T0" fmla="*/ 3944 w 4973"/>
              <a:gd name="T1" fmla="*/ 6352 h 6792"/>
              <a:gd name="T2" fmla="*/ 1694 w 4973"/>
              <a:gd name="T3" fmla="*/ 6143 h 6792"/>
              <a:gd name="T4" fmla="*/ 2984 w 4973"/>
              <a:gd name="T5" fmla="*/ 3784 h 6792"/>
              <a:gd name="T6" fmla="*/ 2316 w 4973"/>
              <a:gd name="T7" fmla="*/ 4454 h 6792"/>
              <a:gd name="T8" fmla="*/ 1155 w 4973"/>
              <a:gd name="T9" fmla="*/ 4705 h 6792"/>
              <a:gd name="T10" fmla="*/ 1077 w 4973"/>
              <a:gd name="T11" fmla="*/ 4988 h 6792"/>
              <a:gd name="T12" fmla="*/ 910 w 4973"/>
              <a:gd name="T13" fmla="*/ 5245 h 6792"/>
              <a:gd name="T14" fmla="*/ 961 w 4973"/>
              <a:gd name="T15" fmla="*/ 5618 h 6792"/>
              <a:gd name="T16" fmla="*/ 1600 w 4973"/>
              <a:gd name="T17" fmla="*/ 5369 h 6792"/>
              <a:gd name="T18" fmla="*/ 1886 w 4973"/>
              <a:gd name="T19" fmla="*/ 5421 h 6792"/>
              <a:gd name="T20" fmla="*/ 2617 w 4973"/>
              <a:gd name="T21" fmla="*/ 5123 h 6792"/>
              <a:gd name="T22" fmla="*/ 2857 w 4973"/>
              <a:gd name="T23" fmla="*/ 4678 h 6792"/>
              <a:gd name="T24" fmla="*/ 489 w 4973"/>
              <a:gd name="T25" fmla="*/ 5877 h 6792"/>
              <a:gd name="T26" fmla="*/ 1233 w 4973"/>
              <a:gd name="T27" fmla="*/ 6668 h 6792"/>
              <a:gd name="T28" fmla="*/ 1527 w 4973"/>
              <a:gd name="T29" fmla="*/ 5749 h 6792"/>
              <a:gd name="T30" fmla="*/ 927 w 4973"/>
              <a:gd name="T31" fmla="*/ 5758 h 6792"/>
              <a:gd name="T32" fmla="*/ 429 w 4973"/>
              <a:gd name="T33" fmla="*/ 621 h 6792"/>
              <a:gd name="T34" fmla="*/ 914 w 4973"/>
              <a:gd name="T35" fmla="*/ 547 h 6792"/>
              <a:gd name="T36" fmla="*/ 829 w 4973"/>
              <a:gd name="T37" fmla="*/ 957 h 6792"/>
              <a:gd name="T38" fmla="*/ 1232 w 4973"/>
              <a:gd name="T39" fmla="*/ 762 h 6792"/>
              <a:gd name="T40" fmla="*/ 780 w 4973"/>
              <a:gd name="T41" fmla="*/ 1976 h 6792"/>
              <a:gd name="T42" fmla="*/ 1297 w 4973"/>
              <a:gd name="T43" fmla="*/ 319 h 6792"/>
              <a:gd name="T44" fmla="*/ 1481 w 4973"/>
              <a:gd name="T45" fmla="*/ 731 h 6792"/>
              <a:gd name="T46" fmla="*/ 3458 w 4973"/>
              <a:gd name="T47" fmla="*/ 480 h 6792"/>
              <a:gd name="T48" fmla="*/ 3084 w 4973"/>
              <a:gd name="T49" fmla="*/ 643 h 6792"/>
              <a:gd name="T50" fmla="*/ 2947 w 4973"/>
              <a:gd name="T51" fmla="*/ 214 h 6792"/>
              <a:gd name="T52" fmla="*/ 2541 w 4973"/>
              <a:gd name="T53" fmla="*/ 417 h 6792"/>
              <a:gd name="T54" fmla="*/ 2413 w 4973"/>
              <a:gd name="T55" fmla="*/ 28 h 6792"/>
              <a:gd name="T56" fmla="*/ 3900 w 4973"/>
              <a:gd name="T57" fmla="*/ 1991 h 6792"/>
              <a:gd name="T58" fmla="*/ 4172 w 4973"/>
              <a:gd name="T59" fmla="*/ 1335 h 6792"/>
              <a:gd name="T60" fmla="*/ 3970 w 4973"/>
              <a:gd name="T61" fmla="*/ 3382 h 6792"/>
              <a:gd name="T62" fmla="*/ 4830 w 4973"/>
              <a:gd name="T63" fmla="*/ 2682 h 6792"/>
              <a:gd name="T64" fmla="*/ 4551 w 4973"/>
              <a:gd name="T65" fmla="*/ 1246 h 6792"/>
              <a:gd name="T66" fmla="*/ 3641 w 4973"/>
              <a:gd name="T67" fmla="*/ 1994 h 6792"/>
              <a:gd name="T68" fmla="*/ 3910 w 4973"/>
              <a:gd name="T69" fmla="*/ 2958 h 6792"/>
              <a:gd name="T70" fmla="*/ 4286 w 4973"/>
              <a:gd name="T71" fmla="*/ 2402 h 6792"/>
              <a:gd name="T72" fmla="*/ 3965 w 4973"/>
              <a:gd name="T73" fmla="*/ 3379 h 6792"/>
              <a:gd name="T74" fmla="*/ 3169 w 4973"/>
              <a:gd name="T75" fmla="*/ 2142 h 6792"/>
              <a:gd name="T76" fmla="*/ 3399 w 4973"/>
              <a:gd name="T77" fmla="*/ 1285 h 6792"/>
              <a:gd name="T78" fmla="*/ 2604 w 4973"/>
              <a:gd name="T79" fmla="*/ 769 h 6792"/>
              <a:gd name="T80" fmla="*/ 2052 w 4973"/>
              <a:gd name="T81" fmla="*/ 1359 h 6792"/>
              <a:gd name="T82" fmla="*/ 1664 w 4973"/>
              <a:gd name="T83" fmla="*/ 1597 h 6792"/>
              <a:gd name="T84" fmla="*/ 2105 w 4973"/>
              <a:gd name="T85" fmla="*/ 1550 h 6792"/>
              <a:gd name="T86" fmla="*/ 1945 w 4973"/>
              <a:gd name="T87" fmla="*/ 1849 h 6792"/>
              <a:gd name="T88" fmla="*/ 1151 w 4973"/>
              <a:gd name="T89" fmla="*/ 2851 h 6792"/>
              <a:gd name="T90" fmla="*/ 331 w 4973"/>
              <a:gd name="T91" fmla="*/ 2774 h 6792"/>
              <a:gd name="T92" fmla="*/ 150 w 4973"/>
              <a:gd name="T93" fmla="*/ 2974 h 6792"/>
              <a:gd name="T94" fmla="*/ 554 w 4973"/>
              <a:gd name="T95" fmla="*/ 3191 h 6792"/>
              <a:gd name="T96" fmla="*/ 489 w 4973"/>
              <a:gd name="T97" fmla="*/ 3468 h 6792"/>
              <a:gd name="T98" fmla="*/ 935 w 4973"/>
              <a:gd name="T99" fmla="*/ 3451 h 6792"/>
              <a:gd name="T100" fmla="*/ 1725 w 4973"/>
              <a:gd name="T101" fmla="*/ 2972 h 6792"/>
              <a:gd name="T102" fmla="*/ 3397 w 4973"/>
              <a:gd name="T103" fmla="*/ 3673 h 6792"/>
              <a:gd name="T104" fmla="*/ 3711 w 4973"/>
              <a:gd name="T105" fmla="*/ 4812 h 6792"/>
              <a:gd name="T106" fmla="*/ 4356 w 4973"/>
              <a:gd name="T107" fmla="*/ 5526 h 6792"/>
              <a:gd name="T108" fmla="*/ 3835 w 4973"/>
              <a:gd name="T109" fmla="*/ 5815 h 6792"/>
              <a:gd name="T110" fmla="*/ 3750 w 4973"/>
              <a:gd name="T111" fmla="*/ 6147 h 6792"/>
              <a:gd name="T112" fmla="*/ 4262 w 4973"/>
              <a:gd name="T113" fmla="*/ 6036 h 6792"/>
              <a:gd name="T114" fmla="*/ 4324 w 4973"/>
              <a:gd name="T115" fmla="*/ 6374 h 6792"/>
              <a:gd name="T116" fmla="*/ 4692 w 4973"/>
              <a:gd name="T117" fmla="*/ 6210 h 6792"/>
              <a:gd name="T118" fmla="*/ 4659 w 4973"/>
              <a:gd name="T119" fmla="*/ 5487 h 6792"/>
              <a:gd name="T120" fmla="*/ 4786 w 4973"/>
              <a:gd name="T121" fmla="*/ 4785 h 6792"/>
              <a:gd name="T122" fmla="*/ 4362 w 4973"/>
              <a:gd name="T123" fmla="*/ 4115 h 6792"/>
              <a:gd name="T124" fmla="*/ 4803 w 4973"/>
              <a:gd name="T125" fmla="*/ 3237 h 6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973" h="6792">
                <a:moveTo>
                  <a:pt x="1358" y="6333"/>
                </a:moveTo>
                <a:lnTo>
                  <a:pt x="1358" y="6333"/>
                </a:lnTo>
                <a:lnTo>
                  <a:pt x="1445" y="6392"/>
                </a:lnTo>
                <a:lnTo>
                  <a:pt x="1485" y="6418"/>
                </a:lnTo>
                <a:lnTo>
                  <a:pt x="1524" y="6443"/>
                </a:lnTo>
                <a:lnTo>
                  <a:pt x="1561" y="6466"/>
                </a:lnTo>
                <a:lnTo>
                  <a:pt x="1599" y="6487"/>
                </a:lnTo>
                <a:lnTo>
                  <a:pt x="1638" y="6509"/>
                </a:lnTo>
                <a:lnTo>
                  <a:pt x="1677" y="6528"/>
                </a:lnTo>
                <a:lnTo>
                  <a:pt x="1677" y="6528"/>
                </a:lnTo>
                <a:lnTo>
                  <a:pt x="1730" y="6553"/>
                </a:lnTo>
                <a:lnTo>
                  <a:pt x="1788" y="6578"/>
                </a:lnTo>
                <a:lnTo>
                  <a:pt x="1853" y="6605"/>
                </a:lnTo>
                <a:lnTo>
                  <a:pt x="1923" y="6630"/>
                </a:lnTo>
                <a:lnTo>
                  <a:pt x="1961" y="6644"/>
                </a:lnTo>
                <a:lnTo>
                  <a:pt x="2000" y="6656"/>
                </a:lnTo>
                <a:lnTo>
                  <a:pt x="2040" y="6669"/>
                </a:lnTo>
                <a:lnTo>
                  <a:pt x="2082" y="6682"/>
                </a:lnTo>
                <a:lnTo>
                  <a:pt x="2125" y="6693"/>
                </a:lnTo>
                <a:lnTo>
                  <a:pt x="2169" y="6704"/>
                </a:lnTo>
                <a:lnTo>
                  <a:pt x="2215" y="6715"/>
                </a:lnTo>
                <a:lnTo>
                  <a:pt x="2261" y="6726"/>
                </a:lnTo>
                <a:lnTo>
                  <a:pt x="2310" y="6736"/>
                </a:lnTo>
                <a:lnTo>
                  <a:pt x="2359" y="6745"/>
                </a:lnTo>
                <a:lnTo>
                  <a:pt x="2410" y="6754"/>
                </a:lnTo>
                <a:lnTo>
                  <a:pt x="2462" y="6762"/>
                </a:lnTo>
                <a:lnTo>
                  <a:pt x="2515" y="6768"/>
                </a:lnTo>
                <a:lnTo>
                  <a:pt x="2570" y="6776"/>
                </a:lnTo>
                <a:lnTo>
                  <a:pt x="2625" y="6781"/>
                </a:lnTo>
                <a:lnTo>
                  <a:pt x="2682" y="6785"/>
                </a:lnTo>
                <a:lnTo>
                  <a:pt x="2740" y="6788"/>
                </a:lnTo>
                <a:lnTo>
                  <a:pt x="2800" y="6790"/>
                </a:lnTo>
                <a:lnTo>
                  <a:pt x="2860" y="6792"/>
                </a:lnTo>
                <a:lnTo>
                  <a:pt x="2921" y="6791"/>
                </a:lnTo>
                <a:lnTo>
                  <a:pt x="2984" y="6790"/>
                </a:lnTo>
                <a:lnTo>
                  <a:pt x="3047" y="6787"/>
                </a:lnTo>
                <a:lnTo>
                  <a:pt x="3112" y="6783"/>
                </a:lnTo>
                <a:lnTo>
                  <a:pt x="3177" y="6778"/>
                </a:lnTo>
                <a:lnTo>
                  <a:pt x="3177" y="6778"/>
                </a:lnTo>
                <a:lnTo>
                  <a:pt x="3239" y="6772"/>
                </a:lnTo>
                <a:lnTo>
                  <a:pt x="3299" y="6763"/>
                </a:lnTo>
                <a:lnTo>
                  <a:pt x="3357" y="6755"/>
                </a:lnTo>
                <a:lnTo>
                  <a:pt x="3412" y="6746"/>
                </a:lnTo>
                <a:lnTo>
                  <a:pt x="3466" y="6737"/>
                </a:lnTo>
                <a:lnTo>
                  <a:pt x="3517" y="6727"/>
                </a:lnTo>
                <a:lnTo>
                  <a:pt x="3567" y="6715"/>
                </a:lnTo>
                <a:lnTo>
                  <a:pt x="3615" y="6704"/>
                </a:lnTo>
                <a:lnTo>
                  <a:pt x="3660" y="6692"/>
                </a:lnTo>
                <a:lnTo>
                  <a:pt x="3704" y="6680"/>
                </a:lnTo>
                <a:lnTo>
                  <a:pt x="3745" y="6667"/>
                </a:lnTo>
                <a:lnTo>
                  <a:pt x="3784" y="6654"/>
                </a:lnTo>
                <a:lnTo>
                  <a:pt x="3822" y="6642"/>
                </a:lnTo>
                <a:lnTo>
                  <a:pt x="3858" y="6628"/>
                </a:lnTo>
                <a:lnTo>
                  <a:pt x="3891" y="6615"/>
                </a:lnTo>
                <a:lnTo>
                  <a:pt x="3922" y="6603"/>
                </a:lnTo>
                <a:lnTo>
                  <a:pt x="3980" y="6577"/>
                </a:lnTo>
                <a:lnTo>
                  <a:pt x="4030" y="6554"/>
                </a:lnTo>
                <a:lnTo>
                  <a:pt x="4071" y="6532"/>
                </a:lnTo>
                <a:lnTo>
                  <a:pt x="4105" y="6514"/>
                </a:lnTo>
                <a:lnTo>
                  <a:pt x="4131" y="6498"/>
                </a:lnTo>
                <a:lnTo>
                  <a:pt x="4150" y="6485"/>
                </a:lnTo>
                <a:lnTo>
                  <a:pt x="4165" y="6475"/>
                </a:lnTo>
                <a:lnTo>
                  <a:pt x="4165" y="6475"/>
                </a:lnTo>
                <a:lnTo>
                  <a:pt x="4144" y="6468"/>
                </a:lnTo>
                <a:lnTo>
                  <a:pt x="4124" y="6459"/>
                </a:lnTo>
                <a:lnTo>
                  <a:pt x="4103" y="6451"/>
                </a:lnTo>
                <a:lnTo>
                  <a:pt x="4084" y="6440"/>
                </a:lnTo>
                <a:lnTo>
                  <a:pt x="4064" y="6431"/>
                </a:lnTo>
                <a:lnTo>
                  <a:pt x="4046" y="6421"/>
                </a:lnTo>
                <a:lnTo>
                  <a:pt x="4009" y="6398"/>
                </a:lnTo>
                <a:lnTo>
                  <a:pt x="3976" y="6376"/>
                </a:lnTo>
                <a:lnTo>
                  <a:pt x="3944" y="6352"/>
                </a:lnTo>
                <a:lnTo>
                  <a:pt x="3914" y="6329"/>
                </a:lnTo>
                <a:lnTo>
                  <a:pt x="3887" y="6305"/>
                </a:lnTo>
                <a:lnTo>
                  <a:pt x="3887" y="6305"/>
                </a:lnTo>
                <a:lnTo>
                  <a:pt x="3882" y="6315"/>
                </a:lnTo>
                <a:lnTo>
                  <a:pt x="3879" y="6328"/>
                </a:lnTo>
                <a:lnTo>
                  <a:pt x="3876" y="6343"/>
                </a:lnTo>
                <a:lnTo>
                  <a:pt x="3873" y="6361"/>
                </a:lnTo>
                <a:lnTo>
                  <a:pt x="3873" y="6361"/>
                </a:lnTo>
                <a:lnTo>
                  <a:pt x="3865" y="6430"/>
                </a:lnTo>
                <a:lnTo>
                  <a:pt x="3861" y="6463"/>
                </a:lnTo>
                <a:lnTo>
                  <a:pt x="3861" y="6463"/>
                </a:lnTo>
                <a:lnTo>
                  <a:pt x="3857" y="6462"/>
                </a:lnTo>
                <a:lnTo>
                  <a:pt x="3847" y="6459"/>
                </a:lnTo>
                <a:lnTo>
                  <a:pt x="3828" y="6452"/>
                </a:lnTo>
                <a:lnTo>
                  <a:pt x="3801" y="6440"/>
                </a:lnTo>
                <a:lnTo>
                  <a:pt x="3801" y="6440"/>
                </a:lnTo>
                <a:lnTo>
                  <a:pt x="3791" y="6436"/>
                </a:lnTo>
                <a:lnTo>
                  <a:pt x="3781" y="6430"/>
                </a:lnTo>
                <a:lnTo>
                  <a:pt x="3771" y="6423"/>
                </a:lnTo>
                <a:lnTo>
                  <a:pt x="3761" y="6415"/>
                </a:lnTo>
                <a:lnTo>
                  <a:pt x="3750" y="6406"/>
                </a:lnTo>
                <a:lnTo>
                  <a:pt x="3739" y="6396"/>
                </a:lnTo>
                <a:lnTo>
                  <a:pt x="3729" y="6385"/>
                </a:lnTo>
                <a:lnTo>
                  <a:pt x="3719" y="6373"/>
                </a:lnTo>
                <a:lnTo>
                  <a:pt x="3709" y="6361"/>
                </a:lnTo>
                <a:lnTo>
                  <a:pt x="3700" y="6346"/>
                </a:lnTo>
                <a:lnTo>
                  <a:pt x="3692" y="6332"/>
                </a:lnTo>
                <a:lnTo>
                  <a:pt x="3684" y="6317"/>
                </a:lnTo>
                <a:lnTo>
                  <a:pt x="3678" y="6300"/>
                </a:lnTo>
                <a:lnTo>
                  <a:pt x="3674" y="6284"/>
                </a:lnTo>
                <a:lnTo>
                  <a:pt x="3670" y="6265"/>
                </a:lnTo>
                <a:lnTo>
                  <a:pt x="3668" y="6248"/>
                </a:lnTo>
                <a:lnTo>
                  <a:pt x="3668" y="6248"/>
                </a:lnTo>
                <a:lnTo>
                  <a:pt x="3667" y="6223"/>
                </a:lnTo>
                <a:lnTo>
                  <a:pt x="3667" y="6223"/>
                </a:lnTo>
                <a:lnTo>
                  <a:pt x="3610" y="6244"/>
                </a:lnTo>
                <a:lnTo>
                  <a:pt x="3544" y="6267"/>
                </a:lnTo>
                <a:lnTo>
                  <a:pt x="3507" y="6280"/>
                </a:lnTo>
                <a:lnTo>
                  <a:pt x="3468" y="6292"/>
                </a:lnTo>
                <a:lnTo>
                  <a:pt x="3427" y="6303"/>
                </a:lnTo>
                <a:lnTo>
                  <a:pt x="3386" y="6315"/>
                </a:lnTo>
                <a:lnTo>
                  <a:pt x="3342" y="6326"/>
                </a:lnTo>
                <a:lnTo>
                  <a:pt x="3296" y="6335"/>
                </a:lnTo>
                <a:lnTo>
                  <a:pt x="3250" y="6344"/>
                </a:lnTo>
                <a:lnTo>
                  <a:pt x="3201" y="6352"/>
                </a:lnTo>
                <a:lnTo>
                  <a:pt x="3153" y="6360"/>
                </a:lnTo>
                <a:lnTo>
                  <a:pt x="3104" y="6365"/>
                </a:lnTo>
                <a:lnTo>
                  <a:pt x="3055" y="6368"/>
                </a:lnTo>
                <a:lnTo>
                  <a:pt x="3005" y="6370"/>
                </a:lnTo>
                <a:lnTo>
                  <a:pt x="3005" y="6370"/>
                </a:lnTo>
                <a:lnTo>
                  <a:pt x="2916" y="6371"/>
                </a:lnTo>
                <a:lnTo>
                  <a:pt x="2828" y="6370"/>
                </a:lnTo>
                <a:lnTo>
                  <a:pt x="2740" y="6366"/>
                </a:lnTo>
                <a:lnTo>
                  <a:pt x="2651" y="6361"/>
                </a:lnTo>
                <a:lnTo>
                  <a:pt x="2563" y="6353"/>
                </a:lnTo>
                <a:lnTo>
                  <a:pt x="2476" y="6343"/>
                </a:lnTo>
                <a:lnTo>
                  <a:pt x="2388" y="6331"/>
                </a:lnTo>
                <a:lnTo>
                  <a:pt x="2301" y="6317"/>
                </a:lnTo>
                <a:lnTo>
                  <a:pt x="2257" y="6308"/>
                </a:lnTo>
                <a:lnTo>
                  <a:pt x="2213" y="6300"/>
                </a:lnTo>
                <a:lnTo>
                  <a:pt x="2170" y="6290"/>
                </a:lnTo>
                <a:lnTo>
                  <a:pt x="2126" y="6280"/>
                </a:lnTo>
                <a:lnTo>
                  <a:pt x="2083" y="6270"/>
                </a:lnTo>
                <a:lnTo>
                  <a:pt x="2039" y="6258"/>
                </a:lnTo>
                <a:lnTo>
                  <a:pt x="1996" y="6246"/>
                </a:lnTo>
                <a:lnTo>
                  <a:pt x="1952" y="6234"/>
                </a:lnTo>
                <a:lnTo>
                  <a:pt x="1909" y="6220"/>
                </a:lnTo>
                <a:lnTo>
                  <a:pt x="1866" y="6206"/>
                </a:lnTo>
                <a:lnTo>
                  <a:pt x="1823" y="6192"/>
                </a:lnTo>
                <a:lnTo>
                  <a:pt x="1780" y="6176"/>
                </a:lnTo>
                <a:lnTo>
                  <a:pt x="1737" y="6160"/>
                </a:lnTo>
                <a:lnTo>
                  <a:pt x="1694" y="6143"/>
                </a:lnTo>
                <a:lnTo>
                  <a:pt x="1652" y="6125"/>
                </a:lnTo>
                <a:lnTo>
                  <a:pt x="1609" y="6107"/>
                </a:lnTo>
                <a:lnTo>
                  <a:pt x="1609" y="6107"/>
                </a:lnTo>
                <a:lnTo>
                  <a:pt x="1523" y="6068"/>
                </a:lnTo>
                <a:lnTo>
                  <a:pt x="1480" y="6049"/>
                </a:lnTo>
                <a:lnTo>
                  <a:pt x="1480" y="6049"/>
                </a:lnTo>
                <a:lnTo>
                  <a:pt x="1479" y="6052"/>
                </a:lnTo>
                <a:lnTo>
                  <a:pt x="1477" y="6061"/>
                </a:lnTo>
                <a:lnTo>
                  <a:pt x="1477" y="6068"/>
                </a:lnTo>
                <a:lnTo>
                  <a:pt x="1477" y="6077"/>
                </a:lnTo>
                <a:lnTo>
                  <a:pt x="1477" y="6088"/>
                </a:lnTo>
                <a:lnTo>
                  <a:pt x="1479" y="6100"/>
                </a:lnTo>
                <a:lnTo>
                  <a:pt x="1483" y="6113"/>
                </a:lnTo>
                <a:lnTo>
                  <a:pt x="1487" y="6128"/>
                </a:lnTo>
                <a:lnTo>
                  <a:pt x="1494" y="6145"/>
                </a:lnTo>
                <a:lnTo>
                  <a:pt x="1503" y="6163"/>
                </a:lnTo>
                <a:lnTo>
                  <a:pt x="1514" y="6184"/>
                </a:lnTo>
                <a:lnTo>
                  <a:pt x="1529" y="6205"/>
                </a:lnTo>
                <a:lnTo>
                  <a:pt x="1545" y="6229"/>
                </a:lnTo>
                <a:lnTo>
                  <a:pt x="1565" y="6253"/>
                </a:lnTo>
                <a:lnTo>
                  <a:pt x="1565" y="6253"/>
                </a:lnTo>
                <a:lnTo>
                  <a:pt x="1547" y="6250"/>
                </a:lnTo>
                <a:lnTo>
                  <a:pt x="1528" y="6248"/>
                </a:lnTo>
                <a:lnTo>
                  <a:pt x="1509" y="6248"/>
                </a:lnTo>
                <a:lnTo>
                  <a:pt x="1490" y="6248"/>
                </a:lnTo>
                <a:lnTo>
                  <a:pt x="1472" y="6250"/>
                </a:lnTo>
                <a:lnTo>
                  <a:pt x="1456" y="6253"/>
                </a:lnTo>
                <a:lnTo>
                  <a:pt x="1441" y="6258"/>
                </a:lnTo>
                <a:lnTo>
                  <a:pt x="1427" y="6264"/>
                </a:lnTo>
                <a:lnTo>
                  <a:pt x="1427" y="6264"/>
                </a:lnTo>
                <a:lnTo>
                  <a:pt x="1413" y="6273"/>
                </a:lnTo>
                <a:lnTo>
                  <a:pt x="1400" y="6283"/>
                </a:lnTo>
                <a:lnTo>
                  <a:pt x="1390" y="6293"/>
                </a:lnTo>
                <a:lnTo>
                  <a:pt x="1379" y="6302"/>
                </a:lnTo>
                <a:lnTo>
                  <a:pt x="1371" y="6311"/>
                </a:lnTo>
                <a:lnTo>
                  <a:pt x="1365" y="6321"/>
                </a:lnTo>
                <a:lnTo>
                  <a:pt x="1358" y="6333"/>
                </a:lnTo>
                <a:close/>
                <a:moveTo>
                  <a:pt x="3487" y="3933"/>
                </a:moveTo>
                <a:lnTo>
                  <a:pt x="3487" y="3933"/>
                </a:lnTo>
                <a:lnTo>
                  <a:pt x="3470" y="3920"/>
                </a:lnTo>
                <a:lnTo>
                  <a:pt x="3453" y="3908"/>
                </a:lnTo>
                <a:lnTo>
                  <a:pt x="3436" y="3895"/>
                </a:lnTo>
                <a:lnTo>
                  <a:pt x="3418" y="3884"/>
                </a:lnTo>
                <a:lnTo>
                  <a:pt x="3383" y="3865"/>
                </a:lnTo>
                <a:lnTo>
                  <a:pt x="3349" y="3846"/>
                </a:lnTo>
                <a:lnTo>
                  <a:pt x="3314" y="3829"/>
                </a:lnTo>
                <a:lnTo>
                  <a:pt x="3281" y="3814"/>
                </a:lnTo>
                <a:lnTo>
                  <a:pt x="3250" y="3799"/>
                </a:lnTo>
                <a:lnTo>
                  <a:pt x="3219" y="3784"/>
                </a:lnTo>
                <a:lnTo>
                  <a:pt x="3219" y="3784"/>
                </a:lnTo>
                <a:lnTo>
                  <a:pt x="3235" y="3774"/>
                </a:lnTo>
                <a:lnTo>
                  <a:pt x="3251" y="3763"/>
                </a:lnTo>
                <a:lnTo>
                  <a:pt x="3268" y="3749"/>
                </a:lnTo>
                <a:lnTo>
                  <a:pt x="3284" y="3735"/>
                </a:lnTo>
                <a:lnTo>
                  <a:pt x="3298" y="3722"/>
                </a:lnTo>
                <a:lnTo>
                  <a:pt x="3302" y="3716"/>
                </a:lnTo>
                <a:lnTo>
                  <a:pt x="3305" y="3711"/>
                </a:lnTo>
                <a:lnTo>
                  <a:pt x="3305" y="3707"/>
                </a:lnTo>
                <a:lnTo>
                  <a:pt x="3305" y="3705"/>
                </a:lnTo>
                <a:lnTo>
                  <a:pt x="3303" y="3704"/>
                </a:lnTo>
                <a:lnTo>
                  <a:pt x="3303" y="3704"/>
                </a:lnTo>
                <a:lnTo>
                  <a:pt x="3290" y="3697"/>
                </a:lnTo>
                <a:lnTo>
                  <a:pt x="3278" y="3691"/>
                </a:lnTo>
                <a:lnTo>
                  <a:pt x="3266" y="3687"/>
                </a:lnTo>
                <a:lnTo>
                  <a:pt x="3255" y="3685"/>
                </a:lnTo>
                <a:lnTo>
                  <a:pt x="3236" y="3682"/>
                </a:lnTo>
                <a:lnTo>
                  <a:pt x="3229" y="3681"/>
                </a:lnTo>
                <a:lnTo>
                  <a:pt x="3229" y="3681"/>
                </a:lnTo>
                <a:lnTo>
                  <a:pt x="3168" y="3705"/>
                </a:lnTo>
                <a:lnTo>
                  <a:pt x="3105" y="3731"/>
                </a:lnTo>
                <a:lnTo>
                  <a:pt x="3045" y="3757"/>
                </a:lnTo>
                <a:lnTo>
                  <a:pt x="2984" y="3784"/>
                </a:lnTo>
                <a:lnTo>
                  <a:pt x="2924" y="3813"/>
                </a:lnTo>
                <a:lnTo>
                  <a:pt x="2866" y="3841"/>
                </a:lnTo>
                <a:lnTo>
                  <a:pt x="2809" y="3870"/>
                </a:lnTo>
                <a:lnTo>
                  <a:pt x="2754" y="3900"/>
                </a:lnTo>
                <a:lnTo>
                  <a:pt x="2700" y="3928"/>
                </a:lnTo>
                <a:lnTo>
                  <a:pt x="2649" y="3957"/>
                </a:lnTo>
                <a:lnTo>
                  <a:pt x="2600" y="3984"/>
                </a:lnTo>
                <a:lnTo>
                  <a:pt x="2553" y="4012"/>
                </a:lnTo>
                <a:lnTo>
                  <a:pt x="2510" y="4039"/>
                </a:lnTo>
                <a:lnTo>
                  <a:pt x="2469" y="4064"/>
                </a:lnTo>
                <a:lnTo>
                  <a:pt x="2433" y="4088"/>
                </a:lnTo>
                <a:lnTo>
                  <a:pt x="2399" y="4110"/>
                </a:lnTo>
                <a:lnTo>
                  <a:pt x="2399" y="4110"/>
                </a:lnTo>
                <a:lnTo>
                  <a:pt x="2394" y="4113"/>
                </a:lnTo>
                <a:lnTo>
                  <a:pt x="2394" y="4113"/>
                </a:lnTo>
                <a:lnTo>
                  <a:pt x="2382" y="4120"/>
                </a:lnTo>
                <a:lnTo>
                  <a:pt x="2371" y="4127"/>
                </a:lnTo>
                <a:lnTo>
                  <a:pt x="2360" y="4132"/>
                </a:lnTo>
                <a:lnTo>
                  <a:pt x="2348" y="4136"/>
                </a:lnTo>
                <a:lnTo>
                  <a:pt x="2336" y="4139"/>
                </a:lnTo>
                <a:lnTo>
                  <a:pt x="2325" y="4142"/>
                </a:lnTo>
                <a:lnTo>
                  <a:pt x="2313" y="4143"/>
                </a:lnTo>
                <a:lnTo>
                  <a:pt x="2302" y="4144"/>
                </a:lnTo>
                <a:lnTo>
                  <a:pt x="2278" y="4145"/>
                </a:lnTo>
                <a:lnTo>
                  <a:pt x="2256" y="4143"/>
                </a:lnTo>
                <a:lnTo>
                  <a:pt x="2233" y="4140"/>
                </a:lnTo>
                <a:lnTo>
                  <a:pt x="2213" y="4135"/>
                </a:lnTo>
                <a:lnTo>
                  <a:pt x="2193" y="4130"/>
                </a:lnTo>
                <a:lnTo>
                  <a:pt x="2176" y="4123"/>
                </a:lnTo>
                <a:lnTo>
                  <a:pt x="2161" y="4117"/>
                </a:lnTo>
                <a:lnTo>
                  <a:pt x="2146" y="4111"/>
                </a:lnTo>
                <a:lnTo>
                  <a:pt x="2127" y="4101"/>
                </a:lnTo>
                <a:lnTo>
                  <a:pt x="2121" y="4097"/>
                </a:lnTo>
                <a:lnTo>
                  <a:pt x="2100" y="4225"/>
                </a:lnTo>
                <a:lnTo>
                  <a:pt x="2100" y="4225"/>
                </a:lnTo>
                <a:lnTo>
                  <a:pt x="2123" y="4238"/>
                </a:lnTo>
                <a:lnTo>
                  <a:pt x="2144" y="4249"/>
                </a:lnTo>
                <a:lnTo>
                  <a:pt x="2165" y="4258"/>
                </a:lnTo>
                <a:lnTo>
                  <a:pt x="2182" y="4267"/>
                </a:lnTo>
                <a:lnTo>
                  <a:pt x="2198" y="4273"/>
                </a:lnTo>
                <a:lnTo>
                  <a:pt x="2214" y="4277"/>
                </a:lnTo>
                <a:lnTo>
                  <a:pt x="2227" y="4281"/>
                </a:lnTo>
                <a:lnTo>
                  <a:pt x="2238" y="4283"/>
                </a:lnTo>
                <a:lnTo>
                  <a:pt x="2238" y="4283"/>
                </a:lnTo>
                <a:lnTo>
                  <a:pt x="2219" y="4287"/>
                </a:lnTo>
                <a:lnTo>
                  <a:pt x="2198" y="4292"/>
                </a:lnTo>
                <a:lnTo>
                  <a:pt x="2178" y="4298"/>
                </a:lnTo>
                <a:lnTo>
                  <a:pt x="2156" y="4306"/>
                </a:lnTo>
                <a:lnTo>
                  <a:pt x="2137" y="4315"/>
                </a:lnTo>
                <a:lnTo>
                  <a:pt x="2119" y="4326"/>
                </a:lnTo>
                <a:lnTo>
                  <a:pt x="2109" y="4331"/>
                </a:lnTo>
                <a:lnTo>
                  <a:pt x="2101" y="4337"/>
                </a:lnTo>
                <a:lnTo>
                  <a:pt x="2094" y="4344"/>
                </a:lnTo>
                <a:lnTo>
                  <a:pt x="2088" y="4351"/>
                </a:lnTo>
                <a:lnTo>
                  <a:pt x="2132" y="4469"/>
                </a:lnTo>
                <a:lnTo>
                  <a:pt x="2132" y="4469"/>
                </a:lnTo>
                <a:lnTo>
                  <a:pt x="2144" y="4460"/>
                </a:lnTo>
                <a:lnTo>
                  <a:pt x="2160" y="4451"/>
                </a:lnTo>
                <a:lnTo>
                  <a:pt x="2181" y="4439"/>
                </a:lnTo>
                <a:lnTo>
                  <a:pt x="2193" y="4434"/>
                </a:lnTo>
                <a:lnTo>
                  <a:pt x="2207" y="4429"/>
                </a:lnTo>
                <a:lnTo>
                  <a:pt x="2222" y="4424"/>
                </a:lnTo>
                <a:lnTo>
                  <a:pt x="2237" y="4419"/>
                </a:lnTo>
                <a:lnTo>
                  <a:pt x="2255" y="4415"/>
                </a:lnTo>
                <a:lnTo>
                  <a:pt x="2273" y="4412"/>
                </a:lnTo>
                <a:lnTo>
                  <a:pt x="2292" y="4410"/>
                </a:lnTo>
                <a:lnTo>
                  <a:pt x="2313" y="4409"/>
                </a:lnTo>
                <a:lnTo>
                  <a:pt x="2313" y="4409"/>
                </a:lnTo>
                <a:lnTo>
                  <a:pt x="2316" y="4425"/>
                </a:lnTo>
                <a:lnTo>
                  <a:pt x="2316" y="4425"/>
                </a:lnTo>
                <a:lnTo>
                  <a:pt x="2316" y="4439"/>
                </a:lnTo>
                <a:lnTo>
                  <a:pt x="2316" y="4454"/>
                </a:lnTo>
                <a:lnTo>
                  <a:pt x="2314" y="4468"/>
                </a:lnTo>
                <a:lnTo>
                  <a:pt x="2311" y="4483"/>
                </a:lnTo>
                <a:lnTo>
                  <a:pt x="2306" y="4499"/>
                </a:lnTo>
                <a:lnTo>
                  <a:pt x="2301" y="4514"/>
                </a:lnTo>
                <a:lnTo>
                  <a:pt x="2293" y="4529"/>
                </a:lnTo>
                <a:lnTo>
                  <a:pt x="2285" y="4545"/>
                </a:lnTo>
                <a:lnTo>
                  <a:pt x="2277" y="4561"/>
                </a:lnTo>
                <a:lnTo>
                  <a:pt x="2267" y="4576"/>
                </a:lnTo>
                <a:lnTo>
                  <a:pt x="2256" y="4593"/>
                </a:lnTo>
                <a:lnTo>
                  <a:pt x="2244" y="4608"/>
                </a:lnTo>
                <a:lnTo>
                  <a:pt x="2231" y="4624"/>
                </a:lnTo>
                <a:lnTo>
                  <a:pt x="2218" y="4640"/>
                </a:lnTo>
                <a:lnTo>
                  <a:pt x="2204" y="4655"/>
                </a:lnTo>
                <a:lnTo>
                  <a:pt x="2189" y="4670"/>
                </a:lnTo>
                <a:lnTo>
                  <a:pt x="2157" y="4701"/>
                </a:lnTo>
                <a:lnTo>
                  <a:pt x="2124" y="4730"/>
                </a:lnTo>
                <a:lnTo>
                  <a:pt x="2088" y="4757"/>
                </a:lnTo>
                <a:lnTo>
                  <a:pt x="2051" y="4783"/>
                </a:lnTo>
                <a:lnTo>
                  <a:pt x="2013" y="4807"/>
                </a:lnTo>
                <a:lnTo>
                  <a:pt x="1975" y="4829"/>
                </a:lnTo>
                <a:lnTo>
                  <a:pt x="1937" y="4848"/>
                </a:lnTo>
                <a:lnTo>
                  <a:pt x="1917" y="4858"/>
                </a:lnTo>
                <a:lnTo>
                  <a:pt x="1899" y="4866"/>
                </a:lnTo>
                <a:lnTo>
                  <a:pt x="1899" y="4866"/>
                </a:lnTo>
                <a:lnTo>
                  <a:pt x="1861" y="4880"/>
                </a:lnTo>
                <a:lnTo>
                  <a:pt x="1823" y="4892"/>
                </a:lnTo>
                <a:lnTo>
                  <a:pt x="1788" y="4904"/>
                </a:lnTo>
                <a:lnTo>
                  <a:pt x="1754" y="4913"/>
                </a:lnTo>
                <a:lnTo>
                  <a:pt x="1721" y="4921"/>
                </a:lnTo>
                <a:lnTo>
                  <a:pt x="1690" y="4927"/>
                </a:lnTo>
                <a:lnTo>
                  <a:pt x="1661" y="4931"/>
                </a:lnTo>
                <a:lnTo>
                  <a:pt x="1633" y="4935"/>
                </a:lnTo>
                <a:lnTo>
                  <a:pt x="1607" y="4937"/>
                </a:lnTo>
                <a:lnTo>
                  <a:pt x="1584" y="4938"/>
                </a:lnTo>
                <a:lnTo>
                  <a:pt x="1562" y="4938"/>
                </a:lnTo>
                <a:lnTo>
                  <a:pt x="1543" y="4937"/>
                </a:lnTo>
                <a:lnTo>
                  <a:pt x="1527" y="4935"/>
                </a:lnTo>
                <a:lnTo>
                  <a:pt x="1513" y="4932"/>
                </a:lnTo>
                <a:lnTo>
                  <a:pt x="1502" y="4928"/>
                </a:lnTo>
                <a:lnTo>
                  <a:pt x="1493" y="4924"/>
                </a:lnTo>
                <a:lnTo>
                  <a:pt x="1493" y="4924"/>
                </a:lnTo>
                <a:lnTo>
                  <a:pt x="1469" y="4908"/>
                </a:lnTo>
                <a:lnTo>
                  <a:pt x="1448" y="4890"/>
                </a:lnTo>
                <a:lnTo>
                  <a:pt x="1429" y="4872"/>
                </a:lnTo>
                <a:lnTo>
                  <a:pt x="1413" y="4853"/>
                </a:lnTo>
                <a:lnTo>
                  <a:pt x="1398" y="4836"/>
                </a:lnTo>
                <a:lnTo>
                  <a:pt x="1384" y="4818"/>
                </a:lnTo>
                <a:lnTo>
                  <a:pt x="1373" y="4800"/>
                </a:lnTo>
                <a:lnTo>
                  <a:pt x="1362" y="4783"/>
                </a:lnTo>
                <a:lnTo>
                  <a:pt x="1343" y="4752"/>
                </a:lnTo>
                <a:lnTo>
                  <a:pt x="1333" y="4738"/>
                </a:lnTo>
                <a:lnTo>
                  <a:pt x="1324" y="4726"/>
                </a:lnTo>
                <a:lnTo>
                  <a:pt x="1315" y="4714"/>
                </a:lnTo>
                <a:lnTo>
                  <a:pt x="1305" y="4706"/>
                </a:lnTo>
                <a:lnTo>
                  <a:pt x="1293" y="4699"/>
                </a:lnTo>
                <a:lnTo>
                  <a:pt x="1287" y="4696"/>
                </a:lnTo>
                <a:lnTo>
                  <a:pt x="1281" y="4694"/>
                </a:lnTo>
                <a:lnTo>
                  <a:pt x="1281" y="4694"/>
                </a:lnTo>
                <a:lnTo>
                  <a:pt x="1277" y="4694"/>
                </a:lnTo>
                <a:lnTo>
                  <a:pt x="1274" y="4694"/>
                </a:lnTo>
                <a:lnTo>
                  <a:pt x="1267" y="4696"/>
                </a:lnTo>
                <a:lnTo>
                  <a:pt x="1260" y="4699"/>
                </a:lnTo>
                <a:lnTo>
                  <a:pt x="1252" y="4703"/>
                </a:lnTo>
                <a:lnTo>
                  <a:pt x="1244" y="4707"/>
                </a:lnTo>
                <a:lnTo>
                  <a:pt x="1235" y="4710"/>
                </a:lnTo>
                <a:lnTo>
                  <a:pt x="1227" y="4712"/>
                </a:lnTo>
                <a:lnTo>
                  <a:pt x="1222" y="4712"/>
                </a:lnTo>
                <a:lnTo>
                  <a:pt x="1217" y="4712"/>
                </a:lnTo>
                <a:lnTo>
                  <a:pt x="1217" y="4712"/>
                </a:lnTo>
                <a:lnTo>
                  <a:pt x="1196" y="4709"/>
                </a:lnTo>
                <a:lnTo>
                  <a:pt x="1176" y="4706"/>
                </a:lnTo>
                <a:lnTo>
                  <a:pt x="1155" y="4705"/>
                </a:lnTo>
                <a:lnTo>
                  <a:pt x="1134" y="4704"/>
                </a:lnTo>
                <a:lnTo>
                  <a:pt x="1114" y="4704"/>
                </a:lnTo>
                <a:lnTo>
                  <a:pt x="1094" y="4706"/>
                </a:lnTo>
                <a:lnTo>
                  <a:pt x="1075" y="4708"/>
                </a:lnTo>
                <a:lnTo>
                  <a:pt x="1055" y="4712"/>
                </a:lnTo>
                <a:lnTo>
                  <a:pt x="1037" y="4716"/>
                </a:lnTo>
                <a:lnTo>
                  <a:pt x="1020" y="4724"/>
                </a:lnTo>
                <a:lnTo>
                  <a:pt x="1004" y="4731"/>
                </a:lnTo>
                <a:lnTo>
                  <a:pt x="990" y="4740"/>
                </a:lnTo>
                <a:lnTo>
                  <a:pt x="976" y="4751"/>
                </a:lnTo>
                <a:lnTo>
                  <a:pt x="970" y="4757"/>
                </a:lnTo>
                <a:lnTo>
                  <a:pt x="964" y="4763"/>
                </a:lnTo>
                <a:lnTo>
                  <a:pt x="959" y="4771"/>
                </a:lnTo>
                <a:lnTo>
                  <a:pt x="955" y="4779"/>
                </a:lnTo>
                <a:lnTo>
                  <a:pt x="951" y="4786"/>
                </a:lnTo>
                <a:lnTo>
                  <a:pt x="947" y="4795"/>
                </a:lnTo>
                <a:lnTo>
                  <a:pt x="947" y="4795"/>
                </a:lnTo>
                <a:lnTo>
                  <a:pt x="985" y="4793"/>
                </a:lnTo>
                <a:lnTo>
                  <a:pt x="1020" y="4792"/>
                </a:lnTo>
                <a:lnTo>
                  <a:pt x="1040" y="4792"/>
                </a:lnTo>
                <a:lnTo>
                  <a:pt x="1059" y="4793"/>
                </a:lnTo>
                <a:lnTo>
                  <a:pt x="1077" y="4794"/>
                </a:lnTo>
                <a:lnTo>
                  <a:pt x="1092" y="4797"/>
                </a:lnTo>
                <a:lnTo>
                  <a:pt x="1105" y="4800"/>
                </a:lnTo>
                <a:lnTo>
                  <a:pt x="1110" y="4802"/>
                </a:lnTo>
                <a:lnTo>
                  <a:pt x="1115" y="4804"/>
                </a:lnTo>
                <a:lnTo>
                  <a:pt x="1117" y="4807"/>
                </a:lnTo>
                <a:lnTo>
                  <a:pt x="1119" y="4811"/>
                </a:lnTo>
                <a:lnTo>
                  <a:pt x="1119" y="4814"/>
                </a:lnTo>
                <a:lnTo>
                  <a:pt x="1117" y="4818"/>
                </a:lnTo>
                <a:lnTo>
                  <a:pt x="1114" y="4822"/>
                </a:lnTo>
                <a:lnTo>
                  <a:pt x="1109" y="4827"/>
                </a:lnTo>
                <a:lnTo>
                  <a:pt x="1102" y="4832"/>
                </a:lnTo>
                <a:lnTo>
                  <a:pt x="1094" y="4837"/>
                </a:lnTo>
                <a:lnTo>
                  <a:pt x="1094" y="4837"/>
                </a:lnTo>
                <a:lnTo>
                  <a:pt x="1085" y="4843"/>
                </a:lnTo>
                <a:lnTo>
                  <a:pt x="1079" y="4849"/>
                </a:lnTo>
                <a:lnTo>
                  <a:pt x="1074" y="4856"/>
                </a:lnTo>
                <a:lnTo>
                  <a:pt x="1072" y="4863"/>
                </a:lnTo>
                <a:lnTo>
                  <a:pt x="1071" y="4870"/>
                </a:lnTo>
                <a:lnTo>
                  <a:pt x="1072" y="4876"/>
                </a:lnTo>
                <a:lnTo>
                  <a:pt x="1074" y="4883"/>
                </a:lnTo>
                <a:lnTo>
                  <a:pt x="1077" y="4890"/>
                </a:lnTo>
                <a:lnTo>
                  <a:pt x="1082" y="4898"/>
                </a:lnTo>
                <a:lnTo>
                  <a:pt x="1088" y="4906"/>
                </a:lnTo>
                <a:lnTo>
                  <a:pt x="1096" y="4913"/>
                </a:lnTo>
                <a:lnTo>
                  <a:pt x="1104" y="4920"/>
                </a:lnTo>
                <a:lnTo>
                  <a:pt x="1124" y="4935"/>
                </a:lnTo>
                <a:lnTo>
                  <a:pt x="1146" y="4951"/>
                </a:lnTo>
                <a:lnTo>
                  <a:pt x="1170" y="4966"/>
                </a:lnTo>
                <a:lnTo>
                  <a:pt x="1195" y="4980"/>
                </a:lnTo>
                <a:lnTo>
                  <a:pt x="1247" y="5008"/>
                </a:lnTo>
                <a:lnTo>
                  <a:pt x="1293" y="5031"/>
                </a:lnTo>
                <a:lnTo>
                  <a:pt x="1313" y="5042"/>
                </a:lnTo>
                <a:lnTo>
                  <a:pt x="1329" y="5051"/>
                </a:lnTo>
                <a:lnTo>
                  <a:pt x="1329" y="5051"/>
                </a:lnTo>
                <a:lnTo>
                  <a:pt x="1336" y="5056"/>
                </a:lnTo>
                <a:lnTo>
                  <a:pt x="1339" y="5060"/>
                </a:lnTo>
                <a:lnTo>
                  <a:pt x="1341" y="5063"/>
                </a:lnTo>
                <a:lnTo>
                  <a:pt x="1339" y="5066"/>
                </a:lnTo>
                <a:lnTo>
                  <a:pt x="1336" y="5068"/>
                </a:lnTo>
                <a:lnTo>
                  <a:pt x="1332" y="5070"/>
                </a:lnTo>
                <a:lnTo>
                  <a:pt x="1326" y="5071"/>
                </a:lnTo>
                <a:lnTo>
                  <a:pt x="1326" y="5071"/>
                </a:lnTo>
                <a:lnTo>
                  <a:pt x="1316" y="5071"/>
                </a:lnTo>
                <a:lnTo>
                  <a:pt x="1304" y="5069"/>
                </a:lnTo>
                <a:lnTo>
                  <a:pt x="1289" y="5066"/>
                </a:lnTo>
                <a:lnTo>
                  <a:pt x="1273" y="5061"/>
                </a:lnTo>
                <a:lnTo>
                  <a:pt x="1237" y="5050"/>
                </a:lnTo>
                <a:lnTo>
                  <a:pt x="1197" y="5035"/>
                </a:lnTo>
                <a:lnTo>
                  <a:pt x="1115" y="5004"/>
                </a:lnTo>
                <a:lnTo>
                  <a:pt x="1077" y="4988"/>
                </a:lnTo>
                <a:lnTo>
                  <a:pt x="1042" y="4977"/>
                </a:lnTo>
                <a:lnTo>
                  <a:pt x="1042" y="4977"/>
                </a:lnTo>
                <a:lnTo>
                  <a:pt x="1031" y="4974"/>
                </a:lnTo>
                <a:lnTo>
                  <a:pt x="1020" y="4972"/>
                </a:lnTo>
                <a:lnTo>
                  <a:pt x="1011" y="4972"/>
                </a:lnTo>
                <a:lnTo>
                  <a:pt x="1003" y="4973"/>
                </a:lnTo>
                <a:lnTo>
                  <a:pt x="996" y="4975"/>
                </a:lnTo>
                <a:lnTo>
                  <a:pt x="990" y="4978"/>
                </a:lnTo>
                <a:lnTo>
                  <a:pt x="985" y="4981"/>
                </a:lnTo>
                <a:lnTo>
                  <a:pt x="981" y="4984"/>
                </a:lnTo>
                <a:lnTo>
                  <a:pt x="972" y="4993"/>
                </a:lnTo>
                <a:lnTo>
                  <a:pt x="966" y="5000"/>
                </a:lnTo>
                <a:lnTo>
                  <a:pt x="962" y="5005"/>
                </a:lnTo>
                <a:lnTo>
                  <a:pt x="959" y="5006"/>
                </a:lnTo>
                <a:lnTo>
                  <a:pt x="957" y="5007"/>
                </a:lnTo>
                <a:lnTo>
                  <a:pt x="957" y="5007"/>
                </a:lnTo>
                <a:lnTo>
                  <a:pt x="948" y="5006"/>
                </a:lnTo>
                <a:lnTo>
                  <a:pt x="938" y="5005"/>
                </a:lnTo>
                <a:lnTo>
                  <a:pt x="926" y="5006"/>
                </a:lnTo>
                <a:lnTo>
                  <a:pt x="916" y="5006"/>
                </a:lnTo>
                <a:lnTo>
                  <a:pt x="894" y="5010"/>
                </a:lnTo>
                <a:lnTo>
                  <a:pt x="871" y="5016"/>
                </a:lnTo>
                <a:lnTo>
                  <a:pt x="849" y="5024"/>
                </a:lnTo>
                <a:lnTo>
                  <a:pt x="826" y="5034"/>
                </a:lnTo>
                <a:lnTo>
                  <a:pt x="805" y="5048"/>
                </a:lnTo>
                <a:lnTo>
                  <a:pt x="794" y="5055"/>
                </a:lnTo>
                <a:lnTo>
                  <a:pt x="785" y="5062"/>
                </a:lnTo>
                <a:lnTo>
                  <a:pt x="776" y="5070"/>
                </a:lnTo>
                <a:lnTo>
                  <a:pt x="768" y="5078"/>
                </a:lnTo>
                <a:lnTo>
                  <a:pt x="760" y="5088"/>
                </a:lnTo>
                <a:lnTo>
                  <a:pt x="753" y="5097"/>
                </a:lnTo>
                <a:lnTo>
                  <a:pt x="746" y="5107"/>
                </a:lnTo>
                <a:lnTo>
                  <a:pt x="740" y="5116"/>
                </a:lnTo>
                <a:lnTo>
                  <a:pt x="736" y="5127"/>
                </a:lnTo>
                <a:lnTo>
                  <a:pt x="732" y="5139"/>
                </a:lnTo>
                <a:lnTo>
                  <a:pt x="730" y="5150"/>
                </a:lnTo>
                <a:lnTo>
                  <a:pt x="728" y="5161"/>
                </a:lnTo>
                <a:lnTo>
                  <a:pt x="728" y="5173"/>
                </a:lnTo>
                <a:lnTo>
                  <a:pt x="728" y="5186"/>
                </a:lnTo>
                <a:lnTo>
                  <a:pt x="731" y="5199"/>
                </a:lnTo>
                <a:lnTo>
                  <a:pt x="734" y="5211"/>
                </a:lnTo>
                <a:lnTo>
                  <a:pt x="739" y="5225"/>
                </a:lnTo>
                <a:lnTo>
                  <a:pt x="745" y="5239"/>
                </a:lnTo>
                <a:lnTo>
                  <a:pt x="745" y="5239"/>
                </a:lnTo>
                <a:lnTo>
                  <a:pt x="748" y="5234"/>
                </a:lnTo>
                <a:lnTo>
                  <a:pt x="758" y="5221"/>
                </a:lnTo>
                <a:lnTo>
                  <a:pt x="773" y="5202"/>
                </a:lnTo>
                <a:lnTo>
                  <a:pt x="781" y="5192"/>
                </a:lnTo>
                <a:lnTo>
                  <a:pt x="791" y="5182"/>
                </a:lnTo>
                <a:lnTo>
                  <a:pt x="803" y="5171"/>
                </a:lnTo>
                <a:lnTo>
                  <a:pt x="814" y="5162"/>
                </a:lnTo>
                <a:lnTo>
                  <a:pt x="826" y="5154"/>
                </a:lnTo>
                <a:lnTo>
                  <a:pt x="839" y="5147"/>
                </a:lnTo>
                <a:lnTo>
                  <a:pt x="853" y="5142"/>
                </a:lnTo>
                <a:lnTo>
                  <a:pt x="859" y="5140"/>
                </a:lnTo>
                <a:lnTo>
                  <a:pt x="866" y="5139"/>
                </a:lnTo>
                <a:lnTo>
                  <a:pt x="873" y="5139"/>
                </a:lnTo>
                <a:lnTo>
                  <a:pt x="879" y="5139"/>
                </a:lnTo>
                <a:lnTo>
                  <a:pt x="887" y="5140"/>
                </a:lnTo>
                <a:lnTo>
                  <a:pt x="894" y="5142"/>
                </a:lnTo>
                <a:lnTo>
                  <a:pt x="894" y="5142"/>
                </a:lnTo>
                <a:lnTo>
                  <a:pt x="899" y="5144"/>
                </a:lnTo>
                <a:lnTo>
                  <a:pt x="902" y="5148"/>
                </a:lnTo>
                <a:lnTo>
                  <a:pt x="903" y="5154"/>
                </a:lnTo>
                <a:lnTo>
                  <a:pt x="904" y="5160"/>
                </a:lnTo>
                <a:lnTo>
                  <a:pt x="904" y="5177"/>
                </a:lnTo>
                <a:lnTo>
                  <a:pt x="902" y="5195"/>
                </a:lnTo>
                <a:lnTo>
                  <a:pt x="902" y="5205"/>
                </a:lnTo>
                <a:lnTo>
                  <a:pt x="902" y="5215"/>
                </a:lnTo>
                <a:lnTo>
                  <a:pt x="904" y="5226"/>
                </a:lnTo>
                <a:lnTo>
                  <a:pt x="906" y="5235"/>
                </a:lnTo>
                <a:lnTo>
                  <a:pt x="910" y="5245"/>
                </a:lnTo>
                <a:lnTo>
                  <a:pt x="915" y="5254"/>
                </a:lnTo>
                <a:lnTo>
                  <a:pt x="923" y="5262"/>
                </a:lnTo>
                <a:lnTo>
                  <a:pt x="933" y="5270"/>
                </a:lnTo>
                <a:lnTo>
                  <a:pt x="933" y="5270"/>
                </a:lnTo>
                <a:lnTo>
                  <a:pt x="941" y="5274"/>
                </a:lnTo>
                <a:lnTo>
                  <a:pt x="949" y="5277"/>
                </a:lnTo>
                <a:lnTo>
                  <a:pt x="959" y="5280"/>
                </a:lnTo>
                <a:lnTo>
                  <a:pt x="970" y="5281"/>
                </a:lnTo>
                <a:lnTo>
                  <a:pt x="982" y="5283"/>
                </a:lnTo>
                <a:lnTo>
                  <a:pt x="995" y="5283"/>
                </a:lnTo>
                <a:lnTo>
                  <a:pt x="1021" y="5283"/>
                </a:lnTo>
                <a:lnTo>
                  <a:pt x="1051" y="5281"/>
                </a:lnTo>
                <a:lnTo>
                  <a:pt x="1082" y="5278"/>
                </a:lnTo>
                <a:lnTo>
                  <a:pt x="1146" y="5270"/>
                </a:lnTo>
                <a:lnTo>
                  <a:pt x="1209" y="5261"/>
                </a:lnTo>
                <a:lnTo>
                  <a:pt x="1238" y="5257"/>
                </a:lnTo>
                <a:lnTo>
                  <a:pt x="1266" y="5255"/>
                </a:lnTo>
                <a:lnTo>
                  <a:pt x="1290" y="5254"/>
                </a:lnTo>
                <a:lnTo>
                  <a:pt x="1311" y="5255"/>
                </a:lnTo>
                <a:lnTo>
                  <a:pt x="1320" y="5256"/>
                </a:lnTo>
                <a:lnTo>
                  <a:pt x="1328" y="5258"/>
                </a:lnTo>
                <a:lnTo>
                  <a:pt x="1335" y="5261"/>
                </a:lnTo>
                <a:lnTo>
                  <a:pt x="1341" y="5266"/>
                </a:lnTo>
                <a:lnTo>
                  <a:pt x="1341" y="5266"/>
                </a:lnTo>
                <a:lnTo>
                  <a:pt x="1344" y="5269"/>
                </a:lnTo>
                <a:lnTo>
                  <a:pt x="1345" y="5272"/>
                </a:lnTo>
                <a:lnTo>
                  <a:pt x="1344" y="5274"/>
                </a:lnTo>
                <a:lnTo>
                  <a:pt x="1339" y="5277"/>
                </a:lnTo>
                <a:lnTo>
                  <a:pt x="1335" y="5279"/>
                </a:lnTo>
                <a:lnTo>
                  <a:pt x="1328" y="5282"/>
                </a:lnTo>
                <a:lnTo>
                  <a:pt x="1311" y="5286"/>
                </a:lnTo>
                <a:lnTo>
                  <a:pt x="1288" y="5290"/>
                </a:lnTo>
                <a:lnTo>
                  <a:pt x="1263" y="5293"/>
                </a:lnTo>
                <a:lnTo>
                  <a:pt x="1202" y="5301"/>
                </a:lnTo>
                <a:lnTo>
                  <a:pt x="1171" y="5305"/>
                </a:lnTo>
                <a:lnTo>
                  <a:pt x="1140" y="5310"/>
                </a:lnTo>
                <a:lnTo>
                  <a:pt x="1110" y="5317"/>
                </a:lnTo>
                <a:lnTo>
                  <a:pt x="1084" y="5323"/>
                </a:lnTo>
                <a:lnTo>
                  <a:pt x="1072" y="5327"/>
                </a:lnTo>
                <a:lnTo>
                  <a:pt x="1060" y="5331"/>
                </a:lnTo>
                <a:lnTo>
                  <a:pt x="1050" y="5335"/>
                </a:lnTo>
                <a:lnTo>
                  <a:pt x="1042" y="5340"/>
                </a:lnTo>
                <a:lnTo>
                  <a:pt x="1035" y="5345"/>
                </a:lnTo>
                <a:lnTo>
                  <a:pt x="1030" y="5350"/>
                </a:lnTo>
                <a:lnTo>
                  <a:pt x="1026" y="5357"/>
                </a:lnTo>
                <a:lnTo>
                  <a:pt x="1024" y="5363"/>
                </a:lnTo>
                <a:lnTo>
                  <a:pt x="1024" y="5363"/>
                </a:lnTo>
                <a:lnTo>
                  <a:pt x="1023" y="5368"/>
                </a:lnTo>
                <a:lnTo>
                  <a:pt x="1023" y="5377"/>
                </a:lnTo>
                <a:lnTo>
                  <a:pt x="1024" y="5388"/>
                </a:lnTo>
                <a:lnTo>
                  <a:pt x="1026" y="5394"/>
                </a:lnTo>
                <a:lnTo>
                  <a:pt x="1028" y="5399"/>
                </a:lnTo>
                <a:lnTo>
                  <a:pt x="1028" y="5399"/>
                </a:lnTo>
                <a:lnTo>
                  <a:pt x="1029" y="5406"/>
                </a:lnTo>
                <a:lnTo>
                  <a:pt x="1029" y="5412"/>
                </a:lnTo>
                <a:lnTo>
                  <a:pt x="1026" y="5418"/>
                </a:lnTo>
                <a:lnTo>
                  <a:pt x="1021" y="5424"/>
                </a:lnTo>
                <a:lnTo>
                  <a:pt x="1011" y="5438"/>
                </a:lnTo>
                <a:lnTo>
                  <a:pt x="997" y="5456"/>
                </a:lnTo>
                <a:lnTo>
                  <a:pt x="989" y="5466"/>
                </a:lnTo>
                <a:lnTo>
                  <a:pt x="982" y="5476"/>
                </a:lnTo>
                <a:lnTo>
                  <a:pt x="974" y="5488"/>
                </a:lnTo>
                <a:lnTo>
                  <a:pt x="968" y="5501"/>
                </a:lnTo>
                <a:lnTo>
                  <a:pt x="962" y="5515"/>
                </a:lnTo>
                <a:lnTo>
                  <a:pt x="958" y="5530"/>
                </a:lnTo>
                <a:lnTo>
                  <a:pt x="954" y="5547"/>
                </a:lnTo>
                <a:lnTo>
                  <a:pt x="953" y="5565"/>
                </a:lnTo>
                <a:lnTo>
                  <a:pt x="953" y="5565"/>
                </a:lnTo>
                <a:lnTo>
                  <a:pt x="953" y="5574"/>
                </a:lnTo>
                <a:lnTo>
                  <a:pt x="953" y="5583"/>
                </a:lnTo>
                <a:lnTo>
                  <a:pt x="956" y="5601"/>
                </a:lnTo>
                <a:lnTo>
                  <a:pt x="961" y="5618"/>
                </a:lnTo>
                <a:lnTo>
                  <a:pt x="967" y="5634"/>
                </a:lnTo>
                <a:lnTo>
                  <a:pt x="975" y="5649"/>
                </a:lnTo>
                <a:lnTo>
                  <a:pt x="985" y="5663"/>
                </a:lnTo>
                <a:lnTo>
                  <a:pt x="995" y="5676"/>
                </a:lnTo>
                <a:lnTo>
                  <a:pt x="1005" y="5688"/>
                </a:lnTo>
                <a:lnTo>
                  <a:pt x="1015" y="5698"/>
                </a:lnTo>
                <a:lnTo>
                  <a:pt x="1026" y="5707"/>
                </a:lnTo>
                <a:lnTo>
                  <a:pt x="1043" y="5723"/>
                </a:lnTo>
                <a:lnTo>
                  <a:pt x="1055" y="5731"/>
                </a:lnTo>
                <a:lnTo>
                  <a:pt x="1060" y="5735"/>
                </a:lnTo>
                <a:lnTo>
                  <a:pt x="1060" y="5735"/>
                </a:lnTo>
                <a:lnTo>
                  <a:pt x="1062" y="5731"/>
                </a:lnTo>
                <a:lnTo>
                  <a:pt x="1063" y="5726"/>
                </a:lnTo>
                <a:lnTo>
                  <a:pt x="1063" y="5717"/>
                </a:lnTo>
                <a:lnTo>
                  <a:pt x="1062" y="5708"/>
                </a:lnTo>
                <a:lnTo>
                  <a:pt x="1059" y="5687"/>
                </a:lnTo>
                <a:lnTo>
                  <a:pt x="1056" y="5661"/>
                </a:lnTo>
                <a:lnTo>
                  <a:pt x="1055" y="5649"/>
                </a:lnTo>
                <a:lnTo>
                  <a:pt x="1054" y="5636"/>
                </a:lnTo>
                <a:lnTo>
                  <a:pt x="1054" y="5624"/>
                </a:lnTo>
                <a:lnTo>
                  <a:pt x="1056" y="5613"/>
                </a:lnTo>
                <a:lnTo>
                  <a:pt x="1058" y="5603"/>
                </a:lnTo>
                <a:lnTo>
                  <a:pt x="1062" y="5594"/>
                </a:lnTo>
                <a:lnTo>
                  <a:pt x="1065" y="5591"/>
                </a:lnTo>
                <a:lnTo>
                  <a:pt x="1069" y="5587"/>
                </a:lnTo>
                <a:lnTo>
                  <a:pt x="1072" y="5585"/>
                </a:lnTo>
                <a:lnTo>
                  <a:pt x="1076" y="5582"/>
                </a:lnTo>
                <a:lnTo>
                  <a:pt x="1076" y="5582"/>
                </a:lnTo>
                <a:lnTo>
                  <a:pt x="1081" y="5581"/>
                </a:lnTo>
                <a:lnTo>
                  <a:pt x="1085" y="5581"/>
                </a:lnTo>
                <a:lnTo>
                  <a:pt x="1090" y="5582"/>
                </a:lnTo>
                <a:lnTo>
                  <a:pt x="1094" y="5586"/>
                </a:lnTo>
                <a:lnTo>
                  <a:pt x="1103" y="5593"/>
                </a:lnTo>
                <a:lnTo>
                  <a:pt x="1114" y="5602"/>
                </a:lnTo>
                <a:lnTo>
                  <a:pt x="1125" y="5613"/>
                </a:lnTo>
                <a:lnTo>
                  <a:pt x="1138" y="5622"/>
                </a:lnTo>
                <a:lnTo>
                  <a:pt x="1145" y="5627"/>
                </a:lnTo>
                <a:lnTo>
                  <a:pt x="1152" y="5631"/>
                </a:lnTo>
                <a:lnTo>
                  <a:pt x="1162" y="5634"/>
                </a:lnTo>
                <a:lnTo>
                  <a:pt x="1170" y="5636"/>
                </a:lnTo>
                <a:lnTo>
                  <a:pt x="1170" y="5636"/>
                </a:lnTo>
                <a:lnTo>
                  <a:pt x="1179" y="5636"/>
                </a:lnTo>
                <a:lnTo>
                  <a:pt x="1188" y="5636"/>
                </a:lnTo>
                <a:lnTo>
                  <a:pt x="1196" y="5635"/>
                </a:lnTo>
                <a:lnTo>
                  <a:pt x="1206" y="5633"/>
                </a:lnTo>
                <a:lnTo>
                  <a:pt x="1214" y="5629"/>
                </a:lnTo>
                <a:lnTo>
                  <a:pt x="1222" y="5625"/>
                </a:lnTo>
                <a:lnTo>
                  <a:pt x="1229" y="5621"/>
                </a:lnTo>
                <a:lnTo>
                  <a:pt x="1237" y="5616"/>
                </a:lnTo>
                <a:lnTo>
                  <a:pt x="1253" y="5604"/>
                </a:lnTo>
                <a:lnTo>
                  <a:pt x="1267" y="5590"/>
                </a:lnTo>
                <a:lnTo>
                  <a:pt x="1282" y="5573"/>
                </a:lnTo>
                <a:lnTo>
                  <a:pt x="1299" y="5556"/>
                </a:lnTo>
                <a:lnTo>
                  <a:pt x="1332" y="5517"/>
                </a:lnTo>
                <a:lnTo>
                  <a:pt x="1352" y="5498"/>
                </a:lnTo>
                <a:lnTo>
                  <a:pt x="1372" y="5478"/>
                </a:lnTo>
                <a:lnTo>
                  <a:pt x="1395" y="5458"/>
                </a:lnTo>
                <a:lnTo>
                  <a:pt x="1419" y="5439"/>
                </a:lnTo>
                <a:lnTo>
                  <a:pt x="1433" y="5430"/>
                </a:lnTo>
                <a:lnTo>
                  <a:pt x="1446" y="5422"/>
                </a:lnTo>
                <a:lnTo>
                  <a:pt x="1460" y="5414"/>
                </a:lnTo>
                <a:lnTo>
                  <a:pt x="1475" y="5406"/>
                </a:lnTo>
                <a:lnTo>
                  <a:pt x="1475" y="5406"/>
                </a:lnTo>
                <a:lnTo>
                  <a:pt x="1515" y="5387"/>
                </a:lnTo>
                <a:lnTo>
                  <a:pt x="1547" y="5375"/>
                </a:lnTo>
                <a:lnTo>
                  <a:pt x="1559" y="5370"/>
                </a:lnTo>
                <a:lnTo>
                  <a:pt x="1571" y="5367"/>
                </a:lnTo>
                <a:lnTo>
                  <a:pt x="1580" y="5366"/>
                </a:lnTo>
                <a:lnTo>
                  <a:pt x="1587" y="5365"/>
                </a:lnTo>
                <a:lnTo>
                  <a:pt x="1593" y="5365"/>
                </a:lnTo>
                <a:lnTo>
                  <a:pt x="1597" y="5367"/>
                </a:lnTo>
                <a:lnTo>
                  <a:pt x="1600" y="5369"/>
                </a:lnTo>
                <a:lnTo>
                  <a:pt x="1602" y="5372"/>
                </a:lnTo>
                <a:lnTo>
                  <a:pt x="1604" y="5375"/>
                </a:lnTo>
                <a:lnTo>
                  <a:pt x="1604" y="5379"/>
                </a:lnTo>
                <a:lnTo>
                  <a:pt x="1603" y="5389"/>
                </a:lnTo>
                <a:lnTo>
                  <a:pt x="1600" y="5401"/>
                </a:lnTo>
                <a:lnTo>
                  <a:pt x="1596" y="5415"/>
                </a:lnTo>
                <a:lnTo>
                  <a:pt x="1593" y="5428"/>
                </a:lnTo>
                <a:lnTo>
                  <a:pt x="1591" y="5440"/>
                </a:lnTo>
                <a:lnTo>
                  <a:pt x="1591" y="5446"/>
                </a:lnTo>
                <a:lnTo>
                  <a:pt x="1591" y="5453"/>
                </a:lnTo>
                <a:lnTo>
                  <a:pt x="1593" y="5458"/>
                </a:lnTo>
                <a:lnTo>
                  <a:pt x="1595" y="5463"/>
                </a:lnTo>
                <a:lnTo>
                  <a:pt x="1598" y="5467"/>
                </a:lnTo>
                <a:lnTo>
                  <a:pt x="1603" y="5471"/>
                </a:lnTo>
                <a:lnTo>
                  <a:pt x="1609" y="5474"/>
                </a:lnTo>
                <a:lnTo>
                  <a:pt x="1617" y="5476"/>
                </a:lnTo>
                <a:lnTo>
                  <a:pt x="1617" y="5476"/>
                </a:lnTo>
                <a:lnTo>
                  <a:pt x="1629" y="5480"/>
                </a:lnTo>
                <a:lnTo>
                  <a:pt x="1640" y="5483"/>
                </a:lnTo>
                <a:lnTo>
                  <a:pt x="1649" y="5488"/>
                </a:lnTo>
                <a:lnTo>
                  <a:pt x="1656" y="5492"/>
                </a:lnTo>
                <a:lnTo>
                  <a:pt x="1663" y="5498"/>
                </a:lnTo>
                <a:lnTo>
                  <a:pt x="1668" y="5503"/>
                </a:lnTo>
                <a:lnTo>
                  <a:pt x="1671" y="5509"/>
                </a:lnTo>
                <a:lnTo>
                  <a:pt x="1673" y="5515"/>
                </a:lnTo>
                <a:lnTo>
                  <a:pt x="1675" y="5521"/>
                </a:lnTo>
                <a:lnTo>
                  <a:pt x="1675" y="5527"/>
                </a:lnTo>
                <a:lnTo>
                  <a:pt x="1674" y="5534"/>
                </a:lnTo>
                <a:lnTo>
                  <a:pt x="1673" y="5541"/>
                </a:lnTo>
                <a:lnTo>
                  <a:pt x="1671" y="5548"/>
                </a:lnTo>
                <a:lnTo>
                  <a:pt x="1668" y="5555"/>
                </a:lnTo>
                <a:lnTo>
                  <a:pt x="1660" y="5568"/>
                </a:lnTo>
                <a:lnTo>
                  <a:pt x="1650" y="5581"/>
                </a:lnTo>
                <a:lnTo>
                  <a:pt x="1640" y="5594"/>
                </a:lnTo>
                <a:lnTo>
                  <a:pt x="1630" y="5605"/>
                </a:lnTo>
                <a:lnTo>
                  <a:pt x="1620" y="5615"/>
                </a:lnTo>
                <a:lnTo>
                  <a:pt x="1603" y="5629"/>
                </a:lnTo>
                <a:lnTo>
                  <a:pt x="1597" y="5636"/>
                </a:lnTo>
                <a:lnTo>
                  <a:pt x="1597" y="5636"/>
                </a:lnTo>
                <a:lnTo>
                  <a:pt x="1605" y="5640"/>
                </a:lnTo>
                <a:lnTo>
                  <a:pt x="1616" y="5642"/>
                </a:lnTo>
                <a:lnTo>
                  <a:pt x="1627" y="5643"/>
                </a:lnTo>
                <a:lnTo>
                  <a:pt x="1640" y="5642"/>
                </a:lnTo>
                <a:lnTo>
                  <a:pt x="1654" y="5639"/>
                </a:lnTo>
                <a:lnTo>
                  <a:pt x="1669" y="5635"/>
                </a:lnTo>
                <a:lnTo>
                  <a:pt x="1685" y="5628"/>
                </a:lnTo>
                <a:lnTo>
                  <a:pt x="1700" y="5620"/>
                </a:lnTo>
                <a:lnTo>
                  <a:pt x="1717" y="5611"/>
                </a:lnTo>
                <a:lnTo>
                  <a:pt x="1732" y="5600"/>
                </a:lnTo>
                <a:lnTo>
                  <a:pt x="1747" y="5587"/>
                </a:lnTo>
                <a:lnTo>
                  <a:pt x="1763" y="5572"/>
                </a:lnTo>
                <a:lnTo>
                  <a:pt x="1776" y="5555"/>
                </a:lnTo>
                <a:lnTo>
                  <a:pt x="1789" y="5536"/>
                </a:lnTo>
                <a:lnTo>
                  <a:pt x="1801" y="5516"/>
                </a:lnTo>
                <a:lnTo>
                  <a:pt x="1811" y="5495"/>
                </a:lnTo>
                <a:lnTo>
                  <a:pt x="1811" y="5495"/>
                </a:lnTo>
                <a:lnTo>
                  <a:pt x="1814" y="5486"/>
                </a:lnTo>
                <a:lnTo>
                  <a:pt x="1817" y="5480"/>
                </a:lnTo>
                <a:lnTo>
                  <a:pt x="1820" y="5475"/>
                </a:lnTo>
                <a:lnTo>
                  <a:pt x="1824" y="5471"/>
                </a:lnTo>
                <a:lnTo>
                  <a:pt x="1828" y="5468"/>
                </a:lnTo>
                <a:lnTo>
                  <a:pt x="1831" y="5465"/>
                </a:lnTo>
                <a:lnTo>
                  <a:pt x="1839" y="5462"/>
                </a:lnTo>
                <a:lnTo>
                  <a:pt x="1848" y="5459"/>
                </a:lnTo>
                <a:lnTo>
                  <a:pt x="1857" y="5455"/>
                </a:lnTo>
                <a:lnTo>
                  <a:pt x="1866" y="5449"/>
                </a:lnTo>
                <a:lnTo>
                  <a:pt x="1871" y="5444"/>
                </a:lnTo>
                <a:lnTo>
                  <a:pt x="1876" y="5439"/>
                </a:lnTo>
                <a:lnTo>
                  <a:pt x="1876" y="5439"/>
                </a:lnTo>
                <a:lnTo>
                  <a:pt x="1879" y="5433"/>
                </a:lnTo>
                <a:lnTo>
                  <a:pt x="1882" y="5427"/>
                </a:lnTo>
                <a:lnTo>
                  <a:pt x="1886" y="5421"/>
                </a:lnTo>
                <a:lnTo>
                  <a:pt x="1887" y="5415"/>
                </a:lnTo>
                <a:lnTo>
                  <a:pt x="1888" y="5400"/>
                </a:lnTo>
                <a:lnTo>
                  <a:pt x="1888" y="5386"/>
                </a:lnTo>
                <a:lnTo>
                  <a:pt x="1888" y="5371"/>
                </a:lnTo>
                <a:lnTo>
                  <a:pt x="1888" y="5357"/>
                </a:lnTo>
                <a:lnTo>
                  <a:pt x="1890" y="5342"/>
                </a:lnTo>
                <a:lnTo>
                  <a:pt x="1892" y="5336"/>
                </a:lnTo>
                <a:lnTo>
                  <a:pt x="1894" y="5330"/>
                </a:lnTo>
                <a:lnTo>
                  <a:pt x="1894" y="5330"/>
                </a:lnTo>
                <a:lnTo>
                  <a:pt x="1898" y="5324"/>
                </a:lnTo>
                <a:lnTo>
                  <a:pt x="1902" y="5319"/>
                </a:lnTo>
                <a:lnTo>
                  <a:pt x="1906" y="5314"/>
                </a:lnTo>
                <a:lnTo>
                  <a:pt x="1911" y="5309"/>
                </a:lnTo>
                <a:lnTo>
                  <a:pt x="1923" y="5301"/>
                </a:lnTo>
                <a:lnTo>
                  <a:pt x="1937" y="5295"/>
                </a:lnTo>
                <a:lnTo>
                  <a:pt x="1951" y="5290"/>
                </a:lnTo>
                <a:lnTo>
                  <a:pt x="1965" y="5286"/>
                </a:lnTo>
                <a:lnTo>
                  <a:pt x="1996" y="5278"/>
                </a:lnTo>
                <a:lnTo>
                  <a:pt x="2026" y="5272"/>
                </a:lnTo>
                <a:lnTo>
                  <a:pt x="2038" y="5268"/>
                </a:lnTo>
                <a:lnTo>
                  <a:pt x="2049" y="5262"/>
                </a:lnTo>
                <a:lnTo>
                  <a:pt x="2057" y="5256"/>
                </a:lnTo>
                <a:lnTo>
                  <a:pt x="2061" y="5253"/>
                </a:lnTo>
                <a:lnTo>
                  <a:pt x="2063" y="5249"/>
                </a:lnTo>
                <a:lnTo>
                  <a:pt x="2066" y="5245"/>
                </a:lnTo>
                <a:lnTo>
                  <a:pt x="2068" y="5240"/>
                </a:lnTo>
                <a:lnTo>
                  <a:pt x="2068" y="5235"/>
                </a:lnTo>
                <a:lnTo>
                  <a:pt x="2068" y="5230"/>
                </a:lnTo>
                <a:lnTo>
                  <a:pt x="2068" y="5230"/>
                </a:lnTo>
                <a:lnTo>
                  <a:pt x="2066" y="5215"/>
                </a:lnTo>
                <a:lnTo>
                  <a:pt x="2066" y="5202"/>
                </a:lnTo>
                <a:lnTo>
                  <a:pt x="2069" y="5190"/>
                </a:lnTo>
                <a:lnTo>
                  <a:pt x="2073" y="5180"/>
                </a:lnTo>
                <a:lnTo>
                  <a:pt x="2078" y="5169"/>
                </a:lnTo>
                <a:lnTo>
                  <a:pt x="2083" y="5161"/>
                </a:lnTo>
                <a:lnTo>
                  <a:pt x="2090" y="5153"/>
                </a:lnTo>
                <a:lnTo>
                  <a:pt x="2098" y="5146"/>
                </a:lnTo>
                <a:lnTo>
                  <a:pt x="2106" y="5140"/>
                </a:lnTo>
                <a:lnTo>
                  <a:pt x="2116" y="5134"/>
                </a:lnTo>
                <a:lnTo>
                  <a:pt x="2134" y="5124"/>
                </a:lnTo>
                <a:lnTo>
                  <a:pt x="2152" y="5116"/>
                </a:lnTo>
                <a:lnTo>
                  <a:pt x="2169" y="5109"/>
                </a:lnTo>
                <a:lnTo>
                  <a:pt x="2169" y="5109"/>
                </a:lnTo>
                <a:lnTo>
                  <a:pt x="2171" y="5109"/>
                </a:lnTo>
                <a:lnTo>
                  <a:pt x="2172" y="5110"/>
                </a:lnTo>
                <a:lnTo>
                  <a:pt x="2175" y="5112"/>
                </a:lnTo>
                <a:lnTo>
                  <a:pt x="2177" y="5117"/>
                </a:lnTo>
                <a:lnTo>
                  <a:pt x="2181" y="5124"/>
                </a:lnTo>
                <a:lnTo>
                  <a:pt x="2189" y="5143"/>
                </a:lnTo>
                <a:lnTo>
                  <a:pt x="2195" y="5154"/>
                </a:lnTo>
                <a:lnTo>
                  <a:pt x="2202" y="5166"/>
                </a:lnTo>
                <a:lnTo>
                  <a:pt x="2212" y="5179"/>
                </a:lnTo>
                <a:lnTo>
                  <a:pt x="2222" y="5192"/>
                </a:lnTo>
                <a:lnTo>
                  <a:pt x="2234" y="5206"/>
                </a:lnTo>
                <a:lnTo>
                  <a:pt x="2250" y="5220"/>
                </a:lnTo>
                <a:lnTo>
                  <a:pt x="2267" y="5233"/>
                </a:lnTo>
                <a:lnTo>
                  <a:pt x="2287" y="5245"/>
                </a:lnTo>
                <a:lnTo>
                  <a:pt x="2311" y="5257"/>
                </a:lnTo>
                <a:lnTo>
                  <a:pt x="2337" y="5268"/>
                </a:lnTo>
                <a:lnTo>
                  <a:pt x="2337" y="5268"/>
                </a:lnTo>
                <a:lnTo>
                  <a:pt x="2412" y="5237"/>
                </a:lnTo>
                <a:lnTo>
                  <a:pt x="2458" y="5215"/>
                </a:lnTo>
                <a:lnTo>
                  <a:pt x="2485" y="5202"/>
                </a:lnTo>
                <a:lnTo>
                  <a:pt x="2514" y="5187"/>
                </a:lnTo>
                <a:lnTo>
                  <a:pt x="2514" y="5187"/>
                </a:lnTo>
                <a:lnTo>
                  <a:pt x="2546" y="5170"/>
                </a:lnTo>
                <a:lnTo>
                  <a:pt x="2576" y="5153"/>
                </a:lnTo>
                <a:lnTo>
                  <a:pt x="2588" y="5145"/>
                </a:lnTo>
                <a:lnTo>
                  <a:pt x="2599" y="5138"/>
                </a:lnTo>
                <a:lnTo>
                  <a:pt x="2609" y="5130"/>
                </a:lnTo>
                <a:lnTo>
                  <a:pt x="2617" y="5123"/>
                </a:lnTo>
                <a:lnTo>
                  <a:pt x="2617" y="5123"/>
                </a:lnTo>
                <a:lnTo>
                  <a:pt x="2616" y="5121"/>
                </a:lnTo>
                <a:lnTo>
                  <a:pt x="2615" y="5119"/>
                </a:lnTo>
                <a:lnTo>
                  <a:pt x="2607" y="5112"/>
                </a:lnTo>
                <a:lnTo>
                  <a:pt x="2596" y="5101"/>
                </a:lnTo>
                <a:lnTo>
                  <a:pt x="2583" y="5087"/>
                </a:lnTo>
                <a:lnTo>
                  <a:pt x="2568" y="5069"/>
                </a:lnTo>
                <a:lnTo>
                  <a:pt x="2553" y="5050"/>
                </a:lnTo>
                <a:lnTo>
                  <a:pt x="2546" y="5039"/>
                </a:lnTo>
                <a:lnTo>
                  <a:pt x="2540" y="5026"/>
                </a:lnTo>
                <a:lnTo>
                  <a:pt x="2535" y="5015"/>
                </a:lnTo>
                <a:lnTo>
                  <a:pt x="2530" y="5002"/>
                </a:lnTo>
                <a:lnTo>
                  <a:pt x="2530" y="5002"/>
                </a:lnTo>
                <a:lnTo>
                  <a:pt x="2527" y="4989"/>
                </a:lnTo>
                <a:lnTo>
                  <a:pt x="2524" y="4978"/>
                </a:lnTo>
                <a:lnTo>
                  <a:pt x="2522" y="4969"/>
                </a:lnTo>
                <a:lnTo>
                  <a:pt x="2522" y="4960"/>
                </a:lnTo>
                <a:lnTo>
                  <a:pt x="2522" y="4953"/>
                </a:lnTo>
                <a:lnTo>
                  <a:pt x="2522" y="4948"/>
                </a:lnTo>
                <a:lnTo>
                  <a:pt x="2523" y="4944"/>
                </a:lnTo>
                <a:lnTo>
                  <a:pt x="2524" y="4942"/>
                </a:lnTo>
                <a:lnTo>
                  <a:pt x="2524" y="4942"/>
                </a:lnTo>
                <a:lnTo>
                  <a:pt x="2537" y="4959"/>
                </a:lnTo>
                <a:lnTo>
                  <a:pt x="2552" y="4976"/>
                </a:lnTo>
                <a:lnTo>
                  <a:pt x="2573" y="4997"/>
                </a:lnTo>
                <a:lnTo>
                  <a:pt x="2585" y="5008"/>
                </a:lnTo>
                <a:lnTo>
                  <a:pt x="2597" y="5019"/>
                </a:lnTo>
                <a:lnTo>
                  <a:pt x="2611" y="5030"/>
                </a:lnTo>
                <a:lnTo>
                  <a:pt x="2627" y="5042"/>
                </a:lnTo>
                <a:lnTo>
                  <a:pt x="2643" y="5053"/>
                </a:lnTo>
                <a:lnTo>
                  <a:pt x="2660" y="5062"/>
                </a:lnTo>
                <a:lnTo>
                  <a:pt x="2677" y="5071"/>
                </a:lnTo>
                <a:lnTo>
                  <a:pt x="2695" y="5079"/>
                </a:lnTo>
                <a:lnTo>
                  <a:pt x="2695" y="5079"/>
                </a:lnTo>
                <a:lnTo>
                  <a:pt x="2749" y="5051"/>
                </a:lnTo>
                <a:lnTo>
                  <a:pt x="2803" y="5021"/>
                </a:lnTo>
                <a:lnTo>
                  <a:pt x="2857" y="4988"/>
                </a:lnTo>
                <a:lnTo>
                  <a:pt x="2911" y="4954"/>
                </a:lnTo>
                <a:lnTo>
                  <a:pt x="2911" y="4954"/>
                </a:lnTo>
                <a:lnTo>
                  <a:pt x="2946" y="4930"/>
                </a:lnTo>
                <a:lnTo>
                  <a:pt x="2946" y="4930"/>
                </a:lnTo>
                <a:lnTo>
                  <a:pt x="2947" y="4929"/>
                </a:lnTo>
                <a:lnTo>
                  <a:pt x="2947" y="4929"/>
                </a:lnTo>
                <a:lnTo>
                  <a:pt x="2948" y="4927"/>
                </a:lnTo>
                <a:lnTo>
                  <a:pt x="2947" y="4925"/>
                </a:lnTo>
                <a:lnTo>
                  <a:pt x="2943" y="4918"/>
                </a:lnTo>
                <a:lnTo>
                  <a:pt x="2935" y="4909"/>
                </a:lnTo>
                <a:lnTo>
                  <a:pt x="2924" y="4898"/>
                </a:lnTo>
                <a:lnTo>
                  <a:pt x="2899" y="4874"/>
                </a:lnTo>
                <a:lnTo>
                  <a:pt x="2870" y="4845"/>
                </a:lnTo>
                <a:lnTo>
                  <a:pt x="2857" y="4831"/>
                </a:lnTo>
                <a:lnTo>
                  <a:pt x="2846" y="4817"/>
                </a:lnTo>
                <a:lnTo>
                  <a:pt x="2836" y="4802"/>
                </a:lnTo>
                <a:lnTo>
                  <a:pt x="2832" y="4795"/>
                </a:lnTo>
                <a:lnTo>
                  <a:pt x="2829" y="4789"/>
                </a:lnTo>
                <a:lnTo>
                  <a:pt x="2828" y="4782"/>
                </a:lnTo>
                <a:lnTo>
                  <a:pt x="2827" y="4776"/>
                </a:lnTo>
                <a:lnTo>
                  <a:pt x="2827" y="4770"/>
                </a:lnTo>
                <a:lnTo>
                  <a:pt x="2828" y="4765"/>
                </a:lnTo>
                <a:lnTo>
                  <a:pt x="2830" y="4759"/>
                </a:lnTo>
                <a:lnTo>
                  <a:pt x="2834" y="4754"/>
                </a:lnTo>
                <a:lnTo>
                  <a:pt x="2840" y="4750"/>
                </a:lnTo>
                <a:lnTo>
                  <a:pt x="2847" y="4746"/>
                </a:lnTo>
                <a:lnTo>
                  <a:pt x="2847" y="4746"/>
                </a:lnTo>
                <a:lnTo>
                  <a:pt x="2853" y="4742"/>
                </a:lnTo>
                <a:lnTo>
                  <a:pt x="2858" y="4737"/>
                </a:lnTo>
                <a:lnTo>
                  <a:pt x="2861" y="4732"/>
                </a:lnTo>
                <a:lnTo>
                  <a:pt x="2863" y="4726"/>
                </a:lnTo>
                <a:lnTo>
                  <a:pt x="2864" y="4720"/>
                </a:lnTo>
                <a:lnTo>
                  <a:pt x="2864" y="4711"/>
                </a:lnTo>
                <a:lnTo>
                  <a:pt x="2864" y="4704"/>
                </a:lnTo>
                <a:lnTo>
                  <a:pt x="2862" y="4695"/>
                </a:lnTo>
                <a:lnTo>
                  <a:pt x="2857" y="4678"/>
                </a:lnTo>
                <a:lnTo>
                  <a:pt x="2849" y="4658"/>
                </a:lnTo>
                <a:lnTo>
                  <a:pt x="2830" y="4616"/>
                </a:lnTo>
                <a:lnTo>
                  <a:pt x="2821" y="4595"/>
                </a:lnTo>
                <a:lnTo>
                  <a:pt x="2813" y="4574"/>
                </a:lnTo>
                <a:lnTo>
                  <a:pt x="2806" y="4554"/>
                </a:lnTo>
                <a:lnTo>
                  <a:pt x="2804" y="4544"/>
                </a:lnTo>
                <a:lnTo>
                  <a:pt x="2802" y="4534"/>
                </a:lnTo>
                <a:lnTo>
                  <a:pt x="2802" y="4525"/>
                </a:lnTo>
                <a:lnTo>
                  <a:pt x="2802" y="4517"/>
                </a:lnTo>
                <a:lnTo>
                  <a:pt x="2803" y="4509"/>
                </a:lnTo>
                <a:lnTo>
                  <a:pt x="2805" y="4502"/>
                </a:lnTo>
                <a:lnTo>
                  <a:pt x="2808" y="4495"/>
                </a:lnTo>
                <a:lnTo>
                  <a:pt x="2813" y="4488"/>
                </a:lnTo>
                <a:lnTo>
                  <a:pt x="2819" y="4482"/>
                </a:lnTo>
                <a:lnTo>
                  <a:pt x="2827" y="4478"/>
                </a:lnTo>
                <a:lnTo>
                  <a:pt x="2827" y="4478"/>
                </a:lnTo>
                <a:lnTo>
                  <a:pt x="2928" y="4425"/>
                </a:lnTo>
                <a:lnTo>
                  <a:pt x="3034" y="4374"/>
                </a:lnTo>
                <a:lnTo>
                  <a:pt x="3138" y="4323"/>
                </a:lnTo>
                <a:lnTo>
                  <a:pt x="3241" y="4273"/>
                </a:lnTo>
                <a:lnTo>
                  <a:pt x="3433" y="4182"/>
                </a:lnTo>
                <a:lnTo>
                  <a:pt x="3516" y="4142"/>
                </a:lnTo>
                <a:lnTo>
                  <a:pt x="3591" y="4105"/>
                </a:lnTo>
                <a:lnTo>
                  <a:pt x="3591" y="4105"/>
                </a:lnTo>
                <a:lnTo>
                  <a:pt x="3587" y="4089"/>
                </a:lnTo>
                <a:lnTo>
                  <a:pt x="3581" y="4070"/>
                </a:lnTo>
                <a:lnTo>
                  <a:pt x="3571" y="4047"/>
                </a:lnTo>
                <a:lnTo>
                  <a:pt x="3564" y="4035"/>
                </a:lnTo>
                <a:lnTo>
                  <a:pt x="3557" y="4020"/>
                </a:lnTo>
                <a:lnTo>
                  <a:pt x="3549" y="4006"/>
                </a:lnTo>
                <a:lnTo>
                  <a:pt x="3540" y="3992"/>
                </a:lnTo>
                <a:lnTo>
                  <a:pt x="3529" y="3977"/>
                </a:lnTo>
                <a:lnTo>
                  <a:pt x="3516" y="3962"/>
                </a:lnTo>
                <a:lnTo>
                  <a:pt x="3502" y="3948"/>
                </a:lnTo>
                <a:lnTo>
                  <a:pt x="3487" y="3933"/>
                </a:lnTo>
                <a:close/>
                <a:moveTo>
                  <a:pt x="322" y="5867"/>
                </a:moveTo>
                <a:lnTo>
                  <a:pt x="322" y="5867"/>
                </a:lnTo>
                <a:lnTo>
                  <a:pt x="321" y="5881"/>
                </a:lnTo>
                <a:lnTo>
                  <a:pt x="321" y="5892"/>
                </a:lnTo>
                <a:lnTo>
                  <a:pt x="323" y="5908"/>
                </a:lnTo>
                <a:lnTo>
                  <a:pt x="326" y="5923"/>
                </a:lnTo>
                <a:lnTo>
                  <a:pt x="329" y="5931"/>
                </a:lnTo>
                <a:lnTo>
                  <a:pt x="332" y="5939"/>
                </a:lnTo>
                <a:lnTo>
                  <a:pt x="337" y="5947"/>
                </a:lnTo>
                <a:lnTo>
                  <a:pt x="343" y="5956"/>
                </a:lnTo>
                <a:lnTo>
                  <a:pt x="349" y="5964"/>
                </a:lnTo>
                <a:lnTo>
                  <a:pt x="357" y="5971"/>
                </a:lnTo>
                <a:lnTo>
                  <a:pt x="357" y="5971"/>
                </a:lnTo>
                <a:lnTo>
                  <a:pt x="369" y="5980"/>
                </a:lnTo>
                <a:lnTo>
                  <a:pt x="382" y="5988"/>
                </a:lnTo>
                <a:lnTo>
                  <a:pt x="397" y="5995"/>
                </a:lnTo>
                <a:lnTo>
                  <a:pt x="412" y="6000"/>
                </a:lnTo>
                <a:lnTo>
                  <a:pt x="426" y="6002"/>
                </a:lnTo>
                <a:lnTo>
                  <a:pt x="434" y="6002"/>
                </a:lnTo>
                <a:lnTo>
                  <a:pt x="441" y="6001"/>
                </a:lnTo>
                <a:lnTo>
                  <a:pt x="447" y="6000"/>
                </a:lnTo>
                <a:lnTo>
                  <a:pt x="453" y="5998"/>
                </a:lnTo>
                <a:lnTo>
                  <a:pt x="458" y="5995"/>
                </a:lnTo>
                <a:lnTo>
                  <a:pt x="463" y="5991"/>
                </a:lnTo>
                <a:lnTo>
                  <a:pt x="463" y="5991"/>
                </a:lnTo>
                <a:lnTo>
                  <a:pt x="468" y="5986"/>
                </a:lnTo>
                <a:lnTo>
                  <a:pt x="473" y="5979"/>
                </a:lnTo>
                <a:lnTo>
                  <a:pt x="476" y="5973"/>
                </a:lnTo>
                <a:lnTo>
                  <a:pt x="479" y="5966"/>
                </a:lnTo>
                <a:lnTo>
                  <a:pt x="481" y="5958"/>
                </a:lnTo>
                <a:lnTo>
                  <a:pt x="482" y="5950"/>
                </a:lnTo>
                <a:lnTo>
                  <a:pt x="483" y="5933"/>
                </a:lnTo>
                <a:lnTo>
                  <a:pt x="483" y="5917"/>
                </a:lnTo>
                <a:lnTo>
                  <a:pt x="484" y="5900"/>
                </a:lnTo>
                <a:lnTo>
                  <a:pt x="485" y="5892"/>
                </a:lnTo>
                <a:lnTo>
                  <a:pt x="487" y="5884"/>
                </a:lnTo>
                <a:lnTo>
                  <a:pt x="489" y="5877"/>
                </a:lnTo>
                <a:lnTo>
                  <a:pt x="493" y="5869"/>
                </a:lnTo>
                <a:lnTo>
                  <a:pt x="493" y="5869"/>
                </a:lnTo>
                <a:lnTo>
                  <a:pt x="495" y="5866"/>
                </a:lnTo>
                <a:lnTo>
                  <a:pt x="499" y="5863"/>
                </a:lnTo>
                <a:lnTo>
                  <a:pt x="508" y="5857"/>
                </a:lnTo>
                <a:lnTo>
                  <a:pt x="516" y="5854"/>
                </a:lnTo>
                <a:lnTo>
                  <a:pt x="519" y="5853"/>
                </a:lnTo>
                <a:lnTo>
                  <a:pt x="519" y="5853"/>
                </a:lnTo>
                <a:lnTo>
                  <a:pt x="526" y="5851"/>
                </a:lnTo>
                <a:lnTo>
                  <a:pt x="532" y="5848"/>
                </a:lnTo>
                <a:lnTo>
                  <a:pt x="538" y="5845"/>
                </a:lnTo>
                <a:lnTo>
                  <a:pt x="544" y="5840"/>
                </a:lnTo>
                <a:lnTo>
                  <a:pt x="544" y="5840"/>
                </a:lnTo>
                <a:lnTo>
                  <a:pt x="585" y="5859"/>
                </a:lnTo>
                <a:lnTo>
                  <a:pt x="626" y="5877"/>
                </a:lnTo>
                <a:lnTo>
                  <a:pt x="668" y="5896"/>
                </a:lnTo>
                <a:lnTo>
                  <a:pt x="709" y="5917"/>
                </a:lnTo>
                <a:lnTo>
                  <a:pt x="748" y="5938"/>
                </a:lnTo>
                <a:lnTo>
                  <a:pt x="789" y="5961"/>
                </a:lnTo>
                <a:lnTo>
                  <a:pt x="830" y="5983"/>
                </a:lnTo>
                <a:lnTo>
                  <a:pt x="870" y="6007"/>
                </a:lnTo>
                <a:lnTo>
                  <a:pt x="910" y="6031"/>
                </a:lnTo>
                <a:lnTo>
                  <a:pt x="949" y="6056"/>
                </a:lnTo>
                <a:lnTo>
                  <a:pt x="1027" y="6106"/>
                </a:lnTo>
                <a:lnTo>
                  <a:pt x="1103" y="6158"/>
                </a:lnTo>
                <a:lnTo>
                  <a:pt x="1178" y="6211"/>
                </a:lnTo>
                <a:lnTo>
                  <a:pt x="1178" y="6211"/>
                </a:lnTo>
                <a:lnTo>
                  <a:pt x="1197" y="6225"/>
                </a:lnTo>
                <a:lnTo>
                  <a:pt x="1215" y="6236"/>
                </a:lnTo>
                <a:lnTo>
                  <a:pt x="1215" y="6236"/>
                </a:lnTo>
                <a:lnTo>
                  <a:pt x="1208" y="6258"/>
                </a:lnTo>
                <a:lnTo>
                  <a:pt x="1199" y="6281"/>
                </a:lnTo>
                <a:lnTo>
                  <a:pt x="1189" y="6305"/>
                </a:lnTo>
                <a:lnTo>
                  <a:pt x="1177" y="6331"/>
                </a:lnTo>
                <a:lnTo>
                  <a:pt x="1177" y="6331"/>
                </a:lnTo>
                <a:lnTo>
                  <a:pt x="1137" y="6407"/>
                </a:lnTo>
                <a:lnTo>
                  <a:pt x="1118" y="6443"/>
                </a:lnTo>
                <a:lnTo>
                  <a:pt x="1100" y="6479"/>
                </a:lnTo>
                <a:lnTo>
                  <a:pt x="1093" y="6497"/>
                </a:lnTo>
                <a:lnTo>
                  <a:pt x="1087" y="6514"/>
                </a:lnTo>
                <a:lnTo>
                  <a:pt x="1081" y="6530"/>
                </a:lnTo>
                <a:lnTo>
                  <a:pt x="1077" y="6547"/>
                </a:lnTo>
                <a:lnTo>
                  <a:pt x="1074" y="6562"/>
                </a:lnTo>
                <a:lnTo>
                  <a:pt x="1072" y="6576"/>
                </a:lnTo>
                <a:lnTo>
                  <a:pt x="1072" y="6591"/>
                </a:lnTo>
                <a:lnTo>
                  <a:pt x="1073" y="6603"/>
                </a:lnTo>
                <a:lnTo>
                  <a:pt x="1073" y="6603"/>
                </a:lnTo>
                <a:lnTo>
                  <a:pt x="1075" y="6612"/>
                </a:lnTo>
                <a:lnTo>
                  <a:pt x="1077" y="6621"/>
                </a:lnTo>
                <a:lnTo>
                  <a:pt x="1080" y="6629"/>
                </a:lnTo>
                <a:lnTo>
                  <a:pt x="1083" y="6638"/>
                </a:lnTo>
                <a:lnTo>
                  <a:pt x="1087" y="6645"/>
                </a:lnTo>
                <a:lnTo>
                  <a:pt x="1092" y="6652"/>
                </a:lnTo>
                <a:lnTo>
                  <a:pt x="1097" y="6658"/>
                </a:lnTo>
                <a:lnTo>
                  <a:pt x="1102" y="6664"/>
                </a:lnTo>
                <a:lnTo>
                  <a:pt x="1108" y="6669"/>
                </a:lnTo>
                <a:lnTo>
                  <a:pt x="1115" y="6674"/>
                </a:lnTo>
                <a:lnTo>
                  <a:pt x="1122" y="6679"/>
                </a:lnTo>
                <a:lnTo>
                  <a:pt x="1129" y="6682"/>
                </a:lnTo>
                <a:lnTo>
                  <a:pt x="1137" y="6685"/>
                </a:lnTo>
                <a:lnTo>
                  <a:pt x="1145" y="6687"/>
                </a:lnTo>
                <a:lnTo>
                  <a:pt x="1154" y="6689"/>
                </a:lnTo>
                <a:lnTo>
                  <a:pt x="1163" y="6690"/>
                </a:lnTo>
                <a:lnTo>
                  <a:pt x="1163" y="6690"/>
                </a:lnTo>
                <a:lnTo>
                  <a:pt x="1173" y="6690"/>
                </a:lnTo>
                <a:lnTo>
                  <a:pt x="1183" y="6689"/>
                </a:lnTo>
                <a:lnTo>
                  <a:pt x="1192" y="6687"/>
                </a:lnTo>
                <a:lnTo>
                  <a:pt x="1201" y="6685"/>
                </a:lnTo>
                <a:lnTo>
                  <a:pt x="1210" y="6682"/>
                </a:lnTo>
                <a:lnTo>
                  <a:pt x="1218" y="6677"/>
                </a:lnTo>
                <a:lnTo>
                  <a:pt x="1226" y="6673"/>
                </a:lnTo>
                <a:lnTo>
                  <a:pt x="1233" y="6668"/>
                </a:lnTo>
                <a:lnTo>
                  <a:pt x="1240" y="6662"/>
                </a:lnTo>
                <a:lnTo>
                  <a:pt x="1246" y="6657"/>
                </a:lnTo>
                <a:lnTo>
                  <a:pt x="1252" y="6651"/>
                </a:lnTo>
                <a:lnTo>
                  <a:pt x="1257" y="6644"/>
                </a:lnTo>
                <a:lnTo>
                  <a:pt x="1261" y="6637"/>
                </a:lnTo>
                <a:lnTo>
                  <a:pt x="1265" y="6629"/>
                </a:lnTo>
                <a:lnTo>
                  <a:pt x="1268" y="6622"/>
                </a:lnTo>
                <a:lnTo>
                  <a:pt x="1270" y="6614"/>
                </a:lnTo>
                <a:lnTo>
                  <a:pt x="1270" y="6614"/>
                </a:lnTo>
                <a:lnTo>
                  <a:pt x="1272" y="6598"/>
                </a:lnTo>
                <a:lnTo>
                  <a:pt x="1273" y="6582"/>
                </a:lnTo>
                <a:lnTo>
                  <a:pt x="1271" y="6570"/>
                </a:lnTo>
                <a:lnTo>
                  <a:pt x="1268" y="6558"/>
                </a:lnTo>
                <a:lnTo>
                  <a:pt x="1263" y="6549"/>
                </a:lnTo>
                <a:lnTo>
                  <a:pt x="1258" y="6539"/>
                </a:lnTo>
                <a:lnTo>
                  <a:pt x="1251" y="6532"/>
                </a:lnTo>
                <a:lnTo>
                  <a:pt x="1243" y="6527"/>
                </a:lnTo>
                <a:lnTo>
                  <a:pt x="1236" y="6522"/>
                </a:lnTo>
                <a:lnTo>
                  <a:pt x="1229" y="6518"/>
                </a:lnTo>
                <a:lnTo>
                  <a:pt x="1215" y="6513"/>
                </a:lnTo>
                <a:lnTo>
                  <a:pt x="1206" y="6511"/>
                </a:lnTo>
                <a:lnTo>
                  <a:pt x="1201" y="6511"/>
                </a:lnTo>
                <a:lnTo>
                  <a:pt x="1201" y="6511"/>
                </a:lnTo>
                <a:lnTo>
                  <a:pt x="1217" y="6466"/>
                </a:lnTo>
                <a:lnTo>
                  <a:pt x="1229" y="6430"/>
                </a:lnTo>
                <a:lnTo>
                  <a:pt x="1240" y="6401"/>
                </a:lnTo>
                <a:lnTo>
                  <a:pt x="1240" y="6401"/>
                </a:lnTo>
                <a:lnTo>
                  <a:pt x="1248" y="6381"/>
                </a:lnTo>
                <a:lnTo>
                  <a:pt x="1258" y="6363"/>
                </a:lnTo>
                <a:lnTo>
                  <a:pt x="1266" y="6345"/>
                </a:lnTo>
                <a:lnTo>
                  <a:pt x="1275" y="6329"/>
                </a:lnTo>
                <a:lnTo>
                  <a:pt x="1283" y="6314"/>
                </a:lnTo>
                <a:lnTo>
                  <a:pt x="1292" y="6299"/>
                </a:lnTo>
                <a:lnTo>
                  <a:pt x="1310" y="6275"/>
                </a:lnTo>
                <a:lnTo>
                  <a:pt x="1327" y="6254"/>
                </a:lnTo>
                <a:lnTo>
                  <a:pt x="1345" y="6237"/>
                </a:lnTo>
                <a:lnTo>
                  <a:pt x="1361" y="6224"/>
                </a:lnTo>
                <a:lnTo>
                  <a:pt x="1376" y="6212"/>
                </a:lnTo>
                <a:lnTo>
                  <a:pt x="1391" y="6205"/>
                </a:lnTo>
                <a:lnTo>
                  <a:pt x="1404" y="6199"/>
                </a:lnTo>
                <a:lnTo>
                  <a:pt x="1416" y="6195"/>
                </a:lnTo>
                <a:lnTo>
                  <a:pt x="1426" y="6193"/>
                </a:lnTo>
                <a:lnTo>
                  <a:pt x="1435" y="6192"/>
                </a:lnTo>
                <a:lnTo>
                  <a:pt x="1441" y="6192"/>
                </a:lnTo>
                <a:lnTo>
                  <a:pt x="1446" y="6192"/>
                </a:lnTo>
                <a:lnTo>
                  <a:pt x="1446" y="6192"/>
                </a:lnTo>
                <a:lnTo>
                  <a:pt x="1442" y="6188"/>
                </a:lnTo>
                <a:lnTo>
                  <a:pt x="1437" y="6183"/>
                </a:lnTo>
                <a:lnTo>
                  <a:pt x="1432" y="6175"/>
                </a:lnTo>
                <a:lnTo>
                  <a:pt x="1425" y="6166"/>
                </a:lnTo>
                <a:lnTo>
                  <a:pt x="1420" y="6155"/>
                </a:lnTo>
                <a:lnTo>
                  <a:pt x="1414" y="6142"/>
                </a:lnTo>
                <a:lnTo>
                  <a:pt x="1409" y="6125"/>
                </a:lnTo>
                <a:lnTo>
                  <a:pt x="1406" y="6108"/>
                </a:lnTo>
                <a:lnTo>
                  <a:pt x="1404" y="6088"/>
                </a:lnTo>
                <a:lnTo>
                  <a:pt x="1404" y="6065"/>
                </a:lnTo>
                <a:lnTo>
                  <a:pt x="1405" y="6053"/>
                </a:lnTo>
                <a:lnTo>
                  <a:pt x="1407" y="6041"/>
                </a:lnTo>
                <a:lnTo>
                  <a:pt x="1409" y="6027"/>
                </a:lnTo>
                <a:lnTo>
                  <a:pt x="1413" y="6013"/>
                </a:lnTo>
                <a:lnTo>
                  <a:pt x="1417" y="5999"/>
                </a:lnTo>
                <a:lnTo>
                  <a:pt x="1422" y="5983"/>
                </a:lnTo>
                <a:lnTo>
                  <a:pt x="1428" y="5968"/>
                </a:lnTo>
                <a:lnTo>
                  <a:pt x="1436" y="5952"/>
                </a:lnTo>
                <a:lnTo>
                  <a:pt x="1444" y="5934"/>
                </a:lnTo>
                <a:lnTo>
                  <a:pt x="1453" y="5917"/>
                </a:lnTo>
                <a:lnTo>
                  <a:pt x="1453" y="5917"/>
                </a:lnTo>
                <a:lnTo>
                  <a:pt x="1473" y="5880"/>
                </a:lnTo>
                <a:lnTo>
                  <a:pt x="1490" y="5844"/>
                </a:lnTo>
                <a:lnTo>
                  <a:pt x="1505" y="5811"/>
                </a:lnTo>
                <a:lnTo>
                  <a:pt x="1516" y="5780"/>
                </a:lnTo>
                <a:lnTo>
                  <a:pt x="1527" y="5749"/>
                </a:lnTo>
                <a:lnTo>
                  <a:pt x="1535" y="5719"/>
                </a:lnTo>
                <a:lnTo>
                  <a:pt x="1541" y="5691"/>
                </a:lnTo>
                <a:lnTo>
                  <a:pt x="1546" y="5663"/>
                </a:lnTo>
                <a:lnTo>
                  <a:pt x="1546" y="5663"/>
                </a:lnTo>
                <a:lnTo>
                  <a:pt x="1547" y="5654"/>
                </a:lnTo>
                <a:lnTo>
                  <a:pt x="1546" y="5645"/>
                </a:lnTo>
                <a:lnTo>
                  <a:pt x="1545" y="5636"/>
                </a:lnTo>
                <a:lnTo>
                  <a:pt x="1542" y="5626"/>
                </a:lnTo>
                <a:lnTo>
                  <a:pt x="1538" y="5617"/>
                </a:lnTo>
                <a:lnTo>
                  <a:pt x="1534" y="5609"/>
                </a:lnTo>
                <a:lnTo>
                  <a:pt x="1529" y="5600"/>
                </a:lnTo>
                <a:lnTo>
                  <a:pt x="1523" y="5592"/>
                </a:lnTo>
                <a:lnTo>
                  <a:pt x="1515" y="5585"/>
                </a:lnTo>
                <a:lnTo>
                  <a:pt x="1508" y="5577"/>
                </a:lnTo>
                <a:lnTo>
                  <a:pt x="1500" y="5571"/>
                </a:lnTo>
                <a:lnTo>
                  <a:pt x="1492" y="5566"/>
                </a:lnTo>
                <a:lnTo>
                  <a:pt x="1484" y="5561"/>
                </a:lnTo>
                <a:lnTo>
                  <a:pt x="1474" y="5558"/>
                </a:lnTo>
                <a:lnTo>
                  <a:pt x="1465" y="5556"/>
                </a:lnTo>
                <a:lnTo>
                  <a:pt x="1455" y="5554"/>
                </a:lnTo>
                <a:lnTo>
                  <a:pt x="1455" y="5554"/>
                </a:lnTo>
                <a:lnTo>
                  <a:pt x="1445" y="5554"/>
                </a:lnTo>
                <a:lnTo>
                  <a:pt x="1436" y="5555"/>
                </a:lnTo>
                <a:lnTo>
                  <a:pt x="1425" y="5557"/>
                </a:lnTo>
                <a:lnTo>
                  <a:pt x="1416" y="5560"/>
                </a:lnTo>
                <a:lnTo>
                  <a:pt x="1407" y="5564"/>
                </a:lnTo>
                <a:lnTo>
                  <a:pt x="1399" y="5568"/>
                </a:lnTo>
                <a:lnTo>
                  <a:pt x="1391" y="5574"/>
                </a:lnTo>
                <a:lnTo>
                  <a:pt x="1382" y="5579"/>
                </a:lnTo>
                <a:lnTo>
                  <a:pt x="1375" y="5587"/>
                </a:lnTo>
                <a:lnTo>
                  <a:pt x="1369" y="5593"/>
                </a:lnTo>
                <a:lnTo>
                  <a:pt x="1363" y="5600"/>
                </a:lnTo>
                <a:lnTo>
                  <a:pt x="1358" y="5608"/>
                </a:lnTo>
                <a:lnTo>
                  <a:pt x="1354" y="5616"/>
                </a:lnTo>
                <a:lnTo>
                  <a:pt x="1350" y="5624"/>
                </a:lnTo>
                <a:lnTo>
                  <a:pt x="1348" y="5633"/>
                </a:lnTo>
                <a:lnTo>
                  <a:pt x="1347" y="5641"/>
                </a:lnTo>
                <a:lnTo>
                  <a:pt x="1347" y="5641"/>
                </a:lnTo>
                <a:lnTo>
                  <a:pt x="1346" y="5661"/>
                </a:lnTo>
                <a:lnTo>
                  <a:pt x="1347" y="5680"/>
                </a:lnTo>
                <a:lnTo>
                  <a:pt x="1351" y="5695"/>
                </a:lnTo>
                <a:lnTo>
                  <a:pt x="1356" y="5707"/>
                </a:lnTo>
                <a:lnTo>
                  <a:pt x="1362" y="5717"/>
                </a:lnTo>
                <a:lnTo>
                  <a:pt x="1369" y="5727"/>
                </a:lnTo>
                <a:lnTo>
                  <a:pt x="1377" y="5734"/>
                </a:lnTo>
                <a:lnTo>
                  <a:pt x="1386" y="5739"/>
                </a:lnTo>
                <a:lnTo>
                  <a:pt x="1394" y="5743"/>
                </a:lnTo>
                <a:lnTo>
                  <a:pt x="1402" y="5747"/>
                </a:lnTo>
                <a:lnTo>
                  <a:pt x="1416" y="5752"/>
                </a:lnTo>
                <a:lnTo>
                  <a:pt x="1422" y="5754"/>
                </a:lnTo>
                <a:lnTo>
                  <a:pt x="1425" y="5756"/>
                </a:lnTo>
                <a:lnTo>
                  <a:pt x="1428" y="5759"/>
                </a:lnTo>
                <a:lnTo>
                  <a:pt x="1428" y="5762"/>
                </a:lnTo>
                <a:lnTo>
                  <a:pt x="1428" y="5762"/>
                </a:lnTo>
                <a:lnTo>
                  <a:pt x="1417" y="5798"/>
                </a:lnTo>
                <a:lnTo>
                  <a:pt x="1405" y="5831"/>
                </a:lnTo>
                <a:lnTo>
                  <a:pt x="1392" y="5861"/>
                </a:lnTo>
                <a:lnTo>
                  <a:pt x="1378" y="5887"/>
                </a:lnTo>
                <a:lnTo>
                  <a:pt x="1365" y="5912"/>
                </a:lnTo>
                <a:lnTo>
                  <a:pt x="1352" y="5933"/>
                </a:lnTo>
                <a:lnTo>
                  <a:pt x="1337" y="5953"/>
                </a:lnTo>
                <a:lnTo>
                  <a:pt x="1323" y="5969"/>
                </a:lnTo>
                <a:lnTo>
                  <a:pt x="1323" y="5969"/>
                </a:lnTo>
                <a:lnTo>
                  <a:pt x="1296" y="5953"/>
                </a:lnTo>
                <a:lnTo>
                  <a:pt x="1263" y="5933"/>
                </a:lnTo>
                <a:lnTo>
                  <a:pt x="1263" y="5933"/>
                </a:lnTo>
                <a:lnTo>
                  <a:pt x="1186" y="5891"/>
                </a:lnTo>
                <a:lnTo>
                  <a:pt x="1111" y="5850"/>
                </a:lnTo>
                <a:lnTo>
                  <a:pt x="1038" y="5811"/>
                </a:lnTo>
                <a:lnTo>
                  <a:pt x="1001" y="5793"/>
                </a:lnTo>
                <a:lnTo>
                  <a:pt x="964" y="5776"/>
                </a:lnTo>
                <a:lnTo>
                  <a:pt x="927" y="5758"/>
                </a:lnTo>
                <a:lnTo>
                  <a:pt x="889" y="5743"/>
                </a:lnTo>
                <a:lnTo>
                  <a:pt x="850" y="5727"/>
                </a:lnTo>
                <a:lnTo>
                  <a:pt x="810" y="5712"/>
                </a:lnTo>
                <a:lnTo>
                  <a:pt x="769" y="5698"/>
                </a:lnTo>
                <a:lnTo>
                  <a:pt x="727" y="5686"/>
                </a:lnTo>
                <a:lnTo>
                  <a:pt x="683" y="5673"/>
                </a:lnTo>
                <a:lnTo>
                  <a:pt x="638" y="5662"/>
                </a:lnTo>
                <a:lnTo>
                  <a:pt x="638" y="5662"/>
                </a:lnTo>
                <a:lnTo>
                  <a:pt x="655" y="5629"/>
                </a:lnTo>
                <a:lnTo>
                  <a:pt x="655" y="5629"/>
                </a:lnTo>
                <a:lnTo>
                  <a:pt x="681" y="5585"/>
                </a:lnTo>
                <a:lnTo>
                  <a:pt x="699" y="5553"/>
                </a:lnTo>
                <a:lnTo>
                  <a:pt x="706" y="5542"/>
                </a:lnTo>
                <a:lnTo>
                  <a:pt x="710" y="5532"/>
                </a:lnTo>
                <a:lnTo>
                  <a:pt x="712" y="5526"/>
                </a:lnTo>
                <a:lnTo>
                  <a:pt x="711" y="5524"/>
                </a:lnTo>
                <a:lnTo>
                  <a:pt x="710" y="5522"/>
                </a:lnTo>
                <a:lnTo>
                  <a:pt x="710" y="5522"/>
                </a:lnTo>
                <a:lnTo>
                  <a:pt x="709" y="5522"/>
                </a:lnTo>
                <a:lnTo>
                  <a:pt x="708" y="5522"/>
                </a:lnTo>
                <a:lnTo>
                  <a:pt x="702" y="5523"/>
                </a:lnTo>
                <a:lnTo>
                  <a:pt x="688" y="5532"/>
                </a:lnTo>
                <a:lnTo>
                  <a:pt x="664" y="5548"/>
                </a:lnTo>
                <a:lnTo>
                  <a:pt x="647" y="5557"/>
                </a:lnTo>
                <a:lnTo>
                  <a:pt x="628" y="5568"/>
                </a:lnTo>
                <a:lnTo>
                  <a:pt x="628" y="5568"/>
                </a:lnTo>
                <a:lnTo>
                  <a:pt x="606" y="5579"/>
                </a:lnTo>
                <a:lnTo>
                  <a:pt x="588" y="5589"/>
                </a:lnTo>
                <a:lnTo>
                  <a:pt x="573" y="5595"/>
                </a:lnTo>
                <a:lnTo>
                  <a:pt x="558" y="5600"/>
                </a:lnTo>
                <a:lnTo>
                  <a:pt x="545" y="5604"/>
                </a:lnTo>
                <a:lnTo>
                  <a:pt x="532" y="5607"/>
                </a:lnTo>
                <a:lnTo>
                  <a:pt x="504" y="5611"/>
                </a:lnTo>
                <a:lnTo>
                  <a:pt x="504" y="5611"/>
                </a:lnTo>
                <a:lnTo>
                  <a:pt x="495" y="5611"/>
                </a:lnTo>
                <a:lnTo>
                  <a:pt x="486" y="5610"/>
                </a:lnTo>
                <a:lnTo>
                  <a:pt x="468" y="5607"/>
                </a:lnTo>
                <a:lnTo>
                  <a:pt x="453" y="5603"/>
                </a:lnTo>
                <a:lnTo>
                  <a:pt x="446" y="5603"/>
                </a:lnTo>
                <a:lnTo>
                  <a:pt x="441" y="5604"/>
                </a:lnTo>
                <a:lnTo>
                  <a:pt x="441" y="5604"/>
                </a:lnTo>
                <a:lnTo>
                  <a:pt x="435" y="5607"/>
                </a:lnTo>
                <a:lnTo>
                  <a:pt x="428" y="5613"/>
                </a:lnTo>
                <a:lnTo>
                  <a:pt x="423" y="5620"/>
                </a:lnTo>
                <a:lnTo>
                  <a:pt x="418" y="5629"/>
                </a:lnTo>
                <a:lnTo>
                  <a:pt x="413" y="5642"/>
                </a:lnTo>
                <a:lnTo>
                  <a:pt x="408" y="5656"/>
                </a:lnTo>
                <a:lnTo>
                  <a:pt x="395" y="5693"/>
                </a:lnTo>
                <a:lnTo>
                  <a:pt x="395" y="5693"/>
                </a:lnTo>
                <a:lnTo>
                  <a:pt x="370" y="5764"/>
                </a:lnTo>
                <a:lnTo>
                  <a:pt x="363" y="5783"/>
                </a:lnTo>
                <a:lnTo>
                  <a:pt x="363" y="5783"/>
                </a:lnTo>
                <a:lnTo>
                  <a:pt x="355" y="5801"/>
                </a:lnTo>
                <a:lnTo>
                  <a:pt x="348" y="5815"/>
                </a:lnTo>
                <a:lnTo>
                  <a:pt x="335" y="5834"/>
                </a:lnTo>
                <a:lnTo>
                  <a:pt x="331" y="5842"/>
                </a:lnTo>
                <a:lnTo>
                  <a:pt x="327" y="5849"/>
                </a:lnTo>
                <a:lnTo>
                  <a:pt x="324" y="5857"/>
                </a:lnTo>
                <a:lnTo>
                  <a:pt x="322" y="5867"/>
                </a:lnTo>
                <a:close/>
                <a:moveTo>
                  <a:pt x="390" y="969"/>
                </a:moveTo>
                <a:lnTo>
                  <a:pt x="390" y="969"/>
                </a:lnTo>
                <a:lnTo>
                  <a:pt x="419" y="968"/>
                </a:lnTo>
                <a:lnTo>
                  <a:pt x="451" y="965"/>
                </a:lnTo>
                <a:lnTo>
                  <a:pt x="483" y="962"/>
                </a:lnTo>
                <a:lnTo>
                  <a:pt x="513" y="958"/>
                </a:lnTo>
                <a:lnTo>
                  <a:pt x="563" y="952"/>
                </a:lnTo>
                <a:lnTo>
                  <a:pt x="583" y="948"/>
                </a:lnTo>
                <a:lnTo>
                  <a:pt x="580" y="644"/>
                </a:lnTo>
                <a:lnTo>
                  <a:pt x="580" y="644"/>
                </a:lnTo>
                <a:lnTo>
                  <a:pt x="531" y="637"/>
                </a:lnTo>
                <a:lnTo>
                  <a:pt x="429" y="621"/>
                </a:lnTo>
                <a:lnTo>
                  <a:pt x="429" y="621"/>
                </a:lnTo>
                <a:lnTo>
                  <a:pt x="416" y="620"/>
                </a:lnTo>
                <a:lnTo>
                  <a:pt x="404" y="619"/>
                </a:lnTo>
                <a:lnTo>
                  <a:pt x="392" y="619"/>
                </a:lnTo>
                <a:lnTo>
                  <a:pt x="381" y="620"/>
                </a:lnTo>
                <a:lnTo>
                  <a:pt x="371" y="622"/>
                </a:lnTo>
                <a:lnTo>
                  <a:pt x="362" y="625"/>
                </a:lnTo>
                <a:lnTo>
                  <a:pt x="353" y="628"/>
                </a:lnTo>
                <a:lnTo>
                  <a:pt x="346" y="632"/>
                </a:lnTo>
                <a:lnTo>
                  <a:pt x="338" y="636"/>
                </a:lnTo>
                <a:lnTo>
                  <a:pt x="331" y="641"/>
                </a:lnTo>
                <a:lnTo>
                  <a:pt x="325" y="646"/>
                </a:lnTo>
                <a:lnTo>
                  <a:pt x="320" y="651"/>
                </a:lnTo>
                <a:lnTo>
                  <a:pt x="311" y="664"/>
                </a:lnTo>
                <a:lnTo>
                  <a:pt x="304" y="676"/>
                </a:lnTo>
                <a:lnTo>
                  <a:pt x="298" y="689"/>
                </a:lnTo>
                <a:lnTo>
                  <a:pt x="293" y="702"/>
                </a:lnTo>
                <a:lnTo>
                  <a:pt x="290" y="715"/>
                </a:lnTo>
                <a:lnTo>
                  <a:pt x="288" y="725"/>
                </a:lnTo>
                <a:lnTo>
                  <a:pt x="287" y="742"/>
                </a:lnTo>
                <a:lnTo>
                  <a:pt x="287" y="748"/>
                </a:lnTo>
                <a:lnTo>
                  <a:pt x="291" y="832"/>
                </a:lnTo>
                <a:lnTo>
                  <a:pt x="291" y="832"/>
                </a:lnTo>
                <a:lnTo>
                  <a:pt x="291" y="838"/>
                </a:lnTo>
                <a:lnTo>
                  <a:pt x="293" y="854"/>
                </a:lnTo>
                <a:lnTo>
                  <a:pt x="298" y="875"/>
                </a:lnTo>
                <a:lnTo>
                  <a:pt x="302" y="887"/>
                </a:lnTo>
                <a:lnTo>
                  <a:pt x="306" y="901"/>
                </a:lnTo>
                <a:lnTo>
                  <a:pt x="311" y="913"/>
                </a:lnTo>
                <a:lnTo>
                  <a:pt x="318" y="925"/>
                </a:lnTo>
                <a:lnTo>
                  <a:pt x="326" y="938"/>
                </a:lnTo>
                <a:lnTo>
                  <a:pt x="335" y="948"/>
                </a:lnTo>
                <a:lnTo>
                  <a:pt x="340" y="952"/>
                </a:lnTo>
                <a:lnTo>
                  <a:pt x="347" y="956"/>
                </a:lnTo>
                <a:lnTo>
                  <a:pt x="353" y="960"/>
                </a:lnTo>
                <a:lnTo>
                  <a:pt x="359" y="963"/>
                </a:lnTo>
                <a:lnTo>
                  <a:pt x="366" y="965"/>
                </a:lnTo>
                <a:lnTo>
                  <a:pt x="373" y="967"/>
                </a:lnTo>
                <a:lnTo>
                  <a:pt x="381" y="968"/>
                </a:lnTo>
                <a:lnTo>
                  <a:pt x="390" y="969"/>
                </a:lnTo>
                <a:close/>
                <a:moveTo>
                  <a:pt x="1101" y="856"/>
                </a:moveTo>
                <a:lnTo>
                  <a:pt x="1101" y="856"/>
                </a:lnTo>
                <a:lnTo>
                  <a:pt x="1103" y="835"/>
                </a:lnTo>
                <a:lnTo>
                  <a:pt x="1103" y="813"/>
                </a:lnTo>
                <a:lnTo>
                  <a:pt x="1103" y="770"/>
                </a:lnTo>
                <a:lnTo>
                  <a:pt x="1103" y="770"/>
                </a:lnTo>
                <a:lnTo>
                  <a:pt x="1102" y="609"/>
                </a:lnTo>
                <a:lnTo>
                  <a:pt x="1102" y="609"/>
                </a:lnTo>
                <a:lnTo>
                  <a:pt x="1102" y="599"/>
                </a:lnTo>
                <a:lnTo>
                  <a:pt x="1101" y="589"/>
                </a:lnTo>
                <a:lnTo>
                  <a:pt x="1100" y="578"/>
                </a:lnTo>
                <a:lnTo>
                  <a:pt x="1097" y="565"/>
                </a:lnTo>
                <a:lnTo>
                  <a:pt x="1094" y="555"/>
                </a:lnTo>
                <a:lnTo>
                  <a:pt x="1092" y="551"/>
                </a:lnTo>
                <a:lnTo>
                  <a:pt x="1089" y="548"/>
                </a:lnTo>
                <a:lnTo>
                  <a:pt x="1086" y="546"/>
                </a:lnTo>
                <a:lnTo>
                  <a:pt x="1082" y="545"/>
                </a:lnTo>
                <a:lnTo>
                  <a:pt x="1082" y="545"/>
                </a:lnTo>
                <a:lnTo>
                  <a:pt x="1049" y="545"/>
                </a:lnTo>
                <a:lnTo>
                  <a:pt x="1031" y="546"/>
                </a:lnTo>
                <a:lnTo>
                  <a:pt x="1020" y="547"/>
                </a:lnTo>
                <a:lnTo>
                  <a:pt x="1020" y="547"/>
                </a:lnTo>
                <a:lnTo>
                  <a:pt x="1017" y="552"/>
                </a:lnTo>
                <a:lnTo>
                  <a:pt x="1015" y="559"/>
                </a:lnTo>
                <a:lnTo>
                  <a:pt x="1009" y="578"/>
                </a:lnTo>
                <a:lnTo>
                  <a:pt x="1003" y="597"/>
                </a:lnTo>
                <a:lnTo>
                  <a:pt x="1000" y="604"/>
                </a:lnTo>
                <a:lnTo>
                  <a:pt x="998" y="609"/>
                </a:lnTo>
                <a:lnTo>
                  <a:pt x="978" y="547"/>
                </a:lnTo>
                <a:lnTo>
                  <a:pt x="978" y="547"/>
                </a:lnTo>
                <a:lnTo>
                  <a:pt x="962" y="546"/>
                </a:lnTo>
                <a:lnTo>
                  <a:pt x="939" y="546"/>
                </a:lnTo>
                <a:lnTo>
                  <a:pt x="914" y="547"/>
                </a:lnTo>
                <a:lnTo>
                  <a:pt x="900" y="549"/>
                </a:lnTo>
                <a:lnTo>
                  <a:pt x="900" y="549"/>
                </a:lnTo>
                <a:lnTo>
                  <a:pt x="895" y="561"/>
                </a:lnTo>
                <a:lnTo>
                  <a:pt x="889" y="579"/>
                </a:lnTo>
                <a:lnTo>
                  <a:pt x="882" y="597"/>
                </a:lnTo>
                <a:lnTo>
                  <a:pt x="877" y="609"/>
                </a:lnTo>
                <a:lnTo>
                  <a:pt x="858" y="550"/>
                </a:lnTo>
                <a:lnTo>
                  <a:pt x="858" y="550"/>
                </a:lnTo>
                <a:lnTo>
                  <a:pt x="845" y="549"/>
                </a:lnTo>
                <a:lnTo>
                  <a:pt x="821" y="549"/>
                </a:lnTo>
                <a:lnTo>
                  <a:pt x="797" y="550"/>
                </a:lnTo>
                <a:lnTo>
                  <a:pt x="788" y="551"/>
                </a:lnTo>
                <a:lnTo>
                  <a:pt x="784" y="551"/>
                </a:lnTo>
                <a:lnTo>
                  <a:pt x="784" y="551"/>
                </a:lnTo>
                <a:lnTo>
                  <a:pt x="780" y="556"/>
                </a:lnTo>
                <a:lnTo>
                  <a:pt x="777" y="563"/>
                </a:lnTo>
                <a:lnTo>
                  <a:pt x="770" y="581"/>
                </a:lnTo>
                <a:lnTo>
                  <a:pt x="763" y="598"/>
                </a:lnTo>
                <a:lnTo>
                  <a:pt x="758" y="609"/>
                </a:lnTo>
                <a:lnTo>
                  <a:pt x="739" y="551"/>
                </a:lnTo>
                <a:lnTo>
                  <a:pt x="739" y="551"/>
                </a:lnTo>
                <a:lnTo>
                  <a:pt x="722" y="551"/>
                </a:lnTo>
                <a:lnTo>
                  <a:pt x="691" y="551"/>
                </a:lnTo>
                <a:lnTo>
                  <a:pt x="691" y="551"/>
                </a:lnTo>
                <a:lnTo>
                  <a:pt x="686" y="552"/>
                </a:lnTo>
                <a:lnTo>
                  <a:pt x="682" y="553"/>
                </a:lnTo>
                <a:lnTo>
                  <a:pt x="678" y="555"/>
                </a:lnTo>
                <a:lnTo>
                  <a:pt x="674" y="557"/>
                </a:lnTo>
                <a:lnTo>
                  <a:pt x="668" y="564"/>
                </a:lnTo>
                <a:lnTo>
                  <a:pt x="663" y="573"/>
                </a:lnTo>
                <a:lnTo>
                  <a:pt x="658" y="581"/>
                </a:lnTo>
                <a:lnTo>
                  <a:pt x="655" y="591"/>
                </a:lnTo>
                <a:lnTo>
                  <a:pt x="654" y="600"/>
                </a:lnTo>
                <a:lnTo>
                  <a:pt x="653" y="608"/>
                </a:lnTo>
                <a:lnTo>
                  <a:pt x="653" y="608"/>
                </a:lnTo>
                <a:lnTo>
                  <a:pt x="654" y="686"/>
                </a:lnTo>
                <a:lnTo>
                  <a:pt x="655" y="765"/>
                </a:lnTo>
                <a:lnTo>
                  <a:pt x="655" y="765"/>
                </a:lnTo>
                <a:lnTo>
                  <a:pt x="658" y="869"/>
                </a:lnTo>
                <a:lnTo>
                  <a:pt x="661" y="947"/>
                </a:lnTo>
                <a:lnTo>
                  <a:pt x="661" y="947"/>
                </a:lnTo>
                <a:lnTo>
                  <a:pt x="680" y="946"/>
                </a:lnTo>
                <a:lnTo>
                  <a:pt x="690" y="944"/>
                </a:lnTo>
                <a:lnTo>
                  <a:pt x="698" y="943"/>
                </a:lnTo>
                <a:lnTo>
                  <a:pt x="707" y="941"/>
                </a:lnTo>
                <a:lnTo>
                  <a:pt x="715" y="938"/>
                </a:lnTo>
                <a:lnTo>
                  <a:pt x="721" y="933"/>
                </a:lnTo>
                <a:lnTo>
                  <a:pt x="727" y="929"/>
                </a:lnTo>
                <a:lnTo>
                  <a:pt x="727" y="929"/>
                </a:lnTo>
                <a:lnTo>
                  <a:pt x="732" y="924"/>
                </a:lnTo>
                <a:lnTo>
                  <a:pt x="736" y="919"/>
                </a:lnTo>
                <a:lnTo>
                  <a:pt x="743" y="908"/>
                </a:lnTo>
                <a:lnTo>
                  <a:pt x="748" y="897"/>
                </a:lnTo>
                <a:lnTo>
                  <a:pt x="753" y="886"/>
                </a:lnTo>
                <a:lnTo>
                  <a:pt x="756" y="876"/>
                </a:lnTo>
                <a:lnTo>
                  <a:pt x="757" y="869"/>
                </a:lnTo>
                <a:lnTo>
                  <a:pt x="758" y="862"/>
                </a:lnTo>
                <a:lnTo>
                  <a:pt x="758" y="862"/>
                </a:lnTo>
                <a:lnTo>
                  <a:pt x="758" y="882"/>
                </a:lnTo>
                <a:lnTo>
                  <a:pt x="758" y="912"/>
                </a:lnTo>
                <a:lnTo>
                  <a:pt x="759" y="942"/>
                </a:lnTo>
                <a:lnTo>
                  <a:pt x="761" y="965"/>
                </a:lnTo>
                <a:lnTo>
                  <a:pt x="761" y="965"/>
                </a:lnTo>
                <a:lnTo>
                  <a:pt x="761" y="966"/>
                </a:lnTo>
                <a:lnTo>
                  <a:pt x="763" y="967"/>
                </a:lnTo>
                <a:lnTo>
                  <a:pt x="769" y="969"/>
                </a:lnTo>
                <a:lnTo>
                  <a:pt x="778" y="970"/>
                </a:lnTo>
                <a:lnTo>
                  <a:pt x="789" y="970"/>
                </a:lnTo>
                <a:lnTo>
                  <a:pt x="803" y="968"/>
                </a:lnTo>
                <a:lnTo>
                  <a:pt x="816" y="963"/>
                </a:lnTo>
                <a:lnTo>
                  <a:pt x="822" y="960"/>
                </a:lnTo>
                <a:lnTo>
                  <a:pt x="829" y="957"/>
                </a:lnTo>
                <a:lnTo>
                  <a:pt x="835" y="952"/>
                </a:lnTo>
                <a:lnTo>
                  <a:pt x="842" y="947"/>
                </a:lnTo>
                <a:lnTo>
                  <a:pt x="842" y="947"/>
                </a:lnTo>
                <a:lnTo>
                  <a:pt x="850" y="937"/>
                </a:lnTo>
                <a:lnTo>
                  <a:pt x="857" y="925"/>
                </a:lnTo>
                <a:lnTo>
                  <a:pt x="862" y="913"/>
                </a:lnTo>
                <a:lnTo>
                  <a:pt x="866" y="901"/>
                </a:lnTo>
                <a:lnTo>
                  <a:pt x="873" y="878"/>
                </a:lnTo>
                <a:lnTo>
                  <a:pt x="877" y="862"/>
                </a:lnTo>
                <a:lnTo>
                  <a:pt x="877" y="862"/>
                </a:lnTo>
                <a:lnTo>
                  <a:pt x="877" y="893"/>
                </a:lnTo>
                <a:lnTo>
                  <a:pt x="878" y="926"/>
                </a:lnTo>
                <a:lnTo>
                  <a:pt x="880" y="953"/>
                </a:lnTo>
                <a:lnTo>
                  <a:pt x="881" y="962"/>
                </a:lnTo>
                <a:lnTo>
                  <a:pt x="882" y="964"/>
                </a:lnTo>
                <a:lnTo>
                  <a:pt x="883" y="965"/>
                </a:lnTo>
                <a:lnTo>
                  <a:pt x="883" y="965"/>
                </a:lnTo>
                <a:lnTo>
                  <a:pt x="890" y="966"/>
                </a:lnTo>
                <a:lnTo>
                  <a:pt x="898" y="966"/>
                </a:lnTo>
                <a:lnTo>
                  <a:pt x="908" y="965"/>
                </a:lnTo>
                <a:lnTo>
                  <a:pt x="919" y="963"/>
                </a:lnTo>
                <a:lnTo>
                  <a:pt x="930" y="960"/>
                </a:lnTo>
                <a:lnTo>
                  <a:pt x="942" y="956"/>
                </a:lnTo>
                <a:lnTo>
                  <a:pt x="953" y="950"/>
                </a:lnTo>
                <a:lnTo>
                  <a:pt x="958" y="946"/>
                </a:lnTo>
                <a:lnTo>
                  <a:pt x="962" y="942"/>
                </a:lnTo>
                <a:lnTo>
                  <a:pt x="962" y="942"/>
                </a:lnTo>
                <a:lnTo>
                  <a:pt x="970" y="932"/>
                </a:lnTo>
                <a:lnTo>
                  <a:pt x="978" y="922"/>
                </a:lnTo>
                <a:lnTo>
                  <a:pt x="984" y="912"/>
                </a:lnTo>
                <a:lnTo>
                  <a:pt x="989" y="901"/>
                </a:lnTo>
                <a:lnTo>
                  <a:pt x="992" y="890"/>
                </a:lnTo>
                <a:lnTo>
                  <a:pt x="995" y="879"/>
                </a:lnTo>
                <a:lnTo>
                  <a:pt x="998" y="862"/>
                </a:lnTo>
                <a:lnTo>
                  <a:pt x="998" y="862"/>
                </a:lnTo>
                <a:lnTo>
                  <a:pt x="998" y="891"/>
                </a:lnTo>
                <a:lnTo>
                  <a:pt x="999" y="915"/>
                </a:lnTo>
                <a:lnTo>
                  <a:pt x="1001" y="936"/>
                </a:lnTo>
                <a:lnTo>
                  <a:pt x="1001" y="936"/>
                </a:lnTo>
                <a:lnTo>
                  <a:pt x="1015" y="935"/>
                </a:lnTo>
                <a:lnTo>
                  <a:pt x="1024" y="933"/>
                </a:lnTo>
                <a:lnTo>
                  <a:pt x="1032" y="931"/>
                </a:lnTo>
                <a:lnTo>
                  <a:pt x="1032" y="931"/>
                </a:lnTo>
                <a:lnTo>
                  <a:pt x="1046" y="925"/>
                </a:lnTo>
                <a:lnTo>
                  <a:pt x="1057" y="920"/>
                </a:lnTo>
                <a:lnTo>
                  <a:pt x="1068" y="913"/>
                </a:lnTo>
                <a:lnTo>
                  <a:pt x="1068" y="913"/>
                </a:lnTo>
                <a:lnTo>
                  <a:pt x="1078" y="905"/>
                </a:lnTo>
                <a:lnTo>
                  <a:pt x="1083" y="900"/>
                </a:lnTo>
                <a:lnTo>
                  <a:pt x="1088" y="894"/>
                </a:lnTo>
                <a:lnTo>
                  <a:pt x="1092" y="887"/>
                </a:lnTo>
                <a:lnTo>
                  <a:pt x="1096" y="878"/>
                </a:lnTo>
                <a:lnTo>
                  <a:pt x="1099" y="868"/>
                </a:lnTo>
                <a:lnTo>
                  <a:pt x="1101" y="856"/>
                </a:lnTo>
                <a:close/>
                <a:moveTo>
                  <a:pt x="1266" y="1010"/>
                </a:moveTo>
                <a:lnTo>
                  <a:pt x="1266" y="916"/>
                </a:lnTo>
                <a:lnTo>
                  <a:pt x="1266" y="916"/>
                </a:lnTo>
                <a:lnTo>
                  <a:pt x="1261" y="910"/>
                </a:lnTo>
                <a:lnTo>
                  <a:pt x="1255" y="902"/>
                </a:lnTo>
                <a:lnTo>
                  <a:pt x="1247" y="891"/>
                </a:lnTo>
                <a:lnTo>
                  <a:pt x="1240" y="875"/>
                </a:lnTo>
                <a:lnTo>
                  <a:pt x="1237" y="866"/>
                </a:lnTo>
                <a:lnTo>
                  <a:pt x="1234" y="856"/>
                </a:lnTo>
                <a:lnTo>
                  <a:pt x="1232" y="845"/>
                </a:lnTo>
                <a:lnTo>
                  <a:pt x="1229" y="831"/>
                </a:lnTo>
                <a:lnTo>
                  <a:pt x="1228" y="818"/>
                </a:lnTo>
                <a:lnTo>
                  <a:pt x="1227" y="803"/>
                </a:lnTo>
                <a:lnTo>
                  <a:pt x="1227" y="803"/>
                </a:lnTo>
                <a:lnTo>
                  <a:pt x="1227" y="792"/>
                </a:lnTo>
                <a:lnTo>
                  <a:pt x="1228" y="782"/>
                </a:lnTo>
                <a:lnTo>
                  <a:pt x="1229" y="772"/>
                </a:lnTo>
                <a:lnTo>
                  <a:pt x="1232" y="762"/>
                </a:lnTo>
                <a:lnTo>
                  <a:pt x="1238" y="743"/>
                </a:lnTo>
                <a:lnTo>
                  <a:pt x="1244" y="727"/>
                </a:lnTo>
                <a:lnTo>
                  <a:pt x="1252" y="714"/>
                </a:lnTo>
                <a:lnTo>
                  <a:pt x="1258" y="702"/>
                </a:lnTo>
                <a:lnTo>
                  <a:pt x="1264" y="693"/>
                </a:lnTo>
                <a:lnTo>
                  <a:pt x="1263" y="603"/>
                </a:lnTo>
                <a:lnTo>
                  <a:pt x="1263" y="603"/>
                </a:lnTo>
                <a:lnTo>
                  <a:pt x="1254" y="596"/>
                </a:lnTo>
                <a:lnTo>
                  <a:pt x="1230" y="581"/>
                </a:lnTo>
                <a:lnTo>
                  <a:pt x="1216" y="573"/>
                </a:lnTo>
                <a:lnTo>
                  <a:pt x="1201" y="565"/>
                </a:lnTo>
                <a:lnTo>
                  <a:pt x="1194" y="562"/>
                </a:lnTo>
                <a:lnTo>
                  <a:pt x="1188" y="561"/>
                </a:lnTo>
                <a:lnTo>
                  <a:pt x="1182" y="560"/>
                </a:lnTo>
                <a:lnTo>
                  <a:pt x="1176" y="560"/>
                </a:lnTo>
                <a:lnTo>
                  <a:pt x="1177" y="887"/>
                </a:lnTo>
                <a:lnTo>
                  <a:pt x="1177" y="887"/>
                </a:lnTo>
                <a:lnTo>
                  <a:pt x="1177" y="899"/>
                </a:lnTo>
                <a:lnTo>
                  <a:pt x="1174" y="909"/>
                </a:lnTo>
                <a:lnTo>
                  <a:pt x="1170" y="920"/>
                </a:lnTo>
                <a:lnTo>
                  <a:pt x="1164" y="930"/>
                </a:lnTo>
                <a:lnTo>
                  <a:pt x="1156" y="942"/>
                </a:lnTo>
                <a:lnTo>
                  <a:pt x="1148" y="952"/>
                </a:lnTo>
                <a:lnTo>
                  <a:pt x="1138" y="962"/>
                </a:lnTo>
                <a:lnTo>
                  <a:pt x="1128" y="971"/>
                </a:lnTo>
                <a:lnTo>
                  <a:pt x="1117" y="981"/>
                </a:lnTo>
                <a:lnTo>
                  <a:pt x="1104" y="989"/>
                </a:lnTo>
                <a:lnTo>
                  <a:pt x="1092" y="997"/>
                </a:lnTo>
                <a:lnTo>
                  <a:pt x="1079" y="1003"/>
                </a:lnTo>
                <a:lnTo>
                  <a:pt x="1065" y="1009"/>
                </a:lnTo>
                <a:lnTo>
                  <a:pt x="1052" y="1014"/>
                </a:lnTo>
                <a:lnTo>
                  <a:pt x="1039" y="1018"/>
                </a:lnTo>
                <a:lnTo>
                  <a:pt x="1026" y="1021"/>
                </a:lnTo>
                <a:lnTo>
                  <a:pt x="1026" y="1021"/>
                </a:lnTo>
                <a:lnTo>
                  <a:pt x="996" y="1027"/>
                </a:lnTo>
                <a:lnTo>
                  <a:pt x="967" y="1031"/>
                </a:lnTo>
                <a:lnTo>
                  <a:pt x="939" y="1034"/>
                </a:lnTo>
                <a:lnTo>
                  <a:pt x="911" y="1037"/>
                </a:lnTo>
                <a:lnTo>
                  <a:pt x="858" y="1040"/>
                </a:lnTo>
                <a:lnTo>
                  <a:pt x="810" y="1042"/>
                </a:lnTo>
                <a:lnTo>
                  <a:pt x="770" y="1042"/>
                </a:lnTo>
                <a:lnTo>
                  <a:pt x="739" y="1042"/>
                </a:lnTo>
                <a:lnTo>
                  <a:pt x="712" y="1041"/>
                </a:lnTo>
                <a:lnTo>
                  <a:pt x="712" y="1041"/>
                </a:lnTo>
                <a:lnTo>
                  <a:pt x="713" y="1048"/>
                </a:lnTo>
                <a:lnTo>
                  <a:pt x="716" y="1068"/>
                </a:lnTo>
                <a:lnTo>
                  <a:pt x="722" y="1095"/>
                </a:lnTo>
                <a:lnTo>
                  <a:pt x="725" y="1110"/>
                </a:lnTo>
                <a:lnTo>
                  <a:pt x="730" y="1126"/>
                </a:lnTo>
                <a:lnTo>
                  <a:pt x="730" y="1126"/>
                </a:lnTo>
                <a:lnTo>
                  <a:pt x="735" y="1136"/>
                </a:lnTo>
                <a:lnTo>
                  <a:pt x="741" y="1146"/>
                </a:lnTo>
                <a:lnTo>
                  <a:pt x="748" y="1155"/>
                </a:lnTo>
                <a:lnTo>
                  <a:pt x="756" y="1164"/>
                </a:lnTo>
                <a:lnTo>
                  <a:pt x="769" y="1176"/>
                </a:lnTo>
                <a:lnTo>
                  <a:pt x="774" y="1180"/>
                </a:lnTo>
                <a:lnTo>
                  <a:pt x="1163" y="1180"/>
                </a:lnTo>
                <a:lnTo>
                  <a:pt x="1266" y="1010"/>
                </a:lnTo>
                <a:close/>
                <a:moveTo>
                  <a:pt x="773" y="1398"/>
                </a:moveTo>
                <a:lnTo>
                  <a:pt x="1164" y="1398"/>
                </a:lnTo>
                <a:lnTo>
                  <a:pt x="1164" y="1398"/>
                </a:lnTo>
                <a:lnTo>
                  <a:pt x="1175" y="1365"/>
                </a:lnTo>
                <a:lnTo>
                  <a:pt x="1183" y="1339"/>
                </a:lnTo>
                <a:lnTo>
                  <a:pt x="1186" y="1328"/>
                </a:lnTo>
                <a:lnTo>
                  <a:pt x="1188" y="1319"/>
                </a:lnTo>
                <a:lnTo>
                  <a:pt x="1170" y="1256"/>
                </a:lnTo>
                <a:lnTo>
                  <a:pt x="775" y="1256"/>
                </a:lnTo>
                <a:lnTo>
                  <a:pt x="753" y="1321"/>
                </a:lnTo>
                <a:lnTo>
                  <a:pt x="773" y="1398"/>
                </a:lnTo>
                <a:close/>
                <a:moveTo>
                  <a:pt x="1164" y="1471"/>
                </a:moveTo>
                <a:lnTo>
                  <a:pt x="782" y="1471"/>
                </a:lnTo>
                <a:lnTo>
                  <a:pt x="780" y="1976"/>
                </a:lnTo>
                <a:lnTo>
                  <a:pt x="1111" y="1985"/>
                </a:lnTo>
                <a:lnTo>
                  <a:pt x="1216" y="1902"/>
                </a:lnTo>
                <a:lnTo>
                  <a:pt x="1164" y="1471"/>
                </a:lnTo>
                <a:close/>
                <a:moveTo>
                  <a:pt x="1343" y="2103"/>
                </a:moveTo>
                <a:lnTo>
                  <a:pt x="1343" y="2103"/>
                </a:lnTo>
                <a:lnTo>
                  <a:pt x="1309" y="2079"/>
                </a:lnTo>
                <a:lnTo>
                  <a:pt x="1284" y="2061"/>
                </a:lnTo>
                <a:lnTo>
                  <a:pt x="1276" y="2054"/>
                </a:lnTo>
                <a:lnTo>
                  <a:pt x="1271" y="2049"/>
                </a:lnTo>
                <a:lnTo>
                  <a:pt x="1271" y="2049"/>
                </a:lnTo>
                <a:lnTo>
                  <a:pt x="1269" y="2043"/>
                </a:lnTo>
                <a:lnTo>
                  <a:pt x="1267" y="2033"/>
                </a:lnTo>
                <a:lnTo>
                  <a:pt x="1263" y="2004"/>
                </a:lnTo>
                <a:lnTo>
                  <a:pt x="1260" y="1964"/>
                </a:lnTo>
                <a:lnTo>
                  <a:pt x="1138" y="2062"/>
                </a:lnTo>
                <a:lnTo>
                  <a:pt x="765" y="2061"/>
                </a:lnTo>
                <a:lnTo>
                  <a:pt x="765" y="2061"/>
                </a:lnTo>
                <a:lnTo>
                  <a:pt x="765" y="2062"/>
                </a:lnTo>
                <a:lnTo>
                  <a:pt x="764" y="2064"/>
                </a:lnTo>
                <a:lnTo>
                  <a:pt x="762" y="2072"/>
                </a:lnTo>
                <a:lnTo>
                  <a:pt x="760" y="2103"/>
                </a:lnTo>
                <a:lnTo>
                  <a:pt x="759" y="2147"/>
                </a:lnTo>
                <a:lnTo>
                  <a:pt x="758" y="2197"/>
                </a:lnTo>
                <a:lnTo>
                  <a:pt x="757" y="2291"/>
                </a:lnTo>
                <a:lnTo>
                  <a:pt x="757" y="2333"/>
                </a:lnTo>
                <a:lnTo>
                  <a:pt x="757" y="2333"/>
                </a:lnTo>
                <a:lnTo>
                  <a:pt x="786" y="2359"/>
                </a:lnTo>
                <a:lnTo>
                  <a:pt x="852" y="2412"/>
                </a:lnTo>
                <a:lnTo>
                  <a:pt x="888" y="2441"/>
                </a:lnTo>
                <a:lnTo>
                  <a:pt x="919" y="2465"/>
                </a:lnTo>
                <a:lnTo>
                  <a:pt x="943" y="2481"/>
                </a:lnTo>
                <a:lnTo>
                  <a:pt x="950" y="2486"/>
                </a:lnTo>
                <a:lnTo>
                  <a:pt x="952" y="2487"/>
                </a:lnTo>
                <a:lnTo>
                  <a:pt x="954" y="2487"/>
                </a:lnTo>
                <a:lnTo>
                  <a:pt x="1205" y="2170"/>
                </a:lnTo>
                <a:lnTo>
                  <a:pt x="1343" y="2103"/>
                </a:lnTo>
                <a:close/>
                <a:moveTo>
                  <a:pt x="1259" y="2225"/>
                </a:moveTo>
                <a:lnTo>
                  <a:pt x="1033" y="2515"/>
                </a:lnTo>
                <a:lnTo>
                  <a:pt x="1402" y="2669"/>
                </a:lnTo>
                <a:lnTo>
                  <a:pt x="1402" y="2669"/>
                </a:lnTo>
                <a:lnTo>
                  <a:pt x="1442" y="2647"/>
                </a:lnTo>
                <a:lnTo>
                  <a:pt x="1485" y="2624"/>
                </a:lnTo>
                <a:lnTo>
                  <a:pt x="1528" y="2599"/>
                </a:lnTo>
                <a:lnTo>
                  <a:pt x="1571" y="2573"/>
                </a:lnTo>
                <a:lnTo>
                  <a:pt x="1656" y="2521"/>
                </a:lnTo>
                <a:lnTo>
                  <a:pt x="1736" y="2471"/>
                </a:lnTo>
                <a:lnTo>
                  <a:pt x="1806" y="2426"/>
                </a:lnTo>
                <a:lnTo>
                  <a:pt x="1862" y="2389"/>
                </a:lnTo>
                <a:lnTo>
                  <a:pt x="1912" y="2356"/>
                </a:lnTo>
                <a:lnTo>
                  <a:pt x="1392" y="2160"/>
                </a:lnTo>
                <a:lnTo>
                  <a:pt x="1259" y="2225"/>
                </a:lnTo>
                <a:close/>
                <a:moveTo>
                  <a:pt x="1462" y="703"/>
                </a:moveTo>
                <a:lnTo>
                  <a:pt x="1462" y="703"/>
                </a:lnTo>
                <a:lnTo>
                  <a:pt x="1461" y="553"/>
                </a:lnTo>
                <a:lnTo>
                  <a:pt x="1461" y="448"/>
                </a:lnTo>
                <a:lnTo>
                  <a:pt x="1462" y="411"/>
                </a:lnTo>
                <a:lnTo>
                  <a:pt x="1463" y="399"/>
                </a:lnTo>
                <a:lnTo>
                  <a:pt x="1464" y="394"/>
                </a:lnTo>
                <a:lnTo>
                  <a:pt x="1464" y="394"/>
                </a:lnTo>
                <a:lnTo>
                  <a:pt x="1469" y="386"/>
                </a:lnTo>
                <a:lnTo>
                  <a:pt x="1474" y="379"/>
                </a:lnTo>
                <a:lnTo>
                  <a:pt x="1480" y="368"/>
                </a:lnTo>
                <a:lnTo>
                  <a:pt x="1480" y="368"/>
                </a:lnTo>
                <a:lnTo>
                  <a:pt x="1483" y="360"/>
                </a:lnTo>
                <a:lnTo>
                  <a:pt x="1484" y="351"/>
                </a:lnTo>
                <a:lnTo>
                  <a:pt x="1484" y="343"/>
                </a:lnTo>
                <a:lnTo>
                  <a:pt x="1483" y="333"/>
                </a:lnTo>
                <a:lnTo>
                  <a:pt x="1481" y="320"/>
                </a:lnTo>
                <a:lnTo>
                  <a:pt x="1480" y="315"/>
                </a:lnTo>
                <a:lnTo>
                  <a:pt x="1298" y="315"/>
                </a:lnTo>
                <a:lnTo>
                  <a:pt x="1298" y="315"/>
                </a:lnTo>
                <a:lnTo>
                  <a:pt x="1297" y="319"/>
                </a:lnTo>
                <a:lnTo>
                  <a:pt x="1296" y="323"/>
                </a:lnTo>
                <a:lnTo>
                  <a:pt x="1296" y="335"/>
                </a:lnTo>
                <a:lnTo>
                  <a:pt x="1297" y="348"/>
                </a:lnTo>
                <a:lnTo>
                  <a:pt x="1299" y="358"/>
                </a:lnTo>
                <a:lnTo>
                  <a:pt x="1299" y="358"/>
                </a:lnTo>
                <a:lnTo>
                  <a:pt x="1303" y="369"/>
                </a:lnTo>
                <a:lnTo>
                  <a:pt x="1309" y="380"/>
                </a:lnTo>
                <a:lnTo>
                  <a:pt x="1316" y="391"/>
                </a:lnTo>
                <a:lnTo>
                  <a:pt x="1320" y="395"/>
                </a:lnTo>
                <a:lnTo>
                  <a:pt x="1325" y="398"/>
                </a:lnTo>
                <a:lnTo>
                  <a:pt x="1325" y="703"/>
                </a:lnTo>
                <a:lnTo>
                  <a:pt x="1325" y="703"/>
                </a:lnTo>
                <a:lnTo>
                  <a:pt x="1321" y="710"/>
                </a:lnTo>
                <a:lnTo>
                  <a:pt x="1316" y="717"/>
                </a:lnTo>
                <a:lnTo>
                  <a:pt x="1311" y="727"/>
                </a:lnTo>
                <a:lnTo>
                  <a:pt x="1306" y="741"/>
                </a:lnTo>
                <a:lnTo>
                  <a:pt x="1301" y="758"/>
                </a:lnTo>
                <a:lnTo>
                  <a:pt x="1296" y="778"/>
                </a:lnTo>
                <a:lnTo>
                  <a:pt x="1292" y="802"/>
                </a:lnTo>
                <a:lnTo>
                  <a:pt x="1292" y="802"/>
                </a:lnTo>
                <a:lnTo>
                  <a:pt x="1292" y="813"/>
                </a:lnTo>
                <a:lnTo>
                  <a:pt x="1292" y="823"/>
                </a:lnTo>
                <a:lnTo>
                  <a:pt x="1293" y="833"/>
                </a:lnTo>
                <a:lnTo>
                  <a:pt x="1296" y="844"/>
                </a:lnTo>
                <a:lnTo>
                  <a:pt x="1302" y="861"/>
                </a:lnTo>
                <a:lnTo>
                  <a:pt x="1308" y="877"/>
                </a:lnTo>
                <a:lnTo>
                  <a:pt x="1315" y="891"/>
                </a:lnTo>
                <a:lnTo>
                  <a:pt x="1321" y="900"/>
                </a:lnTo>
                <a:lnTo>
                  <a:pt x="1327" y="909"/>
                </a:lnTo>
                <a:lnTo>
                  <a:pt x="1323" y="1165"/>
                </a:lnTo>
                <a:lnTo>
                  <a:pt x="1323" y="1165"/>
                </a:lnTo>
                <a:lnTo>
                  <a:pt x="1321" y="1167"/>
                </a:lnTo>
                <a:lnTo>
                  <a:pt x="1315" y="1174"/>
                </a:lnTo>
                <a:lnTo>
                  <a:pt x="1312" y="1179"/>
                </a:lnTo>
                <a:lnTo>
                  <a:pt x="1310" y="1186"/>
                </a:lnTo>
                <a:lnTo>
                  <a:pt x="1307" y="1194"/>
                </a:lnTo>
                <a:lnTo>
                  <a:pt x="1306" y="1203"/>
                </a:lnTo>
                <a:lnTo>
                  <a:pt x="1306" y="1203"/>
                </a:lnTo>
                <a:lnTo>
                  <a:pt x="1306" y="1213"/>
                </a:lnTo>
                <a:lnTo>
                  <a:pt x="1306" y="1221"/>
                </a:lnTo>
                <a:lnTo>
                  <a:pt x="1307" y="1234"/>
                </a:lnTo>
                <a:lnTo>
                  <a:pt x="1309" y="1241"/>
                </a:lnTo>
                <a:lnTo>
                  <a:pt x="1310" y="1243"/>
                </a:lnTo>
                <a:lnTo>
                  <a:pt x="1480" y="1243"/>
                </a:lnTo>
                <a:lnTo>
                  <a:pt x="1480" y="1243"/>
                </a:lnTo>
                <a:lnTo>
                  <a:pt x="1482" y="1235"/>
                </a:lnTo>
                <a:lnTo>
                  <a:pt x="1483" y="1221"/>
                </a:lnTo>
                <a:lnTo>
                  <a:pt x="1482" y="1204"/>
                </a:lnTo>
                <a:lnTo>
                  <a:pt x="1482" y="1196"/>
                </a:lnTo>
                <a:lnTo>
                  <a:pt x="1480" y="1188"/>
                </a:lnTo>
                <a:lnTo>
                  <a:pt x="1480" y="1188"/>
                </a:lnTo>
                <a:lnTo>
                  <a:pt x="1477" y="1179"/>
                </a:lnTo>
                <a:lnTo>
                  <a:pt x="1471" y="1172"/>
                </a:lnTo>
                <a:lnTo>
                  <a:pt x="1466" y="1166"/>
                </a:lnTo>
                <a:lnTo>
                  <a:pt x="1461" y="1161"/>
                </a:lnTo>
                <a:lnTo>
                  <a:pt x="1460" y="909"/>
                </a:lnTo>
                <a:lnTo>
                  <a:pt x="1460" y="909"/>
                </a:lnTo>
                <a:lnTo>
                  <a:pt x="1473" y="888"/>
                </a:lnTo>
                <a:lnTo>
                  <a:pt x="1482" y="876"/>
                </a:lnTo>
                <a:lnTo>
                  <a:pt x="1488" y="865"/>
                </a:lnTo>
                <a:lnTo>
                  <a:pt x="1494" y="852"/>
                </a:lnTo>
                <a:lnTo>
                  <a:pt x="1499" y="837"/>
                </a:lnTo>
                <a:lnTo>
                  <a:pt x="1502" y="822"/>
                </a:lnTo>
                <a:lnTo>
                  <a:pt x="1503" y="814"/>
                </a:lnTo>
                <a:lnTo>
                  <a:pt x="1503" y="806"/>
                </a:lnTo>
                <a:lnTo>
                  <a:pt x="1503" y="806"/>
                </a:lnTo>
                <a:lnTo>
                  <a:pt x="1503" y="797"/>
                </a:lnTo>
                <a:lnTo>
                  <a:pt x="1502" y="788"/>
                </a:lnTo>
                <a:lnTo>
                  <a:pt x="1498" y="773"/>
                </a:lnTo>
                <a:lnTo>
                  <a:pt x="1493" y="758"/>
                </a:lnTo>
                <a:lnTo>
                  <a:pt x="1487" y="743"/>
                </a:lnTo>
                <a:lnTo>
                  <a:pt x="1481" y="731"/>
                </a:lnTo>
                <a:lnTo>
                  <a:pt x="1473" y="720"/>
                </a:lnTo>
                <a:lnTo>
                  <a:pt x="1462" y="703"/>
                </a:lnTo>
                <a:close/>
                <a:moveTo>
                  <a:pt x="1843" y="953"/>
                </a:moveTo>
                <a:lnTo>
                  <a:pt x="2130" y="663"/>
                </a:lnTo>
                <a:lnTo>
                  <a:pt x="2130" y="663"/>
                </a:lnTo>
                <a:lnTo>
                  <a:pt x="1946" y="660"/>
                </a:lnTo>
                <a:lnTo>
                  <a:pt x="1837" y="659"/>
                </a:lnTo>
                <a:lnTo>
                  <a:pt x="1715" y="658"/>
                </a:lnTo>
                <a:lnTo>
                  <a:pt x="1715" y="658"/>
                </a:lnTo>
                <a:lnTo>
                  <a:pt x="1708" y="657"/>
                </a:lnTo>
                <a:lnTo>
                  <a:pt x="1698" y="655"/>
                </a:lnTo>
                <a:lnTo>
                  <a:pt x="1687" y="651"/>
                </a:lnTo>
                <a:lnTo>
                  <a:pt x="1676" y="646"/>
                </a:lnTo>
                <a:lnTo>
                  <a:pt x="1650" y="634"/>
                </a:lnTo>
                <a:lnTo>
                  <a:pt x="1623" y="620"/>
                </a:lnTo>
                <a:lnTo>
                  <a:pt x="1597" y="606"/>
                </a:lnTo>
                <a:lnTo>
                  <a:pt x="1576" y="596"/>
                </a:lnTo>
                <a:lnTo>
                  <a:pt x="1566" y="592"/>
                </a:lnTo>
                <a:lnTo>
                  <a:pt x="1558" y="591"/>
                </a:lnTo>
                <a:lnTo>
                  <a:pt x="1553" y="590"/>
                </a:lnTo>
                <a:lnTo>
                  <a:pt x="1551" y="591"/>
                </a:lnTo>
                <a:lnTo>
                  <a:pt x="1550" y="592"/>
                </a:lnTo>
                <a:lnTo>
                  <a:pt x="1550" y="592"/>
                </a:lnTo>
                <a:lnTo>
                  <a:pt x="1535" y="628"/>
                </a:lnTo>
                <a:lnTo>
                  <a:pt x="1514" y="681"/>
                </a:lnTo>
                <a:lnTo>
                  <a:pt x="1514" y="681"/>
                </a:lnTo>
                <a:lnTo>
                  <a:pt x="1523" y="691"/>
                </a:lnTo>
                <a:lnTo>
                  <a:pt x="1532" y="703"/>
                </a:lnTo>
                <a:lnTo>
                  <a:pt x="1542" y="719"/>
                </a:lnTo>
                <a:lnTo>
                  <a:pt x="1551" y="737"/>
                </a:lnTo>
                <a:lnTo>
                  <a:pt x="1556" y="747"/>
                </a:lnTo>
                <a:lnTo>
                  <a:pt x="1560" y="759"/>
                </a:lnTo>
                <a:lnTo>
                  <a:pt x="1563" y="770"/>
                </a:lnTo>
                <a:lnTo>
                  <a:pt x="1565" y="781"/>
                </a:lnTo>
                <a:lnTo>
                  <a:pt x="1568" y="793"/>
                </a:lnTo>
                <a:lnTo>
                  <a:pt x="1568" y="806"/>
                </a:lnTo>
                <a:lnTo>
                  <a:pt x="1568" y="806"/>
                </a:lnTo>
                <a:lnTo>
                  <a:pt x="1566" y="825"/>
                </a:lnTo>
                <a:lnTo>
                  <a:pt x="1564" y="838"/>
                </a:lnTo>
                <a:lnTo>
                  <a:pt x="1561" y="855"/>
                </a:lnTo>
                <a:lnTo>
                  <a:pt x="1558" y="864"/>
                </a:lnTo>
                <a:lnTo>
                  <a:pt x="1555" y="873"/>
                </a:lnTo>
                <a:lnTo>
                  <a:pt x="1551" y="883"/>
                </a:lnTo>
                <a:lnTo>
                  <a:pt x="1545" y="894"/>
                </a:lnTo>
                <a:lnTo>
                  <a:pt x="1539" y="903"/>
                </a:lnTo>
                <a:lnTo>
                  <a:pt x="1532" y="914"/>
                </a:lnTo>
                <a:lnTo>
                  <a:pt x="1524" y="924"/>
                </a:lnTo>
                <a:lnTo>
                  <a:pt x="1513" y="935"/>
                </a:lnTo>
                <a:lnTo>
                  <a:pt x="1513" y="935"/>
                </a:lnTo>
                <a:lnTo>
                  <a:pt x="1536" y="981"/>
                </a:lnTo>
                <a:lnTo>
                  <a:pt x="1553" y="1013"/>
                </a:lnTo>
                <a:lnTo>
                  <a:pt x="1560" y="1025"/>
                </a:lnTo>
                <a:lnTo>
                  <a:pt x="1565" y="1032"/>
                </a:lnTo>
                <a:lnTo>
                  <a:pt x="1565" y="1032"/>
                </a:lnTo>
                <a:lnTo>
                  <a:pt x="1580" y="1023"/>
                </a:lnTo>
                <a:lnTo>
                  <a:pt x="1597" y="1013"/>
                </a:lnTo>
                <a:lnTo>
                  <a:pt x="1618" y="1002"/>
                </a:lnTo>
                <a:lnTo>
                  <a:pt x="1642" y="990"/>
                </a:lnTo>
                <a:lnTo>
                  <a:pt x="1669" y="978"/>
                </a:lnTo>
                <a:lnTo>
                  <a:pt x="1696" y="968"/>
                </a:lnTo>
                <a:lnTo>
                  <a:pt x="1711" y="964"/>
                </a:lnTo>
                <a:lnTo>
                  <a:pt x="1724" y="961"/>
                </a:lnTo>
                <a:lnTo>
                  <a:pt x="1724" y="961"/>
                </a:lnTo>
                <a:lnTo>
                  <a:pt x="1737" y="959"/>
                </a:lnTo>
                <a:lnTo>
                  <a:pt x="1761" y="957"/>
                </a:lnTo>
                <a:lnTo>
                  <a:pt x="1843" y="953"/>
                </a:lnTo>
                <a:close/>
                <a:moveTo>
                  <a:pt x="3120" y="962"/>
                </a:moveTo>
                <a:lnTo>
                  <a:pt x="3486" y="484"/>
                </a:lnTo>
                <a:lnTo>
                  <a:pt x="3486" y="484"/>
                </a:lnTo>
                <a:lnTo>
                  <a:pt x="3479" y="482"/>
                </a:lnTo>
                <a:lnTo>
                  <a:pt x="3469" y="481"/>
                </a:lnTo>
                <a:lnTo>
                  <a:pt x="3458" y="480"/>
                </a:lnTo>
                <a:lnTo>
                  <a:pt x="3445" y="480"/>
                </a:lnTo>
                <a:lnTo>
                  <a:pt x="3428" y="483"/>
                </a:lnTo>
                <a:lnTo>
                  <a:pt x="3420" y="485"/>
                </a:lnTo>
                <a:lnTo>
                  <a:pt x="3412" y="488"/>
                </a:lnTo>
                <a:lnTo>
                  <a:pt x="3403" y="492"/>
                </a:lnTo>
                <a:lnTo>
                  <a:pt x="3394" y="496"/>
                </a:lnTo>
                <a:lnTo>
                  <a:pt x="3394" y="496"/>
                </a:lnTo>
                <a:lnTo>
                  <a:pt x="3385" y="502"/>
                </a:lnTo>
                <a:lnTo>
                  <a:pt x="3376" y="508"/>
                </a:lnTo>
                <a:lnTo>
                  <a:pt x="3369" y="515"/>
                </a:lnTo>
                <a:lnTo>
                  <a:pt x="3363" y="523"/>
                </a:lnTo>
                <a:lnTo>
                  <a:pt x="3358" y="532"/>
                </a:lnTo>
                <a:lnTo>
                  <a:pt x="3353" y="540"/>
                </a:lnTo>
                <a:lnTo>
                  <a:pt x="3349" y="548"/>
                </a:lnTo>
                <a:lnTo>
                  <a:pt x="3346" y="557"/>
                </a:lnTo>
                <a:lnTo>
                  <a:pt x="3341" y="574"/>
                </a:lnTo>
                <a:lnTo>
                  <a:pt x="3337" y="589"/>
                </a:lnTo>
                <a:lnTo>
                  <a:pt x="3336" y="600"/>
                </a:lnTo>
                <a:lnTo>
                  <a:pt x="3337" y="605"/>
                </a:lnTo>
                <a:lnTo>
                  <a:pt x="3338" y="608"/>
                </a:lnTo>
                <a:lnTo>
                  <a:pt x="3338" y="608"/>
                </a:lnTo>
                <a:lnTo>
                  <a:pt x="3334" y="599"/>
                </a:lnTo>
                <a:lnTo>
                  <a:pt x="3330" y="592"/>
                </a:lnTo>
                <a:lnTo>
                  <a:pt x="3325" y="585"/>
                </a:lnTo>
                <a:lnTo>
                  <a:pt x="3320" y="579"/>
                </a:lnTo>
                <a:lnTo>
                  <a:pt x="3315" y="574"/>
                </a:lnTo>
                <a:lnTo>
                  <a:pt x="3310" y="568"/>
                </a:lnTo>
                <a:lnTo>
                  <a:pt x="3304" y="564"/>
                </a:lnTo>
                <a:lnTo>
                  <a:pt x="3299" y="561"/>
                </a:lnTo>
                <a:lnTo>
                  <a:pt x="3286" y="556"/>
                </a:lnTo>
                <a:lnTo>
                  <a:pt x="3273" y="554"/>
                </a:lnTo>
                <a:lnTo>
                  <a:pt x="3261" y="553"/>
                </a:lnTo>
                <a:lnTo>
                  <a:pt x="3249" y="554"/>
                </a:lnTo>
                <a:lnTo>
                  <a:pt x="3236" y="556"/>
                </a:lnTo>
                <a:lnTo>
                  <a:pt x="3225" y="558"/>
                </a:lnTo>
                <a:lnTo>
                  <a:pt x="3214" y="562"/>
                </a:lnTo>
                <a:lnTo>
                  <a:pt x="3206" y="565"/>
                </a:lnTo>
                <a:lnTo>
                  <a:pt x="3192" y="572"/>
                </a:lnTo>
                <a:lnTo>
                  <a:pt x="3187" y="574"/>
                </a:lnTo>
                <a:lnTo>
                  <a:pt x="3187" y="574"/>
                </a:lnTo>
                <a:lnTo>
                  <a:pt x="3199" y="594"/>
                </a:lnTo>
                <a:lnTo>
                  <a:pt x="3209" y="613"/>
                </a:lnTo>
                <a:lnTo>
                  <a:pt x="3215" y="632"/>
                </a:lnTo>
                <a:lnTo>
                  <a:pt x="3219" y="647"/>
                </a:lnTo>
                <a:lnTo>
                  <a:pt x="3220" y="663"/>
                </a:lnTo>
                <a:lnTo>
                  <a:pt x="3220" y="675"/>
                </a:lnTo>
                <a:lnTo>
                  <a:pt x="3218" y="687"/>
                </a:lnTo>
                <a:lnTo>
                  <a:pt x="3214" y="696"/>
                </a:lnTo>
                <a:lnTo>
                  <a:pt x="3209" y="705"/>
                </a:lnTo>
                <a:lnTo>
                  <a:pt x="3203" y="712"/>
                </a:lnTo>
                <a:lnTo>
                  <a:pt x="3194" y="718"/>
                </a:lnTo>
                <a:lnTo>
                  <a:pt x="3186" y="722"/>
                </a:lnTo>
                <a:lnTo>
                  <a:pt x="3178" y="724"/>
                </a:lnTo>
                <a:lnTo>
                  <a:pt x="3169" y="725"/>
                </a:lnTo>
                <a:lnTo>
                  <a:pt x="3160" y="725"/>
                </a:lnTo>
                <a:lnTo>
                  <a:pt x="3150" y="724"/>
                </a:lnTo>
                <a:lnTo>
                  <a:pt x="3150" y="724"/>
                </a:lnTo>
                <a:lnTo>
                  <a:pt x="3138" y="720"/>
                </a:lnTo>
                <a:lnTo>
                  <a:pt x="3129" y="715"/>
                </a:lnTo>
                <a:lnTo>
                  <a:pt x="3121" y="709"/>
                </a:lnTo>
                <a:lnTo>
                  <a:pt x="3114" y="702"/>
                </a:lnTo>
                <a:lnTo>
                  <a:pt x="3108" y="695"/>
                </a:lnTo>
                <a:lnTo>
                  <a:pt x="3104" y="688"/>
                </a:lnTo>
                <a:lnTo>
                  <a:pt x="3100" y="680"/>
                </a:lnTo>
                <a:lnTo>
                  <a:pt x="3098" y="673"/>
                </a:lnTo>
                <a:lnTo>
                  <a:pt x="3095" y="658"/>
                </a:lnTo>
                <a:lnTo>
                  <a:pt x="3095" y="646"/>
                </a:lnTo>
                <a:lnTo>
                  <a:pt x="3095" y="638"/>
                </a:lnTo>
                <a:lnTo>
                  <a:pt x="3095" y="635"/>
                </a:lnTo>
                <a:lnTo>
                  <a:pt x="3095" y="635"/>
                </a:lnTo>
                <a:lnTo>
                  <a:pt x="3092" y="637"/>
                </a:lnTo>
                <a:lnTo>
                  <a:pt x="3084" y="643"/>
                </a:lnTo>
                <a:lnTo>
                  <a:pt x="3072" y="650"/>
                </a:lnTo>
                <a:lnTo>
                  <a:pt x="3064" y="653"/>
                </a:lnTo>
                <a:lnTo>
                  <a:pt x="3056" y="656"/>
                </a:lnTo>
                <a:lnTo>
                  <a:pt x="3047" y="658"/>
                </a:lnTo>
                <a:lnTo>
                  <a:pt x="3038" y="659"/>
                </a:lnTo>
                <a:lnTo>
                  <a:pt x="3028" y="659"/>
                </a:lnTo>
                <a:lnTo>
                  <a:pt x="3018" y="658"/>
                </a:lnTo>
                <a:lnTo>
                  <a:pt x="3008" y="655"/>
                </a:lnTo>
                <a:lnTo>
                  <a:pt x="2999" y="650"/>
                </a:lnTo>
                <a:lnTo>
                  <a:pt x="2989" y="643"/>
                </a:lnTo>
                <a:lnTo>
                  <a:pt x="2980" y="634"/>
                </a:lnTo>
                <a:lnTo>
                  <a:pt x="2980" y="634"/>
                </a:lnTo>
                <a:lnTo>
                  <a:pt x="2973" y="625"/>
                </a:lnTo>
                <a:lnTo>
                  <a:pt x="2969" y="616"/>
                </a:lnTo>
                <a:lnTo>
                  <a:pt x="2967" y="607"/>
                </a:lnTo>
                <a:lnTo>
                  <a:pt x="2968" y="598"/>
                </a:lnTo>
                <a:lnTo>
                  <a:pt x="2969" y="589"/>
                </a:lnTo>
                <a:lnTo>
                  <a:pt x="2973" y="581"/>
                </a:lnTo>
                <a:lnTo>
                  <a:pt x="2980" y="572"/>
                </a:lnTo>
                <a:lnTo>
                  <a:pt x="2987" y="564"/>
                </a:lnTo>
                <a:lnTo>
                  <a:pt x="2996" y="557"/>
                </a:lnTo>
                <a:lnTo>
                  <a:pt x="3006" y="550"/>
                </a:lnTo>
                <a:lnTo>
                  <a:pt x="3019" y="544"/>
                </a:lnTo>
                <a:lnTo>
                  <a:pt x="3033" y="540"/>
                </a:lnTo>
                <a:lnTo>
                  <a:pt x="3048" y="536"/>
                </a:lnTo>
                <a:lnTo>
                  <a:pt x="3065" y="533"/>
                </a:lnTo>
                <a:lnTo>
                  <a:pt x="3083" y="532"/>
                </a:lnTo>
                <a:lnTo>
                  <a:pt x="3102" y="531"/>
                </a:lnTo>
                <a:lnTo>
                  <a:pt x="3102" y="531"/>
                </a:lnTo>
                <a:lnTo>
                  <a:pt x="3103" y="520"/>
                </a:lnTo>
                <a:lnTo>
                  <a:pt x="3102" y="509"/>
                </a:lnTo>
                <a:lnTo>
                  <a:pt x="3099" y="494"/>
                </a:lnTo>
                <a:lnTo>
                  <a:pt x="3096" y="486"/>
                </a:lnTo>
                <a:lnTo>
                  <a:pt x="3093" y="477"/>
                </a:lnTo>
                <a:lnTo>
                  <a:pt x="3089" y="469"/>
                </a:lnTo>
                <a:lnTo>
                  <a:pt x="3084" y="460"/>
                </a:lnTo>
                <a:lnTo>
                  <a:pt x="3078" y="451"/>
                </a:lnTo>
                <a:lnTo>
                  <a:pt x="3071" y="443"/>
                </a:lnTo>
                <a:lnTo>
                  <a:pt x="3061" y="435"/>
                </a:lnTo>
                <a:lnTo>
                  <a:pt x="3051" y="426"/>
                </a:lnTo>
                <a:lnTo>
                  <a:pt x="3051" y="426"/>
                </a:lnTo>
                <a:lnTo>
                  <a:pt x="3043" y="421"/>
                </a:lnTo>
                <a:lnTo>
                  <a:pt x="3034" y="417"/>
                </a:lnTo>
                <a:lnTo>
                  <a:pt x="3024" y="415"/>
                </a:lnTo>
                <a:lnTo>
                  <a:pt x="3014" y="413"/>
                </a:lnTo>
                <a:lnTo>
                  <a:pt x="3004" y="412"/>
                </a:lnTo>
                <a:lnTo>
                  <a:pt x="2995" y="412"/>
                </a:lnTo>
                <a:lnTo>
                  <a:pt x="2977" y="414"/>
                </a:lnTo>
                <a:lnTo>
                  <a:pt x="2960" y="418"/>
                </a:lnTo>
                <a:lnTo>
                  <a:pt x="2947" y="421"/>
                </a:lnTo>
                <a:lnTo>
                  <a:pt x="2936" y="425"/>
                </a:lnTo>
                <a:lnTo>
                  <a:pt x="2936" y="425"/>
                </a:lnTo>
                <a:lnTo>
                  <a:pt x="2943" y="421"/>
                </a:lnTo>
                <a:lnTo>
                  <a:pt x="2951" y="415"/>
                </a:lnTo>
                <a:lnTo>
                  <a:pt x="2960" y="408"/>
                </a:lnTo>
                <a:lnTo>
                  <a:pt x="2970" y="397"/>
                </a:lnTo>
                <a:lnTo>
                  <a:pt x="2980" y="384"/>
                </a:lnTo>
                <a:lnTo>
                  <a:pt x="2984" y="376"/>
                </a:lnTo>
                <a:lnTo>
                  <a:pt x="2988" y="369"/>
                </a:lnTo>
                <a:lnTo>
                  <a:pt x="2991" y="360"/>
                </a:lnTo>
                <a:lnTo>
                  <a:pt x="2993" y="351"/>
                </a:lnTo>
                <a:lnTo>
                  <a:pt x="2993" y="351"/>
                </a:lnTo>
                <a:lnTo>
                  <a:pt x="2995" y="336"/>
                </a:lnTo>
                <a:lnTo>
                  <a:pt x="2994" y="320"/>
                </a:lnTo>
                <a:lnTo>
                  <a:pt x="2992" y="303"/>
                </a:lnTo>
                <a:lnTo>
                  <a:pt x="2988" y="285"/>
                </a:lnTo>
                <a:lnTo>
                  <a:pt x="2981" y="267"/>
                </a:lnTo>
                <a:lnTo>
                  <a:pt x="2972" y="249"/>
                </a:lnTo>
                <a:lnTo>
                  <a:pt x="2961" y="232"/>
                </a:lnTo>
                <a:lnTo>
                  <a:pt x="2955" y="223"/>
                </a:lnTo>
                <a:lnTo>
                  <a:pt x="2948" y="216"/>
                </a:lnTo>
                <a:lnTo>
                  <a:pt x="2947" y="214"/>
                </a:lnTo>
                <a:lnTo>
                  <a:pt x="2944" y="214"/>
                </a:lnTo>
                <a:lnTo>
                  <a:pt x="2944" y="214"/>
                </a:lnTo>
                <a:lnTo>
                  <a:pt x="2934" y="214"/>
                </a:lnTo>
                <a:lnTo>
                  <a:pt x="2923" y="215"/>
                </a:lnTo>
                <a:lnTo>
                  <a:pt x="2903" y="219"/>
                </a:lnTo>
                <a:lnTo>
                  <a:pt x="2885" y="224"/>
                </a:lnTo>
                <a:lnTo>
                  <a:pt x="2866" y="232"/>
                </a:lnTo>
                <a:lnTo>
                  <a:pt x="2851" y="240"/>
                </a:lnTo>
                <a:lnTo>
                  <a:pt x="2836" y="250"/>
                </a:lnTo>
                <a:lnTo>
                  <a:pt x="2824" y="261"/>
                </a:lnTo>
                <a:lnTo>
                  <a:pt x="2814" y="272"/>
                </a:lnTo>
                <a:lnTo>
                  <a:pt x="2814" y="272"/>
                </a:lnTo>
                <a:lnTo>
                  <a:pt x="2809" y="280"/>
                </a:lnTo>
                <a:lnTo>
                  <a:pt x="2805" y="288"/>
                </a:lnTo>
                <a:lnTo>
                  <a:pt x="2802" y="297"/>
                </a:lnTo>
                <a:lnTo>
                  <a:pt x="2799" y="305"/>
                </a:lnTo>
                <a:lnTo>
                  <a:pt x="2796" y="320"/>
                </a:lnTo>
                <a:lnTo>
                  <a:pt x="2795" y="334"/>
                </a:lnTo>
                <a:lnTo>
                  <a:pt x="2795" y="347"/>
                </a:lnTo>
                <a:lnTo>
                  <a:pt x="2796" y="357"/>
                </a:lnTo>
                <a:lnTo>
                  <a:pt x="2798" y="365"/>
                </a:lnTo>
                <a:lnTo>
                  <a:pt x="2798" y="365"/>
                </a:lnTo>
                <a:lnTo>
                  <a:pt x="2792" y="354"/>
                </a:lnTo>
                <a:lnTo>
                  <a:pt x="2787" y="341"/>
                </a:lnTo>
                <a:lnTo>
                  <a:pt x="2778" y="327"/>
                </a:lnTo>
                <a:lnTo>
                  <a:pt x="2767" y="313"/>
                </a:lnTo>
                <a:lnTo>
                  <a:pt x="2761" y="306"/>
                </a:lnTo>
                <a:lnTo>
                  <a:pt x="2754" y="299"/>
                </a:lnTo>
                <a:lnTo>
                  <a:pt x="2746" y="292"/>
                </a:lnTo>
                <a:lnTo>
                  <a:pt x="2737" y="287"/>
                </a:lnTo>
                <a:lnTo>
                  <a:pt x="2729" y="283"/>
                </a:lnTo>
                <a:lnTo>
                  <a:pt x="2719" y="281"/>
                </a:lnTo>
                <a:lnTo>
                  <a:pt x="2719" y="281"/>
                </a:lnTo>
                <a:lnTo>
                  <a:pt x="2707" y="278"/>
                </a:lnTo>
                <a:lnTo>
                  <a:pt x="2694" y="278"/>
                </a:lnTo>
                <a:lnTo>
                  <a:pt x="2683" y="278"/>
                </a:lnTo>
                <a:lnTo>
                  <a:pt x="2672" y="279"/>
                </a:lnTo>
                <a:lnTo>
                  <a:pt x="2663" y="281"/>
                </a:lnTo>
                <a:lnTo>
                  <a:pt x="2653" y="284"/>
                </a:lnTo>
                <a:lnTo>
                  <a:pt x="2644" y="287"/>
                </a:lnTo>
                <a:lnTo>
                  <a:pt x="2637" y="291"/>
                </a:lnTo>
                <a:lnTo>
                  <a:pt x="2624" y="300"/>
                </a:lnTo>
                <a:lnTo>
                  <a:pt x="2615" y="307"/>
                </a:lnTo>
                <a:lnTo>
                  <a:pt x="2607" y="314"/>
                </a:lnTo>
                <a:lnTo>
                  <a:pt x="2607" y="314"/>
                </a:lnTo>
                <a:lnTo>
                  <a:pt x="2621" y="328"/>
                </a:lnTo>
                <a:lnTo>
                  <a:pt x="2632" y="343"/>
                </a:lnTo>
                <a:lnTo>
                  <a:pt x="2641" y="357"/>
                </a:lnTo>
                <a:lnTo>
                  <a:pt x="2648" y="371"/>
                </a:lnTo>
                <a:lnTo>
                  <a:pt x="2654" y="384"/>
                </a:lnTo>
                <a:lnTo>
                  <a:pt x="2659" y="398"/>
                </a:lnTo>
                <a:lnTo>
                  <a:pt x="2661" y="410"/>
                </a:lnTo>
                <a:lnTo>
                  <a:pt x="2662" y="421"/>
                </a:lnTo>
                <a:lnTo>
                  <a:pt x="2661" y="432"/>
                </a:lnTo>
                <a:lnTo>
                  <a:pt x="2659" y="442"/>
                </a:lnTo>
                <a:lnTo>
                  <a:pt x="2654" y="451"/>
                </a:lnTo>
                <a:lnTo>
                  <a:pt x="2649" y="458"/>
                </a:lnTo>
                <a:lnTo>
                  <a:pt x="2642" y="464"/>
                </a:lnTo>
                <a:lnTo>
                  <a:pt x="2635" y="469"/>
                </a:lnTo>
                <a:lnTo>
                  <a:pt x="2626" y="472"/>
                </a:lnTo>
                <a:lnTo>
                  <a:pt x="2616" y="473"/>
                </a:lnTo>
                <a:lnTo>
                  <a:pt x="2616" y="473"/>
                </a:lnTo>
                <a:lnTo>
                  <a:pt x="2601" y="473"/>
                </a:lnTo>
                <a:lnTo>
                  <a:pt x="2590" y="471"/>
                </a:lnTo>
                <a:lnTo>
                  <a:pt x="2580" y="467"/>
                </a:lnTo>
                <a:lnTo>
                  <a:pt x="2571" y="462"/>
                </a:lnTo>
                <a:lnTo>
                  <a:pt x="2562" y="456"/>
                </a:lnTo>
                <a:lnTo>
                  <a:pt x="2556" y="449"/>
                </a:lnTo>
                <a:lnTo>
                  <a:pt x="2551" y="441"/>
                </a:lnTo>
                <a:lnTo>
                  <a:pt x="2547" y="432"/>
                </a:lnTo>
                <a:lnTo>
                  <a:pt x="2543" y="424"/>
                </a:lnTo>
                <a:lnTo>
                  <a:pt x="2541" y="417"/>
                </a:lnTo>
                <a:lnTo>
                  <a:pt x="2538" y="403"/>
                </a:lnTo>
                <a:lnTo>
                  <a:pt x="2536" y="393"/>
                </a:lnTo>
                <a:lnTo>
                  <a:pt x="2536" y="390"/>
                </a:lnTo>
                <a:lnTo>
                  <a:pt x="2536" y="390"/>
                </a:lnTo>
                <a:lnTo>
                  <a:pt x="2534" y="392"/>
                </a:lnTo>
                <a:lnTo>
                  <a:pt x="2528" y="398"/>
                </a:lnTo>
                <a:lnTo>
                  <a:pt x="2518" y="405"/>
                </a:lnTo>
                <a:lnTo>
                  <a:pt x="2506" y="413"/>
                </a:lnTo>
                <a:lnTo>
                  <a:pt x="2499" y="416"/>
                </a:lnTo>
                <a:lnTo>
                  <a:pt x="2491" y="419"/>
                </a:lnTo>
                <a:lnTo>
                  <a:pt x="2483" y="420"/>
                </a:lnTo>
                <a:lnTo>
                  <a:pt x="2473" y="421"/>
                </a:lnTo>
                <a:lnTo>
                  <a:pt x="2464" y="421"/>
                </a:lnTo>
                <a:lnTo>
                  <a:pt x="2454" y="419"/>
                </a:lnTo>
                <a:lnTo>
                  <a:pt x="2444" y="415"/>
                </a:lnTo>
                <a:lnTo>
                  <a:pt x="2434" y="409"/>
                </a:lnTo>
                <a:lnTo>
                  <a:pt x="2434" y="409"/>
                </a:lnTo>
                <a:lnTo>
                  <a:pt x="2426" y="404"/>
                </a:lnTo>
                <a:lnTo>
                  <a:pt x="2419" y="397"/>
                </a:lnTo>
                <a:lnTo>
                  <a:pt x="2414" y="390"/>
                </a:lnTo>
                <a:lnTo>
                  <a:pt x="2410" y="381"/>
                </a:lnTo>
                <a:lnTo>
                  <a:pt x="2408" y="372"/>
                </a:lnTo>
                <a:lnTo>
                  <a:pt x="2407" y="363"/>
                </a:lnTo>
                <a:lnTo>
                  <a:pt x="2407" y="354"/>
                </a:lnTo>
                <a:lnTo>
                  <a:pt x="2410" y="345"/>
                </a:lnTo>
                <a:lnTo>
                  <a:pt x="2415" y="334"/>
                </a:lnTo>
                <a:lnTo>
                  <a:pt x="2421" y="325"/>
                </a:lnTo>
                <a:lnTo>
                  <a:pt x="2432" y="316"/>
                </a:lnTo>
                <a:lnTo>
                  <a:pt x="2443" y="308"/>
                </a:lnTo>
                <a:lnTo>
                  <a:pt x="2457" y="300"/>
                </a:lnTo>
                <a:lnTo>
                  <a:pt x="2474" y="292"/>
                </a:lnTo>
                <a:lnTo>
                  <a:pt x="2495" y="286"/>
                </a:lnTo>
                <a:lnTo>
                  <a:pt x="2518" y="280"/>
                </a:lnTo>
                <a:lnTo>
                  <a:pt x="2518" y="280"/>
                </a:lnTo>
                <a:lnTo>
                  <a:pt x="2517" y="275"/>
                </a:lnTo>
                <a:lnTo>
                  <a:pt x="2512" y="262"/>
                </a:lnTo>
                <a:lnTo>
                  <a:pt x="2509" y="253"/>
                </a:lnTo>
                <a:lnTo>
                  <a:pt x="2504" y="242"/>
                </a:lnTo>
                <a:lnTo>
                  <a:pt x="2499" y="232"/>
                </a:lnTo>
                <a:lnTo>
                  <a:pt x="2492" y="222"/>
                </a:lnTo>
                <a:lnTo>
                  <a:pt x="2484" y="213"/>
                </a:lnTo>
                <a:lnTo>
                  <a:pt x="2474" y="203"/>
                </a:lnTo>
                <a:lnTo>
                  <a:pt x="2464" y="196"/>
                </a:lnTo>
                <a:lnTo>
                  <a:pt x="2452" y="190"/>
                </a:lnTo>
                <a:lnTo>
                  <a:pt x="2446" y="188"/>
                </a:lnTo>
                <a:lnTo>
                  <a:pt x="2440" y="187"/>
                </a:lnTo>
                <a:lnTo>
                  <a:pt x="2433" y="186"/>
                </a:lnTo>
                <a:lnTo>
                  <a:pt x="2424" y="185"/>
                </a:lnTo>
                <a:lnTo>
                  <a:pt x="2417" y="186"/>
                </a:lnTo>
                <a:lnTo>
                  <a:pt x="2408" y="187"/>
                </a:lnTo>
                <a:lnTo>
                  <a:pt x="2400" y="190"/>
                </a:lnTo>
                <a:lnTo>
                  <a:pt x="2391" y="193"/>
                </a:lnTo>
                <a:lnTo>
                  <a:pt x="2391" y="193"/>
                </a:lnTo>
                <a:lnTo>
                  <a:pt x="2394" y="191"/>
                </a:lnTo>
                <a:lnTo>
                  <a:pt x="2398" y="188"/>
                </a:lnTo>
                <a:lnTo>
                  <a:pt x="2406" y="180"/>
                </a:lnTo>
                <a:lnTo>
                  <a:pt x="2415" y="168"/>
                </a:lnTo>
                <a:lnTo>
                  <a:pt x="2423" y="153"/>
                </a:lnTo>
                <a:lnTo>
                  <a:pt x="2427" y="144"/>
                </a:lnTo>
                <a:lnTo>
                  <a:pt x="2432" y="136"/>
                </a:lnTo>
                <a:lnTo>
                  <a:pt x="2435" y="127"/>
                </a:lnTo>
                <a:lnTo>
                  <a:pt x="2437" y="117"/>
                </a:lnTo>
                <a:lnTo>
                  <a:pt x="2438" y="106"/>
                </a:lnTo>
                <a:lnTo>
                  <a:pt x="2439" y="97"/>
                </a:lnTo>
                <a:lnTo>
                  <a:pt x="2438" y="86"/>
                </a:lnTo>
                <a:lnTo>
                  <a:pt x="2436" y="76"/>
                </a:lnTo>
                <a:lnTo>
                  <a:pt x="2436" y="76"/>
                </a:lnTo>
                <a:lnTo>
                  <a:pt x="2434" y="66"/>
                </a:lnTo>
                <a:lnTo>
                  <a:pt x="2429" y="57"/>
                </a:lnTo>
                <a:lnTo>
                  <a:pt x="2426" y="49"/>
                </a:lnTo>
                <a:lnTo>
                  <a:pt x="2422" y="41"/>
                </a:lnTo>
                <a:lnTo>
                  <a:pt x="2413" y="28"/>
                </a:lnTo>
                <a:lnTo>
                  <a:pt x="2404" y="17"/>
                </a:lnTo>
                <a:lnTo>
                  <a:pt x="2396" y="9"/>
                </a:lnTo>
                <a:lnTo>
                  <a:pt x="2389" y="4"/>
                </a:lnTo>
                <a:lnTo>
                  <a:pt x="2382" y="0"/>
                </a:lnTo>
                <a:lnTo>
                  <a:pt x="2279" y="593"/>
                </a:lnTo>
                <a:lnTo>
                  <a:pt x="2548" y="712"/>
                </a:lnTo>
                <a:lnTo>
                  <a:pt x="2548" y="712"/>
                </a:lnTo>
                <a:lnTo>
                  <a:pt x="2572" y="693"/>
                </a:lnTo>
                <a:lnTo>
                  <a:pt x="2594" y="677"/>
                </a:lnTo>
                <a:lnTo>
                  <a:pt x="2615" y="665"/>
                </a:lnTo>
                <a:lnTo>
                  <a:pt x="2633" y="656"/>
                </a:lnTo>
                <a:lnTo>
                  <a:pt x="2633" y="656"/>
                </a:lnTo>
                <a:lnTo>
                  <a:pt x="2646" y="650"/>
                </a:lnTo>
                <a:lnTo>
                  <a:pt x="2661" y="646"/>
                </a:lnTo>
                <a:lnTo>
                  <a:pt x="2675" y="642"/>
                </a:lnTo>
                <a:lnTo>
                  <a:pt x="2688" y="639"/>
                </a:lnTo>
                <a:lnTo>
                  <a:pt x="2702" y="637"/>
                </a:lnTo>
                <a:lnTo>
                  <a:pt x="2716" y="636"/>
                </a:lnTo>
                <a:lnTo>
                  <a:pt x="2729" y="635"/>
                </a:lnTo>
                <a:lnTo>
                  <a:pt x="2743" y="635"/>
                </a:lnTo>
                <a:lnTo>
                  <a:pt x="2757" y="636"/>
                </a:lnTo>
                <a:lnTo>
                  <a:pt x="2770" y="638"/>
                </a:lnTo>
                <a:lnTo>
                  <a:pt x="2783" y="640"/>
                </a:lnTo>
                <a:lnTo>
                  <a:pt x="2796" y="643"/>
                </a:lnTo>
                <a:lnTo>
                  <a:pt x="2821" y="650"/>
                </a:lnTo>
                <a:lnTo>
                  <a:pt x="2845" y="658"/>
                </a:lnTo>
                <a:lnTo>
                  <a:pt x="2845" y="658"/>
                </a:lnTo>
                <a:lnTo>
                  <a:pt x="2861" y="667"/>
                </a:lnTo>
                <a:lnTo>
                  <a:pt x="2875" y="675"/>
                </a:lnTo>
                <a:lnTo>
                  <a:pt x="2889" y="683"/>
                </a:lnTo>
                <a:lnTo>
                  <a:pt x="2900" y="691"/>
                </a:lnTo>
                <a:lnTo>
                  <a:pt x="2910" y="699"/>
                </a:lnTo>
                <a:lnTo>
                  <a:pt x="2918" y="709"/>
                </a:lnTo>
                <a:lnTo>
                  <a:pt x="2925" y="717"/>
                </a:lnTo>
                <a:lnTo>
                  <a:pt x="2932" y="726"/>
                </a:lnTo>
                <a:lnTo>
                  <a:pt x="2937" y="735"/>
                </a:lnTo>
                <a:lnTo>
                  <a:pt x="2941" y="743"/>
                </a:lnTo>
                <a:lnTo>
                  <a:pt x="2944" y="753"/>
                </a:lnTo>
                <a:lnTo>
                  <a:pt x="2947" y="761"/>
                </a:lnTo>
                <a:lnTo>
                  <a:pt x="2950" y="778"/>
                </a:lnTo>
                <a:lnTo>
                  <a:pt x="2952" y="793"/>
                </a:lnTo>
                <a:lnTo>
                  <a:pt x="2952" y="793"/>
                </a:lnTo>
                <a:lnTo>
                  <a:pt x="2951" y="804"/>
                </a:lnTo>
                <a:lnTo>
                  <a:pt x="2949" y="815"/>
                </a:lnTo>
                <a:lnTo>
                  <a:pt x="2946" y="827"/>
                </a:lnTo>
                <a:lnTo>
                  <a:pt x="2942" y="839"/>
                </a:lnTo>
                <a:lnTo>
                  <a:pt x="2933" y="863"/>
                </a:lnTo>
                <a:lnTo>
                  <a:pt x="2925" y="877"/>
                </a:lnTo>
                <a:lnTo>
                  <a:pt x="3120" y="962"/>
                </a:lnTo>
                <a:close/>
                <a:moveTo>
                  <a:pt x="4480" y="887"/>
                </a:moveTo>
                <a:lnTo>
                  <a:pt x="4715" y="773"/>
                </a:lnTo>
                <a:lnTo>
                  <a:pt x="4477" y="674"/>
                </a:lnTo>
                <a:lnTo>
                  <a:pt x="4477" y="674"/>
                </a:lnTo>
                <a:lnTo>
                  <a:pt x="4404" y="675"/>
                </a:lnTo>
                <a:lnTo>
                  <a:pt x="4312" y="676"/>
                </a:lnTo>
                <a:lnTo>
                  <a:pt x="4201" y="675"/>
                </a:lnTo>
                <a:lnTo>
                  <a:pt x="4076" y="673"/>
                </a:lnTo>
                <a:lnTo>
                  <a:pt x="3783" y="667"/>
                </a:lnTo>
                <a:lnTo>
                  <a:pt x="3449" y="660"/>
                </a:lnTo>
                <a:lnTo>
                  <a:pt x="3252" y="916"/>
                </a:lnTo>
                <a:lnTo>
                  <a:pt x="3252" y="916"/>
                </a:lnTo>
                <a:lnTo>
                  <a:pt x="3986" y="900"/>
                </a:lnTo>
                <a:lnTo>
                  <a:pt x="4276" y="894"/>
                </a:lnTo>
                <a:lnTo>
                  <a:pt x="4480" y="887"/>
                </a:lnTo>
                <a:close/>
                <a:moveTo>
                  <a:pt x="4171" y="2139"/>
                </a:moveTo>
                <a:lnTo>
                  <a:pt x="4171" y="2139"/>
                </a:lnTo>
                <a:lnTo>
                  <a:pt x="4105" y="2106"/>
                </a:lnTo>
                <a:lnTo>
                  <a:pt x="4042" y="2073"/>
                </a:lnTo>
                <a:lnTo>
                  <a:pt x="3983" y="2042"/>
                </a:lnTo>
                <a:lnTo>
                  <a:pt x="3954" y="2025"/>
                </a:lnTo>
                <a:lnTo>
                  <a:pt x="3926" y="2008"/>
                </a:lnTo>
                <a:lnTo>
                  <a:pt x="3900" y="1991"/>
                </a:lnTo>
                <a:lnTo>
                  <a:pt x="3875" y="1973"/>
                </a:lnTo>
                <a:lnTo>
                  <a:pt x="3852" y="1954"/>
                </a:lnTo>
                <a:lnTo>
                  <a:pt x="3829" y="1934"/>
                </a:lnTo>
                <a:lnTo>
                  <a:pt x="3809" y="1914"/>
                </a:lnTo>
                <a:lnTo>
                  <a:pt x="3789" y="1893"/>
                </a:lnTo>
                <a:lnTo>
                  <a:pt x="3772" y="1869"/>
                </a:lnTo>
                <a:lnTo>
                  <a:pt x="3756" y="1845"/>
                </a:lnTo>
                <a:lnTo>
                  <a:pt x="3756" y="1845"/>
                </a:lnTo>
                <a:lnTo>
                  <a:pt x="3750" y="1832"/>
                </a:lnTo>
                <a:lnTo>
                  <a:pt x="3743" y="1819"/>
                </a:lnTo>
                <a:lnTo>
                  <a:pt x="3738" y="1805"/>
                </a:lnTo>
                <a:lnTo>
                  <a:pt x="3733" y="1790"/>
                </a:lnTo>
                <a:lnTo>
                  <a:pt x="3729" y="1775"/>
                </a:lnTo>
                <a:lnTo>
                  <a:pt x="3726" y="1760"/>
                </a:lnTo>
                <a:lnTo>
                  <a:pt x="3723" y="1743"/>
                </a:lnTo>
                <a:lnTo>
                  <a:pt x="3721" y="1727"/>
                </a:lnTo>
                <a:lnTo>
                  <a:pt x="3720" y="1711"/>
                </a:lnTo>
                <a:lnTo>
                  <a:pt x="3719" y="1693"/>
                </a:lnTo>
                <a:lnTo>
                  <a:pt x="3719" y="1677"/>
                </a:lnTo>
                <a:lnTo>
                  <a:pt x="3720" y="1659"/>
                </a:lnTo>
                <a:lnTo>
                  <a:pt x="3721" y="1641"/>
                </a:lnTo>
                <a:lnTo>
                  <a:pt x="3724" y="1624"/>
                </a:lnTo>
                <a:lnTo>
                  <a:pt x="3726" y="1606"/>
                </a:lnTo>
                <a:lnTo>
                  <a:pt x="3730" y="1589"/>
                </a:lnTo>
                <a:lnTo>
                  <a:pt x="3734" y="1571"/>
                </a:lnTo>
                <a:lnTo>
                  <a:pt x="3740" y="1554"/>
                </a:lnTo>
                <a:lnTo>
                  <a:pt x="3745" y="1537"/>
                </a:lnTo>
                <a:lnTo>
                  <a:pt x="3753" y="1519"/>
                </a:lnTo>
                <a:lnTo>
                  <a:pt x="3761" y="1503"/>
                </a:lnTo>
                <a:lnTo>
                  <a:pt x="3769" y="1487"/>
                </a:lnTo>
                <a:lnTo>
                  <a:pt x="3778" y="1470"/>
                </a:lnTo>
                <a:lnTo>
                  <a:pt x="3788" y="1454"/>
                </a:lnTo>
                <a:lnTo>
                  <a:pt x="3800" y="1439"/>
                </a:lnTo>
                <a:lnTo>
                  <a:pt x="3812" y="1424"/>
                </a:lnTo>
                <a:lnTo>
                  <a:pt x="3824" y="1410"/>
                </a:lnTo>
                <a:lnTo>
                  <a:pt x="3839" y="1396"/>
                </a:lnTo>
                <a:lnTo>
                  <a:pt x="3853" y="1382"/>
                </a:lnTo>
                <a:lnTo>
                  <a:pt x="3868" y="1370"/>
                </a:lnTo>
                <a:lnTo>
                  <a:pt x="3885" y="1358"/>
                </a:lnTo>
                <a:lnTo>
                  <a:pt x="3902" y="1347"/>
                </a:lnTo>
                <a:lnTo>
                  <a:pt x="3902" y="1347"/>
                </a:lnTo>
                <a:lnTo>
                  <a:pt x="3910" y="1355"/>
                </a:lnTo>
                <a:lnTo>
                  <a:pt x="3917" y="1363"/>
                </a:lnTo>
                <a:lnTo>
                  <a:pt x="3922" y="1370"/>
                </a:lnTo>
                <a:lnTo>
                  <a:pt x="3927" y="1378"/>
                </a:lnTo>
                <a:lnTo>
                  <a:pt x="3936" y="1394"/>
                </a:lnTo>
                <a:lnTo>
                  <a:pt x="3941" y="1408"/>
                </a:lnTo>
                <a:lnTo>
                  <a:pt x="3944" y="1420"/>
                </a:lnTo>
                <a:lnTo>
                  <a:pt x="3946" y="1429"/>
                </a:lnTo>
                <a:lnTo>
                  <a:pt x="3946" y="1438"/>
                </a:lnTo>
                <a:lnTo>
                  <a:pt x="3946" y="1438"/>
                </a:lnTo>
                <a:lnTo>
                  <a:pt x="3966" y="1438"/>
                </a:lnTo>
                <a:lnTo>
                  <a:pt x="3991" y="1438"/>
                </a:lnTo>
                <a:lnTo>
                  <a:pt x="4044" y="1434"/>
                </a:lnTo>
                <a:lnTo>
                  <a:pt x="4098" y="1432"/>
                </a:lnTo>
                <a:lnTo>
                  <a:pt x="4123" y="1431"/>
                </a:lnTo>
                <a:lnTo>
                  <a:pt x="4143" y="1431"/>
                </a:lnTo>
                <a:lnTo>
                  <a:pt x="4143" y="1431"/>
                </a:lnTo>
                <a:lnTo>
                  <a:pt x="4144" y="1417"/>
                </a:lnTo>
                <a:lnTo>
                  <a:pt x="4144" y="1400"/>
                </a:lnTo>
                <a:lnTo>
                  <a:pt x="4143" y="1382"/>
                </a:lnTo>
                <a:lnTo>
                  <a:pt x="4141" y="1364"/>
                </a:lnTo>
                <a:lnTo>
                  <a:pt x="4138" y="1344"/>
                </a:lnTo>
                <a:lnTo>
                  <a:pt x="4133" y="1325"/>
                </a:lnTo>
                <a:lnTo>
                  <a:pt x="4126" y="1307"/>
                </a:lnTo>
                <a:lnTo>
                  <a:pt x="4121" y="1297"/>
                </a:lnTo>
                <a:lnTo>
                  <a:pt x="4116" y="1288"/>
                </a:lnTo>
                <a:lnTo>
                  <a:pt x="4116" y="1288"/>
                </a:lnTo>
                <a:lnTo>
                  <a:pt x="4134" y="1302"/>
                </a:lnTo>
                <a:lnTo>
                  <a:pt x="4150" y="1315"/>
                </a:lnTo>
                <a:lnTo>
                  <a:pt x="4165" y="1328"/>
                </a:lnTo>
                <a:lnTo>
                  <a:pt x="4172" y="1335"/>
                </a:lnTo>
                <a:lnTo>
                  <a:pt x="4178" y="1343"/>
                </a:lnTo>
                <a:lnTo>
                  <a:pt x="4184" y="1352"/>
                </a:lnTo>
                <a:lnTo>
                  <a:pt x="4189" y="1361"/>
                </a:lnTo>
                <a:lnTo>
                  <a:pt x="4194" y="1370"/>
                </a:lnTo>
                <a:lnTo>
                  <a:pt x="4198" y="1380"/>
                </a:lnTo>
                <a:lnTo>
                  <a:pt x="4203" y="1392"/>
                </a:lnTo>
                <a:lnTo>
                  <a:pt x="4206" y="1404"/>
                </a:lnTo>
                <a:lnTo>
                  <a:pt x="4209" y="1417"/>
                </a:lnTo>
                <a:lnTo>
                  <a:pt x="4212" y="1431"/>
                </a:lnTo>
                <a:lnTo>
                  <a:pt x="4212" y="1431"/>
                </a:lnTo>
                <a:lnTo>
                  <a:pt x="4390" y="1438"/>
                </a:lnTo>
                <a:lnTo>
                  <a:pt x="4390" y="1438"/>
                </a:lnTo>
                <a:lnTo>
                  <a:pt x="4390" y="1421"/>
                </a:lnTo>
                <a:lnTo>
                  <a:pt x="4389" y="1406"/>
                </a:lnTo>
                <a:lnTo>
                  <a:pt x="4386" y="1391"/>
                </a:lnTo>
                <a:lnTo>
                  <a:pt x="4381" y="1376"/>
                </a:lnTo>
                <a:lnTo>
                  <a:pt x="4376" y="1363"/>
                </a:lnTo>
                <a:lnTo>
                  <a:pt x="4370" y="1350"/>
                </a:lnTo>
                <a:lnTo>
                  <a:pt x="4362" y="1338"/>
                </a:lnTo>
                <a:lnTo>
                  <a:pt x="4353" y="1326"/>
                </a:lnTo>
                <a:lnTo>
                  <a:pt x="4353" y="1326"/>
                </a:lnTo>
                <a:lnTo>
                  <a:pt x="4370" y="1334"/>
                </a:lnTo>
                <a:lnTo>
                  <a:pt x="4388" y="1342"/>
                </a:lnTo>
                <a:lnTo>
                  <a:pt x="4403" y="1352"/>
                </a:lnTo>
                <a:lnTo>
                  <a:pt x="4418" y="1361"/>
                </a:lnTo>
                <a:lnTo>
                  <a:pt x="4433" y="1371"/>
                </a:lnTo>
                <a:lnTo>
                  <a:pt x="4447" y="1381"/>
                </a:lnTo>
                <a:lnTo>
                  <a:pt x="4459" y="1392"/>
                </a:lnTo>
                <a:lnTo>
                  <a:pt x="4471" y="1403"/>
                </a:lnTo>
                <a:lnTo>
                  <a:pt x="4483" y="1414"/>
                </a:lnTo>
                <a:lnTo>
                  <a:pt x="4494" y="1426"/>
                </a:lnTo>
                <a:lnTo>
                  <a:pt x="4504" y="1439"/>
                </a:lnTo>
                <a:lnTo>
                  <a:pt x="4513" y="1451"/>
                </a:lnTo>
                <a:lnTo>
                  <a:pt x="4522" y="1463"/>
                </a:lnTo>
                <a:lnTo>
                  <a:pt x="4530" y="1475"/>
                </a:lnTo>
                <a:lnTo>
                  <a:pt x="4544" y="1501"/>
                </a:lnTo>
                <a:lnTo>
                  <a:pt x="4556" y="1526"/>
                </a:lnTo>
                <a:lnTo>
                  <a:pt x="4567" y="1551"/>
                </a:lnTo>
                <a:lnTo>
                  <a:pt x="4574" y="1577"/>
                </a:lnTo>
                <a:lnTo>
                  <a:pt x="4580" y="1600"/>
                </a:lnTo>
                <a:lnTo>
                  <a:pt x="4584" y="1624"/>
                </a:lnTo>
                <a:lnTo>
                  <a:pt x="4587" y="1646"/>
                </a:lnTo>
                <a:lnTo>
                  <a:pt x="4588" y="1667"/>
                </a:lnTo>
                <a:lnTo>
                  <a:pt x="4588" y="1685"/>
                </a:lnTo>
                <a:lnTo>
                  <a:pt x="4588" y="1685"/>
                </a:lnTo>
                <a:lnTo>
                  <a:pt x="4588" y="1711"/>
                </a:lnTo>
                <a:lnTo>
                  <a:pt x="4587" y="1737"/>
                </a:lnTo>
                <a:lnTo>
                  <a:pt x="4583" y="1762"/>
                </a:lnTo>
                <a:lnTo>
                  <a:pt x="4578" y="1787"/>
                </a:lnTo>
                <a:lnTo>
                  <a:pt x="4571" y="1811"/>
                </a:lnTo>
                <a:lnTo>
                  <a:pt x="4562" y="1834"/>
                </a:lnTo>
                <a:lnTo>
                  <a:pt x="4553" y="1857"/>
                </a:lnTo>
                <a:lnTo>
                  <a:pt x="4542" y="1878"/>
                </a:lnTo>
                <a:lnTo>
                  <a:pt x="4530" y="1900"/>
                </a:lnTo>
                <a:lnTo>
                  <a:pt x="4515" y="1919"/>
                </a:lnTo>
                <a:lnTo>
                  <a:pt x="4501" y="1939"/>
                </a:lnTo>
                <a:lnTo>
                  <a:pt x="4485" y="1956"/>
                </a:lnTo>
                <a:lnTo>
                  <a:pt x="4468" y="1972"/>
                </a:lnTo>
                <a:lnTo>
                  <a:pt x="4450" y="1988"/>
                </a:lnTo>
                <a:lnTo>
                  <a:pt x="4432" y="2002"/>
                </a:lnTo>
                <a:lnTo>
                  <a:pt x="4412" y="2015"/>
                </a:lnTo>
                <a:lnTo>
                  <a:pt x="4412" y="2015"/>
                </a:lnTo>
                <a:lnTo>
                  <a:pt x="4377" y="2036"/>
                </a:lnTo>
                <a:lnTo>
                  <a:pt x="4345" y="2054"/>
                </a:lnTo>
                <a:lnTo>
                  <a:pt x="4313" y="2071"/>
                </a:lnTo>
                <a:lnTo>
                  <a:pt x="4282" y="2087"/>
                </a:lnTo>
                <a:lnTo>
                  <a:pt x="4225" y="2114"/>
                </a:lnTo>
                <a:lnTo>
                  <a:pt x="4171" y="2139"/>
                </a:lnTo>
                <a:close/>
                <a:moveTo>
                  <a:pt x="3989" y="3389"/>
                </a:moveTo>
                <a:lnTo>
                  <a:pt x="3989" y="3389"/>
                </a:lnTo>
                <a:lnTo>
                  <a:pt x="3970" y="3382"/>
                </a:lnTo>
                <a:lnTo>
                  <a:pt x="3970" y="3382"/>
                </a:lnTo>
                <a:lnTo>
                  <a:pt x="3967" y="3380"/>
                </a:lnTo>
                <a:lnTo>
                  <a:pt x="3967" y="3380"/>
                </a:lnTo>
                <a:lnTo>
                  <a:pt x="3989" y="3389"/>
                </a:lnTo>
                <a:close/>
                <a:moveTo>
                  <a:pt x="2262" y="1056"/>
                </a:moveTo>
                <a:lnTo>
                  <a:pt x="2262" y="1056"/>
                </a:lnTo>
                <a:lnTo>
                  <a:pt x="2262" y="1057"/>
                </a:lnTo>
                <a:lnTo>
                  <a:pt x="2261" y="1059"/>
                </a:lnTo>
                <a:lnTo>
                  <a:pt x="2257" y="1061"/>
                </a:lnTo>
                <a:lnTo>
                  <a:pt x="2251" y="1064"/>
                </a:lnTo>
                <a:lnTo>
                  <a:pt x="2241" y="1066"/>
                </a:lnTo>
                <a:lnTo>
                  <a:pt x="2219" y="1072"/>
                </a:lnTo>
                <a:lnTo>
                  <a:pt x="2191" y="1077"/>
                </a:lnTo>
                <a:lnTo>
                  <a:pt x="2164" y="1081"/>
                </a:lnTo>
                <a:lnTo>
                  <a:pt x="2138" y="1083"/>
                </a:lnTo>
                <a:lnTo>
                  <a:pt x="2120" y="1083"/>
                </a:lnTo>
                <a:lnTo>
                  <a:pt x="2113" y="1082"/>
                </a:lnTo>
                <a:lnTo>
                  <a:pt x="2109" y="1081"/>
                </a:lnTo>
                <a:lnTo>
                  <a:pt x="2109" y="1081"/>
                </a:lnTo>
                <a:lnTo>
                  <a:pt x="2106" y="1079"/>
                </a:lnTo>
                <a:lnTo>
                  <a:pt x="2104" y="1075"/>
                </a:lnTo>
                <a:lnTo>
                  <a:pt x="2101" y="1064"/>
                </a:lnTo>
                <a:lnTo>
                  <a:pt x="2098" y="1052"/>
                </a:lnTo>
                <a:lnTo>
                  <a:pt x="2096" y="1038"/>
                </a:lnTo>
                <a:lnTo>
                  <a:pt x="2096" y="1023"/>
                </a:lnTo>
                <a:lnTo>
                  <a:pt x="2096" y="1010"/>
                </a:lnTo>
                <a:lnTo>
                  <a:pt x="2097" y="1000"/>
                </a:lnTo>
                <a:lnTo>
                  <a:pt x="2098" y="995"/>
                </a:lnTo>
                <a:lnTo>
                  <a:pt x="2100" y="992"/>
                </a:lnTo>
                <a:lnTo>
                  <a:pt x="2100" y="992"/>
                </a:lnTo>
                <a:lnTo>
                  <a:pt x="2101" y="991"/>
                </a:lnTo>
                <a:lnTo>
                  <a:pt x="2103" y="989"/>
                </a:lnTo>
                <a:lnTo>
                  <a:pt x="2109" y="988"/>
                </a:lnTo>
                <a:lnTo>
                  <a:pt x="2118" y="987"/>
                </a:lnTo>
                <a:lnTo>
                  <a:pt x="2128" y="987"/>
                </a:lnTo>
                <a:lnTo>
                  <a:pt x="2139" y="988"/>
                </a:lnTo>
                <a:lnTo>
                  <a:pt x="2151" y="990"/>
                </a:lnTo>
                <a:lnTo>
                  <a:pt x="2165" y="993"/>
                </a:lnTo>
                <a:lnTo>
                  <a:pt x="2179" y="997"/>
                </a:lnTo>
                <a:lnTo>
                  <a:pt x="2192" y="1002"/>
                </a:lnTo>
                <a:lnTo>
                  <a:pt x="2206" y="1007"/>
                </a:lnTo>
                <a:lnTo>
                  <a:pt x="2219" y="1014"/>
                </a:lnTo>
                <a:lnTo>
                  <a:pt x="2231" y="1021"/>
                </a:lnTo>
                <a:lnTo>
                  <a:pt x="2241" y="1029"/>
                </a:lnTo>
                <a:lnTo>
                  <a:pt x="2251" y="1038"/>
                </a:lnTo>
                <a:lnTo>
                  <a:pt x="2258" y="1047"/>
                </a:lnTo>
                <a:lnTo>
                  <a:pt x="2260" y="1051"/>
                </a:lnTo>
                <a:lnTo>
                  <a:pt x="2262" y="1056"/>
                </a:lnTo>
                <a:close/>
                <a:moveTo>
                  <a:pt x="4842" y="2915"/>
                </a:moveTo>
                <a:lnTo>
                  <a:pt x="4842" y="2915"/>
                </a:lnTo>
                <a:lnTo>
                  <a:pt x="4862" y="2919"/>
                </a:lnTo>
                <a:lnTo>
                  <a:pt x="4881" y="2921"/>
                </a:lnTo>
                <a:lnTo>
                  <a:pt x="4900" y="2922"/>
                </a:lnTo>
                <a:lnTo>
                  <a:pt x="4916" y="2921"/>
                </a:lnTo>
                <a:lnTo>
                  <a:pt x="4932" y="2919"/>
                </a:lnTo>
                <a:lnTo>
                  <a:pt x="4946" y="2916"/>
                </a:lnTo>
                <a:lnTo>
                  <a:pt x="4958" y="2911"/>
                </a:lnTo>
                <a:lnTo>
                  <a:pt x="4969" y="2905"/>
                </a:lnTo>
                <a:lnTo>
                  <a:pt x="4969" y="2905"/>
                </a:lnTo>
                <a:lnTo>
                  <a:pt x="4967" y="2879"/>
                </a:lnTo>
                <a:lnTo>
                  <a:pt x="4960" y="2819"/>
                </a:lnTo>
                <a:lnTo>
                  <a:pt x="4951" y="2746"/>
                </a:lnTo>
                <a:lnTo>
                  <a:pt x="4946" y="2714"/>
                </a:lnTo>
                <a:lnTo>
                  <a:pt x="4940" y="2686"/>
                </a:lnTo>
                <a:lnTo>
                  <a:pt x="4940" y="2686"/>
                </a:lnTo>
                <a:lnTo>
                  <a:pt x="4922" y="2689"/>
                </a:lnTo>
                <a:lnTo>
                  <a:pt x="4902" y="2692"/>
                </a:lnTo>
                <a:lnTo>
                  <a:pt x="4891" y="2692"/>
                </a:lnTo>
                <a:lnTo>
                  <a:pt x="4879" y="2692"/>
                </a:lnTo>
                <a:lnTo>
                  <a:pt x="4867" y="2691"/>
                </a:lnTo>
                <a:lnTo>
                  <a:pt x="4855" y="2689"/>
                </a:lnTo>
                <a:lnTo>
                  <a:pt x="4843" y="2686"/>
                </a:lnTo>
                <a:lnTo>
                  <a:pt x="4830" y="2682"/>
                </a:lnTo>
                <a:lnTo>
                  <a:pt x="4818" y="2677"/>
                </a:lnTo>
                <a:lnTo>
                  <a:pt x="4806" y="2670"/>
                </a:lnTo>
                <a:lnTo>
                  <a:pt x="4794" y="2660"/>
                </a:lnTo>
                <a:lnTo>
                  <a:pt x="4782" y="2650"/>
                </a:lnTo>
                <a:lnTo>
                  <a:pt x="4771" y="2638"/>
                </a:lnTo>
                <a:lnTo>
                  <a:pt x="4761" y="2624"/>
                </a:lnTo>
                <a:lnTo>
                  <a:pt x="4761" y="2624"/>
                </a:lnTo>
                <a:lnTo>
                  <a:pt x="4743" y="2595"/>
                </a:lnTo>
                <a:lnTo>
                  <a:pt x="4724" y="2567"/>
                </a:lnTo>
                <a:lnTo>
                  <a:pt x="4724" y="2567"/>
                </a:lnTo>
                <a:lnTo>
                  <a:pt x="4703" y="2539"/>
                </a:lnTo>
                <a:lnTo>
                  <a:pt x="4680" y="2511"/>
                </a:lnTo>
                <a:lnTo>
                  <a:pt x="4658" y="2485"/>
                </a:lnTo>
                <a:lnTo>
                  <a:pt x="4634" y="2459"/>
                </a:lnTo>
                <a:lnTo>
                  <a:pt x="4611" y="2435"/>
                </a:lnTo>
                <a:lnTo>
                  <a:pt x="4586" y="2412"/>
                </a:lnTo>
                <a:lnTo>
                  <a:pt x="4562" y="2389"/>
                </a:lnTo>
                <a:lnTo>
                  <a:pt x="4538" y="2369"/>
                </a:lnTo>
                <a:lnTo>
                  <a:pt x="4513" y="2349"/>
                </a:lnTo>
                <a:lnTo>
                  <a:pt x="4489" y="2329"/>
                </a:lnTo>
                <a:lnTo>
                  <a:pt x="4463" y="2311"/>
                </a:lnTo>
                <a:lnTo>
                  <a:pt x="4439" y="2292"/>
                </a:lnTo>
                <a:lnTo>
                  <a:pt x="4413" y="2276"/>
                </a:lnTo>
                <a:lnTo>
                  <a:pt x="4389" y="2260"/>
                </a:lnTo>
                <a:lnTo>
                  <a:pt x="4337" y="2228"/>
                </a:lnTo>
                <a:lnTo>
                  <a:pt x="4337" y="2228"/>
                </a:lnTo>
                <a:lnTo>
                  <a:pt x="4381" y="2205"/>
                </a:lnTo>
                <a:lnTo>
                  <a:pt x="4422" y="2183"/>
                </a:lnTo>
                <a:lnTo>
                  <a:pt x="4459" y="2160"/>
                </a:lnTo>
                <a:lnTo>
                  <a:pt x="4492" y="2139"/>
                </a:lnTo>
                <a:lnTo>
                  <a:pt x="4523" y="2117"/>
                </a:lnTo>
                <a:lnTo>
                  <a:pt x="4549" y="2096"/>
                </a:lnTo>
                <a:lnTo>
                  <a:pt x="4574" y="2076"/>
                </a:lnTo>
                <a:lnTo>
                  <a:pt x="4595" y="2055"/>
                </a:lnTo>
                <a:lnTo>
                  <a:pt x="4615" y="2036"/>
                </a:lnTo>
                <a:lnTo>
                  <a:pt x="4632" y="2017"/>
                </a:lnTo>
                <a:lnTo>
                  <a:pt x="4647" y="1999"/>
                </a:lnTo>
                <a:lnTo>
                  <a:pt x="4661" y="1981"/>
                </a:lnTo>
                <a:lnTo>
                  <a:pt x="4673" y="1965"/>
                </a:lnTo>
                <a:lnTo>
                  <a:pt x="4683" y="1950"/>
                </a:lnTo>
                <a:lnTo>
                  <a:pt x="4700" y="1922"/>
                </a:lnTo>
                <a:lnTo>
                  <a:pt x="4700" y="1922"/>
                </a:lnTo>
                <a:lnTo>
                  <a:pt x="4708" y="1910"/>
                </a:lnTo>
                <a:lnTo>
                  <a:pt x="4714" y="1896"/>
                </a:lnTo>
                <a:lnTo>
                  <a:pt x="4721" y="1880"/>
                </a:lnTo>
                <a:lnTo>
                  <a:pt x="4727" y="1864"/>
                </a:lnTo>
                <a:lnTo>
                  <a:pt x="4733" y="1845"/>
                </a:lnTo>
                <a:lnTo>
                  <a:pt x="4739" y="1826"/>
                </a:lnTo>
                <a:lnTo>
                  <a:pt x="4743" y="1806"/>
                </a:lnTo>
                <a:lnTo>
                  <a:pt x="4749" y="1785"/>
                </a:lnTo>
                <a:lnTo>
                  <a:pt x="4753" y="1763"/>
                </a:lnTo>
                <a:lnTo>
                  <a:pt x="4756" y="1740"/>
                </a:lnTo>
                <a:lnTo>
                  <a:pt x="4758" y="1716"/>
                </a:lnTo>
                <a:lnTo>
                  <a:pt x="4759" y="1692"/>
                </a:lnTo>
                <a:lnTo>
                  <a:pt x="4760" y="1667"/>
                </a:lnTo>
                <a:lnTo>
                  <a:pt x="4759" y="1642"/>
                </a:lnTo>
                <a:lnTo>
                  <a:pt x="4758" y="1616"/>
                </a:lnTo>
                <a:lnTo>
                  <a:pt x="4755" y="1590"/>
                </a:lnTo>
                <a:lnTo>
                  <a:pt x="4751" y="1564"/>
                </a:lnTo>
                <a:lnTo>
                  <a:pt x="4745" y="1538"/>
                </a:lnTo>
                <a:lnTo>
                  <a:pt x="4738" y="1511"/>
                </a:lnTo>
                <a:lnTo>
                  <a:pt x="4730" y="1486"/>
                </a:lnTo>
                <a:lnTo>
                  <a:pt x="4720" y="1459"/>
                </a:lnTo>
                <a:lnTo>
                  <a:pt x="4709" y="1433"/>
                </a:lnTo>
                <a:lnTo>
                  <a:pt x="4695" y="1408"/>
                </a:lnTo>
                <a:lnTo>
                  <a:pt x="4681" y="1383"/>
                </a:lnTo>
                <a:lnTo>
                  <a:pt x="4665" y="1359"/>
                </a:lnTo>
                <a:lnTo>
                  <a:pt x="4646" y="1334"/>
                </a:lnTo>
                <a:lnTo>
                  <a:pt x="4625" y="1311"/>
                </a:lnTo>
                <a:lnTo>
                  <a:pt x="4602" y="1288"/>
                </a:lnTo>
                <a:lnTo>
                  <a:pt x="4578" y="1267"/>
                </a:lnTo>
                <a:lnTo>
                  <a:pt x="4551" y="1246"/>
                </a:lnTo>
                <a:lnTo>
                  <a:pt x="4522" y="1227"/>
                </a:lnTo>
                <a:lnTo>
                  <a:pt x="4490" y="1207"/>
                </a:lnTo>
                <a:lnTo>
                  <a:pt x="4490" y="1207"/>
                </a:lnTo>
                <a:lnTo>
                  <a:pt x="4466" y="1195"/>
                </a:lnTo>
                <a:lnTo>
                  <a:pt x="4443" y="1184"/>
                </a:lnTo>
                <a:lnTo>
                  <a:pt x="4419" y="1174"/>
                </a:lnTo>
                <a:lnTo>
                  <a:pt x="4396" y="1165"/>
                </a:lnTo>
                <a:lnTo>
                  <a:pt x="4372" y="1156"/>
                </a:lnTo>
                <a:lnTo>
                  <a:pt x="4348" y="1149"/>
                </a:lnTo>
                <a:lnTo>
                  <a:pt x="4325" y="1143"/>
                </a:lnTo>
                <a:lnTo>
                  <a:pt x="4302" y="1138"/>
                </a:lnTo>
                <a:lnTo>
                  <a:pt x="4278" y="1133"/>
                </a:lnTo>
                <a:lnTo>
                  <a:pt x="4256" y="1130"/>
                </a:lnTo>
                <a:lnTo>
                  <a:pt x="4233" y="1127"/>
                </a:lnTo>
                <a:lnTo>
                  <a:pt x="4211" y="1125"/>
                </a:lnTo>
                <a:lnTo>
                  <a:pt x="4188" y="1123"/>
                </a:lnTo>
                <a:lnTo>
                  <a:pt x="4167" y="1123"/>
                </a:lnTo>
                <a:lnTo>
                  <a:pt x="4145" y="1123"/>
                </a:lnTo>
                <a:lnTo>
                  <a:pt x="4124" y="1123"/>
                </a:lnTo>
                <a:lnTo>
                  <a:pt x="4083" y="1126"/>
                </a:lnTo>
                <a:lnTo>
                  <a:pt x="4044" y="1130"/>
                </a:lnTo>
                <a:lnTo>
                  <a:pt x="4007" y="1136"/>
                </a:lnTo>
                <a:lnTo>
                  <a:pt x="3973" y="1144"/>
                </a:lnTo>
                <a:lnTo>
                  <a:pt x="3941" y="1152"/>
                </a:lnTo>
                <a:lnTo>
                  <a:pt x="3912" y="1161"/>
                </a:lnTo>
                <a:lnTo>
                  <a:pt x="3887" y="1172"/>
                </a:lnTo>
                <a:lnTo>
                  <a:pt x="3864" y="1181"/>
                </a:lnTo>
                <a:lnTo>
                  <a:pt x="3864" y="1181"/>
                </a:lnTo>
                <a:lnTo>
                  <a:pt x="3844" y="1191"/>
                </a:lnTo>
                <a:lnTo>
                  <a:pt x="3824" y="1201"/>
                </a:lnTo>
                <a:lnTo>
                  <a:pt x="3806" y="1213"/>
                </a:lnTo>
                <a:lnTo>
                  <a:pt x="3787" y="1224"/>
                </a:lnTo>
                <a:lnTo>
                  <a:pt x="3769" y="1237"/>
                </a:lnTo>
                <a:lnTo>
                  <a:pt x="3752" y="1249"/>
                </a:lnTo>
                <a:lnTo>
                  <a:pt x="3735" y="1264"/>
                </a:lnTo>
                <a:lnTo>
                  <a:pt x="3719" y="1278"/>
                </a:lnTo>
                <a:lnTo>
                  <a:pt x="3703" y="1293"/>
                </a:lnTo>
                <a:lnTo>
                  <a:pt x="3687" y="1309"/>
                </a:lnTo>
                <a:lnTo>
                  <a:pt x="3673" y="1325"/>
                </a:lnTo>
                <a:lnTo>
                  <a:pt x="3659" y="1341"/>
                </a:lnTo>
                <a:lnTo>
                  <a:pt x="3645" y="1359"/>
                </a:lnTo>
                <a:lnTo>
                  <a:pt x="3633" y="1377"/>
                </a:lnTo>
                <a:lnTo>
                  <a:pt x="3621" y="1396"/>
                </a:lnTo>
                <a:lnTo>
                  <a:pt x="3609" y="1415"/>
                </a:lnTo>
                <a:lnTo>
                  <a:pt x="3599" y="1434"/>
                </a:lnTo>
                <a:lnTo>
                  <a:pt x="3589" y="1455"/>
                </a:lnTo>
                <a:lnTo>
                  <a:pt x="3581" y="1475"/>
                </a:lnTo>
                <a:lnTo>
                  <a:pt x="3573" y="1497"/>
                </a:lnTo>
                <a:lnTo>
                  <a:pt x="3565" y="1518"/>
                </a:lnTo>
                <a:lnTo>
                  <a:pt x="3559" y="1541"/>
                </a:lnTo>
                <a:lnTo>
                  <a:pt x="3554" y="1563"/>
                </a:lnTo>
                <a:lnTo>
                  <a:pt x="3550" y="1586"/>
                </a:lnTo>
                <a:lnTo>
                  <a:pt x="3547" y="1609"/>
                </a:lnTo>
                <a:lnTo>
                  <a:pt x="3545" y="1634"/>
                </a:lnTo>
                <a:lnTo>
                  <a:pt x="3544" y="1658"/>
                </a:lnTo>
                <a:lnTo>
                  <a:pt x="3543" y="1683"/>
                </a:lnTo>
                <a:lnTo>
                  <a:pt x="3544" y="1708"/>
                </a:lnTo>
                <a:lnTo>
                  <a:pt x="3546" y="1734"/>
                </a:lnTo>
                <a:lnTo>
                  <a:pt x="3550" y="1760"/>
                </a:lnTo>
                <a:lnTo>
                  <a:pt x="3554" y="1786"/>
                </a:lnTo>
                <a:lnTo>
                  <a:pt x="3554" y="1786"/>
                </a:lnTo>
                <a:lnTo>
                  <a:pt x="3559" y="1810"/>
                </a:lnTo>
                <a:lnTo>
                  <a:pt x="3564" y="1831"/>
                </a:lnTo>
                <a:lnTo>
                  <a:pt x="3571" y="1853"/>
                </a:lnTo>
                <a:lnTo>
                  <a:pt x="3577" y="1873"/>
                </a:lnTo>
                <a:lnTo>
                  <a:pt x="3585" y="1893"/>
                </a:lnTo>
                <a:lnTo>
                  <a:pt x="3592" y="1911"/>
                </a:lnTo>
                <a:lnTo>
                  <a:pt x="3601" y="1929"/>
                </a:lnTo>
                <a:lnTo>
                  <a:pt x="3610" y="1947"/>
                </a:lnTo>
                <a:lnTo>
                  <a:pt x="3620" y="1963"/>
                </a:lnTo>
                <a:lnTo>
                  <a:pt x="3631" y="1978"/>
                </a:lnTo>
                <a:lnTo>
                  <a:pt x="3641" y="1994"/>
                </a:lnTo>
                <a:lnTo>
                  <a:pt x="3652" y="2009"/>
                </a:lnTo>
                <a:lnTo>
                  <a:pt x="3665" y="2023"/>
                </a:lnTo>
                <a:lnTo>
                  <a:pt x="3677" y="2037"/>
                </a:lnTo>
                <a:lnTo>
                  <a:pt x="3690" y="2050"/>
                </a:lnTo>
                <a:lnTo>
                  <a:pt x="3704" y="2062"/>
                </a:lnTo>
                <a:lnTo>
                  <a:pt x="3732" y="2087"/>
                </a:lnTo>
                <a:lnTo>
                  <a:pt x="3763" y="2109"/>
                </a:lnTo>
                <a:lnTo>
                  <a:pt x="3795" y="2131"/>
                </a:lnTo>
                <a:lnTo>
                  <a:pt x="3828" y="2151"/>
                </a:lnTo>
                <a:lnTo>
                  <a:pt x="3863" y="2172"/>
                </a:lnTo>
                <a:lnTo>
                  <a:pt x="3899" y="2191"/>
                </a:lnTo>
                <a:lnTo>
                  <a:pt x="3976" y="2229"/>
                </a:lnTo>
                <a:lnTo>
                  <a:pt x="3976" y="2229"/>
                </a:lnTo>
                <a:lnTo>
                  <a:pt x="3945" y="2246"/>
                </a:lnTo>
                <a:lnTo>
                  <a:pt x="3916" y="2263"/>
                </a:lnTo>
                <a:lnTo>
                  <a:pt x="3890" y="2280"/>
                </a:lnTo>
                <a:lnTo>
                  <a:pt x="3864" y="2298"/>
                </a:lnTo>
                <a:lnTo>
                  <a:pt x="3840" y="2318"/>
                </a:lnTo>
                <a:lnTo>
                  <a:pt x="3817" y="2337"/>
                </a:lnTo>
                <a:lnTo>
                  <a:pt x="3797" y="2358"/>
                </a:lnTo>
                <a:lnTo>
                  <a:pt x="3778" y="2379"/>
                </a:lnTo>
                <a:lnTo>
                  <a:pt x="3761" y="2403"/>
                </a:lnTo>
                <a:lnTo>
                  <a:pt x="3754" y="2415"/>
                </a:lnTo>
                <a:lnTo>
                  <a:pt x="3746" y="2427"/>
                </a:lnTo>
                <a:lnTo>
                  <a:pt x="3739" y="2440"/>
                </a:lnTo>
                <a:lnTo>
                  <a:pt x="3733" y="2453"/>
                </a:lnTo>
                <a:lnTo>
                  <a:pt x="3728" y="2466"/>
                </a:lnTo>
                <a:lnTo>
                  <a:pt x="3723" y="2480"/>
                </a:lnTo>
                <a:lnTo>
                  <a:pt x="3718" y="2495"/>
                </a:lnTo>
                <a:lnTo>
                  <a:pt x="3714" y="2510"/>
                </a:lnTo>
                <a:lnTo>
                  <a:pt x="3711" y="2525"/>
                </a:lnTo>
                <a:lnTo>
                  <a:pt x="3708" y="2541"/>
                </a:lnTo>
                <a:lnTo>
                  <a:pt x="3706" y="2557"/>
                </a:lnTo>
                <a:lnTo>
                  <a:pt x="3705" y="2574"/>
                </a:lnTo>
                <a:lnTo>
                  <a:pt x="3704" y="2592"/>
                </a:lnTo>
                <a:lnTo>
                  <a:pt x="3703" y="2609"/>
                </a:lnTo>
                <a:lnTo>
                  <a:pt x="3703" y="2609"/>
                </a:lnTo>
                <a:lnTo>
                  <a:pt x="3704" y="2632"/>
                </a:lnTo>
                <a:lnTo>
                  <a:pt x="3707" y="2655"/>
                </a:lnTo>
                <a:lnTo>
                  <a:pt x="3711" y="2678"/>
                </a:lnTo>
                <a:lnTo>
                  <a:pt x="3716" y="2701"/>
                </a:lnTo>
                <a:lnTo>
                  <a:pt x="3729" y="2749"/>
                </a:lnTo>
                <a:lnTo>
                  <a:pt x="3736" y="2775"/>
                </a:lnTo>
                <a:lnTo>
                  <a:pt x="3742" y="2801"/>
                </a:lnTo>
                <a:lnTo>
                  <a:pt x="3749" y="2830"/>
                </a:lnTo>
                <a:lnTo>
                  <a:pt x="3753" y="2859"/>
                </a:lnTo>
                <a:lnTo>
                  <a:pt x="3757" y="2889"/>
                </a:lnTo>
                <a:lnTo>
                  <a:pt x="3758" y="2922"/>
                </a:lnTo>
                <a:lnTo>
                  <a:pt x="3758" y="2957"/>
                </a:lnTo>
                <a:lnTo>
                  <a:pt x="3757" y="2975"/>
                </a:lnTo>
                <a:lnTo>
                  <a:pt x="3755" y="2994"/>
                </a:lnTo>
                <a:lnTo>
                  <a:pt x="3753" y="3012"/>
                </a:lnTo>
                <a:lnTo>
                  <a:pt x="3750" y="3033"/>
                </a:lnTo>
                <a:lnTo>
                  <a:pt x="3745" y="3053"/>
                </a:lnTo>
                <a:lnTo>
                  <a:pt x="3741" y="3073"/>
                </a:lnTo>
                <a:lnTo>
                  <a:pt x="3741" y="3073"/>
                </a:lnTo>
                <a:lnTo>
                  <a:pt x="3741" y="3075"/>
                </a:lnTo>
                <a:lnTo>
                  <a:pt x="3741" y="3076"/>
                </a:lnTo>
                <a:lnTo>
                  <a:pt x="3743" y="3076"/>
                </a:lnTo>
                <a:lnTo>
                  <a:pt x="3745" y="3078"/>
                </a:lnTo>
                <a:lnTo>
                  <a:pt x="3753" y="3075"/>
                </a:lnTo>
                <a:lnTo>
                  <a:pt x="3762" y="3073"/>
                </a:lnTo>
                <a:lnTo>
                  <a:pt x="3785" y="3063"/>
                </a:lnTo>
                <a:lnTo>
                  <a:pt x="3814" y="3051"/>
                </a:lnTo>
                <a:lnTo>
                  <a:pt x="3842" y="3036"/>
                </a:lnTo>
                <a:lnTo>
                  <a:pt x="3867" y="3022"/>
                </a:lnTo>
                <a:lnTo>
                  <a:pt x="3886" y="3011"/>
                </a:lnTo>
                <a:lnTo>
                  <a:pt x="3891" y="3007"/>
                </a:lnTo>
                <a:lnTo>
                  <a:pt x="3894" y="3005"/>
                </a:lnTo>
                <a:lnTo>
                  <a:pt x="3894" y="3005"/>
                </a:lnTo>
                <a:lnTo>
                  <a:pt x="3903" y="2981"/>
                </a:lnTo>
                <a:lnTo>
                  <a:pt x="3910" y="2958"/>
                </a:lnTo>
                <a:lnTo>
                  <a:pt x="3916" y="2934"/>
                </a:lnTo>
                <a:lnTo>
                  <a:pt x="3921" y="2910"/>
                </a:lnTo>
                <a:lnTo>
                  <a:pt x="3925" y="2886"/>
                </a:lnTo>
                <a:lnTo>
                  <a:pt x="3928" y="2863"/>
                </a:lnTo>
                <a:lnTo>
                  <a:pt x="3930" y="2840"/>
                </a:lnTo>
                <a:lnTo>
                  <a:pt x="3932" y="2818"/>
                </a:lnTo>
                <a:lnTo>
                  <a:pt x="3932" y="2779"/>
                </a:lnTo>
                <a:lnTo>
                  <a:pt x="3931" y="2748"/>
                </a:lnTo>
                <a:lnTo>
                  <a:pt x="3928" y="2721"/>
                </a:lnTo>
                <a:lnTo>
                  <a:pt x="3928" y="2721"/>
                </a:lnTo>
                <a:lnTo>
                  <a:pt x="3939" y="2730"/>
                </a:lnTo>
                <a:lnTo>
                  <a:pt x="3947" y="2741"/>
                </a:lnTo>
                <a:lnTo>
                  <a:pt x="3954" y="2753"/>
                </a:lnTo>
                <a:lnTo>
                  <a:pt x="3960" y="2767"/>
                </a:lnTo>
                <a:lnTo>
                  <a:pt x="3964" y="2782"/>
                </a:lnTo>
                <a:lnTo>
                  <a:pt x="3968" y="2797"/>
                </a:lnTo>
                <a:lnTo>
                  <a:pt x="3971" y="2814"/>
                </a:lnTo>
                <a:lnTo>
                  <a:pt x="3973" y="2830"/>
                </a:lnTo>
                <a:lnTo>
                  <a:pt x="3975" y="2847"/>
                </a:lnTo>
                <a:lnTo>
                  <a:pt x="3976" y="2865"/>
                </a:lnTo>
                <a:lnTo>
                  <a:pt x="3976" y="2881"/>
                </a:lnTo>
                <a:lnTo>
                  <a:pt x="3975" y="2899"/>
                </a:lnTo>
                <a:lnTo>
                  <a:pt x="3971" y="2930"/>
                </a:lnTo>
                <a:lnTo>
                  <a:pt x="3965" y="2959"/>
                </a:lnTo>
                <a:lnTo>
                  <a:pt x="3965" y="2959"/>
                </a:lnTo>
                <a:lnTo>
                  <a:pt x="3982" y="2950"/>
                </a:lnTo>
                <a:lnTo>
                  <a:pt x="3998" y="2938"/>
                </a:lnTo>
                <a:lnTo>
                  <a:pt x="4016" y="2925"/>
                </a:lnTo>
                <a:lnTo>
                  <a:pt x="4036" y="2911"/>
                </a:lnTo>
                <a:lnTo>
                  <a:pt x="4053" y="2896"/>
                </a:lnTo>
                <a:lnTo>
                  <a:pt x="4061" y="2888"/>
                </a:lnTo>
                <a:lnTo>
                  <a:pt x="4068" y="2881"/>
                </a:lnTo>
                <a:lnTo>
                  <a:pt x="4072" y="2874"/>
                </a:lnTo>
                <a:lnTo>
                  <a:pt x="4075" y="2868"/>
                </a:lnTo>
                <a:lnTo>
                  <a:pt x="4075" y="2868"/>
                </a:lnTo>
                <a:lnTo>
                  <a:pt x="4083" y="2838"/>
                </a:lnTo>
                <a:lnTo>
                  <a:pt x="4090" y="2810"/>
                </a:lnTo>
                <a:lnTo>
                  <a:pt x="4094" y="2783"/>
                </a:lnTo>
                <a:lnTo>
                  <a:pt x="4096" y="2757"/>
                </a:lnTo>
                <a:lnTo>
                  <a:pt x="4096" y="2733"/>
                </a:lnTo>
                <a:lnTo>
                  <a:pt x="4095" y="2709"/>
                </a:lnTo>
                <a:lnTo>
                  <a:pt x="4093" y="2687"/>
                </a:lnTo>
                <a:lnTo>
                  <a:pt x="4090" y="2665"/>
                </a:lnTo>
                <a:lnTo>
                  <a:pt x="4085" y="2645"/>
                </a:lnTo>
                <a:lnTo>
                  <a:pt x="4080" y="2626"/>
                </a:lnTo>
                <a:lnTo>
                  <a:pt x="4075" y="2607"/>
                </a:lnTo>
                <a:lnTo>
                  <a:pt x="4069" y="2590"/>
                </a:lnTo>
                <a:lnTo>
                  <a:pt x="4055" y="2556"/>
                </a:lnTo>
                <a:lnTo>
                  <a:pt x="4043" y="2524"/>
                </a:lnTo>
                <a:lnTo>
                  <a:pt x="4043" y="2524"/>
                </a:lnTo>
                <a:lnTo>
                  <a:pt x="4038" y="2509"/>
                </a:lnTo>
                <a:lnTo>
                  <a:pt x="4035" y="2494"/>
                </a:lnTo>
                <a:lnTo>
                  <a:pt x="4034" y="2479"/>
                </a:lnTo>
                <a:lnTo>
                  <a:pt x="4035" y="2464"/>
                </a:lnTo>
                <a:lnTo>
                  <a:pt x="4037" y="2450"/>
                </a:lnTo>
                <a:lnTo>
                  <a:pt x="4041" y="2435"/>
                </a:lnTo>
                <a:lnTo>
                  <a:pt x="4046" y="2421"/>
                </a:lnTo>
                <a:lnTo>
                  <a:pt x="4053" y="2408"/>
                </a:lnTo>
                <a:lnTo>
                  <a:pt x="4061" y="2395"/>
                </a:lnTo>
                <a:lnTo>
                  <a:pt x="4071" y="2381"/>
                </a:lnTo>
                <a:lnTo>
                  <a:pt x="4081" y="2369"/>
                </a:lnTo>
                <a:lnTo>
                  <a:pt x="4092" y="2358"/>
                </a:lnTo>
                <a:lnTo>
                  <a:pt x="4103" y="2346"/>
                </a:lnTo>
                <a:lnTo>
                  <a:pt x="4117" y="2335"/>
                </a:lnTo>
                <a:lnTo>
                  <a:pt x="4130" y="2326"/>
                </a:lnTo>
                <a:lnTo>
                  <a:pt x="4145" y="2317"/>
                </a:lnTo>
                <a:lnTo>
                  <a:pt x="4145" y="2317"/>
                </a:lnTo>
                <a:lnTo>
                  <a:pt x="4180" y="2336"/>
                </a:lnTo>
                <a:lnTo>
                  <a:pt x="4215" y="2357"/>
                </a:lnTo>
                <a:lnTo>
                  <a:pt x="4251" y="2378"/>
                </a:lnTo>
                <a:lnTo>
                  <a:pt x="4286" y="2402"/>
                </a:lnTo>
                <a:lnTo>
                  <a:pt x="4286" y="2402"/>
                </a:lnTo>
                <a:lnTo>
                  <a:pt x="4307" y="2416"/>
                </a:lnTo>
                <a:lnTo>
                  <a:pt x="4341" y="2441"/>
                </a:lnTo>
                <a:lnTo>
                  <a:pt x="4361" y="2456"/>
                </a:lnTo>
                <a:lnTo>
                  <a:pt x="4382" y="2474"/>
                </a:lnTo>
                <a:lnTo>
                  <a:pt x="4405" y="2494"/>
                </a:lnTo>
                <a:lnTo>
                  <a:pt x="4430" y="2515"/>
                </a:lnTo>
                <a:lnTo>
                  <a:pt x="4453" y="2539"/>
                </a:lnTo>
                <a:lnTo>
                  <a:pt x="4478" y="2563"/>
                </a:lnTo>
                <a:lnTo>
                  <a:pt x="4501" y="2590"/>
                </a:lnTo>
                <a:lnTo>
                  <a:pt x="4524" y="2618"/>
                </a:lnTo>
                <a:lnTo>
                  <a:pt x="4545" y="2647"/>
                </a:lnTo>
                <a:lnTo>
                  <a:pt x="4564" y="2678"/>
                </a:lnTo>
                <a:lnTo>
                  <a:pt x="4574" y="2693"/>
                </a:lnTo>
                <a:lnTo>
                  <a:pt x="4582" y="2709"/>
                </a:lnTo>
                <a:lnTo>
                  <a:pt x="4590" y="2726"/>
                </a:lnTo>
                <a:lnTo>
                  <a:pt x="4596" y="2742"/>
                </a:lnTo>
                <a:lnTo>
                  <a:pt x="4596" y="2742"/>
                </a:lnTo>
                <a:lnTo>
                  <a:pt x="4606" y="2768"/>
                </a:lnTo>
                <a:lnTo>
                  <a:pt x="4616" y="2792"/>
                </a:lnTo>
                <a:lnTo>
                  <a:pt x="4624" y="2817"/>
                </a:lnTo>
                <a:lnTo>
                  <a:pt x="4630" y="2840"/>
                </a:lnTo>
                <a:lnTo>
                  <a:pt x="4636" y="2864"/>
                </a:lnTo>
                <a:lnTo>
                  <a:pt x="4641" y="2886"/>
                </a:lnTo>
                <a:lnTo>
                  <a:pt x="4645" y="2908"/>
                </a:lnTo>
                <a:lnTo>
                  <a:pt x="4649" y="2928"/>
                </a:lnTo>
                <a:lnTo>
                  <a:pt x="4651" y="2949"/>
                </a:lnTo>
                <a:lnTo>
                  <a:pt x="4653" y="2968"/>
                </a:lnTo>
                <a:lnTo>
                  <a:pt x="4654" y="2987"/>
                </a:lnTo>
                <a:lnTo>
                  <a:pt x="4655" y="3005"/>
                </a:lnTo>
                <a:lnTo>
                  <a:pt x="4654" y="3039"/>
                </a:lnTo>
                <a:lnTo>
                  <a:pt x="4652" y="3070"/>
                </a:lnTo>
                <a:lnTo>
                  <a:pt x="4648" y="3099"/>
                </a:lnTo>
                <a:lnTo>
                  <a:pt x="4642" y="3126"/>
                </a:lnTo>
                <a:lnTo>
                  <a:pt x="4635" y="3149"/>
                </a:lnTo>
                <a:lnTo>
                  <a:pt x="4628" y="3171"/>
                </a:lnTo>
                <a:lnTo>
                  <a:pt x="4620" y="3189"/>
                </a:lnTo>
                <a:lnTo>
                  <a:pt x="4612" y="3206"/>
                </a:lnTo>
                <a:lnTo>
                  <a:pt x="4603" y="3221"/>
                </a:lnTo>
                <a:lnTo>
                  <a:pt x="4596" y="3232"/>
                </a:lnTo>
                <a:lnTo>
                  <a:pt x="4596" y="3232"/>
                </a:lnTo>
                <a:lnTo>
                  <a:pt x="4582" y="3252"/>
                </a:lnTo>
                <a:lnTo>
                  <a:pt x="4568" y="3273"/>
                </a:lnTo>
                <a:lnTo>
                  <a:pt x="4553" y="3291"/>
                </a:lnTo>
                <a:lnTo>
                  <a:pt x="4538" y="3310"/>
                </a:lnTo>
                <a:lnTo>
                  <a:pt x="4522" y="3327"/>
                </a:lnTo>
                <a:lnTo>
                  <a:pt x="4505" y="3343"/>
                </a:lnTo>
                <a:lnTo>
                  <a:pt x="4487" y="3359"/>
                </a:lnTo>
                <a:lnTo>
                  <a:pt x="4469" y="3373"/>
                </a:lnTo>
                <a:lnTo>
                  <a:pt x="4450" y="3386"/>
                </a:lnTo>
                <a:lnTo>
                  <a:pt x="4430" y="3398"/>
                </a:lnTo>
                <a:lnTo>
                  <a:pt x="4409" y="3409"/>
                </a:lnTo>
                <a:lnTo>
                  <a:pt x="4388" y="3418"/>
                </a:lnTo>
                <a:lnTo>
                  <a:pt x="4364" y="3426"/>
                </a:lnTo>
                <a:lnTo>
                  <a:pt x="4341" y="3433"/>
                </a:lnTo>
                <a:lnTo>
                  <a:pt x="4316" y="3438"/>
                </a:lnTo>
                <a:lnTo>
                  <a:pt x="4290" y="3441"/>
                </a:lnTo>
                <a:lnTo>
                  <a:pt x="4290" y="3441"/>
                </a:lnTo>
                <a:lnTo>
                  <a:pt x="4283" y="3440"/>
                </a:lnTo>
                <a:lnTo>
                  <a:pt x="4275" y="3440"/>
                </a:lnTo>
                <a:lnTo>
                  <a:pt x="4275" y="3440"/>
                </a:lnTo>
                <a:lnTo>
                  <a:pt x="4242" y="3441"/>
                </a:lnTo>
                <a:lnTo>
                  <a:pt x="4213" y="3441"/>
                </a:lnTo>
                <a:lnTo>
                  <a:pt x="4185" y="3440"/>
                </a:lnTo>
                <a:lnTo>
                  <a:pt x="4159" y="3437"/>
                </a:lnTo>
                <a:lnTo>
                  <a:pt x="4159" y="3437"/>
                </a:lnTo>
                <a:lnTo>
                  <a:pt x="4131" y="3432"/>
                </a:lnTo>
                <a:lnTo>
                  <a:pt x="4103" y="3427"/>
                </a:lnTo>
                <a:lnTo>
                  <a:pt x="4077" y="3420"/>
                </a:lnTo>
                <a:lnTo>
                  <a:pt x="4052" y="3413"/>
                </a:lnTo>
                <a:lnTo>
                  <a:pt x="4052" y="3413"/>
                </a:lnTo>
                <a:lnTo>
                  <a:pt x="4009" y="3398"/>
                </a:lnTo>
                <a:lnTo>
                  <a:pt x="3965" y="3379"/>
                </a:lnTo>
                <a:lnTo>
                  <a:pt x="3965" y="3379"/>
                </a:lnTo>
                <a:lnTo>
                  <a:pt x="3925" y="3359"/>
                </a:lnTo>
                <a:lnTo>
                  <a:pt x="3874" y="3331"/>
                </a:lnTo>
                <a:lnTo>
                  <a:pt x="3846" y="3314"/>
                </a:lnTo>
                <a:lnTo>
                  <a:pt x="3815" y="3294"/>
                </a:lnTo>
                <a:lnTo>
                  <a:pt x="3782" y="3274"/>
                </a:lnTo>
                <a:lnTo>
                  <a:pt x="3748" y="3250"/>
                </a:lnTo>
                <a:lnTo>
                  <a:pt x="3712" y="3226"/>
                </a:lnTo>
                <a:lnTo>
                  <a:pt x="3676" y="3198"/>
                </a:lnTo>
                <a:lnTo>
                  <a:pt x="3638" y="3170"/>
                </a:lnTo>
                <a:lnTo>
                  <a:pt x="3601" y="3139"/>
                </a:lnTo>
                <a:lnTo>
                  <a:pt x="3563" y="3106"/>
                </a:lnTo>
                <a:lnTo>
                  <a:pt x="3526" y="3071"/>
                </a:lnTo>
                <a:lnTo>
                  <a:pt x="3488" y="3035"/>
                </a:lnTo>
                <a:lnTo>
                  <a:pt x="3451" y="2997"/>
                </a:lnTo>
                <a:lnTo>
                  <a:pt x="3451" y="2997"/>
                </a:lnTo>
                <a:lnTo>
                  <a:pt x="3394" y="2933"/>
                </a:lnTo>
                <a:lnTo>
                  <a:pt x="3342" y="2874"/>
                </a:lnTo>
                <a:lnTo>
                  <a:pt x="3295" y="2819"/>
                </a:lnTo>
                <a:lnTo>
                  <a:pt x="3253" y="2769"/>
                </a:lnTo>
                <a:lnTo>
                  <a:pt x="3215" y="2722"/>
                </a:lnTo>
                <a:lnTo>
                  <a:pt x="3180" y="2679"/>
                </a:lnTo>
                <a:lnTo>
                  <a:pt x="3120" y="2602"/>
                </a:lnTo>
                <a:lnTo>
                  <a:pt x="3120" y="2602"/>
                </a:lnTo>
                <a:lnTo>
                  <a:pt x="3138" y="2609"/>
                </a:lnTo>
                <a:lnTo>
                  <a:pt x="3156" y="2615"/>
                </a:lnTo>
                <a:lnTo>
                  <a:pt x="3175" y="2620"/>
                </a:lnTo>
                <a:lnTo>
                  <a:pt x="3193" y="2625"/>
                </a:lnTo>
                <a:lnTo>
                  <a:pt x="3211" y="2628"/>
                </a:lnTo>
                <a:lnTo>
                  <a:pt x="3229" y="2630"/>
                </a:lnTo>
                <a:lnTo>
                  <a:pt x="3262" y="2633"/>
                </a:lnTo>
                <a:lnTo>
                  <a:pt x="3289" y="2633"/>
                </a:lnTo>
                <a:lnTo>
                  <a:pt x="3312" y="2632"/>
                </a:lnTo>
                <a:lnTo>
                  <a:pt x="3332" y="2630"/>
                </a:lnTo>
                <a:lnTo>
                  <a:pt x="3332" y="2630"/>
                </a:lnTo>
                <a:lnTo>
                  <a:pt x="3336" y="2580"/>
                </a:lnTo>
                <a:lnTo>
                  <a:pt x="3338" y="2535"/>
                </a:lnTo>
                <a:lnTo>
                  <a:pt x="3340" y="2495"/>
                </a:lnTo>
                <a:lnTo>
                  <a:pt x="3346" y="2360"/>
                </a:lnTo>
                <a:lnTo>
                  <a:pt x="3346" y="2360"/>
                </a:lnTo>
                <a:lnTo>
                  <a:pt x="3349" y="2323"/>
                </a:lnTo>
                <a:lnTo>
                  <a:pt x="3351" y="2288"/>
                </a:lnTo>
                <a:lnTo>
                  <a:pt x="3352" y="2251"/>
                </a:lnTo>
                <a:lnTo>
                  <a:pt x="3352" y="2251"/>
                </a:lnTo>
                <a:lnTo>
                  <a:pt x="3340" y="2250"/>
                </a:lnTo>
                <a:lnTo>
                  <a:pt x="3307" y="2246"/>
                </a:lnTo>
                <a:lnTo>
                  <a:pt x="3285" y="2243"/>
                </a:lnTo>
                <a:lnTo>
                  <a:pt x="3260" y="2238"/>
                </a:lnTo>
                <a:lnTo>
                  <a:pt x="3233" y="2233"/>
                </a:lnTo>
                <a:lnTo>
                  <a:pt x="3206" y="2226"/>
                </a:lnTo>
                <a:lnTo>
                  <a:pt x="3176" y="2217"/>
                </a:lnTo>
                <a:lnTo>
                  <a:pt x="3147" y="2206"/>
                </a:lnTo>
                <a:lnTo>
                  <a:pt x="3120" y="2194"/>
                </a:lnTo>
                <a:lnTo>
                  <a:pt x="3106" y="2188"/>
                </a:lnTo>
                <a:lnTo>
                  <a:pt x="3093" y="2181"/>
                </a:lnTo>
                <a:lnTo>
                  <a:pt x="3081" y="2173"/>
                </a:lnTo>
                <a:lnTo>
                  <a:pt x="3070" y="2164"/>
                </a:lnTo>
                <a:lnTo>
                  <a:pt x="3058" y="2155"/>
                </a:lnTo>
                <a:lnTo>
                  <a:pt x="3049" y="2146"/>
                </a:lnTo>
                <a:lnTo>
                  <a:pt x="3040" y="2136"/>
                </a:lnTo>
                <a:lnTo>
                  <a:pt x="3032" y="2125"/>
                </a:lnTo>
                <a:lnTo>
                  <a:pt x="3025" y="2113"/>
                </a:lnTo>
                <a:lnTo>
                  <a:pt x="3019" y="2101"/>
                </a:lnTo>
                <a:lnTo>
                  <a:pt x="3019" y="2101"/>
                </a:lnTo>
                <a:lnTo>
                  <a:pt x="3030" y="2107"/>
                </a:lnTo>
                <a:lnTo>
                  <a:pt x="3042" y="2112"/>
                </a:lnTo>
                <a:lnTo>
                  <a:pt x="3059" y="2119"/>
                </a:lnTo>
                <a:lnTo>
                  <a:pt x="3081" y="2127"/>
                </a:lnTo>
                <a:lnTo>
                  <a:pt x="3106" y="2134"/>
                </a:lnTo>
                <a:lnTo>
                  <a:pt x="3136" y="2139"/>
                </a:lnTo>
                <a:lnTo>
                  <a:pt x="3152" y="2141"/>
                </a:lnTo>
                <a:lnTo>
                  <a:pt x="3169" y="2142"/>
                </a:lnTo>
                <a:lnTo>
                  <a:pt x="3169" y="2142"/>
                </a:lnTo>
                <a:lnTo>
                  <a:pt x="3201" y="2143"/>
                </a:lnTo>
                <a:lnTo>
                  <a:pt x="3234" y="2143"/>
                </a:lnTo>
                <a:lnTo>
                  <a:pt x="3266" y="2141"/>
                </a:lnTo>
                <a:lnTo>
                  <a:pt x="3295" y="2139"/>
                </a:lnTo>
                <a:lnTo>
                  <a:pt x="3340" y="2133"/>
                </a:lnTo>
                <a:lnTo>
                  <a:pt x="3357" y="2131"/>
                </a:lnTo>
                <a:lnTo>
                  <a:pt x="3357" y="2131"/>
                </a:lnTo>
                <a:lnTo>
                  <a:pt x="3359" y="2125"/>
                </a:lnTo>
                <a:lnTo>
                  <a:pt x="3361" y="2113"/>
                </a:lnTo>
                <a:lnTo>
                  <a:pt x="3364" y="2083"/>
                </a:lnTo>
                <a:lnTo>
                  <a:pt x="3367" y="2043"/>
                </a:lnTo>
                <a:lnTo>
                  <a:pt x="3369" y="1999"/>
                </a:lnTo>
                <a:lnTo>
                  <a:pt x="3373" y="1919"/>
                </a:lnTo>
                <a:lnTo>
                  <a:pt x="3375" y="1884"/>
                </a:lnTo>
                <a:lnTo>
                  <a:pt x="3375" y="1884"/>
                </a:lnTo>
                <a:lnTo>
                  <a:pt x="3376" y="1856"/>
                </a:lnTo>
                <a:lnTo>
                  <a:pt x="3377" y="1816"/>
                </a:lnTo>
                <a:lnTo>
                  <a:pt x="3377" y="1767"/>
                </a:lnTo>
                <a:lnTo>
                  <a:pt x="3377" y="1767"/>
                </a:lnTo>
                <a:lnTo>
                  <a:pt x="3369" y="1769"/>
                </a:lnTo>
                <a:lnTo>
                  <a:pt x="3359" y="1770"/>
                </a:lnTo>
                <a:lnTo>
                  <a:pt x="3338" y="1772"/>
                </a:lnTo>
                <a:lnTo>
                  <a:pt x="3315" y="1771"/>
                </a:lnTo>
                <a:lnTo>
                  <a:pt x="3290" y="1769"/>
                </a:lnTo>
                <a:lnTo>
                  <a:pt x="3264" y="1766"/>
                </a:lnTo>
                <a:lnTo>
                  <a:pt x="3236" y="1762"/>
                </a:lnTo>
                <a:lnTo>
                  <a:pt x="3208" y="1756"/>
                </a:lnTo>
                <a:lnTo>
                  <a:pt x="3178" y="1748"/>
                </a:lnTo>
                <a:lnTo>
                  <a:pt x="3178" y="1748"/>
                </a:lnTo>
                <a:lnTo>
                  <a:pt x="3158" y="1742"/>
                </a:lnTo>
                <a:lnTo>
                  <a:pt x="3135" y="1733"/>
                </a:lnTo>
                <a:lnTo>
                  <a:pt x="3112" y="1721"/>
                </a:lnTo>
                <a:lnTo>
                  <a:pt x="3088" y="1706"/>
                </a:lnTo>
                <a:lnTo>
                  <a:pt x="3064" y="1690"/>
                </a:lnTo>
                <a:lnTo>
                  <a:pt x="3053" y="1681"/>
                </a:lnTo>
                <a:lnTo>
                  <a:pt x="3043" y="1672"/>
                </a:lnTo>
                <a:lnTo>
                  <a:pt x="3034" y="1661"/>
                </a:lnTo>
                <a:lnTo>
                  <a:pt x="3025" y="1652"/>
                </a:lnTo>
                <a:lnTo>
                  <a:pt x="3017" y="1642"/>
                </a:lnTo>
                <a:lnTo>
                  <a:pt x="3010" y="1631"/>
                </a:lnTo>
                <a:lnTo>
                  <a:pt x="3010" y="1631"/>
                </a:lnTo>
                <a:lnTo>
                  <a:pt x="3022" y="1636"/>
                </a:lnTo>
                <a:lnTo>
                  <a:pt x="3035" y="1640"/>
                </a:lnTo>
                <a:lnTo>
                  <a:pt x="3052" y="1646"/>
                </a:lnTo>
                <a:lnTo>
                  <a:pt x="3075" y="1652"/>
                </a:lnTo>
                <a:lnTo>
                  <a:pt x="3101" y="1658"/>
                </a:lnTo>
                <a:lnTo>
                  <a:pt x="3132" y="1665"/>
                </a:lnTo>
                <a:lnTo>
                  <a:pt x="3167" y="1670"/>
                </a:lnTo>
                <a:lnTo>
                  <a:pt x="3167" y="1670"/>
                </a:lnTo>
                <a:lnTo>
                  <a:pt x="3187" y="1672"/>
                </a:lnTo>
                <a:lnTo>
                  <a:pt x="3207" y="1673"/>
                </a:lnTo>
                <a:lnTo>
                  <a:pt x="3226" y="1674"/>
                </a:lnTo>
                <a:lnTo>
                  <a:pt x="3245" y="1674"/>
                </a:lnTo>
                <a:lnTo>
                  <a:pt x="3283" y="1672"/>
                </a:lnTo>
                <a:lnTo>
                  <a:pt x="3317" y="1669"/>
                </a:lnTo>
                <a:lnTo>
                  <a:pt x="3346" y="1663"/>
                </a:lnTo>
                <a:lnTo>
                  <a:pt x="3369" y="1658"/>
                </a:lnTo>
                <a:lnTo>
                  <a:pt x="3377" y="1655"/>
                </a:lnTo>
                <a:lnTo>
                  <a:pt x="3383" y="1653"/>
                </a:lnTo>
                <a:lnTo>
                  <a:pt x="3388" y="1650"/>
                </a:lnTo>
                <a:lnTo>
                  <a:pt x="3390" y="1647"/>
                </a:lnTo>
                <a:lnTo>
                  <a:pt x="3390" y="1647"/>
                </a:lnTo>
                <a:lnTo>
                  <a:pt x="3392" y="1621"/>
                </a:lnTo>
                <a:lnTo>
                  <a:pt x="3393" y="1587"/>
                </a:lnTo>
                <a:lnTo>
                  <a:pt x="3394" y="1510"/>
                </a:lnTo>
                <a:lnTo>
                  <a:pt x="3394" y="1412"/>
                </a:lnTo>
                <a:lnTo>
                  <a:pt x="3394" y="1412"/>
                </a:lnTo>
                <a:lnTo>
                  <a:pt x="3399" y="1348"/>
                </a:lnTo>
                <a:lnTo>
                  <a:pt x="3400" y="1304"/>
                </a:lnTo>
                <a:lnTo>
                  <a:pt x="3400" y="1289"/>
                </a:lnTo>
                <a:lnTo>
                  <a:pt x="3399" y="1285"/>
                </a:lnTo>
                <a:lnTo>
                  <a:pt x="3398" y="1284"/>
                </a:lnTo>
                <a:lnTo>
                  <a:pt x="3398" y="1284"/>
                </a:lnTo>
                <a:lnTo>
                  <a:pt x="3392" y="1284"/>
                </a:lnTo>
                <a:lnTo>
                  <a:pt x="3381" y="1285"/>
                </a:lnTo>
                <a:lnTo>
                  <a:pt x="3368" y="1285"/>
                </a:lnTo>
                <a:lnTo>
                  <a:pt x="3354" y="1284"/>
                </a:lnTo>
                <a:lnTo>
                  <a:pt x="3336" y="1282"/>
                </a:lnTo>
                <a:lnTo>
                  <a:pt x="3317" y="1279"/>
                </a:lnTo>
                <a:lnTo>
                  <a:pt x="3297" y="1274"/>
                </a:lnTo>
                <a:lnTo>
                  <a:pt x="3274" y="1269"/>
                </a:lnTo>
                <a:lnTo>
                  <a:pt x="3251" y="1261"/>
                </a:lnTo>
                <a:lnTo>
                  <a:pt x="3226" y="1251"/>
                </a:lnTo>
                <a:lnTo>
                  <a:pt x="3200" y="1240"/>
                </a:lnTo>
                <a:lnTo>
                  <a:pt x="3175" y="1226"/>
                </a:lnTo>
                <a:lnTo>
                  <a:pt x="3149" y="1210"/>
                </a:lnTo>
                <a:lnTo>
                  <a:pt x="3123" y="1191"/>
                </a:lnTo>
                <a:lnTo>
                  <a:pt x="3110" y="1181"/>
                </a:lnTo>
                <a:lnTo>
                  <a:pt x="3097" y="1170"/>
                </a:lnTo>
                <a:lnTo>
                  <a:pt x="3085" y="1157"/>
                </a:lnTo>
                <a:lnTo>
                  <a:pt x="3073" y="1145"/>
                </a:lnTo>
                <a:lnTo>
                  <a:pt x="3073" y="1145"/>
                </a:lnTo>
                <a:lnTo>
                  <a:pt x="3071" y="1143"/>
                </a:lnTo>
                <a:lnTo>
                  <a:pt x="3065" y="1138"/>
                </a:lnTo>
                <a:lnTo>
                  <a:pt x="3059" y="1129"/>
                </a:lnTo>
                <a:lnTo>
                  <a:pt x="3056" y="1123"/>
                </a:lnTo>
                <a:lnTo>
                  <a:pt x="3053" y="1116"/>
                </a:lnTo>
                <a:lnTo>
                  <a:pt x="3051" y="1109"/>
                </a:lnTo>
                <a:lnTo>
                  <a:pt x="3050" y="1101"/>
                </a:lnTo>
                <a:lnTo>
                  <a:pt x="3049" y="1092"/>
                </a:lnTo>
                <a:lnTo>
                  <a:pt x="3050" y="1082"/>
                </a:lnTo>
                <a:lnTo>
                  <a:pt x="3053" y="1072"/>
                </a:lnTo>
                <a:lnTo>
                  <a:pt x="3056" y="1060"/>
                </a:lnTo>
                <a:lnTo>
                  <a:pt x="3062" y="1048"/>
                </a:lnTo>
                <a:lnTo>
                  <a:pt x="3071" y="1035"/>
                </a:lnTo>
                <a:lnTo>
                  <a:pt x="3071" y="1035"/>
                </a:lnTo>
                <a:lnTo>
                  <a:pt x="2806" y="916"/>
                </a:lnTo>
                <a:lnTo>
                  <a:pt x="2806" y="916"/>
                </a:lnTo>
                <a:lnTo>
                  <a:pt x="2815" y="907"/>
                </a:lnTo>
                <a:lnTo>
                  <a:pt x="2824" y="896"/>
                </a:lnTo>
                <a:lnTo>
                  <a:pt x="2834" y="881"/>
                </a:lnTo>
                <a:lnTo>
                  <a:pt x="2845" y="865"/>
                </a:lnTo>
                <a:lnTo>
                  <a:pt x="2850" y="856"/>
                </a:lnTo>
                <a:lnTo>
                  <a:pt x="2854" y="847"/>
                </a:lnTo>
                <a:lnTo>
                  <a:pt x="2858" y="836"/>
                </a:lnTo>
                <a:lnTo>
                  <a:pt x="2861" y="826"/>
                </a:lnTo>
                <a:lnTo>
                  <a:pt x="2863" y="816"/>
                </a:lnTo>
                <a:lnTo>
                  <a:pt x="2863" y="806"/>
                </a:lnTo>
                <a:lnTo>
                  <a:pt x="2863" y="806"/>
                </a:lnTo>
                <a:lnTo>
                  <a:pt x="2863" y="794"/>
                </a:lnTo>
                <a:lnTo>
                  <a:pt x="2860" y="784"/>
                </a:lnTo>
                <a:lnTo>
                  <a:pt x="2855" y="774"/>
                </a:lnTo>
                <a:lnTo>
                  <a:pt x="2849" y="765"/>
                </a:lnTo>
                <a:lnTo>
                  <a:pt x="2841" y="756"/>
                </a:lnTo>
                <a:lnTo>
                  <a:pt x="2830" y="748"/>
                </a:lnTo>
                <a:lnTo>
                  <a:pt x="2820" y="741"/>
                </a:lnTo>
                <a:lnTo>
                  <a:pt x="2808" y="735"/>
                </a:lnTo>
                <a:lnTo>
                  <a:pt x="2795" y="730"/>
                </a:lnTo>
                <a:lnTo>
                  <a:pt x="2781" y="726"/>
                </a:lnTo>
                <a:lnTo>
                  <a:pt x="2767" y="722"/>
                </a:lnTo>
                <a:lnTo>
                  <a:pt x="2753" y="720"/>
                </a:lnTo>
                <a:lnTo>
                  <a:pt x="2738" y="718"/>
                </a:lnTo>
                <a:lnTo>
                  <a:pt x="2723" y="718"/>
                </a:lnTo>
                <a:lnTo>
                  <a:pt x="2709" y="719"/>
                </a:lnTo>
                <a:lnTo>
                  <a:pt x="2694" y="721"/>
                </a:lnTo>
                <a:lnTo>
                  <a:pt x="2694" y="721"/>
                </a:lnTo>
                <a:lnTo>
                  <a:pt x="2681" y="724"/>
                </a:lnTo>
                <a:lnTo>
                  <a:pt x="2669" y="728"/>
                </a:lnTo>
                <a:lnTo>
                  <a:pt x="2656" y="733"/>
                </a:lnTo>
                <a:lnTo>
                  <a:pt x="2644" y="739"/>
                </a:lnTo>
                <a:lnTo>
                  <a:pt x="2634" y="746"/>
                </a:lnTo>
                <a:lnTo>
                  <a:pt x="2623" y="754"/>
                </a:lnTo>
                <a:lnTo>
                  <a:pt x="2604" y="769"/>
                </a:lnTo>
                <a:lnTo>
                  <a:pt x="2589" y="784"/>
                </a:lnTo>
                <a:lnTo>
                  <a:pt x="2578" y="796"/>
                </a:lnTo>
                <a:lnTo>
                  <a:pt x="2569" y="809"/>
                </a:lnTo>
                <a:lnTo>
                  <a:pt x="2238" y="662"/>
                </a:lnTo>
                <a:lnTo>
                  <a:pt x="1977" y="925"/>
                </a:lnTo>
                <a:lnTo>
                  <a:pt x="1977" y="925"/>
                </a:lnTo>
                <a:lnTo>
                  <a:pt x="1972" y="930"/>
                </a:lnTo>
                <a:lnTo>
                  <a:pt x="1966" y="942"/>
                </a:lnTo>
                <a:lnTo>
                  <a:pt x="1963" y="949"/>
                </a:lnTo>
                <a:lnTo>
                  <a:pt x="1961" y="957"/>
                </a:lnTo>
                <a:lnTo>
                  <a:pt x="1960" y="966"/>
                </a:lnTo>
                <a:lnTo>
                  <a:pt x="1960" y="975"/>
                </a:lnTo>
                <a:lnTo>
                  <a:pt x="1964" y="999"/>
                </a:lnTo>
                <a:lnTo>
                  <a:pt x="1964" y="999"/>
                </a:lnTo>
                <a:lnTo>
                  <a:pt x="1964" y="1005"/>
                </a:lnTo>
                <a:lnTo>
                  <a:pt x="1963" y="1011"/>
                </a:lnTo>
                <a:lnTo>
                  <a:pt x="1962" y="1016"/>
                </a:lnTo>
                <a:lnTo>
                  <a:pt x="1961" y="1020"/>
                </a:lnTo>
                <a:lnTo>
                  <a:pt x="1957" y="1028"/>
                </a:lnTo>
                <a:lnTo>
                  <a:pt x="1955" y="1032"/>
                </a:lnTo>
                <a:lnTo>
                  <a:pt x="1955" y="1032"/>
                </a:lnTo>
                <a:lnTo>
                  <a:pt x="1936" y="1054"/>
                </a:lnTo>
                <a:lnTo>
                  <a:pt x="1916" y="1078"/>
                </a:lnTo>
                <a:lnTo>
                  <a:pt x="1896" y="1100"/>
                </a:lnTo>
                <a:lnTo>
                  <a:pt x="1876" y="1123"/>
                </a:lnTo>
                <a:lnTo>
                  <a:pt x="1876" y="1123"/>
                </a:lnTo>
                <a:lnTo>
                  <a:pt x="1847" y="1161"/>
                </a:lnTo>
                <a:lnTo>
                  <a:pt x="1836" y="1177"/>
                </a:lnTo>
                <a:lnTo>
                  <a:pt x="1828" y="1189"/>
                </a:lnTo>
                <a:lnTo>
                  <a:pt x="1828" y="1189"/>
                </a:lnTo>
                <a:lnTo>
                  <a:pt x="1819" y="1204"/>
                </a:lnTo>
                <a:lnTo>
                  <a:pt x="1811" y="1220"/>
                </a:lnTo>
                <a:lnTo>
                  <a:pt x="1799" y="1245"/>
                </a:lnTo>
                <a:lnTo>
                  <a:pt x="1789" y="1269"/>
                </a:lnTo>
                <a:lnTo>
                  <a:pt x="1781" y="1290"/>
                </a:lnTo>
                <a:lnTo>
                  <a:pt x="1781" y="1290"/>
                </a:lnTo>
                <a:lnTo>
                  <a:pt x="1780" y="1293"/>
                </a:lnTo>
                <a:lnTo>
                  <a:pt x="1778" y="1304"/>
                </a:lnTo>
                <a:lnTo>
                  <a:pt x="1778" y="1311"/>
                </a:lnTo>
                <a:lnTo>
                  <a:pt x="1777" y="1319"/>
                </a:lnTo>
                <a:lnTo>
                  <a:pt x="1778" y="1328"/>
                </a:lnTo>
                <a:lnTo>
                  <a:pt x="1780" y="1339"/>
                </a:lnTo>
                <a:lnTo>
                  <a:pt x="1784" y="1352"/>
                </a:lnTo>
                <a:lnTo>
                  <a:pt x="1789" y="1365"/>
                </a:lnTo>
                <a:lnTo>
                  <a:pt x="1797" y="1378"/>
                </a:lnTo>
                <a:lnTo>
                  <a:pt x="1807" y="1394"/>
                </a:lnTo>
                <a:lnTo>
                  <a:pt x="1819" y="1410"/>
                </a:lnTo>
                <a:lnTo>
                  <a:pt x="1833" y="1426"/>
                </a:lnTo>
                <a:lnTo>
                  <a:pt x="1852" y="1444"/>
                </a:lnTo>
                <a:lnTo>
                  <a:pt x="1874" y="1462"/>
                </a:lnTo>
                <a:lnTo>
                  <a:pt x="1881" y="1468"/>
                </a:lnTo>
                <a:lnTo>
                  <a:pt x="1881" y="1468"/>
                </a:lnTo>
                <a:lnTo>
                  <a:pt x="1894" y="1451"/>
                </a:lnTo>
                <a:lnTo>
                  <a:pt x="1905" y="1462"/>
                </a:lnTo>
                <a:lnTo>
                  <a:pt x="1905" y="1462"/>
                </a:lnTo>
                <a:lnTo>
                  <a:pt x="1914" y="1471"/>
                </a:lnTo>
                <a:lnTo>
                  <a:pt x="1926" y="1482"/>
                </a:lnTo>
                <a:lnTo>
                  <a:pt x="1941" y="1494"/>
                </a:lnTo>
                <a:lnTo>
                  <a:pt x="1957" y="1504"/>
                </a:lnTo>
                <a:lnTo>
                  <a:pt x="1957" y="1504"/>
                </a:lnTo>
                <a:lnTo>
                  <a:pt x="1959" y="1497"/>
                </a:lnTo>
                <a:lnTo>
                  <a:pt x="1964" y="1477"/>
                </a:lnTo>
                <a:lnTo>
                  <a:pt x="1969" y="1464"/>
                </a:lnTo>
                <a:lnTo>
                  <a:pt x="1975" y="1451"/>
                </a:lnTo>
                <a:lnTo>
                  <a:pt x="1983" y="1437"/>
                </a:lnTo>
                <a:lnTo>
                  <a:pt x="1991" y="1422"/>
                </a:lnTo>
                <a:lnTo>
                  <a:pt x="1991" y="1422"/>
                </a:lnTo>
                <a:lnTo>
                  <a:pt x="2000" y="1410"/>
                </a:lnTo>
                <a:lnTo>
                  <a:pt x="2011" y="1398"/>
                </a:lnTo>
                <a:lnTo>
                  <a:pt x="2025" y="1384"/>
                </a:lnTo>
                <a:lnTo>
                  <a:pt x="2038" y="1371"/>
                </a:lnTo>
                <a:lnTo>
                  <a:pt x="2052" y="1359"/>
                </a:lnTo>
                <a:lnTo>
                  <a:pt x="2065" y="1348"/>
                </a:lnTo>
                <a:lnTo>
                  <a:pt x="2080" y="1337"/>
                </a:lnTo>
                <a:lnTo>
                  <a:pt x="2092" y="1329"/>
                </a:lnTo>
                <a:lnTo>
                  <a:pt x="2092" y="1329"/>
                </a:lnTo>
                <a:lnTo>
                  <a:pt x="2107" y="1320"/>
                </a:lnTo>
                <a:lnTo>
                  <a:pt x="2123" y="1312"/>
                </a:lnTo>
                <a:lnTo>
                  <a:pt x="2138" y="1305"/>
                </a:lnTo>
                <a:lnTo>
                  <a:pt x="2154" y="1298"/>
                </a:lnTo>
                <a:lnTo>
                  <a:pt x="2170" y="1294"/>
                </a:lnTo>
                <a:lnTo>
                  <a:pt x="2186" y="1291"/>
                </a:lnTo>
                <a:lnTo>
                  <a:pt x="2202" y="1288"/>
                </a:lnTo>
                <a:lnTo>
                  <a:pt x="2220" y="1287"/>
                </a:lnTo>
                <a:lnTo>
                  <a:pt x="2220" y="1287"/>
                </a:lnTo>
                <a:lnTo>
                  <a:pt x="2234" y="1288"/>
                </a:lnTo>
                <a:lnTo>
                  <a:pt x="2247" y="1289"/>
                </a:lnTo>
                <a:lnTo>
                  <a:pt x="2261" y="1292"/>
                </a:lnTo>
                <a:lnTo>
                  <a:pt x="2272" y="1297"/>
                </a:lnTo>
                <a:lnTo>
                  <a:pt x="2283" y="1304"/>
                </a:lnTo>
                <a:lnTo>
                  <a:pt x="2295" y="1311"/>
                </a:lnTo>
                <a:lnTo>
                  <a:pt x="2305" y="1320"/>
                </a:lnTo>
                <a:lnTo>
                  <a:pt x="2316" y="1330"/>
                </a:lnTo>
                <a:lnTo>
                  <a:pt x="2316" y="1330"/>
                </a:lnTo>
                <a:lnTo>
                  <a:pt x="2323" y="1338"/>
                </a:lnTo>
                <a:lnTo>
                  <a:pt x="2330" y="1349"/>
                </a:lnTo>
                <a:lnTo>
                  <a:pt x="2336" y="1360"/>
                </a:lnTo>
                <a:lnTo>
                  <a:pt x="2342" y="1372"/>
                </a:lnTo>
                <a:lnTo>
                  <a:pt x="2347" y="1384"/>
                </a:lnTo>
                <a:lnTo>
                  <a:pt x="2351" y="1398"/>
                </a:lnTo>
                <a:lnTo>
                  <a:pt x="2355" y="1412"/>
                </a:lnTo>
                <a:lnTo>
                  <a:pt x="2358" y="1426"/>
                </a:lnTo>
                <a:lnTo>
                  <a:pt x="2360" y="1440"/>
                </a:lnTo>
                <a:lnTo>
                  <a:pt x="2362" y="1454"/>
                </a:lnTo>
                <a:lnTo>
                  <a:pt x="2363" y="1467"/>
                </a:lnTo>
                <a:lnTo>
                  <a:pt x="2364" y="1480"/>
                </a:lnTo>
                <a:lnTo>
                  <a:pt x="2364" y="1493"/>
                </a:lnTo>
                <a:lnTo>
                  <a:pt x="2363" y="1504"/>
                </a:lnTo>
                <a:lnTo>
                  <a:pt x="2361" y="1514"/>
                </a:lnTo>
                <a:lnTo>
                  <a:pt x="2359" y="1523"/>
                </a:lnTo>
                <a:lnTo>
                  <a:pt x="2359" y="1523"/>
                </a:lnTo>
                <a:lnTo>
                  <a:pt x="2330" y="1505"/>
                </a:lnTo>
                <a:lnTo>
                  <a:pt x="2330" y="1505"/>
                </a:lnTo>
                <a:lnTo>
                  <a:pt x="2309" y="1494"/>
                </a:lnTo>
                <a:lnTo>
                  <a:pt x="2281" y="1484"/>
                </a:lnTo>
                <a:lnTo>
                  <a:pt x="2266" y="1477"/>
                </a:lnTo>
                <a:lnTo>
                  <a:pt x="2251" y="1473"/>
                </a:lnTo>
                <a:lnTo>
                  <a:pt x="2233" y="1469"/>
                </a:lnTo>
                <a:lnTo>
                  <a:pt x="2215" y="1465"/>
                </a:lnTo>
                <a:lnTo>
                  <a:pt x="2195" y="1463"/>
                </a:lnTo>
                <a:lnTo>
                  <a:pt x="2175" y="1462"/>
                </a:lnTo>
                <a:lnTo>
                  <a:pt x="2154" y="1462"/>
                </a:lnTo>
                <a:lnTo>
                  <a:pt x="2132" y="1464"/>
                </a:lnTo>
                <a:lnTo>
                  <a:pt x="2109" y="1467"/>
                </a:lnTo>
                <a:lnTo>
                  <a:pt x="2086" y="1472"/>
                </a:lnTo>
                <a:lnTo>
                  <a:pt x="2062" y="1480"/>
                </a:lnTo>
                <a:lnTo>
                  <a:pt x="2037" y="1491"/>
                </a:lnTo>
                <a:lnTo>
                  <a:pt x="2037" y="1491"/>
                </a:lnTo>
                <a:lnTo>
                  <a:pt x="1995" y="1509"/>
                </a:lnTo>
                <a:lnTo>
                  <a:pt x="1967" y="1521"/>
                </a:lnTo>
                <a:lnTo>
                  <a:pt x="1936" y="1534"/>
                </a:lnTo>
                <a:lnTo>
                  <a:pt x="1900" y="1548"/>
                </a:lnTo>
                <a:lnTo>
                  <a:pt x="1860" y="1562"/>
                </a:lnTo>
                <a:lnTo>
                  <a:pt x="1814" y="1578"/>
                </a:lnTo>
                <a:lnTo>
                  <a:pt x="1764" y="1593"/>
                </a:lnTo>
                <a:lnTo>
                  <a:pt x="1764" y="1593"/>
                </a:lnTo>
                <a:lnTo>
                  <a:pt x="1737" y="1600"/>
                </a:lnTo>
                <a:lnTo>
                  <a:pt x="1725" y="1602"/>
                </a:lnTo>
                <a:lnTo>
                  <a:pt x="1713" y="1603"/>
                </a:lnTo>
                <a:lnTo>
                  <a:pt x="1701" y="1603"/>
                </a:lnTo>
                <a:lnTo>
                  <a:pt x="1691" y="1603"/>
                </a:lnTo>
                <a:lnTo>
                  <a:pt x="1681" y="1602"/>
                </a:lnTo>
                <a:lnTo>
                  <a:pt x="1672" y="1600"/>
                </a:lnTo>
                <a:lnTo>
                  <a:pt x="1664" y="1597"/>
                </a:lnTo>
                <a:lnTo>
                  <a:pt x="1655" y="1592"/>
                </a:lnTo>
                <a:lnTo>
                  <a:pt x="1649" y="1587"/>
                </a:lnTo>
                <a:lnTo>
                  <a:pt x="1642" y="1581"/>
                </a:lnTo>
                <a:lnTo>
                  <a:pt x="1637" y="1574"/>
                </a:lnTo>
                <a:lnTo>
                  <a:pt x="1633" y="1564"/>
                </a:lnTo>
                <a:lnTo>
                  <a:pt x="1629" y="1554"/>
                </a:lnTo>
                <a:lnTo>
                  <a:pt x="1626" y="1543"/>
                </a:lnTo>
                <a:lnTo>
                  <a:pt x="1626" y="1543"/>
                </a:lnTo>
                <a:lnTo>
                  <a:pt x="1624" y="1533"/>
                </a:lnTo>
                <a:lnTo>
                  <a:pt x="1623" y="1522"/>
                </a:lnTo>
                <a:lnTo>
                  <a:pt x="1623" y="1513"/>
                </a:lnTo>
                <a:lnTo>
                  <a:pt x="1623" y="1504"/>
                </a:lnTo>
                <a:lnTo>
                  <a:pt x="1625" y="1488"/>
                </a:lnTo>
                <a:lnTo>
                  <a:pt x="1629" y="1473"/>
                </a:lnTo>
                <a:lnTo>
                  <a:pt x="1633" y="1462"/>
                </a:lnTo>
                <a:lnTo>
                  <a:pt x="1636" y="1454"/>
                </a:lnTo>
                <a:lnTo>
                  <a:pt x="1640" y="1446"/>
                </a:lnTo>
                <a:lnTo>
                  <a:pt x="1640" y="1446"/>
                </a:lnTo>
                <a:lnTo>
                  <a:pt x="1636" y="1447"/>
                </a:lnTo>
                <a:lnTo>
                  <a:pt x="1626" y="1450"/>
                </a:lnTo>
                <a:lnTo>
                  <a:pt x="1610" y="1456"/>
                </a:lnTo>
                <a:lnTo>
                  <a:pt x="1601" y="1459"/>
                </a:lnTo>
                <a:lnTo>
                  <a:pt x="1592" y="1464"/>
                </a:lnTo>
                <a:lnTo>
                  <a:pt x="1582" y="1470"/>
                </a:lnTo>
                <a:lnTo>
                  <a:pt x="1573" y="1476"/>
                </a:lnTo>
                <a:lnTo>
                  <a:pt x="1563" y="1485"/>
                </a:lnTo>
                <a:lnTo>
                  <a:pt x="1554" y="1494"/>
                </a:lnTo>
                <a:lnTo>
                  <a:pt x="1546" y="1504"/>
                </a:lnTo>
                <a:lnTo>
                  <a:pt x="1539" y="1515"/>
                </a:lnTo>
                <a:lnTo>
                  <a:pt x="1533" y="1529"/>
                </a:lnTo>
                <a:lnTo>
                  <a:pt x="1528" y="1543"/>
                </a:lnTo>
                <a:lnTo>
                  <a:pt x="1528" y="1543"/>
                </a:lnTo>
                <a:lnTo>
                  <a:pt x="1525" y="1558"/>
                </a:lnTo>
                <a:lnTo>
                  <a:pt x="1523" y="1574"/>
                </a:lnTo>
                <a:lnTo>
                  <a:pt x="1523" y="1589"/>
                </a:lnTo>
                <a:lnTo>
                  <a:pt x="1523" y="1603"/>
                </a:lnTo>
                <a:lnTo>
                  <a:pt x="1524" y="1616"/>
                </a:lnTo>
                <a:lnTo>
                  <a:pt x="1527" y="1631"/>
                </a:lnTo>
                <a:lnTo>
                  <a:pt x="1531" y="1643"/>
                </a:lnTo>
                <a:lnTo>
                  <a:pt x="1536" y="1655"/>
                </a:lnTo>
                <a:lnTo>
                  <a:pt x="1542" y="1668"/>
                </a:lnTo>
                <a:lnTo>
                  <a:pt x="1549" y="1678"/>
                </a:lnTo>
                <a:lnTo>
                  <a:pt x="1557" y="1688"/>
                </a:lnTo>
                <a:lnTo>
                  <a:pt x="1568" y="1696"/>
                </a:lnTo>
                <a:lnTo>
                  <a:pt x="1578" y="1704"/>
                </a:lnTo>
                <a:lnTo>
                  <a:pt x="1590" y="1711"/>
                </a:lnTo>
                <a:lnTo>
                  <a:pt x="1602" y="1717"/>
                </a:lnTo>
                <a:lnTo>
                  <a:pt x="1617" y="1721"/>
                </a:lnTo>
                <a:lnTo>
                  <a:pt x="1617" y="1721"/>
                </a:lnTo>
                <a:lnTo>
                  <a:pt x="1630" y="1724"/>
                </a:lnTo>
                <a:lnTo>
                  <a:pt x="1644" y="1725"/>
                </a:lnTo>
                <a:lnTo>
                  <a:pt x="1660" y="1724"/>
                </a:lnTo>
                <a:lnTo>
                  <a:pt x="1676" y="1722"/>
                </a:lnTo>
                <a:lnTo>
                  <a:pt x="1692" y="1720"/>
                </a:lnTo>
                <a:lnTo>
                  <a:pt x="1710" y="1716"/>
                </a:lnTo>
                <a:lnTo>
                  <a:pt x="1727" y="1711"/>
                </a:lnTo>
                <a:lnTo>
                  <a:pt x="1744" y="1705"/>
                </a:lnTo>
                <a:lnTo>
                  <a:pt x="1779" y="1691"/>
                </a:lnTo>
                <a:lnTo>
                  <a:pt x="1815" y="1676"/>
                </a:lnTo>
                <a:lnTo>
                  <a:pt x="1849" y="1659"/>
                </a:lnTo>
                <a:lnTo>
                  <a:pt x="1880" y="1643"/>
                </a:lnTo>
                <a:lnTo>
                  <a:pt x="1880" y="1643"/>
                </a:lnTo>
                <a:lnTo>
                  <a:pt x="1942" y="1611"/>
                </a:lnTo>
                <a:lnTo>
                  <a:pt x="1979" y="1593"/>
                </a:lnTo>
                <a:lnTo>
                  <a:pt x="2013" y="1577"/>
                </a:lnTo>
                <a:lnTo>
                  <a:pt x="2013" y="1577"/>
                </a:lnTo>
                <a:lnTo>
                  <a:pt x="2041" y="1565"/>
                </a:lnTo>
                <a:lnTo>
                  <a:pt x="2054" y="1561"/>
                </a:lnTo>
                <a:lnTo>
                  <a:pt x="2068" y="1557"/>
                </a:lnTo>
                <a:lnTo>
                  <a:pt x="2081" y="1554"/>
                </a:lnTo>
                <a:lnTo>
                  <a:pt x="2093" y="1552"/>
                </a:lnTo>
                <a:lnTo>
                  <a:pt x="2105" y="1550"/>
                </a:lnTo>
                <a:lnTo>
                  <a:pt x="2119" y="1550"/>
                </a:lnTo>
                <a:lnTo>
                  <a:pt x="2131" y="1550"/>
                </a:lnTo>
                <a:lnTo>
                  <a:pt x="2143" y="1551"/>
                </a:lnTo>
                <a:lnTo>
                  <a:pt x="2156" y="1553"/>
                </a:lnTo>
                <a:lnTo>
                  <a:pt x="2170" y="1555"/>
                </a:lnTo>
                <a:lnTo>
                  <a:pt x="2183" y="1559"/>
                </a:lnTo>
                <a:lnTo>
                  <a:pt x="2196" y="1563"/>
                </a:lnTo>
                <a:lnTo>
                  <a:pt x="2211" y="1569"/>
                </a:lnTo>
                <a:lnTo>
                  <a:pt x="2226" y="1576"/>
                </a:lnTo>
                <a:lnTo>
                  <a:pt x="2226" y="1576"/>
                </a:lnTo>
                <a:lnTo>
                  <a:pt x="2246" y="1586"/>
                </a:lnTo>
                <a:lnTo>
                  <a:pt x="2265" y="1596"/>
                </a:lnTo>
                <a:lnTo>
                  <a:pt x="2281" y="1607"/>
                </a:lnTo>
                <a:lnTo>
                  <a:pt x="2295" y="1616"/>
                </a:lnTo>
                <a:lnTo>
                  <a:pt x="2305" y="1626"/>
                </a:lnTo>
                <a:lnTo>
                  <a:pt x="2312" y="1633"/>
                </a:lnTo>
                <a:lnTo>
                  <a:pt x="2319" y="1639"/>
                </a:lnTo>
                <a:lnTo>
                  <a:pt x="2319" y="1639"/>
                </a:lnTo>
                <a:lnTo>
                  <a:pt x="2317" y="1642"/>
                </a:lnTo>
                <a:lnTo>
                  <a:pt x="2313" y="1649"/>
                </a:lnTo>
                <a:lnTo>
                  <a:pt x="2305" y="1660"/>
                </a:lnTo>
                <a:lnTo>
                  <a:pt x="2300" y="1667"/>
                </a:lnTo>
                <a:lnTo>
                  <a:pt x="2293" y="1674"/>
                </a:lnTo>
                <a:lnTo>
                  <a:pt x="2285" y="1680"/>
                </a:lnTo>
                <a:lnTo>
                  <a:pt x="2276" y="1687"/>
                </a:lnTo>
                <a:lnTo>
                  <a:pt x="2267" y="1693"/>
                </a:lnTo>
                <a:lnTo>
                  <a:pt x="2255" y="1698"/>
                </a:lnTo>
                <a:lnTo>
                  <a:pt x="2242" y="1703"/>
                </a:lnTo>
                <a:lnTo>
                  <a:pt x="2228" y="1707"/>
                </a:lnTo>
                <a:lnTo>
                  <a:pt x="2212" y="1711"/>
                </a:lnTo>
                <a:lnTo>
                  <a:pt x="2194" y="1712"/>
                </a:lnTo>
                <a:lnTo>
                  <a:pt x="2194" y="1712"/>
                </a:lnTo>
                <a:lnTo>
                  <a:pt x="2180" y="1713"/>
                </a:lnTo>
                <a:lnTo>
                  <a:pt x="2166" y="1712"/>
                </a:lnTo>
                <a:lnTo>
                  <a:pt x="2152" y="1710"/>
                </a:lnTo>
                <a:lnTo>
                  <a:pt x="2139" y="1706"/>
                </a:lnTo>
                <a:lnTo>
                  <a:pt x="2127" y="1703"/>
                </a:lnTo>
                <a:lnTo>
                  <a:pt x="2115" y="1699"/>
                </a:lnTo>
                <a:lnTo>
                  <a:pt x="2103" y="1695"/>
                </a:lnTo>
                <a:lnTo>
                  <a:pt x="2092" y="1689"/>
                </a:lnTo>
                <a:lnTo>
                  <a:pt x="2082" y="1684"/>
                </a:lnTo>
                <a:lnTo>
                  <a:pt x="2073" y="1678"/>
                </a:lnTo>
                <a:lnTo>
                  <a:pt x="2064" y="1672"/>
                </a:lnTo>
                <a:lnTo>
                  <a:pt x="2056" y="1665"/>
                </a:lnTo>
                <a:lnTo>
                  <a:pt x="2048" y="1657"/>
                </a:lnTo>
                <a:lnTo>
                  <a:pt x="2042" y="1650"/>
                </a:lnTo>
                <a:lnTo>
                  <a:pt x="2036" y="1643"/>
                </a:lnTo>
                <a:lnTo>
                  <a:pt x="2031" y="1636"/>
                </a:lnTo>
                <a:lnTo>
                  <a:pt x="2031" y="1636"/>
                </a:lnTo>
                <a:lnTo>
                  <a:pt x="2022" y="1658"/>
                </a:lnTo>
                <a:lnTo>
                  <a:pt x="2013" y="1676"/>
                </a:lnTo>
                <a:lnTo>
                  <a:pt x="2007" y="1689"/>
                </a:lnTo>
                <a:lnTo>
                  <a:pt x="2007" y="1689"/>
                </a:lnTo>
                <a:lnTo>
                  <a:pt x="2003" y="1697"/>
                </a:lnTo>
                <a:lnTo>
                  <a:pt x="2000" y="1704"/>
                </a:lnTo>
                <a:lnTo>
                  <a:pt x="1998" y="1713"/>
                </a:lnTo>
                <a:lnTo>
                  <a:pt x="1997" y="1719"/>
                </a:lnTo>
                <a:lnTo>
                  <a:pt x="1997" y="1726"/>
                </a:lnTo>
                <a:lnTo>
                  <a:pt x="1997" y="1732"/>
                </a:lnTo>
                <a:lnTo>
                  <a:pt x="1999" y="1744"/>
                </a:lnTo>
                <a:lnTo>
                  <a:pt x="2001" y="1756"/>
                </a:lnTo>
                <a:lnTo>
                  <a:pt x="2003" y="1766"/>
                </a:lnTo>
                <a:lnTo>
                  <a:pt x="2004" y="1777"/>
                </a:lnTo>
                <a:lnTo>
                  <a:pt x="2003" y="1783"/>
                </a:lnTo>
                <a:lnTo>
                  <a:pt x="2001" y="1788"/>
                </a:lnTo>
                <a:lnTo>
                  <a:pt x="2001" y="1788"/>
                </a:lnTo>
                <a:lnTo>
                  <a:pt x="1999" y="1794"/>
                </a:lnTo>
                <a:lnTo>
                  <a:pt x="1995" y="1800"/>
                </a:lnTo>
                <a:lnTo>
                  <a:pt x="1986" y="1813"/>
                </a:lnTo>
                <a:lnTo>
                  <a:pt x="1973" y="1825"/>
                </a:lnTo>
                <a:lnTo>
                  <a:pt x="1960" y="1837"/>
                </a:lnTo>
                <a:lnTo>
                  <a:pt x="1945" y="1849"/>
                </a:lnTo>
                <a:lnTo>
                  <a:pt x="1931" y="1860"/>
                </a:lnTo>
                <a:lnTo>
                  <a:pt x="1904" y="1878"/>
                </a:lnTo>
                <a:lnTo>
                  <a:pt x="1904" y="1878"/>
                </a:lnTo>
                <a:lnTo>
                  <a:pt x="1886" y="1889"/>
                </a:lnTo>
                <a:lnTo>
                  <a:pt x="1864" y="1901"/>
                </a:lnTo>
                <a:lnTo>
                  <a:pt x="1842" y="1911"/>
                </a:lnTo>
                <a:lnTo>
                  <a:pt x="1819" y="1919"/>
                </a:lnTo>
                <a:lnTo>
                  <a:pt x="1798" y="1926"/>
                </a:lnTo>
                <a:lnTo>
                  <a:pt x="1779" y="1932"/>
                </a:lnTo>
                <a:lnTo>
                  <a:pt x="1754" y="1940"/>
                </a:lnTo>
                <a:lnTo>
                  <a:pt x="1754" y="1940"/>
                </a:lnTo>
                <a:lnTo>
                  <a:pt x="1779" y="1998"/>
                </a:lnTo>
                <a:lnTo>
                  <a:pt x="1811" y="2066"/>
                </a:lnTo>
                <a:lnTo>
                  <a:pt x="1811" y="2066"/>
                </a:lnTo>
                <a:lnTo>
                  <a:pt x="1833" y="2111"/>
                </a:lnTo>
                <a:lnTo>
                  <a:pt x="1862" y="2166"/>
                </a:lnTo>
                <a:lnTo>
                  <a:pt x="1877" y="2193"/>
                </a:lnTo>
                <a:lnTo>
                  <a:pt x="1893" y="2219"/>
                </a:lnTo>
                <a:lnTo>
                  <a:pt x="1909" y="2240"/>
                </a:lnTo>
                <a:lnTo>
                  <a:pt x="1916" y="2250"/>
                </a:lnTo>
                <a:lnTo>
                  <a:pt x="1924" y="2259"/>
                </a:lnTo>
                <a:lnTo>
                  <a:pt x="1924" y="2259"/>
                </a:lnTo>
                <a:lnTo>
                  <a:pt x="1940" y="2254"/>
                </a:lnTo>
                <a:lnTo>
                  <a:pt x="1957" y="2249"/>
                </a:lnTo>
                <a:lnTo>
                  <a:pt x="1980" y="2243"/>
                </a:lnTo>
                <a:lnTo>
                  <a:pt x="2004" y="2235"/>
                </a:lnTo>
                <a:lnTo>
                  <a:pt x="2031" y="2225"/>
                </a:lnTo>
                <a:lnTo>
                  <a:pt x="2057" y="2213"/>
                </a:lnTo>
                <a:lnTo>
                  <a:pt x="2071" y="2206"/>
                </a:lnTo>
                <a:lnTo>
                  <a:pt x="2083" y="2199"/>
                </a:lnTo>
                <a:lnTo>
                  <a:pt x="2083" y="2199"/>
                </a:lnTo>
                <a:lnTo>
                  <a:pt x="2105" y="2186"/>
                </a:lnTo>
                <a:lnTo>
                  <a:pt x="2126" y="2172"/>
                </a:lnTo>
                <a:lnTo>
                  <a:pt x="2145" y="2157"/>
                </a:lnTo>
                <a:lnTo>
                  <a:pt x="2162" y="2142"/>
                </a:lnTo>
                <a:lnTo>
                  <a:pt x="2177" y="2128"/>
                </a:lnTo>
                <a:lnTo>
                  <a:pt x="2189" y="2113"/>
                </a:lnTo>
                <a:lnTo>
                  <a:pt x="2199" y="2099"/>
                </a:lnTo>
                <a:lnTo>
                  <a:pt x="2207" y="2086"/>
                </a:lnTo>
                <a:lnTo>
                  <a:pt x="2207" y="2086"/>
                </a:lnTo>
                <a:lnTo>
                  <a:pt x="2190" y="2122"/>
                </a:lnTo>
                <a:lnTo>
                  <a:pt x="2175" y="2155"/>
                </a:lnTo>
                <a:lnTo>
                  <a:pt x="2161" y="2185"/>
                </a:lnTo>
                <a:lnTo>
                  <a:pt x="2146" y="2213"/>
                </a:lnTo>
                <a:lnTo>
                  <a:pt x="2132" y="2238"/>
                </a:lnTo>
                <a:lnTo>
                  <a:pt x="2119" y="2261"/>
                </a:lnTo>
                <a:lnTo>
                  <a:pt x="2105" y="2281"/>
                </a:lnTo>
                <a:lnTo>
                  <a:pt x="2092" y="2299"/>
                </a:lnTo>
                <a:lnTo>
                  <a:pt x="2080" y="2317"/>
                </a:lnTo>
                <a:lnTo>
                  <a:pt x="2068" y="2331"/>
                </a:lnTo>
                <a:lnTo>
                  <a:pt x="2055" y="2344"/>
                </a:lnTo>
                <a:lnTo>
                  <a:pt x="2044" y="2356"/>
                </a:lnTo>
                <a:lnTo>
                  <a:pt x="2033" y="2367"/>
                </a:lnTo>
                <a:lnTo>
                  <a:pt x="2022" y="2376"/>
                </a:lnTo>
                <a:lnTo>
                  <a:pt x="2011" y="2383"/>
                </a:lnTo>
                <a:lnTo>
                  <a:pt x="2000" y="2391"/>
                </a:lnTo>
                <a:lnTo>
                  <a:pt x="2000" y="2391"/>
                </a:lnTo>
                <a:lnTo>
                  <a:pt x="1907" y="2452"/>
                </a:lnTo>
                <a:lnTo>
                  <a:pt x="1797" y="2524"/>
                </a:lnTo>
                <a:lnTo>
                  <a:pt x="1735" y="2563"/>
                </a:lnTo>
                <a:lnTo>
                  <a:pt x="1671" y="2602"/>
                </a:lnTo>
                <a:lnTo>
                  <a:pt x="1602" y="2642"/>
                </a:lnTo>
                <a:lnTo>
                  <a:pt x="1532" y="2682"/>
                </a:lnTo>
                <a:lnTo>
                  <a:pt x="1459" y="2720"/>
                </a:lnTo>
                <a:lnTo>
                  <a:pt x="1422" y="2739"/>
                </a:lnTo>
                <a:lnTo>
                  <a:pt x="1384" y="2756"/>
                </a:lnTo>
                <a:lnTo>
                  <a:pt x="1347" y="2774"/>
                </a:lnTo>
                <a:lnTo>
                  <a:pt x="1308" y="2791"/>
                </a:lnTo>
                <a:lnTo>
                  <a:pt x="1269" y="2808"/>
                </a:lnTo>
                <a:lnTo>
                  <a:pt x="1230" y="2823"/>
                </a:lnTo>
                <a:lnTo>
                  <a:pt x="1190" y="2837"/>
                </a:lnTo>
                <a:lnTo>
                  <a:pt x="1151" y="2851"/>
                </a:lnTo>
                <a:lnTo>
                  <a:pt x="1111" y="2864"/>
                </a:lnTo>
                <a:lnTo>
                  <a:pt x="1072" y="2875"/>
                </a:lnTo>
                <a:lnTo>
                  <a:pt x="1032" y="2885"/>
                </a:lnTo>
                <a:lnTo>
                  <a:pt x="992" y="2893"/>
                </a:lnTo>
                <a:lnTo>
                  <a:pt x="952" y="2902"/>
                </a:lnTo>
                <a:lnTo>
                  <a:pt x="913" y="2908"/>
                </a:lnTo>
                <a:lnTo>
                  <a:pt x="913" y="2908"/>
                </a:lnTo>
                <a:lnTo>
                  <a:pt x="901" y="2908"/>
                </a:lnTo>
                <a:lnTo>
                  <a:pt x="889" y="2907"/>
                </a:lnTo>
                <a:lnTo>
                  <a:pt x="876" y="2904"/>
                </a:lnTo>
                <a:lnTo>
                  <a:pt x="863" y="2901"/>
                </a:lnTo>
                <a:lnTo>
                  <a:pt x="850" y="2898"/>
                </a:lnTo>
                <a:lnTo>
                  <a:pt x="836" y="2892"/>
                </a:lnTo>
                <a:lnTo>
                  <a:pt x="809" y="2880"/>
                </a:lnTo>
                <a:lnTo>
                  <a:pt x="781" y="2866"/>
                </a:lnTo>
                <a:lnTo>
                  <a:pt x="754" y="2850"/>
                </a:lnTo>
                <a:lnTo>
                  <a:pt x="726" y="2832"/>
                </a:lnTo>
                <a:lnTo>
                  <a:pt x="698" y="2813"/>
                </a:lnTo>
                <a:lnTo>
                  <a:pt x="672" y="2792"/>
                </a:lnTo>
                <a:lnTo>
                  <a:pt x="646" y="2772"/>
                </a:lnTo>
                <a:lnTo>
                  <a:pt x="623" y="2751"/>
                </a:lnTo>
                <a:lnTo>
                  <a:pt x="600" y="2731"/>
                </a:lnTo>
                <a:lnTo>
                  <a:pt x="581" y="2711"/>
                </a:lnTo>
                <a:lnTo>
                  <a:pt x="563" y="2694"/>
                </a:lnTo>
                <a:lnTo>
                  <a:pt x="548" y="2679"/>
                </a:lnTo>
                <a:lnTo>
                  <a:pt x="537" y="2665"/>
                </a:lnTo>
                <a:lnTo>
                  <a:pt x="537" y="2665"/>
                </a:lnTo>
                <a:lnTo>
                  <a:pt x="533" y="2661"/>
                </a:lnTo>
                <a:lnTo>
                  <a:pt x="530" y="2657"/>
                </a:lnTo>
                <a:lnTo>
                  <a:pt x="520" y="2652"/>
                </a:lnTo>
                <a:lnTo>
                  <a:pt x="512" y="2650"/>
                </a:lnTo>
                <a:lnTo>
                  <a:pt x="502" y="2649"/>
                </a:lnTo>
                <a:lnTo>
                  <a:pt x="493" y="2649"/>
                </a:lnTo>
                <a:lnTo>
                  <a:pt x="483" y="2651"/>
                </a:lnTo>
                <a:lnTo>
                  <a:pt x="473" y="2654"/>
                </a:lnTo>
                <a:lnTo>
                  <a:pt x="464" y="2658"/>
                </a:lnTo>
                <a:lnTo>
                  <a:pt x="447" y="2666"/>
                </a:lnTo>
                <a:lnTo>
                  <a:pt x="433" y="2676"/>
                </a:lnTo>
                <a:lnTo>
                  <a:pt x="419" y="2686"/>
                </a:lnTo>
                <a:lnTo>
                  <a:pt x="419" y="2686"/>
                </a:lnTo>
                <a:lnTo>
                  <a:pt x="412" y="2685"/>
                </a:lnTo>
                <a:lnTo>
                  <a:pt x="393" y="2683"/>
                </a:lnTo>
                <a:lnTo>
                  <a:pt x="379" y="2683"/>
                </a:lnTo>
                <a:lnTo>
                  <a:pt x="364" y="2683"/>
                </a:lnTo>
                <a:lnTo>
                  <a:pt x="348" y="2684"/>
                </a:lnTo>
                <a:lnTo>
                  <a:pt x="329" y="2686"/>
                </a:lnTo>
                <a:lnTo>
                  <a:pt x="310" y="2689"/>
                </a:lnTo>
                <a:lnTo>
                  <a:pt x="290" y="2694"/>
                </a:lnTo>
                <a:lnTo>
                  <a:pt x="271" y="2700"/>
                </a:lnTo>
                <a:lnTo>
                  <a:pt x="252" y="2709"/>
                </a:lnTo>
                <a:lnTo>
                  <a:pt x="242" y="2715"/>
                </a:lnTo>
                <a:lnTo>
                  <a:pt x="233" y="2720"/>
                </a:lnTo>
                <a:lnTo>
                  <a:pt x="224" y="2726"/>
                </a:lnTo>
                <a:lnTo>
                  <a:pt x="216" y="2733"/>
                </a:lnTo>
                <a:lnTo>
                  <a:pt x="207" y="2741"/>
                </a:lnTo>
                <a:lnTo>
                  <a:pt x="199" y="2749"/>
                </a:lnTo>
                <a:lnTo>
                  <a:pt x="191" y="2759"/>
                </a:lnTo>
                <a:lnTo>
                  <a:pt x="184" y="2768"/>
                </a:lnTo>
                <a:lnTo>
                  <a:pt x="184" y="2768"/>
                </a:lnTo>
                <a:lnTo>
                  <a:pt x="183" y="2771"/>
                </a:lnTo>
                <a:lnTo>
                  <a:pt x="185" y="2773"/>
                </a:lnTo>
                <a:lnTo>
                  <a:pt x="188" y="2774"/>
                </a:lnTo>
                <a:lnTo>
                  <a:pt x="193" y="2774"/>
                </a:lnTo>
                <a:lnTo>
                  <a:pt x="210" y="2772"/>
                </a:lnTo>
                <a:lnTo>
                  <a:pt x="230" y="2770"/>
                </a:lnTo>
                <a:lnTo>
                  <a:pt x="255" y="2768"/>
                </a:lnTo>
                <a:lnTo>
                  <a:pt x="280" y="2767"/>
                </a:lnTo>
                <a:lnTo>
                  <a:pt x="293" y="2768"/>
                </a:lnTo>
                <a:lnTo>
                  <a:pt x="307" y="2769"/>
                </a:lnTo>
                <a:lnTo>
                  <a:pt x="319" y="2771"/>
                </a:lnTo>
                <a:lnTo>
                  <a:pt x="331" y="2774"/>
                </a:lnTo>
                <a:lnTo>
                  <a:pt x="331" y="2774"/>
                </a:lnTo>
                <a:lnTo>
                  <a:pt x="338" y="2777"/>
                </a:lnTo>
                <a:lnTo>
                  <a:pt x="343" y="2780"/>
                </a:lnTo>
                <a:lnTo>
                  <a:pt x="346" y="2783"/>
                </a:lnTo>
                <a:lnTo>
                  <a:pt x="347" y="2786"/>
                </a:lnTo>
                <a:lnTo>
                  <a:pt x="347" y="2789"/>
                </a:lnTo>
                <a:lnTo>
                  <a:pt x="345" y="2793"/>
                </a:lnTo>
                <a:lnTo>
                  <a:pt x="339" y="2801"/>
                </a:lnTo>
                <a:lnTo>
                  <a:pt x="332" y="2811"/>
                </a:lnTo>
                <a:lnTo>
                  <a:pt x="325" y="2822"/>
                </a:lnTo>
                <a:lnTo>
                  <a:pt x="321" y="2828"/>
                </a:lnTo>
                <a:lnTo>
                  <a:pt x="319" y="2834"/>
                </a:lnTo>
                <a:lnTo>
                  <a:pt x="317" y="2840"/>
                </a:lnTo>
                <a:lnTo>
                  <a:pt x="317" y="2847"/>
                </a:lnTo>
                <a:lnTo>
                  <a:pt x="317" y="2847"/>
                </a:lnTo>
                <a:lnTo>
                  <a:pt x="317" y="2853"/>
                </a:lnTo>
                <a:lnTo>
                  <a:pt x="319" y="2859"/>
                </a:lnTo>
                <a:lnTo>
                  <a:pt x="321" y="2864"/>
                </a:lnTo>
                <a:lnTo>
                  <a:pt x="324" y="2869"/>
                </a:lnTo>
                <a:lnTo>
                  <a:pt x="328" y="2874"/>
                </a:lnTo>
                <a:lnTo>
                  <a:pt x="333" y="2879"/>
                </a:lnTo>
                <a:lnTo>
                  <a:pt x="346" y="2889"/>
                </a:lnTo>
                <a:lnTo>
                  <a:pt x="361" y="2899"/>
                </a:lnTo>
                <a:lnTo>
                  <a:pt x="377" y="2908"/>
                </a:lnTo>
                <a:lnTo>
                  <a:pt x="397" y="2917"/>
                </a:lnTo>
                <a:lnTo>
                  <a:pt x="416" y="2925"/>
                </a:lnTo>
                <a:lnTo>
                  <a:pt x="458" y="2941"/>
                </a:lnTo>
                <a:lnTo>
                  <a:pt x="500" y="2955"/>
                </a:lnTo>
                <a:lnTo>
                  <a:pt x="571" y="2976"/>
                </a:lnTo>
                <a:lnTo>
                  <a:pt x="571" y="2976"/>
                </a:lnTo>
                <a:lnTo>
                  <a:pt x="579" y="2980"/>
                </a:lnTo>
                <a:lnTo>
                  <a:pt x="585" y="2984"/>
                </a:lnTo>
                <a:lnTo>
                  <a:pt x="588" y="2990"/>
                </a:lnTo>
                <a:lnTo>
                  <a:pt x="590" y="2995"/>
                </a:lnTo>
                <a:lnTo>
                  <a:pt x="590" y="2999"/>
                </a:lnTo>
                <a:lnTo>
                  <a:pt x="588" y="3003"/>
                </a:lnTo>
                <a:lnTo>
                  <a:pt x="585" y="3005"/>
                </a:lnTo>
                <a:lnTo>
                  <a:pt x="581" y="3006"/>
                </a:lnTo>
                <a:lnTo>
                  <a:pt x="581" y="3006"/>
                </a:lnTo>
                <a:lnTo>
                  <a:pt x="556" y="3005"/>
                </a:lnTo>
                <a:lnTo>
                  <a:pt x="532" y="3002"/>
                </a:lnTo>
                <a:lnTo>
                  <a:pt x="509" y="2999"/>
                </a:lnTo>
                <a:lnTo>
                  <a:pt x="488" y="2994"/>
                </a:lnTo>
                <a:lnTo>
                  <a:pt x="467" y="2989"/>
                </a:lnTo>
                <a:lnTo>
                  <a:pt x="448" y="2982"/>
                </a:lnTo>
                <a:lnTo>
                  <a:pt x="429" y="2976"/>
                </a:lnTo>
                <a:lnTo>
                  <a:pt x="412" y="2970"/>
                </a:lnTo>
                <a:lnTo>
                  <a:pt x="380" y="2957"/>
                </a:lnTo>
                <a:lnTo>
                  <a:pt x="352" y="2945"/>
                </a:lnTo>
                <a:lnTo>
                  <a:pt x="327" y="2933"/>
                </a:lnTo>
                <a:lnTo>
                  <a:pt x="316" y="2929"/>
                </a:lnTo>
                <a:lnTo>
                  <a:pt x="305" y="2925"/>
                </a:lnTo>
                <a:lnTo>
                  <a:pt x="305" y="2925"/>
                </a:lnTo>
                <a:lnTo>
                  <a:pt x="286" y="2920"/>
                </a:lnTo>
                <a:lnTo>
                  <a:pt x="268" y="2916"/>
                </a:lnTo>
                <a:lnTo>
                  <a:pt x="253" y="2913"/>
                </a:lnTo>
                <a:lnTo>
                  <a:pt x="237" y="2911"/>
                </a:lnTo>
                <a:lnTo>
                  <a:pt x="224" y="2910"/>
                </a:lnTo>
                <a:lnTo>
                  <a:pt x="213" y="2911"/>
                </a:lnTo>
                <a:lnTo>
                  <a:pt x="202" y="2912"/>
                </a:lnTo>
                <a:lnTo>
                  <a:pt x="192" y="2914"/>
                </a:lnTo>
                <a:lnTo>
                  <a:pt x="185" y="2918"/>
                </a:lnTo>
                <a:lnTo>
                  <a:pt x="178" y="2922"/>
                </a:lnTo>
                <a:lnTo>
                  <a:pt x="172" y="2927"/>
                </a:lnTo>
                <a:lnTo>
                  <a:pt x="167" y="2933"/>
                </a:lnTo>
                <a:lnTo>
                  <a:pt x="163" y="2939"/>
                </a:lnTo>
                <a:lnTo>
                  <a:pt x="160" y="2948"/>
                </a:lnTo>
                <a:lnTo>
                  <a:pt x="156" y="2956"/>
                </a:lnTo>
                <a:lnTo>
                  <a:pt x="155" y="2965"/>
                </a:lnTo>
                <a:lnTo>
                  <a:pt x="155" y="2965"/>
                </a:lnTo>
                <a:lnTo>
                  <a:pt x="154" y="2968"/>
                </a:lnTo>
                <a:lnTo>
                  <a:pt x="152" y="2971"/>
                </a:lnTo>
                <a:lnTo>
                  <a:pt x="150" y="2974"/>
                </a:lnTo>
                <a:lnTo>
                  <a:pt x="147" y="2976"/>
                </a:lnTo>
                <a:lnTo>
                  <a:pt x="140" y="2980"/>
                </a:lnTo>
                <a:lnTo>
                  <a:pt x="132" y="2985"/>
                </a:lnTo>
                <a:lnTo>
                  <a:pt x="109" y="2995"/>
                </a:lnTo>
                <a:lnTo>
                  <a:pt x="97" y="3001"/>
                </a:lnTo>
                <a:lnTo>
                  <a:pt x="84" y="3009"/>
                </a:lnTo>
                <a:lnTo>
                  <a:pt x="71" y="3019"/>
                </a:lnTo>
                <a:lnTo>
                  <a:pt x="57" y="3033"/>
                </a:lnTo>
                <a:lnTo>
                  <a:pt x="51" y="3040"/>
                </a:lnTo>
                <a:lnTo>
                  <a:pt x="45" y="3048"/>
                </a:lnTo>
                <a:lnTo>
                  <a:pt x="39" y="3058"/>
                </a:lnTo>
                <a:lnTo>
                  <a:pt x="33" y="3068"/>
                </a:lnTo>
                <a:lnTo>
                  <a:pt x="28" y="3080"/>
                </a:lnTo>
                <a:lnTo>
                  <a:pt x="22" y="3092"/>
                </a:lnTo>
                <a:lnTo>
                  <a:pt x="17" y="3106"/>
                </a:lnTo>
                <a:lnTo>
                  <a:pt x="13" y="3120"/>
                </a:lnTo>
                <a:lnTo>
                  <a:pt x="9" y="3137"/>
                </a:lnTo>
                <a:lnTo>
                  <a:pt x="6" y="3154"/>
                </a:lnTo>
                <a:lnTo>
                  <a:pt x="3" y="3174"/>
                </a:lnTo>
                <a:lnTo>
                  <a:pt x="0" y="3194"/>
                </a:lnTo>
                <a:lnTo>
                  <a:pt x="0" y="3194"/>
                </a:lnTo>
                <a:lnTo>
                  <a:pt x="1" y="3195"/>
                </a:lnTo>
                <a:lnTo>
                  <a:pt x="2" y="3196"/>
                </a:lnTo>
                <a:lnTo>
                  <a:pt x="6" y="3194"/>
                </a:lnTo>
                <a:lnTo>
                  <a:pt x="12" y="3189"/>
                </a:lnTo>
                <a:lnTo>
                  <a:pt x="20" y="3181"/>
                </a:lnTo>
                <a:lnTo>
                  <a:pt x="43" y="3158"/>
                </a:lnTo>
                <a:lnTo>
                  <a:pt x="69" y="3134"/>
                </a:lnTo>
                <a:lnTo>
                  <a:pt x="82" y="3121"/>
                </a:lnTo>
                <a:lnTo>
                  <a:pt x="95" y="3110"/>
                </a:lnTo>
                <a:lnTo>
                  <a:pt x="107" y="3101"/>
                </a:lnTo>
                <a:lnTo>
                  <a:pt x="119" y="3094"/>
                </a:lnTo>
                <a:lnTo>
                  <a:pt x="124" y="3091"/>
                </a:lnTo>
                <a:lnTo>
                  <a:pt x="129" y="3090"/>
                </a:lnTo>
                <a:lnTo>
                  <a:pt x="133" y="3089"/>
                </a:lnTo>
                <a:lnTo>
                  <a:pt x="137" y="3089"/>
                </a:lnTo>
                <a:lnTo>
                  <a:pt x="140" y="3091"/>
                </a:lnTo>
                <a:lnTo>
                  <a:pt x="143" y="3093"/>
                </a:lnTo>
                <a:lnTo>
                  <a:pt x="144" y="3097"/>
                </a:lnTo>
                <a:lnTo>
                  <a:pt x="146" y="3101"/>
                </a:lnTo>
                <a:lnTo>
                  <a:pt x="146" y="3101"/>
                </a:lnTo>
                <a:lnTo>
                  <a:pt x="149" y="3117"/>
                </a:lnTo>
                <a:lnTo>
                  <a:pt x="154" y="3132"/>
                </a:lnTo>
                <a:lnTo>
                  <a:pt x="162" y="3145"/>
                </a:lnTo>
                <a:lnTo>
                  <a:pt x="170" y="3155"/>
                </a:lnTo>
                <a:lnTo>
                  <a:pt x="179" y="3165"/>
                </a:lnTo>
                <a:lnTo>
                  <a:pt x="189" y="3173"/>
                </a:lnTo>
                <a:lnTo>
                  <a:pt x="200" y="3180"/>
                </a:lnTo>
                <a:lnTo>
                  <a:pt x="214" y="3185"/>
                </a:lnTo>
                <a:lnTo>
                  <a:pt x="227" y="3189"/>
                </a:lnTo>
                <a:lnTo>
                  <a:pt x="241" y="3191"/>
                </a:lnTo>
                <a:lnTo>
                  <a:pt x="256" y="3193"/>
                </a:lnTo>
                <a:lnTo>
                  <a:pt x="271" y="3194"/>
                </a:lnTo>
                <a:lnTo>
                  <a:pt x="287" y="3195"/>
                </a:lnTo>
                <a:lnTo>
                  <a:pt x="304" y="3194"/>
                </a:lnTo>
                <a:lnTo>
                  <a:pt x="337" y="3192"/>
                </a:lnTo>
                <a:lnTo>
                  <a:pt x="371" y="3188"/>
                </a:lnTo>
                <a:lnTo>
                  <a:pt x="405" y="3183"/>
                </a:lnTo>
                <a:lnTo>
                  <a:pt x="438" y="3178"/>
                </a:lnTo>
                <a:lnTo>
                  <a:pt x="468" y="3174"/>
                </a:lnTo>
                <a:lnTo>
                  <a:pt x="496" y="3172"/>
                </a:lnTo>
                <a:lnTo>
                  <a:pt x="509" y="3171"/>
                </a:lnTo>
                <a:lnTo>
                  <a:pt x="520" y="3171"/>
                </a:lnTo>
                <a:lnTo>
                  <a:pt x="531" y="3172"/>
                </a:lnTo>
                <a:lnTo>
                  <a:pt x="541" y="3174"/>
                </a:lnTo>
                <a:lnTo>
                  <a:pt x="549" y="3177"/>
                </a:lnTo>
                <a:lnTo>
                  <a:pt x="555" y="3181"/>
                </a:lnTo>
                <a:lnTo>
                  <a:pt x="555" y="3181"/>
                </a:lnTo>
                <a:lnTo>
                  <a:pt x="558" y="3184"/>
                </a:lnTo>
                <a:lnTo>
                  <a:pt x="559" y="3186"/>
                </a:lnTo>
                <a:lnTo>
                  <a:pt x="557" y="3189"/>
                </a:lnTo>
                <a:lnTo>
                  <a:pt x="554" y="3191"/>
                </a:lnTo>
                <a:lnTo>
                  <a:pt x="549" y="3194"/>
                </a:lnTo>
                <a:lnTo>
                  <a:pt x="542" y="3196"/>
                </a:lnTo>
                <a:lnTo>
                  <a:pt x="525" y="3200"/>
                </a:lnTo>
                <a:lnTo>
                  <a:pt x="475" y="3209"/>
                </a:lnTo>
                <a:lnTo>
                  <a:pt x="447" y="3215"/>
                </a:lnTo>
                <a:lnTo>
                  <a:pt x="417" y="3221"/>
                </a:lnTo>
                <a:lnTo>
                  <a:pt x="388" y="3228"/>
                </a:lnTo>
                <a:lnTo>
                  <a:pt x="359" y="3236"/>
                </a:lnTo>
                <a:lnTo>
                  <a:pt x="346" y="3240"/>
                </a:lnTo>
                <a:lnTo>
                  <a:pt x="333" y="3245"/>
                </a:lnTo>
                <a:lnTo>
                  <a:pt x="322" y="3250"/>
                </a:lnTo>
                <a:lnTo>
                  <a:pt x="312" y="3256"/>
                </a:lnTo>
                <a:lnTo>
                  <a:pt x="303" y="3263"/>
                </a:lnTo>
                <a:lnTo>
                  <a:pt x="294" y="3269"/>
                </a:lnTo>
                <a:lnTo>
                  <a:pt x="288" y="3276"/>
                </a:lnTo>
                <a:lnTo>
                  <a:pt x="284" y="3284"/>
                </a:lnTo>
                <a:lnTo>
                  <a:pt x="282" y="3292"/>
                </a:lnTo>
                <a:lnTo>
                  <a:pt x="281" y="3300"/>
                </a:lnTo>
                <a:lnTo>
                  <a:pt x="283" y="3311"/>
                </a:lnTo>
                <a:lnTo>
                  <a:pt x="287" y="3321"/>
                </a:lnTo>
                <a:lnTo>
                  <a:pt x="287" y="3321"/>
                </a:lnTo>
                <a:lnTo>
                  <a:pt x="287" y="3322"/>
                </a:lnTo>
                <a:lnTo>
                  <a:pt x="286" y="3325"/>
                </a:lnTo>
                <a:lnTo>
                  <a:pt x="283" y="3331"/>
                </a:lnTo>
                <a:lnTo>
                  <a:pt x="268" y="3348"/>
                </a:lnTo>
                <a:lnTo>
                  <a:pt x="258" y="3361"/>
                </a:lnTo>
                <a:lnTo>
                  <a:pt x="247" y="3374"/>
                </a:lnTo>
                <a:lnTo>
                  <a:pt x="237" y="3389"/>
                </a:lnTo>
                <a:lnTo>
                  <a:pt x="228" y="3406"/>
                </a:lnTo>
                <a:lnTo>
                  <a:pt x="220" y="3423"/>
                </a:lnTo>
                <a:lnTo>
                  <a:pt x="217" y="3432"/>
                </a:lnTo>
                <a:lnTo>
                  <a:pt x="214" y="3443"/>
                </a:lnTo>
                <a:lnTo>
                  <a:pt x="213" y="3452"/>
                </a:lnTo>
                <a:lnTo>
                  <a:pt x="212" y="3463"/>
                </a:lnTo>
                <a:lnTo>
                  <a:pt x="212" y="3473"/>
                </a:lnTo>
                <a:lnTo>
                  <a:pt x="213" y="3483"/>
                </a:lnTo>
                <a:lnTo>
                  <a:pt x="215" y="3495"/>
                </a:lnTo>
                <a:lnTo>
                  <a:pt x="219" y="3506"/>
                </a:lnTo>
                <a:lnTo>
                  <a:pt x="223" y="3518"/>
                </a:lnTo>
                <a:lnTo>
                  <a:pt x="229" y="3529"/>
                </a:lnTo>
                <a:lnTo>
                  <a:pt x="237" y="3542"/>
                </a:lnTo>
                <a:lnTo>
                  <a:pt x="246" y="3554"/>
                </a:lnTo>
                <a:lnTo>
                  <a:pt x="257" y="3566"/>
                </a:lnTo>
                <a:lnTo>
                  <a:pt x="270" y="3579"/>
                </a:lnTo>
                <a:lnTo>
                  <a:pt x="270" y="3579"/>
                </a:lnTo>
                <a:lnTo>
                  <a:pt x="270" y="3572"/>
                </a:lnTo>
                <a:lnTo>
                  <a:pt x="272" y="3555"/>
                </a:lnTo>
                <a:lnTo>
                  <a:pt x="277" y="3530"/>
                </a:lnTo>
                <a:lnTo>
                  <a:pt x="281" y="3517"/>
                </a:lnTo>
                <a:lnTo>
                  <a:pt x="285" y="3503"/>
                </a:lnTo>
                <a:lnTo>
                  <a:pt x="291" y="3490"/>
                </a:lnTo>
                <a:lnTo>
                  <a:pt x="298" y="3476"/>
                </a:lnTo>
                <a:lnTo>
                  <a:pt x="306" y="3463"/>
                </a:lnTo>
                <a:lnTo>
                  <a:pt x="315" y="3453"/>
                </a:lnTo>
                <a:lnTo>
                  <a:pt x="321" y="3448"/>
                </a:lnTo>
                <a:lnTo>
                  <a:pt x="326" y="3444"/>
                </a:lnTo>
                <a:lnTo>
                  <a:pt x="332" y="3439"/>
                </a:lnTo>
                <a:lnTo>
                  <a:pt x="339" y="3436"/>
                </a:lnTo>
                <a:lnTo>
                  <a:pt x="346" y="3434"/>
                </a:lnTo>
                <a:lnTo>
                  <a:pt x="354" y="3432"/>
                </a:lnTo>
                <a:lnTo>
                  <a:pt x="361" y="3432"/>
                </a:lnTo>
                <a:lnTo>
                  <a:pt x="369" y="3432"/>
                </a:lnTo>
                <a:lnTo>
                  <a:pt x="369" y="3432"/>
                </a:lnTo>
                <a:lnTo>
                  <a:pt x="383" y="3433"/>
                </a:lnTo>
                <a:lnTo>
                  <a:pt x="396" y="3436"/>
                </a:lnTo>
                <a:lnTo>
                  <a:pt x="408" y="3440"/>
                </a:lnTo>
                <a:lnTo>
                  <a:pt x="420" y="3445"/>
                </a:lnTo>
                <a:lnTo>
                  <a:pt x="443" y="3455"/>
                </a:lnTo>
                <a:lnTo>
                  <a:pt x="454" y="3459"/>
                </a:lnTo>
                <a:lnTo>
                  <a:pt x="465" y="3463"/>
                </a:lnTo>
                <a:lnTo>
                  <a:pt x="476" y="3466"/>
                </a:lnTo>
                <a:lnTo>
                  <a:pt x="489" y="3468"/>
                </a:lnTo>
                <a:lnTo>
                  <a:pt x="501" y="3469"/>
                </a:lnTo>
                <a:lnTo>
                  <a:pt x="514" y="3467"/>
                </a:lnTo>
                <a:lnTo>
                  <a:pt x="528" y="3464"/>
                </a:lnTo>
                <a:lnTo>
                  <a:pt x="542" y="3458"/>
                </a:lnTo>
                <a:lnTo>
                  <a:pt x="558" y="3450"/>
                </a:lnTo>
                <a:lnTo>
                  <a:pt x="575" y="3437"/>
                </a:lnTo>
                <a:lnTo>
                  <a:pt x="575" y="3437"/>
                </a:lnTo>
                <a:lnTo>
                  <a:pt x="588" y="3428"/>
                </a:lnTo>
                <a:lnTo>
                  <a:pt x="600" y="3417"/>
                </a:lnTo>
                <a:lnTo>
                  <a:pt x="614" y="3405"/>
                </a:lnTo>
                <a:lnTo>
                  <a:pt x="630" y="3392"/>
                </a:lnTo>
                <a:lnTo>
                  <a:pt x="651" y="3380"/>
                </a:lnTo>
                <a:lnTo>
                  <a:pt x="664" y="3373"/>
                </a:lnTo>
                <a:lnTo>
                  <a:pt x="678" y="3367"/>
                </a:lnTo>
                <a:lnTo>
                  <a:pt x="693" y="3360"/>
                </a:lnTo>
                <a:lnTo>
                  <a:pt x="712" y="3354"/>
                </a:lnTo>
                <a:lnTo>
                  <a:pt x="732" y="3346"/>
                </a:lnTo>
                <a:lnTo>
                  <a:pt x="754" y="3339"/>
                </a:lnTo>
                <a:lnTo>
                  <a:pt x="754" y="3339"/>
                </a:lnTo>
                <a:lnTo>
                  <a:pt x="756" y="3339"/>
                </a:lnTo>
                <a:lnTo>
                  <a:pt x="757" y="3340"/>
                </a:lnTo>
                <a:lnTo>
                  <a:pt x="760" y="3345"/>
                </a:lnTo>
                <a:lnTo>
                  <a:pt x="762" y="3354"/>
                </a:lnTo>
                <a:lnTo>
                  <a:pt x="765" y="3363"/>
                </a:lnTo>
                <a:lnTo>
                  <a:pt x="768" y="3375"/>
                </a:lnTo>
                <a:lnTo>
                  <a:pt x="772" y="3387"/>
                </a:lnTo>
                <a:lnTo>
                  <a:pt x="777" y="3400"/>
                </a:lnTo>
                <a:lnTo>
                  <a:pt x="783" y="3412"/>
                </a:lnTo>
                <a:lnTo>
                  <a:pt x="783" y="3412"/>
                </a:lnTo>
                <a:lnTo>
                  <a:pt x="786" y="3415"/>
                </a:lnTo>
                <a:lnTo>
                  <a:pt x="789" y="3417"/>
                </a:lnTo>
                <a:lnTo>
                  <a:pt x="797" y="3422"/>
                </a:lnTo>
                <a:lnTo>
                  <a:pt x="805" y="3425"/>
                </a:lnTo>
                <a:lnTo>
                  <a:pt x="813" y="3429"/>
                </a:lnTo>
                <a:lnTo>
                  <a:pt x="821" y="3432"/>
                </a:lnTo>
                <a:lnTo>
                  <a:pt x="827" y="3435"/>
                </a:lnTo>
                <a:lnTo>
                  <a:pt x="830" y="3437"/>
                </a:lnTo>
                <a:lnTo>
                  <a:pt x="831" y="3439"/>
                </a:lnTo>
                <a:lnTo>
                  <a:pt x="833" y="3443"/>
                </a:lnTo>
                <a:lnTo>
                  <a:pt x="833" y="3446"/>
                </a:lnTo>
                <a:lnTo>
                  <a:pt x="833" y="3446"/>
                </a:lnTo>
                <a:lnTo>
                  <a:pt x="832" y="3456"/>
                </a:lnTo>
                <a:lnTo>
                  <a:pt x="830" y="3467"/>
                </a:lnTo>
                <a:lnTo>
                  <a:pt x="826" y="3477"/>
                </a:lnTo>
                <a:lnTo>
                  <a:pt x="822" y="3486"/>
                </a:lnTo>
                <a:lnTo>
                  <a:pt x="817" y="3496"/>
                </a:lnTo>
                <a:lnTo>
                  <a:pt x="811" y="3505"/>
                </a:lnTo>
                <a:lnTo>
                  <a:pt x="798" y="3521"/>
                </a:lnTo>
                <a:lnTo>
                  <a:pt x="784" y="3535"/>
                </a:lnTo>
                <a:lnTo>
                  <a:pt x="773" y="3546"/>
                </a:lnTo>
                <a:lnTo>
                  <a:pt x="765" y="3552"/>
                </a:lnTo>
                <a:lnTo>
                  <a:pt x="763" y="3555"/>
                </a:lnTo>
                <a:lnTo>
                  <a:pt x="763" y="3555"/>
                </a:lnTo>
                <a:lnTo>
                  <a:pt x="767" y="3558"/>
                </a:lnTo>
                <a:lnTo>
                  <a:pt x="778" y="3561"/>
                </a:lnTo>
                <a:lnTo>
                  <a:pt x="785" y="3562"/>
                </a:lnTo>
                <a:lnTo>
                  <a:pt x="794" y="3563"/>
                </a:lnTo>
                <a:lnTo>
                  <a:pt x="804" y="3563"/>
                </a:lnTo>
                <a:lnTo>
                  <a:pt x="815" y="3561"/>
                </a:lnTo>
                <a:lnTo>
                  <a:pt x="826" y="3558"/>
                </a:lnTo>
                <a:lnTo>
                  <a:pt x="839" y="3553"/>
                </a:lnTo>
                <a:lnTo>
                  <a:pt x="852" y="3546"/>
                </a:lnTo>
                <a:lnTo>
                  <a:pt x="865" y="3536"/>
                </a:lnTo>
                <a:lnTo>
                  <a:pt x="879" y="3522"/>
                </a:lnTo>
                <a:lnTo>
                  <a:pt x="894" y="3506"/>
                </a:lnTo>
                <a:lnTo>
                  <a:pt x="907" y="3486"/>
                </a:lnTo>
                <a:lnTo>
                  <a:pt x="921" y="3463"/>
                </a:lnTo>
                <a:lnTo>
                  <a:pt x="921" y="3463"/>
                </a:lnTo>
                <a:lnTo>
                  <a:pt x="924" y="3459"/>
                </a:lnTo>
                <a:lnTo>
                  <a:pt x="927" y="3455"/>
                </a:lnTo>
                <a:lnTo>
                  <a:pt x="930" y="3453"/>
                </a:lnTo>
                <a:lnTo>
                  <a:pt x="935" y="3451"/>
                </a:lnTo>
                <a:lnTo>
                  <a:pt x="939" y="3450"/>
                </a:lnTo>
                <a:lnTo>
                  <a:pt x="943" y="3450"/>
                </a:lnTo>
                <a:lnTo>
                  <a:pt x="951" y="3450"/>
                </a:lnTo>
                <a:lnTo>
                  <a:pt x="970" y="3452"/>
                </a:lnTo>
                <a:lnTo>
                  <a:pt x="982" y="3452"/>
                </a:lnTo>
                <a:lnTo>
                  <a:pt x="987" y="3451"/>
                </a:lnTo>
                <a:lnTo>
                  <a:pt x="992" y="3450"/>
                </a:lnTo>
                <a:lnTo>
                  <a:pt x="992" y="3450"/>
                </a:lnTo>
                <a:lnTo>
                  <a:pt x="1010" y="3444"/>
                </a:lnTo>
                <a:lnTo>
                  <a:pt x="1017" y="3439"/>
                </a:lnTo>
                <a:lnTo>
                  <a:pt x="1024" y="3435"/>
                </a:lnTo>
                <a:lnTo>
                  <a:pt x="1029" y="3432"/>
                </a:lnTo>
                <a:lnTo>
                  <a:pt x="1033" y="3428"/>
                </a:lnTo>
                <a:lnTo>
                  <a:pt x="1036" y="3424"/>
                </a:lnTo>
                <a:lnTo>
                  <a:pt x="1039" y="3419"/>
                </a:lnTo>
                <a:lnTo>
                  <a:pt x="1041" y="3415"/>
                </a:lnTo>
                <a:lnTo>
                  <a:pt x="1042" y="3410"/>
                </a:lnTo>
                <a:lnTo>
                  <a:pt x="1043" y="3401"/>
                </a:lnTo>
                <a:lnTo>
                  <a:pt x="1042" y="3390"/>
                </a:lnTo>
                <a:lnTo>
                  <a:pt x="1040" y="3380"/>
                </a:lnTo>
                <a:lnTo>
                  <a:pt x="1035" y="3358"/>
                </a:lnTo>
                <a:lnTo>
                  <a:pt x="1034" y="3347"/>
                </a:lnTo>
                <a:lnTo>
                  <a:pt x="1033" y="3335"/>
                </a:lnTo>
                <a:lnTo>
                  <a:pt x="1034" y="3324"/>
                </a:lnTo>
                <a:lnTo>
                  <a:pt x="1036" y="3319"/>
                </a:lnTo>
                <a:lnTo>
                  <a:pt x="1038" y="3313"/>
                </a:lnTo>
                <a:lnTo>
                  <a:pt x="1040" y="3308"/>
                </a:lnTo>
                <a:lnTo>
                  <a:pt x="1044" y="3302"/>
                </a:lnTo>
                <a:lnTo>
                  <a:pt x="1048" y="3296"/>
                </a:lnTo>
                <a:lnTo>
                  <a:pt x="1054" y="3291"/>
                </a:lnTo>
                <a:lnTo>
                  <a:pt x="1054" y="3291"/>
                </a:lnTo>
                <a:lnTo>
                  <a:pt x="1069" y="3278"/>
                </a:lnTo>
                <a:lnTo>
                  <a:pt x="1084" y="3265"/>
                </a:lnTo>
                <a:lnTo>
                  <a:pt x="1099" y="3253"/>
                </a:lnTo>
                <a:lnTo>
                  <a:pt x="1115" y="3241"/>
                </a:lnTo>
                <a:lnTo>
                  <a:pt x="1146" y="3221"/>
                </a:lnTo>
                <a:lnTo>
                  <a:pt x="1178" y="3202"/>
                </a:lnTo>
                <a:lnTo>
                  <a:pt x="1210" y="3186"/>
                </a:lnTo>
                <a:lnTo>
                  <a:pt x="1241" y="3171"/>
                </a:lnTo>
                <a:lnTo>
                  <a:pt x="1273" y="3156"/>
                </a:lnTo>
                <a:lnTo>
                  <a:pt x="1304" y="3144"/>
                </a:lnTo>
                <a:lnTo>
                  <a:pt x="1304" y="3144"/>
                </a:lnTo>
                <a:lnTo>
                  <a:pt x="1303" y="3148"/>
                </a:lnTo>
                <a:lnTo>
                  <a:pt x="1299" y="3160"/>
                </a:lnTo>
                <a:lnTo>
                  <a:pt x="1294" y="3180"/>
                </a:lnTo>
                <a:lnTo>
                  <a:pt x="1291" y="3203"/>
                </a:lnTo>
                <a:lnTo>
                  <a:pt x="1290" y="3218"/>
                </a:lnTo>
                <a:lnTo>
                  <a:pt x="1290" y="3232"/>
                </a:lnTo>
                <a:lnTo>
                  <a:pt x="1291" y="3247"/>
                </a:lnTo>
                <a:lnTo>
                  <a:pt x="1292" y="3264"/>
                </a:lnTo>
                <a:lnTo>
                  <a:pt x="1296" y="3280"/>
                </a:lnTo>
                <a:lnTo>
                  <a:pt x="1301" y="3296"/>
                </a:lnTo>
                <a:lnTo>
                  <a:pt x="1306" y="3314"/>
                </a:lnTo>
                <a:lnTo>
                  <a:pt x="1314" y="3331"/>
                </a:lnTo>
                <a:lnTo>
                  <a:pt x="1640" y="3247"/>
                </a:lnTo>
                <a:lnTo>
                  <a:pt x="1640" y="3247"/>
                </a:lnTo>
                <a:lnTo>
                  <a:pt x="1634" y="3231"/>
                </a:lnTo>
                <a:lnTo>
                  <a:pt x="1631" y="3215"/>
                </a:lnTo>
                <a:lnTo>
                  <a:pt x="1629" y="3197"/>
                </a:lnTo>
                <a:lnTo>
                  <a:pt x="1629" y="3180"/>
                </a:lnTo>
                <a:lnTo>
                  <a:pt x="1631" y="3162"/>
                </a:lnTo>
                <a:lnTo>
                  <a:pt x="1634" y="3145"/>
                </a:lnTo>
                <a:lnTo>
                  <a:pt x="1638" y="3128"/>
                </a:lnTo>
                <a:lnTo>
                  <a:pt x="1644" y="3109"/>
                </a:lnTo>
                <a:lnTo>
                  <a:pt x="1651" y="3092"/>
                </a:lnTo>
                <a:lnTo>
                  <a:pt x="1660" y="3073"/>
                </a:lnTo>
                <a:lnTo>
                  <a:pt x="1669" y="3056"/>
                </a:lnTo>
                <a:lnTo>
                  <a:pt x="1679" y="3039"/>
                </a:lnTo>
                <a:lnTo>
                  <a:pt x="1689" y="3021"/>
                </a:lnTo>
                <a:lnTo>
                  <a:pt x="1701" y="3004"/>
                </a:lnTo>
                <a:lnTo>
                  <a:pt x="1725" y="2972"/>
                </a:lnTo>
                <a:lnTo>
                  <a:pt x="1725" y="2972"/>
                </a:lnTo>
                <a:lnTo>
                  <a:pt x="1726" y="2971"/>
                </a:lnTo>
                <a:lnTo>
                  <a:pt x="1727" y="2971"/>
                </a:lnTo>
                <a:lnTo>
                  <a:pt x="1728" y="2975"/>
                </a:lnTo>
                <a:lnTo>
                  <a:pt x="1725" y="2997"/>
                </a:lnTo>
                <a:lnTo>
                  <a:pt x="1721" y="3030"/>
                </a:lnTo>
                <a:lnTo>
                  <a:pt x="1715" y="3072"/>
                </a:lnTo>
                <a:lnTo>
                  <a:pt x="1713" y="3095"/>
                </a:lnTo>
                <a:lnTo>
                  <a:pt x="1711" y="3118"/>
                </a:lnTo>
                <a:lnTo>
                  <a:pt x="1711" y="3140"/>
                </a:lnTo>
                <a:lnTo>
                  <a:pt x="1711" y="3161"/>
                </a:lnTo>
                <a:lnTo>
                  <a:pt x="1713" y="3181"/>
                </a:lnTo>
                <a:lnTo>
                  <a:pt x="1716" y="3198"/>
                </a:lnTo>
                <a:lnTo>
                  <a:pt x="1719" y="3206"/>
                </a:lnTo>
                <a:lnTo>
                  <a:pt x="1722" y="3213"/>
                </a:lnTo>
                <a:lnTo>
                  <a:pt x="1726" y="3219"/>
                </a:lnTo>
                <a:lnTo>
                  <a:pt x="1730" y="3224"/>
                </a:lnTo>
                <a:lnTo>
                  <a:pt x="2050" y="3141"/>
                </a:lnTo>
                <a:lnTo>
                  <a:pt x="2050" y="3141"/>
                </a:lnTo>
                <a:lnTo>
                  <a:pt x="2046" y="3131"/>
                </a:lnTo>
                <a:lnTo>
                  <a:pt x="2043" y="3119"/>
                </a:lnTo>
                <a:lnTo>
                  <a:pt x="2041" y="3108"/>
                </a:lnTo>
                <a:lnTo>
                  <a:pt x="2039" y="3096"/>
                </a:lnTo>
                <a:lnTo>
                  <a:pt x="2038" y="3084"/>
                </a:lnTo>
                <a:lnTo>
                  <a:pt x="2038" y="3071"/>
                </a:lnTo>
                <a:lnTo>
                  <a:pt x="2039" y="3045"/>
                </a:lnTo>
                <a:lnTo>
                  <a:pt x="2043" y="3018"/>
                </a:lnTo>
                <a:lnTo>
                  <a:pt x="2048" y="2992"/>
                </a:lnTo>
                <a:lnTo>
                  <a:pt x="2055" y="2965"/>
                </a:lnTo>
                <a:lnTo>
                  <a:pt x="2064" y="2941"/>
                </a:lnTo>
                <a:lnTo>
                  <a:pt x="2064" y="2941"/>
                </a:lnTo>
                <a:lnTo>
                  <a:pt x="2072" y="2968"/>
                </a:lnTo>
                <a:lnTo>
                  <a:pt x="2079" y="2997"/>
                </a:lnTo>
                <a:lnTo>
                  <a:pt x="2088" y="3024"/>
                </a:lnTo>
                <a:lnTo>
                  <a:pt x="2098" y="3052"/>
                </a:lnTo>
                <a:lnTo>
                  <a:pt x="2108" y="3079"/>
                </a:lnTo>
                <a:lnTo>
                  <a:pt x="2121" y="3105"/>
                </a:lnTo>
                <a:lnTo>
                  <a:pt x="2135" y="3131"/>
                </a:lnTo>
                <a:lnTo>
                  <a:pt x="2149" y="3156"/>
                </a:lnTo>
                <a:lnTo>
                  <a:pt x="2166" y="3181"/>
                </a:lnTo>
                <a:lnTo>
                  <a:pt x="2183" y="3203"/>
                </a:lnTo>
                <a:lnTo>
                  <a:pt x="2201" y="3225"/>
                </a:lnTo>
                <a:lnTo>
                  <a:pt x="2222" y="3245"/>
                </a:lnTo>
                <a:lnTo>
                  <a:pt x="2244" y="3265"/>
                </a:lnTo>
                <a:lnTo>
                  <a:pt x="2268" y="3281"/>
                </a:lnTo>
                <a:lnTo>
                  <a:pt x="2280" y="3289"/>
                </a:lnTo>
                <a:lnTo>
                  <a:pt x="2292" y="3296"/>
                </a:lnTo>
                <a:lnTo>
                  <a:pt x="2306" y="3303"/>
                </a:lnTo>
                <a:lnTo>
                  <a:pt x="2320" y="3310"/>
                </a:lnTo>
                <a:lnTo>
                  <a:pt x="2320" y="3310"/>
                </a:lnTo>
                <a:lnTo>
                  <a:pt x="2365" y="3329"/>
                </a:lnTo>
                <a:lnTo>
                  <a:pt x="2410" y="3347"/>
                </a:lnTo>
                <a:lnTo>
                  <a:pt x="2454" y="3364"/>
                </a:lnTo>
                <a:lnTo>
                  <a:pt x="2499" y="3380"/>
                </a:lnTo>
                <a:lnTo>
                  <a:pt x="2544" y="3395"/>
                </a:lnTo>
                <a:lnTo>
                  <a:pt x="2589" y="3411"/>
                </a:lnTo>
                <a:lnTo>
                  <a:pt x="2683" y="3440"/>
                </a:lnTo>
                <a:lnTo>
                  <a:pt x="2782" y="3469"/>
                </a:lnTo>
                <a:lnTo>
                  <a:pt x="2889" y="3500"/>
                </a:lnTo>
                <a:lnTo>
                  <a:pt x="3005" y="3534"/>
                </a:lnTo>
                <a:lnTo>
                  <a:pt x="3133" y="3570"/>
                </a:lnTo>
                <a:lnTo>
                  <a:pt x="3133" y="3570"/>
                </a:lnTo>
                <a:lnTo>
                  <a:pt x="3205" y="3593"/>
                </a:lnTo>
                <a:lnTo>
                  <a:pt x="3273" y="3616"/>
                </a:lnTo>
                <a:lnTo>
                  <a:pt x="3305" y="3628"/>
                </a:lnTo>
                <a:lnTo>
                  <a:pt x="3333" y="3639"/>
                </a:lnTo>
                <a:lnTo>
                  <a:pt x="3358" y="3649"/>
                </a:lnTo>
                <a:lnTo>
                  <a:pt x="3377" y="3658"/>
                </a:lnTo>
                <a:lnTo>
                  <a:pt x="3377" y="3658"/>
                </a:lnTo>
                <a:lnTo>
                  <a:pt x="3383" y="3661"/>
                </a:lnTo>
                <a:lnTo>
                  <a:pt x="3389" y="3665"/>
                </a:lnTo>
                <a:lnTo>
                  <a:pt x="3393" y="3668"/>
                </a:lnTo>
                <a:lnTo>
                  <a:pt x="3397" y="3673"/>
                </a:lnTo>
                <a:lnTo>
                  <a:pt x="3399" y="3677"/>
                </a:lnTo>
                <a:lnTo>
                  <a:pt x="3401" y="3682"/>
                </a:lnTo>
                <a:lnTo>
                  <a:pt x="3402" y="3686"/>
                </a:lnTo>
                <a:lnTo>
                  <a:pt x="3402" y="3690"/>
                </a:lnTo>
                <a:lnTo>
                  <a:pt x="3401" y="3699"/>
                </a:lnTo>
                <a:lnTo>
                  <a:pt x="3397" y="3708"/>
                </a:lnTo>
                <a:lnTo>
                  <a:pt x="3392" y="3717"/>
                </a:lnTo>
                <a:lnTo>
                  <a:pt x="3386" y="3726"/>
                </a:lnTo>
                <a:lnTo>
                  <a:pt x="3378" y="3734"/>
                </a:lnTo>
                <a:lnTo>
                  <a:pt x="3371" y="3742"/>
                </a:lnTo>
                <a:lnTo>
                  <a:pt x="3357" y="3754"/>
                </a:lnTo>
                <a:lnTo>
                  <a:pt x="3346" y="3764"/>
                </a:lnTo>
                <a:lnTo>
                  <a:pt x="3341" y="3767"/>
                </a:lnTo>
                <a:lnTo>
                  <a:pt x="3341" y="3767"/>
                </a:lnTo>
                <a:lnTo>
                  <a:pt x="3355" y="3775"/>
                </a:lnTo>
                <a:lnTo>
                  <a:pt x="3371" y="3783"/>
                </a:lnTo>
                <a:lnTo>
                  <a:pt x="3411" y="3801"/>
                </a:lnTo>
                <a:lnTo>
                  <a:pt x="3435" y="3814"/>
                </a:lnTo>
                <a:lnTo>
                  <a:pt x="3461" y="3829"/>
                </a:lnTo>
                <a:lnTo>
                  <a:pt x="3492" y="3848"/>
                </a:lnTo>
                <a:lnTo>
                  <a:pt x="3527" y="3873"/>
                </a:lnTo>
                <a:lnTo>
                  <a:pt x="3527" y="3873"/>
                </a:lnTo>
                <a:lnTo>
                  <a:pt x="3545" y="3888"/>
                </a:lnTo>
                <a:lnTo>
                  <a:pt x="3563" y="3906"/>
                </a:lnTo>
                <a:lnTo>
                  <a:pt x="3580" y="3925"/>
                </a:lnTo>
                <a:lnTo>
                  <a:pt x="3595" y="3946"/>
                </a:lnTo>
                <a:lnTo>
                  <a:pt x="3608" y="3967"/>
                </a:lnTo>
                <a:lnTo>
                  <a:pt x="3622" y="3991"/>
                </a:lnTo>
                <a:lnTo>
                  <a:pt x="3634" y="4014"/>
                </a:lnTo>
                <a:lnTo>
                  <a:pt x="3645" y="4040"/>
                </a:lnTo>
                <a:lnTo>
                  <a:pt x="3655" y="4066"/>
                </a:lnTo>
                <a:lnTo>
                  <a:pt x="3665" y="4094"/>
                </a:lnTo>
                <a:lnTo>
                  <a:pt x="3674" y="4122"/>
                </a:lnTo>
                <a:lnTo>
                  <a:pt x="3682" y="4151"/>
                </a:lnTo>
                <a:lnTo>
                  <a:pt x="3698" y="4211"/>
                </a:lnTo>
                <a:lnTo>
                  <a:pt x="3714" y="4274"/>
                </a:lnTo>
                <a:lnTo>
                  <a:pt x="3714" y="4274"/>
                </a:lnTo>
                <a:lnTo>
                  <a:pt x="3725" y="4324"/>
                </a:lnTo>
                <a:lnTo>
                  <a:pt x="3734" y="4377"/>
                </a:lnTo>
                <a:lnTo>
                  <a:pt x="3742" y="4430"/>
                </a:lnTo>
                <a:lnTo>
                  <a:pt x="3744" y="4457"/>
                </a:lnTo>
                <a:lnTo>
                  <a:pt x="3746" y="4481"/>
                </a:lnTo>
                <a:lnTo>
                  <a:pt x="3748" y="4506"/>
                </a:lnTo>
                <a:lnTo>
                  <a:pt x="3749" y="4529"/>
                </a:lnTo>
                <a:lnTo>
                  <a:pt x="3748" y="4551"/>
                </a:lnTo>
                <a:lnTo>
                  <a:pt x="3745" y="4571"/>
                </a:lnTo>
                <a:lnTo>
                  <a:pt x="3742" y="4590"/>
                </a:lnTo>
                <a:lnTo>
                  <a:pt x="3737" y="4606"/>
                </a:lnTo>
                <a:lnTo>
                  <a:pt x="3731" y="4619"/>
                </a:lnTo>
                <a:lnTo>
                  <a:pt x="3728" y="4625"/>
                </a:lnTo>
                <a:lnTo>
                  <a:pt x="3724" y="4631"/>
                </a:lnTo>
                <a:lnTo>
                  <a:pt x="3724" y="4631"/>
                </a:lnTo>
                <a:lnTo>
                  <a:pt x="3715" y="4641"/>
                </a:lnTo>
                <a:lnTo>
                  <a:pt x="3705" y="4651"/>
                </a:lnTo>
                <a:lnTo>
                  <a:pt x="3691" y="4660"/>
                </a:lnTo>
                <a:lnTo>
                  <a:pt x="3683" y="4665"/>
                </a:lnTo>
                <a:lnTo>
                  <a:pt x="3673" y="4670"/>
                </a:lnTo>
                <a:lnTo>
                  <a:pt x="3663" y="4676"/>
                </a:lnTo>
                <a:lnTo>
                  <a:pt x="3650" y="4681"/>
                </a:lnTo>
                <a:lnTo>
                  <a:pt x="3621" y="4690"/>
                </a:lnTo>
                <a:lnTo>
                  <a:pt x="3582" y="4700"/>
                </a:lnTo>
                <a:lnTo>
                  <a:pt x="3535" y="4710"/>
                </a:lnTo>
                <a:lnTo>
                  <a:pt x="3560" y="4833"/>
                </a:lnTo>
                <a:lnTo>
                  <a:pt x="3560" y="4833"/>
                </a:lnTo>
                <a:lnTo>
                  <a:pt x="3579" y="4834"/>
                </a:lnTo>
                <a:lnTo>
                  <a:pt x="3597" y="4834"/>
                </a:lnTo>
                <a:lnTo>
                  <a:pt x="3615" y="4833"/>
                </a:lnTo>
                <a:lnTo>
                  <a:pt x="3631" y="4831"/>
                </a:lnTo>
                <a:lnTo>
                  <a:pt x="3646" y="4829"/>
                </a:lnTo>
                <a:lnTo>
                  <a:pt x="3662" y="4826"/>
                </a:lnTo>
                <a:lnTo>
                  <a:pt x="3688" y="4819"/>
                </a:lnTo>
                <a:lnTo>
                  <a:pt x="3711" y="4812"/>
                </a:lnTo>
                <a:lnTo>
                  <a:pt x="3728" y="4805"/>
                </a:lnTo>
                <a:lnTo>
                  <a:pt x="3742" y="4799"/>
                </a:lnTo>
                <a:lnTo>
                  <a:pt x="3742" y="4799"/>
                </a:lnTo>
                <a:lnTo>
                  <a:pt x="3736" y="4805"/>
                </a:lnTo>
                <a:lnTo>
                  <a:pt x="3730" y="4813"/>
                </a:lnTo>
                <a:lnTo>
                  <a:pt x="3722" y="4823"/>
                </a:lnTo>
                <a:lnTo>
                  <a:pt x="3722" y="4823"/>
                </a:lnTo>
                <a:lnTo>
                  <a:pt x="3711" y="4839"/>
                </a:lnTo>
                <a:lnTo>
                  <a:pt x="3700" y="4856"/>
                </a:lnTo>
                <a:lnTo>
                  <a:pt x="3692" y="4871"/>
                </a:lnTo>
                <a:lnTo>
                  <a:pt x="3685" y="4886"/>
                </a:lnTo>
                <a:lnTo>
                  <a:pt x="3680" y="4902"/>
                </a:lnTo>
                <a:lnTo>
                  <a:pt x="3675" y="4919"/>
                </a:lnTo>
                <a:lnTo>
                  <a:pt x="3672" y="4936"/>
                </a:lnTo>
                <a:lnTo>
                  <a:pt x="3669" y="4957"/>
                </a:lnTo>
                <a:lnTo>
                  <a:pt x="3799" y="5041"/>
                </a:lnTo>
                <a:lnTo>
                  <a:pt x="3799" y="5041"/>
                </a:lnTo>
                <a:lnTo>
                  <a:pt x="3812" y="5000"/>
                </a:lnTo>
                <a:lnTo>
                  <a:pt x="3826" y="4960"/>
                </a:lnTo>
                <a:lnTo>
                  <a:pt x="3841" y="4924"/>
                </a:lnTo>
                <a:lnTo>
                  <a:pt x="3855" y="4891"/>
                </a:lnTo>
                <a:lnTo>
                  <a:pt x="3870" y="4864"/>
                </a:lnTo>
                <a:lnTo>
                  <a:pt x="3877" y="4851"/>
                </a:lnTo>
                <a:lnTo>
                  <a:pt x="3885" y="4841"/>
                </a:lnTo>
                <a:lnTo>
                  <a:pt x="3892" y="4832"/>
                </a:lnTo>
                <a:lnTo>
                  <a:pt x="3899" y="4825"/>
                </a:lnTo>
                <a:lnTo>
                  <a:pt x="3906" y="4820"/>
                </a:lnTo>
                <a:lnTo>
                  <a:pt x="3913" y="4816"/>
                </a:lnTo>
                <a:lnTo>
                  <a:pt x="3913" y="4816"/>
                </a:lnTo>
                <a:lnTo>
                  <a:pt x="3919" y="4814"/>
                </a:lnTo>
                <a:lnTo>
                  <a:pt x="3926" y="4814"/>
                </a:lnTo>
                <a:lnTo>
                  <a:pt x="3935" y="4814"/>
                </a:lnTo>
                <a:lnTo>
                  <a:pt x="3944" y="4815"/>
                </a:lnTo>
                <a:lnTo>
                  <a:pt x="3954" y="4817"/>
                </a:lnTo>
                <a:lnTo>
                  <a:pt x="3965" y="4819"/>
                </a:lnTo>
                <a:lnTo>
                  <a:pt x="3990" y="4828"/>
                </a:lnTo>
                <a:lnTo>
                  <a:pt x="4017" y="4839"/>
                </a:lnTo>
                <a:lnTo>
                  <a:pt x="4047" y="4854"/>
                </a:lnTo>
                <a:lnTo>
                  <a:pt x="4078" y="4874"/>
                </a:lnTo>
                <a:lnTo>
                  <a:pt x="4110" y="4895"/>
                </a:lnTo>
                <a:lnTo>
                  <a:pt x="4127" y="4908"/>
                </a:lnTo>
                <a:lnTo>
                  <a:pt x="4143" y="4921"/>
                </a:lnTo>
                <a:lnTo>
                  <a:pt x="4160" y="4935"/>
                </a:lnTo>
                <a:lnTo>
                  <a:pt x="4176" y="4950"/>
                </a:lnTo>
                <a:lnTo>
                  <a:pt x="4192" y="4965"/>
                </a:lnTo>
                <a:lnTo>
                  <a:pt x="4208" y="4981"/>
                </a:lnTo>
                <a:lnTo>
                  <a:pt x="4224" y="4999"/>
                </a:lnTo>
                <a:lnTo>
                  <a:pt x="4239" y="5017"/>
                </a:lnTo>
                <a:lnTo>
                  <a:pt x="4254" y="5035"/>
                </a:lnTo>
                <a:lnTo>
                  <a:pt x="4268" y="5055"/>
                </a:lnTo>
                <a:lnTo>
                  <a:pt x="4282" y="5075"/>
                </a:lnTo>
                <a:lnTo>
                  <a:pt x="4296" y="5097"/>
                </a:lnTo>
                <a:lnTo>
                  <a:pt x="4308" y="5118"/>
                </a:lnTo>
                <a:lnTo>
                  <a:pt x="4320" y="5141"/>
                </a:lnTo>
                <a:lnTo>
                  <a:pt x="4331" y="5164"/>
                </a:lnTo>
                <a:lnTo>
                  <a:pt x="4342" y="5189"/>
                </a:lnTo>
                <a:lnTo>
                  <a:pt x="4342" y="5189"/>
                </a:lnTo>
                <a:lnTo>
                  <a:pt x="4347" y="5203"/>
                </a:lnTo>
                <a:lnTo>
                  <a:pt x="4352" y="5220"/>
                </a:lnTo>
                <a:lnTo>
                  <a:pt x="4356" y="5236"/>
                </a:lnTo>
                <a:lnTo>
                  <a:pt x="4360" y="5253"/>
                </a:lnTo>
                <a:lnTo>
                  <a:pt x="4363" y="5272"/>
                </a:lnTo>
                <a:lnTo>
                  <a:pt x="4366" y="5290"/>
                </a:lnTo>
                <a:lnTo>
                  <a:pt x="4370" y="5329"/>
                </a:lnTo>
                <a:lnTo>
                  <a:pt x="4372" y="5368"/>
                </a:lnTo>
                <a:lnTo>
                  <a:pt x="4371" y="5409"/>
                </a:lnTo>
                <a:lnTo>
                  <a:pt x="4370" y="5429"/>
                </a:lnTo>
                <a:lnTo>
                  <a:pt x="4369" y="5449"/>
                </a:lnTo>
                <a:lnTo>
                  <a:pt x="4366" y="5469"/>
                </a:lnTo>
                <a:lnTo>
                  <a:pt x="4363" y="5488"/>
                </a:lnTo>
                <a:lnTo>
                  <a:pt x="4360" y="5508"/>
                </a:lnTo>
                <a:lnTo>
                  <a:pt x="4356" y="5526"/>
                </a:lnTo>
                <a:lnTo>
                  <a:pt x="4351" y="5545"/>
                </a:lnTo>
                <a:lnTo>
                  <a:pt x="4345" y="5562"/>
                </a:lnTo>
                <a:lnTo>
                  <a:pt x="4339" y="5579"/>
                </a:lnTo>
                <a:lnTo>
                  <a:pt x="4332" y="5595"/>
                </a:lnTo>
                <a:lnTo>
                  <a:pt x="4324" y="5610"/>
                </a:lnTo>
                <a:lnTo>
                  <a:pt x="4316" y="5624"/>
                </a:lnTo>
                <a:lnTo>
                  <a:pt x="4307" y="5638"/>
                </a:lnTo>
                <a:lnTo>
                  <a:pt x="4298" y="5650"/>
                </a:lnTo>
                <a:lnTo>
                  <a:pt x="4287" y="5661"/>
                </a:lnTo>
                <a:lnTo>
                  <a:pt x="4276" y="5670"/>
                </a:lnTo>
                <a:lnTo>
                  <a:pt x="4264" y="5679"/>
                </a:lnTo>
                <a:lnTo>
                  <a:pt x="4252" y="5686"/>
                </a:lnTo>
                <a:lnTo>
                  <a:pt x="4238" y="5691"/>
                </a:lnTo>
                <a:lnTo>
                  <a:pt x="4224" y="5694"/>
                </a:lnTo>
                <a:lnTo>
                  <a:pt x="4224" y="5694"/>
                </a:lnTo>
                <a:lnTo>
                  <a:pt x="4216" y="5695"/>
                </a:lnTo>
                <a:lnTo>
                  <a:pt x="4208" y="5695"/>
                </a:lnTo>
                <a:lnTo>
                  <a:pt x="4198" y="5694"/>
                </a:lnTo>
                <a:lnTo>
                  <a:pt x="4188" y="5692"/>
                </a:lnTo>
                <a:lnTo>
                  <a:pt x="4168" y="5687"/>
                </a:lnTo>
                <a:lnTo>
                  <a:pt x="4145" y="5679"/>
                </a:lnTo>
                <a:lnTo>
                  <a:pt x="4123" y="5668"/>
                </a:lnTo>
                <a:lnTo>
                  <a:pt x="4099" y="5657"/>
                </a:lnTo>
                <a:lnTo>
                  <a:pt x="4051" y="5635"/>
                </a:lnTo>
                <a:lnTo>
                  <a:pt x="4028" y="5623"/>
                </a:lnTo>
                <a:lnTo>
                  <a:pt x="4005" y="5614"/>
                </a:lnTo>
                <a:lnTo>
                  <a:pt x="3984" y="5607"/>
                </a:lnTo>
                <a:lnTo>
                  <a:pt x="3964" y="5602"/>
                </a:lnTo>
                <a:lnTo>
                  <a:pt x="3955" y="5601"/>
                </a:lnTo>
                <a:lnTo>
                  <a:pt x="3947" y="5600"/>
                </a:lnTo>
                <a:lnTo>
                  <a:pt x="3939" y="5601"/>
                </a:lnTo>
                <a:lnTo>
                  <a:pt x="3932" y="5602"/>
                </a:lnTo>
                <a:lnTo>
                  <a:pt x="3924" y="5605"/>
                </a:lnTo>
                <a:lnTo>
                  <a:pt x="3919" y="5609"/>
                </a:lnTo>
                <a:lnTo>
                  <a:pt x="3914" y="5614"/>
                </a:lnTo>
                <a:lnTo>
                  <a:pt x="3909" y="5620"/>
                </a:lnTo>
                <a:lnTo>
                  <a:pt x="3909" y="5620"/>
                </a:lnTo>
                <a:lnTo>
                  <a:pt x="3905" y="5627"/>
                </a:lnTo>
                <a:lnTo>
                  <a:pt x="3900" y="5635"/>
                </a:lnTo>
                <a:lnTo>
                  <a:pt x="3893" y="5641"/>
                </a:lnTo>
                <a:lnTo>
                  <a:pt x="3886" y="5647"/>
                </a:lnTo>
                <a:lnTo>
                  <a:pt x="3869" y="5658"/>
                </a:lnTo>
                <a:lnTo>
                  <a:pt x="3851" y="5668"/>
                </a:lnTo>
                <a:lnTo>
                  <a:pt x="3810" y="5690"/>
                </a:lnTo>
                <a:lnTo>
                  <a:pt x="3789" y="5701"/>
                </a:lnTo>
                <a:lnTo>
                  <a:pt x="3770" y="5714"/>
                </a:lnTo>
                <a:lnTo>
                  <a:pt x="3761" y="5720"/>
                </a:lnTo>
                <a:lnTo>
                  <a:pt x="3752" y="5729"/>
                </a:lnTo>
                <a:lnTo>
                  <a:pt x="3743" y="5736"/>
                </a:lnTo>
                <a:lnTo>
                  <a:pt x="3735" y="5745"/>
                </a:lnTo>
                <a:lnTo>
                  <a:pt x="3728" y="5754"/>
                </a:lnTo>
                <a:lnTo>
                  <a:pt x="3722" y="5764"/>
                </a:lnTo>
                <a:lnTo>
                  <a:pt x="3717" y="5775"/>
                </a:lnTo>
                <a:lnTo>
                  <a:pt x="3713" y="5787"/>
                </a:lnTo>
                <a:lnTo>
                  <a:pt x="3710" y="5799"/>
                </a:lnTo>
                <a:lnTo>
                  <a:pt x="3708" y="5813"/>
                </a:lnTo>
                <a:lnTo>
                  <a:pt x="3707" y="5827"/>
                </a:lnTo>
                <a:lnTo>
                  <a:pt x="3707" y="5843"/>
                </a:lnTo>
                <a:lnTo>
                  <a:pt x="3709" y="5860"/>
                </a:lnTo>
                <a:lnTo>
                  <a:pt x="3713" y="5877"/>
                </a:lnTo>
                <a:lnTo>
                  <a:pt x="3718" y="5896"/>
                </a:lnTo>
                <a:lnTo>
                  <a:pt x="3724" y="5917"/>
                </a:lnTo>
                <a:lnTo>
                  <a:pt x="3724" y="5917"/>
                </a:lnTo>
                <a:lnTo>
                  <a:pt x="3741" y="5896"/>
                </a:lnTo>
                <a:lnTo>
                  <a:pt x="3759" y="5875"/>
                </a:lnTo>
                <a:lnTo>
                  <a:pt x="3776" y="5856"/>
                </a:lnTo>
                <a:lnTo>
                  <a:pt x="3794" y="5840"/>
                </a:lnTo>
                <a:lnTo>
                  <a:pt x="3802" y="5833"/>
                </a:lnTo>
                <a:lnTo>
                  <a:pt x="3811" y="5827"/>
                </a:lnTo>
                <a:lnTo>
                  <a:pt x="3819" y="5821"/>
                </a:lnTo>
                <a:lnTo>
                  <a:pt x="3827" y="5817"/>
                </a:lnTo>
                <a:lnTo>
                  <a:pt x="3835" y="5815"/>
                </a:lnTo>
                <a:lnTo>
                  <a:pt x="3843" y="5813"/>
                </a:lnTo>
                <a:lnTo>
                  <a:pt x="3850" y="5813"/>
                </a:lnTo>
                <a:lnTo>
                  <a:pt x="3857" y="5815"/>
                </a:lnTo>
                <a:lnTo>
                  <a:pt x="3857" y="5815"/>
                </a:lnTo>
                <a:lnTo>
                  <a:pt x="3861" y="5817"/>
                </a:lnTo>
                <a:lnTo>
                  <a:pt x="3864" y="5819"/>
                </a:lnTo>
                <a:lnTo>
                  <a:pt x="3870" y="5825"/>
                </a:lnTo>
                <a:lnTo>
                  <a:pt x="3875" y="5833"/>
                </a:lnTo>
                <a:lnTo>
                  <a:pt x="3879" y="5841"/>
                </a:lnTo>
                <a:lnTo>
                  <a:pt x="3888" y="5862"/>
                </a:lnTo>
                <a:lnTo>
                  <a:pt x="3894" y="5872"/>
                </a:lnTo>
                <a:lnTo>
                  <a:pt x="3901" y="5882"/>
                </a:lnTo>
                <a:lnTo>
                  <a:pt x="3901" y="5882"/>
                </a:lnTo>
                <a:lnTo>
                  <a:pt x="3904" y="5885"/>
                </a:lnTo>
                <a:lnTo>
                  <a:pt x="3908" y="5887"/>
                </a:lnTo>
                <a:lnTo>
                  <a:pt x="3913" y="5889"/>
                </a:lnTo>
                <a:lnTo>
                  <a:pt x="3919" y="5890"/>
                </a:lnTo>
                <a:lnTo>
                  <a:pt x="3934" y="5892"/>
                </a:lnTo>
                <a:lnTo>
                  <a:pt x="3950" y="5892"/>
                </a:lnTo>
                <a:lnTo>
                  <a:pt x="3968" y="5891"/>
                </a:lnTo>
                <a:lnTo>
                  <a:pt x="3989" y="5889"/>
                </a:lnTo>
                <a:lnTo>
                  <a:pt x="4032" y="5885"/>
                </a:lnTo>
                <a:lnTo>
                  <a:pt x="4074" y="5881"/>
                </a:lnTo>
                <a:lnTo>
                  <a:pt x="4093" y="5879"/>
                </a:lnTo>
                <a:lnTo>
                  <a:pt x="4110" y="5879"/>
                </a:lnTo>
                <a:lnTo>
                  <a:pt x="4126" y="5879"/>
                </a:lnTo>
                <a:lnTo>
                  <a:pt x="4137" y="5881"/>
                </a:lnTo>
                <a:lnTo>
                  <a:pt x="4142" y="5883"/>
                </a:lnTo>
                <a:lnTo>
                  <a:pt x="4146" y="5885"/>
                </a:lnTo>
                <a:lnTo>
                  <a:pt x="4148" y="5887"/>
                </a:lnTo>
                <a:lnTo>
                  <a:pt x="4150" y="5890"/>
                </a:lnTo>
                <a:lnTo>
                  <a:pt x="4150" y="5890"/>
                </a:lnTo>
                <a:lnTo>
                  <a:pt x="4151" y="5893"/>
                </a:lnTo>
                <a:lnTo>
                  <a:pt x="4150" y="5896"/>
                </a:lnTo>
                <a:lnTo>
                  <a:pt x="4149" y="5898"/>
                </a:lnTo>
                <a:lnTo>
                  <a:pt x="4148" y="5900"/>
                </a:lnTo>
                <a:lnTo>
                  <a:pt x="4143" y="5904"/>
                </a:lnTo>
                <a:lnTo>
                  <a:pt x="4136" y="5905"/>
                </a:lnTo>
                <a:lnTo>
                  <a:pt x="4118" y="5908"/>
                </a:lnTo>
                <a:lnTo>
                  <a:pt x="4100" y="5910"/>
                </a:lnTo>
                <a:lnTo>
                  <a:pt x="4100" y="5910"/>
                </a:lnTo>
                <a:lnTo>
                  <a:pt x="4021" y="5924"/>
                </a:lnTo>
                <a:lnTo>
                  <a:pt x="3981" y="5931"/>
                </a:lnTo>
                <a:lnTo>
                  <a:pt x="3943" y="5939"/>
                </a:lnTo>
                <a:lnTo>
                  <a:pt x="3925" y="5944"/>
                </a:lnTo>
                <a:lnTo>
                  <a:pt x="3909" y="5950"/>
                </a:lnTo>
                <a:lnTo>
                  <a:pt x="3894" y="5956"/>
                </a:lnTo>
                <a:lnTo>
                  <a:pt x="3881" y="5962"/>
                </a:lnTo>
                <a:lnTo>
                  <a:pt x="3869" y="5968"/>
                </a:lnTo>
                <a:lnTo>
                  <a:pt x="3860" y="5976"/>
                </a:lnTo>
                <a:lnTo>
                  <a:pt x="3853" y="5984"/>
                </a:lnTo>
                <a:lnTo>
                  <a:pt x="3850" y="5988"/>
                </a:lnTo>
                <a:lnTo>
                  <a:pt x="3848" y="5993"/>
                </a:lnTo>
                <a:lnTo>
                  <a:pt x="3848" y="5993"/>
                </a:lnTo>
                <a:lnTo>
                  <a:pt x="3846" y="6000"/>
                </a:lnTo>
                <a:lnTo>
                  <a:pt x="3846" y="6004"/>
                </a:lnTo>
                <a:lnTo>
                  <a:pt x="3847" y="6014"/>
                </a:lnTo>
                <a:lnTo>
                  <a:pt x="3847" y="6019"/>
                </a:lnTo>
                <a:lnTo>
                  <a:pt x="3846" y="6025"/>
                </a:lnTo>
                <a:lnTo>
                  <a:pt x="3845" y="6033"/>
                </a:lnTo>
                <a:lnTo>
                  <a:pt x="3842" y="6044"/>
                </a:lnTo>
                <a:lnTo>
                  <a:pt x="3842" y="6044"/>
                </a:lnTo>
                <a:lnTo>
                  <a:pt x="3837" y="6055"/>
                </a:lnTo>
                <a:lnTo>
                  <a:pt x="3831" y="6064"/>
                </a:lnTo>
                <a:lnTo>
                  <a:pt x="3823" y="6072"/>
                </a:lnTo>
                <a:lnTo>
                  <a:pt x="3815" y="6080"/>
                </a:lnTo>
                <a:lnTo>
                  <a:pt x="3796" y="6096"/>
                </a:lnTo>
                <a:lnTo>
                  <a:pt x="3786" y="6104"/>
                </a:lnTo>
                <a:lnTo>
                  <a:pt x="3776" y="6113"/>
                </a:lnTo>
                <a:lnTo>
                  <a:pt x="3767" y="6122"/>
                </a:lnTo>
                <a:lnTo>
                  <a:pt x="3758" y="6134"/>
                </a:lnTo>
                <a:lnTo>
                  <a:pt x="3750" y="6147"/>
                </a:lnTo>
                <a:lnTo>
                  <a:pt x="3742" y="6161"/>
                </a:lnTo>
                <a:lnTo>
                  <a:pt x="3736" y="6179"/>
                </a:lnTo>
                <a:lnTo>
                  <a:pt x="3732" y="6198"/>
                </a:lnTo>
                <a:lnTo>
                  <a:pt x="3730" y="6220"/>
                </a:lnTo>
                <a:lnTo>
                  <a:pt x="3730" y="6246"/>
                </a:lnTo>
                <a:lnTo>
                  <a:pt x="3730" y="6246"/>
                </a:lnTo>
                <a:lnTo>
                  <a:pt x="3732" y="6259"/>
                </a:lnTo>
                <a:lnTo>
                  <a:pt x="3735" y="6272"/>
                </a:lnTo>
                <a:lnTo>
                  <a:pt x="3739" y="6284"/>
                </a:lnTo>
                <a:lnTo>
                  <a:pt x="3744" y="6296"/>
                </a:lnTo>
                <a:lnTo>
                  <a:pt x="3751" y="6306"/>
                </a:lnTo>
                <a:lnTo>
                  <a:pt x="3757" y="6318"/>
                </a:lnTo>
                <a:lnTo>
                  <a:pt x="3763" y="6327"/>
                </a:lnTo>
                <a:lnTo>
                  <a:pt x="3770" y="6336"/>
                </a:lnTo>
                <a:lnTo>
                  <a:pt x="3784" y="6351"/>
                </a:lnTo>
                <a:lnTo>
                  <a:pt x="3797" y="6363"/>
                </a:lnTo>
                <a:lnTo>
                  <a:pt x="3807" y="6370"/>
                </a:lnTo>
                <a:lnTo>
                  <a:pt x="3810" y="6372"/>
                </a:lnTo>
                <a:lnTo>
                  <a:pt x="3813" y="6373"/>
                </a:lnTo>
                <a:lnTo>
                  <a:pt x="3813" y="6373"/>
                </a:lnTo>
                <a:lnTo>
                  <a:pt x="3814" y="6372"/>
                </a:lnTo>
                <a:lnTo>
                  <a:pt x="3815" y="6371"/>
                </a:lnTo>
                <a:lnTo>
                  <a:pt x="3816" y="6366"/>
                </a:lnTo>
                <a:lnTo>
                  <a:pt x="3818" y="6358"/>
                </a:lnTo>
                <a:lnTo>
                  <a:pt x="3818" y="6348"/>
                </a:lnTo>
                <a:lnTo>
                  <a:pt x="3820" y="6324"/>
                </a:lnTo>
                <a:lnTo>
                  <a:pt x="3823" y="6295"/>
                </a:lnTo>
                <a:lnTo>
                  <a:pt x="3825" y="6281"/>
                </a:lnTo>
                <a:lnTo>
                  <a:pt x="3828" y="6265"/>
                </a:lnTo>
                <a:lnTo>
                  <a:pt x="3831" y="6252"/>
                </a:lnTo>
                <a:lnTo>
                  <a:pt x="3836" y="6239"/>
                </a:lnTo>
                <a:lnTo>
                  <a:pt x="3843" y="6228"/>
                </a:lnTo>
                <a:lnTo>
                  <a:pt x="3847" y="6224"/>
                </a:lnTo>
                <a:lnTo>
                  <a:pt x="3851" y="6218"/>
                </a:lnTo>
                <a:lnTo>
                  <a:pt x="3855" y="6215"/>
                </a:lnTo>
                <a:lnTo>
                  <a:pt x="3860" y="6212"/>
                </a:lnTo>
                <a:lnTo>
                  <a:pt x="3865" y="6209"/>
                </a:lnTo>
                <a:lnTo>
                  <a:pt x="3871" y="6208"/>
                </a:lnTo>
                <a:lnTo>
                  <a:pt x="3871" y="6208"/>
                </a:lnTo>
                <a:lnTo>
                  <a:pt x="3877" y="6207"/>
                </a:lnTo>
                <a:lnTo>
                  <a:pt x="3882" y="6208"/>
                </a:lnTo>
                <a:lnTo>
                  <a:pt x="3888" y="6210"/>
                </a:lnTo>
                <a:lnTo>
                  <a:pt x="3892" y="6214"/>
                </a:lnTo>
                <a:lnTo>
                  <a:pt x="3902" y="6223"/>
                </a:lnTo>
                <a:lnTo>
                  <a:pt x="3911" y="6233"/>
                </a:lnTo>
                <a:lnTo>
                  <a:pt x="3921" y="6243"/>
                </a:lnTo>
                <a:lnTo>
                  <a:pt x="3926" y="6248"/>
                </a:lnTo>
                <a:lnTo>
                  <a:pt x="3933" y="6252"/>
                </a:lnTo>
                <a:lnTo>
                  <a:pt x="3940" y="6256"/>
                </a:lnTo>
                <a:lnTo>
                  <a:pt x="3946" y="6259"/>
                </a:lnTo>
                <a:lnTo>
                  <a:pt x="3954" y="6260"/>
                </a:lnTo>
                <a:lnTo>
                  <a:pt x="3962" y="6261"/>
                </a:lnTo>
                <a:lnTo>
                  <a:pt x="3962" y="6261"/>
                </a:lnTo>
                <a:lnTo>
                  <a:pt x="3970" y="6260"/>
                </a:lnTo>
                <a:lnTo>
                  <a:pt x="3979" y="6257"/>
                </a:lnTo>
                <a:lnTo>
                  <a:pt x="3987" y="6254"/>
                </a:lnTo>
                <a:lnTo>
                  <a:pt x="3996" y="6250"/>
                </a:lnTo>
                <a:lnTo>
                  <a:pt x="4005" y="6244"/>
                </a:lnTo>
                <a:lnTo>
                  <a:pt x="4014" y="6238"/>
                </a:lnTo>
                <a:lnTo>
                  <a:pt x="4035" y="6221"/>
                </a:lnTo>
                <a:lnTo>
                  <a:pt x="4055" y="6204"/>
                </a:lnTo>
                <a:lnTo>
                  <a:pt x="4077" y="6184"/>
                </a:lnTo>
                <a:lnTo>
                  <a:pt x="4122" y="6141"/>
                </a:lnTo>
                <a:lnTo>
                  <a:pt x="4144" y="6119"/>
                </a:lnTo>
                <a:lnTo>
                  <a:pt x="4166" y="6099"/>
                </a:lnTo>
                <a:lnTo>
                  <a:pt x="4187" y="6079"/>
                </a:lnTo>
                <a:lnTo>
                  <a:pt x="4208" y="6064"/>
                </a:lnTo>
                <a:lnTo>
                  <a:pt x="4227" y="6051"/>
                </a:lnTo>
                <a:lnTo>
                  <a:pt x="4236" y="6046"/>
                </a:lnTo>
                <a:lnTo>
                  <a:pt x="4245" y="6042"/>
                </a:lnTo>
                <a:lnTo>
                  <a:pt x="4254" y="6038"/>
                </a:lnTo>
                <a:lnTo>
                  <a:pt x="4262" y="6036"/>
                </a:lnTo>
                <a:lnTo>
                  <a:pt x="4270" y="6036"/>
                </a:lnTo>
                <a:lnTo>
                  <a:pt x="4277" y="6037"/>
                </a:lnTo>
                <a:lnTo>
                  <a:pt x="4277" y="6037"/>
                </a:lnTo>
                <a:lnTo>
                  <a:pt x="4278" y="6038"/>
                </a:lnTo>
                <a:lnTo>
                  <a:pt x="4279" y="6041"/>
                </a:lnTo>
                <a:lnTo>
                  <a:pt x="4278" y="6044"/>
                </a:lnTo>
                <a:lnTo>
                  <a:pt x="4277" y="6046"/>
                </a:lnTo>
                <a:lnTo>
                  <a:pt x="4272" y="6053"/>
                </a:lnTo>
                <a:lnTo>
                  <a:pt x="4264" y="6061"/>
                </a:lnTo>
                <a:lnTo>
                  <a:pt x="4241" y="6082"/>
                </a:lnTo>
                <a:lnTo>
                  <a:pt x="4212" y="6109"/>
                </a:lnTo>
                <a:lnTo>
                  <a:pt x="4181" y="6139"/>
                </a:lnTo>
                <a:lnTo>
                  <a:pt x="4167" y="6154"/>
                </a:lnTo>
                <a:lnTo>
                  <a:pt x="4152" y="6170"/>
                </a:lnTo>
                <a:lnTo>
                  <a:pt x="4140" y="6187"/>
                </a:lnTo>
                <a:lnTo>
                  <a:pt x="4129" y="6204"/>
                </a:lnTo>
                <a:lnTo>
                  <a:pt x="4121" y="6220"/>
                </a:lnTo>
                <a:lnTo>
                  <a:pt x="4118" y="6229"/>
                </a:lnTo>
                <a:lnTo>
                  <a:pt x="4116" y="6238"/>
                </a:lnTo>
                <a:lnTo>
                  <a:pt x="4116" y="6238"/>
                </a:lnTo>
                <a:lnTo>
                  <a:pt x="4114" y="6250"/>
                </a:lnTo>
                <a:lnTo>
                  <a:pt x="4114" y="6261"/>
                </a:lnTo>
                <a:lnTo>
                  <a:pt x="4115" y="6273"/>
                </a:lnTo>
                <a:lnTo>
                  <a:pt x="4119" y="6282"/>
                </a:lnTo>
                <a:lnTo>
                  <a:pt x="4123" y="6290"/>
                </a:lnTo>
                <a:lnTo>
                  <a:pt x="4129" y="6298"/>
                </a:lnTo>
                <a:lnTo>
                  <a:pt x="4135" y="6305"/>
                </a:lnTo>
                <a:lnTo>
                  <a:pt x="4142" y="6311"/>
                </a:lnTo>
                <a:lnTo>
                  <a:pt x="4157" y="6325"/>
                </a:lnTo>
                <a:lnTo>
                  <a:pt x="4163" y="6331"/>
                </a:lnTo>
                <a:lnTo>
                  <a:pt x="4169" y="6338"/>
                </a:lnTo>
                <a:lnTo>
                  <a:pt x="4175" y="6345"/>
                </a:lnTo>
                <a:lnTo>
                  <a:pt x="4179" y="6352"/>
                </a:lnTo>
                <a:lnTo>
                  <a:pt x="4182" y="6361"/>
                </a:lnTo>
                <a:lnTo>
                  <a:pt x="4183" y="6370"/>
                </a:lnTo>
                <a:lnTo>
                  <a:pt x="4183" y="6370"/>
                </a:lnTo>
                <a:lnTo>
                  <a:pt x="4184" y="6380"/>
                </a:lnTo>
                <a:lnTo>
                  <a:pt x="4186" y="6391"/>
                </a:lnTo>
                <a:lnTo>
                  <a:pt x="4189" y="6400"/>
                </a:lnTo>
                <a:lnTo>
                  <a:pt x="4193" y="6411"/>
                </a:lnTo>
                <a:lnTo>
                  <a:pt x="4198" y="6420"/>
                </a:lnTo>
                <a:lnTo>
                  <a:pt x="4205" y="6429"/>
                </a:lnTo>
                <a:lnTo>
                  <a:pt x="4212" y="6437"/>
                </a:lnTo>
                <a:lnTo>
                  <a:pt x="4220" y="6445"/>
                </a:lnTo>
                <a:lnTo>
                  <a:pt x="4228" y="6454"/>
                </a:lnTo>
                <a:lnTo>
                  <a:pt x="4237" y="6461"/>
                </a:lnTo>
                <a:lnTo>
                  <a:pt x="4257" y="6474"/>
                </a:lnTo>
                <a:lnTo>
                  <a:pt x="4278" y="6486"/>
                </a:lnTo>
                <a:lnTo>
                  <a:pt x="4300" y="6497"/>
                </a:lnTo>
                <a:lnTo>
                  <a:pt x="4322" y="6506"/>
                </a:lnTo>
                <a:lnTo>
                  <a:pt x="4344" y="6514"/>
                </a:lnTo>
                <a:lnTo>
                  <a:pt x="4364" y="6519"/>
                </a:lnTo>
                <a:lnTo>
                  <a:pt x="4382" y="6524"/>
                </a:lnTo>
                <a:lnTo>
                  <a:pt x="4399" y="6526"/>
                </a:lnTo>
                <a:lnTo>
                  <a:pt x="4412" y="6527"/>
                </a:lnTo>
                <a:lnTo>
                  <a:pt x="4421" y="6527"/>
                </a:lnTo>
                <a:lnTo>
                  <a:pt x="4424" y="6526"/>
                </a:lnTo>
                <a:lnTo>
                  <a:pt x="4426" y="6525"/>
                </a:lnTo>
                <a:lnTo>
                  <a:pt x="4426" y="6525"/>
                </a:lnTo>
                <a:lnTo>
                  <a:pt x="4427" y="6523"/>
                </a:lnTo>
                <a:lnTo>
                  <a:pt x="4427" y="6521"/>
                </a:lnTo>
                <a:lnTo>
                  <a:pt x="4425" y="6515"/>
                </a:lnTo>
                <a:lnTo>
                  <a:pt x="4420" y="6508"/>
                </a:lnTo>
                <a:lnTo>
                  <a:pt x="4412" y="6498"/>
                </a:lnTo>
                <a:lnTo>
                  <a:pt x="4393" y="6475"/>
                </a:lnTo>
                <a:lnTo>
                  <a:pt x="4369" y="6448"/>
                </a:lnTo>
                <a:lnTo>
                  <a:pt x="4358" y="6435"/>
                </a:lnTo>
                <a:lnTo>
                  <a:pt x="4348" y="6421"/>
                </a:lnTo>
                <a:lnTo>
                  <a:pt x="4339" y="6407"/>
                </a:lnTo>
                <a:lnTo>
                  <a:pt x="4330" y="6393"/>
                </a:lnTo>
                <a:lnTo>
                  <a:pt x="4325" y="6380"/>
                </a:lnTo>
                <a:lnTo>
                  <a:pt x="4324" y="6374"/>
                </a:lnTo>
                <a:lnTo>
                  <a:pt x="4323" y="6368"/>
                </a:lnTo>
                <a:lnTo>
                  <a:pt x="4323" y="6362"/>
                </a:lnTo>
                <a:lnTo>
                  <a:pt x="4324" y="6356"/>
                </a:lnTo>
                <a:lnTo>
                  <a:pt x="4326" y="6351"/>
                </a:lnTo>
                <a:lnTo>
                  <a:pt x="4329" y="6346"/>
                </a:lnTo>
                <a:lnTo>
                  <a:pt x="4329" y="6346"/>
                </a:lnTo>
                <a:lnTo>
                  <a:pt x="4333" y="6342"/>
                </a:lnTo>
                <a:lnTo>
                  <a:pt x="4337" y="6339"/>
                </a:lnTo>
                <a:lnTo>
                  <a:pt x="4343" y="6338"/>
                </a:lnTo>
                <a:lnTo>
                  <a:pt x="4347" y="6337"/>
                </a:lnTo>
                <a:lnTo>
                  <a:pt x="4352" y="6337"/>
                </a:lnTo>
                <a:lnTo>
                  <a:pt x="4358" y="6338"/>
                </a:lnTo>
                <a:lnTo>
                  <a:pt x="4370" y="6340"/>
                </a:lnTo>
                <a:lnTo>
                  <a:pt x="4384" y="6343"/>
                </a:lnTo>
                <a:lnTo>
                  <a:pt x="4392" y="6344"/>
                </a:lnTo>
                <a:lnTo>
                  <a:pt x="4399" y="6344"/>
                </a:lnTo>
                <a:lnTo>
                  <a:pt x="4408" y="6344"/>
                </a:lnTo>
                <a:lnTo>
                  <a:pt x="4416" y="6343"/>
                </a:lnTo>
                <a:lnTo>
                  <a:pt x="4425" y="6341"/>
                </a:lnTo>
                <a:lnTo>
                  <a:pt x="4436" y="6337"/>
                </a:lnTo>
                <a:lnTo>
                  <a:pt x="4436" y="6337"/>
                </a:lnTo>
                <a:lnTo>
                  <a:pt x="4437" y="6335"/>
                </a:lnTo>
                <a:lnTo>
                  <a:pt x="4438" y="6332"/>
                </a:lnTo>
                <a:lnTo>
                  <a:pt x="4438" y="6325"/>
                </a:lnTo>
                <a:lnTo>
                  <a:pt x="4436" y="6314"/>
                </a:lnTo>
                <a:lnTo>
                  <a:pt x="4434" y="6299"/>
                </a:lnTo>
                <a:lnTo>
                  <a:pt x="4431" y="6283"/>
                </a:lnTo>
                <a:lnTo>
                  <a:pt x="4428" y="6264"/>
                </a:lnTo>
                <a:lnTo>
                  <a:pt x="4426" y="6243"/>
                </a:lnTo>
                <a:lnTo>
                  <a:pt x="4426" y="6219"/>
                </a:lnTo>
                <a:lnTo>
                  <a:pt x="4428" y="6195"/>
                </a:lnTo>
                <a:lnTo>
                  <a:pt x="4431" y="6182"/>
                </a:lnTo>
                <a:lnTo>
                  <a:pt x="4434" y="6167"/>
                </a:lnTo>
                <a:lnTo>
                  <a:pt x="4437" y="6154"/>
                </a:lnTo>
                <a:lnTo>
                  <a:pt x="4441" y="6139"/>
                </a:lnTo>
                <a:lnTo>
                  <a:pt x="4446" y="6124"/>
                </a:lnTo>
                <a:lnTo>
                  <a:pt x="4453" y="6109"/>
                </a:lnTo>
                <a:lnTo>
                  <a:pt x="4460" y="6094"/>
                </a:lnTo>
                <a:lnTo>
                  <a:pt x="4469" y="6078"/>
                </a:lnTo>
                <a:lnTo>
                  <a:pt x="4479" y="6062"/>
                </a:lnTo>
                <a:lnTo>
                  <a:pt x="4490" y="6046"/>
                </a:lnTo>
                <a:lnTo>
                  <a:pt x="4503" y="6029"/>
                </a:lnTo>
                <a:lnTo>
                  <a:pt x="4516" y="6013"/>
                </a:lnTo>
                <a:lnTo>
                  <a:pt x="4533" y="5996"/>
                </a:lnTo>
                <a:lnTo>
                  <a:pt x="4550" y="5979"/>
                </a:lnTo>
                <a:lnTo>
                  <a:pt x="4550" y="5979"/>
                </a:lnTo>
                <a:lnTo>
                  <a:pt x="4557" y="5990"/>
                </a:lnTo>
                <a:lnTo>
                  <a:pt x="4566" y="6002"/>
                </a:lnTo>
                <a:lnTo>
                  <a:pt x="4578" y="6015"/>
                </a:lnTo>
                <a:lnTo>
                  <a:pt x="4586" y="6022"/>
                </a:lnTo>
                <a:lnTo>
                  <a:pt x="4594" y="6029"/>
                </a:lnTo>
                <a:lnTo>
                  <a:pt x="4603" y="6035"/>
                </a:lnTo>
                <a:lnTo>
                  <a:pt x="4614" y="6043"/>
                </a:lnTo>
                <a:lnTo>
                  <a:pt x="4624" y="6048"/>
                </a:lnTo>
                <a:lnTo>
                  <a:pt x="4636" y="6052"/>
                </a:lnTo>
                <a:lnTo>
                  <a:pt x="4648" y="6056"/>
                </a:lnTo>
                <a:lnTo>
                  <a:pt x="4662" y="6058"/>
                </a:lnTo>
                <a:lnTo>
                  <a:pt x="4662" y="6058"/>
                </a:lnTo>
                <a:lnTo>
                  <a:pt x="4668" y="6059"/>
                </a:lnTo>
                <a:lnTo>
                  <a:pt x="4673" y="6061"/>
                </a:lnTo>
                <a:lnTo>
                  <a:pt x="4677" y="6064"/>
                </a:lnTo>
                <a:lnTo>
                  <a:pt x="4681" y="6067"/>
                </a:lnTo>
                <a:lnTo>
                  <a:pt x="4685" y="6071"/>
                </a:lnTo>
                <a:lnTo>
                  <a:pt x="4688" y="6075"/>
                </a:lnTo>
                <a:lnTo>
                  <a:pt x="4692" y="6087"/>
                </a:lnTo>
                <a:lnTo>
                  <a:pt x="4696" y="6099"/>
                </a:lnTo>
                <a:lnTo>
                  <a:pt x="4698" y="6112"/>
                </a:lnTo>
                <a:lnTo>
                  <a:pt x="4698" y="6125"/>
                </a:lnTo>
                <a:lnTo>
                  <a:pt x="4698" y="6140"/>
                </a:lnTo>
                <a:lnTo>
                  <a:pt x="4696" y="6168"/>
                </a:lnTo>
                <a:lnTo>
                  <a:pt x="4694" y="6193"/>
                </a:lnTo>
                <a:lnTo>
                  <a:pt x="4692" y="6210"/>
                </a:lnTo>
                <a:lnTo>
                  <a:pt x="4692" y="6215"/>
                </a:lnTo>
                <a:lnTo>
                  <a:pt x="4693" y="6216"/>
                </a:lnTo>
                <a:lnTo>
                  <a:pt x="4694" y="6216"/>
                </a:lnTo>
                <a:lnTo>
                  <a:pt x="4694" y="6216"/>
                </a:lnTo>
                <a:lnTo>
                  <a:pt x="4697" y="6215"/>
                </a:lnTo>
                <a:lnTo>
                  <a:pt x="4702" y="6212"/>
                </a:lnTo>
                <a:lnTo>
                  <a:pt x="4708" y="6207"/>
                </a:lnTo>
                <a:lnTo>
                  <a:pt x="4714" y="6200"/>
                </a:lnTo>
                <a:lnTo>
                  <a:pt x="4721" y="6191"/>
                </a:lnTo>
                <a:lnTo>
                  <a:pt x="4729" y="6181"/>
                </a:lnTo>
                <a:lnTo>
                  <a:pt x="4736" y="6167"/>
                </a:lnTo>
                <a:lnTo>
                  <a:pt x="4743" y="6154"/>
                </a:lnTo>
                <a:lnTo>
                  <a:pt x="4751" y="6139"/>
                </a:lnTo>
                <a:lnTo>
                  <a:pt x="4758" y="6121"/>
                </a:lnTo>
                <a:lnTo>
                  <a:pt x="4763" y="6104"/>
                </a:lnTo>
                <a:lnTo>
                  <a:pt x="4768" y="6084"/>
                </a:lnTo>
                <a:lnTo>
                  <a:pt x="4771" y="6064"/>
                </a:lnTo>
                <a:lnTo>
                  <a:pt x="4773" y="6044"/>
                </a:lnTo>
                <a:lnTo>
                  <a:pt x="4772" y="6022"/>
                </a:lnTo>
                <a:lnTo>
                  <a:pt x="4770" y="6000"/>
                </a:lnTo>
                <a:lnTo>
                  <a:pt x="4770" y="6000"/>
                </a:lnTo>
                <a:lnTo>
                  <a:pt x="4778" y="5992"/>
                </a:lnTo>
                <a:lnTo>
                  <a:pt x="4798" y="5975"/>
                </a:lnTo>
                <a:lnTo>
                  <a:pt x="4809" y="5964"/>
                </a:lnTo>
                <a:lnTo>
                  <a:pt x="4819" y="5952"/>
                </a:lnTo>
                <a:lnTo>
                  <a:pt x="4827" y="5938"/>
                </a:lnTo>
                <a:lnTo>
                  <a:pt x="4830" y="5932"/>
                </a:lnTo>
                <a:lnTo>
                  <a:pt x="4832" y="5926"/>
                </a:lnTo>
                <a:lnTo>
                  <a:pt x="4832" y="5926"/>
                </a:lnTo>
                <a:lnTo>
                  <a:pt x="4834" y="5917"/>
                </a:lnTo>
                <a:lnTo>
                  <a:pt x="4835" y="5908"/>
                </a:lnTo>
                <a:lnTo>
                  <a:pt x="4836" y="5899"/>
                </a:lnTo>
                <a:lnTo>
                  <a:pt x="4835" y="5892"/>
                </a:lnTo>
                <a:lnTo>
                  <a:pt x="4834" y="5886"/>
                </a:lnTo>
                <a:lnTo>
                  <a:pt x="4832" y="5880"/>
                </a:lnTo>
                <a:lnTo>
                  <a:pt x="4830" y="5875"/>
                </a:lnTo>
                <a:lnTo>
                  <a:pt x="4827" y="5870"/>
                </a:lnTo>
                <a:lnTo>
                  <a:pt x="4819" y="5861"/>
                </a:lnTo>
                <a:lnTo>
                  <a:pt x="4810" y="5851"/>
                </a:lnTo>
                <a:lnTo>
                  <a:pt x="4800" y="5842"/>
                </a:lnTo>
                <a:lnTo>
                  <a:pt x="4789" y="5831"/>
                </a:lnTo>
                <a:lnTo>
                  <a:pt x="4778" y="5818"/>
                </a:lnTo>
                <a:lnTo>
                  <a:pt x="4772" y="5810"/>
                </a:lnTo>
                <a:lnTo>
                  <a:pt x="4767" y="5801"/>
                </a:lnTo>
                <a:lnTo>
                  <a:pt x="4762" y="5792"/>
                </a:lnTo>
                <a:lnTo>
                  <a:pt x="4757" y="5782"/>
                </a:lnTo>
                <a:lnTo>
                  <a:pt x="4753" y="5770"/>
                </a:lnTo>
                <a:lnTo>
                  <a:pt x="4749" y="5757"/>
                </a:lnTo>
                <a:lnTo>
                  <a:pt x="4744" y="5743"/>
                </a:lnTo>
                <a:lnTo>
                  <a:pt x="4741" y="5727"/>
                </a:lnTo>
                <a:lnTo>
                  <a:pt x="4738" y="5710"/>
                </a:lnTo>
                <a:lnTo>
                  <a:pt x="4736" y="5691"/>
                </a:lnTo>
                <a:lnTo>
                  <a:pt x="4735" y="5670"/>
                </a:lnTo>
                <a:lnTo>
                  <a:pt x="4734" y="5648"/>
                </a:lnTo>
                <a:lnTo>
                  <a:pt x="4734" y="5623"/>
                </a:lnTo>
                <a:lnTo>
                  <a:pt x="4735" y="5597"/>
                </a:lnTo>
                <a:lnTo>
                  <a:pt x="4735" y="5597"/>
                </a:lnTo>
                <a:lnTo>
                  <a:pt x="4735" y="5579"/>
                </a:lnTo>
                <a:lnTo>
                  <a:pt x="4734" y="5573"/>
                </a:lnTo>
                <a:lnTo>
                  <a:pt x="4733" y="5568"/>
                </a:lnTo>
                <a:lnTo>
                  <a:pt x="4731" y="5563"/>
                </a:lnTo>
                <a:lnTo>
                  <a:pt x="4729" y="5559"/>
                </a:lnTo>
                <a:lnTo>
                  <a:pt x="4727" y="5556"/>
                </a:lnTo>
                <a:lnTo>
                  <a:pt x="4724" y="5553"/>
                </a:lnTo>
                <a:lnTo>
                  <a:pt x="4716" y="5547"/>
                </a:lnTo>
                <a:lnTo>
                  <a:pt x="4706" y="5540"/>
                </a:lnTo>
                <a:lnTo>
                  <a:pt x="4693" y="5530"/>
                </a:lnTo>
                <a:lnTo>
                  <a:pt x="4679" y="5518"/>
                </a:lnTo>
                <a:lnTo>
                  <a:pt x="4679" y="5518"/>
                </a:lnTo>
                <a:lnTo>
                  <a:pt x="4671" y="5508"/>
                </a:lnTo>
                <a:lnTo>
                  <a:pt x="4664" y="5498"/>
                </a:lnTo>
                <a:lnTo>
                  <a:pt x="4659" y="5487"/>
                </a:lnTo>
                <a:lnTo>
                  <a:pt x="4655" y="5477"/>
                </a:lnTo>
                <a:lnTo>
                  <a:pt x="4654" y="5469"/>
                </a:lnTo>
                <a:lnTo>
                  <a:pt x="4654" y="5466"/>
                </a:lnTo>
                <a:lnTo>
                  <a:pt x="4654" y="5464"/>
                </a:lnTo>
                <a:lnTo>
                  <a:pt x="4657" y="5462"/>
                </a:lnTo>
                <a:lnTo>
                  <a:pt x="4659" y="5461"/>
                </a:lnTo>
                <a:lnTo>
                  <a:pt x="4661" y="5461"/>
                </a:lnTo>
                <a:lnTo>
                  <a:pt x="4665" y="5462"/>
                </a:lnTo>
                <a:lnTo>
                  <a:pt x="4665" y="5462"/>
                </a:lnTo>
                <a:lnTo>
                  <a:pt x="4679" y="5468"/>
                </a:lnTo>
                <a:lnTo>
                  <a:pt x="4693" y="5472"/>
                </a:lnTo>
                <a:lnTo>
                  <a:pt x="4708" y="5475"/>
                </a:lnTo>
                <a:lnTo>
                  <a:pt x="4723" y="5476"/>
                </a:lnTo>
                <a:lnTo>
                  <a:pt x="4737" y="5477"/>
                </a:lnTo>
                <a:lnTo>
                  <a:pt x="4752" y="5478"/>
                </a:lnTo>
                <a:lnTo>
                  <a:pt x="4765" y="5477"/>
                </a:lnTo>
                <a:lnTo>
                  <a:pt x="4778" y="5476"/>
                </a:lnTo>
                <a:lnTo>
                  <a:pt x="4802" y="5473"/>
                </a:lnTo>
                <a:lnTo>
                  <a:pt x="4819" y="5469"/>
                </a:lnTo>
                <a:lnTo>
                  <a:pt x="4835" y="5465"/>
                </a:lnTo>
                <a:lnTo>
                  <a:pt x="4835" y="5465"/>
                </a:lnTo>
                <a:lnTo>
                  <a:pt x="4844" y="5369"/>
                </a:lnTo>
                <a:lnTo>
                  <a:pt x="4849" y="5294"/>
                </a:lnTo>
                <a:lnTo>
                  <a:pt x="4851" y="5239"/>
                </a:lnTo>
                <a:lnTo>
                  <a:pt x="4851" y="5201"/>
                </a:lnTo>
                <a:lnTo>
                  <a:pt x="4849" y="5176"/>
                </a:lnTo>
                <a:lnTo>
                  <a:pt x="4847" y="5161"/>
                </a:lnTo>
                <a:lnTo>
                  <a:pt x="4845" y="5155"/>
                </a:lnTo>
                <a:lnTo>
                  <a:pt x="4844" y="5153"/>
                </a:lnTo>
                <a:lnTo>
                  <a:pt x="4844" y="5153"/>
                </a:lnTo>
                <a:lnTo>
                  <a:pt x="4825" y="5154"/>
                </a:lnTo>
                <a:lnTo>
                  <a:pt x="4808" y="5153"/>
                </a:lnTo>
                <a:lnTo>
                  <a:pt x="4791" y="5152"/>
                </a:lnTo>
                <a:lnTo>
                  <a:pt x="4776" y="5151"/>
                </a:lnTo>
                <a:lnTo>
                  <a:pt x="4763" y="5149"/>
                </a:lnTo>
                <a:lnTo>
                  <a:pt x="4750" y="5146"/>
                </a:lnTo>
                <a:lnTo>
                  <a:pt x="4737" y="5143"/>
                </a:lnTo>
                <a:lnTo>
                  <a:pt x="4726" y="5139"/>
                </a:lnTo>
                <a:lnTo>
                  <a:pt x="4716" y="5135"/>
                </a:lnTo>
                <a:lnTo>
                  <a:pt x="4707" y="5131"/>
                </a:lnTo>
                <a:lnTo>
                  <a:pt x="4698" y="5125"/>
                </a:lnTo>
                <a:lnTo>
                  <a:pt x="4690" y="5120"/>
                </a:lnTo>
                <a:lnTo>
                  <a:pt x="4683" y="5114"/>
                </a:lnTo>
                <a:lnTo>
                  <a:pt x="4676" y="5109"/>
                </a:lnTo>
                <a:lnTo>
                  <a:pt x="4665" y="5096"/>
                </a:lnTo>
                <a:lnTo>
                  <a:pt x="4665" y="5096"/>
                </a:lnTo>
                <a:lnTo>
                  <a:pt x="4677" y="5099"/>
                </a:lnTo>
                <a:lnTo>
                  <a:pt x="4690" y="5101"/>
                </a:lnTo>
                <a:lnTo>
                  <a:pt x="4717" y="5103"/>
                </a:lnTo>
                <a:lnTo>
                  <a:pt x="4742" y="5103"/>
                </a:lnTo>
                <a:lnTo>
                  <a:pt x="4768" y="5101"/>
                </a:lnTo>
                <a:lnTo>
                  <a:pt x="4790" y="5097"/>
                </a:lnTo>
                <a:lnTo>
                  <a:pt x="4812" y="5091"/>
                </a:lnTo>
                <a:lnTo>
                  <a:pt x="4821" y="5088"/>
                </a:lnTo>
                <a:lnTo>
                  <a:pt x="4829" y="5084"/>
                </a:lnTo>
                <a:lnTo>
                  <a:pt x="4838" y="5078"/>
                </a:lnTo>
                <a:lnTo>
                  <a:pt x="4844" y="5074"/>
                </a:lnTo>
                <a:lnTo>
                  <a:pt x="4844" y="5074"/>
                </a:lnTo>
                <a:lnTo>
                  <a:pt x="4843" y="5026"/>
                </a:lnTo>
                <a:lnTo>
                  <a:pt x="4841" y="4978"/>
                </a:lnTo>
                <a:lnTo>
                  <a:pt x="4838" y="4923"/>
                </a:lnTo>
                <a:lnTo>
                  <a:pt x="4833" y="4868"/>
                </a:lnTo>
                <a:lnTo>
                  <a:pt x="4831" y="4843"/>
                </a:lnTo>
                <a:lnTo>
                  <a:pt x="4828" y="4821"/>
                </a:lnTo>
                <a:lnTo>
                  <a:pt x="4825" y="4802"/>
                </a:lnTo>
                <a:lnTo>
                  <a:pt x="4822" y="4788"/>
                </a:lnTo>
                <a:lnTo>
                  <a:pt x="4820" y="4783"/>
                </a:lnTo>
                <a:lnTo>
                  <a:pt x="4818" y="4780"/>
                </a:lnTo>
                <a:lnTo>
                  <a:pt x="4816" y="4778"/>
                </a:lnTo>
                <a:lnTo>
                  <a:pt x="4814" y="4778"/>
                </a:lnTo>
                <a:lnTo>
                  <a:pt x="4814" y="4778"/>
                </a:lnTo>
                <a:lnTo>
                  <a:pt x="4786" y="4785"/>
                </a:lnTo>
                <a:lnTo>
                  <a:pt x="4760" y="4790"/>
                </a:lnTo>
                <a:lnTo>
                  <a:pt x="4746" y="4791"/>
                </a:lnTo>
                <a:lnTo>
                  <a:pt x="4734" y="4792"/>
                </a:lnTo>
                <a:lnTo>
                  <a:pt x="4722" y="4792"/>
                </a:lnTo>
                <a:lnTo>
                  <a:pt x="4711" y="4791"/>
                </a:lnTo>
                <a:lnTo>
                  <a:pt x="4698" y="4789"/>
                </a:lnTo>
                <a:lnTo>
                  <a:pt x="4687" y="4787"/>
                </a:lnTo>
                <a:lnTo>
                  <a:pt x="4675" y="4784"/>
                </a:lnTo>
                <a:lnTo>
                  <a:pt x="4664" y="4780"/>
                </a:lnTo>
                <a:lnTo>
                  <a:pt x="4652" y="4775"/>
                </a:lnTo>
                <a:lnTo>
                  <a:pt x="4640" y="4770"/>
                </a:lnTo>
                <a:lnTo>
                  <a:pt x="4629" y="4762"/>
                </a:lnTo>
                <a:lnTo>
                  <a:pt x="4618" y="4755"/>
                </a:lnTo>
                <a:lnTo>
                  <a:pt x="4618" y="4755"/>
                </a:lnTo>
                <a:lnTo>
                  <a:pt x="4613" y="4752"/>
                </a:lnTo>
                <a:lnTo>
                  <a:pt x="4608" y="4748"/>
                </a:lnTo>
                <a:lnTo>
                  <a:pt x="4602" y="4740"/>
                </a:lnTo>
                <a:lnTo>
                  <a:pt x="4597" y="4731"/>
                </a:lnTo>
                <a:lnTo>
                  <a:pt x="4594" y="4721"/>
                </a:lnTo>
                <a:lnTo>
                  <a:pt x="4592" y="4709"/>
                </a:lnTo>
                <a:lnTo>
                  <a:pt x="4591" y="4699"/>
                </a:lnTo>
                <a:lnTo>
                  <a:pt x="4590" y="4677"/>
                </a:lnTo>
                <a:lnTo>
                  <a:pt x="4589" y="4655"/>
                </a:lnTo>
                <a:lnTo>
                  <a:pt x="4587" y="4646"/>
                </a:lnTo>
                <a:lnTo>
                  <a:pt x="4585" y="4638"/>
                </a:lnTo>
                <a:lnTo>
                  <a:pt x="4581" y="4631"/>
                </a:lnTo>
                <a:lnTo>
                  <a:pt x="4575" y="4624"/>
                </a:lnTo>
                <a:lnTo>
                  <a:pt x="4571" y="4621"/>
                </a:lnTo>
                <a:lnTo>
                  <a:pt x="4567" y="4619"/>
                </a:lnTo>
                <a:lnTo>
                  <a:pt x="4561" y="4618"/>
                </a:lnTo>
                <a:lnTo>
                  <a:pt x="4556" y="4617"/>
                </a:lnTo>
                <a:lnTo>
                  <a:pt x="4556" y="4617"/>
                </a:lnTo>
                <a:lnTo>
                  <a:pt x="4534" y="4610"/>
                </a:lnTo>
                <a:lnTo>
                  <a:pt x="4511" y="4603"/>
                </a:lnTo>
                <a:lnTo>
                  <a:pt x="4489" y="4595"/>
                </a:lnTo>
                <a:lnTo>
                  <a:pt x="4468" y="4585"/>
                </a:lnTo>
                <a:lnTo>
                  <a:pt x="4448" y="4575"/>
                </a:lnTo>
                <a:lnTo>
                  <a:pt x="4428" y="4564"/>
                </a:lnTo>
                <a:lnTo>
                  <a:pt x="4410" y="4554"/>
                </a:lnTo>
                <a:lnTo>
                  <a:pt x="4394" y="4543"/>
                </a:lnTo>
                <a:lnTo>
                  <a:pt x="4377" y="4531"/>
                </a:lnTo>
                <a:lnTo>
                  <a:pt x="4363" y="4521"/>
                </a:lnTo>
                <a:lnTo>
                  <a:pt x="4337" y="4501"/>
                </a:lnTo>
                <a:lnTo>
                  <a:pt x="4318" y="4482"/>
                </a:lnTo>
                <a:lnTo>
                  <a:pt x="4306" y="4467"/>
                </a:lnTo>
                <a:lnTo>
                  <a:pt x="4306" y="4467"/>
                </a:lnTo>
                <a:lnTo>
                  <a:pt x="4297" y="4455"/>
                </a:lnTo>
                <a:lnTo>
                  <a:pt x="4288" y="4442"/>
                </a:lnTo>
                <a:lnTo>
                  <a:pt x="4282" y="4431"/>
                </a:lnTo>
                <a:lnTo>
                  <a:pt x="4277" y="4420"/>
                </a:lnTo>
                <a:lnTo>
                  <a:pt x="4273" y="4410"/>
                </a:lnTo>
                <a:lnTo>
                  <a:pt x="4270" y="4401"/>
                </a:lnTo>
                <a:lnTo>
                  <a:pt x="4266" y="4384"/>
                </a:lnTo>
                <a:lnTo>
                  <a:pt x="4265" y="4371"/>
                </a:lnTo>
                <a:lnTo>
                  <a:pt x="4265" y="4361"/>
                </a:lnTo>
                <a:lnTo>
                  <a:pt x="4266" y="4352"/>
                </a:lnTo>
                <a:lnTo>
                  <a:pt x="4266" y="4352"/>
                </a:lnTo>
                <a:lnTo>
                  <a:pt x="4284" y="4362"/>
                </a:lnTo>
                <a:lnTo>
                  <a:pt x="4302" y="4368"/>
                </a:lnTo>
                <a:lnTo>
                  <a:pt x="4321" y="4373"/>
                </a:lnTo>
                <a:lnTo>
                  <a:pt x="4340" y="4376"/>
                </a:lnTo>
                <a:lnTo>
                  <a:pt x="4358" y="4378"/>
                </a:lnTo>
                <a:lnTo>
                  <a:pt x="4377" y="4377"/>
                </a:lnTo>
                <a:lnTo>
                  <a:pt x="4396" y="4374"/>
                </a:lnTo>
                <a:lnTo>
                  <a:pt x="4414" y="4370"/>
                </a:lnTo>
                <a:lnTo>
                  <a:pt x="4434" y="4130"/>
                </a:lnTo>
                <a:lnTo>
                  <a:pt x="4434" y="4130"/>
                </a:lnTo>
                <a:lnTo>
                  <a:pt x="4425" y="4129"/>
                </a:lnTo>
                <a:lnTo>
                  <a:pt x="4405" y="4126"/>
                </a:lnTo>
                <a:lnTo>
                  <a:pt x="4392" y="4123"/>
                </a:lnTo>
                <a:lnTo>
                  <a:pt x="4377" y="4119"/>
                </a:lnTo>
                <a:lnTo>
                  <a:pt x="4362" y="4115"/>
                </a:lnTo>
                <a:lnTo>
                  <a:pt x="4348" y="4109"/>
                </a:lnTo>
                <a:lnTo>
                  <a:pt x="4348" y="4109"/>
                </a:lnTo>
                <a:lnTo>
                  <a:pt x="4339" y="4105"/>
                </a:lnTo>
                <a:lnTo>
                  <a:pt x="4331" y="4100"/>
                </a:lnTo>
                <a:lnTo>
                  <a:pt x="4323" y="4094"/>
                </a:lnTo>
                <a:lnTo>
                  <a:pt x="4316" y="4088"/>
                </a:lnTo>
                <a:lnTo>
                  <a:pt x="4302" y="4074"/>
                </a:lnTo>
                <a:lnTo>
                  <a:pt x="4289" y="4061"/>
                </a:lnTo>
                <a:lnTo>
                  <a:pt x="4280" y="4048"/>
                </a:lnTo>
                <a:lnTo>
                  <a:pt x="4273" y="4038"/>
                </a:lnTo>
                <a:lnTo>
                  <a:pt x="4267" y="4028"/>
                </a:lnTo>
                <a:lnTo>
                  <a:pt x="4267" y="4028"/>
                </a:lnTo>
                <a:lnTo>
                  <a:pt x="4274" y="4031"/>
                </a:lnTo>
                <a:lnTo>
                  <a:pt x="4293" y="4039"/>
                </a:lnTo>
                <a:lnTo>
                  <a:pt x="4321" y="4047"/>
                </a:lnTo>
                <a:lnTo>
                  <a:pt x="4339" y="4051"/>
                </a:lnTo>
                <a:lnTo>
                  <a:pt x="4356" y="4054"/>
                </a:lnTo>
                <a:lnTo>
                  <a:pt x="4356" y="4054"/>
                </a:lnTo>
                <a:lnTo>
                  <a:pt x="4375" y="4056"/>
                </a:lnTo>
                <a:lnTo>
                  <a:pt x="4392" y="4057"/>
                </a:lnTo>
                <a:lnTo>
                  <a:pt x="4407" y="4055"/>
                </a:lnTo>
                <a:lnTo>
                  <a:pt x="4419" y="4053"/>
                </a:lnTo>
                <a:lnTo>
                  <a:pt x="4430" y="4051"/>
                </a:lnTo>
                <a:lnTo>
                  <a:pt x="4438" y="4049"/>
                </a:lnTo>
                <a:lnTo>
                  <a:pt x="4444" y="4046"/>
                </a:lnTo>
                <a:lnTo>
                  <a:pt x="4477" y="3775"/>
                </a:lnTo>
                <a:lnTo>
                  <a:pt x="4477" y="3775"/>
                </a:lnTo>
                <a:lnTo>
                  <a:pt x="4451" y="3776"/>
                </a:lnTo>
                <a:lnTo>
                  <a:pt x="4427" y="3775"/>
                </a:lnTo>
                <a:lnTo>
                  <a:pt x="4408" y="3773"/>
                </a:lnTo>
                <a:lnTo>
                  <a:pt x="4392" y="3768"/>
                </a:lnTo>
                <a:lnTo>
                  <a:pt x="4377" y="3762"/>
                </a:lnTo>
                <a:lnTo>
                  <a:pt x="4365" y="3755"/>
                </a:lnTo>
                <a:lnTo>
                  <a:pt x="4356" y="3747"/>
                </a:lnTo>
                <a:lnTo>
                  <a:pt x="4348" y="3739"/>
                </a:lnTo>
                <a:lnTo>
                  <a:pt x="4343" y="3731"/>
                </a:lnTo>
                <a:lnTo>
                  <a:pt x="4337" y="3722"/>
                </a:lnTo>
                <a:lnTo>
                  <a:pt x="4335" y="3713"/>
                </a:lnTo>
                <a:lnTo>
                  <a:pt x="4333" y="3705"/>
                </a:lnTo>
                <a:lnTo>
                  <a:pt x="4332" y="3697"/>
                </a:lnTo>
                <a:lnTo>
                  <a:pt x="4331" y="3691"/>
                </a:lnTo>
                <a:lnTo>
                  <a:pt x="4332" y="3682"/>
                </a:lnTo>
                <a:lnTo>
                  <a:pt x="4332" y="3682"/>
                </a:lnTo>
                <a:lnTo>
                  <a:pt x="4357" y="3677"/>
                </a:lnTo>
                <a:lnTo>
                  <a:pt x="4381" y="3671"/>
                </a:lnTo>
                <a:lnTo>
                  <a:pt x="4405" y="3663"/>
                </a:lnTo>
                <a:lnTo>
                  <a:pt x="4428" y="3656"/>
                </a:lnTo>
                <a:lnTo>
                  <a:pt x="4451" y="3647"/>
                </a:lnTo>
                <a:lnTo>
                  <a:pt x="4473" y="3637"/>
                </a:lnTo>
                <a:lnTo>
                  <a:pt x="4495" y="3626"/>
                </a:lnTo>
                <a:lnTo>
                  <a:pt x="4515" y="3613"/>
                </a:lnTo>
                <a:lnTo>
                  <a:pt x="4536" y="3601"/>
                </a:lnTo>
                <a:lnTo>
                  <a:pt x="4555" y="3588"/>
                </a:lnTo>
                <a:lnTo>
                  <a:pt x="4574" y="3573"/>
                </a:lnTo>
                <a:lnTo>
                  <a:pt x="4592" y="3558"/>
                </a:lnTo>
                <a:lnTo>
                  <a:pt x="4609" y="3543"/>
                </a:lnTo>
                <a:lnTo>
                  <a:pt x="4627" y="3526"/>
                </a:lnTo>
                <a:lnTo>
                  <a:pt x="4642" y="3510"/>
                </a:lnTo>
                <a:lnTo>
                  <a:pt x="4659" y="3493"/>
                </a:lnTo>
                <a:lnTo>
                  <a:pt x="4673" y="3474"/>
                </a:lnTo>
                <a:lnTo>
                  <a:pt x="4688" y="3456"/>
                </a:lnTo>
                <a:lnTo>
                  <a:pt x="4702" y="3437"/>
                </a:lnTo>
                <a:lnTo>
                  <a:pt x="4715" y="3418"/>
                </a:lnTo>
                <a:lnTo>
                  <a:pt x="4727" y="3399"/>
                </a:lnTo>
                <a:lnTo>
                  <a:pt x="4738" y="3379"/>
                </a:lnTo>
                <a:lnTo>
                  <a:pt x="4750" y="3360"/>
                </a:lnTo>
                <a:lnTo>
                  <a:pt x="4760" y="3339"/>
                </a:lnTo>
                <a:lnTo>
                  <a:pt x="4770" y="3319"/>
                </a:lnTo>
                <a:lnTo>
                  <a:pt x="4779" y="3298"/>
                </a:lnTo>
                <a:lnTo>
                  <a:pt x="4787" y="3278"/>
                </a:lnTo>
                <a:lnTo>
                  <a:pt x="4796" y="3257"/>
                </a:lnTo>
                <a:lnTo>
                  <a:pt x="4803" y="3237"/>
                </a:lnTo>
                <a:lnTo>
                  <a:pt x="4809" y="3217"/>
                </a:lnTo>
                <a:lnTo>
                  <a:pt x="4815" y="3196"/>
                </a:lnTo>
                <a:lnTo>
                  <a:pt x="4820" y="3177"/>
                </a:lnTo>
                <a:lnTo>
                  <a:pt x="4820" y="3177"/>
                </a:lnTo>
                <a:lnTo>
                  <a:pt x="4831" y="3183"/>
                </a:lnTo>
                <a:lnTo>
                  <a:pt x="4847" y="3189"/>
                </a:lnTo>
                <a:lnTo>
                  <a:pt x="4864" y="3195"/>
                </a:lnTo>
                <a:lnTo>
                  <a:pt x="4882" y="3200"/>
                </a:lnTo>
                <a:lnTo>
                  <a:pt x="4903" y="3203"/>
                </a:lnTo>
                <a:lnTo>
                  <a:pt x="4913" y="3204"/>
                </a:lnTo>
                <a:lnTo>
                  <a:pt x="4923" y="3205"/>
                </a:lnTo>
                <a:lnTo>
                  <a:pt x="4935" y="3204"/>
                </a:lnTo>
                <a:lnTo>
                  <a:pt x="4945" y="3203"/>
                </a:lnTo>
                <a:lnTo>
                  <a:pt x="4955" y="3201"/>
                </a:lnTo>
                <a:lnTo>
                  <a:pt x="4965" y="3198"/>
                </a:lnTo>
                <a:lnTo>
                  <a:pt x="4965" y="3198"/>
                </a:lnTo>
                <a:lnTo>
                  <a:pt x="4967" y="3170"/>
                </a:lnTo>
                <a:lnTo>
                  <a:pt x="4970" y="3103"/>
                </a:lnTo>
                <a:lnTo>
                  <a:pt x="4972" y="3067"/>
                </a:lnTo>
                <a:lnTo>
                  <a:pt x="4973" y="3033"/>
                </a:lnTo>
                <a:lnTo>
                  <a:pt x="4972" y="3005"/>
                </a:lnTo>
                <a:lnTo>
                  <a:pt x="4972" y="2995"/>
                </a:lnTo>
                <a:lnTo>
                  <a:pt x="4970" y="2989"/>
                </a:lnTo>
                <a:lnTo>
                  <a:pt x="4970" y="2989"/>
                </a:lnTo>
                <a:lnTo>
                  <a:pt x="4955" y="2987"/>
                </a:lnTo>
                <a:lnTo>
                  <a:pt x="4938" y="2984"/>
                </a:lnTo>
                <a:lnTo>
                  <a:pt x="4919" y="2979"/>
                </a:lnTo>
                <a:lnTo>
                  <a:pt x="4911" y="2976"/>
                </a:lnTo>
                <a:lnTo>
                  <a:pt x="4902" y="2973"/>
                </a:lnTo>
                <a:lnTo>
                  <a:pt x="4893" y="2968"/>
                </a:lnTo>
                <a:lnTo>
                  <a:pt x="4885" y="2964"/>
                </a:lnTo>
                <a:lnTo>
                  <a:pt x="4876" y="2958"/>
                </a:lnTo>
                <a:lnTo>
                  <a:pt x="4868" y="2951"/>
                </a:lnTo>
                <a:lnTo>
                  <a:pt x="4861" y="2944"/>
                </a:lnTo>
                <a:lnTo>
                  <a:pt x="4854" y="2935"/>
                </a:lnTo>
                <a:lnTo>
                  <a:pt x="4848" y="2926"/>
                </a:lnTo>
                <a:lnTo>
                  <a:pt x="4842" y="2915"/>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54" name="Freeform 5">
            <a:extLst>
              <a:ext uri="{FF2B5EF4-FFF2-40B4-BE49-F238E27FC236}">
                <a16:creationId xmlns:a16="http://schemas.microsoft.com/office/drawing/2014/main" id="{E518FEDE-29E1-4148-9DBF-C17BDBF2CB4F}"/>
              </a:ext>
            </a:extLst>
          </p:cNvPr>
          <p:cNvSpPr>
            <a:spLocks/>
          </p:cNvSpPr>
          <p:nvPr userDrawn="1"/>
        </p:nvSpPr>
        <p:spPr bwMode="auto">
          <a:xfrm>
            <a:off x="1528763" y="893763"/>
            <a:ext cx="160338" cy="141288"/>
          </a:xfrm>
          <a:custGeom>
            <a:avLst/>
            <a:gdLst>
              <a:gd name="T0" fmla="*/ 623 w 1210"/>
              <a:gd name="T1" fmla="*/ 1065 h 1065"/>
              <a:gd name="T2" fmla="*/ 211 w 1210"/>
              <a:gd name="T3" fmla="*/ 202 h 1065"/>
              <a:gd name="T4" fmla="*/ 194 w 1210"/>
              <a:gd name="T5" fmla="*/ 163 h 1065"/>
              <a:gd name="T6" fmla="*/ 177 w 1210"/>
              <a:gd name="T7" fmla="*/ 131 h 1065"/>
              <a:gd name="T8" fmla="*/ 160 w 1210"/>
              <a:gd name="T9" fmla="*/ 105 h 1065"/>
              <a:gd name="T10" fmla="*/ 139 w 1210"/>
              <a:gd name="T11" fmla="*/ 84 h 1065"/>
              <a:gd name="T12" fmla="*/ 115 w 1210"/>
              <a:gd name="T13" fmla="*/ 69 h 1065"/>
              <a:gd name="T14" fmla="*/ 84 w 1210"/>
              <a:gd name="T15" fmla="*/ 59 h 1065"/>
              <a:gd name="T16" fmla="*/ 47 w 1210"/>
              <a:gd name="T17" fmla="*/ 52 h 1065"/>
              <a:gd name="T18" fmla="*/ 0 w 1210"/>
              <a:gd name="T19" fmla="*/ 50 h 1065"/>
              <a:gd name="T20" fmla="*/ 566 w 1210"/>
              <a:gd name="T21" fmla="*/ 0 h 1065"/>
              <a:gd name="T22" fmla="*/ 566 w 1210"/>
              <a:gd name="T23" fmla="*/ 50 h 1065"/>
              <a:gd name="T24" fmla="*/ 516 w 1210"/>
              <a:gd name="T25" fmla="*/ 52 h 1065"/>
              <a:gd name="T26" fmla="*/ 477 w 1210"/>
              <a:gd name="T27" fmla="*/ 58 h 1065"/>
              <a:gd name="T28" fmla="*/ 448 w 1210"/>
              <a:gd name="T29" fmla="*/ 68 h 1065"/>
              <a:gd name="T30" fmla="*/ 430 w 1210"/>
              <a:gd name="T31" fmla="*/ 81 h 1065"/>
              <a:gd name="T32" fmla="*/ 421 w 1210"/>
              <a:gd name="T33" fmla="*/ 99 h 1065"/>
              <a:gd name="T34" fmla="*/ 419 w 1210"/>
              <a:gd name="T35" fmla="*/ 122 h 1065"/>
              <a:gd name="T36" fmla="*/ 425 w 1210"/>
              <a:gd name="T37" fmla="*/ 150 h 1065"/>
              <a:gd name="T38" fmla="*/ 437 w 1210"/>
              <a:gd name="T39" fmla="*/ 181 h 1065"/>
              <a:gd name="T40" fmla="*/ 922 w 1210"/>
              <a:gd name="T41" fmla="*/ 181 h 1065"/>
              <a:gd name="T42" fmla="*/ 928 w 1210"/>
              <a:gd name="T43" fmla="*/ 165 h 1065"/>
              <a:gd name="T44" fmla="*/ 937 w 1210"/>
              <a:gd name="T45" fmla="*/ 134 h 1065"/>
              <a:gd name="T46" fmla="*/ 938 w 1210"/>
              <a:gd name="T47" fmla="*/ 110 h 1065"/>
              <a:gd name="T48" fmla="*/ 932 w 1210"/>
              <a:gd name="T49" fmla="*/ 89 h 1065"/>
              <a:gd name="T50" fmla="*/ 918 w 1210"/>
              <a:gd name="T51" fmla="*/ 74 h 1065"/>
              <a:gd name="T52" fmla="*/ 894 w 1210"/>
              <a:gd name="T53" fmla="*/ 62 h 1065"/>
              <a:gd name="T54" fmla="*/ 860 w 1210"/>
              <a:gd name="T55" fmla="*/ 54 h 1065"/>
              <a:gd name="T56" fmla="*/ 817 w 1210"/>
              <a:gd name="T57" fmla="*/ 50 h 1065"/>
              <a:gd name="T58" fmla="*/ 792 w 1210"/>
              <a:gd name="T59" fmla="*/ 0 h 1065"/>
              <a:gd name="T60" fmla="*/ 1210 w 1210"/>
              <a:gd name="T61" fmla="*/ 50 h 1065"/>
              <a:gd name="T62" fmla="*/ 1189 w 1210"/>
              <a:gd name="T63" fmla="*/ 50 h 1065"/>
              <a:gd name="T64" fmla="*/ 1151 w 1210"/>
              <a:gd name="T65" fmla="*/ 53 h 1065"/>
              <a:gd name="T66" fmla="*/ 1119 w 1210"/>
              <a:gd name="T67" fmla="*/ 61 h 1065"/>
              <a:gd name="T68" fmla="*/ 1091 w 1210"/>
              <a:gd name="T69" fmla="*/ 73 h 1065"/>
              <a:gd name="T70" fmla="*/ 1068 w 1210"/>
              <a:gd name="T71" fmla="*/ 89 h 1065"/>
              <a:gd name="T72" fmla="*/ 1046 w 1210"/>
              <a:gd name="T73" fmla="*/ 113 h 1065"/>
              <a:gd name="T74" fmla="*/ 1027 w 1210"/>
              <a:gd name="T75" fmla="*/ 142 h 1065"/>
              <a:gd name="T76" fmla="*/ 1008 w 1210"/>
              <a:gd name="T77" fmla="*/ 180 h 1065"/>
              <a:gd name="T78" fmla="*/ 997 w 1210"/>
              <a:gd name="T79" fmla="*/ 202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10" h="1065">
                <a:moveTo>
                  <a:pt x="997" y="202"/>
                </a:moveTo>
                <a:lnTo>
                  <a:pt x="623" y="1065"/>
                </a:lnTo>
                <a:lnTo>
                  <a:pt x="587" y="1065"/>
                </a:lnTo>
                <a:lnTo>
                  <a:pt x="211" y="202"/>
                </a:lnTo>
                <a:lnTo>
                  <a:pt x="211" y="202"/>
                </a:lnTo>
                <a:lnTo>
                  <a:pt x="194" y="163"/>
                </a:lnTo>
                <a:lnTo>
                  <a:pt x="185" y="146"/>
                </a:lnTo>
                <a:lnTo>
                  <a:pt x="177" y="131"/>
                </a:lnTo>
                <a:lnTo>
                  <a:pt x="168" y="117"/>
                </a:lnTo>
                <a:lnTo>
                  <a:pt x="160" y="105"/>
                </a:lnTo>
                <a:lnTo>
                  <a:pt x="150" y="93"/>
                </a:lnTo>
                <a:lnTo>
                  <a:pt x="139" y="84"/>
                </a:lnTo>
                <a:lnTo>
                  <a:pt x="128" y="76"/>
                </a:lnTo>
                <a:lnTo>
                  <a:pt x="115" y="69"/>
                </a:lnTo>
                <a:lnTo>
                  <a:pt x="101" y="63"/>
                </a:lnTo>
                <a:lnTo>
                  <a:pt x="84" y="59"/>
                </a:lnTo>
                <a:lnTo>
                  <a:pt x="67" y="54"/>
                </a:lnTo>
                <a:lnTo>
                  <a:pt x="47" y="52"/>
                </a:lnTo>
                <a:lnTo>
                  <a:pt x="25" y="50"/>
                </a:lnTo>
                <a:lnTo>
                  <a:pt x="0" y="50"/>
                </a:lnTo>
                <a:lnTo>
                  <a:pt x="0" y="0"/>
                </a:lnTo>
                <a:lnTo>
                  <a:pt x="566" y="0"/>
                </a:lnTo>
                <a:lnTo>
                  <a:pt x="566" y="50"/>
                </a:lnTo>
                <a:lnTo>
                  <a:pt x="566" y="50"/>
                </a:lnTo>
                <a:lnTo>
                  <a:pt x="539" y="50"/>
                </a:lnTo>
                <a:lnTo>
                  <a:pt x="516" y="52"/>
                </a:lnTo>
                <a:lnTo>
                  <a:pt x="494" y="54"/>
                </a:lnTo>
                <a:lnTo>
                  <a:pt x="477" y="58"/>
                </a:lnTo>
                <a:lnTo>
                  <a:pt x="460" y="63"/>
                </a:lnTo>
                <a:lnTo>
                  <a:pt x="448" y="68"/>
                </a:lnTo>
                <a:lnTo>
                  <a:pt x="438" y="74"/>
                </a:lnTo>
                <a:lnTo>
                  <a:pt x="430" y="81"/>
                </a:lnTo>
                <a:lnTo>
                  <a:pt x="424" y="90"/>
                </a:lnTo>
                <a:lnTo>
                  <a:pt x="421" y="99"/>
                </a:lnTo>
                <a:lnTo>
                  <a:pt x="419" y="111"/>
                </a:lnTo>
                <a:lnTo>
                  <a:pt x="419" y="122"/>
                </a:lnTo>
                <a:lnTo>
                  <a:pt x="421" y="135"/>
                </a:lnTo>
                <a:lnTo>
                  <a:pt x="425" y="150"/>
                </a:lnTo>
                <a:lnTo>
                  <a:pt x="430" y="165"/>
                </a:lnTo>
                <a:lnTo>
                  <a:pt x="437" y="181"/>
                </a:lnTo>
                <a:lnTo>
                  <a:pt x="678" y="742"/>
                </a:lnTo>
                <a:lnTo>
                  <a:pt x="922" y="181"/>
                </a:lnTo>
                <a:lnTo>
                  <a:pt x="922" y="181"/>
                </a:lnTo>
                <a:lnTo>
                  <a:pt x="928" y="165"/>
                </a:lnTo>
                <a:lnTo>
                  <a:pt x="933" y="149"/>
                </a:lnTo>
                <a:lnTo>
                  <a:pt x="937" y="134"/>
                </a:lnTo>
                <a:lnTo>
                  <a:pt x="938" y="122"/>
                </a:lnTo>
                <a:lnTo>
                  <a:pt x="938" y="110"/>
                </a:lnTo>
                <a:lnTo>
                  <a:pt x="936" y="98"/>
                </a:lnTo>
                <a:lnTo>
                  <a:pt x="932" y="89"/>
                </a:lnTo>
                <a:lnTo>
                  <a:pt x="926" y="81"/>
                </a:lnTo>
                <a:lnTo>
                  <a:pt x="918" y="74"/>
                </a:lnTo>
                <a:lnTo>
                  <a:pt x="906" y="67"/>
                </a:lnTo>
                <a:lnTo>
                  <a:pt x="894" y="62"/>
                </a:lnTo>
                <a:lnTo>
                  <a:pt x="879" y="58"/>
                </a:lnTo>
                <a:lnTo>
                  <a:pt x="860" y="54"/>
                </a:lnTo>
                <a:lnTo>
                  <a:pt x="841" y="52"/>
                </a:lnTo>
                <a:lnTo>
                  <a:pt x="817" y="50"/>
                </a:lnTo>
                <a:lnTo>
                  <a:pt x="792" y="50"/>
                </a:lnTo>
                <a:lnTo>
                  <a:pt x="792" y="0"/>
                </a:lnTo>
                <a:lnTo>
                  <a:pt x="1210" y="0"/>
                </a:lnTo>
                <a:lnTo>
                  <a:pt x="1210" y="50"/>
                </a:lnTo>
                <a:lnTo>
                  <a:pt x="1210" y="50"/>
                </a:lnTo>
                <a:lnTo>
                  <a:pt x="1189" y="50"/>
                </a:lnTo>
                <a:lnTo>
                  <a:pt x="1169" y="51"/>
                </a:lnTo>
                <a:lnTo>
                  <a:pt x="1151" y="53"/>
                </a:lnTo>
                <a:lnTo>
                  <a:pt x="1134" y="57"/>
                </a:lnTo>
                <a:lnTo>
                  <a:pt x="1119" y="61"/>
                </a:lnTo>
                <a:lnTo>
                  <a:pt x="1105" y="66"/>
                </a:lnTo>
                <a:lnTo>
                  <a:pt x="1091" y="73"/>
                </a:lnTo>
                <a:lnTo>
                  <a:pt x="1079" y="80"/>
                </a:lnTo>
                <a:lnTo>
                  <a:pt x="1068" y="89"/>
                </a:lnTo>
                <a:lnTo>
                  <a:pt x="1057" y="100"/>
                </a:lnTo>
                <a:lnTo>
                  <a:pt x="1046" y="113"/>
                </a:lnTo>
                <a:lnTo>
                  <a:pt x="1036" y="127"/>
                </a:lnTo>
                <a:lnTo>
                  <a:pt x="1027" y="142"/>
                </a:lnTo>
                <a:lnTo>
                  <a:pt x="1017" y="161"/>
                </a:lnTo>
                <a:lnTo>
                  <a:pt x="1008" y="180"/>
                </a:lnTo>
                <a:lnTo>
                  <a:pt x="997" y="202"/>
                </a:lnTo>
                <a:lnTo>
                  <a:pt x="997" y="202"/>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55" name="Freeform 6">
            <a:extLst>
              <a:ext uri="{FF2B5EF4-FFF2-40B4-BE49-F238E27FC236}">
                <a16:creationId xmlns:a16="http://schemas.microsoft.com/office/drawing/2014/main" id="{9CE8211D-F405-5B46-8655-DE27EA85F16F}"/>
              </a:ext>
            </a:extLst>
          </p:cNvPr>
          <p:cNvSpPr>
            <a:spLocks noEditPoints="1"/>
          </p:cNvSpPr>
          <p:nvPr userDrawn="1"/>
        </p:nvSpPr>
        <p:spPr bwMode="auto">
          <a:xfrm>
            <a:off x="1671638" y="890589"/>
            <a:ext cx="160338" cy="139700"/>
          </a:xfrm>
          <a:custGeom>
            <a:avLst/>
            <a:gdLst>
              <a:gd name="T0" fmla="*/ 289 w 1210"/>
              <a:gd name="T1" fmla="*/ 883 h 1064"/>
              <a:gd name="T2" fmla="*/ 276 w 1210"/>
              <a:gd name="T3" fmla="*/ 916 h 1064"/>
              <a:gd name="T4" fmla="*/ 271 w 1210"/>
              <a:gd name="T5" fmla="*/ 943 h 1064"/>
              <a:gd name="T6" fmla="*/ 274 w 1210"/>
              <a:gd name="T7" fmla="*/ 966 h 1064"/>
              <a:gd name="T8" fmla="*/ 284 w 1210"/>
              <a:gd name="T9" fmla="*/ 983 h 1064"/>
              <a:gd name="T10" fmla="*/ 303 w 1210"/>
              <a:gd name="T11" fmla="*/ 998 h 1064"/>
              <a:gd name="T12" fmla="*/ 331 w 1210"/>
              <a:gd name="T13" fmla="*/ 1007 h 1064"/>
              <a:gd name="T14" fmla="*/ 369 w 1210"/>
              <a:gd name="T15" fmla="*/ 1013 h 1064"/>
              <a:gd name="T16" fmla="*/ 417 w 1210"/>
              <a:gd name="T17" fmla="*/ 1014 h 1064"/>
              <a:gd name="T18" fmla="*/ 0 w 1210"/>
              <a:gd name="T19" fmla="*/ 1064 h 1064"/>
              <a:gd name="T20" fmla="*/ 0 w 1210"/>
              <a:gd name="T21" fmla="*/ 1014 h 1064"/>
              <a:gd name="T22" fmla="*/ 41 w 1210"/>
              <a:gd name="T23" fmla="*/ 1013 h 1064"/>
              <a:gd name="T24" fmla="*/ 76 w 1210"/>
              <a:gd name="T25" fmla="*/ 1008 h 1064"/>
              <a:gd name="T26" fmla="*/ 106 w 1210"/>
              <a:gd name="T27" fmla="*/ 999 h 1064"/>
              <a:gd name="T28" fmla="*/ 131 w 1210"/>
              <a:gd name="T29" fmla="*/ 984 h 1064"/>
              <a:gd name="T30" fmla="*/ 153 w 1210"/>
              <a:gd name="T31" fmla="*/ 964 h 1064"/>
              <a:gd name="T32" fmla="*/ 173 w 1210"/>
              <a:gd name="T33" fmla="*/ 938 h 1064"/>
              <a:gd name="T34" fmla="*/ 192 w 1210"/>
              <a:gd name="T35" fmla="*/ 904 h 1064"/>
              <a:gd name="T36" fmla="*/ 212 w 1210"/>
              <a:gd name="T37" fmla="*/ 863 h 1064"/>
              <a:gd name="T38" fmla="*/ 623 w 1210"/>
              <a:gd name="T39" fmla="*/ 0 h 1064"/>
              <a:gd name="T40" fmla="*/ 999 w 1210"/>
              <a:gd name="T41" fmla="*/ 863 h 1064"/>
              <a:gd name="T42" fmla="*/ 1025 w 1210"/>
              <a:gd name="T43" fmla="*/ 918 h 1064"/>
              <a:gd name="T44" fmla="*/ 1041 w 1210"/>
              <a:gd name="T45" fmla="*/ 946 h 1064"/>
              <a:gd name="T46" fmla="*/ 1060 w 1210"/>
              <a:gd name="T47" fmla="*/ 970 h 1064"/>
              <a:gd name="T48" fmla="*/ 1082 w 1210"/>
              <a:gd name="T49" fmla="*/ 988 h 1064"/>
              <a:gd name="T50" fmla="*/ 1110 w 1210"/>
              <a:gd name="T51" fmla="*/ 1002 h 1064"/>
              <a:gd name="T52" fmla="*/ 1142 w 1210"/>
              <a:gd name="T53" fmla="*/ 1010 h 1064"/>
              <a:gd name="T54" fmla="*/ 1185 w 1210"/>
              <a:gd name="T55" fmla="*/ 1014 h 1064"/>
              <a:gd name="T56" fmla="*/ 1210 w 1210"/>
              <a:gd name="T57" fmla="*/ 1064 h 1064"/>
              <a:gd name="T58" fmla="*/ 647 w 1210"/>
              <a:gd name="T59" fmla="*/ 1014 h 1064"/>
              <a:gd name="T60" fmla="*/ 674 w 1210"/>
              <a:gd name="T61" fmla="*/ 1014 h 1064"/>
              <a:gd name="T62" fmla="*/ 719 w 1210"/>
              <a:gd name="T63" fmla="*/ 1010 h 1064"/>
              <a:gd name="T64" fmla="*/ 752 w 1210"/>
              <a:gd name="T65" fmla="*/ 1003 h 1064"/>
              <a:gd name="T66" fmla="*/ 775 w 1210"/>
              <a:gd name="T67" fmla="*/ 990 h 1064"/>
              <a:gd name="T68" fmla="*/ 790 w 1210"/>
              <a:gd name="T69" fmla="*/ 974 h 1064"/>
              <a:gd name="T70" fmla="*/ 795 w 1210"/>
              <a:gd name="T71" fmla="*/ 954 h 1064"/>
              <a:gd name="T72" fmla="*/ 793 w 1210"/>
              <a:gd name="T73" fmla="*/ 929 h 1064"/>
              <a:gd name="T74" fmla="*/ 783 w 1210"/>
              <a:gd name="T75" fmla="*/ 899 h 1064"/>
              <a:gd name="T76" fmla="*/ 704 w 1210"/>
              <a:gd name="T77" fmla="*/ 719 h 1064"/>
              <a:gd name="T78" fmla="*/ 289 w 1210"/>
              <a:gd name="T79" fmla="*/ 883 h 1064"/>
              <a:gd name="T80" fmla="*/ 394 w 1210"/>
              <a:gd name="T81" fmla="*/ 642 h 1064"/>
              <a:gd name="T82" fmla="*/ 533 w 1210"/>
              <a:gd name="T83" fmla="*/ 318 h 1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10" h="1064">
                <a:moveTo>
                  <a:pt x="289" y="883"/>
                </a:moveTo>
                <a:lnTo>
                  <a:pt x="289" y="883"/>
                </a:lnTo>
                <a:lnTo>
                  <a:pt x="281" y="900"/>
                </a:lnTo>
                <a:lnTo>
                  <a:pt x="276" y="916"/>
                </a:lnTo>
                <a:lnTo>
                  <a:pt x="273" y="930"/>
                </a:lnTo>
                <a:lnTo>
                  <a:pt x="271" y="943"/>
                </a:lnTo>
                <a:lnTo>
                  <a:pt x="272" y="955"/>
                </a:lnTo>
                <a:lnTo>
                  <a:pt x="274" y="966"/>
                </a:lnTo>
                <a:lnTo>
                  <a:pt x="278" y="975"/>
                </a:lnTo>
                <a:lnTo>
                  <a:pt x="284" y="983"/>
                </a:lnTo>
                <a:lnTo>
                  <a:pt x="293" y="991"/>
                </a:lnTo>
                <a:lnTo>
                  <a:pt x="303" y="998"/>
                </a:lnTo>
                <a:lnTo>
                  <a:pt x="316" y="1003"/>
                </a:lnTo>
                <a:lnTo>
                  <a:pt x="331" y="1007"/>
                </a:lnTo>
                <a:lnTo>
                  <a:pt x="349" y="1010"/>
                </a:lnTo>
                <a:lnTo>
                  <a:pt x="369" y="1013"/>
                </a:lnTo>
                <a:lnTo>
                  <a:pt x="392" y="1014"/>
                </a:lnTo>
                <a:lnTo>
                  <a:pt x="417" y="1014"/>
                </a:lnTo>
                <a:lnTo>
                  <a:pt x="417" y="1064"/>
                </a:lnTo>
                <a:lnTo>
                  <a:pt x="0" y="1064"/>
                </a:lnTo>
                <a:lnTo>
                  <a:pt x="0" y="1014"/>
                </a:lnTo>
                <a:lnTo>
                  <a:pt x="0" y="1014"/>
                </a:lnTo>
                <a:lnTo>
                  <a:pt x="22" y="1014"/>
                </a:lnTo>
                <a:lnTo>
                  <a:pt x="41" y="1013"/>
                </a:lnTo>
                <a:lnTo>
                  <a:pt x="59" y="1011"/>
                </a:lnTo>
                <a:lnTo>
                  <a:pt x="76" y="1008"/>
                </a:lnTo>
                <a:lnTo>
                  <a:pt x="91" y="1004"/>
                </a:lnTo>
                <a:lnTo>
                  <a:pt x="106" y="999"/>
                </a:lnTo>
                <a:lnTo>
                  <a:pt x="119" y="992"/>
                </a:lnTo>
                <a:lnTo>
                  <a:pt x="131" y="984"/>
                </a:lnTo>
                <a:lnTo>
                  <a:pt x="142" y="975"/>
                </a:lnTo>
                <a:lnTo>
                  <a:pt x="153" y="964"/>
                </a:lnTo>
                <a:lnTo>
                  <a:pt x="164" y="952"/>
                </a:lnTo>
                <a:lnTo>
                  <a:pt x="173" y="938"/>
                </a:lnTo>
                <a:lnTo>
                  <a:pt x="183" y="922"/>
                </a:lnTo>
                <a:lnTo>
                  <a:pt x="192" y="904"/>
                </a:lnTo>
                <a:lnTo>
                  <a:pt x="203" y="884"/>
                </a:lnTo>
                <a:lnTo>
                  <a:pt x="212" y="863"/>
                </a:lnTo>
                <a:lnTo>
                  <a:pt x="586" y="0"/>
                </a:lnTo>
                <a:lnTo>
                  <a:pt x="623" y="0"/>
                </a:lnTo>
                <a:lnTo>
                  <a:pt x="999" y="863"/>
                </a:lnTo>
                <a:lnTo>
                  <a:pt x="999" y="863"/>
                </a:lnTo>
                <a:lnTo>
                  <a:pt x="1017" y="900"/>
                </a:lnTo>
                <a:lnTo>
                  <a:pt x="1025" y="918"/>
                </a:lnTo>
                <a:lnTo>
                  <a:pt x="1033" y="933"/>
                </a:lnTo>
                <a:lnTo>
                  <a:pt x="1041" y="946"/>
                </a:lnTo>
                <a:lnTo>
                  <a:pt x="1050" y="959"/>
                </a:lnTo>
                <a:lnTo>
                  <a:pt x="1060" y="970"/>
                </a:lnTo>
                <a:lnTo>
                  <a:pt x="1071" y="980"/>
                </a:lnTo>
                <a:lnTo>
                  <a:pt x="1082" y="988"/>
                </a:lnTo>
                <a:lnTo>
                  <a:pt x="1095" y="995"/>
                </a:lnTo>
                <a:lnTo>
                  <a:pt x="1110" y="1002"/>
                </a:lnTo>
                <a:lnTo>
                  <a:pt x="1125" y="1006"/>
                </a:lnTo>
                <a:lnTo>
                  <a:pt x="1142" y="1010"/>
                </a:lnTo>
                <a:lnTo>
                  <a:pt x="1163" y="1012"/>
                </a:lnTo>
                <a:lnTo>
                  <a:pt x="1185" y="1014"/>
                </a:lnTo>
                <a:lnTo>
                  <a:pt x="1210" y="1014"/>
                </a:lnTo>
                <a:lnTo>
                  <a:pt x="1210" y="1064"/>
                </a:lnTo>
                <a:lnTo>
                  <a:pt x="647" y="1064"/>
                </a:lnTo>
                <a:lnTo>
                  <a:pt x="647" y="1014"/>
                </a:lnTo>
                <a:lnTo>
                  <a:pt x="647" y="1014"/>
                </a:lnTo>
                <a:lnTo>
                  <a:pt x="674" y="1014"/>
                </a:lnTo>
                <a:lnTo>
                  <a:pt x="698" y="1012"/>
                </a:lnTo>
                <a:lnTo>
                  <a:pt x="719" y="1010"/>
                </a:lnTo>
                <a:lnTo>
                  <a:pt x="736" y="1007"/>
                </a:lnTo>
                <a:lnTo>
                  <a:pt x="752" y="1003"/>
                </a:lnTo>
                <a:lnTo>
                  <a:pt x="765" y="996"/>
                </a:lnTo>
                <a:lnTo>
                  <a:pt x="775" y="990"/>
                </a:lnTo>
                <a:lnTo>
                  <a:pt x="783" y="983"/>
                </a:lnTo>
                <a:lnTo>
                  <a:pt x="790" y="974"/>
                </a:lnTo>
                <a:lnTo>
                  <a:pt x="793" y="965"/>
                </a:lnTo>
                <a:lnTo>
                  <a:pt x="795" y="954"/>
                </a:lnTo>
                <a:lnTo>
                  <a:pt x="795" y="942"/>
                </a:lnTo>
                <a:lnTo>
                  <a:pt x="793" y="929"/>
                </a:lnTo>
                <a:lnTo>
                  <a:pt x="789" y="915"/>
                </a:lnTo>
                <a:lnTo>
                  <a:pt x="783" y="899"/>
                </a:lnTo>
                <a:lnTo>
                  <a:pt x="776" y="883"/>
                </a:lnTo>
                <a:lnTo>
                  <a:pt x="704" y="719"/>
                </a:lnTo>
                <a:lnTo>
                  <a:pt x="359" y="719"/>
                </a:lnTo>
                <a:lnTo>
                  <a:pt x="289" y="883"/>
                </a:lnTo>
                <a:close/>
                <a:moveTo>
                  <a:pt x="533" y="318"/>
                </a:moveTo>
                <a:lnTo>
                  <a:pt x="394" y="642"/>
                </a:lnTo>
                <a:lnTo>
                  <a:pt x="671" y="642"/>
                </a:lnTo>
                <a:lnTo>
                  <a:pt x="533" y="318"/>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56" name="Freeform 7">
            <a:extLst>
              <a:ext uri="{FF2B5EF4-FFF2-40B4-BE49-F238E27FC236}">
                <a16:creationId xmlns:a16="http://schemas.microsoft.com/office/drawing/2014/main" id="{D9067B2B-2829-7444-8B91-CC44818880A8}"/>
              </a:ext>
            </a:extLst>
          </p:cNvPr>
          <p:cNvSpPr>
            <a:spLocks/>
          </p:cNvSpPr>
          <p:nvPr userDrawn="1"/>
        </p:nvSpPr>
        <p:spPr bwMode="auto">
          <a:xfrm>
            <a:off x="1849439" y="893764"/>
            <a:ext cx="131763" cy="136525"/>
          </a:xfrm>
          <a:custGeom>
            <a:avLst/>
            <a:gdLst>
              <a:gd name="T0" fmla="*/ 0 w 1002"/>
              <a:gd name="T1" fmla="*/ 0 h 1035"/>
              <a:gd name="T2" fmla="*/ 545 w 1002"/>
              <a:gd name="T3" fmla="*/ 50 h 1035"/>
              <a:gd name="T4" fmla="*/ 519 w 1002"/>
              <a:gd name="T5" fmla="*/ 50 h 1035"/>
              <a:gd name="T6" fmla="*/ 476 w 1002"/>
              <a:gd name="T7" fmla="*/ 54 h 1035"/>
              <a:gd name="T8" fmla="*/ 443 w 1002"/>
              <a:gd name="T9" fmla="*/ 63 h 1035"/>
              <a:gd name="T10" fmla="*/ 424 w 1002"/>
              <a:gd name="T11" fmla="*/ 73 h 1035"/>
              <a:gd name="T12" fmla="*/ 413 w 1002"/>
              <a:gd name="T13" fmla="*/ 81 h 1035"/>
              <a:gd name="T14" fmla="*/ 405 w 1002"/>
              <a:gd name="T15" fmla="*/ 92 h 1035"/>
              <a:gd name="T16" fmla="*/ 394 w 1002"/>
              <a:gd name="T17" fmla="*/ 113 h 1035"/>
              <a:gd name="T18" fmla="*/ 385 w 1002"/>
              <a:gd name="T19" fmla="*/ 148 h 1035"/>
              <a:gd name="T20" fmla="*/ 380 w 1002"/>
              <a:gd name="T21" fmla="*/ 194 h 1035"/>
              <a:gd name="T22" fmla="*/ 379 w 1002"/>
              <a:gd name="T23" fmla="*/ 252 h 1035"/>
              <a:gd name="T24" fmla="*/ 379 w 1002"/>
              <a:gd name="T25" fmla="*/ 756 h 1035"/>
              <a:gd name="T26" fmla="*/ 380 w 1002"/>
              <a:gd name="T27" fmla="*/ 814 h 1035"/>
              <a:gd name="T28" fmla="*/ 385 w 1002"/>
              <a:gd name="T29" fmla="*/ 860 h 1035"/>
              <a:gd name="T30" fmla="*/ 394 w 1002"/>
              <a:gd name="T31" fmla="*/ 896 h 1035"/>
              <a:gd name="T32" fmla="*/ 405 w 1002"/>
              <a:gd name="T33" fmla="*/ 915 h 1035"/>
              <a:gd name="T34" fmla="*/ 413 w 1002"/>
              <a:gd name="T35" fmla="*/ 927 h 1035"/>
              <a:gd name="T36" fmla="*/ 424 w 1002"/>
              <a:gd name="T37" fmla="*/ 936 h 1035"/>
              <a:gd name="T38" fmla="*/ 443 w 1002"/>
              <a:gd name="T39" fmla="*/ 946 h 1035"/>
              <a:gd name="T40" fmla="*/ 476 w 1002"/>
              <a:gd name="T41" fmla="*/ 954 h 1035"/>
              <a:gd name="T42" fmla="*/ 519 w 1002"/>
              <a:gd name="T43" fmla="*/ 957 h 1035"/>
              <a:gd name="T44" fmla="*/ 743 w 1002"/>
              <a:gd name="T45" fmla="*/ 957 h 1035"/>
              <a:gd name="T46" fmla="*/ 772 w 1002"/>
              <a:gd name="T47" fmla="*/ 957 h 1035"/>
              <a:gd name="T48" fmla="*/ 819 w 1002"/>
              <a:gd name="T49" fmla="*/ 953 h 1035"/>
              <a:gd name="T50" fmla="*/ 855 w 1002"/>
              <a:gd name="T51" fmla="*/ 946 h 1035"/>
              <a:gd name="T52" fmla="*/ 883 w 1002"/>
              <a:gd name="T53" fmla="*/ 934 h 1035"/>
              <a:gd name="T54" fmla="*/ 904 w 1002"/>
              <a:gd name="T55" fmla="*/ 917 h 1035"/>
              <a:gd name="T56" fmla="*/ 919 w 1002"/>
              <a:gd name="T57" fmla="*/ 897 h 1035"/>
              <a:gd name="T58" fmla="*/ 930 w 1002"/>
              <a:gd name="T59" fmla="*/ 872 h 1035"/>
              <a:gd name="T60" fmla="*/ 943 w 1002"/>
              <a:gd name="T61" fmla="*/ 826 h 1035"/>
              <a:gd name="T62" fmla="*/ 1002 w 1002"/>
              <a:gd name="T63" fmla="*/ 792 h 1035"/>
              <a:gd name="T64" fmla="*/ 0 w 1002"/>
              <a:gd name="T65" fmla="*/ 1035 h 1035"/>
              <a:gd name="T66" fmla="*/ 0 w 1002"/>
              <a:gd name="T67" fmla="*/ 985 h 1035"/>
              <a:gd name="T68" fmla="*/ 48 w 1002"/>
              <a:gd name="T69" fmla="*/ 984 h 1035"/>
              <a:gd name="T70" fmla="*/ 86 w 1002"/>
              <a:gd name="T71" fmla="*/ 978 h 1035"/>
              <a:gd name="T72" fmla="*/ 114 w 1002"/>
              <a:gd name="T73" fmla="*/ 966 h 1035"/>
              <a:gd name="T74" fmla="*/ 125 w 1002"/>
              <a:gd name="T75" fmla="*/ 958 h 1035"/>
              <a:gd name="T76" fmla="*/ 136 w 1002"/>
              <a:gd name="T77" fmla="*/ 949 h 1035"/>
              <a:gd name="T78" fmla="*/ 143 w 1002"/>
              <a:gd name="T79" fmla="*/ 937 h 1035"/>
              <a:gd name="T80" fmla="*/ 154 w 1002"/>
              <a:gd name="T81" fmla="*/ 906 h 1035"/>
              <a:gd name="T82" fmla="*/ 161 w 1002"/>
              <a:gd name="T83" fmla="*/ 866 h 1035"/>
              <a:gd name="T84" fmla="*/ 163 w 1002"/>
              <a:gd name="T85" fmla="*/ 814 h 1035"/>
              <a:gd name="T86" fmla="*/ 163 w 1002"/>
              <a:gd name="T87" fmla="*/ 252 h 1035"/>
              <a:gd name="T88" fmla="*/ 163 w 1002"/>
              <a:gd name="T89" fmla="*/ 221 h 1035"/>
              <a:gd name="T90" fmla="*/ 161 w 1002"/>
              <a:gd name="T91" fmla="*/ 169 h 1035"/>
              <a:gd name="T92" fmla="*/ 154 w 1002"/>
              <a:gd name="T93" fmla="*/ 129 h 1035"/>
              <a:gd name="T94" fmla="*/ 143 w 1002"/>
              <a:gd name="T95" fmla="*/ 98 h 1035"/>
              <a:gd name="T96" fmla="*/ 136 w 1002"/>
              <a:gd name="T97" fmla="*/ 86 h 1035"/>
              <a:gd name="T98" fmla="*/ 125 w 1002"/>
              <a:gd name="T99" fmla="*/ 77 h 1035"/>
              <a:gd name="T100" fmla="*/ 114 w 1002"/>
              <a:gd name="T101" fmla="*/ 69 h 1035"/>
              <a:gd name="T102" fmla="*/ 86 w 1002"/>
              <a:gd name="T103" fmla="*/ 58 h 1035"/>
              <a:gd name="T104" fmla="*/ 48 w 1002"/>
              <a:gd name="T105" fmla="*/ 51 h 1035"/>
              <a:gd name="T106" fmla="*/ 0 w 1002"/>
              <a:gd name="T107" fmla="*/ 50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02" h="1035">
                <a:moveTo>
                  <a:pt x="0" y="50"/>
                </a:moveTo>
                <a:lnTo>
                  <a:pt x="0" y="0"/>
                </a:lnTo>
                <a:lnTo>
                  <a:pt x="545" y="0"/>
                </a:lnTo>
                <a:lnTo>
                  <a:pt x="545" y="50"/>
                </a:lnTo>
                <a:lnTo>
                  <a:pt x="545" y="50"/>
                </a:lnTo>
                <a:lnTo>
                  <a:pt x="519" y="50"/>
                </a:lnTo>
                <a:lnTo>
                  <a:pt x="497" y="51"/>
                </a:lnTo>
                <a:lnTo>
                  <a:pt x="476" y="54"/>
                </a:lnTo>
                <a:lnTo>
                  <a:pt x="459" y="58"/>
                </a:lnTo>
                <a:lnTo>
                  <a:pt x="443" y="63"/>
                </a:lnTo>
                <a:lnTo>
                  <a:pt x="429" y="69"/>
                </a:lnTo>
                <a:lnTo>
                  <a:pt x="424" y="73"/>
                </a:lnTo>
                <a:lnTo>
                  <a:pt x="418" y="77"/>
                </a:lnTo>
                <a:lnTo>
                  <a:pt x="413" y="81"/>
                </a:lnTo>
                <a:lnTo>
                  <a:pt x="409" y="86"/>
                </a:lnTo>
                <a:lnTo>
                  <a:pt x="405" y="92"/>
                </a:lnTo>
                <a:lnTo>
                  <a:pt x="400" y="98"/>
                </a:lnTo>
                <a:lnTo>
                  <a:pt x="394" y="113"/>
                </a:lnTo>
                <a:lnTo>
                  <a:pt x="389" y="129"/>
                </a:lnTo>
                <a:lnTo>
                  <a:pt x="385" y="148"/>
                </a:lnTo>
                <a:lnTo>
                  <a:pt x="382" y="169"/>
                </a:lnTo>
                <a:lnTo>
                  <a:pt x="380" y="194"/>
                </a:lnTo>
                <a:lnTo>
                  <a:pt x="379" y="221"/>
                </a:lnTo>
                <a:lnTo>
                  <a:pt x="379" y="252"/>
                </a:lnTo>
                <a:lnTo>
                  <a:pt x="379" y="756"/>
                </a:lnTo>
                <a:lnTo>
                  <a:pt x="379" y="756"/>
                </a:lnTo>
                <a:lnTo>
                  <a:pt x="379" y="787"/>
                </a:lnTo>
                <a:lnTo>
                  <a:pt x="380" y="814"/>
                </a:lnTo>
                <a:lnTo>
                  <a:pt x="382" y="839"/>
                </a:lnTo>
                <a:lnTo>
                  <a:pt x="385" y="860"/>
                </a:lnTo>
                <a:lnTo>
                  <a:pt x="389" y="879"/>
                </a:lnTo>
                <a:lnTo>
                  <a:pt x="394" y="896"/>
                </a:lnTo>
                <a:lnTo>
                  <a:pt x="400" y="909"/>
                </a:lnTo>
                <a:lnTo>
                  <a:pt x="405" y="915"/>
                </a:lnTo>
                <a:lnTo>
                  <a:pt x="409" y="921"/>
                </a:lnTo>
                <a:lnTo>
                  <a:pt x="413" y="927"/>
                </a:lnTo>
                <a:lnTo>
                  <a:pt x="418" y="932"/>
                </a:lnTo>
                <a:lnTo>
                  <a:pt x="424" y="936"/>
                </a:lnTo>
                <a:lnTo>
                  <a:pt x="429" y="939"/>
                </a:lnTo>
                <a:lnTo>
                  <a:pt x="443" y="946"/>
                </a:lnTo>
                <a:lnTo>
                  <a:pt x="459" y="950"/>
                </a:lnTo>
                <a:lnTo>
                  <a:pt x="476" y="954"/>
                </a:lnTo>
                <a:lnTo>
                  <a:pt x="497" y="956"/>
                </a:lnTo>
                <a:lnTo>
                  <a:pt x="519" y="957"/>
                </a:lnTo>
                <a:lnTo>
                  <a:pt x="545" y="957"/>
                </a:lnTo>
                <a:lnTo>
                  <a:pt x="743" y="957"/>
                </a:lnTo>
                <a:lnTo>
                  <a:pt x="743" y="957"/>
                </a:lnTo>
                <a:lnTo>
                  <a:pt x="772" y="957"/>
                </a:lnTo>
                <a:lnTo>
                  <a:pt x="796" y="955"/>
                </a:lnTo>
                <a:lnTo>
                  <a:pt x="819" y="953"/>
                </a:lnTo>
                <a:lnTo>
                  <a:pt x="838" y="950"/>
                </a:lnTo>
                <a:lnTo>
                  <a:pt x="855" y="946"/>
                </a:lnTo>
                <a:lnTo>
                  <a:pt x="871" y="940"/>
                </a:lnTo>
                <a:lnTo>
                  <a:pt x="883" y="934"/>
                </a:lnTo>
                <a:lnTo>
                  <a:pt x="894" y="927"/>
                </a:lnTo>
                <a:lnTo>
                  <a:pt x="904" y="917"/>
                </a:lnTo>
                <a:lnTo>
                  <a:pt x="912" y="908"/>
                </a:lnTo>
                <a:lnTo>
                  <a:pt x="919" y="897"/>
                </a:lnTo>
                <a:lnTo>
                  <a:pt x="925" y="886"/>
                </a:lnTo>
                <a:lnTo>
                  <a:pt x="930" y="872"/>
                </a:lnTo>
                <a:lnTo>
                  <a:pt x="935" y="858"/>
                </a:lnTo>
                <a:lnTo>
                  <a:pt x="943" y="826"/>
                </a:lnTo>
                <a:lnTo>
                  <a:pt x="952" y="792"/>
                </a:lnTo>
                <a:lnTo>
                  <a:pt x="1002" y="792"/>
                </a:lnTo>
                <a:lnTo>
                  <a:pt x="988" y="1035"/>
                </a:lnTo>
                <a:lnTo>
                  <a:pt x="0" y="1035"/>
                </a:lnTo>
                <a:lnTo>
                  <a:pt x="0" y="985"/>
                </a:lnTo>
                <a:lnTo>
                  <a:pt x="0" y="985"/>
                </a:lnTo>
                <a:lnTo>
                  <a:pt x="25" y="985"/>
                </a:lnTo>
                <a:lnTo>
                  <a:pt x="48" y="984"/>
                </a:lnTo>
                <a:lnTo>
                  <a:pt x="68" y="982"/>
                </a:lnTo>
                <a:lnTo>
                  <a:pt x="86" y="978"/>
                </a:lnTo>
                <a:lnTo>
                  <a:pt x="101" y="973"/>
                </a:lnTo>
                <a:lnTo>
                  <a:pt x="114" y="966"/>
                </a:lnTo>
                <a:lnTo>
                  <a:pt x="120" y="963"/>
                </a:lnTo>
                <a:lnTo>
                  <a:pt x="125" y="958"/>
                </a:lnTo>
                <a:lnTo>
                  <a:pt x="131" y="954"/>
                </a:lnTo>
                <a:lnTo>
                  <a:pt x="136" y="949"/>
                </a:lnTo>
                <a:lnTo>
                  <a:pt x="140" y="943"/>
                </a:lnTo>
                <a:lnTo>
                  <a:pt x="143" y="937"/>
                </a:lnTo>
                <a:lnTo>
                  <a:pt x="150" y="923"/>
                </a:lnTo>
                <a:lnTo>
                  <a:pt x="154" y="906"/>
                </a:lnTo>
                <a:lnTo>
                  <a:pt x="158" y="888"/>
                </a:lnTo>
                <a:lnTo>
                  <a:pt x="161" y="866"/>
                </a:lnTo>
                <a:lnTo>
                  <a:pt x="162" y="842"/>
                </a:lnTo>
                <a:lnTo>
                  <a:pt x="163" y="814"/>
                </a:lnTo>
                <a:lnTo>
                  <a:pt x="163" y="783"/>
                </a:lnTo>
                <a:lnTo>
                  <a:pt x="163" y="252"/>
                </a:lnTo>
                <a:lnTo>
                  <a:pt x="163" y="252"/>
                </a:lnTo>
                <a:lnTo>
                  <a:pt x="163" y="221"/>
                </a:lnTo>
                <a:lnTo>
                  <a:pt x="162" y="194"/>
                </a:lnTo>
                <a:lnTo>
                  <a:pt x="161" y="169"/>
                </a:lnTo>
                <a:lnTo>
                  <a:pt x="158" y="148"/>
                </a:lnTo>
                <a:lnTo>
                  <a:pt x="154" y="129"/>
                </a:lnTo>
                <a:lnTo>
                  <a:pt x="150" y="113"/>
                </a:lnTo>
                <a:lnTo>
                  <a:pt x="143" y="98"/>
                </a:lnTo>
                <a:lnTo>
                  <a:pt x="140" y="92"/>
                </a:lnTo>
                <a:lnTo>
                  <a:pt x="136" y="86"/>
                </a:lnTo>
                <a:lnTo>
                  <a:pt x="131" y="81"/>
                </a:lnTo>
                <a:lnTo>
                  <a:pt x="125" y="77"/>
                </a:lnTo>
                <a:lnTo>
                  <a:pt x="120" y="73"/>
                </a:lnTo>
                <a:lnTo>
                  <a:pt x="114" y="69"/>
                </a:lnTo>
                <a:lnTo>
                  <a:pt x="101" y="63"/>
                </a:lnTo>
                <a:lnTo>
                  <a:pt x="86" y="58"/>
                </a:lnTo>
                <a:lnTo>
                  <a:pt x="68" y="54"/>
                </a:lnTo>
                <a:lnTo>
                  <a:pt x="48" y="51"/>
                </a:lnTo>
                <a:lnTo>
                  <a:pt x="25" y="50"/>
                </a:lnTo>
                <a:lnTo>
                  <a:pt x="0" y="50"/>
                </a:lnTo>
                <a:lnTo>
                  <a:pt x="0" y="50"/>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57" name="Freeform 8">
            <a:extLst>
              <a:ext uri="{FF2B5EF4-FFF2-40B4-BE49-F238E27FC236}">
                <a16:creationId xmlns:a16="http://schemas.microsoft.com/office/drawing/2014/main" id="{1D2160BE-DEA1-534A-A109-C55F9A86EF32}"/>
              </a:ext>
            </a:extLst>
          </p:cNvPr>
          <p:cNvSpPr>
            <a:spLocks/>
          </p:cNvSpPr>
          <p:nvPr userDrawn="1"/>
        </p:nvSpPr>
        <p:spPr bwMode="auto">
          <a:xfrm>
            <a:off x="1982789" y="893764"/>
            <a:ext cx="142875" cy="136525"/>
          </a:xfrm>
          <a:custGeom>
            <a:avLst/>
            <a:gdLst>
              <a:gd name="T0" fmla="*/ 1028 w 1078"/>
              <a:gd name="T1" fmla="*/ 244 h 1035"/>
              <a:gd name="T2" fmla="*/ 1019 w 1078"/>
              <a:gd name="T3" fmla="*/ 209 h 1035"/>
              <a:gd name="T4" fmla="*/ 1006 w 1078"/>
              <a:gd name="T5" fmla="*/ 163 h 1035"/>
              <a:gd name="T6" fmla="*/ 995 w 1078"/>
              <a:gd name="T7" fmla="*/ 138 h 1035"/>
              <a:gd name="T8" fmla="*/ 979 w 1078"/>
              <a:gd name="T9" fmla="*/ 118 h 1035"/>
              <a:gd name="T10" fmla="*/ 959 w 1078"/>
              <a:gd name="T11" fmla="*/ 101 h 1035"/>
              <a:gd name="T12" fmla="*/ 931 w 1078"/>
              <a:gd name="T13" fmla="*/ 90 h 1035"/>
              <a:gd name="T14" fmla="*/ 895 w 1078"/>
              <a:gd name="T15" fmla="*/ 82 h 1035"/>
              <a:gd name="T16" fmla="*/ 848 w 1078"/>
              <a:gd name="T17" fmla="*/ 78 h 1035"/>
              <a:gd name="T18" fmla="*/ 646 w 1078"/>
              <a:gd name="T19" fmla="*/ 78 h 1035"/>
              <a:gd name="T20" fmla="*/ 646 w 1078"/>
              <a:gd name="T21" fmla="*/ 783 h 1035"/>
              <a:gd name="T22" fmla="*/ 648 w 1078"/>
              <a:gd name="T23" fmla="*/ 842 h 1035"/>
              <a:gd name="T24" fmla="*/ 652 w 1078"/>
              <a:gd name="T25" fmla="*/ 888 h 1035"/>
              <a:gd name="T26" fmla="*/ 661 w 1078"/>
              <a:gd name="T27" fmla="*/ 923 h 1035"/>
              <a:gd name="T28" fmla="*/ 672 w 1078"/>
              <a:gd name="T29" fmla="*/ 943 h 1035"/>
              <a:gd name="T30" fmla="*/ 680 w 1078"/>
              <a:gd name="T31" fmla="*/ 954 h 1035"/>
              <a:gd name="T32" fmla="*/ 691 w 1078"/>
              <a:gd name="T33" fmla="*/ 963 h 1035"/>
              <a:gd name="T34" fmla="*/ 711 w 1078"/>
              <a:gd name="T35" fmla="*/ 973 h 1035"/>
              <a:gd name="T36" fmla="*/ 743 w 1078"/>
              <a:gd name="T37" fmla="*/ 982 h 1035"/>
              <a:gd name="T38" fmla="*/ 786 w 1078"/>
              <a:gd name="T39" fmla="*/ 985 h 1035"/>
              <a:gd name="T40" fmla="*/ 812 w 1078"/>
              <a:gd name="T41" fmla="*/ 1035 h 1035"/>
              <a:gd name="T42" fmla="*/ 267 w 1078"/>
              <a:gd name="T43" fmla="*/ 985 h 1035"/>
              <a:gd name="T44" fmla="*/ 292 w 1078"/>
              <a:gd name="T45" fmla="*/ 985 h 1035"/>
              <a:gd name="T46" fmla="*/ 335 w 1078"/>
              <a:gd name="T47" fmla="*/ 982 h 1035"/>
              <a:gd name="T48" fmla="*/ 368 w 1078"/>
              <a:gd name="T49" fmla="*/ 973 h 1035"/>
              <a:gd name="T50" fmla="*/ 387 w 1078"/>
              <a:gd name="T51" fmla="*/ 963 h 1035"/>
              <a:gd name="T52" fmla="*/ 398 w 1078"/>
              <a:gd name="T53" fmla="*/ 954 h 1035"/>
              <a:gd name="T54" fmla="*/ 407 w 1078"/>
              <a:gd name="T55" fmla="*/ 943 h 1035"/>
              <a:gd name="T56" fmla="*/ 417 w 1078"/>
              <a:gd name="T57" fmla="*/ 923 h 1035"/>
              <a:gd name="T58" fmla="*/ 425 w 1078"/>
              <a:gd name="T59" fmla="*/ 888 h 1035"/>
              <a:gd name="T60" fmla="*/ 429 w 1078"/>
              <a:gd name="T61" fmla="*/ 842 h 1035"/>
              <a:gd name="T62" fmla="*/ 431 w 1078"/>
              <a:gd name="T63" fmla="*/ 783 h 1035"/>
              <a:gd name="T64" fmla="*/ 259 w 1078"/>
              <a:gd name="T65" fmla="*/ 78 h 1035"/>
              <a:gd name="T66" fmla="*/ 231 w 1078"/>
              <a:gd name="T67" fmla="*/ 78 h 1035"/>
              <a:gd name="T68" fmla="*/ 184 w 1078"/>
              <a:gd name="T69" fmla="*/ 82 h 1035"/>
              <a:gd name="T70" fmla="*/ 147 w 1078"/>
              <a:gd name="T71" fmla="*/ 90 h 1035"/>
              <a:gd name="T72" fmla="*/ 120 w 1078"/>
              <a:gd name="T73" fmla="*/ 101 h 1035"/>
              <a:gd name="T74" fmla="*/ 99 w 1078"/>
              <a:gd name="T75" fmla="*/ 118 h 1035"/>
              <a:gd name="T76" fmla="*/ 85 w 1078"/>
              <a:gd name="T77" fmla="*/ 138 h 1035"/>
              <a:gd name="T78" fmla="*/ 74 w 1078"/>
              <a:gd name="T79" fmla="*/ 163 h 1035"/>
              <a:gd name="T80" fmla="*/ 60 w 1078"/>
              <a:gd name="T81" fmla="*/ 209 h 1035"/>
              <a:gd name="T82" fmla="*/ 0 w 1078"/>
              <a:gd name="T83" fmla="*/ 244 h 1035"/>
              <a:gd name="T84" fmla="*/ 1064 w 1078"/>
              <a:gd name="T85" fmla="*/ 0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8" h="1035">
                <a:moveTo>
                  <a:pt x="1078" y="244"/>
                </a:moveTo>
                <a:lnTo>
                  <a:pt x="1028" y="244"/>
                </a:lnTo>
                <a:lnTo>
                  <a:pt x="1019" y="209"/>
                </a:lnTo>
                <a:lnTo>
                  <a:pt x="1019" y="209"/>
                </a:lnTo>
                <a:lnTo>
                  <a:pt x="1011" y="177"/>
                </a:lnTo>
                <a:lnTo>
                  <a:pt x="1006" y="163"/>
                </a:lnTo>
                <a:lnTo>
                  <a:pt x="1001" y="150"/>
                </a:lnTo>
                <a:lnTo>
                  <a:pt x="995" y="138"/>
                </a:lnTo>
                <a:lnTo>
                  <a:pt x="988" y="127"/>
                </a:lnTo>
                <a:lnTo>
                  <a:pt x="979" y="118"/>
                </a:lnTo>
                <a:lnTo>
                  <a:pt x="970" y="109"/>
                </a:lnTo>
                <a:lnTo>
                  <a:pt x="959" y="101"/>
                </a:lnTo>
                <a:lnTo>
                  <a:pt x="946" y="95"/>
                </a:lnTo>
                <a:lnTo>
                  <a:pt x="931" y="90"/>
                </a:lnTo>
                <a:lnTo>
                  <a:pt x="914" y="85"/>
                </a:lnTo>
                <a:lnTo>
                  <a:pt x="895" y="82"/>
                </a:lnTo>
                <a:lnTo>
                  <a:pt x="872" y="80"/>
                </a:lnTo>
                <a:lnTo>
                  <a:pt x="848" y="78"/>
                </a:lnTo>
                <a:lnTo>
                  <a:pt x="819" y="78"/>
                </a:lnTo>
                <a:lnTo>
                  <a:pt x="646" y="78"/>
                </a:lnTo>
                <a:lnTo>
                  <a:pt x="646" y="783"/>
                </a:lnTo>
                <a:lnTo>
                  <a:pt x="646" y="783"/>
                </a:lnTo>
                <a:lnTo>
                  <a:pt x="647" y="814"/>
                </a:lnTo>
                <a:lnTo>
                  <a:pt x="648" y="842"/>
                </a:lnTo>
                <a:lnTo>
                  <a:pt x="649" y="866"/>
                </a:lnTo>
                <a:lnTo>
                  <a:pt x="652" y="888"/>
                </a:lnTo>
                <a:lnTo>
                  <a:pt x="656" y="906"/>
                </a:lnTo>
                <a:lnTo>
                  <a:pt x="661" y="923"/>
                </a:lnTo>
                <a:lnTo>
                  <a:pt x="668" y="937"/>
                </a:lnTo>
                <a:lnTo>
                  <a:pt x="672" y="943"/>
                </a:lnTo>
                <a:lnTo>
                  <a:pt x="676" y="949"/>
                </a:lnTo>
                <a:lnTo>
                  <a:pt x="680" y="954"/>
                </a:lnTo>
                <a:lnTo>
                  <a:pt x="685" y="958"/>
                </a:lnTo>
                <a:lnTo>
                  <a:pt x="691" y="963"/>
                </a:lnTo>
                <a:lnTo>
                  <a:pt x="697" y="966"/>
                </a:lnTo>
                <a:lnTo>
                  <a:pt x="711" y="973"/>
                </a:lnTo>
                <a:lnTo>
                  <a:pt x="726" y="978"/>
                </a:lnTo>
                <a:lnTo>
                  <a:pt x="743" y="982"/>
                </a:lnTo>
                <a:lnTo>
                  <a:pt x="764" y="984"/>
                </a:lnTo>
                <a:lnTo>
                  <a:pt x="786" y="985"/>
                </a:lnTo>
                <a:lnTo>
                  <a:pt x="812" y="985"/>
                </a:lnTo>
                <a:lnTo>
                  <a:pt x="812" y="1035"/>
                </a:lnTo>
                <a:lnTo>
                  <a:pt x="267" y="1035"/>
                </a:lnTo>
                <a:lnTo>
                  <a:pt x="267" y="985"/>
                </a:lnTo>
                <a:lnTo>
                  <a:pt x="267" y="985"/>
                </a:lnTo>
                <a:lnTo>
                  <a:pt x="292" y="985"/>
                </a:lnTo>
                <a:lnTo>
                  <a:pt x="315" y="984"/>
                </a:lnTo>
                <a:lnTo>
                  <a:pt x="335" y="982"/>
                </a:lnTo>
                <a:lnTo>
                  <a:pt x="353" y="978"/>
                </a:lnTo>
                <a:lnTo>
                  <a:pt x="368" y="973"/>
                </a:lnTo>
                <a:lnTo>
                  <a:pt x="381" y="966"/>
                </a:lnTo>
                <a:lnTo>
                  <a:pt x="387" y="963"/>
                </a:lnTo>
                <a:lnTo>
                  <a:pt x="394" y="958"/>
                </a:lnTo>
                <a:lnTo>
                  <a:pt x="398" y="954"/>
                </a:lnTo>
                <a:lnTo>
                  <a:pt x="403" y="949"/>
                </a:lnTo>
                <a:lnTo>
                  <a:pt x="407" y="943"/>
                </a:lnTo>
                <a:lnTo>
                  <a:pt x="411" y="937"/>
                </a:lnTo>
                <a:lnTo>
                  <a:pt x="417" y="923"/>
                </a:lnTo>
                <a:lnTo>
                  <a:pt x="422" y="906"/>
                </a:lnTo>
                <a:lnTo>
                  <a:pt x="425" y="888"/>
                </a:lnTo>
                <a:lnTo>
                  <a:pt x="428" y="866"/>
                </a:lnTo>
                <a:lnTo>
                  <a:pt x="429" y="842"/>
                </a:lnTo>
                <a:lnTo>
                  <a:pt x="430" y="814"/>
                </a:lnTo>
                <a:lnTo>
                  <a:pt x="431" y="783"/>
                </a:lnTo>
                <a:lnTo>
                  <a:pt x="431" y="78"/>
                </a:lnTo>
                <a:lnTo>
                  <a:pt x="259" y="78"/>
                </a:lnTo>
                <a:lnTo>
                  <a:pt x="259" y="78"/>
                </a:lnTo>
                <a:lnTo>
                  <a:pt x="231" y="78"/>
                </a:lnTo>
                <a:lnTo>
                  <a:pt x="205" y="80"/>
                </a:lnTo>
                <a:lnTo>
                  <a:pt x="184" y="82"/>
                </a:lnTo>
                <a:lnTo>
                  <a:pt x="165" y="85"/>
                </a:lnTo>
                <a:lnTo>
                  <a:pt x="147" y="90"/>
                </a:lnTo>
                <a:lnTo>
                  <a:pt x="133" y="95"/>
                </a:lnTo>
                <a:lnTo>
                  <a:pt x="120" y="101"/>
                </a:lnTo>
                <a:lnTo>
                  <a:pt x="108" y="109"/>
                </a:lnTo>
                <a:lnTo>
                  <a:pt x="99" y="118"/>
                </a:lnTo>
                <a:lnTo>
                  <a:pt x="91" y="127"/>
                </a:lnTo>
                <a:lnTo>
                  <a:pt x="85" y="138"/>
                </a:lnTo>
                <a:lnTo>
                  <a:pt x="79" y="150"/>
                </a:lnTo>
                <a:lnTo>
                  <a:pt x="74" y="163"/>
                </a:lnTo>
                <a:lnTo>
                  <a:pt x="68" y="177"/>
                </a:lnTo>
                <a:lnTo>
                  <a:pt x="60" y="209"/>
                </a:lnTo>
                <a:lnTo>
                  <a:pt x="51" y="244"/>
                </a:lnTo>
                <a:lnTo>
                  <a:pt x="0" y="244"/>
                </a:lnTo>
                <a:lnTo>
                  <a:pt x="15" y="0"/>
                </a:lnTo>
                <a:lnTo>
                  <a:pt x="1064" y="0"/>
                </a:lnTo>
                <a:lnTo>
                  <a:pt x="1078" y="244"/>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58" name="Freeform 9">
            <a:extLst>
              <a:ext uri="{FF2B5EF4-FFF2-40B4-BE49-F238E27FC236}">
                <a16:creationId xmlns:a16="http://schemas.microsoft.com/office/drawing/2014/main" id="{7DCC9B10-BD4A-BD4C-B031-9A4754EF4F53}"/>
              </a:ext>
            </a:extLst>
          </p:cNvPr>
          <p:cNvSpPr>
            <a:spLocks/>
          </p:cNvSpPr>
          <p:nvPr userDrawn="1"/>
        </p:nvSpPr>
        <p:spPr bwMode="auto">
          <a:xfrm>
            <a:off x="2152652" y="893764"/>
            <a:ext cx="73025" cy="136525"/>
          </a:xfrm>
          <a:custGeom>
            <a:avLst/>
            <a:gdLst>
              <a:gd name="T0" fmla="*/ 0 w 545"/>
              <a:gd name="T1" fmla="*/ 985 h 1035"/>
              <a:gd name="T2" fmla="*/ 26 w 545"/>
              <a:gd name="T3" fmla="*/ 985 h 1035"/>
              <a:gd name="T4" fmla="*/ 69 w 545"/>
              <a:gd name="T5" fmla="*/ 982 h 1035"/>
              <a:gd name="T6" fmla="*/ 102 w 545"/>
              <a:gd name="T7" fmla="*/ 973 h 1035"/>
              <a:gd name="T8" fmla="*/ 121 w 545"/>
              <a:gd name="T9" fmla="*/ 963 h 1035"/>
              <a:gd name="T10" fmla="*/ 131 w 545"/>
              <a:gd name="T11" fmla="*/ 954 h 1035"/>
              <a:gd name="T12" fmla="*/ 140 w 545"/>
              <a:gd name="T13" fmla="*/ 943 h 1035"/>
              <a:gd name="T14" fmla="*/ 151 w 545"/>
              <a:gd name="T15" fmla="*/ 923 h 1035"/>
              <a:gd name="T16" fmla="*/ 159 w 545"/>
              <a:gd name="T17" fmla="*/ 888 h 1035"/>
              <a:gd name="T18" fmla="*/ 163 w 545"/>
              <a:gd name="T19" fmla="*/ 842 h 1035"/>
              <a:gd name="T20" fmla="*/ 164 w 545"/>
              <a:gd name="T21" fmla="*/ 783 h 1035"/>
              <a:gd name="T22" fmla="*/ 164 w 545"/>
              <a:gd name="T23" fmla="*/ 252 h 1035"/>
              <a:gd name="T24" fmla="*/ 163 w 545"/>
              <a:gd name="T25" fmla="*/ 194 h 1035"/>
              <a:gd name="T26" fmla="*/ 159 w 545"/>
              <a:gd name="T27" fmla="*/ 148 h 1035"/>
              <a:gd name="T28" fmla="*/ 151 w 545"/>
              <a:gd name="T29" fmla="*/ 113 h 1035"/>
              <a:gd name="T30" fmla="*/ 140 w 545"/>
              <a:gd name="T31" fmla="*/ 92 h 1035"/>
              <a:gd name="T32" fmla="*/ 131 w 545"/>
              <a:gd name="T33" fmla="*/ 81 h 1035"/>
              <a:gd name="T34" fmla="*/ 121 w 545"/>
              <a:gd name="T35" fmla="*/ 73 h 1035"/>
              <a:gd name="T36" fmla="*/ 102 w 545"/>
              <a:gd name="T37" fmla="*/ 63 h 1035"/>
              <a:gd name="T38" fmla="*/ 69 w 545"/>
              <a:gd name="T39" fmla="*/ 54 h 1035"/>
              <a:gd name="T40" fmla="*/ 26 w 545"/>
              <a:gd name="T41" fmla="*/ 50 h 1035"/>
              <a:gd name="T42" fmla="*/ 0 w 545"/>
              <a:gd name="T43" fmla="*/ 0 h 1035"/>
              <a:gd name="T44" fmla="*/ 545 w 545"/>
              <a:gd name="T45" fmla="*/ 50 h 1035"/>
              <a:gd name="T46" fmla="*/ 520 w 545"/>
              <a:gd name="T47" fmla="*/ 50 h 1035"/>
              <a:gd name="T48" fmla="*/ 477 w 545"/>
              <a:gd name="T49" fmla="*/ 54 h 1035"/>
              <a:gd name="T50" fmla="*/ 444 w 545"/>
              <a:gd name="T51" fmla="*/ 63 h 1035"/>
              <a:gd name="T52" fmla="*/ 425 w 545"/>
              <a:gd name="T53" fmla="*/ 73 h 1035"/>
              <a:gd name="T54" fmla="*/ 413 w 545"/>
              <a:gd name="T55" fmla="*/ 81 h 1035"/>
              <a:gd name="T56" fmla="*/ 405 w 545"/>
              <a:gd name="T57" fmla="*/ 92 h 1035"/>
              <a:gd name="T58" fmla="*/ 395 w 545"/>
              <a:gd name="T59" fmla="*/ 113 h 1035"/>
              <a:gd name="T60" fmla="*/ 386 w 545"/>
              <a:gd name="T61" fmla="*/ 148 h 1035"/>
              <a:gd name="T62" fmla="*/ 381 w 545"/>
              <a:gd name="T63" fmla="*/ 194 h 1035"/>
              <a:gd name="T64" fmla="*/ 380 w 545"/>
              <a:gd name="T65" fmla="*/ 252 h 1035"/>
              <a:gd name="T66" fmla="*/ 380 w 545"/>
              <a:gd name="T67" fmla="*/ 783 h 1035"/>
              <a:gd name="T68" fmla="*/ 381 w 545"/>
              <a:gd name="T69" fmla="*/ 842 h 1035"/>
              <a:gd name="T70" fmla="*/ 386 w 545"/>
              <a:gd name="T71" fmla="*/ 888 h 1035"/>
              <a:gd name="T72" fmla="*/ 395 w 545"/>
              <a:gd name="T73" fmla="*/ 923 h 1035"/>
              <a:gd name="T74" fmla="*/ 405 w 545"/>
              <a:gd name="T75" fmla="*/ 943 h 1035"/>
              <a:gd name="T76" fmla="*/ 413 w 545"/>
              <a:gd name="T77" fmla="*/ 954 h 1035"/>
              <a:gd name="T78" fmla="*/ 425 w 545"/>
              <a:gd name="T79" fmla="*/ 963 h 1035"/>
              <a:gd name="T80" fmla="*/ 444 w 545"/>
              <a:gd name="T81" fmla="*/ 973 h 1035"/>
              <a:gd name="T82" fmla="*/ 477 w 545"/>
              <a:gd name="T83" fmla="*/ 982 h 1035"/>
              <a:gd name="T84" fmla="*/ 520 w 545"/>
              <a:gd name="T85" fmla="*/ 985 h 1035"/>
              <a:gd name="T86" fmla="*/ 545 w 545"/>
              <a:gd name="T87" fmla="*/ 1035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5" h="1035">
                <a:moveTo>
                  <a:pt x="0" y="1035"/>
                </a:moveTo>
                <a:lnTo>
                  <a:pt x="0" y="985"/>
                </a:lnTo>
                <a:lnTo>
                  <a:pt x="0" y="985"/>
                </a:lnTo>
                <a:lnTo>
                  <a:pt x="26" y="985"/>
                </a:lnTo>
                <a:lnTo>
                  <a:pt x="48" y="984"/>
                </a:lnTo>
                <a:lnTo>
                  <a:pt x="69" y="982"/>
                </a:lnTo>
                <a:lnTo>
                  <a:pt x="86" y="978"/>
                </a:lnTo>
                <a:lnTo>
                  <a:pt x="102" y="973"/>
                </a:lnTo>
                <a:lnTo>
                  <a:pt x="115" y="966"/>
                </a:lnTo>
                <a:lnTo>
                  <a:pt x="121" y="963"/>
                </a:lnTo>
                <a:lnTo>
                  <a:pt x="126" y="958"/>
                </a:lnTo>
                <a:lnTo>
                  <a:pt x="131" y="954"/>
                </a:lnTo>
                <a:lnTo>
                  <a:pt x="136" y="949"/>
                </a:lnTo>
                <a:lnTo>
                  <a:pt x="140" y="943"/>
                </a:lnTo>
                <a:lnTo>
                  <a:pt x="143" y="937"/>
                </a:lnTo>
                <a:lnTo>
                  <a:pt x="151" y="923"/>
                </a:lnTo>
                <a:lnTo>
                  <a:pt x="155" y="906"/>
                </a:lnTo>
                <a:lnTo>
                  <a:pt x="159" y="888"/>
                </a:lnTo>
                <a:lnTo>
                  <a:pt x="162" y="866"/>
                </a:lnTo>
                <a:lnTo>
                  <a:pt x="163" y="842"/>
                </a:lnTo>
                <a:lnTo>
                  <a:pt x="164" y="814"/>
                </a:lnTo>
                <a:lnTo>
                  <a:pt x="164" y="783"/>
                </a:lnTo>
                <a:lnTo>
                  <a:pt x="164" y="252"/>
                </a:lnTo>
                <a:lnTo>
                  <a:pt x="164" y="252"/>
                </a:lnTo>
                <a:lnTo>
                  <a:pt x="164" y="221"/>
                </a:lnTo>
                <a:lnTo>
                  <a:pt x="163" y="194"/>
                </a:lnTo>
                <a:lnTo>
                  <a:pt x="162" y="169"/>
                </a:lnTo>
                <a:lnTo>
                  <a:pt x="159" y="148"/>
                </a:lnTo>
                <a:lnTo>
                  <a:pt x="155" y="129"/>
                </a:lnTo>
                <a:lnTo>
                  <a:pt x="151" y="113"/>
                </a:lnTo>
                <a:lnTo>
                  <a:pt x="143" y="98"/>
                </a:lnTo>
                <a:lnTo>
                  <a:pt x="140" y="92"/>
                </a:lnTo>
                <a:lnTo>
                  <a:pt x="136" y="86"/>
                </a:lnTo>
                <a:lnTo>
                  <a:pt x="131" y="81"/>
                </a:lnTo>
                <a:lnTo>
                  <a:pt x="126" y="77"/>
                </a:lnTo>
                <a:lnTo>
                  <a:pt x="121" y="73"/>
                </a:lnTo>
                <a:lnTo>
                  <a:pt x="115" y="69"/>
                </a:lnTo>
                <a:lnTo>
                  <a:pt x="102" y="63"/>
                </a:lnTo>
                <a:lnTo>
                  <a:pt x="86" y="58"/>
                </a:lnTo>
                <a:lnTo>
                  <a:pt x="69" y="54"/>
                </a:lnTo>
                <a:lnTo>
                  <a:pt x="48" y="51"/>
                </a:lnTo>
                <a:lnTo>
                  <a:pt x="26" y="50"/>
                </a:lnTo>
                <a:lnTo>
                  <a:pt x="0" y="50"/>
                </a:lnTo>
                <a:lnTo>
                  <a:pt x="0" y="0"/>
                </a:lnTo>
                <a:lnTo>
                  <a:pt x="545" y="0"/>
                </a:lnTo>
                <a:lnTo>
                  <a:pt x="545" y="50"/>
                </a:lnTo>
                <a:lnTo>
                  <a:pt x="545" y="50"/>
                </a:lnTo>
                <a:lnTo>
                  <a:pt x="520" y="50"/>
                </a:lnTo>
                <a:lnTo>
                  <a:pt x="497" y="51"/>
                </a:lnTo>
                <a:lnTo>
                  <a:pt x="477" y="54"/>
                </a:lnTo>
                <a:lnTo>
                  <a:pt x="459" y="58"/>
                </a:lnTo>
                <a:lnTo>
                  <a:pt x="444" y="63"/>
                </a:lnTo>
                <a:lnTo>
                  <a:pt x="430" y="69"/>
                </a:lnTo>
                <a:lnTo>
                  <a:pt x="425" y="73"/>
                </a:lnTo>
                <a:lnTo>
                  <a:pt x="418" y="77"/>
                </a:lnTo>
                <a:lnTo>
                  <a:pt x="413" y="81"/>
                </a:lnTo>
                <a:lnTo>
                  <a:pt x="409" y="86"/>
                </a:lnTo>
                <a:lnTo>
                  <a:pt x="405" y="92"/>
                </a:lnTo>
                <a:lnTo>
                  <a:pt x="401" y="98"/>
                </a:lnTo>
                <a:lnTo>
                  <a:pt x="395" y="113"/>
                </a:lnTo>
                <a:lnTo>
                  <a:pt x="390" y="129"/>
                </a:lnTo>
                <a:lnTo>
                  <a:pt x="386" y="148"/>
                </a:lnTo>
                <a:lnTo>
                  <a:pt x="383" y="169"/>
                </a:lnTo>
                <a:lnTo>
                  <a:pt x="381" y="194"/>
                </a:lnTo>
                <a:lnTo>
                  <a:pt x="380" y="221"/>
                </a:lnTo>
                <a:lnTo>
                  <a:pt x="380" y="252"/>
                </a:lnTo>
                <a:lnTo>
                  <a:pt x="380" y="783"/>
                </a:lnTo>
                <a:lnTo>
                  <a:pt x="380" y="783"/>
                </a:lnTo>
                <a:lnTo>
                  <a:pt x="380" y="814"/>
                </a:lnTo>
                <a:lnTo>
                  <a:pt x="381" y="842"/>
                </a:lnTo>
                <a:lnTo>
                  <a:pt x="383" y="866"/>
                </a:lnTo>
                <a:lnTo>
                  <a:pt x="386" y="888"/>
                </a:lnTo>
                <a:lnTo>
                  <a:pt x="390" y="906"/>
                </a:lnTo>
                <a:lnTo>
                  <a:pt x="395" y="923"/>
                </a:lnTo>
                <a:lnTo>
                  <a:pt x="401" y="937"/>
                </a:lnTo>
                <a:lnTo>
                  <a:pt x="405" y="943"/>
                </a:lnTo>
                <a:lnTo>
                  <a:pt x="409" y="949"/>
                </a:lnTo>
                <a:lnTo>
                  <a:pt x="413" y="954"/>
                </a:lnTo>
                <a:lnTo>
                  <a:pt x="418" y="958"/>
                </a:lnTo>
                <a:lnTo>
                  <a:pt x="425" y="963"/>
                </a:lnTo>
                <a:lnTo>
                  <a:pt x="430" y="966"/>
                </a:lnTo>
                <a:lnTo>
                  <a:pt x="444" y="973"/>
                </a:lnTo>
                <a:lnTo>
                  <a:pt x="459" y="978"/>
                </a:lnTo>
                <a:lnTo>
                  <a:pt x="477" y="982"/>
                </a:lnTo>
                <a:lnTo>
                  <a:pt x="497" y="984"/>
                </a:lnTo>
                <a:lnTo>
                  <a:pt x="520" y="985"/>
                </a:lnTo>
                <a:lnTo>
                  <a:pt x="545" y="985"/>
                </a:lnTo>
                <a:lnTo>
                  <a:pt x="545" y="1035"/>
                </a:lnTo>
                <a:lnTo>
                  <a:pt x="0" y="1035"/>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59" name="Freeform 10">
            <a:extLst>
              <a:ext uri="{FF2B5EF4-FFF2-40B4-BE49-F238E27FC236}">
                <a16:creationId xmlns:a16="http://schemas.microsoft.com/office/drawing/2014/main" id="{3D333A13-76A2-BF4F-8FFB-06086F336512}"/>
              </a:ext>
            </a:extLst>
          </p:cNvPr>
          <p:cNvSpPr>
            <a:spLocks noEditPoints="1"/>
          </p:cNvSpPr>
          <p:nvPr userDrawn="1"/>
        </p:nvSpPr>
        <p:spPr bwMode="auto">
          <a:xfrm>
            <a:off x="2260601" y="890589"/>
            <a:ext cx="152400" cy="144463"/>
          </a:xfrm>
          <a:custGeom>
            <a:avLst/>
            <a:gdLst>
              <a:gd name="T0" fmla="*/ 489 w 1152"/>
              <a:gd name="T1" fmla="*/ 1087 h 1094"/>
              <a:gd name="T2" fmla="*/ 353 w 1152"/>
              <a:gd name="T3" fmla="*/ 1051 h 1094"/>
              <a:gd name="T4" fmla="*/ 232 w 1152"/>
              <a:gd name="T5" fmla="*/ 984 h 1094"/>
              <a:gd name="T6" fmla="*/ 132 w 1152"/>
              <a:gd name="T7" fmla="*/ 894 h 1094"/>
              <a:gd name="T8" fmla="*/ 57 w 1152"/>
              <a:gd name="T9" fmla="*/ 783 h 1094"/>
              <a:gd name="T10" fmla="*/ 12 w 1152"/>
              <a:gd name="T11" fmla="*/ 656 h 1094"/>
              <a:gd name="T12" fmla="*/ 0 w 1152"/>
              <a:gd name="T13" fmla="*/ 547 h 1094"/>
              <a:gd name="T14" fmla="*/ 19 w 1152"/>
              <a:gd name="T15" fmla="*/ 411 h 1094"/>
              <a:gd name="T16" fmla="*/ 70 w 1152"/>
              <a:gd name="T17" fmla="*/ 287 h 1094"/>
              <a:gd name="T18" fmla="*/ 151 w 1152"/>
              <a:gd name="T19" fmla="*/ 180 h 1094"/>
              <a:gd name="T20" fmla="*/ 255 w 1152"/>
              <a:gd name="T21" fmla="*/ 94 h 1094"/>
              <a:gd name="T22" fmla="*/ 379 w 1152"/>
              <a:gd name="T23" fmla="*/ 33 h 1094"/>
              <a:gd name="T24" fmla="*/ 518 w 1152"/>
              <a:gd name="T25" fmla="*/ 3 h 1094"/>
              <a:gd name="T26" fmla="*/ 635 w 1152"/>
              <a:gd name="T27" fmla="*/ 3 h 1094"/>
              <a:gd name="T28" fmla="*/ 773 w 1152"/>
              <a:gd name="T29" fmla="*/ 33 h 1094"/>
              <a:gd name="T30" fmla="*/ 897 w 1152"/>
              <a:gd name="T31" fmla="*/ 94 h 1094"/>
              <a:gd name="T32" fmla="*/ 1001 w 1152"/>
              <a:gd name="T33" fmla="*/ 180 h 1094"/>
              <a:gd name="T34" fmla="*/ 1082 w 1152"/>
              <a:gd name="T35" fmla="*/ 287 h 1094"/>
              <a:gd name="T36" fmla="*/ 1133 w 1152"/>
              <a:gd name="T37" fmla="*/ 411 h 1094"/>
              <a:gd name="T38" fmla="*/ 1152 w 1152"/>
              <a:gd name="T39" fmla="*/ 547 h 1094"/>
              <a:gd name="T40" fmla="*/ 1139 w 1152"/>
              <a:gd name="T41" fmla="*/ 656 h 1094"/>
              <a:gd name="T42" fmla="*/ 1094 w 1152"/>
              <a:gd name="T43" fmla="*/ 783 h 1094"/>
              <a:gd name="T44" fmla="*/ 1020 w 1152"/>
              <a:gd name="T45" fmla="*/ 894 h 1094"/>
              <a:gd name="T46" fmla="*/ 919 w 1152"/>
              <a:gd name="T47" fmla="*/ 984 h 1094"/>
              <a:gd name="T48" fmla="*/ 800 w 1152"/>
              <a:gd name="T49" fmla="*/ 1051 h 1094"/>
              <a:gd name="T50" fmla="*/ 664 w 1152"/>
              <a:gd name="T51" fmla="*/ 1087 h 1094"/>
              <a:gd name="T52" fmla="*/ 577 w 1152"/>
              <a:gd name="T53" fmla="*/ 82 h 1094"/>
              <a:gd name="T54" fmla="*/ 492 w 1152"/>
              <a:gd name="T55" fmla="*/ 94 h 1094"/>
              <a:gd name="T56" fmla="*/ 404 w 1152"/>
              <a:gd name="T57" fmla="*/ 137 h 1094"/>
              <a:gd name="T58" fmla="*/ 336 w 1152"/>
              <a:gd name="T59" fmla="*/ 204 h 1094"/>
              <a:gd name="T60" fmla="*/ 285 w 1152"/>
              <a:gd name="T61" fmla="*/ 290 h 1094"/>
              <a:gd name="T62" fmla="*/ 253 w 1152"/>
              <a:gd name="T63" fmla="*/ 386 h 1094"/>
              <a:gd name="T64" fmla="*/ 234 w 1152"/>
              <a:gd name="T65" fmla="*/ 507 h 1094"/>
              <a:gd name="T66" fmla="*/ 240 w 1152"/>
              <a:gd name="T67" fmla="*/ 647 h 1094"/>
              <a:gd name="T68" fmla="*/ 264 w 1152"/>
              <a:gd name="T69" fmla="*/ 747 h 1094"/>
              <a:gd name="T70" fmla="*/ 303 w 1152"/>
              <a:gd name="T71" fmla="*/ 840 h 1094"/>
              <a:gd name="T72" fmla="*/ 360 w 1152"/>
              <a:gd name="T73" fmla="*/ 919 h 1094"/>
              <a:gd name="T74" fmla="*/ 437 w 1152"/>
              <a:gd name="T75" fmla="*/ 977 h 1094"/>
              <a:gd name="T76" fmla="*/ 533 w 1152"/>
              <a:gd name="T77" fmla="*/ 1008 h 1094"/>
              <a:gd name="T78" fmla="*/ 621 w 1152"/>
              <a:gd name="T79" fmla="*/ 1008 h 1094"/>
              <a:gd name="T80" fmla="*/ 716 w 1152"/>
              <a:gd name="T81" fmla="*/ 977 h 1094"/>
              <a:gd name="T82" fmla="*/ 793 w 1152"/>
              <a:gd name="T83" fmla="*/ 919 h 1094"/>
              <a:gd name="T84" fmla="*/ 850 w 1152"/>
              <a:gd name="T85" fmla="*/ 840 h 1094"/>
              <a:gd name="T86" fmla="*/ 890 w 1152"/>
              <a:gd name="T87" fmla="*/ 747 h 1094"/>
              <a:gd name="T88" fmla="*/ 912 w 1152"/>
              <a:gd name="T89" fmla="*/ 647 h 1094"/>
              <a:gd name="T90" fmla="*/ 918 w 1152"/>
              <a:gd name="T91" fmla="*/ 507 h 1094"/>
              <a:gd name="T92" fmla="*/ 901 w 1152"/>
              <a:gd name="T93" fmla="*/ 386 h 1094"/>
              <a:gd name="T94" fmla="*/ 867 w 1152"/>
              <a:gd name="T95" fmla="*/ 290 h 1094"/>
              <a:gd name="T96" fmla="*/ 817 w 1152"/>
              <a:gd name="T97" fmla="*/ 204 h 1094"/>
              <a:gd name="T98" fmla="*/ 749 w 1152"/>
              <a:gd name="T99" fmla="*/ 137 h 1094"/>
              <a:gd name="T100" fmla="*/ 662 w 1152"/>
              <a:gd name="T101" fmla="*/ 94 h 1094"/>
              <a:gd name="T102" fmla="*/ 577 w 1152"/>
              <a:gd name="T103" fmla="*/ 82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52" h="1094">
                <a:moveTo>
                  <a:pt x="577" y="1094"/>
                </a:moveTo>
                <a:lnTo>
                  <a:pt x="577" y="1094"/>
                </a:lnTo>
                <a:lnTo>
                  <a:pt x="547" y="1093"/>
                </a:lnTo>
                <a:lnTo>
                  <a:pt x="518" y="1091"/>
                </a:lnTo>
                <a:lnTo>
                  <a:pt x="489" y="1087"/>
                </a:lnTo>
                <a:lnTo>
                  <a:pt x="460" y="1082"/>
                </a:lnTo>
                <a:lnTo>
                  <a:pt x="433" y="1076"/>
                </a:lnTo>
                <a:lnTo>
                  <a:pt x="406" y="1069"/>
                </a:lnTo>
                <a:lnTo>
                  <a:pt x="379" y="1060"/>
                </a:lnTo>
                <a:lnTo>
                  <a:pt x="353" y="1051"/>
                </a:lnTo>
                <a:lnTo>
                  <a:pt x="327" y="1039"/>
                </a:lnTo>
                <a:lnTo>
                  <a:pt x="303" y="1027"/>
                </a:lnTo>
                <a:lnTo>
                  <a:pt x="278" y="1014"/>
                </a:lnTo>
                <a:lnTo>
                  <a:pt x="255" y="1000"/>
                </a:lnTo>
                <a:lnTo>
                  <a:pt x="232" y="984"/>
                </a:lnTo>
                <a:lnTo>
                  <a:pt x="211" y="968"/>
                </a:lnTo>
                <a:lnTo>
                  <a:pt x="189" y="950"/>
                </a:lnTo>
                <a:lnTo>
                  <a:pt x="170" y="933"/>
                </a:lnTo>
                <a:lnTo>
                  <a:pt x="151" y="914"/>
                </a:lnTo>
                <a:lnTo>
                  <a:pt x="132" y="894"/>
                </a:lnTo>
                <a:lnTo>
                  <a:pt x="115" y="873"/>
                </a:lnTo>
                <a:lnTo>
                  <a:pt x="99" y="851"/>
                </a:lnTo>
                <a:lnTo>
                  <a:pt x="84" y="830"/>
                </a:lnTo>
                <a:lnTo>
                  <a:pt x="70" y="806"/>
                </a:lnTo>
                <a:lnTo>
                  <a:pt x="57" y="783"/>
                </a:lnTo>
                <a:lnTo>
                  <a:pt x="46" y="758"/>
                </a:lnTo>
                <a:lnTo>
                  <a:pt x="36" y="734"/>
                </a:lnTo>
                <a:lnTo>
                  <a:pt x="27" y="708"/>
                </a:lnTo>
                <a:lnTo>
                  <a:pt x="19" y="683"/>
                </a:lnTo>
                <a:lnTo>
                  <a:pt x="12" y="656"/>
                </a:lnTo>
                <a:lnTo>
                  <a:pt x="7" y="629"/>
                </a:lnTo>
                <a:lnTo>
                  <a:pt x="3" y="602"/>
                </a:lnTo>
                <a:lnTo>
                  <a:pt x="1" y="574"/>
                </a:lnTo>
                <a:lnTo>
                  <a:pt x="0" y="547"/>
                </a:lnTo>
                <a:lnTo>
                  <a:pt x="0" y="547"/>
                </a:lnTo>
                <a:lnTo>
                  <a:pt x="1" y="519"/>
                </a:lnTo>
                <a:lnTo>
                  <a:pt x="3" y="491"/>
                </a:lnTo>
                <a:lnTo>
                  <a:pt x="7" y="464"/>
                </a:lnTo>
                <a:lnTo>
                  <a:pt x="12" y="437"/>
                </a:lnTo>
                <a:lnTo>
                  <a:pt x="19" y="411"/>
                </a:lnTo>
                <a:lnTo>
                  <a:pt x="27" y="385"/>
                </a:lnTo>
                <a:lnTo>
                  <a:pt x="36" y="360"/>
                </a:lnTo>
                <a:lnTo>
                  <a:pt x="46" y="335"/>
                </a:lnTo>
                <a:lnTo>
                  <a:pt x="57" y="310"/>
                </a:lnTo>
                <a:lnTo>
                  <a:pt x="70" y="287"/>
                </a:lnTo>
                <a:lnTo>
                  <a:pt x="84" y="264"/>
                </a:lnTo>
                <a:lnTo>
                  <a:pt x="99" y="242"/>
                </a:lnTo>
                <a:lnTo>
                  <a:pt x="115" y="220"/>
                </a:lnTo>
                <a:lnTo>
                  <a:pt x="132" y="200"/>
                </a:lnTo>
                <a:lnTo>
                  <a:pt x="151" y="180"/>
                </a:lnTo>
                <a:lnTo>
                  <a:pt x="170" y="161"/>
                </a:lnTo>
                <a:lnTo>
                  <a:pt x="189" y="143"/>
                </a:lnTo>
                <a:lnTo>
                  <a:pt x="211" y="125"/>
                </a:lnTo>
                <a:lnTo>
                  <a:pt x="232" y="109"/>
                </a:lnTo>
                <a:lnTo>
                  <a:pt x="255" y="94"/>
                </a:lnTo>
                <a:lnTo>
                  <a:pt x="278" y="79"/>
                </a:lnTo>
                <a:lnTo>
                  <a:pt x="303" y="66"/>
                </a:lnTo>
                <a:lnTo>
                  <a:pt x="327" y="54"/>
                </a:lnTo>
                <a:lnTo>
                  <a:pt x="353" y="44"/>
                </a:lnTo>
                <a:lnTo>
                  <a:pt x="379" y="33"/>
                </a:lnTo>
                <a:lnTo>
                  <a:pt x="406" y="24"/>
                </a:lnTo>
                <a:lnTo>
                  <a:pt x="433" y="17"/>
                </a:lnTo>
                <a:lnTo>
                  <a:pt x="460" y="11"/>
                </a:lnTo>
                <a:lnTo>
                  <a:pt x="489" y="6"/>
                </a:lnTo>
                <a:lnTo>
                  <a:pt x="518" y="3"/>
                </a:lnTo>
                <a:lnTo>
                  <a:pt x="547" y="1"/>
                </a:lnTo>
                <a:lnTo>
                  <a:pt x="577" y="0"/>
                </a:lnTo>
                <a:lnTo>
                  <a:pt x="577" y="0"/>
                </a:lnTo>
                <a:lnTo>
                  <a:pt x="607" y="1"/>
                </a:lnTo>
                <a:lnTo>
                  <a:pt x="635" y="3"/>
                </a:lnTo>
                <a:lnTo>
                  <a:pt x="664" y="6"/>
                </a:lnTo>
                <a:lnTo>
                  <a:pt x="692" y="11"/>
                </a:lnTo>
                <a:lnTo>
                  <a:pt x="720" y="17"/>
                </a:lnTo>
                <a:lnTo>
                  <a:pt x="747" y="24"/>
                </a:lnTo>
                <a:lnTo>
                  <a:pt x="773" y="33"/>
                </a:lnTo>
                <a:lnTo>
                  <a:pt x="800" y="44"/>
                </a:lnTo>
                <a:lnTo>
                  <a:pt x="825" y="54"/>
                </a:lnTo>
                <a:lnTo>
                  <a:pt x="850" y="66"/>
                </a:lnTo>
                <a:lnTo>
                  <a:pt x="873" y="79"/>
                </a:lnTo>
                <a:lnTo>
                  <a:pt x="897" y="94"/>
                </a:lnTo>
                <a:lnTo>
                  <a:pt x="919" y="109"/>
                </a:lnTo>
                <a:lnTo>
                  <a:pt x="942" y="125"/>
                </a:lnTo>
                <a:lnTo>
                  <a:pt x="962" y="143"/>
                </a:lnTo>
                <a:lnTo>
                  <a:pt x="983" y="161"/>
                </a:lnTo>
                <a:lnTo>
                  <a:pt x="1001" y="180"/>
                </a:lnTo>
                <a:lnTo>
                  <a:pt x="1020" y="200"/>
                </a:lnTo>
                <a:lnTo>
                  <a:pt x="1037" y="220"/>
                </a:lnTo>
                <a:lnTo>
                  <a:pt x="1052" y="242"/>
                </a:lnTo>
                <a:lnTo>
                  <a:pt x="1068" y="264"/>
                </a:lnTo>
                <a:lnTo>
                  <a:pt x="1082" y="287"/>
                </a:lnTo>
                <a:lnTo>
                  <a:pt x="1094" y="310"/>
                </a:lnTo>
                <a:lnTo>
                  <a:pt x="1106" y="335"/>
                </a:lnTo>
                <a:lnTo>
                  <a:pt x="1116" y="360"/>
                </a:lnTo>
                <a:lnTo>
                  <a:pt x="1125" y="385"/>
                </a:lnTo>
                <a:lnTo>
                  <a:pt x="1133" y="411"/>
                </a:lnTo>
                <a:lnTo>
                  <a:pt x="1139" y="437"/>
                </a:lnTo>
                <a:lnTo>
                  <a:pt x="1144" y="464"/>
                </a:lnTo>
                <a:lnTo>
                  <a:pt x="1148" y="491"/>
                </a:lnTo>
                <a:lnTo>
                  <a:pt x="1151" y="519"/>
                </a:lnTo>
                <a:lnTo>
                  <a:pt x="1152" y="547"/>
                </a:lnTo>
                <a:lnTo>
                  <a:pt x="1152" y="547"/>
                </a:lnTo>
                <a:lnTo>
                  <a:pt x="1151" y="574"/>
                </a:lnTo>
                <a:lnTo>
                  <a:pt x="1148" y="602"/>
                </a:lnTo>
                <a:lnTo>
                  <a:pt x="1144" y="629"/>
                </a:lnTo>
                <a:lnTo>
                  <a:pt x="1139" y="656"/>
                </a:lnTo>
                <a:lnTo>
                  <a:pt x="1133" y="683"/>
                </a:lnTo>
                <a:lnTo>
                  <a:pt x="1125" y="708"/>
                </a:lnTo>
                <a:lnTo>
                  <a:pt x="1116" y="734"/>
                </a:lnTo>
                <a:lnTo>
                  <a:pt x="1106" y="758"/>
                </a:lnTo>
                <a:lnTo>
                  <a:pt x="1094" y="783"/>
                </a:lnTo>
                <a:lnTo>
                  <a:pt x="1082" y="806"/>
                </a:lnTo>
                <a:lnTo>
                  <a:pt x="1068" y="830"/>
                </a:lnTo>
                <a:lnTo>
                  <a:pt x="1052" y="851"/>
                </a:lnTo>
                <a:lnTo>
                  <a:pt x="1037" y="873"/>
                </a:lnTo>
                <a:lnTo>
                  <a:pt x="1020" y="894"/>
                </a:lnTo>
                <a:lnTo>
                  <a:pt x="1001" y="914"/>
                </a:lnTo>
                <a:lnTo>
                  <a:pt x="983" y="933"/>
                </a:lnTo>
                <a:lnTo>
                  <a:pt x="962" y="950"/>
                </a:lnTo>
                <a:lnTo>
                  <a:pt x="942" y="968"/>
                </a:lnTo>
                <a:lnTo>
                  <a:pt x="919" y="984"/>
                </a:lnTo>
                <a:lnTo>
                  <a:pt x="897" y="1000"/>
                </a:lnTo>
                <a:lnTo>
                  <a:pt x="873" y="1014"/>
                </a:lnTo>
                <a:lnTo>
                  <a:pt x="850" y="1027"/>
                </a:lnTo>
                <a:lnTo>
                  <a:pt x="825" y="1039"/>
                </a:lnTo>
                <a:lnTo>
                  <a:pt x="800" y="1051"/>
                </a:lnTo>
                <a:lnTo>
                  <a:pt x="773" y="1060"/>
                </a:lnTo>
                <a:lnTo>
                  <a:pt x="747" y="1069"/>
                </a:lnTo>
                <a:lnTo>
                  <a:pt x="720" y="1076"/>
                </a:lnTo>
                <a:lnTo>
                  <a:pt x="692" y="1082"/>
                </a:lnTo>
                <a:lnTo>
                  <a:pt x="664" y="1087"/>
                </a:lnTo>
                <a:lnTo>
                  <a:pt x="635" y="1091"/>
                </a:lnTo>
                <a:lnTo>
                  <a:pt x="607" y="1093"/>
                </a:lnTo>
                <a:lnTo>
                  <a:pt x="577" y="1094"/>
                </a:lnTo>
                <a:lnTo>
                  <a:pt x="577" y="1094"/>
                </a:lnTo>
                <a:close/>
                <a:moveTo>
                  <a:pt x="577" y="82"/>
                </a:moveTo>
                <a:lnTo>
                  <a:pt x="577" y="82"/>
                </a:lnTo>
                <a:lnTo>
                  <a:pt x="554" y="83"/>
                </a:lnTo>
                <a:lnTo>
                  <a:pt x="533" y="86"/>
                </a:lnTo>
                <a:lnTo>
                  <a:pt x="511" y="90"/>
                </a:lnTo>
                <a:lnTo>
                  <a:pt x="492" y="94"/>
                </a:lnTo>
                <a:lnTo>
                  <a:pt x="473" y="100"/>
                </a:lnTo>
                <a:lnTo>
                  <a:pt x="454" y="108"/>
                </a:lnTo>
                <a:lnTo>
                  <a:pt x="437" y="116"/>
                </a:lnTo>
                <a:lnTo>
                  <a:pt x="419" y="125"/>
                </a:lnTo>
                <a:lnTo>
                  <a:pt x="404" y="137"/>
                </a:lnTo>
                <a:lnTo>
                  <a:pt x="389" y="148"/>
                </a:lnTo>
                <a:lnTo>
                  <a:pt x="374" y="161"/>
                </a:lnTo>
                <a:lnTo>
                  <a:pt x="360" y="174"/>
                </a:lnTo>
                <a:lnTo>
                  <a:pt x="348" y="189"/>
                </a:lnTo>
                <a:lnTo>
                  <a:pt x="336" y="204"/>
                </a:lnTo>
                <a:lnTo>
                  <a:pt x="324" y="219"/>
                </a:lnTo>
                <a:lnTo>
                  <a:pt x="313" y="237"/>
                </a:lnTo>
                <a:lnTo>
                  <a:pt x="303" y="253"/>
                </a:lnTo>
                <a:lnTo>
                  <a:pt x="294" y="272"/>
                </a:lnTo>
                <a:lnTo>
                  <a:pt x="285" y="290"/>
                </a:lnTo>
                <a:lnTo>
                  <a:pt x="277" y="308"/>
                </a:lnTo>
                <a:lnTo>
                  <a:pt x="270" y="327"/>
                </a:lnTo>
                <a:lnTo>
                  <a:pt x="264" y="346"/>
                </a:lnTo>
                <a:lnTo>
                  <a:pt x="258" y="367"/>
                </a:lnTo>
                <a:lnTo>
                  <a:pt x="253" y="386"/>
                </a:lnTo>
                <a:lnTo>
                  <a:pt x="248" y="407"/>
                </a:lnTo>
                <a:lnTo>
                  <a:pt x="245" y="426"/>
                </a:lnTo>
                <a:lnTo>
                  <a:pt x="240" y="446"/>
                </a:lnTo>
                <a:lnTo>
                  <a:pt x="238" y="467"/>
                </a:lnTo>
                <a:lnTo>
                  <a:pt x="234" y="507"/>
                </a:lnTo>
                <a:lnTo>
                  <a:pt x="233" y="547"/>
                </a:lnTo>
                <a:lnTo>
                  <a:pt x="233" y="547"/>
                </a:lnTo>
                <a:lnTo>
                  <a:pt x="234" y="587"/>
                </a:lnTo>
                <a:lnTo>
                  <a:pt x="238" y="626"/>
                </a:lnTo>
                <a:lnTo>
                  <a:pt x="240" y="647"/>
                </a:lnTo>
                <a:lnTo>
                  <a:pt x="245" y="667"/>
                </a:lnTo>
                <a:lnTo>
                  <a:pt x="248" y="687"/>
                </a:lnTo>
                <a:lnTo>
                  <a:pt x="253" y="707"/>
                </a:lnTo>
                <a:lnTo>
                  <a:pt x="258" y="728"/>
                </a:lnTo>
                <a:lnTo>
                  <a:pt x="264" y="747"/>
                </a:lnTo>
                <a:lnTo>
                  <a:pt x="270" y="766"/>
                </a:lnTo>
                <a:lnTo>
                  <a:pt x="277" y="785"/>
                </a:lnTo>
                <a:lnTo>
                  <a:pt x="285" y="804"/>
                </a:lnTo>
                <a:lnTo>
                  <a:pt x="294" y="822"/>
                </a:lnTo>
                <a:lnTo>
                  <a:pt x="303" y="840"/>
                </a:lnTo>
                <a:lnTo>
                  <a:pt x="313" y="857"/>
                </a:lnTo>
                <a:lnTo>
                  <a:pt x="324" y="874"/>
                </a:lnTo>
                <a:lnTo>
                  <a:pt x="336" y="889"/>
                </a:lnTo>
                <a:lnTo>
                  <a:pt x="348" y="904"/>
                </a:lnTo>
                <a:lnTo>
                  <a:pt x="360" y="919"/>
                </a:lnTo>
                <a:lnTo>
                  <a:pt x="374" y="932"/>
                </a:lnTo>
                <a:lnTo>
                  <a:pt x="389" y="945"/>
                </a:lnTo>
                <a:lnTo>
                  <a:pt x="404" y="957"/>
                </a:lnTo>
                <a:lnTo>
                  <a:pt x="419" y="968"/>
                </a:lnTo>
                <a:lnTo>
                  <a:pt x="437" y="977"/>
                </a:lnTo>
                <a:lnTo>
                  <a:pt x="454" y="986"/>
                </a:lnTo>
                <a:lnTo>
                  <a:pt x="473" y="993"/>
                </a:lnTo>
                <a:lnTo>
                  <a:pt x="492" y="1000"/>
                </a:lnTo>
                <a:lnTo>
                  <a:pt x="511" y="1005"/>
                </a:lnTo>
                <a:lnTo>
                  <a:pt x="533" y="1008"/>
                </a:lnTo>
                <a:lnTo>
                  <a:pt x="554" y="1010"/>
                </a:lnTo>
                <a:lnTo>
                  <a:pt x="577" y="1011"/>
                </a:lnTo>
                <a:lnTo>
                  <a:pt x="577" y="1011"/>
                </a:lnTo>
                <a:lnTo>
                  <a:pt x="599" y="1010"/>
                </a:lnTo>
                <a:lnTo>
                  <a:pt x="621" y="1008"/>
                </a:lnTo>
                <a:lnTo>
                  <a:pt x="641" y="1005"/>
                </a:lnTo>
                <a:lnTo>
                  <a:pt x="662" y="1000"/>
                </a:lnTo>
                <a:lnTo>
                  <a:pt x="680" y="993"/>
                </a:lnTo>
                <a:lnTo>
                  <a:pt x="699" y="986"/>
                </a:lnTo>
                <a:lnTo>
                  <a:pt x="716" y="977"/>
                </a:lnTo>
                <a:lnTo>
                  <a:pt x="733" y="968"/>
                </a:lnTo>
                <a:lnTo>
                  <a:pt x="749" y="957"/>
                </a:lnTo>
                <a:lnTo>
                  <a:pt x="764" y="945"/>
                </a:lnTo>
                <a:lnTo>
                  <a:pt x="778" y="932"/>
                </a:lnTo>
                <a:lnTo>
                  <a:pt x="793" y="919"/>
                </a:lnTo>
                <a:lnTo>
                  <a:pt x="805" y="904"/>
                </a:lnTo>
                <a:lnTo>
                  <a:pt x="817" y="889"/>
                </a:lnTo>
                <a:lnTo>
                  <a:pt x="828" y="874"/>
                </a:lnTo>
                <a:lnTo>
                  <a:pt x="840" y="857"/>
                </a:lnTo>
                <a:lnTo>
                  <a:pt x="850" y="840"/>
                </a:lnTo>
                <a:lnTo>
                  <a:pt x="859" y="822"/>
                </a:lnTo>
                <a:lnTo>
                  <a:pt x="867" y="804"/>
                </a:lnTo>
                <a:lnTo>
                  <a:pt x="875" y="785"/>
                </a:lnTo>
                <a:lnTo>
                  <a:pt x="883" y="766"/>
                </a:lnTo>
                <a:lnTo>
                  <a:pt x="890" y="747"/>
                </a:lnTo>
                <a:lnTo>
                  <a:pt x="895" y="728"/>
                </a:lnTo>
                <a:lnTo>
                  <a:pt x="901" y="707"/>
                </a:lnTo>
                <a:lnTo>
                  <a:pt x="905" y="687"/>
                </a:lnTo>
                <a:lnTo>
                  <a:pt x="909" y="667"/>
                </a:lnTo>
                <a:lnTo>
                  <a:pt x="912" y="647"/>
                </a:lnTo>
                <a:lnTo>
                  <a:pt x="915" y="626"/>
                </a:lnTo>
                <a:lnTo>
                  <a:pt x="918" y="587"/>
                </a:lnTo>
                <a:lnTo>
                  <a:pt x="920" y="547"/>
                </a:lnTo>
                <a:lnTo>
                  <a:pt x="920" y="547"/>
                </a:lnTo>
                <a:lnTo>
                  <a:pt x="918" y="507"/>
                </a:lnTo>
                <a:lnTo>
                  <a:pt x="915" y="467"/>
                </a:lnTo>
                <a:lnTo>
                  <a:pt x="912" y="446"/>
                </a:lnTo>
                <a:lnTo>
                  <a:pt x="909" y="426"/>
                </a:lnTo>
                <a:lnTo>
                  <a:pt x="905" y="407"/>
                </a:lnTo>
                <a:lnTo>
                  <a:pt x="901" y="386"/>
                </a:lnTo>
                <a:lnTo>
                  <a:pt x="895" y="367"/>
                </a:lnTo>
                <a:lnTo>
                  <a:pt x="890" y="346"/>
                </a:lnTo>
                <a:lnTo>
                  <a:pt x="883" y="327"/>
                </a:lnTo>
                <a:lnTo>
                  <a:pt x="875" y="308"/>
                </a:lnTo>
                <a:lnTo>
                  <a:pt x="867" y="290"/>
                </a:lnTo>
                <a:lnTo>
                  <a:pt x="859" y="272"/>
                </a:lnTo>
                <a:lnTo>
                  <a:pt x="850" y="253"/>
                </a:lnTo>
                <a:lnTo>
                  <a:pt x="840" y="237"/>
                </a:lnTo>
                <a:lnTo>
                  <a:pt x="828" y="219"/>
                </a:lnTo>
                <a:lnTo>
                  <a:pt x="817" y="204"/>
                </a:lnTo>
                <a:lnTo>
                  <a:pt x="805" y="189"/>
                </a:lnTo>
                <a:lnTo>
                  <a:pt x="793" y="174"/>
                </a:lnTo>
                <a:lnTo>
                  <a:pt x="778" y="161"/>
                </a:lnTo>
                <a:lnTo>
                  <a:pt x="764" y="148"/>
                </a:lnTo>
                <a:lnTo>
                  <a:pt x="749" y="137"/>
                </a:lnTo>
                <a:lnTo>
                  <a:pt x="733" y="125"/>
                </a:lnTo>
                <a:lnTo>
                  <a:pt x="716" y="116"/>
                </a:lnTo>
                <a:lnTo>
                  <a:pt x="699" y="108"/>
                </a:lnTo>
                <a:lnTo>
                  <a:pt x="680" y="100"/>
                </a:lnTo>
                <a:lnTo>
                  <a:pt x="662" y="94"/>
                </a:lnTo>
                <a:lnTo>
                  <a:pt x="641" y="90"/>
                </a:lnTo>
                <a:lnTo>
                  <a:pt x="621" y="86"/>
                </a:lnTo>
                <a:lnTo>
                  <a:pt x="599" y="83"/>
                </a:lnTo>
                <a:lnTo>
                  <a:pt x="577" y="82"/>
                </a:lnTo>
                <a:lnTo>
                  <a:pt x="577" y="82"/>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60" name="Freeform 11">
            <a:extLst>
              <a:ext uri="{FF2B5EF4-FFF2-40B4-BE49-F238E27FC236}">
                <a16:creationId xmlns:a16="http://schemas.microsoft.com/office/drawing/2014/main" id="{005AF851-6FDD-2A46-B43C-A5A3736B10A1}"/>
              </a:ext>
            </a:extLst>
          </p:cNvPr>
          <p:cNvSpPr>
            <a:spLocks/>
          </p:cNvSpPr>
          <p:nvPr userDrawn="1"/>
        </p:nvSpPr>
        <p:spPr bwMode="auto">
          <a:xfrm>
            <a:off x="2447927" y="893763"/>
            <a:ext cx="155575" cy="141288"/>
          </a:xfrm>
          <a:custGeom>
            <a:avLst/>
            <a:gdLst>
              <a:gd name="T0" fmla="*/ 922 w 1165"/>
              <a:gd name="T1" fmla="*/ 252 h 1065"/>
              <a:gd name="T2" fmla="*/ 921 w 1165"/>
              <a:gd name="T3" fmla="*/ 194 h 1065"/>
              <a:gd name="T4" fmla="*/ 916 w 1165"/>
              <a:gd name="T5" fmla="*/ 148 h 1065"/>
              <a:gd name="T6" fmla="*/ 906 w 1165"/>
              <a:gd name="T7" fmla="*/ 113 h 1065"/>
              <a:gd name="T8" fmla="*/ 896 w 1165"/>
              <a:gd name="T9" fmla="*/ 92 h 1065"/>
              <a:gd name="T10" fmla="*/ 888 w 1165"/>
              <a:gd name="T11" fmla="*/ 81 h 1065"/>
              <a:gd name="T12" fmla="*/ 877 w 1165"/>
              <a:gd name="T13" fmla="*/ 73 h 1065"/>
              <a:gd name="T14" fmla="*/ 857 w 1165"/>
              <a:gd name="T15" fmla="*/ 63 h 1065"/>
              <a:gd name="T16" fmla="*/ 825 w 1165"/>
              <a:gd name="T17" fmla="*/ 54 h 1065"/>
              <a:gd name="T18" fmla="*/ 782 w 1165"/>
              <a:gd name="T19" fmla="*/ 50 h 1065"/>
              <a:gd name="T20" fmla="*/ 756 w 1165"/>
              <a:gd name="T21" fmla="*/ 0 h 1065"/>
              <a:gd name="T22" fmla="*/ 1165 w 1165"/>
              <a:gd name="T23" fmla="*/ 50 h 1065"/>
              <a:gd name="T24" fmla="*/ 1139 w 1165"/>
              <a:gd name="T25" fmla="*/ 50 h 1065"/>
              <a:gd name="T26" fmla="*/ 1096 w 1165"/>
              <a:gd name="T27" fmla="*/ 54 h 1065"/>
              <a:gd name="T28" fmla="*/ 1062 w 1165"/>
              <a:gd name="T29" fmla="*/ 63 h 1065"/>
              <a:gd name="T30" fmla="*/ 1042 w 1165"/>
              <a:gd name="T31" fmla="*/ 73 h 1065"/>
              <a:gd name="T32" fmla="*/ 1032 w 1165"/>
              <a:gd name="T33" fmla="*/ 81 h 1065"/>
              <a:gd name="T34" fmla="*/ 1023 w 1165"/>
              <a:gd name="T35" fmla="*/ 92 h 1065"/>
              <a:gd name="T36" fmla="*/ 1014 w 1165"/>
              <a:gd name="T37" fmla="*/ 113 h 1065"/>
              <a:gd name="T38" fmla="*/ 1005 w 1165"/>
              <a:gd name="T39" fmla="*/ 148 h 1065"/>
              <a:gd name="T40" fmla="*/ 1000 w 1165"/>
              <a:gd name="T41" fmla="*/ 194 h 1065"/>
              <a:gd name="T42" fmla="*/ 999 w 1165"/>
              <a:gd name="T43" fmla="*/ 252 h 1065"/>
              <a:gd name="T44" fmla="*/ 955 w 1165"/>
              <a:gd name="T45" fmla="*/ 1065 h 1065"/>
              <a:gd name="T46" fmla="*/ 242 w 1165"/>
              <a:gd name="T47" fmla="*/ 783 h 1065"/>
              <a:gd name="T48" fmla="*/ 242 w 1165"/>
              <a:gd name="T49" fmla="*/ 814 h 1065"/>
              <a:gd name="T50" fmla="*/ 245 w 1165"/>
              <a:gd name="T51" fmla="*/ 866 h 1065"/>
              <a:gd name="T52" fmla="*/ 251 w 1165"/>
              <a:gd name="T53" fmla="*/ 906 h 1065"/>
              <a:gd name="T54" fmla="*/ 263 w 1165"/>
              <a:gd name="T55" fmla="*/ 937 h 1065"/>
              <a:gd name="T56" fmla="*/ 271 w 1165"/>
              <a:gd name="T57" fmla="*/ 949 h 1065"/>
              <a:gd name="T58" fmla="*/ 281 w 1165"/>
              <a:gd name="T59" fmla="*/ 958 h 1065"/>
              <a:gd name="T60" fmla="*/ 292 w 1165"/>
              <a:gd name="T61" fmla="*/ 966 h 1065"/>
              <a:gd name="T62" fmla="*/ 322 w 1165"/>
              <a:gd name="T63" fmla="*/ 978 h 1065"/>
              <a:gd name="T64" fmla="*/ 359 w 1165"/>
              <a:gd name="T65" fmla="*/ 984 h 1065"/>
              <a:gd name="T66" fmla="*/ 407 w 1165"/>
              <a:gd name="T67" fmla="*/ 985 h 1065"/>
              <a:gd name="T68" fmla="*/ 0 w 1165"/>
              <a:gd name="T69" fmla="*/ 1035 h 1065"/>
              <a:gd name="T70" fmla="*/ 0 w 1165"/>
              <a:gd name="T71" fmla="*/ 985 h 1065"/>
              <a:gd name="T72" fmla="*/ 49 w 1165"/>
              <a:gd name="T73" fmla="*/ 984 h 1065"/>
              <a:gd name="T74" fmla="*/ 86 w 1165"/>
              <a:gd name="T75" fmla="*/ 978 h 1065"/>
              <a:gd name="T76" fmla="*/ 115 w 1165"/>
              <a:gd name="T77" fmla="*/ 966 h 1065"/>
              <a:gd name="T78" fmla="*/ 126 w 1165"/>
              <a:gd name="T79" fmla="*/ 958 h 1065"/>
              <a:gd name="T80" fmla="*/ 135 w 1165"/>
              <a:gd name="T81" fmla="*/ 949 h 1065"/>
              <a:gd name="T82" fmla="*/ 144 w 1165"/>
              <a:gd name="T83" fmla="*/ 937 h 1065"/>
              <a:gd name="T84" fmla="*/ 155 w 1165"/>
              <a:gd name="T85" fmla="*/ 906 h 1065"/>
              <a:gd name="T86" fmla="*/ 161 w 1165"/>
              <a:gd name="T87" fmla="*/ 866 h 1065"/>
              <a:gd name="T88" fmla="*/ 164 w 1165"/>
              <a:gd name="T89" fmla="*/ 814 h 1065"/>
              <a:gd name="T90" fmla="*/ 164 w 1165"/>
              <a:gd name="T91" fmla="*/ 252 h 1065"/>
              <a:gd name="T92" fmla="*/ 164 w 1165"/>
              <a:gd name="T93" fmla="*/ 221 h 1065"/>
              <a:gd name="T94" fmla="*/ 161 w 1165"/>
              <a:gd name="T95" fmla="*/ 169 h 1065"/>
              <a:gd name="T96" fmla="*/ 155 w 1165"/>
              <a:gd name="T97" fmla="*/ 129 h 1065"/>
              <a:gd name="T98" fmla="*/ 144 w 1165"/>
              <a:gd name="T99" fmla="*/ 98 h 1065"/>
              <a:gd name="T100" fmla="*/ 135 w 1165"/>
              <a:gd name="T101" fmla="*/ 86 h 1065"/>
              <a:gd name="T102" fmla="*/ 126 w 1165"/>
              <a:gd name="T103" fmla="*/ 77 h 1065"/>
              <a:gd name="T104" fmla="*/ 115 w 1165"/>
              <a:gd name="T105" fmla="*/ 69 h 1065"/>
              <a:gd name="T106" fmla="*/ 86 w 1165"/>
              <a:gd name="T107" fmla="*/ 58 h 1065"/>
              <a:gd name="T108" fmla="*/ 49 w 1165"/>
              <a:gd name="T109" fmla="*/ 51 h 1065"/>
              <a:gd name="T110" fmla="*/ 0 w 1165"/>
              <a:gd name="T111" fmla="*/ 50 h 1065"/>
              <a:gd name="T112" fmla="*/ 345 w 1165"/>
              <a:gd name="T113" fmla="*/ 0 h 1065"/>
              <a:gd name="T114" fmla="*/ 922 w 1165"/>
              <a:gd name="T115" fmla="*/ 252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65" h="1065">
                <a:moveTo>
                  <a:pt x="922" y="252"/>
                </a:moveTo>
                <a:lnTo>
                  <a:pt x="922" y="252"/>
                </a:lnTo>
                <a:lnTo>
                  <a:pt x="921" y="221"/>
                </a:lnTo>
                <a:lnTo>
                  <a:pt x="921" y="194"/>
                </a:lnTo>
                <a:lnTo>
                  <a:pt x="919" y="169"/>
                </a:lnTo>
                <a:lnTo>
                  <a:pt x="916" y="148"/>
                </a:lnTo>
                <a:lnTo>
                  <a:pt x="912" y="129"/>
                </a:lnTo>
                <a:lnTo>
                  <a:pt x="906" y="113"/>
                </a:lnTo>
                <a:lnTo>
                  <a:pt x="900" y="98"/>
                </a:lnTo>
                <a:lnTo>
                  <a:pt x="896" y="92"/>
                </a:lnTo>
                <a:lnTo>
                  <a:pt x="892" y="86"/>
                </a:lnTo>
                <a:lnTo>
                  <a:pt x="888" y="81"/>
                </a:lnTo>
                <a:lnTo>
                  <a:pt x="883" y="77"/>
                </a:lnTo>
                <a:lnTo>
                  <a:pt x="877" y="73"/>
                </a:lnTo>
                <a:lnTo>
                  <a:pt x="872" y="69"/>
                </a:lnTo>
                <a:lnTo>
                  <a:pt x="857" y="63"/>
                </a:lnTo>
                <a:lnTo>
                  <a:pt x="842" y="58"/>
                </a:lnTo>
                <a:lnTo>
                  <a:pt x="825" y="54"/>
                </a:lnTo>
                <a:lnTo>
                  <a:pt x="804" y="51"/>
                </a:lnTo>
                <a:lnTo>
                  <a:pt x="782" y="50"/>
                </a:lnTo>
                <a:lnTo>
                  <a:pt x="756" y="50"/>
                </a:lnTo>
                <a:lnTo>
                  <a:pt x="756" y="0"/>
                </a:lnTo>
                <a:lnTo>
                  <a:pt x="1165" y="0"/>
                </a:lnTo>
                <a:lnTo>
                  <a:pt x="1165" y="50"/>
                </a:lnTo>
                <a:lnTo>
                  <a:pt x="1165" y="50"/>
                </a:lnTo>
                <a:lnTo>
                  <a:pt x="1139" y="50"/>
                </a:lnTo>
                <a:lnTo>
                  <a:pt x="1116" y="51"/>
                </a:lnTo>
                <a:lnTo>
                  <a:pt x="1096" y="54"/>
                </a:lnTo>
                <a:lnTo>
                  <a:pt x="1078" y="58"/>
                </a:lnTo>
                <a:lnTo>
                  <a:pt x="1062" y="63"/>
                </a:lnTo>
                <a:lnTo>
                  <a:pt x="1049" y="69"/>
                </a:lnTo>
                <a:lnTo>
                  <a:pt x="1042" y="73"/>
                </a:lnTo>
                <a:lnTo>
                  <a:pt x="1037" y="77"/>
                </a:lnTo>
                <a:lnTo>
                  <a:pt x="1032" y="81"/>
                </a:lnTo>
                <a:lnTo>
                  <a:pt x="1028" y="86"/>
                </a:lnTo>
                <a:lnTo>
                  <a:pt x="1023" y="92"/>
                </a:lnTo>
                <a:lnTo>
                  <a:pt x="1020" y="98"/>
                </a:lnTo>
                <a:lnTo>
                  <a:pt x="1014" y="113"/>
                </a:lnTo>
                <a:lnTo>
                  <a:pt x="1009" y="129"/>
                </a:lnTo>
                <a:lnTo>
                  <a:pt x="1005" y="148"/>
                </a:lnTo>
                <a:lnTo>
                  <a:pt x="1002" y="169"/>
                </a:lnTo>
                <a:lnTo>
                  <a:pt x="1000" y="194"/>
                </a:lnTo>
                <a:lnTo>
                  <a:pt x="999" y="221"/>
                </a:lnTo>
                <a:lnTo>
                  <a:pt x="999" y="252"/>
                </a:lnTo>
                <a:lnTo>
                  <a:pt x="999" y="1065"/>
                </a:lnTo>
                <a:lnTo>
                  <a:pt x="955" y="1065"/>
                </a:lnTo>
                <a:lnTo>
                  <a:pt x="242" y="212"/>
                </a:lnTo>
                <a:lnTo>
                  <a:pt x="242" y="783"/>
                </a:lnTo>
                <a:lnTo>
                  <a:pt x="242" y="783"/>
                </a:lnTo>
                <a:lnTo>
                  <a:pt x="242" y="814"/>
                </a:lnTo>
                <a:lnTo>
                  <a:pt x="243" y="842"/>
                </a:lnTo>
                <a:lnTo>
                  <a:pt x="245" y="866"/>
                </a:lnTo>
                <a:lnTo>
                  <a:pt x="248" y="888"/>
                </a:lnTo>
                <a:lnTo>
                  <a:pt x="251" y="906"/>
                </a:lnTo>
                <a:lnTo>
                  <a:pt x="256" y="923"/>
                </a:lnTo>
                <a:lnTo>
                  <a:pt x="263" y="937"/>
                </a:lnTo>
                <a:lnTo>
                  <a:pt x="266" y="943"/>
                </a:lnTo>
                <a:lnTo>
                  <a:pt x="271" y="949"/>
                </a:lnTo>
                <a:lnTo>
                  <a:pt x="276" y="954"/>
                </a:lnTo>
                <a:lnTo>
                  <a:pt x="281" y="958"/>
                </a:lnTo>
                <a:lnTo>
                  <a:pt x="286" y="963"/>
                </a:lnTo>
                <a:lnTo>
                  <a:pt x="292" y="966"/>
                </a:lnTo>
                <a:lnTo>
                  <a:pt x="305" y="973"/>
                </a:lnTo>
                <a:lnTo>
                  <a:pt x="322" y="978"/>
                </a:lnTo>
                <a:lnTo>
                  <a:pt x="339" y="982"/>
                </a:lnTo>
                <a:lnTo>
                  <a:pt x="359" y="984"/>
                </a:lnTo>
                <a:lnTo>
                  <a:pt x="382" y="985"/>
                </a:lnTo>
                <a:lnTo>
                  <a:pt x="407" y="985"/>
                </a:lnTo>
                <a:lnTo>
                  <a:pt x="407" y="1035"/>
                </a:lnTo>
                <a:lnTo>
                  <a:pt x="0" y="1035"/>
                </a:lnTo>
                <a:lnTo>
                  <a:pt x="0" y="985"/>
                </a:lnTo>
                <a:lnTo>
                  <a:pt x="0" y="985"/>
                </a:lnTo>
                <a:lnTo>
                  <a:pt x="26" y="985"/>
                </a:lnTo>
                <a:lnTo>
                  <a:pt x="49" y="984"/>
                </a:lnTo>
                <a:lnTo>
                  <a:pt x="69" y="982"/>
                </a:lnTo>
                <a:lnTo>
                  <a:pt x="86" y="978"/>
                </a:lnTo>
                <a:lnTo>
                  <a:pt x="102" y="973"/>
                </a:lnTo>
                <a:lnTo>
                  <a:pt x="115" y="966"/>
                </a:lnTo>
                <a:lnTo>
                  <a:pt x="121" y="963"/>
                </a:lnTo>
                <a:lnTo>
                  <a:pt x="126" y="958"/>
                </a:lnTo>
                <a:lnTo>
                  <a:pt x="131" y="954"/>
                </a:lnTo>
                <a:lnTo>
                  <a:pt x="135" y="949"/>
                </a:lnTo>
                <a:lnTo>
                  <a:pt x="141" y="943"/>
                </a:lnTo>
                <a:lnTo>
                  <a:pt x="144" y="937"/>
                </a:lnTo>
                <a:lnTo>
                  <a:pt x="150" y="923"/>
                </a:lnTo>
                <a:lnTo>
                  <a:pt x="155" y="906"/>
                </a:lnTo>
                <a:lnTo>
                  <a:pt x="159" y="888"/>
                </a:lnTo>
                <a:lnTo>
                  <a:pt x="161" y="866"/>
                </a:lnTo>
                <a:lnTo>
                  <a:pt x="163" y="842"/>
                </a:lnTo>
                <a:lnTo>
                  <a:pt x="164" y="814"/>
                </a:lnTo>
                <a:lnTo>
                  <a:pt x="164" y="783"/>
                </a:lnTo>
                <a:lnTo>
                  <a:pt x="164" y="252"/>
                </a:lnTo>
                <a:lnTo>
                  <a:pt x="164" y="252"/>
                </a:lnTo>
                <a:lnTo>
                  <a:pt x="164" y="221"/>
                </a:lnTo>
                <a:lnTo>
                  <a:pt x="163" y="194"/>
                </a:lnTo>
                <a:lnTo>
                  <a:pt x="161" y="169"/>
                </a:lnTo>
                <a:lnTo>
                  <a:pt x="159" y="148"/>
                </a:lnTo>
                <a:lnTo>
                  <a:pt x="155" y="129"/>
                </a:lnTo>
                <a:lnTo>
                  <a:pt x="150" y="113"/>
                </a:lnTo>
                <a:lnTo>
                  <a:pt x="144" y="98"/>
                </a:lnTo>
                <a:lnTo>
                  <a:pt x="141" y="92"/>
                </a:lnTo>
                <a:lnTo>
                  <a:pt x="135" y="86"/>
                </a:lnTo>
                <a:lnTo>
                  <a:pt x="131" y="81"/>
                </a:lnTo>
                <a:lnTo>
                  <a:pt x="126" y="77"/>
                </a:lnTo>
                <a:lnTo>
                  <a:pt x="121" y="73"/>
                </a:lnTo>
                <a:lnTo>
                  <a:pt x="115" y="69"/>
                </a:lnTo>
                <a:lnTo>
                  <a:pt x="102" y="63"/>
                </a:lnTo>
                <a:lnTo>
                  <a:pt x="86" y="58"/>
                </a:lnTo>
                <a:lnTo>
                  <a:pt x="69" y="54"/>
                </a:lnTo>
                <a:lnTo>
                  <a:pt x="49" y="51"/>
                </a:lnTo>
                <a:lnTo>
                  <a:pt x="26" y="50"/>
                </a:lnTo>
                <a:lnTo>
                  <a:pt x="0" y="50"/>
                </a:lnTo>
                <a:lnTo>
                  <a:pt x="0" y="0"/>
                </a:lnTo>
                <a:lnTo>
                  <a:pt x="345" y="0"/>
                </a:lnTo>
                <a:lnTo>
                  <a:pt x="922" y="686"/>
                </a:lnTo>
                <a:lnTo>
                  <a:pt x="922" y="252"/>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61" name="Freeform 12">
            <a:extLst>
              <a:ext uri="{FF2B5EF4-FFF2-40B4-BE49-F238E27FC236}">
                <a16:creationId xmlns:a16="http://schemas.microsoft.com/office/drawing/2014/main" id="{C4E87749-D64C-2547-9F7D-FD3F337B06D0}"/>
              </a:ext>
            </a:extLst>
          </p:cNvPr>
          <p:cNvSpPr>
            <a:spLocks/>
          </p:cNvSpPr>
          <p:nvPr userDrawn="1"/>
        </p:nvSpPr>
        <p:spPr bwMode="auto">
          <a:xfrm>
            <a:off x="2636838" y="893764"/>
            <a:ext cx="127000" cy="136525"/>
          </a:xfrm>
          <a:custGeom>
            <a:avLst/>
            <a:gdLst>
              <a:gd name="T0" fmla="*/ 25 w 959"/>
              <a:gd name="T1" fmla="*/ 985 h 1035"/>
              <a:gd name="T2" fmla="*/ 86 w 959"/>
              <a:gd name="T3" fmla="*/ 978 h 1035"/>
              <a:gd name="T4" fmla="*/ 120 w 959"/>
              <a:gd name="T5" fmla="*/ 963 h 1035"/>
              <a:gd name="T6" fmla="*/ 136 w 959"/>
              <a:gd name="T7" fmla="*/ 949 h 1035"/>
              <a:gd name="T8" fmla="*/ 150 w 959"/>
              <a:gd name="T9" fmla="*/ 923 h 1035"/>
              <a:gd name="T10" fmla="*/ 161 w 959"/>
              <a:gd name="T11" fmla="*/ 866 h 1035"/>
              <a:gd name="T12" fmla="*/ 163 w 959"/>
              <a:gd name="T13" fmla="*/ 783 h 1035"/>
              <a:gd name="T14" fmla="*/ 163 w 959"/>
              <a:gd name="T15" fmla="*/ 221 h 1035"/>
              <a:gd name="T16" fmla="*/ 158 w 959"/>
              <a:gd name="T17" fmla="*/ 148 h 1035"/>
              <a:gd name="T18" fmla="*/ 143 w 959"/>
              <a:gd name="T19" fmla="*/ 98 h 1035"/>
              <a:gd name="T20" fmla="*/ 131 w 959"/>
              <a:gd name="T21" fmla="*/ 81 h 1035"/>
              <a:gd name="T22" fmla="*/ 114 w 959"/>
              <a:gd name="T23" fmla="*/ 69 h 1035"/>
              <a:gd name="T24" fmla="*/ 68 w 959"/>
              <a:gd name="T25" fmla="*/ 54 h 1035"/>
              <a:gd name="T26" fmla="*/ 0 w 959"/>
              <a:gd name="T27" fmla="*/ 50 h 1035"/>
              <a:gd name="T28" fmla="*/ 902 w 959"/>
              <a:gd name="T29" fmla="*/ 244 h 1035"/>
              <a:gd name="T30" fmla="*/ 843 w 959"/>
              <a:gd name="T31" fmla="*/ 209 h 1035"/>
              <a:gd name="T32" fmla="*/ 824 w 959"/>
              <a:gd name="T33" fmla="*/ 150 h 1035"/>
              <a:gd name="T34" fmla="*/ 803 w 959"/>
              <a:gd name="T35" fmla="*/ 118 h 1035"/>
              <a:gd name="T36" fmla="*/ 770 w 959"/>
              <a:gd name="T37" fmla="*/ 95 h 1035"/>
              <a:gd name="T38" fmla="*/ 719 w 959"/>
              <a:gd name="T39" fmla="*/ 82 h 1035"/>
              <a:gd name="T40" fmla="*/ 643 w 959"/>
              <a:gd name="T41" fmla="*/ 78 h 1035"/>
              <a:gd name="T42" fmla="*/ 474 w 959"/>
              <a:gd name="T43" fmla="*/ 449 h 1035"/>
              <a:gd name="T44" fmla="*/ 532 w 959"/>
              <a:gd name="T45" fmla="*/ 447 h 1035"/>
              <a:gd name="T46" fmla="*/ 597 w 959"/>
              <a:gd name="T47" fmla="*/ 439 h 1035"/>
              <a:gd name="T48" fmla="*/ 634 w 959"/>
              <a:gd name="T49" fmla="*/ 424 h 1035"/>
              <a:gd name="T50" fmla="*/ 649 w 959"/>
              <a:gd name="T51" fmla="*/ 410 h 1035"/>
              <a:gd name="T52" fmla="*/ 662 w 959"/>
              <a:gd name="T53" fmla="*/ 385 h 1035"/>
              <a:gd name="T54" fmla="*/ 673 w 959"/>
              <a:gd name="T55" fmla="*/ 332 h 1035"/>
              <a:gd name="T56" fmla="*/ 725 w 959"/>
              <a:gd name="T57" fmla="*/ 283 h 1035"/>
              <a:gd name="T58" fmla="*/ 675 w 959"/>
              <a:gd name="T59" fmla="*/ 691 h 1035"/>
              <a:gd name="T60" fmla="*/ 671 w 959"/>
              <a:gd name="T61" fmla="*/ 623 h 1035"/>
              <a:gd name="T62" fmla="*/ 656 w 959"/>
              <a:gd name="T63" fmla="*/ 576 h 1035"/>
              <a:gd name="T64" fmla="*/ 644 w 959"/>
              <a:gd name="T65" fmla="*/ 560 h 1035"/>
              <a:gd name="T66" fmla="*/ 628 w 959"/>
              <a:gd name="T67" fmla="*/ 547 h 1035"/>
              <a:gd name="T68" fmla="*/ 578 w 959"/>
              <a:gd name="T69" fmla="*/ 532 h 1035"/>
              <a:gd name="T70" fmla="*/ 505 w 959"/>
              <a:gd name="T71" fmla="*/ 527 h 1035"/>
              <a:gd name="T72" fmla="*/ 379 w 959"/>
              <a:gd name="T73" fmla="*/ 756 h 1035"/>
              <a:gd name="T74" fmla="*/ 380 w 959"/>
              <a:gd name="T75" fmla="*/ 814 h 1035"/>
              <a:gd name="T76" fmla="*/ 389 w 959"/>
              <a:gd name="T77" fmla="*/ 879 h 1035"/>
              <a:gd name="T78" fmla="*/ 405 w 959"/>
              <a:gd name="T79" fmla="*/ 915 h 1035"/>
              <a:gd name="T80" fmla="*/ 418 w 959"/>
              <a:gd name="T81" fmla="*/ 932 h 1035"/>
              <a:gd name="T82" fmla="*/ 444 w 959"/>
              <a:gd name="T83" fmla="*/ 946 h 1035"/>
              <a:gd name="T84" fmla="*/ 497 w 959"/>
              <a:gd name="T85" fmla="*/ 956 h 1035"/>
              <a:gd name="T86" fmla="*/ 700 w 959"/>
              <a:gd name="T87" fmla="*/ 957 h 1035"/>
              <a:gd name="T88" fmla="*/ 753 w 959"/>
              <a:gd name="T89" fmla="*/ 955 h 1035"/>
              <a:gd name="T90" fmla="*/ 813 w 959"/>
              <a:gd name="T91" fmla="*/ 946 h 1035"/>
              <a:gd name="T92" fmla="*/ 852 w 959"/>
              <a:gd name="T93" fmla="*/ 927 h 1035"/>
              <a:gd name="T94" fmla="*/ 876 w 959"/>
              <a:gd name="T95" fmla="*/ 897 h 1035"/>
              <a:gd name="T96" fmla="*/ 891 w 959"/>
              <a:gd name="T97" fmla="*/ 858 h 1035"/>
              <a:gd name="T98" fmla="*/ 959 w 959"/>
              <a:gd name="T99" fmla="*/ 792 h 1035"/>
              <a:gd name="T100" fmla="*/ 0 w 959"/>
              <a:gd name="T101" fmla="*/ 985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59" h="1035">
                <a:moveTo>
                  <a:pt x="0" y="985"/>
                </a:moveTo>
                <a:lnTo>
                  <a:pt x="0" y="985"/>
                </a:lnTo>
                <a:lnTo>
                  <a:pt x="25" y="985"/>
                </a:lnTo>
                <a:lnTo>
                  <a:pt x="48" y="984"/>
                </a:lnTo>
                <a:lnTo>
                  <a:pt x="68" y="982"/>
                </a:lnTo>
                <a:lnTo>
                  <a:pt x="86" y="978"/>
                </a:lnTo>
                <a:lnTo>
                  <a:pt x="101" y="973"/>
                </a:lnTo>
                <a:lnTo>
                  <a:pt x="114" y="966"/>
                </a:lnTo>
                <a:lnTo>
                  <a:pt x="120" y="963"/>
                </a:lnTo>
                <a:lnTo>
                  <a:pt x="126" y="958"/>
                </a:lnTo>
                <a:lnTo>
                  <a:pt x="131" y="954"/>
                </a:lnTo>
                <a:lnTo>
                  <a:pt x="136" y="949"/>
                </a:lnTo>
                <a:lnTo>
                  <a:pt x="140" y="943"/>
                </a:lnTo>
                <a:lnTo>
                  <a:pt x="143" y="937"/>
                </a:lnTo>
                <a:lnTo>
                  <a:pt x="150" y="923"/>
                </a:lnTo>
                <a:lnTo>
                  <a:pt x="154" y="906"/>
                </a:lnTo>
                <a:lnTo>
                  <a:pt x="158" y="888"/>
                </a:lnTo>
                <a:lnTo>
                  <a:pt x="161" y="866"/>
                </a:lnTo>
                <a:lnTo>
                  <a:pt x="162" y="842"/>
                </a:lnTo>
                <a:lnTo>
                  <a:pt x="163" y="814"/>
                </a:lnTo>
                <a:lnTo>
                  <a:pt x="163" y="783"/>
                </a:lnTo>
                <a:lnTo>
                  <a:pt x="163" y="252"/>
                </a:lnTo>
                <a:lnTo>
                  <a:pt x="163" y="252"/>
                </a:lnTo>
                <a:lnTo>
                  <a:pt x="163" y="221"/>
                </a:lnTo>
                <a:lnTo>
                  <a:pt x="162" y="194"/>
                </a:lnTo>
                <a:lnTo>
                  <a:pt x="161" y="169"/>
                </a:lnTo>
                <a:lnTo>
                  <a:pt x="158" y="148"/>
                </a:lnTo>
                <a:lnTo>
                  <a:pt x="154" y="129"/>
                </a:lnTo>
                <a:lnTo>
                  <a:pt x="150" y="113"/>
                </a:lnTo>
                <a:lnTo>
                  <a:pt x="143" y="98"/>
                </a:lnTo>
                <a:lnTo>
                  <a:pt x="140" y="92"/>
                </a:lnTo>
                <a:lnTo>
                  <a:pt x="136" y="86"/>
                </a:lnTo>
                <a:lnTo>
                  <a:pt x="131" y="81"/>
                </a:lnTo>
                <a:lnTo>
                  <a:pt x="126" y="77"/>
                </a:lnTo>
                <a:lnTo>
                  <a:pt x="120" y="73"/>
                </a:lnTo>
                <a:lnTo>
                  <a:pt x="114" y="69"/>
                </a:lnTo>
                <a:lnTo>
                  <a:pt x="101" y="63"/>
                </a:lnTo>
                <a:lnTo>
                  <a:pt x="86" y="58"/>
                </a:lnTo>
                <a:lnTo>
                  <a:pt x="68" y="54"/>
                </a:lnTo>
                <a:lnTo>
                  <a:pt x="48" y="51"/>
                </a:lnTo>
                <a:lnTo>
                  <a:pt x="25" y="50"/>
                </a:lnTo>
                <a:lnTo>
                  <a:pt x="0" y="50"/>
                </a:lnTo>
                <a:lnTo>
                  <a:pt x="0" y="0"/>
                </a:lnTo>
                <a:lnTo>
                  <a:pt x="888" y="0"/>
                </a:lnTo>
                <a:lnTo>
                  <a:pt x="902" y="244"/>
                </a:lnTo>
                <a:lnTo>
                  <a:pt x="852" y="244"/>
                </a:lnTo>
                <a:lnTo>
                  <a:pt x="843" y="209"/>
                </a:lnTo>
                <a:lnTo>
                  <a:pt x="843" y="209"/>
                </a:lnTo>
                <a:lnTo>
                  <a:pt x="834" y="177"/>
                </a:lnTo>
                <a:lnTo>
                  <a:pt x="830" y="163"/>
                </a:lnTo>
                <a:lnTo>
                  <a:pt x="824" y="150"/>
                </a:lnTo>
                <a:lnTo>
                  <a:pt x="818" y="138"/>
                </a:lnTo>
                <a:lnTo>
                  <a:pt x="812" y="127"/>
                </a:lnTo>
                <a:lnTo>
                  <a:pt x="803" y="118"/>
                </a:lnTo>
                <a:lnTo>
                  <a:pt x="794" y="109"/>
                </a:lnTo>
                <a:lnTo>
                  <a:pt x="783" y="101"/>
                </a:lnTo>
                <a:lnTo>
                  <a:pt x="770" y="95"/>
                </a:lnTo>
                <a:lnTo>
                  <a:pt x="755" y="90"/>
                </a:lnTo>
                <a:lnTo>
                  <a:pt x="738" y="85"/>
                </a:lnTo>
                <a:lnTo>
                  <a:pt x="719" y="82"/>
                </a:lnTo>
                <a:lnTo>
                  <a:pt x="696" y="80"/>
                </a:lnTo>
                <a:lnTo>
                  <a:pt x="672" y="78"/>
                </a:lnTo>
                <a:lnTo>
                  <a:pt x="643" y="78"/>
                </a:lnTo>
                <a:lnTo>
                  <a:pt x="379" y="78"/>
                </a:lnTo>
                <a:lnTo>
                  <a:pt x="379" y="449"/>
                </a:lnTo>
                <a:lnTo>
                  <a:pt x="474" y="449"/>
                </a:lnTo>
                <a:lnTo>
                  <a:pt x="474" y="449"/>
                </a:lnTo>
                <a:lnTo>
                  <a:pt x="505" y="448"/>
                </a:lnTo>
                <a:lnTo>
                  <a:pt x="532" y="447"/>
                </a:lnTo>
                <a:lnTo>
                  <a:pt x="557" y="446"/>
                </a:lnTo>
                <a:lnTo>
                  <a:pt x="578" y="443"/>
                </a:lnTo>
                <a:lnTo>
                  <a:pt x="597" y="439"/>
                </a:lnTo>
                <a:lnTo>
                  <a:pt x="613" y="434"/>
                </a:lnTo>
                <a:lnTo>
                  <a:pt x="628" y="428"/>
                </a:lnTo>
                <a:lnTo>
                  <a:pt x="634" y="424"/>
                </a:lnTo>
                <a:lnTo>
                  <a:pt x="639" y="419"/>
                </a:lnTo>
                <a:lnTo>
                  <a:pt x="644" y="415"/>
                </a:lnTo>
                <a:lnTo>
                  <a:pt x="649" y="410"/>
                </a:lnTo>
                <a:lnTo>
                  <a:pt x="653" y="404"/>
                </a:lnTo>
                <a:lnTo>
                  <a:pt x="656" y="398"/>
                </a:lnTo>
                <a:lnTo>
                  <a:pt x="662" y="385"/>
                </a:lnTo>
                <a:lnTo>
                  <a:pt x="667" y="369"/>
                </a:lnTo>
                <a:lnTo>
                  <a:pt x="671" y="352"/>
                </a:lnTo>
                <a:lnTo>
                  <a:pt x="673" y="332"/>
                </a:lnTo>
                <a:lnTo>
                  <a:pt x="674" y="309"/>
                </a:lnTo>
                <a:lnTo>
                  <a:pt x="675" y="283"/>
                </a:lnTo>
                <a:lnTo>
                  <a:pt x="725" y="283"/>
                </a:lnTo>
                <a:lnTo>
                  <a:pt x="725" y="691"/>
                </a:lnTo>
                <a:lnTo>
                  <a:pt x="675" y="691"/>
                </a:lnTo>
                <a:lnTo>
                  <a:pt x="675" y="691"/>
                </a:lnTo>
                <a:lnTo>
                  <a:pt x="674" y="666"/>
                </a:lnTo>
                <a:lnTo>
                  <a:pt x="673" y="643"/>
                </a:lnTo>
                <a:lnTo>
                  <a:pt x="671" y="623"/>
                </a:lnTo>
                <a:lnTo>
                  <a:pt x="667" y="605"/>
                </a:lnTo>
                <a:lnTo>
                  <a:pt x="662" y="589"/>
                </a:lnTo>
                <a:lnTo>
                  <a:pt x="656" y="576"/>
                </a:lnTo>
                <a:lnTo>
                  <a:pt x="653" y="570"/>
                </a:lnTo>
                <a:lnTo>
                  <a:pt x="649" y="565"/>
                </a:lnTo>
                <a:lnTo>
                  <a:pt x="644" y="560"/>
                </a:lnTo>
                <a:lnTo>
                  <a:pt x="639" y="554"/>
                </a:lnTo>
                <a:lnTo>
                  <a:pt x="634" y="550"/>
                </a:lnTo>
                <a:lnTo>
                  <a:pt x="628" y="547"/>
                </a:lnTo>
                <a:lnTo>
                  <a:pt x="613" y="540"/>
                </a:lnTo>
                <a:lnTo>
                  <a:pt x="597" y="536"/>
                </a:lnTo>
                <a:lnTo>
                  <a:pt x="578" y="532"/>
                </a:lnTo>
                <a:lnTo>
                  <a:pt x="557" y="529"/>
                </a:lnTo>
                <a:lnTo>
                  <a:pt x="532" y="528"/>
                </a:lnTo>
                <a:lnTo>
                  <a:pt x="505" y="527"/>
                </a:lnTo>
                <a:lnTo>
                  <a:pt x="474" y="527"/>
                </a:lnTo>
                <a:lnTo>
                  <a:pt x="379" y="527"/>
                </a:lnTo>
                <a:lnTo>
                  <a:pt x="379" y="756"/>
                </a:lnTo>
                <a:lnTo>
                  <a:pt x="379" y="756"/>
                </a:lnTo>
                <a:lnTo>
                  <a:pt x="379" y="787"/>
                </a:lnTo>
                <a:lnTo>
                  <a:pt x="380" y="814"/>
                </a:lnTo>
                <a:lnTo>
                  <a:pt x="382" y="839"/>
                </a:lnTo>
                <a:lnTo>
                  <a:pt x="385" y="860"/>
                </a:lnTo>
                <a:lnTo>
                  <a:pt x="389" y="879"/>
                </a:lnTo>
                <a:lnTo>
                  <a:pt x="394" y="896"/>
                </a:lnTo>
                <a:lnTo>
                  <a:pt x="401" y="909"/>
                </a:lnTo>
                <a:lnTo>
                  <a:pt x="405" y="915"/>
                </a:lnTo>
                <a:lnTo>
                  <a:pt x="409" y="921"/>
                </a:lnTo>
                <a:lnTo>
                  <a:pt x="413" y="927"/>
                </a:lnTo>
                <a:lnTo>
                  <a:pt x="418" y="932"/>
                </a:lnTo>
                <a:lnTo>
                  <a:pt x="424" y="936"/>
                </a:lnTo>
                <a:lnTo>
                  <a:pt x="429" y="939"/>
                </a:lnTo>
                <a:lnTo>
                  <a:pt x="444" y="946"/>
                </a:lnTo>
                <a:lnTo>
                  <a:pt x="459" y="950"/>
                </a:lnTo>
                <a:lnTo>
                  <a:pt x="476" y="954"/>
                </a:lnTo>
                <a:lnTo>
                  <a:pt x="497" y="956"/>
                </a:lnTo>
                <a:lnTo>
                  <a:pt x="519" y="957"/>
                </a:lnTo>
                <a:lnTo>
                  <a:pt x="545" y="957"/>
                </a:lnTo>
                <a:lnTo>
                  <a:pt x="700" y="957"/>
                </a:lnTo>
                <a:lnTo>
                  <a:pt x="700" y="957"/>
                </a:lnTo>
                <a:lnTo>
                  <a:pt x="729" y="957"/>
                </a:lnTo>
                <a:lnTo>
                  <a:pt x="753" y="955"/>
                </a:lnTo>
                <a:lnTo>
                  <a:pt x="776" y="953"/>
                </a:lnTo>
                <a:lnTo>
                  <a:pt x="795" y="950"/>
                </a:lnTo>
                <a:lnTo>
                  <a:pt x="813" y="946"/>
                </a:lnTo>
                <a:lnTo>
                  <a:pt x="827" y="940"/>
                </a:lnTo>
                <a:lnTo>
                  <a:pt x="840" y="934"/>
                </a:lnTo>
                <a:lnTo>
                  <a:pt x="852" y="927"/>
                </a:lnTo>
                <a:lnTo>
                  <a:pt x="861" y="917"/>
                </a:lnTo>
                <a:lnTo>
                  <a:pt x="869" y="908"/>
                </a:lnTo>
                <a:lnTo>
                  <a:pt x="876" y="897"/>
                </a:lnTo>
                <a:lnTo>
                  <a:pt x="882" y="886"/>
                </a:lnTo>
                <a:lnTo>
                  <a:pt x="887" y="872"/>
                </a:lnTo>
                <a:lnTo>
                  <a:pt x="891" y="858"/>
                </a:lnTo>
                <a:lnTo>
                  <a:pt x="901" y="826"/>
                </a:lnTo>
                <a:lnTo>
                  <a:pt x="909" y="792"/>
                </a:lnTo>
                <a:lnTo>
                  <a:pt x="959" y="792"/>
                </a:lnTo>
                <a:lnTo>
                  <a:pt x="946" y="1035"/>
                </a:lnTo>
                <a:lnTo>
                  <a:pt x="0" y="1035"/>
                </a:lnTo>
                <a:lnTo>
                  <a:pt x="0" y="985"/>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62" name="Freeform 13">
            <a:extLst>
              <a:ext uri="{FF2B5EF4-FFF2-40B4-BE49-F238E27FC236}">
                <a16:creationId xmlns:a16="http://schemas.microsoft.com/office/drawing/2014/main" id="{985C0882-23D9-8349-8EFD-8B68F98ECE6E}"/>
              </a:ext>
            </a:extLst>
          </p:cNvPr>
          <p:cNvSpPr>
            <a:spLocks/>
          </p:cNvSpPr>
          <p:nvPr userDrawn="1"/>
        </p:nvSpPr>
        <p:spPr bwMode="auto">
          <a:xfrm>
            <a:off x="2798763" y="893763"/>
            <a:ext cx="152400" cy="141288"/>
          </a:xfrm>
          <a:custGeom>
            <a:avLst/>
            <a:gdLst>
              <a:gd name="T0" fmla="*/ 1159 w 1159"/>
              <a:gd name="T1" fmla="*/ 50 h 1065"/>
              <a:gd name="T2" fmla="*/ 1091 w 1159"/>
              <a:gd name="T3" fmla="*/ 54 h 1065"/>
              <a:gd name="T4" fmla="*/ 1039 w 1159"/>
              <a:gd name="T5" fmla="*/ 73 h 1065"/>
              <a:gd name="T6" fmla="*/ 1019 w 1159"/>
              <a:gd name="T7" fmla="*/ 92 h 1065"/>
              <a:gd name="T8" fmla="*/ 1001 w 1159"/>
              <a:gd name="T9" fmla="*/ 148 h 1065"/>
              <a:gd name="T10" fmla="*/ 996 w 1159"/>
              <a:gd name="T11" fmla="*/ 252 h 1065"/>
              <a:gd name="T12" fmla="*/ 994 w 1159"/>
              <a:gd name="T13" fmla="*/ 700 h 1065"/>
              <a:gd name="T14" fmla="*/ 976 w 1159"/>
              <a:gd name="T15" fmla="*/ 790 h 1065"/>
              <a:gd name="T16" fmla="*/ 944 w 1159"/>
              <a:gd name="T17" fmla="*/ 866 h 1065"/>
              <a:gd name="T18" fmla="*/ 899 w 1159"/>
              <a:gd name="T19" fmla="*/ 932 h 1065"/>
              <a:gd name="T20" fmla="*/ 843 w 1159"/>
              <a:gd name="T21" fmla="*/ 984 h 1065"/>
              <a:gd name="T22" fmla="*/ 777 w 1159"/>
              <a:gd name="T23" fmla="*/ 1023 h 1065"/>
              <a:gd name="T24" fmla="*/ 702 w 1159"/>
              <a:gd name="T25" fmla="*/ 1049 h 1065"/>
              <a:gd name="T26" fmla="*/ 621 w 1159"/>
              <a:gd name="T27" fmla="*/ 1063 h 1065"/>
              <a:gd name="T28" fmla="*/ 558 w 1159"/>
              <a:gd name="T29" fmla="*/ 1065 h 1065"/>
              <a:gd name="T30" fmla="*/ 476 w 1159"/>
              <a:gd name="T31" fmla="*/ 1054 h 1065"/>
              <a:gd name="T32" fmla="*/ 399 w 1159"/>
              <a:gd name="T33" fmla="*/ 1031 h 1065"/>
              <a:gd name="T34" fmla="*/ 331 w 1159"/>
              <a:gd name="T35" fmla="*/ 995 h 1065"/>
              <a:gd name="T36" fmla="*/ 273 w 1159"/>
              <a:gd name="T37" fmla="*/ 946 h 1065"/>
              <a:gd name="T38" fmla="*/ 226 w 1159"/>
              <a:gd name="T39" fmla="*/ 884 h 1065"/>
              <a:gd name="T40" fmla="*/ 191 w 1159"/>
              <a:gd name="T41" fmla="*/ 810 h 1065"/>
              <a:gd name="T42" fmla="*/ 170 w 1159"/>
              <a:gd name="T43" fmla="*/ 723 h 1065"/>
              <a:gd name="T44" fmla="*/ 165 w 1159"/>
              <a:gd name="T45" fmla="*/ 252 h 1065"/>
              <a:gd name="T46" fmla="*/ 162 w 1159"/>
              <a:gd name="T47" fmla="*/ 169 h 1065"/>
              <a:gd name="T48" fmla="*/ 145 w 1159"/>
              <a:gd name="T49" fmla="*/ 98 h 1065"/>
              <a:gd name="T50" fmla="*/ 126 w 1159"/>
              <a:gd name="T51" fmla="*/ 77 h 1065"/>
              <a:gd name="T52" fmla="*/ 87 w 1159"/>
              <a:gd name="T53" fmla="*/ 58 h 1065"/>
              <a:gd name="T54" fmla="*/ 0 w 1159"/>
              <a:gd name="T55" fmla="*/ 50 h 1065"/>
              <a:gd name="T56" fmla="*/ 547 w 1159"/>
              <a:gd name="T57" fmla="*/ 50 h 1065"/>
              <a:gd name="T58" fmla="*/ 460 w 1159"/>
              <a:gd name="T59" fmla="*/ 58 h 1065"/>
              <a:gd name="T60" fmla="*/ 419 w 1159"/>
              <a:gd name="T61" fmla="*/ 77 h 1065"/>
              <a:gd name="T62" fmla="*/ 402 w 1159"/>
              <a:gd name="T63" fmla="*/ 98 h 1065"/>
              <a:gd name="T64" fmla="*/ 384 w 1159"/>
              <a:gd name="T65" fmla="*/ 169 h 1065"/>
              <a:gd name="T66" fmla="*/ 381 w 1159"/>
              <a:gd name="T67" fmla="*/ 631 h 1065"/>
              <a:gd name="T68" fmla="*/ 384 w 1159"/>
              <a:gd name="T69" fmla="*/ 691 h 1065"/>
              <a:gd name="T70" fmla="*/ 397 w 1159"/>
              <a:gd name="T71" fmla="*/ 761 h 1065"/>
              <a:gd name="T72" fmla="*/ 420 w 1159"/>
              <a:gd name="T73" fmla="*/ 819 h 1065"/>
              <a:gd name="T74" fmla="*/ 451 w 1159"/>
              <a:gd name="T75" fmla="*/ 867 h 1065"/>
              <a:gd name="T76" fmla="*/ 488 w 1159"/>
              <a:gd name="T77" fmla="*/ 905 h 1065"/>
              <a:gd name="T78" fmla="*/ 532 w 1159"/>
              <a:gd name="T79" fmla="*/ 933 h 1065"/>
              <a:gd name="T80" fmla="*/ 581 w 1159"/>
              <a:gd name="T81" fmla="*/ 950 h 1065"/>
              <a:gd name="T82" fmla="*/ 635 w 1159"/>
              <a:gd name="T83" fmla="*/ 957 h 1065"/>
              <a:gd name="T84" fmla="*/ 676 w 1159"/>
              <a:gd name="T85" fmla="*/ 956 h 1065"/>
              <a:gd name="T86" fmla="*/ 727 w 1159"/>
              <a:gd name="T87" fmla="*/ 947 h 1065"/>
              <a:gd name="T88" fmla="*/ 773 w 1159"/>
              <a:gd name="T89" fmla="*/ 927 h 1065"/>
              <a:gd name="T90" fmla="*/ 814 w 1159"/>
              <a:gd name="T91" fmla="*/ 897 h 1065"/>
              <a:gd name="T92" fmla="*/ 847 w 1159"/>
              <a:gd name="T93" fmla="*/ 857 h 1065"/>
              <a:gd name="T94" fmla="*/ 873 w 1159"/>
              <a:gd name="T95" fmla="*/ 806 h 1065"/>
              <a:gd name="T96" fmla="*/ 891 w 1159"/>
              <a:gd name="T97" fmla="*/ 745 h 1065"/>
              <a:gd name="T98" fmla="*/ 901 w 1159"/>
              <a:gd name="T99" fmla="*/ 672 h 1065"/>
              <a:gd name="T100" fmla="*/ 903 w 1159"/>
              <a:gd name="T101" fmla="*/ 252 h 1065"/>
              <a:gd name="T102" fmla="*/ 896 w 1159"/>
              <a:gd name="T103" fmla="*/ 148 h 1065"/>
              <a:gd name="T104" fmla="*/ 878 w 1159"/>
              <a:gd name="T105" fmla="*/ 92 h 1065"/>
              <a:gd name="T106" fmla="*/ 859 w 1159"/>
              <a:gd name="T107" fmla="*/ 73 h 1065"/>
              <a:gd name="T108" fmla="*/ 805 w 1159"/>
              <a:gd name="T109" fmla="*/ 54 h 1065"/>
              <a:gd name="T110" fmla="*/ 737 w 1159"/>
              <a:gd name="T111" fmla="*/ 50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59" h="1065">
                <a:moveTo>
                  <a:pt x="737" y="50"/>
                </a:moveTo>
                <a:lnTo>
                  <a:pt x="737" y="0"/>
                </a:lnTo>
                <a:lnTo>
                  <a:pt x="1159" y="0"/>
                </a:lnTo>
                <a:lnTo>
                  <a:pt x="1159" y="50"/>
                </a:lnTo>
                <a:lnTo>
                  <a:pt x="1159" y="50"/>
                </a:lnTo>
                <a:lnTo>
                  <a:pt x="1134" y="50"/>
                </a:lnTo>
                <a:lnTo>
                  <a:pt x="1111" y="51"/>
                </a:lnTo>
                <a:lnTo>
                  <a:pt x="1091" y="54"/>
                </a:lnTo>
                <a:lnTo>
                  <a:pt x="1073" y="58"/>
                </a:lnTo>
                <a:lnTo>
                  <a:pt x="1058" y="63"/>
                </a:lnTo>
                <a:lnTo>
                  <a:pt x="1045" y="69"/>
                </a:lnTo>
                <a:lnTo>
                  <a:pt x="1039" y="73"/>
                </a:lnTo>
                <a:lnTo>
                  <a:pt x="1033" y="77"/>
                </a:lnTo>
                <a:lnTo>
                  <a:pt x="1028" y="81"/>
                </a:lnTo>
                <a:lnTo>
                  <a:pt x="1023" y="86"/>
                </a:lnTo>
                <a:lnTo>
                  <a:pt x="1019" y="92"/>
                </a:lnTo>
                <a:lnTo>
                  <a:pt x="1016" y="98"/>
                </a:lnTo>
                <a:lnTo>
                  <a:pt x="1009" y="113"/>
                </a:lnTo>
                <a:lnTo>
                  <a:pt x="1005" y="129"/>
                </a:lnTo>
                <a:lnTo>
                  <a:pt x="1001" y="148"/>
                </a:lnTo>
                <a:lnTo>
                  <a:pt x="998" y="169"/>
                </a:lnTo>
                <a:lnTo>
                  <a:pt x="997" y="194"/>
                </a:lnTo>
                <a:lnTo>
                  <a:pt x="996" y="221"/>
                </a:lnTo>
                <a:lnTo>
                  <a:pt x="996" y="252"/>
                </a:lnTo>
                <a:lnTo>
                  <a:pt x="996" y="651"/>
                </a:lnTo>
                <a:lnTo>
                  <a:pt x="996" y="651"/>
                </a:lnTo>
                <a:lnTo>
                  <a:pt x="995" y="675"/>
                </a:lnTo>
                <a:lnTo>
                  <a:pt x="994" y="700"/>
                </a:lnTo>
                <a:lnTo>
                  <a:pt x="990" y="723"/>
                </a:lnTo>
                <a:lnTo>
                  <a:pt x="986" y="746"/>
                </a:lnTo>
                <a:lnTo>
                  <a:pt x="982" y="768"/>
                </a:lnTo>
                <a:lnTo>
                  <a:pt x="976" y="790"/>
                </a:lnTo>
                <a:lnTo>
                  <a:pt x="970" y="810"/>
                </a:lnTo>
                <a:lnTo>
                  <a:pt x="962" y="829"/>
                </a:lnTo>
                <a:lnTo>
                  <a:pt x="954" y="849"/>
                </a:lnTo>
                <a:lnTo>
                  <a:pt x="944" y="866"/>
                </a:lnTo>
                <a:lnTo>
                  <a:pt x="934" y="884"/>
                </a:lnTo>
                <a:lnTo>
                  <a:pt x="924" y="901"/>
                </a:lnTo>
                <a:lnTo>
                  <a:pt x="912" y="916"/>
                </a:lnTo>
                <a:lnTo>
                  <a:pt x="899" y="932"/>
                </a:lnTo>
                <a:lnTo>
                  <a:pt x="886" y="946"/>
                </a:lnTo>
                <a:lnTo>
                  <a:pt x="873" y="959"/>
                </a:lnTo>
                <a:lnTo>
                  <a:pt x="859" y="972"/>
                </a:lnTo>
                <a:lnTo>
                  <a:pt x="843" y="984"/>
                </a:lnTo>
                <a:lnTo>
                  <a:pt x="828" y="995"/>
                </a:lnTo>
                <a:lnTo>
                  <a:pt x="812" y="1005"/>
                </a:lnTo>
                <a:lnTo>
                  <a:pt x="794" y="1015"/>
                </a:lnTo>
                <a:lnTo>
                  <a:pt x="777" y="1023"/>
                </a:lnTo>
                <a:lnTo>
                  <a:pt x="759" y="1031"/>
                </a:lnTo>
                <a:lnTo>
                  <a:pt x="741" y="1038"/>
                </a:lnTo>
                <a:lnTo>
                  <a:pt x="722" y="1044"/>
                </a:lnTo>
                <a:lnTo>
                  <a:pt x="702" y="1049"/>
                </a:lnTo>
                <a:lnTo>
                  <a:pt x="683" y="1054"/>
                </a:lnTo>
                <a:lnTo>
                  <a:pt x="662" y="1057"/>
                </a:lnTo>
                <a:lnTo>
                  <a:pt x="643" y="1061"/>
                </a:lnTo>
                <a:lnTo>
                  <a:pt x="621" y="1063"/>
                </a:lnTo>
                <a:lnTo>
                  <a:pt x="601" y="1065"/>
                </a:lnTo>
                <a:lnTo>
                  <a:pt x="579" y="1065"/>
                </a:lnTo>
                <a:lnTo>
                  <a:pt x="579" y="1065"/>
                </a:lnTo>
                <a:lnTo>
                  <a:pt x="558" y="1065"/>
                </a:lnTo>
                <a:lnTo>
                  <a:pt x="538" y="1063"/>
                </a:lnTo>
                <a:lnTo>
                  <a:pt x="516" y="1061"/>
                </a:lnTo>
                <a:lnTo>
                  <a:pt x="496" y="1057"/>
                </a:lnTo>
                <a:lnTo>
                  <a:pt x="476" y="1054"/>
                </a:lnTo>
                <a:lnTo>
                  <a:pt x="456" y="1049"/>
                </a:lnTo>
                <a:lnTo>
                  <a:pt x="437" y="1044"/>
                </a:lnTo>
                <a:lnTo>
                  <a:pt x="418" y="1038"/>
                </a:lnTo>
                <a:lnTo>
                  <a:pt x="399" y="1031"/>
                </a:lnTo>
                <a:lnTo>
                  <a:pt x="382" y="1023"/>
                </a:lnTo>
                <a:lnTo>
                  <a:pt x="365" y="1015"/>
                </a:lnTo>
                <a:lnTo>
                  <a:pt x="347" y="1005"/>
                </a:lnTo>
                <a:lnTo>
                  <a:pt x="331" y="995"/>
                </a:lnTo>
                <a:lnTo>
                  <a:pt x="316" y="984"/>
                </a:lnTo>
                <a:lnTo>
                  <a:pt x="301" y="972"/>
                </a:lnTo>
                <a:lnTo>
                  <a:pt x="286" y="959"/>
                </a:lnTo>
                <a:lnTo>
                  <a:pt x="273" y="946"/>
                </a:lnTo>
                <a:lnTo>
                  <a:pt x="259" y="932"/>
                </a:lnTo>
                <a:lnTo>
                  <a:pt x="247" y="916"/>
                </a:lnTo>
                <a:lnTo>
                  <a:pt x="236" y="901"/>
                </a:lnTo>
                <a:lnTo>
                  <a:pt x="226" y="884"/>
                </a:lnTo>
                <a:lnTo>
                  <a:pt x="215" y="866"/>
                </a:lnTo>
                <a:lnTo>
                  <a:pt x="206" y="849"/>
                </a:lnTo>
                <a:lnTo>
                  <a:pt x="198" y="829"/>
                </a:lnTo>
                <a:lnTo>
                  <a:pt x="191" y="810"/>
                </a:lnTo>
                <a:lnTo>
                  <a:pt x="184" y="790"/>
                </a:lnTo>
                <a:lnTo>
                  <a:pt x="179" y="768"/>
                </a:lnTo>
                <a:lnTo>
                  <a:pt x="174" y="746"/>
                </a:lnTo>
                <a:lnTo>
                  <a:pt x="170" y="723"/>
                </a:lnTo>
                <a:lnTo>
                  <a:pt x="167" y="700"/>
                </a:lnTo>
                <a:lnTo>
                  <a:pt x="166" y="675"/>
                </a:lnTo>
                <a:lnTo>
                  <a:pt x="165" y="651"/>
                </a:lnTo>
                <a:lnTo>
                  <a:pt x="165" y="252"/>
                </a:lnTo>
                <a:lnTo>
                  <a:pt x="165" y="252"/>
                </a:lnTo>
                <a:lnTo>
                  <a:pt x="165" y="221"/>
                </a:lnTo>
                <a:lnTo>
                  <a:pt x="164" y="194"/>
                </a:lnTo>
                <a:lnTo>
                  <a:pt x="162" y="169"/>
                </a:lnTo>
                <a:lnTo>
                  <a:pt x="160" y="148"/>
                </a:lnTo>
                <a:lnTo>
                  <a:pt x="156" y="129"/>
                </a:lnTo>
                <a:lnTo>
                  <a:pt x="151" y="113"/>
                </a:lnTo>
                <a:lnTo>
                  <a:pt x="145" y="98"/>
                </a:lnTo>
                <a:lnTo>
                  <a:pt x="141" y="92"/>
                </a:lnTo>
                <a:lnTo>
                  <a:pt x="137" y="86"/>
                </a:lnTo>
                <a:lnTo>
                  <a:pt x="132" y="81"/>
                </a:lnTo>
                <a:lnTo>
                  <a:pt x="126" y="77"/>
                </a:lnTo>
                <a:lnTo>
                  <a:pt x="121" y="73"/>
                </a:lnTo>
                <a:lnTo>
                  <a:pt x="115" y="69"/>
                </a:lnTo>
                <a:lnTo>
                  <a:pt x="102" y="63"/>
                </a:lnTo>
                <a:lnTo>
                  <a:pt x="87" y="58"/>
                </a:lnTo>
                <a:lnTo>
                  <a:pt x="68" y="54"/>
                </a:lnTo>
                <a:lnTo>
                  <a:pt x="48" y="51"/>
                </a:lnTo>
                <a:lnTo>
                  <a:pt x="25" y="50"/>
                </a:lnTo>
                <a:lnTo>
                  <a:pt x="0" y="50"/>
                </a:lnTo>
                <a:lnTo>
                  <a:pt x="0" y="0"/>
                </a:lnTo>
                <a:lnTo>
                  <a:pt x="547" y="0"/>
                </a:lnTo>
                <a:lnTo>
                  <a:pt x="547" y="50"/>
                </a:lnTo>
                <a:lnTo>
                  <a:pt x="547" y="50"/>
                </a:lnTo>
                <a:lnTo>
                  <a:pt x="521" y="50"/>
                </a:lnTo>
                <a:lnTo>
                  <a:pt x="498" y="51"/>
                </a:lnTo>
                <a:lnTo>
                  <a:pt x="477" y="54"/>
                </a:lnTo>
                <a:lnTo>
                  <a:pt x="460" y="58"/>
                </a:lnTo>
                <a:lnTo>
                  <a:pt x="444" y="63"/>
                </a:lnTo>
                <a:lnTo>
                  <a:pt x="430" y="69"/>
                </a:lnTo>
                <a:lnTo>
                  <a:pt x="425" y="73"/>
                </a:lnTo>
                <a:lnTo>
                  <a:pt x="419" y="77"/>
                </a:lnTo>
                <a:lnTo>
                  <a:pt x="414" y="81"/>
                </a:lnTo>
                <a:lnTo>
                  <a:pt x="410" y="86"/>
                </a:lnTo>
                <a:lnTo>
                  <a:pt x="406" y="92"/>
                </a:lnTo>
                <a:lnTo>
                  <a:pt x="402" y="98"/>
                </a:lnTo>
                <a:lnTo>
                  <a:pt x="395" y="113"/>
                </a:lnTo>
                <a:lnTo>
                  <a:pt x="390" y="129"/>
                </a:lnTo>
                <a:lnTo>
                  <a:pt x="386" y="148"/>
                </a:lnTo>
                <a:lnTo>
                  <a:pt x="384" y="169"/>
                </a:lnTo>
                <a:lnTo>
                  <a:pt x="382" y="194"/>
                </a:lnTo>
                <a:lnTo>
                  <a:pt x="381" y="221"/>
                </a:lnTo>
                <a:lnTo>
                  <a:pt x="381" y="252"/>
                </a:lnTo>
                <a:lnTo>
                  <a:pt x="381" y="631"/>
                </a:lnTo>
                <a:lnTo>
                  <a:pt x="381" y="631"/>
                </a:lnTo>
                <a:lnTo>
                  <a:pt x="381" y="652"/>
                </a:lnTo>
                <a:lnTo>
                  <a:pt x="382" y="672"/>
                </a:lnTo>
                <a:lnTo>
                  <a:pt x="384" y="691"/>
                </a:lnTo>
                <a:lnTo>
                  <a:pt x="386" y="710"/>
                </a:lnTo>
                <a:lnTo>
                  <a:pt x="389" y="727"/>
                </a:lnTo>
                <a:lnTo>
                  <a:pt x="393" y="745"/>
                </a:lnTo>
                <a:lnTo>
                  <a:pt x="397" y="761"/>
                </a:lnTo>
                <a:lnTo>
                  <a:pt x="403" y="776"/>
                </a:lnTo>
                <a:lnTo>
                  <a:pt x="408" y="792"/>
                </a:lnTo>
                <a:lnTo>
                  <a:pt x="413" y="806"/>
                </a:lnTo>
                <a:lnTo>
                  <a:pt x="420" y="819"/>
                </a:lnTo>
                <a:lnTo>
                  <a:pt x="427" y="833"/>
                </a:lnTo>
                <a:lnTo>
                  <a:pt x="434" y="845"/>
                </a:lnTo>
                <a:lnTo>
                  <a:pt x="442" y="857"/>
                </a:lnTo>
                <a:lnTo>
                  <a:pt x="451" y="867"/>
                </a:lnTo>
                <a:lnTo>
                  <a:pt x="459" y="878"/>
                </a:lnTo>
                <a:lnTo>
                  <a:pt x="468" y="888"/>
                </a:lnTo>
                <a:lnTo>
                  <a:pt x="478" y="897"/>
                </a:lnTo>
                <a:lnTo>
                  <a:pt x="488" y="905"/>
                </a:lnTo>
                <a:lnTo>
                  <a:pt x="499" y="913"/>
                </a:lnTo>
                <a:lnTo>
                  <a:pt x="510" y="920"/>
                </a:lnTo>
                <a:lnTo>
                  <a:pt x="521" y="927"/>
                </a:lnTo>
                <a:lnTo>
                  <a:pt x="532" y="933"/>
                </a:lnTo>
                <a:lnTo>
                  <a:pt x="544" y="938"/>
                </a:lnTo>
                <a:lnTo>
                  <a:pt x="556" y="943"/>
                </a:lnTo>
                <a:lnTo>
                  <a:pt x="569" y="947"/>
                </a:lnTo>
                <a:lnTo>
                  <a:pt x="581" y="950"/>
                </a:lnTo>
                <a:lnTo>
                  <a:pt x="595" y="953"/>
                </a:lnTo>
                <a:lnTo>
                  <a:pt x="608" y="955"/>
                </a:lnTo>
                <a:lnTo>
                  <a:pt x="621" y="956"/>
                </a:lnTo>
                <a:lnTo>
                  <a:pt x="635" y="957"/>
                </a:lnTo>
                <a:lnTo>
                  <a:pt x="649" y="957"/>
                </a:lnTo>
                <a:lnTo>
                  <a:pt x="649" y="957"/>
                </a:lnTo>
                <a:lnTo>
                  <a:pt x="662" y="957"/>
                </a:lnTo>
                <a:lnTo>
                  <a:pt x="676" y="956"/>
                </a:lnTo>
                <a:lnTo>
                  <a:pt x="689" y="955"/>
                </a:lnTo>
                <a:lnTo>
                  <a:pt x="702" y="953"/>
                </a:lnTo>
                <a:lnTo>
                  <a:pt x="714" y="950"/>
                </a:lnTo>
                <a:lnTo>
                  <a:pt x="727" y="947"/>
                </a:lnTo>
                <a:lnTo>
                  <a:pt x="739" y="943"/>
                </a:lnTo>
                <a:lnTo>
                  <a:pt x="751" y="938"/>
                </a:lnTo>
                <a:lnTo>
                  <a:pt x="762" y="933"/>
                </a:lnTo>
                <a:lnTo>
                  <a:pt x="773" y="927"/>
                </a:lnTo>
                <a:lnTo>
                  <a:pt x="784" y="920"/>
                </a:lnTo>
                <a:lnTo>
                  <a:pt x="794" y="913"/>
                </a:lnTo>
                <a:lnTo>
                  <a:pt x="803" y="905"/>
                </a:lnTo>
                <a:lnTo>
                  <a:pt x="814" y="897"/>
                </a:lnTo>
                <a:lnTo>
                  <a:pt x="823" y="888"/>
                </a:lnTo>
                <a:lnTo>
                  <a:pt x="831" y="878"/>
                </a:lnTo>
                <a:lnTo>
                  <a:pt x="839" y="867"/>
                </a:lnTo>
                <a:lnTo>
                  <a:pt x="847" y="857"/>
                </a:lnTo>
                <a:lnTo>
                  <a:pt x="854" y="845"/>
                </a:lnTo>
                <a:lnTo>
                  <a:pt x="861" y="833"/>
                </a:lnTo>
                <a:lnTo>
                  <a:pt x="868" y="819"/>
                </a:lnTo>
                <a:lnTo>
                  <a:pt x="873" y="806"/>
                </a:lnTo>
                <a:lnTo>
                  <a:pt x="879" y="792"/>
                </a:lnTo>
                <a:lnTo>
                  <a:pt x="883" y="776"/>
                </a:lnTo>
                <a:lnTo>
                  <a:pt x="887" y="761"/>
                </a:lnTo>
                <a:lnTo>
                  <a:pt x="891" y="745"/>
                </a:lnTo>
                <a:lnTo>
                  <a:pt x="894" y="727"/>
                </a:lnTo>
                <a:lnTo>
                  <a:pt x="897" y="710"/>
                </a:lnTo>
                <a:lnTo>
                  <a:pt x="899" y="691"/>
                </a:lnTo>
                <a:lnTo>
                  <a:pt x="901" y="672"/>
                </a:lnTo>
                <a:lnTo>
                  <a:pt x="902" y="652"/>
                </a:lnTo>
                <a:lnTo>
                  <a:pt x="903" y="631"/>
                </a:lnTo>
                <a:lnTo>
                  <a:pt x="903" y="252"/>
                </a:lnTo>
                <a:lnTo>
                  <a:pt x="903" y="252"/>
                </a:lnTo>
                <a:lnTo>
                  <a:pt x="902" y="221"/>
                </a:lnTo>
                <a:lnTo>
                  <a:pt x="901" y="194"/>
                </a:lnTo>
                <a:lnTo>
                  <a:pt x="899" y="169"/>
                </a:lnTo>
                <a:lnTo>
                  <a:pt x="896" y="148"/>
                </a:lnTo>
                <a:lnTo>
                  <a:pt x="893" y="129"/>
                </a:lnTo>
                <a:lnTo>
                  <a:pt x="888" y="113"/>
                </a:lnTo>
                <a:lnTo>
                  <a:pt x="881" y="98"/>
                </a:lnTo>
                <a:lnTo>
                  <a:pt x="878" y="92"/>
                </a:lnTo>
                <a:lnTo>
                  <a:pt x="874" y="86"/>
                </a:lnTo>
                <a:lnTo>
                  <a:pt x="869" y="81"/>
                </a:lnTo>
                <a:lnTo>
                  <a:pt x="864" y="77"/>
                </a:lnTo>
                <a:lnTo>
                  <a:pt x="859" y="73"/>
                </a:lnTo>
                <a:lnTo>
                  <a:pt x="852" y="69"/>
                </a:lnTo>
                <a:lnTo>
                  <a:pt x="839" y="63"/>
                </a:lnTo>
                <a:lnTo>
                  <a:pt x="824" y="58"/>
                </a:lnTo>
                <a:lnTo>
                  <a:pt x="805" y="54"/>
                </a:lnTo>
                <a:lnTo>
                  <a:pt x="785" y="51"/>
                </a:lnTo>
                <a:lnTo>
                  <a:pt x="762" y="50"/>
                </a:lnTo>
                <a:lnTo>
                  <a:pt x="737" y="50"/>
                </a:lnTo>
                <a:lnTo>
                  <a:pt x="737" y="50"/>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63" name="Freeform 14">
            <a:extLst>
              <a:ext uri="{FF2B5EF4-FFF2-40B4-BE49-F238E27FC236}">
                <a16:creationId xmlns:a16="http://schemas.microsoft.com/office/drawing/2014/main" id="{06E49BB8-6ACF-B54E-8E60-142D9EF181D5}"/>
              </a:ext>
            </a:extLst>
          </p:cNvPr>
          <p:cNvSpPr>
            <a:spLocks/>
          </p:cNvSpPr>
          <p:nvPr userDrawn="1"/>
        </p:nvSpPr>
        <p:spPr bwMode="auto">
          <a:xfrm>
            <a:off x="2962276" y="893763"/>
            <a:ext cx="160338" cy="141288"/>
          </a:xfrm>
          <a:custGeom>
            <a:avLst/>
            <a:gdLst>
              <a:gd name="T0" fmla="*/ 623 w 1210"/>
              <a:gd name="T1" fmla="*/ 1065 h 1065"/>
              <a:gd name="T2" fmla="*/ 211 w 1210"/>
              <a:gd name="T3" fmla="*/ 202 h 1065"/>
              <a:gd name="T4" fmla="*/ 193 w 1210"/>
              <a:gd name="T5" fmla="*/ 163 h 1065"/>
              <a:gd name="T6" fmla="*/ 177 w 1210"/>
              <a:gd name="T7" fmla="*/ 131 h 1065"/>
              <a:gd name="T8" fmla="*/ 159 w 1210"/>
              <a:gd name="T9" fmla="*/ 105 h 1065"/>
              <a:gd name="T10" fmla="*/ 139 w 1210"/>
              <a:gd name="T11" fmla="*/ 84 h 1065"/>
              <a:gd name="T12" fmla="*/ 114 w 1210"/>
              <a:gd name="T13" fmla="*/ 69 h 1065"/>
              <a:gd name="T14" fmla="*/ 85 w 1210"/>
              <a:gd name="T15" fmla="*/ 59 h 1065"/>
              <a:gd name="T16" fmla="*/ 47 w 1210"/>
              <a:gd name="T17" fmla="*/ 52 h 1065"/>
              <a:gd name="T18" fmla="*/ 0 w 1210"/>
              <a:gd name="T19" fmla="*/ 50 h 1065"/>
              <a:gd name="T20" fmla="*/ 566 w 1210"/>
              <a:gd name="T21" fmla="*/ 0 h 1065"/>
              <a:gd name="T22" fmla="*/ 566 w 1210"/>
              <a:gd name="T23" fmla="*/ 50 h 1065"/>
              <a:gd name="T24" fmla="*/ 515 w 1210"/>
              <a:gd name="T25" fmla="*/ 52 h 1065"/>
              <a:gd name="T26" fmla="*/ 476 w 1210"/>
              <a:gd name="T27" fmla="*/ 58 h 1065"/>
              <a:gd name="T28" fmla="*/ 448 w 1210"/>
              <a:gd name="T29" fmla="*/ 68 h 1065"/>
              <a:gd name="T30" fmla="*/ 429 w 1210"/>
              <a:gd name="T31" fmla="*/ 81 h 1065"/>
              <a:gd name="T32" fmla="*/ 420 w 1210"/>
              <a:gd name="T33" fmla="*/ 99 h 1065"/>
              <a:gd name="T34" fmla="*/ 419 w 1210"/>
              <a:gd name="T35" fmla="*/ 122 h 1065"/>
              <a:gd name="T36" fmla="*/ 424 w 1210"/>
              <a:gd name="T37" fmla="*/ 150 h 1065"/>
              <a:gd name="T38" fmla="*/ 436 w 1210"/>
              <a:gd name="T39" fmla="*/ 181 h 1065"/>
              <a:gd name="T40" fmla="*/ 921 w 1210"/>
              <a:gd name="T41" fmla="*/ 181 h 1065"/>
              <a:gd name="T42" fmla="*/ 928 w 1210"/>
              <a:gd name="T43" fmla="*/ 165 h 1065"/>
              <a:gd name="T44" fmla="*/ 936 w 1210"/>
              <a:gd name="T45" fmla="*/ 134 h 1065"/>
              <a:gd name="T46" fmla="*/ 938 w 1210"/>
              <a:gd name="T47" fmla="*/ 110 h 1065"/>
              <a:gd name="T48" fmla="*/ 931 w 1210"/>
              <a:gd name="T49" fmla="*/ 89 h 1065"/>
              <a:gd name="T50" fmla="*/ 917 w 1210"/>
              <a:gd name="T51" fmla="*/ 74 h 1065"/>
              <a:gd name="T52" fmla="*/ 894 w 1210"/>
              <a:gd name="T53" fmla="*/ 62 h 1065"/>
              <a:gd name="T54" fmla="*/ 861 w 1210"/>
              <a:gd name="T55" fmla="*/ 54 h 1065"/>
              <a:gd name="T56" fmla="*/ 817 w 1210"/>
              <a:gd name="T57" fmla="*/ 50 h 1065"/>
              <a:gd name="T58" fmla="*/ 792 w 1210"/>
              <a:gd name="T59" fmla="*/ 0 h 1065"/>
              <a:gd name="T60" fmla="*/ 1210 w 1210"/>
              <a:gd name="T61" fmla="*/ 50 h 1065"/>
              <a:gd name="T62" fmla="*/ 1188 w 1210"/>
              <a:gd name="T63" fmla="*/ 50 h 1065"/>
              <a:gd name="T64" fmla="*/ 1150 w 1210"/>
              <a:gd name="T65" fmla="*/ 53 h 1065"/>
              <a:gd name="T66" fmla="*/ 1119 w 1210"/>
              <a:gd name="T67" fmla="*/ 61 h 1065"/>
              <a:gd name="T68" fmla="*/ 1091 w 1210"/>
              <a:gd name="T69" fmla="*/ 73 h 1065"/>
              <a:gd name="T70" fmla="*/ 1067 w 1210"/>
              <a:gd name="T71" fmla="*/ 89 h 1065"/>
              <a:gd name="T72" fmla="*/ 1046 w 1210"/>
              <a:gd name="T73" fmla="*/ 113 h 1065"/>
              <a:gd name="T74" fmla="*/ 1026 w 1210"/>
              <a:gd name="T75" fmla="*/ 142 h 1065"/>
              <a:gd name="T76" fmla="*/ 1007 w 1210"/>
              <a:gd name="T77" fmla="*/ 180 h 1065"/>
              <a:gd name="T78" fmla="*/ 997 w 1210"/>
              <a:gd name="T79" fmla="*/ 202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10" h="1065">
                <a:moveTo>
                  <a:pt x="997" y="202"/>
                </a:moveTo>
                <a:lnTo>
                  <a:pt x="623" y="1065"/>
                </a:lnTo>
                <a:lnTo>
                  <a:pt x="587" y="1065"/>
                </a:lnTo>
                <a:lnTo>
                  <a:pt x="211" y="202"/>
                </a:lnTo>
                <a:lnTo>
                  <a:pt x="211" y="202"/>
                </a:lnTo>
                <a:lnTo>
                  <a:pt x="193" y="163"/>
                </a:lnTo>
                <a:lnTo>
                  <a:pt x="185" y="146"/>
                </a:lnTo>
                <a:lnTo>
                  <a:pt x="177" y="131"/>
                </a:lnTo>
                <a:lnTo>
                  <a:pt x="169" y="117"/>
                </a:lnTo>
                <a:lnTo>
                  <a:pt x="159" y="105"/>
                </a:lnTo>
                <a:lnTo>
                  <a:pt x="149" y="93"/>
                </a:lnTo>
                <a:lnTo>
                  <a:pt x="139" y="84"/>
                </a:lnTo>
                <a:lnTo>
                  <a:pt x="128" y="76"/>
                </a:lnTo>
                <a:lnTo>
                  <a:pt x="114" y="69"/>
                </a:lnTo>
                <a:lnTo>
                  <a:pt x="100" y="63"/>
                </a:lnTo>
                <a:lnTo>
                  <a:pt x="85" y="59"/>
                </a:lnTo>
                <a:lnTo>
                  <a:pt x="66" y="54"/>
                </a:lnTo>
                <a:lnTo>
                  <a:pt x="47" y="52"/>
                </a:lnTo>
                <a:lnTo>
                  <a:pt x="24" y="50"/>
                </a:lnTo>
                <a:lnTo>
                  <a:pt x="0" y="50"/>
                </a:lnTo>
                <a:lnTo>
                  <a:pt x="0" y="0"/>
                </a:lnTo>
                <a:lnTo>
                  <a:pt x="566" y="0"/>
                </a:lnTo>
                <a:lnTo>
                  <a:pt x="566" y="50"/>
                </a:lnTo>
                <a:lnTo>
                  <a:pt x="566" y="50"/>
                </a:lnTo>
                <a:lnTo>
                  <a:pt x="539" y="50"/>
                </a:lnTo>
                <a:lnTo>
                  <a:pt x="515" y="52"/>
                </a:lnTo>
                <a:lnTo>
                  <a:pt x="494" y="54"/>
                </a:lnTo>
                <a:lnTo>
                  <a:pt x="476" y="58"/>
                </a:lnTo>
                <a:lnTo>
                  <a:pt x="461" y="63"/>
                </a:lnTo>
                <a:lnTo>
                  <a:pt x="448" y="68"/>
                </a:lnTo>
                <a:lnTo>
                  <a:pt x="438" y="74"/>
                </a:lnTo>
                <a:lnTo>
                  <a:pt x="429" y="81"/>
                </a:lnTo>
                <a:lnTo>
                  <a:pt x="423" y="90"/>
                </a:lnTo>
                <a:lnTo>
                  <a:pt x="420" y="99"/>
                </a:lnTo>
                <a:lnTo>
                  <a:pt x="418" y="111"/>
                </a:lnTo>
                <a:lnTo>
                  <a:pt x="419" y="122"/>
                </a:lnTo>
                <a:lnTo>
                  <a:pt x="421" y="135"/>
                </a:lnTo>
                <a:lnTo>
                  <a:pt x="424" y="150"/>
                </a:lnTo>
                <a:lnTo>
                  <a:pt x="429" y="165"/>
                </a:lnTo>
                <a:lnTo>
                  <a:pt x="436" y="181"/>
                </a:lnTo>
                <a:lnTo>
                  <a:pt x="678" y="742"/>
                </a:lnTo>
                <a:lnTo>
                  <a:pt x="921" y="181"/>
                </a:lnTo>
                <a:lnTo>
                  <a:pt x="921" y="181"/>
                </a:lnTo>
                <a:lnTo>
                  <a:pt x="928" y="165"/>
                </a:lnTo>
                <a:lnTo>
                  <a:pt x="933" y="149"/>
                </a:lnTo>
                <a:lnTo>
                  <a:pt x="936" y="134"/>
                </a:lnTo>
                <a:lnTo>
                  <a:pt x="938" y="122"/>
                </a:lnTo>
                <a:lnTo>
                  <a:pt x="938" y="110"/>
                </a:lnTo>
                <a:lnTo>
                  <a:pt x="935" y="98"/>
                </a:lnTo>
                <a:lnTo>
                  <a:pt x="931" y="89"/>
                </a:lnTo>
                <a:lnTo>
                  <a:pt x="925" y="81"/>
                </a:lnTo>
                <a:lnTo>
                  <a:pt x="917" y="74"/>
                </a:lnTo>
                <a:lnTo>
                  <a:pt x="906" y="67"/>
                </a:lnTo>
                <a:lnTo>
                  <a:pt x="894" y="62"/>
                </a:lnTo>
                <a:lnTo>
                  <a:pt x="878" y="58"/>
                </a:lnTo>
                <a:lnTo>
                  <a:pt x="861" y="54"/>
                </a:lnTo>
                <a:lnTo>
                  <a:pt x="840" y="52"/>
                </a:lnTo>
                <a:lnTo>
                  <a:pt x="817" y="50"/>
                </a:lnTo>
                <a:lnTo>
                  <a:pt x="792" y="50"/>
                </a:lnTo>
                <a:lnTo>
                  <a:pt x="792" y="0"/>
                </a:lnTo>
                <a:lnTo>
                  <a:pt x="1210" y="0"/>
                </a:lnTo>
                <a:lnTo>
                  <a:pt x="1210" y="50"/>
                </a:lnTo>
                <a:lnTo>
                  <a:pt x="1210" y="50"/>
                </a:lnTo>
                <a:lnTo>
                  <a:pt x="1188" y="50"/>
                </a:lnTo>
                <a:lnTo>
                  <a:pt x="1169" y="51"/>
                </a:lnTo>
                <a:lnTo>
                  <a:pt x="1150" y="53"/>
                </a:lnTo>
                <a:lnTo>
                  <a:pt x="1134" y="57"/>
                </a:lnTo>
                <a:lnTo>
                  <a:pt x="1119" y="61"/>
                </a:lnTo>
                <a:lnTo>
                  <a:pt x="1104" y="66"/>
                </a:lnTo>
                <a:lnTo>
                  <a:pt x="1091" y="73"/>
                </a:lnTo>
                <a:lnTo>
                  <a:pt x="1079" y="80"/>
                </a:lnTo>
                <a:lnTo>
                  <a:pt x="1067" y="89"/>
                </a:lnTo>
                <a:lnTo>
                  <a:pt x="1056" y="100"/>
                </a:lnTo>
                <a:lnTo>
                  <a:pt x="1046" y="113"/>
                </a:lnTo>
                <a:lnTo>
                  <a:pt x="1036" y="127"/>
                </a:lnTo>
                <a:lnTo>
                  <a:pt x="1026" y="142"/>
                </a:lnTo>
                <a:lnTo>
                  <a:pt x="1016" y="161"/>
                </a:lnTo>
                <a:lnTo>
                  <a:pt x="1007" y="180"/>
                </a:lnTo>
                <a:lnTo>
                  <a:pt x="997" y="202"/>
                </a:lnTo>
                <a:lnTo>
                  <a:pt x="997" y="202"/>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64" name="Freeform 15">
            <a:extLst>
              <a:ext uri="{FF2B5EF4-FFF2-40B4-BE49-F238E27FC236}">
                <a16:creationId xmlns:a16="http://schemas.microsoft.com/office/drawing/2014/main" id="{B0AC8484-A2F8-3247-83AA-7687014EB007}"/>
              </a:ext>
            </a:extLst>
          </p:cNvPr>
          <p:cNvSpPr>
            <a:spLocks noEditPoints="1"/>
          </p:cNvSpPr>
          <p:nvPr userDrawn="1"/>
        </p:nvSpPr>
        <p:spPr bwMode="auto">
          <a:xfrm>
            <a:off x="3135313" y="890589"/>
            <a:ext cx="152400" cy="144463"/>
          </a:xfrm>
          <a:custGeom>
            <a:avLst/>
            <a:gdLst>
              <a:gd name="T0" fmla="*/ 489 w 1151"/>
              <a:gd name="T1" fmla="*/ 1087 h 1094"/>
              <a:gd name="T2" fmla="*/ 353 w 1151"/>
              <a:gd name="T3" fmla="*/ 1051 h 1094"/>
              <a:gd name="T4" fmla="*/ 232 w 1151"/>
              <a:gd name="T5" fmla="*/ 984 h 1094"/>
              <a:gd name="T6" fmla="*/ 132 w 1151"/>
              <a:gd name="T7" fmla="*/ 894 h 1094"/>
              <a:gd name="T8" fmla="*/ 57 w 1151"/>
              <a:gd name="T9" fmla="*/ 783 h 1094"/>
              <a:gd name="T10" fmla="*/ 12 w 1151"/>
              <a:gd name="T11" fmla="*/ 656 h 1094"/>
              <a:gd name="T12" fmla="*/ 0 w 1151"/>
              <a:gd name="T13" fmla="*/ 547 h 1094"/>
              <a:gd name="T14" fmla="*/ 18 w 1151"/>
              <a:gd name="T15" fmla="*/ 411 h 1094"/>
              <a:gd name="T16" fmla="*/ 70 w 1151"/>
              <a:gd name="T17" fmla="*/ 287 h 1094"/>
              <a:gd name="T18" fmla="*/ 150 w 1151"/>
              <a:gd name="T19" fmla="*/ 180 h 1094"/>
              <a:gd name="T20" fmla="*/ 254 w 1151"/>
              <a:gd name="T21" fmla="*/ 94 h 1094"/>
              <a:gd name="T22" fmla="*/ 379 w 1151"/>
              <a:gd name="T23" fmla="*/ 33 h 1094"/>
              <a:gd name="T24" fmla="*/ 517 w 1151"/>
              <a:gd name="T25" fmla="*/ 3 h 1094"/>
              <a:gd name="T26" fmla="*/ 635 w 1151"/>
              <a:gd name="T27" fmla="*/ 3 h 1094"/>
              <a:gd name="T28" fmla="*/ 774 w 1151"/>
              <a:gd name="T29" fmla="*/ 33 h 1094"/>
              <a:gd name="T30" fmla="*/ 897 w 1151"/>
              <a:gd name="T31" fmla="*/ 94 h 1094"/>
              <a:gd name="T32" fmla="*/ 1001 w 1151"/>
              <a:gd name="T33" fmla="*/ 180 h 1094"/>
              <a:gd name="T34" fmla="*/ 1082 w 1151"/>
              <a:gd name="T35" fmla="*/ 287 h 1094"/>
              <a:gd name="T36" fmla="*/ 1133 w 1151"/>
              <a:gd name="T37" fmla="*/ 411 h 1094"/>
              <a:gd name="T38" fmla="*/ 1151 w 1151"/>
              <a:gd name="T39" fmla="*/ 547 h 1094"/>
              <a:gd name="T40" fmla="*/ 1139 w 1151"/>
              <a:gd name="T41" fmla="*/ 656 h 1094"/>
              <a:gd name="T42" fmla="*/ 1094 w 1151"/>
              <a:gd name="T43" fmla="*/ 783 h 1094"/>
              <a:gd name="T44" fmla="*/ 1019 w 1151"/>
              <a:gd name="T45" fmla="*/ 894 h 1094"/>
              <a:gd name="T46" fmla="*/ 919 w 1151"/>
              <a:gd name="T47" fmla="*/ 984 h 1094"/>
              <a:gd name="T48" fmla="*/ 799 w 1151"/>
              <a:gd name="T49" fmla="*/ 1051 h 1094"/>
              <a:gd name="T50" fmla="*/ 663 w 1151"/>
              <a:gd name="T51" fmla="*/ 1087 h 1094"/>
              <a:gd name="T52" fmla="*/ 577 w 1151"/>
              <a:gd name="T53" fmla="*/ 82 h 1094"/>
              <a:gd name="T54" fmla="*/ 492 w 1151"/>
              <a:gd name="T55" fmla="*/ 94 h 1094"/>
              <a:gd name="T56" fmla="*/ 404 w 1151"/>
              <a:gd name="T57" fmla="*/ 137 h 1094"/>
              <a:gd name="T58" fmla="*/ 335 w 1151"/>
              <a:gd name="T59" fmla="*/ 204 h 1094"/>
              <a:gd name="T60" fmla="*/ 285 w 1151"/>
              <a:gd name="T61" fmla="*/ 290 h 1094"/>
              <a:gd name="T62" fmla="*/ 252 w 1151"/>
              <a:gd name="T63" fmla="*/ 386 h 1094"/>
              <a:gd name="T64" fmla="*/ 234 w 1151"/>
              <a:gd name="T65" fmla="*/ 507 h 1094"/>
              <a:gd name="T66" fmla="*/ 240 w 1151"/>
              <a:gd name="T67" fmla="*/ 647 h 1094"/>
              <a:gd name="T68" fmla="*/ 264 w 1151"/>
              <a:gd name="T69" fmla="*/ 747 h 1094"/>
              <a:gd name="T70" fmla="*/ 303 w 1151"/>
              <a:gd name="T71" fmla="*/ 840 h 1094"/>
              <a:gd name="T72" fmla="*/ 360 w 1151"/>
              <a:gd name="T73" fmla="*/ 919 h 1094"/>
              <a:gd name="T74" fmla="*/ 436 w 1151"/>
              <a:gd name="T75" fmla="*/ 977 h 1094"/>
              <a:gd name="T76" fmla="*/ 533 w 1151"/>
              <a:gd name="T77" fmla="*/ 1008 h 1094"/>
              <a:gd name="T78" fmla="*/ 621 w 1151"/>
              <a:gd name="T79" fmla="*/ 1008 h 1094"/>
              <a:gd name="T80" fmla="*/ 716 w 1151"/>
              <a:gd name="T81" fmla="*/ 977 h 1094"/>
              <a:gd name="T82" fmla="*/ 792 w 1151"/>
              <a:gd name="T83" fmla="*/ 919 h 1094"/>
              <a:gd name="T84" fmla="*/ 850 w 1151"/>
              <a:gd name="T85" fmla="*/ 840 h 1094"/>
              <a:gd name="T86" fmla="*/ 889 w 1151"/>
              <a:gd name="T87" fmla="*/ 747 h 1094"/>
              <a:gd name="T88" fmla="*/ 912 w 1151"/>
              <a:gd name="T89" fmla="*/ 647 h 1094"/>
              <a:gd name="T90" fmla="*/ 919 w 1151"/>
              <a:gd name="T91" fmla="*/ 507 h 1094"/>
              <a:gd name="T92" fmla="*/ 901 w 1151"/>
              <a:gd name="T93" fmla="*/ 386 h 1094"/>
              <a:gd name="T94" fmla="*/ 867 w 1151"/>
              <a:gd name="T95" fmla="*/ 290 h 1094"/>
              <a:gd name="T96" fmla="*/ 817 w 1151"/>
              <a:gd name="T97" fmla="*/ 204 h 1094"/>
              <a:gd name="T98" fmla="*/ 748 w 1151"/>
              <a:gd name="T99" fmla="*/ 137 h 1094"/>
              <a:gd name="T100" fmla="*/ 661 w 1151"/>
              <a:gd name="T101" fmla="*/ 94 h 1094"/>
              <a:gd name="T102" fmla="*/ 577 w 1151"/>
              <a:gd name="T103" fmla="*/ 82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51" h="1094">
                <a:moveTo>
                  <a:pt x="577" y="1094"/>
                </a:moveTo>
                <a:lnTo>
                  <a:pt x="577" y="1094"/>
                </a:lnTo>
                <a:lnTo>
                  <a:pt x="547" y="1093"/>
                </a:lnTo>
                <a:lnTo>
                  <a:pt x="517" y="1091"/>
                </a:lnTo>
                <a:lnTo>
                  <a:pt x="489" y="1087"/>
                </a:lnTo>
                <a:lnTo>
                  <a:pt x="461" y="1082"/>
                </a:lnTo>
                <a:lnTo>
                  <a:pt x="432" y="1076"/>
                </a:lnTo>
                <a:lnTo>
                  <a:pt x="406" y="1069"/>
                </a:lnTo>
                <a:lnTo>
                  <a:pt x="379" y="1060"/>
                </a:lnTo>
                <a:lnTo>
                  <a:pt x="353" y="1051"/>
                </a:lnTo>
                <a:lnTo>
                  <a:pt x="327" y="1039"/>
                </a:lnTo>
                <a:lnTo>
                  <a:pt x="303" y="1027"/>
                </a:lnTo>
                <a:lnTo>
                  <a:pt x="278" y="1014"/>
                </a:lnTo>
                <a:lnTo>
                  <a:pt x="254" y="1000"/>
                </a:lnTo>
                <a:lnTo>
                  <a:pt x="232" y="984"/>
                </a:lnTo>
                <a:lnTo>
                  <a:pt x="210" y="968"/>
                </a:lnTo>
                <a:lnTo>
                  <a:pt x="189" y="950"/>
                </a:lnTo>
                <a:lnTo>
                  <a:pt x="170" y="933"/>
                </a:lnTo>
                <a:lnTo>
                  <a:pt x="150" y="914"/>
                </a:lnTo>
                <a:lnTo>
                  <a:pt x="132" y="894"/>
                </a:lnTo>
                <a:lnTo>
                  <a:pt x="115" y="873"/>
                </a:lnTo>
                <a:lnTo>
                  <a:pt x="99" y="851"/>
                </a:lnTo>
                <a:lnTo>
                  <a:pt x="84" y="830"/>
                </a:lnTo>
                <a:lnTo>
                  <a:pt x="70" y="806"/>
                </a:lnTo>
                <a:lnTo>
                  <a:pt x="57" y="783"/>
                </a:lnTo>
                <a:lnTo>
                  <a:pt x="46" y="758"/>
                </a:lnTo>
                <a:lnTo>
                  <a:pt x="36" y="734"/>
                </a:lnTo>
                <a:lnTo>
                  <a:pt x="26" y="708"/>
                </a:lnTo>
                <a:lnTo>
                  <a:pt x="18" y="683"/>
                </a:lnTo>
                <a:lnTo>
                  <a:pt x="12" y="656"/>
                </a:lnTo>
                <a:lnTo>
                  <a:pt x="7" y="629"/>
                </a:lnTo>
                <a:lnTo>
                  <a:pt x="3" y="602"/>
                </a:lnTo>
                <a:lnTo>
                  <a:pt x="1" y="574"/>
                </a:lnTo>
                <a:lnTo>
                  <a:pt x="0" y="547"/>
                </a:lnTo>
                <a:lnTo>
                  <a:pt x="0" y="547"/>
                </a:lnTo>
                <a:lnTo>
                  <a:pt x="1" y="519"/>
                </a:lnTo>
                <a:lnTo>
                  <a:pt x="3" y="491"/>
                </a:lnTo>
                <a:lnTo>
                  <a:pt x="7" y="464"/>
                </a:lnTo>
                <a:lnTo>
                  <a:pt x="12" y="437"/>
                </a:lnTo>
                <a:lnTo>
                  <a:pt x="18" y="411"/>
                </a:lnTo>
                <a:lnTo>
                  <a:pt x="26" y="385"/>
                </a:lnTo>
                <a:lnTo>
                  <a:pt x="36" y="360"/>
                </a:lnTo>
                <a:lnTo>
                  <a:pt x="46" y="335"/>
                </a:lnTo>
                <a:lnTo>
                  <a:pt x="57" y="310"/>
                </a:lnTo>
                <a:lnTo>
                  <a:pt x="70" y="287"/>
                </a:lnTo>
                <a:lnTo>
                  <a:pt x="84" y="264"/>
                </a:lnTo>
                <a:lnTo>
                  <a:pt x="99" y="242"/>
                </a:lnTo>
                <a:lnTo>
                  <a:pt x="115" y="220"/>
                </a:lnTo>
                <a:lnTo>
                  <a:pt x="132" y="200"/>
                </a:lnTo>
                <a:lnTo>
                  <a:pt x="150" y="180"/>
                </a:lnTo>
                <a:lnTo>
                  <a:pt x="170" y="161"/>
                </a:lnTo>
                <a:lnTo>
                  <a:pt x="189" y="143"/>
                </a:lnTo>
                <a:lnTo>
                  <a:pt x="210" y="125"/>
                </a:lnTo>
                <a:lnTo>
                  <a:pt x="232" y="109"/>
                </a:lnTo>
                <a:lnTo>
                  <a:pt x="254" y="94"/>
                </a:lnTo>
                <a:lnTo>
                  <a:pt x="278" y="79"/>
                </a:lnTo>
                <a:lnTo>
                  <a:pt x="303" y="66"/>
                </a:lnTo>
                <a:lnTo>
                  <a:pt x="327" y="54"/>
                </a:lnTo>
                <a:lnTo>
                  <a:pt x="353" y="44"/>
                </a:lnTo>
                <a:lnTo>
                  <a:pt x="379" y="33"/>
                </a:lnTo>
                <a:lnTo>
                  <a:pt x="406" y="24"/>
                </a:lnTo>
                <a:lnTo>
                  <a:pt x="432" y="17"/>
                </a:lnTo>
                <a:lnTo>
                  <a:pt x="461" y="11"/>
                </a:lnTo>
                <a:lnTo>
                  <a:pt x="489" y="6"/>
                </a:lnTo>
                <a:lnTo>
                  <a:pt x="517" y="3"/>
                </a:lnTo>
                <a:lnTo>
                  <a:pt x="547" y="1"/>
                </a:lnTo>
                <a:lnTo>
                  <a:pt x="577" y="0"/>
                </a:lnTo>
                <a:lnTo>
                  <a:pt x="577" y="0"/>
                </a:lnTo>
                <a:lnTo>
                  <a:pt x="606" y="1"/>
                </a:lnTo>
                <a:lnTo>
                  <a:pt x="635" y="3"/>
                </a:lnTo>
                <a:lnTo>
                  <a:pt x="663" y="6"/>
                </a:lnTo>
                <a:lnTo>
                  <a:pt x="692" y="11"/>
                </a:lnTo>
                <a:lnTo>
                  <a:pt x="720" y="17"/>
                </a:lnTo>
                <a:lnTo>
                  <a:pt x="746" y="24"/>
                </a:lnTo>
                <a:lnTo>
                  <a:pt x="774" y="33"/>
                </a:lnTo>
                <a:lnTo>
                  <a:pt x="799" y="44"/>
                </a:lnTo>
                <a:lnTo>
                  <a:pt x="825" y="54"/>
                </a:lnTo>
                <a:lnTo>
                  <a:pt x="850" y="66"/>
                </a:lnTo>
                <a:lnTo>
                  <a:pt x="874" y="79"/>
                </a:lnTo>
                <a:lnTo>
                  <a:pt x="897" y="94"/>
                </a:lnTo>
                <a:lnTo>
                  <a:pt x="919" y="109"/>
                </a:lnTo>
                <a:lnTo>
                  <a:pt x="942" y="125"/>
                </a:lnTo>
                <a:lnTo>
                  <a:pt x="962" y="143"/>
                </a:lnTo>
                <a:lnTo>
                  <a:pt x="982" y="161"/>
                </a:lnTo>
                <a:lnTo>
                  <a:pt x="1001" y="180"/>
                </a:lnTo>
                <a:lnTo>
                  <a:pt x="1019" y="200"/>
                </a:lnTo>
                <a:lnTo>
                  <a:pt x="1037" y="220"/>
                </a:lnTo>
                <a:lnTo>
                  <a:pt x="1052" y="242"/>
                </a:lnTo>
                <a:lnTo>
                  <a:pt x="1067" y="264"/>
                </a:lnTo>
                <a:lnTo>
                  <a:pt x="1082" y="287"/>
                </a:lnTo>
                <a:lnTo>
                  <a:pt x="1094" y="310"/>
                </a:lnTo>
                <a:lnTo>
                  <a:pt x="1105" y="335"/>
                </a:lnTo>
                <a:lnTo>
                  <a:pt x="1116" y="360"/>
                </a:lnTo>
                <a:lnTo>
                  <a:pt x="1125" y="385"/>
                </a:lnTo>
                <a:lnTo>
                  <a:pt x="1133" y="411"/>
                </a:lnTo>
                <a:lnTo>
                  <a:pt x="1139" y="437"/>
                </a:lnTo>
                <a:lnTo>
                  <a:pt x="1144" y="464"/>
                </a:lnTo>
                <a:lnTo>
                  <a:pt x="1148" y="491"/>
                </a:lnTo>
                <a:lnTo>
                  <a:pt x="1150" y="519"/>
                </a:lnTo>
                <a:lnTo>
                  <a:pt x="1151" y="547"/>
                </a:lnTo>
                <a:lnTo>
                  <a:pt x="1151" y="547"/>
                </a:lnTo>
                <a:lnTo>
                  <a:pt x="1150" y="574"/>
                </a:lnTo>
                <a:lnTo>
                  <a:pt x="1148" y="602"/>
                </a:lnTo>
                <a:lnTo>
                  <a:pt x="1144" y="629"/>
                </a:lnTo>
                <a:lnTo>
                  <a:pt x="1139" y="656"/>
                </a:lnTo>
                <a:lnTo>
                  <a:pt x="1133" y="683"/>
                </a:lnTo>
                <a:lnTo>
                  <a:pt x="1125" y="708"/>
                </a:lnTo>
                <a:lnTo>
                  <a:pt x="1116" y="734"/>
                </a:lnTo>
                <a:lnTo>
                  <a:pt x="1105" y="758"/>
                </a:lnTo>
                <a:lnTo>
                  <a:pt x="1094" y="783"/>
                </a:lnTo>
                <a:lnTo>
                  <a:pt x="1082" y="806"/>
                </a:lnTo>
                <a:lnTo>
                  <a:pt x="1067" y="830"/>
                </a:lnTo>
                <a:lnTo>
                  <a:pt x="1052" y="851"/>
                </a:lnTo>
                <a:lnTo>
                  <a:pt x="1037" y="873"/>
                </a:lnTo>
                <a:lnTo>
                  <a:pt x="1019" y="894"/>
                </a:lnTo>
                <a:lnTo>
                  <a:pt x="1001" y="914"/>
                </a:lnTo>
                <a:lnTo>
                  <a:pt x="982" y="933"/>
                </a:lnTo>
                <a:lnTo>
                  <a:pt x="962" y="950"/>
                </a:lnTo>
                <a:lnTo>
                  <a:pt x="942" y="968"/>
                </a:lnTo>
                <a:lnTo>
                  <a:pt x="919" y="984"/>
                </a:lnTo>
                <a:lnTo>
                  <a:pt x="897" y="1000"/>
                </a:lnTo>
                <a:lnTo>
                  <a:pt x="874" y="1014"/>
                </a:lnTo>
                <a:lnTo>
                  <a:pt x="850" y="1027"/>
                </a:lnTo>
                <a:lnTo>
                  <a:pt x="825" y="1039"/>
                </a:lnTo>
                <a:lnTo>
                  <a:pt x="799" y="1051"/>
                </a:lnTo>
                <a:lnTo>
                  <a:pt x="774" y="1060"/>
                </a:lnTo>
                <a:lnTo>
                  <a:pt x="746" y="1069"/>
                </a:lnTo>
                <a:lnTo>
                  <a:pt x="720" y="1076"/>
                </a:lnTo>
                <a:lnTo>
                  <a:pt x="692" y="1082"/>
                </a:lnTo>
                <a:lnTo>
                  <a:pt x="663" y="1087"/>
                </a:lnTo>
                <a:lnTo>
                  <a:pt x="635" y="1091"/>
                </a:lnTo>
                <a:lnTo>
                  <a:pt x="606" y="1093"/>
                </a:lnTo>
                <a:lnTo>
                  <a:pt x="577" y="1094"/>
                </a:lnTo>
                <a:lnTo>
                  <a:pt x="577" y="1094"/>
                </a:lnTo>
                <a:close/>
                <a:moveTo>
                  <a:pt x="577" y="82"/>
                </a:moveTo>
                <a:lnTo>
                  <a:pt x="577" y="82"/>
                </a:lnTo>
                <a:lnTo>
                  <a:pt x="554" y="83"/>
                </a:lnTo>
                <a:lnTo>
                  <a:pt x="533" y="86"/>
                </a:lnTo>
                <a:lnTo>
                  <a:pt x="511" y="90"/>
                </a:lnTo>
                <a:lnTo>
                  <a:pt x="492" y="94"/>
                </a:lnTo>
                <a:lnTo>
                  <a:pt x="472" y="100"/>
                </a:lnTo>
                <a:lnTo>
                  <a:pt x="454" y="108"/>
                </a:lnTo>
                <a:lnTo>
                  <a:pt x="436" y="116"/>
                </a:lnTo>
                <a:lnTo>
                  <a:pt x="419" y="125"/>
                </a:lnTo>
                <a:lnTo>
                  <a:pt x="404" y="137"/>
                </a:lnTo>
                <a:lnTo>
                  <a:pt x="388" y="148"/>
                </a:lnTo>
                <a:lnTo>
                  <a:pt x="374" y="161"/>
                </a:lnTo>
                <a:lnTo>
                  <a:pt x="360" y="174"/>
                </a:lnTo>
                <a:lnTo>
                  <a:pt x="347" y="189"/>
                </a:lnTo>
                <a:lnTo>
                  <a:pt x="335" y="204"/>
                </a:lnTo>
                <a:lnTo>
                  <a:pt x="324" y="219"/>
                </a:lnTo>
                <a:lnTo>
                  <a:pt x="313" y="237"/>
                </a:lnTo>
                <a:lnTo>
                  <a:pt x="303" y="253"/>
                </a:lnTo>
                <a:lnTo>
                  <a:pt x="293" y="272"/>
                </a:lnTo>
                <a:lnTo>
                  <a:pt x="285" y="290"/>
                </a:lnTo>
                <a:lnTo>
                  <a:pt x="277" y="308"/>
                </a:lnTo>
                <a:lnTo>
                  <a:pt x="270" y="327"/>
                </a:lnTo>
                <a:lnTo>
                  <a:pt x="264" y="346"/>
                </a:lnTo>
                <a:lnTo>
                  <a:pt x="258" y="367"/>
                </a:lnTo>
                <a:lnTo>
                  <a:pt x="252" y="386"/>
                </a:lnTo>
                <a:lnTo>
                  <a:pt x="248" y="407"/>
                </a:lnTo>
                <a:lnTo>
                  <a:pt x="244" y="426"/>
                </a:lnTo>
                <a:lnTo>
                  <a:pt x="240" y="446"/>
                </a:lnTo>
                <a:lnTo>
                  <a:pt x="238" y="467"/>
                </a:lnTo>
                <a:lnTo>
                  <a:pt x="234" y="507"/>
                </a:lnTo>
                <a:lnTo>
                  <a:pt x="233" y="547"/>
                </a:lnTo>
                <a:lnTo>
                  <a:pt x="233" y="547"/>
                </a:lnTo>
                <a:lnTo>
                  <a:pt x="234" y="587"/>
                </a:lnTo>
                <a:lnTo>
                  <a:pt x="238" y="626"/>
                </a:lnTo>
                <a:lnTo>
                  <a:pt x="240" y="647"/>
                </a:lnTo>
                <a:lnTo>
                  <a:pt x="244" y="667"/>
                </a:lnTo>
                <a:lnTo>
                  <a:pt x="248" y="687"/>
                </a:lnTo>
                <a:lnTo>
                  <a:pt x="252" y="707"/>
                </a:lnTo>
                <a:lnTo>
                  <a:pt x="258" y="728"/>
                </a:lnTo>
                <a:lnTo>
                  <a:pt x="264" y="747"/>
                </a:lnTo>
                <a:lnTo>
                  <a:pt x="270" y="766"/>
                </a:lnTo>
                <a:lnTo>
                  <a:pt x="277" y="785"/>
                </a:lnTo>
                <a:lnTo>
                  <a:pt x="285" y="804"/>
                </a:lnTo>
                <a:lnTo>
                  <a:pt x="293" y="822"/>
                </a:lnTo>
                <a:lnTo>
                  <a:pt x="303" y="840"/>
                </a:lnTo>
                <a:lnTo>
                  <a:pt x="313" y="857"/>
                </a:lnTo>
                <a:lnTo>
                  <a:pt x="324" y="874"/>
                </a:lnTo>
                <a:lnTo>
                  <a:pt x="335" y="889"/>
                </a:lnTo>
                <a:lnTo>
                  <a:pt x="347" y="904"/>
                </a:lnTo>
                <a:lnTo>
                  <a:pt x="360" y="919"/>
                </a:lnTo>
                <a:lnTo>
                  <a:pt x="374" y="932"/>
                </a:lnTo>
                <a:lnTo>
                  <a:pt x="388" y="945"/>
                </a:lnTo>
                <a:lnTo>
                  <a:pt x="404" y="957"/>
                </a:lnTo>
                <a:lnTo>
                  <a:pt x="419" y="968"/>
                </a:lnTo>
                <a:lnTo>
                  <a:pt x="436" y="977"/>
                </a:lnTo>
                <a:lnTo>
                  <a:pt x="454" y="986"/>
                </a:lnTo>
                <a:lnTo>
                  <a:pt x="472" y="993"/>
                </a:lnTo>
                <a:lnTo>
                  <a:pt x="492" y="1000"/>
                </a:lnTo>
                <a:lnTo>
                  <a:pt x="511" y="1005"/>
                </a:lnTo>
                <a:lnTo>
                  <a:pt x="533" y="1008"/>
                </a:lnTo>
                <a:lnTo>
                  <a:pt x="554" y="1010"/>
                </a:lnTo>
                <a:lnTo>
                  <a:pt x="577" y="1011"/>
                </a:lnTo>
                <a:lnTo>
                  <a:pt x="577" y="1011"/>
                </a:lnTo>
                <a:lnTo>
                  <a:pt x="599" y="1010"/>
                </a:lnTo>
                <a:lnTo>
                  <a:pt x="621" y="1008"/>
                </a:lnTo>
                <a:lnTo>
                  <a:pt x="641" y="1005"/>
                </a:lnTo>
                <a:lnTo>
                  <a:pt x="661" y="1000"/>
                </a:lnTo>
                <a:lnTo>
                  <a:pt x="680" y="993"/>
                </a:lnTo>
                <a:lnTo>
                  <a:pt x="698" y="986"/>
                </a:lnTo>
                <a:lnTo>
                  <a:pt x="716" y="977"/>
                </a:lnTo>
                <a:lnTo>
                  <a:pt x="733" y="968"/>
                </a:lnTo>
                <a:lnTo>
                  <a:pt x="748" y="957"/>
                </a:lnTo>
                <a:lnTo>
                  <a:pt x="764" y="945"/>
                </a:lnTo>
                <a:lnTo>
                  <a:pt x="778" y="932"/>
                </a:lnTo>
                <a:lnTo>
                  <a:pt x="792" y="919"/>
                </a:lnTo>
                <a:lnTo>
                  <a:pt x="805" y="904"/>
                </a:lnTo>
                <a:lnTo>
                  <a:pt x="817" y="889"/>
                </a:lnTo>
                <a:lnTo>
                  <a:pt x="829" y="874"/>
                </a:lnTo>
                <a:lnTo>
                  <a:pt x="839" y="857"/>
                </a:lnTo>
                <a:lnTo>
                  <a:pt x="850" y="840"/>
                </a:lnTo>
                <a:lnTo>
                  <a:pt x="859" y="822"/>
                </a:lnTo>
                <a:lnTo>
                  <a:pt x="867" y="804"/>
                </a:lnTo>
                <a:lnTo>
                  <a:pt x="875" y="785"/>
                </a:lnTo>
                <a:lnTo>
                  <a:pt x="882" y="766"/>
                </a:lnTo>
                <a:lnTo>
                  <a:pt x="889" y="747"/>
                </a:lnTo>
                <a:lnTo>
                  <a:pt x="896" y="728"/>
                </a:lnTo>
                <a:lnTo>
                  <a:pt x="901" y="707"/>
                </a:lnTo>
                <a:lnTo>
                  <a:pt x="905" y="687"/>
                </a:lnTo>
                <a:lnTo>
                  <a:pt x="909" y="667"/>
                </a:lnTo>
                <a:lnTo>
                  <a:pt x="912" y="647"/>
                </a:lnTo>
                <a:lnTo>
                  <a:pt x="915" y="626"/>
                </a:lnTo>
                <a:lnTo>
                  <a:pt x="919" y="587"/>
                </a:lnTo>
                <a:lnTo>
                  <a:pt x="920" y="547"/>
                </a:lnTo>
                <a:lnTo>
                  <a:pt x="920" y="547"/>
                </a:lnTo>
                <a:lnTo>
                  <a:pt x="919" y="507"/>
                </a:lnTo>
                <a:lnTo>
                  <a:pt x="915" y="467"/>
                </a:lnTo>
                <a:lnTo>
                  <a:pt x="912" y="446"/>
                </a:lnTo>
                <a:lnTo>
                  <a:pt x="909" y="426"/>
                </a:lnTo>
                <a:lnTo>
                  <a:pt x="905" y="407"/>
                </a:lnTo>
                <a:lnTo>
                  <a:pt x="901" y="386"/>
                </a:lnTo>
                <a:lnTo>
                  <a:pt x="896" y="367"/>
                </a:lnTo>
                <a:lnTo>
                  <a:pt x="889" y="346"/>
                </a:lnTo>
                <a:lnTo>
                  <a:pt x="882" y="327"/>
                </a:lnTo>
                <a:lnTo>
                  <a:pt x="875" y="308"/>
                </a:lnTo>
                <a:lnTo>
                  <a:pt x="867" y="290"/>
                </a:lnTo>
                <a:lnTo>
                  <a:pt x="859" y="272"/>
                </a:lnTo>
                <a:lnTo>
                  <a:pt x="850" y="253"/>
                </a:lnTo>
                <a:lnTo>
                  <a:pt x="839" y="237"/>
                </a:lnTo>
                <a:lnTo>
                  <a:pt x="829" y="219"/>
                </a:lnTo>
                <a:lnTo>
                  <a:pt x="817" y="204"/>
                </a:lnTo>
                <a:lnTo>
                  <a:pt x="805" y="189"/>
                </a:lnTo>
                <a:lnTo>
                  <a:pt x="792" y="174"/>
                </a:lnTo>
                <a:lnTo>
                  <a:pt x="778" y="161"/>
                </a:lnTo>
                <a:lnTo>
                  <a:pt x="764" y="148"/>
                </a:lnTo>
                <a:lnTo>
                  <a:pt x="748" y="137"/>
                </a:lnTo>
                <a:lnTo>
                  <a:pt x="733" y="125"/>
                </a:lnTo>
                <a:lnTo>
                  <a:pt x="716" y="116"/>
                </a:lnTo>
                <a:lnTo>
                  <a:pt x="698" y="108"/>
                </a:lnTo>
                <a:lnTo>
                  <a:pt x="680" y="100"/>
                </a:lnTo>
                <a:lnTo>
                  <a:pt x="661" y="94"/>
                </a:lnTo>
                <a:lnTo>
                  <a:pt x="641" y="90"/>
                </a:lnTo>
                <a:lnTo>
                  <a:pt x="621" y="86"/>
                </a:lnTo>
                <a:lnTo>
                  <a:pt x="599" y="83"/>
                </a:lnTo>
                <a:lnTo>
                  <a:pt x="577" y="82"/>
                </a:lnTo>
                <a:lnTo>
                  <a:pt x="577" y="82"/>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65" name="Freeform 16">
            <a:extLst>
              <a:ext uri="{FF2B5EF4-FFF2-40B4-BE49-F238E27FC236}">
                <a16:creationId xmlns:a16="http://schemas.microsoft.com/office/drawing/2014/main" id="{B5D68C21-7AED-414B-9238-BC99BD377826}"/>
              </a:ext>
            </a:extLst>
          </p:cNvPr>
          <p:cNvSpPr>
            <a:spLocks/>
          </p:cNvSpPr>
          <p:nvPr userDrawn="1"/>
        </p:nvSpPr>
        <p:spPr bwMode="auto">
          <a:xfrm>
            <a:off x="3332164" y="889002"/>
            <a:ext cx="93663" cy="146050"/>
          </a:xfrm>
          <a:custGeom>
            <a:avLst/>
            <a:gdLst>
              <a:gd name="T0" fmla="*/ 52 w 712"/>
              <a:gd name="T1" fmla="*/ 723 h 1103"/>
              <a:gd name="T2" fmla="*/ 75 w 712"/>
              <a:gd name="T3" fmla="*/ 804 h 1103"/>
              <a:gd name="T4" fmla="*/ 112 w 712"/>
              <a:gd name="T5" fmla="*/ 875 h 1103"/>
              <a:gd name="T6" fmla="*/ 159 w 712"/>
              <a:gd name="T7" fmla="*/ 933 h 1103"/>
              <a:gd name="T8" fmla="*/ 215 w 712"/>
              <a:gd name="T9" fmla="*/ 978 h 1103"/>
              <a:gd name="T10" fmla="*/ 278 w 712"/>
              <a:gd name="T11" fmla="*/ 1009 h 1103"/>
              <a:gd name="T12" fmla="*/ 343 w 712"/>
              <a:gd name="T13" fmla="*/ 1024 h 1103"/>
              <a:gd name="T14" fmla="*/ 405 w 712"/>
              <a:gd name="T15" fmla="*/ 1022 h 1103"/>
              <a:gd name="T16" fmla="*/ 481 w 712"/>
              <a:gd name="T17" fmla="*/ 992 h 1103"/>
              <a:gd name="T18" fmla="*/ 529 w 712"/>
              <a:gd name="T19" fmla="*/ 929 h 1103"/>
              <a:gd name="T20" fmla="*/ 541 w 712"/>
              <a:gd name="T21" fmla="*/ 854 h 1103"/>
              <a:gd name="T22" fmla="*/ 528 w 712"/>
              <a:gd name="T23" fmla="*/ 795 h 1103"/>
              <a:gd name="T24" fmla="*/ 490 w 712"/>
              <a:gd name="T25" fmla="*/ 737 h 1103"/>
              <a:gd name="T26" fmla="*/ 429 w 712"/>
              <a:gd name="T27" fmla="*/ 688 h 1103"/>
              <a:gd name="T28" fmla="*/ 198 w 712"/>
              <a:gd name="T29" fmla="*/ 566 h 1103"/>
              <a:gd name="T30" fmla="*/ 94 w 712"/>
              <a:gd name="T31" fmla="*/ 485 h 1103"/>
              <a:gd name="T32" fmla="*/ 32 w 712"/>
              <a:gd name="T33" fmla="*/ 380 h 1103"/>
              <a:gd name="T34" fmla="*/ 16 w 712"/>
              <a:gd name="T35" fmla="*/ 267 h 1103"/>
              <a:gd name="T36" fmla="*/ 25 w 712"/>
              <a:gd name="T37" fmla="*/ 204 h 1103"/>
              <a:gd name="T38" fmla="*/ 52 w 712"/>
              <a:gd name="T39" fmla="*/ 145 h 1103"/>
              <a:gd name="T40" fmla="*/ 94 w 712"/>
              <a:gd name="T41" fmla="*/ 95 h 1103"/>
              <a:gd name="T42" fmla="*/ 148 w 712"/>
              <a:gd name="T43" fmla="*/ 54 h 1103"/>
              <a:gd name="T44" fmla="*/ 212 w 712"/>
              <a:gd name="T45" fmla="*/ 25 h 1103"/>
              <a:gd name="T46" fmla="*/ 285 w 712"/>
              <a:gd name="T47" fmla="*/ 11 h 1103"/>
              <a:gd name="T48" fmla="*/ 352 w 712"/>
              <a:gd name="T49" fmla="*/ 11 h 1103"/>
              <a:gd name="T50" fmla="*/ 427 w 712"/>
              <a:gd name="T51" fmla="*/ 25 h 1103"/>
              <a:gd name="T52" fmla="*/ 526 w 712"/>
              <a:gd name="T53" fmla="*/ 79 h 1103"/>
              <a:gd name="T54" fmla="*/ 556 w 712"/>
              <a:gd name="T55" fmla="*/ 47 h 1103"/>
              <a:gd name="T56" fmla="*/ 624 w 712"/>
              <a:gd name="T57" fmla="*/ 0 h 1103"/>
              <a:gd name="T58" fmla="*/ 568 w 712"/>
              <a:gd name="T59" fmla="*/ 328 h 1103"/>
              <a:gd name="T60" fmla="*/ 527 w 712"/>
              <a:gd name="T61" fmla="*/ 203 h 1103"/>
              <a:gd name="T62" fmla="*/ 481 w 712"/>
              <a:gd name="T63" fmla="*/ 142 h 1103"/>
              <a:gd name="T64" fmla="*/ 428 w 712"/>
              <a:gd name="T65" fmla="*/ 106 h 1103"/>
              <a:gd name="T66" fmla="*/ 358 w 712"/>
              <a:gd name="T67" fmla="*/ 86 h 1103"/>
              <a:gd name="T68" fmla="*/ 300 w 712"/>
              <a:gd name="T69" fmla="*/ 87 h 1103"/>
              <a:gd name="T70" fmla="*/ 240 w 712"/>
              <a:gd name="T71" fmla="*/ 113 h 1103"/>
              <a:gd name="T72" fmla="*/ 199 w 712"/>
              <a:gd name="T73" fmla="*/ 165 h 1103"/>
              <a:gd name="T74" fmla="*/ 187 w 712"/>
              <a:gd name="T75" fmla="*/ 222 h 1103"/>
              <a:gd name="T76" fmla="*/ 200 w 712"/>
              <a:gd name="T77" fmla="*/ 278 h 1103"/>
              <a:gd name="T78" fmla="*/ 241 w 712"/>
              <a:gd name="T79" fmla="*/ 336 h 1103"/>
              <a:gd name="T80" fmla="*/ 308 w 712"/>
              <a:gd name="T81" fmla="*/ 390 h 1103"/>
              <a:gd name="T82" fmla="*/ 535 w 712"/>
              <a:gd name="T83" fmla="*/ 510 h 1103"/>
              <a:gd name="T84" fmla="*/ 631 w 712"/>
              <a:gd name="T85" fmla="*/ 590 h 1103"/>
              <a:gd name="T86" fmla="*/ 695 w 712"/>
              <a:gd name="T87" fmla="*/ 693 h 1103"/>
              <a:gd name="T88" fmla="*/ 712 w 712"/>
              <a:gd name="T89" fmla="*/ 789 h 1103"/>
              <a:gd name="T90" fmla="*/ 701 w 712"/>
              <a:gd name="T91" fmla="*/ 872 h 1103"/>
              <a:gd name="T92" fmla="*/ 669 w 712"/>
              <a:gd name="T93" fmla="*/ 945 h 1103"/>
              <a:gd name="T94" fmla="*/ 619 w 712"/>
              <a:gd name="T95" fmla="*/ 1005 h 1103"/>
              <a:gd name="T96" fmla="*/ 556 w 712"/>
              <a:gd name="T97" fmla="*/ 1053 h 1103"/>
              <a:gd name="T98" fmla="*/ 483 w 712"/>
              <a:gd name="T99" fmla="*/ 1085 h 1103"/>
              <a:gd name="T100" fmla="*/ 402 w 712"/>
              <a:gd name="T101" fmla="*/ 1101 h 1103"/>
              <a:gd name="T102" fmla="*/ 323 w 712"/>
              <a:gd name="T103" fmla="*/ 1100 h 1103"/>
              <a:gd name="T104" fmla="*/ 223 w 712"/>
              <a:gd name="T105" fmla="*/ 1073 h 1103"/>
              <a:gd name="T106" fmla="*/ 111 w 712"/>
              <a:gd name="T107" fmla="*/ 1024 h 1103"/>
              <a:gd name="T108" fmla="*/ 77 w 712"/>
              <a:gd name="T109" fmla="*/ 1044 h 1103"/>
              <a:gd name="T110" fmla="*/ 51 w 712"/>
              <a:gd name="T111" fmla="*/ 1103 h 1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2" h="1103">
                <a:moveTo>
                  <a:pt x="51" y="1103"/>
                </a:moveTo>
                <a:lnTo>
                  <a:pt x="0" y="1103"/>
                </a:lnTo>
                <a:lnTo>
                  <a:pt x="0" y="723"/>
                </a:lnTo>
                <a:lnTo>
                  <a:pt x="52" y="723"/>
                </a:lnTo>
                <a:lnTo>
                  <a:pt x="52" y="723"/>
                </a:lnTo>
                <a:lnTo>
                  <a:pt x="56" y="740"/>
                </a:lnTo>
                <a:lnTo>
                  <a:pt x="60" y="757"/>
                </a:lnTo>
                <a:lnTo>
                  <a:pt x="64" y="773"/>
                </a:lnTo>
                <a:lnTo>
                  <a:pt x="69" y="789"/>
                </a:lnTo>
                <a:lnTo>
                  <a:pt x="75" y="804"/>
                </a:lnTo>
                <a:lnTo>
                  <a:pt x="81" y="819"/>
                </a:lnTo>
                <a:lnTo>
                  <a:pt x="88" y="834"/>
                </a:lnTo>
                <a:lnTo>
                  <a:pt x="96" y="848"/>
                </a:lnTo>
                <a:lnTo>
                  <a:pt x="104" y="861"/>
                </a:lnTo>
                <a:lnTo>
                  <a:pt x="112" y="875"/>
                </a:lnTo>
                <a:lnTo>
                  <a:pt x="120" y="888"/>
                </a:lnTo>
                <a:lnTo>
                  <a:pt x="129" y="899"/>
                </a:lnTo>
                <a:lnTo>
                  <a:pt x="139" y="911"/>
                </a:lnTo>
                <a:lnTo>
                  <a:pt x="149" y="923"/>
                </a:lnTo>
                <a:lnTo>
                  <a:pt x="159" y="933"/>
                </a:lnTo>
                <a:lnTo>
                  <a:pt x="170" y="943"/>
                </a:lnTo>
                <a:lnTo>
                  <a:pt x="180" y="952"/>
                </a:lnTo>
                <a:lnTo>
                  <a:pt x="192" y="962"/>
                </a:lnTo>
                <a:lnTo>
                  <a:pt x="204" y="970"/>
                </a:lnTo>
                <a:lnTo>
                  <a:pt x="215" y="978"/>
                </a:lnTo>
                <a:lnTo>
                  <a:pt x="227" y="985"/>
                </a:lnTo>
                <a:lnTo>
                  <a:pt x="240" y="992"/>
                </a:lnTo>
                <a:lnTo>
                  <a:pt x="252" y="998"/>
                </a:lnTo>
                <a:lnTo>
                  <a:pt x="264" y="1003"/>
                </a:lnTo>
                <a:lnTo>
                  <a:pt x="278" y="1009"/>
                </a:lnTo>
                <a:lnTo>
                  <a:pt x="290" y="1013"/>
                </a:lnTo>
                <a:lnTo>
                  <a:pt x="303" y="1017"/>
                </a:lnTo>
                <a:lnTo>
                  <a:pt x="316" y="1020"/>
                </a:lnTo>
                <a:lnTo>
                  <a:pt x="330" y="1022"/>
                </a:lnTo>
                <a:lnTo>
                  <a:pt x="343" y="1024"/>
                </a:lnTo>
                <a:lnTo>
                  <a:pt x="356" y="1025"/>
                </a:lnTo>
                <a:lnTo>
                  <a:pt x="370" y="1025"/>
                </a:lnTo>
                <a:lnTo>
                  <a:pt x="370" y="1025"/>
                </a:lnTo>
                <a:lnTo>
                  <a:pt x="388" y="1024"/>
                </a:lnTo>
                <a:lnTo>
                  <a:pt x="405" y="1022"/>
                </a:lnTo>
                <a:lnTo>
                  <a:pt x="423" y="1019"/>
                </a:lnTo>
                <a:lnTo>
                  <a:pt x="438" y="1015"/>
                </a:lnTo>
                <a:lnTo>
                  <a:pt x="453" y="1009"/>
                </a:lnTo>
                <a:lnTo>
                  <a:pt x="468" y="1000"/>
                </a:lnTo>
                <a:lnTo>
                  <a:pt x="481" y="992"/>
                </a:lnTo>
                <a:lnTo>
                  <a:pt x="493" y="982"/>
                </a:lnTo>
                <a:lnTo>
                  <a:pt x="504" y="971"/>
                </a:lnTo>
                <a:lnTo>
                  <a:pt x="514" y="958"/>
                </a:lnTo>
                <a:lnTo>
                  <a:pt x="522" y="944"/>
                </a:lnTo>
                <a:lnTo>
                  <a:pt x="529" y="929"/>
                </a:lnTo>
                <a:lnTo>
                  <a:pt x="534" y="912"/>
                </a:lnTo>
                <a:lnTo>
                  <a:pt x="538" y="894"/>
                </a:lnTo>
                <a:lnTo>
                  <a:pt x="541" y="875"/>
                </a:lnTo>
                <a:lnTo>
                  <a:pt x="541" y="854"/>
                </a:lnTo>
                <a:lnTo>
                  <a:pt x="541" y="854"/>
                </a:lnTo>
                <a:lnTo>
                  <a:pt x="541" y="842"/>
                </a:lnTo>
                <a:lnTo>
                  <a:pt x="539" y="831"/>
                </a:lnTo>
                <a:lnTo>
                  <a:pt x="537" y="818"/>
                </a:lnTo>
                <a:lnTo>
                  <a:pt x="533" y="806"/>
                </a:lnTo>
                <a:lnTo>
                  <a:pt x="528" y="795"/>
                </a:lnTo>
                <a:lnTo>
                  <a:pt x="523" y="783"/>
                </a:lnTo>
                <a:lnTo>
                  <a:pt x="516" y="771"/>
                </a:lnTo>
                <a:lnTo>
                  <a:pt x="509" y="759"/>
                </a:lnTo>
                <a:lnTo>
                  <a:pt x="499" y="748"/>
                </a:lnTo>
                <a:lnTo>
                  <a:pt x="490" y="737"/>
                </a:lnTo>
                <a:lnTo>
                  <a:pt x="480" y="726"/>
                </a:lnTo>
                <a:lnTo>
                  <a:pt x="469" y="716"/>
                </a:lnTo>
                <a:lnTo>
                  <a:pt x="457" y="706"/>
                </a:lnTo>
                <a:lnTo>
                  <a:pt x="443" y="697"/>
                </a:lnTo>
                <a:lnTo>
                  <a:pt x="429" y="688"/>
                </a:lnTo>
                <a:lnTo>
                  <a:pt x="415" y="680"/>
                </a:lnTo>
                <a:lnTo>
                  <a:pt x="250" y="593"/>
                </a:lnTo>
                <a:lnTo>
                  <a:pt x="250" y="593"/>
                </a:lnTo>
                <a:lnTo>
                  <a:pt x="223" y="580"/>
                </a:lnTo>
                <a:lnTo>
                  <a:pt x="198" y="566"/>
                </a:lnTo>
                <a:lnTo>
                  <a:pt x="174" y="551"/>
                </a:lnTo>
                <a:lnTo>
                  <a:pt x="152" y="535"/>
                </a:lnTo>
                <a:lnTo>
                  <a:pt x="131" y="520"/>
                </a:lnTo>
                <a:lnTo>
                  <a:pt x="112" y="502"/>
                </a:lnTo>
                <a:lnTo>
                  <a:pt x="94" y="485"/>
                </a:lnTo>
                <a:lnTo>
                  <a:pt x="78" y="467"/>
                </a:lnTo>
                <a:lnTo>
                  <a:pt x="64" y="447"/>
                </a:lnTo>
                <a:lnTo>
                  <a:pt x="52" y="426"/>
                </a:lnTo>
                <a:lnTo>
                  <a:pt x="40" y="404"/>
                </a:lnTo>
                <a:lnTo>
                  <a:pt x="32" y="380"/>
                </a:lnTo>
                <a:lnTo>
                  <a:pt x="25" y="355"/>
                </a:lnTo>
                <a:lnTo>
                  <a:pt x="20" y="328"/>
                </a:lnTo>
                <a:lnTo>
                  <a:pt x="17" y="299"/>
                </a:lnTo>
                <a:lnTo>
                  <a:pt x="16" y="267"/>
                </a:lnTo>
                <a:lnTo>
                  <a:pt x="16" y="267"/>
                </a:lnTo>
                <a:lnTo>
                  <a:pt x="16" y="254"/>
                </a:lnTo>
                <a:lnTo>
                  <a:pt x="17" y="242"/>
                </a:lnTo>
                <a:lnTo>
                  <a:pt x="19" y="228"/>
                </a:lnTo>
                <a:lnTo>
                  <a:pt x="22" y="216"/>
                </a:lnTo>
                <a:lnTo>
                  <a:pt x="25" y="204"/>
                </a:lnTo>
                <a:lnTo>
                  <a:pt x="29" y="192"/>
                </a:lnTo>
                <a:lnTo>
                  <a:pt x="34" y="179"/>
                </a:lnTo>
                <a:lnTo>
                  <a:pt x="39" y="167"/>
                </a:lnTo>
                <a:lnTo>
                  <a:pt x="45" y="156"/>
                </a:lnTo>
                <a:lnTo>
                  <a:pt x="52" y="145"/>
                </a:lnTo>
                <a:lnTo>
                  <a:pt x="59" y="134"/>
                </a:lnTo>
                <a:lnTo>
                  <a:pt x="67" y="123"/>
                </a:lnTo>
                <a:lnTo>
                  <a:pt x="75" y="114"/>
                </a:lnTo>
                <a:lnTo>
                  <a:pt x="83" y="104"/>
                </a:lnTo>
                <a:lnTo>
                  <a:pt x="94" y="95"/>
                </a:lnTo>
                <a:lnTo>
                  <a:pt x="103" y="85"/>
                </a:lnTo>
                <a:lnTo>
                  <a:pt x="113" y="76"/>
                </a:lnTo>
                <a:lnTo>
                  <a:pt x="124" y="69"/>
                </a:lnTo>
                <a:lnTo>
                  <a:pt x="135" y="61"/>
                </a:lnTo>
                <a:lnTo>
                  <a:pt x="148" y="54"/>
                </a:lnTo>
                <a:lnTo>
                  <a:pt x="160" y="46"/>
                </a:lnTo>
                <a:lnTo>
                  <a:pt x="172" y="40"/>
                </a:lnTo>
                <a:lnTo>
                  <a:pt x="186" y="34"/>
                </a:lnTo>
                <a:lnTo>
                  <a:pt x="199" y="29"/>
                </a:lnTo>
                <a:lnTo>
                  <a:pt x="212" y="25"/>
                </a:lnTo>
                <a:lnTo>
                  <a:pt x="226" y="21"/>
                </a:lnTo>
                <a:lnTo>
                  <a:pt x="241" y="17"/>
                </a:lnTo>
                <a:lnTo>
                  <a:pt x="255" y="14"/>
                </a:lnTo>
                <a:lnTo>
                  <a:pt x="269" y="12"/>
                </a:lnTo>
                <a:lnTo>
                  <a:pt x="285" y="11"/>
                </a:lnTo>
                <a:lnTo>
                  <a:pt x="300" y="10"/>
                </a:lnTo>
                <a:lnTo>
                  <a:pt x="315" y="9"/>
                </a:lnTo>
                <a:lnTo>
                  <a:pt x="315" y="9"/>
                </a:lnTo>
                <a:lnTo>
                  <a:pt x="335" y="10"/>
                </a:lnTo>
                <a:lnTo>
                  <a:pt x="352" y="11"/>
                </a:lnTo>
                <a:lnTo>
                  <a:pt x="369" y="12"/>
                </a:lnTo>
                <a:lnTo>
                  <a:pt x="384" y="15"/>
                </a:lnTo>
                <a:lnTo>
                  <a:pt x="399" y="18"/>
                </a:lnTo>
                <a:lnTo>
                  <a:pt x="414" y="21"/>
                </a:lnTo>
                <a:lnTo>
                  <a:pt x="427" y="25"/>
                </a:lnTo>
                <a:lnTo>
                  <a:pt x="440" y="30"/>
                </a:lnTo>
                <a:lnTo>
                  <a:pt x="464" y="40"/>
                </a:lnTo>
                <a:lnTo>
                  <a:pt x="486" y="53"/>
                </a:lnTo>
                <a:lnTo>
                  <a:pt x="507" y="66"/>
                </a:lnTo>
                <a:lnTo>
                  <a:pt x="526" y="79"/>
                </a:lnTo>
                <a:lnTo>
                  <a:pt x="526" y="79"/>
                </a:lnTo>
                <a:lnTo>
                  <a:pt x="534" y="73"/>
                </a:lnTo>
                <a:lnTo>
                  <a:pt x="541" y="65"/>
                </a:lnTo>
                <a:lnTo>
                  <a:pt x="549" y="57"/>
                </a:lnTo>
                <a:lnTo>
                  <a:pt x="556" y="47"/>
                </a:lnTo>
                <a:lnTo>
                  <a:pt x="562" y="36"/>
                </a:lnTo>
                <a:lnTo>
                  <a:pt x="568" y="26"/>
                </a:lnTo>
                <a:lnTo>
                  <a:pt x="572" y="14"/>
                </a:lnTo>
                <a:lnTo>
                  <a:pt x="576" y="0"/>
                </a:lnTo>
                <a:lnTo>
                  <a:pt x="624" y="0"/>
                </a:lnTo>
                <a:lnTo>
                  <a:pt x="624" y="380"/>
                </a:lnTo>
                <a:lnTo>
                  <a:pt x="575" y="380"/>
                </a:lnTo>
                <a:lnTo>
                  <a:pt x="575" y="380"/>
                </a:lnTo>
                <a:lnTo>
                  <a:pt x="572" y="354"/>
                </a:lnTo>
                <a:lnTo>
                  <a:pt x="568" y="328"/>
                </a:lnTo>
                <a:lnTo>
                  <a:pt x="563" y="301"/>
                </a:lnTo>
                <a:lnTo>
                  <a:pt x="556" y="275"/>
                </a:lnTo>
                <a:lnTo>
                  <a:pt x="549" y="250"/>
                </a:lnTo>
                <a:lnTo>
                  <a:pt x="538" y="225"/>
                </a:lnTo>
                <a:lnTo>
                  <a:pt x="527" y="203"/>
                </a:lnTo>
                <a:lnTo>
                  <a:pt x="514" y="180"/>
                </a:lnTo>
                <a:lnTo>
                  <a:pt x="507" y="170"/>
                </a:lnTo>
                <a:lnTo>
                  <a:pt x="498" y="160"/>
                </a:lnTo>
                <a:lnTo>
                  <a:pt x="490" y="151"/>
                </a:lnTo>
                <a:lnTo>
                  <a:pt x="481" y="142"/>
                </a:lnTo>
                <a:lnTo>
                  <a:pt x="472" y="133"/>
                </a:lnTo>
                <a:lnTo>
                  <a:pt x="462" y="125"/>
                </a:lnTo>
                <a:lnTo>
                  <a:pt x="451" y="118"/>
                </a:lnTo>
                <a:lnTo>
                  <a:pt x="440" y="112"/>
                </a:lnTo>
                <a:lnTo>
                  <a:pt x="428" y="106"/>
                </a:lnTo>
                <a:lnTo>
                  <a:pt x="416" y="101"/>
                </a:lnTo>
                <a:lnTo>
                  <a:pt x="402" y="96"/>
                </a:lnTo>
                <a:lnTo>
                  <a:pt x="388" y="91"/>
                </a:lnTo>
                <a:lnTo>
                  <a:pt x="374" y="88"/>
                </a:lnTo>
                <a:lnTo>
                  <a:pt x="358" y="86"/>
                </a:lnTo>
                <a:lnTo>
                  <a:pt x="343" y="85"/>
                </a:lnTo>
                <a:lnTo>
                  <a:pt x="327" y="84"/>
                </a:lnTo>
                <a:lnTo>
                  <a:pt x="327" y="84"/>
                </a:lnTo>
                <a:lnTo>
                  <a:pt x="313" y="85"/>
                </a:lnTo>
                <a:lnTo>
                  <a:pt x="300" y="87"/>
                </a:lnTo>
                <a:lnTo>
                  <a:pt x="287" y="90"/>
                </a:lnTo>
                <a:lnTo>
                  <a:pt x="275" y="95"/>
                </a:lnTo>
                <a:lnTo>
                  <a:pt x="262" y="100"/>
                </a:lnTo>
                <a:lnTo>
                  <a:pt x="251" y="106"/>
                </a:lnTo>
                <a:lnTo>
                  <a:pt x="240" y="113"/>
                </a:lnTo>
                <a:lnTo>
                  <a:pt x="230" y="121"/>
                </a:lnTo>
                <a:lnTo>
                  <a:pt x="220" y="131"/>
                </a:lnTo>
                <a:lnTo>
                  <a:pt x="212" y="142"/>
                </a:lnTo>
                <a:lnTo>
                  <a:pt x="205" y="153"/>
                </a:lnTo>
                <a:lnTo>
                  <a:pt x="199" y="165"/>
                </a:lnTo>
                <a:lnTo>
                  <a:pt x="194" y="178"/>
                </a:lnTo>
                <a:lnTo>
                  <a:pt x="190" y="192"/>
                </a:lnTo>
                <a:lnTo>
                  <a:pt x="188" y="207"/>
                </a:lnTo>
                <a:lnTo>
                  <a:pt x="187" y="222"/>
                </a:lnTo>
                <a:lnTo>
                  <a:pt x="187" y="222"/>
                </a:lnTo>
                <a:lnTo>
                  <a:pt x="187" y="233"/>
                </a:lnTo>
                <a:lnTo>
                  <a:pt x="189" y="244"/>
                </a:lnTo>
                <a:lnTo>
                  <a:pt x="192" y="254"/>
                </a:lnTo>
                <a:lnTo>
                  <a:pt x="195" y="265"/>
                </a:lnTo>
                <a:lnTo>
                  <a:pt x="200" y="278"/>
                </a:lnTo>
                <a:lnTo>
                  <a:pt x="206" y="289"/>
                </a:lnTo>
                <a:lnTo>
                  <a:pt x="213" y="301"/>
                </a:lnTo>
                <a:lnTo>
                  <a:pt x="221" y="312"/>
                </a:lnTo>
                <a:lnTo>
                  <a:pt x="231" y="325"/>
                </a:lnTo>
                <a:lnTo>
                  <a:pt x="241" y="336"/>
                </a:lnTo>
                <a:lnTo>
                  <a:pt x="252" y="348"/>
                </a:lnTo>
                <a:lnTo>
                  <a:pt x="264" y="359"/>
                </a:lnTo>
                <a:lnTo>
                  <a:pt x="278" y="370"/>
                </a:lnTo>
                <a:lnTo>
                  <a:pt x="292" y="380"/>
                </a:lnTo>
                <a:lnTo>
                  <a:pt x="308" y="390"/>
                </a:lnTo>
                <a:lnTo>
                  <a:pt x="325" y="399"/>
                </a:lnTo>
                <a:lnTo>
                  <a:pt x="490" y="483"/>
                </a:lnTo>
                <a:lnTo>
                  <a:pt x="490" y="483"/>
                </a:lnTo>
                <a:lnTo>
                  <a:pt x="513" y="495"/>
                </a:lnTo>
                <a:lnTo>
                  <a:pt x="535" y="510"/>
                </a:lnTo>
                <a:lnTo>
                  <a:pt x="556" y="524"/>
                </a:lnTo>
                <a:lnTo>
                  <a:pt x="576" y="538"/>
                </a:lnTo>
                <a:lnTo>
                  <a:pt x="596" y="555"/>
                </a:lnTo>
                <a:lnTo>
                  <a:pt x="614" y="572"/>
                </a:lnTo>
                <a:lnTo>
                  <a:pt x="631" y="590"/>
                </a:lnTo>
                <a:lnTo>
                  <a:pt x="648" y="609"/>
                </a:lnTo>
                <a:lnTo>
                  <a:pt x="662" y="628"/>
                </a:lnTo>
                <a:lnTo>
                  <a:pt x="674" y="649"/>
                </a:lnTo>
                <a:lnTo>
                  <a:pt x="686" y="670"/>
                </a:lnTo>
                <a:lnTo>
                  <a:pt x="695" y="693"/>
                </a:lnTo>
                <a:lnTo>
                  <a:pt x="703" y="715"/>
                </a:lnTo>
                <a:lnTo>
                  <a:pt x="708" y="739"/>
                </a:lnTo>
                <a:lnTo>
                  <a:pt x="711" y="763"/>
                </a:lnTo>
                <a:lnTo>
                  <a:pt x="712" y="789"/>
                </a:lnTo>
                <a:lnTo>
                  <a:pt x="712" y="789"/>
                </a:lnTo>
                <a:lnTo>
                  <a:pt x="712" y="806"/>
                </a:lnTo>
                <a:lnTo>
                  <a:pt x="711" y="824"/>
                </a:lnTo>
                <a:lnTo>
                  <a:pt x="708" y="840"/>
                </a:lnTo>
                <a:lnTo>
                  <a:pt x="705" y="856"/>
                </a:lnTo>
                <a:lnTo>
                  <a:pt x="701" y="872"/>
                </a:lnTo>
                <a:lnTo>
                  <a:pt x="696" y="887"/>
                </a:lnTo>
                <a:lnTo>
                  <a:pt x="691" y="902"/>
                </a:lnTo>
                <a:lnTo>
                  <a:pt x="684" y="917"/>
                </a:lnTo>
                <a:lnTo>
                  <a:pt x="676" y="931"/>
                </a:lnTo>
                <a:lnTo>
                  <a:pt x="669" y="945"/>
                </a:lnTo>
                <a:lnTo>
                  <a:pt x="660" y="957"/>
                </a:lnTo>
                <a:lnTo>
                  <a:pt x="651" y="971"/>
                </a:lnTo>
                <a:lnTo>
                  <a:pt x="641" y="983"/>
                </a:lnTo>
                <a:lnTo>
                  <a:pt x="630" y="994"/>
                </a:lnTo>
                <a:lnTo>
                  <a:pt x="619" y="1005"/>
                </a:lnTo>
                <a:lnTo>
                  <a:pt x="608" y="1016"/>
                </a:lnTo>
                <a:lnTo>
                  <a:pt x="596" y="1026"/>
                </a:lnTo>
                <a:lnTo>
                  <a:pt x="582" y="1035"/>
                </a:lnTo>
                <a:lnTo>
                  <a:pt x="570" y="1044"/>
                </a:lnTo>
                <a:lnTo>
                  <a:pt x="556" y="1053"/>
                </a:lnTo>
                <a:lnTo>
                  <a:pt x="542" y="1061"/>
                </a:lnTo>
                <a:lnTo>
                  <a:pt x="528" y="1068"/>
                </a:lnTo>
                <a:lnTo>
                  <a:pt x="513" y="1074"/>
                </a:lnTo>
                <a:lnTo>
                  <a:pt x="498" y="1080"/>
                </a:lnTo>
                <a:lnTo>
                  <a:pt x="483" y="1085"/>
                </a:lnTo>
                <a:lnTo>
                  <a:pt x="467" y="1089"/>
                </a:lnTo>
                <a:lnTo>
                  <a:pt x="451" y="1093"/>
                </a:lnTo>
                <a:lnTo>
                  <a:pt x="435" y="1096"/>
                </a:lnTo>
                <a:lnTo>
                  <a:pt x="419" y="1100"/>
                </a:lnTo>
                <a:lnTo>
                  <a:pt x="402" y="1101"/>
                </a:lnTo>
                <a:lnTo>
                  <a:pt x="386" y="1103"/>
                </a:lnTo>
                <a:lnTo>
                  <a:pt x="370" y="1103"/>
                </a:lnTo>
                <a:lnTo>
                  <a:pt x="370" y="1103"/>
                </a:lnTo>
                <a:lnTo>
                  <a:pt x="345" y="1102"/>
                </a:lnTo>
                <a:lnTo>
                  <a:pt x="323" y="1100"/>
                </a:lnTo>
                <a:lnTo>
                  <a:pt x="300" y="1096"/>
                </a:lnTo>
                <a:lnTo>
                  <a:pt x="280" y="1091"/>
                </a:lnTo>
                <a:lnTo>
                  <a:pt x="260" y="1086"/>
                </a:lnTo>
                <a:lnTo>
                  <a:pt x="241" y="1080"/>
                </a:lnTo>
                <a:lnTo>
                  <a:pt x="223" y="1073"/>
                </a:lnTo>
                <a:lnTo>
                  <a:pt x="206" y="1067"/>
                </a:lnTo>
                <a:lnTo>
                  <a:pt x="175" y="1053"/>
                </a:lnTo>
                <a:lnTo>
                  <a:pt x="147" y="1039"/>
                </a:lnTo>
                <a:lnTo>
                  <a:pt x="122" y="1028"/>
                </a:lnTo>
                <a:lnTo>
                  <a:pt x="111" y="1024"/>
                </a:lnTo>
                <a:lnTo>
                  <a:pt x="101" y="1022"/>
                </a:lnTo>
                <a:lnTo>
                  <a:pt x="101" y="1022"/>
                </a:lnTo>
                <a:lnTo>
                  <a:pt x="93" y="1028"/>
                </a:lnTo>
                <a:lnTo>
                  <a:pt x="85" y="1036"/>
                </a:lnTo>
                <a:lnTo>
                  <a:pt x="77" y="1044"/>
                </a:lnTo>
                <a:lnTo>
                  <a:pt x="71" y="1055"/>
                </a:lnTo>
                <a:lnTo>
                  <a:pt x="64" y="1065"/>
                </a:lnTo>
                <a:lnTo>
                  <a:pt x="59" y="1076"/>
                </a:lnTo>
                <a:lnTo>
                  <a:pt x="54" y="1089"/>
                </a:lnTo>
                <a:lnTo>
                  <a:pt x="51" y="1103"/>
                </a:lnTo>
                <a:lnTo>
                  <a:pt x="51" y="1103"/>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66" name="Freeform 17">
            <a:extLst>
              <a:ext uri="{FF2B5EF4-FFF2-40B4-BE49-F238E27FC236}">
                <a16:creationId xmlns:a16="http://schemas.microsoft.com/office/drawing/2014/main" id="{66C73EC7-6D1D-844B-A699-5AF0D250FD86}"/>
              </a:ext>
            </a:extLst>
          </p:cNvPr>
          <p:cNvSpPr>
            <a:spLocks/>
          </p:cNvSpPr>
          <p:nvPr userDrawn="1"/>
        </p:nvSpPr>
        <p:spPr bwMode="auto">
          <a:xfrm>
            <a:off x="3455989" y="893764"/>
            <a:ext cx="142875" cy="136525"/>
          </a:xfrm>
          <a:custGeom>
            <a:avLst/>
            <a:gdLst>
              <a:gd name="T0" fmla="*/ 1028 w 1078"/>
              <a:gd name="T1" fmla="*/ 244 h 1035"/>
              <a:gd name="T2" fmla="*/ 1020 w 1078"/>
              <a:gd name="T3" fmla="*/ 209 h 1035"/>
              <a:gd name="T4" fmla="*/ 1006 w 1078"/>
              <a:gd name="T5" fmla="*/ 163 h 1035"/>
              <a:gd name="T6" fmla="*/ 995 w 1078"/>
              <a:gd name="T7" fmla="*/ 138 h 1035"/>
              <a:gd name="T8" fmla="*/ 980 w 1078"/>
              <a:gd name="T9" fmla="*/ 118 h 1035"/>
              <a:gd name="T10" fmla="*/ 959 w 1078"/>
              <a:gd name="T11" fmla="*/ 101 h 1035"/>
              <a:gd name="T12" fmla="*/ 932 w 1078"/>
              <a:gd name="T13" fmla="*/ 90 h 1035"/>
              <a:gd name="T14" fmla="*/ 895 w 1078"/>
              <a:gd name="T15" fmla="*/ 82 h 1035"/>
              <a:gd name="T16" fmla="*/ 848 w 1078"/>
              <a:gd name="T17" fmla="*/ 78 h 1035"/>
              <a:gd name="T18" fmla="*/ 646 w 1078"/>
              <a:gd name="T19" fmla="*/ 78 h 1035"/>
              <a:gd name="T20" fmla="*/ 646 w 1078"/>
              <a:gd name="T21" fmla="*/ 783 h 1035"/>
              <a:gd name="T22" fmla="*/ 648 w 1078"/>
              <a:gd name="T23" fmla="*/ 842 h 1035"/>
              <a:gd name="T24" fmla="*/ 652 w 1078"/>
              <a:gd name="T25" fmla="*/ 888 h 1035"/>
              <a:gd name="T26" fmla="*/ 662 w 1078"/>
              <a:gd name="T27" fmla="*/ 923 h 1035"/>
              <a:gd name="T28" fmla="*/ 672 w 1078"/>
              <a:gd name="T29" fmla="*/ 943 h 1035"/>
              <a:gd name="T30" fmla="*/ 680 w 1078"/>
              <a:gd name="T31" fmla="*/ 954 h 1035"/>
              <a:gd name="T32" fmla="*/ 691 w 1078"/>
              <a:gd name="T33" fmla="*/ 963 h 1035"/>
              <a:gd name="T34" fmla="*/ 711 w 1078"/>
              <a:gd name="T35" fmla="*/ 973 h 1035"/>
              <a:gd name="T36" fmla="*/ 743 w 1078"/>
              <a:gd name="T37" fmla="*/ 982 h 1035"/>
              <a:gd name="T38" fmla="*/ 787 w 1078"/>
              <a:gd name="T39" fmla="*/ 985 h 1035"/>
              <a:gd name="T40" fmla="*/ 812 w 1078"/>
              <a:gd name="T41" fmla="*/ 1035 h 1035"/>
              <a:gd name="T42" fmla="*/ 267 w 1078"/>
              <a:gd name="T43" fmla="*/ 985 h 1035"/>
              <a:gd name="T44" fmla="*/ 293 w 1078"/>
              <a:gd name="T45" fmla="*/ 985 h 1035"/>
              <a:gd name="T46" fmla="*/ 335 w 1078"/>
              <a:gd name="T47" fmla="*/ 982 h 1035"/>
              <a:gd name="T48" fmla="*/ 369 w 1078"/>
              <a:gd name="T49" fmla="*/ 973 h 1035"/>
              <a:gd name="T50" fmla="*/ 388 w 1078"/>
              <a:gd name="T51" fmla="*/ 963 h 1035"/>
              <a:gd name="T52" fmla="*/ 399 w 1078"/>
              <a:gd name="T53" fmla="*/ 954 h 1035"/>
              <a:gd name="T54" fmla="*/ 407 w 1078"/>
              <a:gd name="T55" fmla="*/ 943 h 1035"/>
              <a:gd name="T56" fmla="*/ 417 w 1078"/>
              <a:gd name="T57" fmla="*/ 923 h 1035"/>
              <a:gd name="T58" fmla="*/ 425 w 1078"/>
              <a:gd name="T59" fmla="*/ 888 h 1035"/>
              <a:gd name="T60" fmla="*/ 430 w 1078"/>
              <a:gd name="T61" fmla="*/ 842 h 1035"/>
              <a:gd name="T62" fmla="*/ 432 w 1078"/>
              <a:gd name="T63" fmla="*/ 783 h 1035"/>
              <a:gd name="T64" fmla="*/ 259 w 1078"/>
              <a:gd name="T65" fmla="*/ 78 h 1035"/>
              <a:gd name="T66" fmla="*/ 231 w 1078"/>
              <a:gd name="T67" fmla="*/ 78 h 1035"/>
              <a:gd name="T68" fmla="*/ 184 w 1078"/>
              <a:gd name="T69" fmla="*/ 82 h 1035"/>
              <a:gd name="T70" fmla="*/ 147 w 1078"/>
              <a:gd name="T71" fmla="*/ 90 h 1035"/>
              <a:gd name="T72" fmla="*/ 120 w 1078"/>
              <a:gd name="T73" fmla="*/ 101 h 1035"/>
              <a:gd name="T74" fmla="*/ 99 w 1078"/>
              <a:gd name="T75" fmla="*/ 118 h 1035"/>
              <a:gd name="T76" fmla="*/ 85 w 1078"/>
              <a:gd name="T77" fmla="*/ 138 h 1035"/>
              <a:gd name="T78" fmla="*/ 74 w 1078"/>
              <a:gd name="T79" fmla="*/ 163 h 1035"/>
              <a:gd name="T80" fmla="*/ 60 w 1078"/>
              <a:gd name="T81" fmla="*/ 209 h 1035"/>
              <a:gd name="T82" fmla="*/ 0 w 1078"/>
              <a:gd name="T83" fmla="*/ 244 h 1035"/>
              <a:gd name="T84" fmla="*/ 1065 w 1078"/>
              <a:gd name="T85" fmla="*/ 0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8" h="1035">
                <a:moveTo>
                  <a:pt x="1078" y="244"/>
                </a:moveTo>
                <a:lnTo>
                  <a:pt x="1028" y="244"/>
                </a:lnTo>
                <a:lnTo>
                  <a:pt x="1020" y="209"/>
                </a:lnTo>
                <a:lnTo>
                  <a:pt x="1020" y="209"/>
                </a:lnTo>
                <a:lnTo>
                  <a:pt x="1011" y="177"/>
                </a:lnTo>
                <a:lnTo>
                  <a:pt x="1006" y="163"/>
                </a:lnTo>
                <a:lnTo>
                  <a:pt x="1001" y="150"/>
                </a:lnTo>
                <a:lnTo>
                  <a:pt x="995" y="138"/>
                </a:lnTo>
                <a:lnTo>
                  <a:pt x="988" y="127"/>
                </a:lnTo>
                <a:lnTo>
                  <a:pt x="980" y="118"/>
                </a:lnTo>
                <a:lnTo>
                  <a:pt x="970" y="109"/>
                </a:lnTo>
                <a:lnTo>
                  <a:pt x="959" y="101"/>
                </a:lnTo>
                <a:lnTo>
                  <a:pt x="947" y="95"/>
                </a:lnTo>
                <a:lnTo>
                  <a:pt x="932" y="90"/>
                </a:lnTo>
                <a:lnTo>
                  <a:pt x="914" y="85"/>
                </a:lnTo>
                <a:lnTo>
                  <a:pt x="895" y="82"/>
                </a:lnTo>
                <a:lnTo>
                  <a:pt x="872" y="80"/>
                </a:lnTo>
                <a:lnTo>
                  <a:pt x="848" y="78"/>
                </a:lnTo>
                <a:lnTo>
                  <a:pt x="819" y="78"/>
                </a:lnTo>
                <a:lnTo>
                  <a:pt x="646" y="78"/>
                </a:lnTo>
                <a:lnTo>
                  <a:pt x="646" y="783"/>
                </a:lnTo>
                <a:lnTo>
                  <a:pt x="646" y="783"/>
                </a:lnTo>
                <a:lnTo>
                  <a:pt x="647" y="814"/>
                </a:lnTo>
                <a:lnTo>
                  <a:pt x="648" y="842"/>
                </a:lnTo>
                <a:lnTo>
                  <a:pt x="649" y="866"/>
                </a:lnTo>
                <a:lnTo>
                  <a:pt x="652" y="888"/>
                </a:lnTo>
                <a:lnTo>
                  <a:pt x="657" y="906"/>
                </a:lnTo>
                <a:lnTo>
                  <a:pt x="662" y="923"/>
                </a:lnTo>
                <a:lnTo>
                  <a:pt x="668" y="937"/>
                </a:lnTo>
                <a:lnTo>
                  <a:pt x="672" y="943"/>
                </a:lnTo>
                <a:lnTo>
                  <a:pt x="676" y="949"/>
                </a:lnTo>
                <a:lnTo>
                  <a:pt x="680" y="954"/>
                </a:lnTo>
                <a:lnTo>
                  <a:pt x="685" y="958"/>
                </a:lnTo>
                <a:lnTo>
                  <a:pt x="691" y="963"/>
                </a:lnTo>
                <a:lnTo>
                  <a:pt x="697" y="966"/>
                </a:lnTo>
                <a:lnTo>
                  <a:pt x="711" y="973"/>
                </a:lnTo>
                <a:lnTo>
                  <a:pt x="726" y="978"/>
                </a:lnTo>
                <a:lnTo>
                  <a:pt x="743" y="982"/>
                </a:lnTo>
                <a:lnTo>
                  <a:pt x="764" y="984"/>
                </a:lnTo>
                <a:lnTo>
                  <a:pt x="787" y="985"/>
                </a:lnTo>
                <a:lnTo>
                  <a:pt x="812" y="985"/>
                </a:lnTo>
                <a:lnTo>
                  <a:pt x="812" y="1035"/>
                </a:lnTo>
                <a:lnTo>
                  <a:pt x="267" y="1035"/>
                </a:lnTo>
                <a:lnTo>
                  <a:pt x="267" y="985"/>
                </a:lnTo>
                <a:lnTo>
                  <a:pt x="267" y="985"/>
                </a:lnTo>
                <a:lnTo>
                  <a:pt x="293" y="985"/>
                </a:lnTo>
                <a:lnTo>
                  <a:pt x="315" y="984"/>
                </a:lnTo>
                <a:lnTo>
                  <a:pt x="335" y="982"/>
                </a:lnTo>
                <a:lnTo>
                  <a:pt x="353" y="978"/>
                </a:lnTo>
                <a:lnTo>
                  <a:pt x="369" y="973"/>
                </a:lnTo>
                <a:lnTo>
                  <a:pt x="383" y="966"/>
                </a:lnTo>
                <a:lnTo>
                  <a:pt x="388" y="963"/>
                </a:lnTo>
                <a:lnTo>
                  <a:pt x="394" y="958"/>
                </a:lnTo>
                <a:lnTo>
                  <a:pt x="399" y="954"/>
                </a:lnTo>
                <a:lnTo>
                  <a:pt x="403" y="949"/>
                </a:lnTo>
                <a:lnTo>
                  <a:pt x="407" y="943"/>
                </a:lnTo>
                <a:lnTo>
                  <a:pt x="411" y="937"/>
                </a:lnTo>
                <a:lnTo>
                  <a:pt x="417" y="923"/>
                </a:lnTo>
                <a:lnTo>
                  <a:pt x="422" y="906"/>
                </a:lnTo>
                <a:lnTo>
                  <a:pt x="425" y="888"/>
                </a:lnTo>
                <a:lnTo>
                  <a:pt x="429" y="866"/>
                </a:lnTo>
                <a:lnTo>
                  <a:pt x="430" y="842"/>
                </a:lnTo>
                <a:lnTo>
                  <a:pt x="431" y="814"/>
                </a:lnTo>
                <a:lnTo>
                  <a:pt x="432" y="783"/>
                </a:lnTo>
                <a:lnTo>
                  <a:pt x="432" y="78"/>
                </a:lnTo>
                <a:lnTo>
                  <a:pt x="259" y="78"/>
                </a:lnTo>
                <a:lnTo>
                  <a:pt x="259" y="78"/>
                </a:lnTo>
                <a:lnTo>
                  <a:pt x="231" y="78"/>
                </a:lnTo>
                <a:lnTo>
                  <a:pt x="206" y="80"/>
                </a:lnTo>
                <a:lnTo>
                  <a:pt x="184" y="82"/>
                </a:lnTo>
                <a:lnTo>
                  <a:pt x="165" y="85"/>
                </a:lnTo>
                <a:lnTo>
                  <a:pt x="147" y="90"/>
                </a:lnTo>
                <a:lnTo>
                  <a:pt x="133" y="95"/>
                </a:lnTo>
                <a:lnTo>
                  <a:pt x="120" y="101"/>
                </a:lnTo>
                <a:lnTo>
                  <a:pt x="110" y="109"/>
                </a:lnTo>
                <a:lnTo>
                  <a:pt x="99" y="118"/>
                </a:lnTo>
                <a:lnTo>
                  <a:pt x="91" y="127"/>
                </a:lnTo>
                <a:lnTo>
                  <a:pt x="85" y="138"/>
                </a:lnTo>
                <a:lnTo>
                  <a:pt x="79" y="150"/>
                </a:lnTo>
                <a:lnTo>
                  <a:pt x="74" y="163"/>
                </a:lnTo>
                <a:lnTo>
                  <a:pt x="69" y="177"/>
                </a:lnTo>
                <a:lnTo>
                  <a:pt x="60" y="209"/>
                </a:lnTo>
                <a:lnTo>
                  <a:pt x="51" y="244"/>
                </a:lnTo>
                <a:lnTo>
                  <a:pt x="0" y="244"/>
                </a:lnTo>
                <a:lnTo>
                  <a:pt x="15" y="0"/>
                </a:lnTo>
                <a:lnTo>
                  <a:pt x="1065" y="0"/>
                </a:lnTo>
                <a:lnTo>
                  <a:pt x="1078" y="244"/>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67" name="Freeform 18">
            <a:extLst>
              <a:ext uri="{FF2B5EF4-FFF2-40B4-BE49-F238E27FC236}">
                <a16:creationId xmlns:a16="http://schemas.microsoft.com/office/drawing/2014/main" id="{C59FF6E7-70B2-104B-BA19-464BCC297FEA}"/>
              </a:ext>
            </a:extLst>
          </p:cNvPr>
          <p:cNvSpPr>
            <a:spLocks noEditPoints="1"/>
          </p:cNvSpPr>
          <p:nvPr userDrawn="1"/>
        </p:nvSpPr>
        <p:spPr bwMode="auto">
          <a:xfrm>
            <a:off x="3627438" y="890589"/>
            <a:ext cx="152400" cy="144463"/>
          </a:xfrm>
          <a:custGeom>
            <a:avLst/>
            <a:gdLst>
              <a:gd name="T0" fmla="*/ 487 w 1150"/>
              <a:gd name="T1" fmla="*/ 1087 h 1094"/>
              <a:gd name="T2" fmla="*/ 351 w 1150"/>
              <a:gd name="T3" fmla="*/ 1051 h 1094"/>
              <a:gd name="T4" fmla="*/ 231 w 1150"/>
              <a:gd name="T5" fmla="*/ 984 h 1094"/>
              <a:gd name="T6" fmla="*/ 131 w 1150"/>
              <a:gd name="T7" fmla="*/ 894 h 1094"/>
              <a:gd name="T8" fmla="*/ 56 w 1150"/>
              <a:gd name="T9" fmla="*/ 783 h 1094"/>
              <a:gd name="T10" fmla="*/ 11 w 1150"/>
              <a:gd name="T11" fmla="*/ 656 h 1094"/>
              <a:gd name="T12" fmla="*/ 0 w 1150"/>
              <a:gd name="T13" fmla="*/ 547 h 1094"/>
              <a:gd name="T14" fmla="*/ 17 w 1150"/>
              <a:gd name="T15" fmla="*/ 411 h 1094"/>
              <a:gd name="T16" fmla="*/ 69 w 1150"/>
              <a:gd name="T17" fmla="*/ 287 h 1094"/>
              <a:gd name="T18" fmla="*/ 149 w 1150"/>
              <a:gd name="T19" fmla="*/ 180 h 1094"/>
              <a:gd name="T20" fmla="*/ 253 w 1150"/>
              <a:gd name="T21" fmla="*/ 94 h 1094"/>
              <a:gd name="T22" fmla="*/ 378 w 1150"/>
              <a:gd name="T23" fmla="*/ 33 h 1094"/>
              <a:gd name="T24" fmla="*/ 517 w 1150"/>
              <a:gd name="T25" fmla="*/ 3 h 1094"/>
              <a:gd name="T26" fmla="*/ 634 w 1150"/>
              <a:gd name="T27" fmla="*/ 3 h 1094"/>
              <a:gd name="T28" fmla="*/ 773 w 1150"/>
              <a:gd name="T29" fmla="*/ 33 h 1094"/>
              <a:gd name="T30" fmla="*/ 895 w 1150"/>
              <a:gd name="T31" fmla="*/ 94 h 1094"/>
              <a:gd name="T32" fmla="*/ 1000 w 1150"/>
              <a:gd name="T33" fmla="*/ 180 h 1094"/>
              <a:gd name="T34" fmla="*/ 1080 w 1150"/>
              <a:gd name="T35" fmla="*/ 287 h 1094"/>
              <a:gd name="T36" fmla="*/ 1132 w 1150"/>
              <a:gd name="T37" fmla="*/ 411 h 1094"/>
              <a:gd name="T38" fmla="*/ 1150 w 1150"/>
              <a:gd name="T39" fmla="*/ 547 h 1094"/>
              <a:gd name="T40" fmla="*/ 1138 w 1150"/>
              <a:gd name="T41" fmla="*/ 656 h 1094"/>
              <a:gd name="T42" fmla="*/ 1093 w 1150"/>
              <a:gd name="T43" fmla="*/ 783 h 1094"/>
              <a:gd name="T44" fmla="*/ 1018 w 1150"/>
              <a:gd name="T45" fmla="*/ 894 h 1094"/>
              <a:gd name="T46" fmla="*/ 919 w 1150"/>
              <a:gd name="T47" fmla="*/ 984 h 1094"/>
              <a:gd name="T48" fmla="*/ 798 w 1150"/>
              <a:gd name="T49" fmla="*/ 1051 h 1094"/>
              <a:gd name="T50" fmla="*/ 662 w 1150"/>
              <a:gd name="T51" fmla="*/ 1087 h 1094"/>
              <a:gd name="T52" fmla="*/ 575 w 1150"/>
              <a:gd name="T53" fmla="*/ 82 h 1094"/>
              <a:gd name="T54" fmla="*/ 490 w 1150"/>
              <a:gd name="T55" fmla="*/ 94 h 1094"/>
              <a:gd name="T56" fmla="*/ 403 w 1150"/>
              <a:gd name="T57" fmla="*/ 137 h 1094"/>
              <a:gd name="T58" fmla="*/ 334 w 1150"/>
              <a:gd name="T59" fmla="*/ 204 h 1094"/>
              <a:gd name="T60" fmla="*/ 284 w 1150"/>
              <a:gd name="T61" fmla="*/ 290 h 1094"/>
              <a:gd name="T62" fmla="*/ 251 w 1150"/>
              <a:gd name="T63" fmla="*/ 386 h 1094"/>
              <a:gd name="T64" fmla="*/ 233 w 1150"/>
              <a:gd name="T65" fmla="*/ 507 h 1094"/>
              <a:gd name="T66" fmla="*/ 240 w 1150"/>
              <a:gd name="T67" fmla="*/ 647 h 1094"/>
              <a:gd name="T68" fmla="*/ 262 w 1150"/>
              <a:gd name="T69" fmla="*/ 747 h 1094"/>
              <a:gd name="T70" fmla="*/ 302 w 1150"/>
              <a:gd name="T71" fmla="*/ 840 h 1094"/>
              <a:gd name="T72" fmla="*/ 360 w 1150"/>
              <a:gd name="T73" fmla="*/ 919 h 1094"/>
              <a:gd name="T74" fmla="*/ 435 w 1150"/>
              <a:gd name="T75" fmla="*/ 977 h 1094"/>
              <a:gd name="T76" fmla="*/ 531 w 1150"/>
              <a:gd name="T77" fmla="*/ 1008 h 1094"/>
              <a:gd name="T78" fmla="*/ 619 w 1150"/>
              <a:gd name="T79" fmla="*/ 1008 h 1094"/>
              <a:gd name="T80" fmla="*/ 715 w 1150"/>
              <a:gd name="T81" fmla="*/ 977 h 1094"/>
              <a:gd name="T82" fmla="*/ 791 w 1150"/>
              <a:gd name="T83" fmla="*/ 919 h 1094"/>
              <a:gd name="T84" fmla="*/ 848 w 1150"/>
              <a:gd name="T85" fmla="*/ 840 h 1094"/>
              <a:gd name="T86" fmla="*/ 888 w 1150"/>
              <a:gd name="T87" fmla="*/ 747 h 1094"/>
              <a:gd name="T88" fmla="*/ 911 w 1150"/>
              <a:gd name="T89" fmla="*/ 647 h 1094"/>
              <a:gd name="T90" fmla="*/ 918 w 1150"/>
              <a:gd name="T91" fmla="*/ 507 h 1094"/>
              <a:gd name="T92" fmla="*/ 899 w 1150"/>
              <a:gd name="T93" fmla="*/ 386 h 1094"/>
              <a:gd name="T94" fmla="*/ 867 w 1150"/>
              <a:gd name="T95" fmla="*/ 290 h 1094"/>
              <a:gd name="T96" fmla="*/ 816 w 1150"/>
              <a:gd name="T97" fmla="*/ 204 h 1094"/>
              <a:gd name="T98" fmla="*/ 747 w 1150"/>
              <a:gd name="T99" fmla="*/ 137 h 1094"/>
              <a:gd name="T100" fmla="*/ 660 w 1150"/>
              <a:gd name="T101" fmla="*/ 94 h 1094"/>
              <a:gd name="T102" fmla="*/ 575 w 1150"/>
              <a:gd name="T103" fmla="*/ 82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50" h="1094">
                <a:moveTo>
                  <a:pt x="575" y="1094"/>
                </a:moveTo>
                <a:lnTo>
                  <a:pt x="575" y="1094"/>
                </a:lnTo>
                <a:lnTo>
                  <a:pt x="546" y="1093"/>
                </a:lnTo>
                <a:lnTo>
                  <a:pt x="517" y="1091"/>
                </a:lnTo>
                <a:lnTo>
                  <a:pt x="487" y="1087"/>
                </a:lnTo>
                <a:lnTo>
                  <a:pt x="460" y="1082"/>
                </a:lnTo>
                <a:lnTo>
                  <a:pt x="431" y="1076"/>
                </a:lnTo>
                <a:lnTo>
                  <a:pt x="405" y="1069"/>
                </a:lnTo>
                <a:lnTo>
                  <a:pt x="378" y="1060"/>
                </a:lnTo>
                <a:lnTo>
                  <a:pt x="351" y="1051"/>
                </a:lnTo>
                <a:lnTo>
                  <a:pt x="326" y="1039"/>
                </a:lnTo>
                <a:lnTo>
                  <a:pt x="301" y="1027"/>
                </a:lnTo>
                <a:lnTo>
                  <a:pt x="277" y="1014"/>
                </a:lnTo>
                <a:lnTo>
                  <a:pt x="253" y="1000"/>
                </a:lnTo>
                <a:lnTo>
                  <a:pt x="231" y="984"/>
                </a:lnTo>
                <a:lnTo>
                  <a:pt x="209" y="968"/>
                </a:lnTo>
                <a:lnTo>
                  <a:pt x="188" y="950"/>
                </a:lnTo>
                <a:lnTo>
                  <a:pt x="168" y="933"/>
                </a:lnTo>
                <a:lnTo>
                  <a:pt x="149" y="914"/>
                </a:lnTo>
                <a:lnTo>
                  <a:pt x="131" y="894"/>
                </a:lnTo>
                <a:lnTo>
                  <a:pt x="114" y="873"/>
                </a:lnTo>
                <a:lnTo>
                  <a:pt x="98" y="851"/>
                </a:lnTo>
                <a:lnTo>
                  <a:pt x="82" y="830"/>
                </a:lnTo>
                <a:lnTo>
                  <a:pt x="69" y="806"/>
                </a:lnTo>
                <a:lnTo>
                  <a:pt x="56" y="783"/>
                </a:lnTo>
                <a:lnTo>
                  <a:pt x="45" y="758"/>
                </a:lnTo>
                <a:lnTo>
                  <a:pt x="34" y="734"/>
                </a:lnTo>
                <a:lnTo>
                  <a:pt x="25" y="708"/>
                </a:lnTo>
                <a:lnTo>
                  <a:pt x="17" y="683"/>
                </a:lnTo>
                <a:lnTo>
                  <a:pt x="11" y="656"/>
                </a:lnTo>
                <a:lnTo>
                  <a:pt x="6" y="629"/>
                </a:lnTo>
                <a:lnTo>
                  <a:pt x="2" y="602"/>
                </a:lnTo>
                <a:lnTo>
                  <a:pt x="0" y="574"/>
                </a:lnTo>
                <a:lnTo>
                  <a:pt x="0" y="547"/>
                </a:lnTo>
                <a:lnTo>
                  <a:pt x="0" y="547"/>
                </a:lnTo>
                <a:lnTo>
                  <a:pt x="0" y="519"/>
                </a:lnTo>
                <a:lnTo>
                  <a:pt x="2" y="491"/>
                </a:lnTo>
                <a:lnTo>
                  <a:pt x="6" y="464"/>
                </a:lnTo>
                <a:lnTo>
                  <a:pt x="11" y="437"/>
                </a:lnTo>
                <a:lnTo>
                  <a:pt x="17" y="411"/>
                </a:lnTo>
                <a:lnTo>
                  <a:pt x="25" y="385"/>
                </a:lnTo>
                <a:lnTo>
                  <a:pt x="34" y="360"/>
                </a:lnTo>
                <a:lnTo>
                  <a:pt x="45" y="335"/>
                </a:lnTo>
                <a:lnTo>
                  <a:pt x="56" y="310"/>
                </a:lnTo>
                <a:lnTo>
                  <a:pt x="69" y="287"/>
                </a:lnTo>
                <a:lnTo>
                  <a:pt x="82" y="264"/>
                </a:lnTo>
                <a:lnTo>
                  <a:pt x="98" y="242"/>
                </a:lnTo>
                <a:lnTo>
                  <a:pt x="114" y="220"/>
                </a:lnTo>
                <a:lnTo>
                  <a:pt x="131" y="200"/>
                </a:lnTo>
                <a:lnTo>
                  <a:pt x="149" y="180"/>
                </a:lnTo>
                <a:lnTo>
                  <a:pt x="168" y="161"/>
                </a:lnTo>
                <a:lnTo>
                  <a:pt x="188" y="143"/>
                </a:lnTo>
                <a:lnTo>
                  <a:pt x="209" y="125"/>
                </a:lnTo>
                <a:lnTo>
                  <a:pt x="231" y="109"/>
                </a:lnTo>
                <a:lnTo>
                  <a:pt x="253" y="94"/>
                </a:lnTo>
                <a:lnTo>
                  <a:pt x="277" y="79"/>
                </a:lnTo>
                <a:lnTo>
                  <a:pt x="301" y="66"/>
                </a:lnTo>
                <a:lnTo>
                  <a:pt x="326" y="54"/>
                </a:lnTo>
                <a:lnTo>
                  <a:pt x="351" y="44"/>
                </a:lnTo>
                <a:lnTo>
                  <a:pt x="378" y="33"/>
                </a:lnTo>
                <a:lnTo>
                  <a:pt x="405" y="24"/>
                </a:lnTo>
                <a:lnTo>
                  <a:pt x="431" y="17"/>
                </a:lnTo>
                <a:lnTo>
                  <a:pt x="460" y="11"/>
                </a:lnTo>
                <a:lnTo>
                  <a:pt x="487" y="6"/>
                </a:lnTo>
                <a:lnTo>
                  <a:pt x="517" y="3"/>
                </a:lnTo>
                <a:lnTo>
                  <a:pt x="546" y="1"/>
                </a:lnTo>
                <a:lnTo>
                  <a:pt x="575" y="0"/>
                </a:lnTo>
                <a:lnTo>
                  <a:pt x="575" y="0"/>
                </a:lnTo>
                <a:lnTo>
                  <a:pt x="605" y="1"/>
                </a:lnTo>
                <a:lnTo>
                  <a:pt x="634" y="3"/>
                </a:lnTo>
                <a:lnTo>
                  <a:pt x="662" y="6"/>
                </a:lnTo>
                <a:lnTo>
                  <a:pt x="691" y="11"/>
                </a:lnTo>
                <a:lnTo>
                  <a:pt x="719" y="17"/>
                </a:lnTo>
                <a:lnTo>
                  <a:pt x="746" y="24"/>
                </a:lnTo>
                <a:lnTo>
                  <a:pt x="773" y="33"/>
                </a:lnTo>
                <a:lnTo>
                  <a:pt x="798" y="44"/>
                </a:lnTo>
                <a:lnTo>
                  <a:pt x="824" y="54"/>
                </a:lnTo>
                <a:lnTo>
                  <a:pt x="848" y="66"/>
                </a:lnTo>
                <a:lnTo>
                  <a:pt x="873" y="79"/>
                </a:lnTo>
                <a:lnTo>
                  <a:pt x="895" y="94"/>
                </a:lnTo>
                <a:lnTo>
                  <a:pt x="919" y="109"/>
                </a:lnTo>
                <a:lnTo>
                  <a:pt x="940" y="125"/>
                </a:lnTo>
                <a:lnTo>
                  <a:pt x="961" y="143"/>
                </a:lnTo>
                <a:lnTo>
                  <a:pt x="981" y="161"/>
                </a:lnTo>
                <a:lnTo>
                  <a:pt x="1000" y="180"/>
                </a:lnTo>
                <a:lnTo>
                  <a:pt x="1018" y="200"/>
                </a:lnTo>
                <a:lnTo>
                  <a:pt x="1035" y="220"/>
                </a:lnTo>
                <a:lnTo>
                  <a:pt x="1052" y="242"/>
                </a:lnTo>
                <a:lnTo>
                  <a:pt x="1066" y="264"/>
                </a:lnTo>
                <a:lnTo>
                  <a:pt x="1080" y="287"/>
                </a:lnTo>
                <a:lnTo>
                  <a:pt x="1093" y="310"/>
                </a:lnTo>
                <a:lnTo>
                  <a:pt x="1104" y="335"/>
                </a:lnTo>
                <a:lnTo>
                  <a:pt x="1115" y="360"/>
                </a:lnTo>
                <a:lnTo>
                  <a:pt x="1123" y="385"/>
                </a:lnTo>
                <a:lnTo>
                  <a:pt x="1132" y="411"/>
                </a:lnTo>
                <a:lnTo>
                  <a:pt x="1138" y="437"/>
                </a:lnTo>
                <a:lnTo>
                  <a:pt x="1143" y="464"/>
                </a:lnTo>
                <a:lnTo>
                  <a:pt x="1147" y="491"/>
                </a:lnTo>
                <a:lnTo>
                  <a:pt x="1149" y="519"/>
                </a:lnTo>
                <a:lnTo>
                  <a:pt x="1150" y="547"/>
                </a:lnTo>
                <a:lnTo>
                  <a:pt x="1150" y="547"/>
                </a:lnTo>
                <a:lnTo>
                  <a:pt x="1149" y="574"/>
                </a:lnTo>
                <a:lnTo>
                  <a:pt x="1147" y="602"/>
                </a:lnTo>
                <a:lnTo>
                  <a:pt x="1143" y="629"/>
                </a:lnTo>
                <a:lnTo>
                  <a:pt x="1138" y="656"/>
                </a:lnTo>
                <a:lnTo>
                  <a:pt x="1132" y="683"/>
                </a:lnTo>
                <a:lnTo>
                  <a:pt x="1123" y="708"/>
                </a:lnTo>
                <a:lnTo>
                  <a:pt x="1115" y="734"/>
                </a:lnTo>
                <a:lnTo>
                  <a:pt x="1104" y="758"/>
                </a:lnTo>
                <a:lnTo>
                  <a:pt x="1093" y="783"/>
                </a:lnTo>
                <a:lnTo>
                  <a:pt x="1080" y="806"/>
                </a:lnTo>
                <a:lnTo>
                  <a:pt x="1066" y="830"/>
                </a:lnTo>
                <a:lnTo>
                  <a:pt x="1052" y="851"/>
                </a:lnTo>
                <a:lnTo>
                  <a:pt x="1035" y="873"/>
                </a:lnTo>
                <a:lnTo>
                  <a:pt x="1018" y="894"/>
                </a:lnTo>
                <a:lnTo>
                  <a:pt x="1000" y="914"/>
                </a:lnTo>
                <a:lnTo>
                  <a:pt x="981" y="933"/>
                </a:lnTo>
                <a:lnTo>
                  <a:pt x="961" y="950"/>
                </a:lnTo>
                <a:lnTo>
                  <a:pt x="940" y="968"/>
                </a:lnTo>
                <a:lnTo>
                  <a:pt x="919" y="984"/>
                </a:lnTo>
                <a:lnTo>
                  <a:pt x="895" y="1000"/>
                </a:lnTo>
                <a:lnTo>
                  <a:pt x="873" y="1014"/>
                </a:lnTo>
                <a:lnTo>
                  <a:pt x="848" y="1027"/>
                </a:lnTo>
                <a:lnTo>
                  <a:pt x="824" y="1039"/>
                </a:lnTo>
                <a:lnTo>
                  <a:pt x="798" y="1051"/>
                </a:lnTo>
                <a:lnTo>
                  <a:pt x="773" y="1060"/>
                </a:lnTo>
                <a:lnTo>
                  <a:pt x="746" y="1069"/>
                </a:lnTo>
                <a:lnTo>
                  <a:pt x="719" y="1076"/>
                </a:lnTo>
                <a:lnTo>
                  <a:pt x="691" y="1082"/>
                </a:lnTo>
                <a:lnTo>
                  <a:pt x="662" y="1087"/>
                </a:lnTo>
                <a:lnTo>
                  <a:pt x="634" y="1091"/>
                </a:lnTo>
                <a:lnTo>
                  <a:pt x="605" y="1093"/>
                </a:lnTo>
                <a:lnTo>
                  <a:pt x="575" y="1094"/>
                </a:lnTo>
                <a:lnTo>
                  <a:pt x="575" y="1094"/>
                </a:lnTo>
                <a:close/>
                <a:moveTo>
                  <a:pt x="575" y="82"/>
                </a:moveTo>
                <a:lnTo>
                  <a:pt x="575" y="82"/>
                </a:lnTo>
                <a:lnTo>
                  <a:pt x="553" y="83"/>
                </a:lnTo>
                <a:lnTo>
                  <a:pt x="531" y="86"/>
                </a:lnTo>
                <a:lnTo>
                  <a:pt x="510" y="90"/>
                </a:lnTo>
                <a:lnTo>
                  <a:pt x="490" y="94"/>
                </a:lnTo>
                <a:lnTo>
                  <a:pt x="471" y="100"/>
                </a:lnTo>
                <a:lnTo>
                  <a:pt x="453" y="108"/>
                </a:lnTo>
                <a:lnTo>
                  <a:pt x="435" y="116"/>
                </a:lnTo>
                <a:lnTo>
                  <a:pt x="419" y="125"/>
                </a:lnTo>
                <a:lnTo>
                  <a:pt x="403" y="137"/>
                </a:lnTo>
                <a:lnTo>
                  <a:pt x="387" y="148"/>
                </a:lnTo>
                <a:lnTo>
                  <a:pt x="373" y="161"/>
                </a:lnTo>
                <a:lnTo>
                  <a:pt x="360" y="174"/>
                </a:lnTo>
                <a:lnTo>
                  <a:pt x="346" y="189"/>
                </a:lnTo>
                <a:lnTo>
                  <a:pt x="334" y="204"/>
                </a:lnTo>
                <a:lnTo>
                  <a:pt x="323" y="219"/>
                </a:lnTo>
                <a:lnTo>
                  <a:pt x="312" y="237"/>
                </a:lnTo>
                <a:lnTo>
                  <a:pt x="302" y="253"/>
                </a:lnTo>
                <a:lnTo>
                  <a:pt x="292" y="272"/>
                </a:lnTo>
                <a:lnTo>
                  <a:pt x="284" y="290"/>
                </a:lnTo>
                <a:lnTo>
                  <a:pt x="276" y="308"/>
                </a:lnTo>
                <a:lnTo>
                  <a:pt x="269" y="327"/>
                </a:lnTo>
                <a:lnTo>
                  <a:pt x="262" y="346"/>
                </a:lnTo>
                <a:lnTo>
                  <a:pt x="256" y="367"/>
                </a:lnTo>
                <a:lnTo>
                  <a:pt x="251" y="386"/>
                </a:lnTo>
                <a:lnTo>
                  <a:pt x="247" y="407"/>
                </a:lnTo>
                <a:lnTo>
                  <a:pt x="243" y="426"/>
                </a:lnTo>
                <a:lnTo>
                  <a:pt x="240" y="446"/>
                </a:lnTo>
                <a:lnTo>
                  <a:pt x="237" y="467"/>
                </a:lnTo>
                <a:lnTo>
                  <a:pt x="233" y="507"/>
                </a:lnTo>
                <a:lnTo>
                  <a:pt x="232" y="547"/>
                </a:lnTo>
                <a:lnTo>
                  <a:pt x="232" y="547"/>
                </a:lnTo>
                <a:lnTo>
                  <a:pt x="233" y="587"/>
                </a:lnTo>
                <a:lnTo>
                  <a:pt x="237" y="626"/>
                </a:lnTo>
                <a:lnTo>
                  <a:pt x="240" y="647"/>
                </a:lnTo>
                <a:lnTo>
                  <a:pt x="243" y="667"/>
                </a:lnTo>
                <a:lnTo>
                  <a:pt x="247" y="687"/>
                </a:lnTo>
                <a:lnTo>
                  <a:pt x="251" y="707"/>
                </a:lnTo>
                <a:lnTo>
                  <a:pt x="256" y="728"/>
                </a:lnTo>
                <a:lnTo>
                  <a:pt x="262" y="747"/>
                </a:lnTo>
                <a:lnTo>
                  <a:pt x="269" y="766"/>
                </a:lnTo>
                <a:lnTo>
                  <a:pt x="276" y="785"/>
                </a:lnTo>
                <a:lnTo>
                  <a:pt x="284" y="804"/>
                </a:lnTo>
                <a:lnTo>
                  <a:pt x="292" y="822"/>
                </a:lnTo>
                <a:lnTo>
                  <a:pt x="302" y="840"/>
                </a:lnTo>
                <a:lnTo>
                  <a:pt x="312" y="857"/>
                </a:lnTo>
                <a:lnTo>
                  <a:pt x="323" y="874"/>
                </a:lnTo>
                <a:lnTo>
                  <a:pt x="334" y="889"/>
                </a:lnTo>
                <a:lnTo>
                  <a:pt x="346" y="904"/>
                </a:lnTo>
                <a:lnTo>
                  <a:pt x="360" y="919"/>
                </a:lnTo>
                <a:lnTo>
                  <a:pt x="373" y="932"/>
                </a:lnTo>
                <a:lnTo>
                  <a:pt x="387" y="945"/>
                </a:lnTo>
                <a:lnTo>
                  <a:pt x="403" y="957"/>
                </a:lnTo>
                <a:lnTo>
                  <a:pt x="419" y="968"/>
                </a:lnTo>
                <a:lnTo>
                  <a:pt x="435" y="977"/>
                </a:lnTo>
                <a:lnTo>
                  <a:pt x="453" y="986"/>
                </a:lnTo>
                <a:lnTo>
                  <a:pt x="471" y="993"/>
                </a:lnTo>
                <a:lnTo>
                  <a:pt x="490" y="1000"/>
                </a:lnTo>
                <a:lnTo>
                  <a:pt x="510" y="1005"/>
                </a:lnTo>
                <a:lnTo>
                  <a:pt x="531" y="1008"/>
                </a:lnTo>
                <a:lnTo>
                  <a:pt x="553" y="1010"/>
                </a:lnTo>
                <a:lnTo>
                  <a:pt x="575" y="1011"/>
                </a:lnTo>
                <a:lnTo>
                  <a:pt x="575" y="1011"/>
                </a:lnTo>
                <a:lnTo>
                  <a:pt x="598" y="1010"/>
                </a:lnTo>
                <a:lnTo>
                  <a:pt x="619" y="1008"/>
                </a:lnTo>
                <a:lnTo>
                  <a:pt x="640" y="1005"/>
                </a:lnTo>
                <a:lnTo>
                  <a:pt x="660" y="1000"/>
                </a:lnTo>
                <a:lnTo>
                  <a:pt x="679" y="993"/>
                </a:lnTo>
                <a:lnTo>
                  <a:pt x="697" y="986"/>
                </a:lnTo>
                <a:lnTo>
                  <a:pt x="715" y="977"/>
                </a:lnTo>
                <a:lnTo>
                  <a:pt x="732" y="968"/>
                </a:lnTo>
                <a:lnTo>
                  <a:pt x="747" y="957"/>
                </a:lnTo>
                <a:lnTo>
                  <a:pt x="762" y="945"/>
                </a:lnTo>
                <a:lnTo>
                  <a:pt x="777" y="932"/>
                </a:lnTo>
                <a:lnTo>
                  <a:pt x="791" y="919"/>
                </a:lnTo>
                <a:lnTo>
                  <a:pt x="803" y="904"/>
                </a:lnTo>
                <a:lnTo>
                  <a:pt x="816" y="889"/>
                </a:lnTo>
                <a:lnTo>
                  <a:pt x="828" y="874"/>
                </a:lnTo>
                <a:lnTo>
                  <a:pt x="838" y="857"/>
                </a:lnTo>
                <a:lnTo>
                  <a:pt x="848" y="840"/>
                </a:lnTo>
                <a:lnTo>
                  <a:pt x="858" y="822"/>
                </a:lnTo>
                <a:lnTo>
                  <a:pt x="867" y="804"/>
                </a:lnTo>
                <a:lnTo>
                  <a:pt x="874" y="785"/>
                </a:lnTo>
                <a:lnTo>
                  <a:pt x="881" y="766"/>
                </a:lnTo>
                <a:lnTo>
                  <a:pt x="888" y="747"/>
                </a:lnTo>
                <a:lnTo>
                  <a:pt x="894" y="728"/>
                </a:lnTo>
                <a:lnTo>
                  <a:pt x="899" y="707"/>
                </a:lnTo>
                <a:lnTo>
                  <a:pt x="904" y="687"/>
                </a:lnTo>
                <a:lnTo>
                  <a:pt x="908" y="667"/>
                </a:lnTo>
                <a:lnTo>
                  <a:pt x="911" y="647"/>
                </a:lnTo>
                <a:lnTo>
                  <a:pt x="914" y="626"/>
                </a:lnTo>
                <a:lnTo>
                  <a:pt x="918" y="587"/>
                </a:lnTo>
                <a:lnTo>
                  <a:pt x="919" y="547"/>
                </a:lnTo>
                <a:lnTo>
                  <a:pt x="919" y="547"/>
                </a:lnTo>
                <a:lnTo>
                  <a:pt x="918" y="507"/>
                </a:lnTo>
                <a:lnTo>
                  <a:pt x="914" y="467"/>
                </a:lnTo>
                <a:lnTo>
                  <a:pt x="911" y="446"/>
                </a:lnTo>
                <a:lnTo>
                  <a:pt x="908" y="426"/>
                </a:lnTo>
                <a:lnTo>
                  <a:pt x="904" y="407"/>
                </a:lnTo>
                <a:lnTo>
                  <a:pt x="899" y="386"/>
                </a:lnTo>
                <a:lnTo>
                  <a:pt x="894" y="367"/>
                </a:lnTo>
                <a:lnTo>
                  <a:pt x="888" y="346"/>
                </a:lnTo>
                <a:lnTo>
                  <a:pt x="881" y="327"/>
                </a:lnTo>
                <a:lnTo>
                  <a:pt x="874" y="308"/>
                </a:lnTo>
                <a:lnTo>
                  <a:pt x="867" y="290"/>
                </a:lnTo>
                <a:lnTo>
                  <a:pt x="858" y="272"/>
                </a:lnTo>
                <a:lnTo>
                  <a:pt x="848" y="253"/>
                </a:lnTo>
                <a:lnTo>
                  <a:pt x="838" y="237"/>
                </a:lnTo>
                <a:lnTo>
                  <a:pt x="828" y="219"/>
                </a:lnTo>
                <a:lnTo>
                  <a:pt x="816" y="204"/>
                </a:lnTo>
                <a:lnTo>
                  <a:pt x="803" y="189"/>
                </a:lnTo>
                <a:lnTo>
                  <a:pt x="791" y="174"/>
                </a:lnTo>
                <a:lnTo>
                  <a:pt x="777" y="161"/>
                </a:lnTo>
                <a:lnTo>
                  <a:pt x="762" y="148"/>
                </a:lnTo>
                <a:lnTo>
                  <a:pt x="747" y="137"/>
                </a:lnTo>
                <a:lnTo>
                  <a:pt x="732" y="125"/>
                </a:lnTo>
                <a:lnTo>
                  <a:pt x="715" y="116"/>
                </a:lnTo>
                <a:lnTo>
                  <a:pt x="697" y="108"/>
                </a:lnTo>
                <a:lnTo>
                  <a:pt x="679" y="100"/>
                </a:lnTo>
                <a:lnTo>
                  <a:pt x="660" y="94"/>
                </a:lnTo>
                <a:lnTo>
                  <a:pt x="640" y="90"/>
                </a:lnTo>
                <a:lnTo>
                  <a:pt x="619" y="86"/>
                </a:lnTo>
                <a:lnTo>
                  <a:pt x="598" y="83"/>
                </a:lnTo>
                <a:lnTo>
                  <a:pt x="575" y="82"/>
                </a:lnTo>
                <a:lnTo>
                  <a:pt x="575" y="82"/>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68" name="Freeform 19">
            <a:extLst>
              <a:ext uri="{FF2B5EF4-FFF2-40B4-BE49-F238E27FC236}">
                <a16:creationId xmlns:a16="http://schemas.microsoft.com/office/drawing/2014/main" id="{54877859-8FA6-8348-BA35-6A9AE7383771}"/>
              </a:ext>
            </a:extLst>
          </p:cNvPr>
          <p:cNvSpPr>
            <a:spLocks/>
          </p:cNvSpPr>
          <p:nvPr userDrawn="1"/>
        </p:nvSpPr>
        <p:spPr bwMode="auto">
          <a:xfrm>
            <a:off x="1552576" y="1154114"/>
            <a:ext cx="90488" cy="144463"/>
          </a:xfrm>
          <a:custGeom>
            <a:avLst/>
            <a:gdLst>
              <a:gd name="T0" fmla="*/ 38 w 683"/>
              <a:gd name="T1" fmla="*/ 752 h 1102"/>
              <a:gd name="T2" fmla="*/ 64 w 683"/>
              <a:gd name="T3" fmla="*/ 849 h 1102"/>
              <a:gd name="T4" fmla="*/ 104 w 683"/>
              <a:gd name="T5" fmla="*/ 921 h 1102"/>
              <a:gd name="T6" fmla="*/ 171 w 683"/>
              <a:gd name="T7" fmla="*/ 985 h 1102"/>
              <a:gd name="T8" fmla="*/ 273 w 683"/>
              <a:gd name="T9" fmla="*/ 1026 h 1102"/>
              <a:gd name="T10" fmla="*/ 377 w 683"/>
              <a:gd name="T11" fmla="*/ 1032 h 1102"/>
              <a:gd name="T12" fmla="*/ 476 w 683"/>
              <a:gd name="T13" fmla="*/ 1002 h 1102"/>
              <a:gd name="T14" fmla="*/ 544 w 683"/>
              <a:gd name="T15" fmla="*/ 937 h 1102"/>
              <a:gd name="T16" fmla="*/ 570 w 683"/>
              <a:gd name="T17" fmla="*/ 844 h 1102"/>
              <a:gd name="T18" fmla="*/ 556 w 683"/>
              <a:gd name="T19" fmla="*/ 787 h 1102"/>
              <a:gd name="T20" fmla="*/ 501 w 683"/>
              <a:gd name="T21" fmla="*/ 720 h 1102"/>
              <a:gd name="T22" fmla="*/ 413 w 683"/>
              <a:gd name="T23" fmla="*/ 659 h 1102"/>
              <a:gd name="T24" fmla="*/ 168 w 683"/>
              <a:gd name="T25" fmla="*/ 529 h 1102"/>
              <a:gd name="T26" fmla="*/ 86 w 683"/>
              <a:gd name="T27" fmla="*/ 455 h 1102"/>
              <a:gd name="T28" fmla="*/ 30 w 683"/>
              <a:gd name="T29" fmla="*/ 358 h 1102"/>
              <a:gd name="T30" fmla="*/ 14 w 683"/>
              <a:gd name="T31" fmla="*/ 265 h 1102"/>
              <a:gd name="T32" fmla="*/ 23 w 683"/>
              <a:gd name="T33" fmla="*/ 201 h 1102"/>
              <a:gd name="T34" fmla="*/ 46 w 683"/>
              <a:gd name="T35" fmla="*/ 142 h 1102"/>
              <a:gd name="T36" fmla="*/ 85 w 683"/>
              <a:gd name="T37" fmla="*/ 92 h 1102"/>
              <a:gd name="T38" fmla="*/ 136 w 683"/>
              <a:gd name="T39" fmla="*/ 52 h 1102"/>
              <a:gd name="T40" fmla="*/ 199 w 683"/>
              <a:gd name="T41" fmla="*/ 24 h 1102"/>
              <a:gd name="T42" fmla="*/ 269 w 683"/>
              <a:gd name="T43" fmla="*/ 9 h 1102"/>
              <a:gd name="T44" fmla="*/ 337 w 683"/>
              <a:gd name="T45" fmla="*/ 10 h 1102"/>
              <a:gd name="T46" fmla="*/ 411 w 683"/>
              <a:gd name="T47" fmla="*/ 25 h 1102"/>
              <a:gd name="T48" fmla="*/ 511 w 683"/>
              <a:gd name="T49" fmla="*/ 79 h 1102"/>
              <a:gd name="T50" fmla="*/ 540 w 683"/>
              <a:gd name="T51" fmla="*/ 46 h 1102"/>
              <a:gd name="T52" fmla="*/ 595 w 683"/>
              <a:gd name="T53" fmla="*/ 0 h 1102"/>
              <a:gd name="T54" fmla="*/ 553 w 683"/>
              <a:gd name="T55" fmla="*/ 326 h 1102"/>
              <a:gd name="T56" fmla="*/ 512 w 683"/>
              <a:gd name="T57" fmla="*/ 200 h 1102"/>
              <a:gd name="T58" fmla="*/ 473 w 683"/>
              <a:gd name="T59" fmla="*/ 145 h 1102"/>
              <a:gd name="T60" fmla="*/ 420 w 683"/>
              <a:gd name="T61" fmla="*/ 106 h 1102"/>
              <a:gd name="T62" fmla="*/ 348 w 683"/>
              <a:gd name="T63" fmla="*/ 82 h 1102"/>
              <a:gd name="T64" fmla="*/ 277 w 683"/>
              <a:gd name="T65" fmla="*/ 78 h 1102"/>
              <a:gd name="T66" fmla="*/ 200 w 683"/>
              <a:gd name="T67" fmla="*/ 104 h 1102"/>
              <a:gd name="T68" fmla="*/ 148 w 683"/>
              <a:gd name="T69" fmla="*/ 158 h 1102"/>
              <a:gd name="T70" fmla="*/ 128 w 683"/>
              <a:gd name="T71" fmla="*/ 231 h 1102"/>
              <a:gd name="T72" fmla="*/ 139 w 683"/>
              <a:gd name="T73" fmla="*/ 292 h 1102"/>
              <a:gd name="T74" fmla="*/ 191 w 683"/>
              <a:gd name="T75" fmla="*/ 355 h 1102"/>
              <a:gd name="T76" fmla="*/ 287 w 683"/>
              <a:gd name="T77" fmla="*/ 417 h 1102"/>
              <a:gd name="T78" fmla="*/ 548 w 683"/>
              <a:gd name="T79" fmla="*/ 556 h 1102"/>
              <a:gd name="T80" fmla="*/ 631 w 683"/>
              <a:gd name="T81" fmla="*/ 633 h 1102"/>
              <a:gd name="T82" fmla="*/ 674 w 683"/>
              <a:gd name="T83" fmla="*/ 720 h 1102"/>
              <a:gd name="T84" fmla="*/ 683 w 683"/>
              <a:gd name="T85" fmla="*/ 792 h 1102"/>
              <a:gd name="T86" fmla="*/ 673 w 683"/>
              <a:gd name="T87" fmla="*/ 874 h 1102"/>
              <a:gd name="T88" fmla="*/ 643 w 683"/>
              <a:gd name="T89" fmla="*/ 947 h 1102"/>
              <a:gd name="T90" fmla="*/ 597 w 683"/>
              <a:gd name="T91" fmla="*/ 1007 h 1102"/>
              <a:gd name="T92" fmla="*/ 536 w 683"/>
              <a:gd name="T93" fmla="*/ 1053 h 1102"/>
              <a:gd name="T94" fmla="*/ 466 w 683"/>
              <a:gd name="T95" fmla="*/ 1085 h 1102"/>
              <a:gd name="T96" fmla="*/ 387 w 683"/>
              <a:gd name="T97" fmla="*/ 1100 h 1102"/>
              <a:gd name="T98" fmla="*/ 307 w 683"/>
              <a:gd name="T99" fmla="*/ 1099 h 1102"/>
              <a:gd name="T100" fmla="*/ 208 w 683"/>
              <a:gd name="T101" fmla="*/ 1073 h 1102"/>
              <a:gd name="T102" fmla="*/ 95 w 683"/>
              <a:gd name="T103" fmla="*/ 1024 h 1102"/>
              <a:gd name="T104" fmla="*/ 62 w 683"/>
              <a:gd name="T105" fmla="*/ 1044 h 1102"/>
              <a:gd name="T106" fmla="*/ 35 w 683"/>
              <a:gd name="T107" fmla="*/ 1102 h 1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83" h="1102">
                <a:moveTo>
                  <a:pt x="0" y="723"/>
                </a:moveTo>
                <a:lnTo>
                  <a:pt x="36" y="723"/>
                </a:lnTo>
                <a:lnTo>
                  <a:pt x="36" y="723"/>
                </a:lnTo>
                <a:lnTo>
                  <a:pt x="37" y="736"/>
                </a:lnTo>
                <a:lnTo>
                  <a:pt x="38" y="752"/>
                </a:lnTo>
                <a:lnTo>
                  <a:pt x="41" y="771"/>
                </a:lnTo>
                <a:lnTo>
                  <a:pt x="46" y="795"/>
                </a:lnTo>
                <a:lnTo>
                  <a:pt x="54" y="821"/>
                </a:lnTo>
                <a:lnTo>
                  <a:pt x="59" y="835"/>
                </a:lnTo>
                <a:lnTo>
                  <a:pt x="64" y="849"/>
                </a:lnTo>
                <a:lnTo>
                  <a:pt x="70" y="863"/>
                </a:lnTo>
                <a:lnTo>
                  <a:pt x="77" y="878"/>
                </a:lnTo>
                <a:lnTo>
                  <a:pt x="84" y="893"/>
                </a:lnTo>
                <a:lnTo>
                  <a:pt x="93" y="907"/>
                </a:lnTo>
                <a:lnTo>
                  <a:pt x="104" y="921"/>
                </a:lnTo>
                <a:lnTo>
                  <a:pt x="115" y="935"/>
                </a:lnTo>
                <a:lnTo>
                  <a:pt x="127" y="948"/>
                </a:lnTo>
                <a:lnTo>
                  <a:pt x="140" y="961"/>
                </a:lnTo>
                <a:lnTo>
                  <a:pt x="155" y="974"/>
                </a:lnTo>
                <a:lnTo>
                  <a:pt x="171" y="985"/>
                </a:lnTo>
                <a:lnTo>
                  <a:pt x="189" y="995"/>
                </a:lnTo>
                <a:lnTo>
                  <a:pt x="207" y="1004"/>
                </a:lnTo>
                <a:lnTo>
                  <a:pt x="227" y="1012"/>
                </a:lnTo>
                <a:lnTo>
                  <a:pt x="250" y="1020"/>
                </a:lnTo>
                <a:lnTo>
                  <a:pt x="273" y="1026"/>
                </a:lnTo>
                <a:lnTo>
                  <a:pt x="298" y="1030"/>
                </a:lnTo>
                <a:lnTo>
                  <a:pt x="326" y="1032"/>
                </a:lnTo>
                <a:lnTo>
                  <a:pt x="354" y="1033"/>
                </a:lnTo>
                <a:lnTo>
                  <a:pt x="354" y="1033"/>
                </a:lnTo>
                <a:lnTo>
                  <a:pt x="377" y="1032"/>
                </a:lnTo>
                <a:lnTo>
                  <a:pt x="398" y="1030"/>
                </a:lnTo>
                <a:lnTo>
                  <a:pt x="420" y="1025"/>
                </a:lnTo>
                <a:lnTo>
                  <a:pt x="439" y="1019"/>
                </a:lnTo>
                <a:lnTo>
                  <a:pt x="458" y="1011"/>
                </a:lnTo>
                <a:lnTo>
                  <a:pt x="476" y="1002"/>
                </a:lnTo>
                <a:lnTo>
                  <a:pt x="492" y="992"/>
                </a:lnTo>
                <a:lnTo>
                  <a:pt x="508" y="980"/>
                </a:lnTo>
                <a:lnTo>
                  <a:pt x="522" y="966"/>
                </a:lnTo>
                <a:lnTo>
                  <a:pt x="533" y="952"/>
                </a:lnTo>
                <a:lnTo>
                  <a:pt x="544" y="937"/>
                </a:lnTo>
                <a:lnTo>
                  <a:pt x="553" y="919"/>
                </a:lnTo>
                <a:lnTo>
                  <a:pt x="560" y="902"/>
                </a:lnTo>
                <a:lnTo>
                  <a:pt x="565" y="884"/>
                </a:lnTo>
                <a:lnTo>
                  <a:pt x="569" y="864"/>
                </a:lnTo>
                <a:lnTo>
                  <a:pt x="570" y="844"/>
                </a:lnTo>
                <a:lnTo>
                  <a:pt x="570" y="844"/>
                </a:lnTo>
                <a:lnTo>
                  <a:pt x="569" y="828"/>
                </a:lnTo>
                <a:lnTo>
                  <a:pt x="566" y="814"/>
                </a:lnTo>
                <a:lnTo>
                  <a:pt x="562" y="800"/>
                </a:lnTo>
                <a:lnTo>
                  <a:pt x="556" y="787"/>
                </a:lnTo>
                <a:lnTo>
                  <a:pt x="547" y="772"/>
                </a:lnTo>
                <a:lnTo>
                  <a:pt x="538" y="759"/>
                </a:lnTo>
                <a:lnTo>
                  <a:pt x="527" y="746"/>
                </a:lnTo>
                <a:lnTo>
                  <a:pt x="515" y="732"/>
                </a:lnTo>
                <a:lnTo>
                  <a:pt x="501" y="720"/>
                </a:lnTo>
                <a:lnTo>
                  <a:pt x="486" y="707"/>
                </a:lnTo>
                <a:lnTo>
                  <a:pt x="470" y="695"/>
                </a:lnTo>
                <a:lnTo>
                  <a:pt x="452" y="682"/>
                </a:lnTo>
                <a:lnTo>
                  <a:pt x="434" y="670"/>
                </a:lnTo>
                <a:lnTo>
                  <a:pt x="413" y="659"/>
                </a:lnTo>
                <a:lnTo>
                  <a:pt x="372" y="634"/>
                </a:lnTo>
                <a:lnTo>
                  <a:pt x="206" y="550"/>
                </a:lnTo>
                <a:lnTo>
                  <a:pt x="206" y="550"/>
                </a:lnTo>
                <a:lnTo>
                  <a:pt x="186" y="540"/>
                </a:lnTo>
                <a:lnTo>
                  <a:pt x="168" y="529"/>
                </a:lnTo>
                <a:lnTo>
                  <a:pt x="151" y="516"/>
                </a:lnTo>
                <a:lnTo>
                  <a:pt x="133" y="502"/>
                </a:lnTo>
                <a:lnTo>
                  <a:pt x="117" y="488"/>
                </a:lnTo>
                <a:lnTo>
                  <a:pt x="101" y="472"/>
                </a:lnTo>
                <a:lnTo>
                  <a:pt x="86" y="455"/>
                </a:lnTo>
                <a:lnTo>
                  <a:pt x="72" y="438"/>
                </a:lnTo>
                <a:lnTo>
                  <a:pt x="60" y="419"/>
                </a:lnTo>
                <a:lnTo>
                  <a:pt x="48" y="400"/>
                </a:lnTo>
                <a:lnTo>
                  <a:pt x="38" y="380"/>
                </a:lnTo>
                <a:lnTo>
                  <a:pt x="30" y="358"/>
                </a:lnTo>
                <a:lnTo>
                  <a:pt x="23" y="336"/>
                </a:lnTo>
                <a:lnTo>
                  <a:pt x="18" y="313"/>
                </a:lnTo>
                <a:lnTo>
                  <a:pt x="15" y="290"/>
                </a:lnTo>
                <a:lnTo>
                  <a:pt x="14" y="265"/>
                </a:lnTo>
                <a:lnTo>
                  <a:pt x="14" y="265"/>
                </a:lnTo>
                <a:lnTo>
                  <a:pt x="15" y="252"/>
                </a:lnTo>
                <a:lnTo>
                  <a:pt x="16" y="240"/>
                </a:lnTo>
                <a:lnTo>
                  <a:pt x="17" y="226"/>
                </a:lnTo>
                <a:lnTo>
                  <a:pt x="20" y="213"/>
                </a:lnTo>
                <a:lnTo>
                  <a:pt x="23" y="201"/>
                </a:lnTo>
                <a:lnTo>
                  <a:pt x="26" y="188"/>
                </a:lnTo>
                <a:lnTo>
                  <a:pt x="30" y="177"/>
                </a:lnTo>
                <a:lnTo>
                  <a:pt x="35" y="165"/>
                </a:lnTo>
                <a:lnTo>
                  <a:pt x="40" y="154"/>
                </a:lnTo>
                <a:lnTo>
                  <a:pt x="46" y="142"/>
                </a:lnTo>
                <a:lnTo>
                  <a:pt x="54" y="132"/>
                </a:lnTo>
                <a:lnTo>
                  <a:pt x="61" y="121"/>
                </a:lnTo>
                <a:lnTo>
                  <a:pt x="68" y="112"/>
                </a:lnTo>
                <a:lnTo>
                  <a:pt x="76" y="101"/>
                </a:lnTo>
                <a:lnTo>
                  <a:pt x="85" y="92"/>
                </a:lnTo>
                <a:lnTo>
                  <a:pt x="94" y="83"/>
                </a:lnTo>
                <a:lnTo>
                  <a:pt x="105" y="75"/>
                </a:lnTo>
                <a:lnTo>
                  <a:pt x="115" y="67"/>
                </a:lnTo>
                <a:lnTo>
                  <a:pt x="125" y="60"/>
                </a:lnTo>
                <a:lnTo>
                  <a:pt x="136" y="52"/>
                </a:lnTo>
                <a:lnTo>
                  <a:pt x="148" y="45"/>
                </a:lnTo>
                <a:lnTo>
                  <a:pt x="160" y="39"/>
                </a:lnTo>
                <a:lnTo>
                  <a:pt x="172" y="34"/>
                </a:lnTo>
                <a:lnTo>
                  <a:pt x="185" y="29"/>
                </a:lnTo>
                <a:lnTo>
                  <a:pt x="199" y="24"/>
                </a:lnTo>
                <a:lnTo>
                  <a:pt x="212" y="20"/>
                </a:lnTo>
                <a:lnTo>
                  <a:pt x="225" y="17"/>
                </a:lnTo>
                <a:lnTo>
                  <a:pt x="240" y="14"/>
                </a:lnTo>
                <a:lnTo>
                  <a:pt x="255" y="12"/>
                </a:lnTo>
                <a:lnTo>
                  <a:pt x="269" y="9"/>
                </a:lnTo>
                <a:lnTo>
                  <a:pt x="285" y="8"/>
                </a:lnTo>
                <a:lnTo>
                  <a:pt x="300" y="8"/>
                </a:lnTo>
                <a:lnTo>
                  <a:pt x="300" y="8"/>
                </a:lnTo>
                <a:lnTo>
                  <a:pt x="319" y="8"/>
                </a:lnTo>
                <a:lnTo>
                  <a:pt x="337" y="10"/>
                </a:lnTo>
                <a:lnTo>
                  <a:pt x="353" y="12"/>
                </a:lnTo>
                <a:lnTo>
                  <a:pt x="368" y="15"/>
                </a:lnTo>
                <a:lnTo>
                  <a:pt x="384" y="18"/>
                </a:lnTo>
                <a:lnTo>
                  <a:pt x="398" y="21"/>
                </a:lnTo>
                <a:lnTo>
                  <a:pt x="411" y="25"/>
                </a:lnTo>
                <a:lnTo>
                  <a:pt x="425" y="30"/>
                </a:lnTo>
                <a:lnTo>
                  <a:pt x="448" y="40"/>
                </a:lnTo>
                <a:lnTo>
                  <a:pt x="471" y="52"/>
                </a:lnTo>
                <a:lnTo>
                  <a:pt x="491" y="66"/>
                </a:lnTo>
                <a:lnTo>
                  <a:pt x="511" y="79"/>
                </a:lnTo>
                <a:lnTo>
                  <a:pt x="511" y="79"/>
                </a:lnTo>
                <a:lnTo>
                  <a:pt x="519" y="73"/>
                </a:lnTo>
                <a:lnTo>
                  <a:pt x="526" y="65"/>
                </a:lnTo>
                <a:lnTo>
                  <a:pt x="533" y="57"/>
                </a:lnTo>
                <a:lnTo>
                  <a:pt x="540" y="46"/>
                </a:lnTo>
                <a:lnTo>
                  <a:pt x="546" y="36"/>
                </a:lnTo>
                <a:lnTo>
                  <a:pt x="553" y="25"/>
                </a:lnTo>
                <a:lnTo>
                  <a:pt x="557" y="13"/>
                </a:lnTo>
                <a:lnTo>
                  <a:pt x="561" y="0"/>
                </a:lnTo>
                <a:lnTo>
                  <a:pt x="595" y="0"/>
                </a:lnTo>
                <a:lnTo>
                  <a:pt x="595" y="380"/>
                </a:lnTo>
                <a:lnTo>
                  <a:pt x="559" y="380"/>
                </a:lnTo>
                <a:lnTo>
                  <a:pt x="559" y="380"/>
                </a:lnTo>
                <a:lnTo>
                  <a:pt x="557" y="353"/>
                </a:lnTo>
                <a:lnTo>
                  <a:pt x="553" y="326"/>
                </a:lnTo>
                <a:lnTo>
                  <a:pt x="547" y="300"/>
                </a:lnTo>
                <a:lnTo>
                  <a:pt x="541" y="274"/>
                </a:lnTo>
                <a:lnTo>
                  <a:pt x="533" y="249"/>
                </a:lnTo>
                <a:lnTo>
                  <a:pt x="523" y="223"/>
                </a:lnTo>
                <a:lnTo>
                  <a:pt x="512" y="200"/>
                </a:lnTo>
                <a:lnTo>
                  <a:pt x="504" y="187"/>
                </a:lnTo>
                <a:lnTo>
                  <a:pt x="497" y="177"/>
                </a:lnTo>
                <a:lnTo>
                  <a:pt x="490" y="166"/>
                </a:lnTo>
                <a:lnTo>
                  <a:pt x="482" y="156"/>
                </a:lnTo>
                <a:lnTo>
                  <a:pt x="473" y="145"/>
                </a:lnTo>
                <a:lnTo>
                  <a:pt x="464" y="136"/>
                </a:lnTo>
                <a:lnTo>
                  <a:pt x="453" y="128"/>
                </a:lnTo>
                <a:lnTo>
                  <a:pt x="443" y="120"/>
                </a:lnTo>
                <a:lnTo>
                  <a:pt x="431" y="112"/>
                </a:lnTo>
                <a:lnTo>
                  <a:pt x="420" y="106"/>
                </a:lnTo>
                <a:lnTo>
                  <a:pt x="406" y="99"/>
                </a:lnTo>
                <a:lnTo>
                  <a:pt x="393" y="93"/>
                </a:lnTo>
                <a:lnTo>
                  <a:pt x="379" y="89"/>
                </a:lnTo>
                <a:lnTo>
                  <a:pt x="363" y="85"/>
                </a:lnTo>
                <a:lnTo>
                  <a:pt x="348" y="82"/>
                </a:lnTo>
                <a:lnTo>
                  <a:pt x="331" y="79"/>
                </a:lnTo>
                <a:lnTo>
                  <a:pt x="313" y="78"/>
                </a:lnTo>
                <a:lnTo>
                  <a:pt x="295" y="78"/>
                </a:lnTo>
                <a:lnTo>
                  <a:pt x="295" y="78"/>
                </a:lnTo>
                <a:lnTo>
                  <a:pt x="277" y="78"/>
                </a:lnTo>
                <a:lnTo>
                  <a:pt x="260" y="81"/>
                </a:lnTo>
                <a:lnTo>
                  <a:pt x="244" y="84"/>
                </a:lnTo>
                <a:lnTo>
                  <a:pt x="228" y="89"/>
                </a:lnTo>
                <a:lnTo>
                  <a:pt x="214" y="95"/>
                </a:lnTo>
                <a:lnTo>
                  <a:pt x="200" y="104"/>
                </a:lnTo>
                <a:lnTo>
                  <a:pt x="188" y="112"/>
                </a:lnTo>
                <a:lnTo>
                  <a:pt x="175" y="122"/>
                </a:lnTo>
                <a:lnTo>
                  <a:pt x="165" y="133"/>
                </a:lnTo>
                <a:lnTo>
                  <a:pt x="156" y="144"/>
                </a:lnTo>
                <a:lnTo>
                  <a:pt x="148" y="158"/>
                </a:lnTo>
                <a:lnTo>
                  <a:pt x="140" y="171"/>
                </a:lnTo>
                <a:lnTo>
                  <a:pt x="135" y="185"/>
                </a:lnTo>
                <a:lnTo>
                  <a:pt x="131" y="200"/>
                </a:lnTo>
                <a:lnTo>
                  <a:pt x="128" y="215"/>
                </a:lnTo>
                <a:lnTo>
                  <a:pt x="128" y="231"/>
                </a:lnTo>
                <a:lnTo>
                  <a:pt x="128" y="231"/>
                </a:lnTo>
                <a:lnTo>
                  <a:pt x="128" y="248"/>
                </a:lnTo>
                <a:lnTo>
                  <a:pt x="131" y="263"/>
                </a:lnTo>
                <a:lnTo>
                  <a:pt x="134" y="277"/>
                </a:lnTo>
                <a:lnTo>
                  <a:pt x="139" y="292"/>
                </a:lnTo>
                <a:lnTo>
                  <a:pt x="147" y="305"/>
                </a:lnTo>
                <a:lnTo>
                  <a:pt x="155" y="317"/>
                </a:lnTo>
                <a:lnTo>
                  <a:pt x="165" y="331"/>
                </a:lnTo>
                <a:lnTo>
                  <a:pt x="177" y="343"/>
                </a:lnTo>
                <a:lnTo>
                  <a:pt x="191" y="355"/>
                </a:lnTo>
                <a:lnTo>
                  <a:pt x="206" y="366"/>
                </a:lnTo>
                <a:lnTo>
                  <a:pt x="223" y="379"/>
                </a:lnTo>
                <a:lnTo>
                  <a:pt x="242" y="392"/>
                </a:lnTo>
                <a:lnTo>
                  <a:pt x="263" y="404"/>
                </a:lnTo>
                <a:lnTo>
                  <a:pt x="287" y="417"/>
                </a:lnTo>
                <a:lnTo>
                  <a:pt x="339" y="445"/>
                </a:lnTo>
                <a:lnTo>
                  <a:pt x="502" y="530"/>
                </a:lnTo>
                <a:lnTo>
                  <a:pt x="502" y="530"/>
                </a:lnTo>
                <a:lnTo>
                  <a:pt x="526" y="542"/>
                </a:lnTo>
                <a:lnTo>
                  <a:pt x="548" y="556"/>
                </a:lnTo>
                <a:lnTo>
                  <a:pt x="568" y="571"/>
                </a:lnTo>
                <a:lnTo>
                  <a:pt x="586" y="585"/>
                </a:lnTo>
                <a:lnTo>
                  <a:pt x="603" y="601"/>
                </a:lnTo>
                <a:lnTo>
                  <a:pt x="618" y="617"/>
                </a:lnTo>
                <a:lnTo>
                  <a:pt x="631" y="633"/>
                </a:lnTo>
                <a:lnTo>
                  <a:pt x="643" y="651"/>
                </a:lnTo>
                <a:lnTo>
                  <a:pt x="653" y="667"/>
                </a:lnTo>
                <a:lnTo>
                  <a:pt x="661" y="684"/>
                </a:lnTo>
                <a:lnTo>
                  <a:pt x="668" y="703"/>
                </a:lnTo>
                <a:lnTo>
                  <a:pt x="674" y="720"/>
                </a:lnTo>
                <a:lnTo>
                  <a:pt x="678" y="738"/>
                </a:lnTo>
                <a:lnTo>
                  <a:pt x="681" y="756"/>
                </a:lnTo>
                <a:lnTo>
                  <a:pt x="682" y="774"/>
                </a:lnTo>
                <a:lnTo>
                  <a:pt x="683" y="792"/>
                </a:lnTo>
                <a:lnTo>
                  <a:pt x="683" y="792"/>
                </a:lnTo>
                <a:lnTo>
                  <a:pt x="683" y="809"/>
                </a:lnTo>
                <a:lnTo>
                  <a:pt x="681" y="826"/>
                </a:lnTo>
                <a:lnTo>
                  <a:pt x="679" y="843"/>
                </a:lnTo>
                <a:lnTo>
                  <a:pt x="676" y="859"/>
                </a:lnTo>
                <a:lnTo>
                  <a:pt x="673" y="874"/>
                </a:lnTo>
                <a:lnTo>
                  <a:pt x="668" y="890"/>
                </a:lnTo>
                <a:lnTo>
                  <a:pt x="663" y="905"/>
                </a:lnTo>
                <a:lnTo>
                  <a:pt x="657" y="919"/>
                </a:lnTo>
                <a:lnTo>
                  <a:pt x="650" y="934"/>
                </a:lnTo>
                <a:lnTo>
                  <a:pt x="643" y="947"/>
                </a:lnTo>
                <a:lnTo>
                  <a:pt x="634" y="960"/>
                </a:lnTo>
                <a:lnTo>
                  <a:pt x="626" y="973"/>
                </a:lnTo>
                <a:lnTo>
                  <a:pt x="617" y="985"/>
                </a:lnTo>
                <a:lnTo>
                  <a:pt x="607" y="996"/>
                </a:lnTo>
                <a:lnTo>
                  <a:pt x="597" y="1007"/>
                </a:lnTo>
                <a:lnTo>
                  <a:pt x="585" y="1018"/>
                </a:lnTo>
                <a:lnTo>
                  <a:pt x="574" y="1028"/>
                </a:lnTo>
                <a:lnTo>
                  <a:pt x="562" y="1037"/>
                </a:lnTo>
                <a:lnTo>
                  <a:pt x="549" y="1045"/>
                </a:lnTo>
                <a:lnTo>
                  <a:pt x="536" y="1053"/>
                </a:lnTo>
                <a:lnTo>
                  <a:pt x="523" y="1062"/>
                </a:lnTo>
                <a:lnTo>
                  <a:pt x="509" y="1068"/>
                </a:lnTo>
                <a:lnTo>
                  <a:pt x="495" y="1075"/>
                </a:lnTo>
                <a:lnTo>
                  <a:pt x="480" y="1080"/>
                </a:lnTo>
                <a:lnTo>
                  <a:pt x="466" y="1085"/>
                </a:lnTo>
                <a:lnTo>
                  <a:pt x="450" y="1089"/>
                </a:lnTo>
                <a:lnTo>
                  <a:pt x="435" y="1093"/>
                </a:lnTo>
                <a:lnTo>
                  <a:pt x="419" y="1096"/>
                </a:lnTo>
                <a:lnTo>
                  <a:pt x="403" y="1099"/>
                </a:lnTo>
                <a:lnTo>
                  <a:pt x="387" y="1100"/>
                </a:lnTo>
                <a:lnTo>
                  <a:pt x="371" y="1101"/>
                </a:lnTo>
                <a:lnTo>
                  <a:pt x="354" y="1102"/>
                </a:lnTo>
                <a:lnTo>
                  <a:pt x="354" y="1102"/>
                </a:lnTo>
                <a:lnTo>
                  <a:pt x="330" y="1101"/>
                </a:lnTo>
                <a:lnTo>
                  <a:pt x="307" y="1099"/>
                </a:lnTo>
                <a:lnTo>
                  <a:pt x="285" y="1095"/>
                </a:lnTo>
                <a:lnTo>
                  <a:pt x="264" y="1091"/>
                </a:lnTo>
                <a:lnTo>
                  <a:pt x="245" y="1086"/>
                </a:lnTo>
                <a:lnTo>
                  <a:pt x="225" y="1080"/>
                </a:lnTo>
                <a:lnTo>
                  <a:pt x="208" y="1073"/>
                </a:lnTo>
                <a:lnTo>
                  <a:pt x="191" y="1067"/>
                </a:lnTo>
                <a:lnTo>
                  <a:pt x="160" y="1052"/>
                </a:lnTo>
                <a:lnTo>
                  <a:pt x="131" y="1039"/>
                </a:lnTo>
                <a:lnTo>
                  <a:pt x="107" y="1028"/>
                </a:lnTo>
                <a:lnTo>
                  <a:pt x="95" y="1024"/>
                </a:lnTo>
                <a:lnTo>
                  <a:pt x="85" y="1021"/>
                </a:lnTo>
                <a:lnTo>
                  <a:pt x="85" y="1021"/>
                </a:lnTo>
                <a:lnTo>
                  <a:pt x="77" y="1028"/>
                </a:lnTo>
                <a:lnTo>
                  <a:pt x="70" y="1036"/>
                </a:lnTo>
                <a:lnTo>
                  <a:pt x="62" y="1044"/>
                </a:lnTo>
                <a:lnTo>
                  <a:pt x="56" y="1053"/>
                </a:lnTo>
                <a:lnTo>
                  <a:pt x="48" y="1065"/>
                </a:lnTo>
                <a:lnTo>
                  <a:pt x="43" y="1076"/>
                </a:lnTo>
                <a:lnTo>
                  <a:pt x="38" y="1088"/>
                </a:lnTo>
                <a:lnTo>
                  <a:pt x="35" y="1102"/>
                </a:lnTo>
                <a:lnTo>
                  <a:pt x="0" y="1102"/>
                </a:lnTo>
                <a:lnTo>
                  <a:pt x="0" y="723"/>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69" name="Freeform 20">
            <a:extLst>
              <a:ext uri="{FF2B5EF4-FFF2-40B4-BE49-F238E27FC236}">
                <a16:creationId xmlns:a16="http://schemas.microsoft.com/office/drawing/2014/main" id="{A84706CA-E44B-774B-BAA9-508708757137}"/>
              </a:ext>
            </a:extLst>
          </p:cNvPr>
          <p:cNvSpPr>
            <a:spLocks/>
          </p:cNvSpPr>
          <p:nvPr userDrawn="1"/>
        </p:nvSpPr>
        <p:spPr bwMode="auto">
          <a:xfrm>
            <a:off x="1671638" y="1158877"/>
            <a:ext cx="141288" cy="136525"/>
          </a:xfrm>
          <a:custGeom>
            <a:avLst/>
            <a:gdLst>
              <a:gd name="T0" fmla="*/ 304 w 1077"/>
              <a:gd name="T1" fmla="*/ 999 h 1035"/>
              <a:gd name="T2" fmla="*/ 352 w 1077"/>
              <a:gd name="T3" fmla="*/ 997 h 1035"/>
              <a:gd name="T4" fmla="*/ 390 w 1077"/>
              <a:gd name="T5" fmla="*/ 991 h 1035"/>
              <a:gd name="T6" fmla="*/ 419 w 1077"/>
              <a:gd name="T7" fmla="*/ 981 h 1035"/>
              <a:gd name="T8" fmla="*/ 431 w 1077"/>
              <a:gd name="T9" fmla="*/ 972 h 1035"/>
              <a:gd name="T10" fmla="*/ 441 w 1077"/>
              <a:gd name="T11" fmla="*/ 962 h 1035"/>
              <a:gd name="T12" fmla="*/ 448 w 1077"/>
              <a:gd name="T13" fmla="*/ 951 h 1035"/>
              <a:gd name="T14" fmla="*/ 460 w 1077"/>
              <a:gd name="T15" fmla="*/ 920 h 1035"/>
              <a:gd name="T16" fmla="*/ 466 w 1077"/>
              <a:gd name="T17" fmla="*/ 879 h 1035"/>
              <a:gd name="T18" fmla="*/ 469 w 1077"/>
              <a:gd name="T19" fmla="*/ 827 h 1035"/>
              <a:gd name="T20" fmla="*/ 469 w 1077"/>
              <a:gd name="T21" fmla="*/ 68 h 1035"/>
              <a:gd name="T22" fmla="*/ 245 w 1077"/>
              <a:gd name="T23" fmla="*/ 68 h 1035"/>
              <a:gd name="T24" fmla="*/ 192 w 1077"/>
              <a:gd name="T25" fmla="*/ 69 h 1035"/>
              <a:gd name="T26" fmla="*/ 150 w 1077"/>
              <a:gd name="T27" fmla="*/ 75 h 1035"/>
              <a:gd name="T28" fmla="*/ 119 w 1077"/>
              <a:gd name="T29" fmla="*/ 85 h 1035"/>
              <a:gd name="T30" fmla="*/ 94 w 1077"/>
              <a:gd name="T31" fmla="*/ 98 h 1035"/>
              <a:gd name="T32" fmla="*/ 77 w 1077"/>
              <a:gd name="T33" fmla="*/ 117 h 1035"/>
              <a:gd name="T34" fmla="*/ 64 w 1077"/>
              <a:gd name="T35" fmla="*/ 139 h 1035"/>
              <a:gd name="T36" fmla="*/ 54 w 1077"/>
              <a:gd name="T37" fmla="*/ 167 h 1035"/>
              <a:gd name="T38" fmla="*/ 37 w 1077"/>
              <a:gd name="T39" fmla="*/ 233 h 1035"/>
              <a:gd name="T40" fmla="*/ 15 w 1077"/>
              <a:gd name="T41" fmla="*/ 0 h 1035"/>
              <a:gd name="T42" fmla="*/ 1077 w 1077"/>
              <a:gd name="T43" fmla="*/ 233 h 1035"/>
              <a:gd name="T44" fmla="*/ 1032 w 1077"/>
              <a:gd name="T45" fmla="*/ 198 h 1035"/>
              <a:gd name="T46" fmla="*/ 1023 w 1077"/>
              <a:gd name="T47" fmla="*/ 167 h 1035"/>
              <a:gd name="T48" fmla="*/ 1012 w 1077"/>
              <a:gd name="T49" fmla="*/ 139 h 1035"/>
              <a:gd name="T50" fmla="*/ 1000 w 1077"/>
              <a:gd name="T51" fmla="*/ 117 h 1035"/>
              <a:gd name="T52" fmla="*/ 983 w 1077"/>
              <a:gd name="T53" fmla="*/ 98 h 1035"/>
              <a:gd name="T54" fmla="*/ 958 w 1077"/>
              <a:gd name="T55" fmla="*/ 85 h 1035"/>
              <a:gd name="T56" fmla="*/ 926 w 1077"/>
              <a:gd name="T57" fmla="*/ 75 h 1035"/>
              <a:gd name="T58" fmla="*/ 884 w 1077"/>
              <a:gd name="T59" fmla="*/ 69 h 1035"/>
              <a:gd name="T60" fmla="*/ 831 w 1077"/>
              <a:gd name="T61" fmla="*/ 68 h 1035"/>
              <a:gd name="T62" fmla="*/ 607 w 1077"/>
              <a:gd name="T63" fmla="*/ 797 h 1035"/>
              <a:gd name="T64" fmla="*/ 607 w 1077"/>
              <a:gd name="T65" fmla="*/ 827 h 1035"/>
              <a:gd name="T66" fmla="*/ 610 w 1077"/>
              <a:gd name="T67" fmla="*/ 879 h 1035"/>
              <a:gd name="T68" fmla="*/ 617 w 1077"/>
              <a:gd name="T69" fmla="*/ 920 h 1035"/>
              <a:gd name="T70" fmla="*/ 629 w 1077"/>
              <a:gd name="T71" fmla="*/ 951 h 1035"/>
              <a:gd name="T72" fmla="*/ 636 w 1077"/>
              <a:gd name="T73" fmla="*/ 962 h 1035"/>
              <a:gd name="T74" fmla="*/ 646 w 1077"/>
              <a:gd name="T75" fmla="*/ 972 h 1035"/>
              <a:gd name="T76" fmla="*/ 657 w 1077"/>
              <a:gd name="T77" fmla="*/ 981 h 1035"/>
              <a:gd name="T78" fmla="*/ 687 w 1077"/>
              <a:gd name="T79" fmla="*/ 991 h 1035"/>
              <a:gd name="T80" fmla="*/ 725 w 1077"/>
              <a:gd name="T81" fmla="*/ 997 h 1035"/>
              <a:gd name="T82" fmla="*/ 773 w 1077"/>
              <a:gd name="T83" fmla="*/ 999 h 1035"/>
              <a:gd name="T84" fmla="*/ 304 w 1077"/>
              <a:gd name="T85" fmla="*/ 1035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7" h="1035">
                <a:moveTo>
                  <a:pt x="304" y="999"/>
                </a:moveTo>
                <a:lnTo>
                  <a:pt x="304" y="999"/>
                </a:lnTo>
                <a:lnTo>
                  <a:pt x="329" y="998"/>
                </a:lnTo>
                <a:lnTo>
                  <a:pt x="352" y="997"/>
                </a:lnTo>
                <a:lnTo>
                  <a:pt x="372" y="995"/>
                </a:lnTo>
                <a:lnTo>
                  <a:pt x="390" y="991"/>
                </a:lnTo>
                <a:lnTo>
                  <a:pt x="406" y="987"/>
                </a:lnTo>
                <a:lnTo>
                  <a:pt x="419" y="981"/>
                </a:lnTo>
                <a:lnTo>
                  <a:pt x="425" y="977"/>
                </a:lnTo>
                <a:lnTo>
                  <a:pt x="431" y="972"/>
                </a:lnTo>
                <a:lnTo>
                  <a:pt x="436" y="967"/>
                </a:lnTo>
                <a:lnTo>
                  <a:pt x="441" y="962"/>
                </a:lnTo>
                <a:lnTo>
                  <a:pt x="445" y="957"/>
                </a:lnTo>
                <a:lnTo>
                  <a:pt x="448" y="951"/>
                </a:lnTo>
                <a:lnTo>
                  <a:pt x="455" y="937"/>
                </a:lnTo>
                <a:lnTo>
                  <a:pt x="460" y="920"/>
                </a:lnTo>
                <a:lnTo>
                  <a:pt x="463" y="901"/>
                </a:lnTo>
                <a:lnTo>
                  <a:pt x="466" y="879"/>
                </a:lnTo>
                <a:lnTo>
                  <a:pt x="468" y="855"/>
                </a:lnTo>
                <a:lnTo>
                  <a:pt x="469" y="827"/>
                </a:lnTo>
                <a:lnTo>
                  <a:pt x="469" y="797"/>
                </a:lnTo>
                <a:lnTo>
                  <a:pt x="469" y="68"/>
                </a:lnTo>
                <a:lnTo>
                  <a:pt x="245" y="68"/>
                </a:lnTo>
                <a:lnTo>
                  <a:pt x="245" y="68"/>
                </a:lnTo>
                <a:lnTo>
                  <a:pt x="217" y="68"/>
                </a:lnTo>
                <a:lnTo>
                  <a:pt x="192" y="69"/>
                </a:lnTo>
                <a:lnTo>
                  <a:pt x="170" y="72"/>
                </a:lnTo>
                <a:lnTo>
                  <a:pt x="150" y="75"/>
                </a:lnTo>
                <a:lnTo>
                  <a:pt x="133" y="79"/>
                </a:lnTo>
                <a:lnTo>
                  <a:pt x="119" y="85"/>
                </a:lnTo>
                <a:lnTo>
                  <a:pt x="105" y="91"/>
                </a:lnTo>
                <a:lnTo>
                  <a:pt x="94" y="98"/>
                </a:lnTo>
                <a:lnTo>
                  <a:pt x="85" y="106"/>
                </a:lnTo>
                <a:lnTo>
                  <a:pt x="77" y="117"/>
                </a:lnTo>
                <a:lnTo>
                  <a:pt x="71" y="127"/>
                </a:lnTo>
                <a:lnTo>
                  <a:pt x="64" y="139"/>
                </a:lnTo>
                <a:lnTo>
                  <a:pt x="59" y="152"/>
                </a:lnTo>
                <a:lnTo>
                  <a:pt x="54" y="167"/>
                </a:lnTo>
                <a:lnTo>
                  <a:pt x="45" y="198"/>
                </a:lnTo>
                <a:lnTo>
                  <a:pt x="37" y="233"/>
                </a:lnTo>
                <a:lnTo>
                  <a:pt x="0" y="233"/>
                </a:lnTo>
                <a:lnTo>
                  <a:pt x="15" y="0"/>
                </a:lnTo>
                <a:lnTo>
                  <a:pt x="1061" y="0"/>
                </a:lnTo>
                <a:lnTo>
                  <a:pt x="1077" y="233"/>
                </a:lnTo>
                <a:lnTo>
                  <a:pt x="1040" y="233"/>
                </a:lnTo>
                <a:lnTo>
                  <a:pt x="1032" y="198"/>
                </a:lnTo>
                <a:lnTo>
                  <a:pt x="1032" y="198"/>
                </a:lnTo>
                <a:lnTo>
                  <a:pt x="1023" y="167"/>
                </a:lnTo>
                <a:lnTo>
                  <a:pt x="1017" y="152"/>
                </a:lnTo>
                <a:lnTo>
                  <a:pt x="1012" y="139"/>
                </a:lnTo>
                <a:lnTo>
                  <a:pt x="1006" y="127"/>
                </a:lnTo>
                <a:lnTo>
                  <a:pt x="1000" y="117"/>
                </a:lnTo>
                <a:lnTo>
                  <a:pt x="992" y="106"/>
                </a:lnTo>
                <a:lnTo>
                  <a:pt x="983" y="98"/>
                </a:lnTo>
                <a:lnTo>
                  <a:pt x="971" y="91"/>
                </a:lnTo>
                <a:lnTo>
                  <a:pt x="958" y="85"/>
                </a:lnTo>
                <a:lnTo>
                  <a:pt x="944" y="79"/>
                </a:lnTo>
                <a:lnTo>
                  <a:pt x="926" y="75"/>
                </a:lnTo>
                <a:lnTo>
                  <a:pt x="907" y="72"/>
                </a:lnTo>
                <a:lnTo>
                  <a:pt x="884" y="69"/>
                </a:lnTo>
                <a:lnTo>
                  <a:pt x="860" y="68"/>
                </a:lnTo>
                <a:lnTo>
                  <a:pt x="831" y="68"/>
                </a:lnTo>
                <a:lnTo>
                  <a:pt x="607" y="68"/>
                </a:lnTo>
                <a:lnTo>
                  <a:pt x="607" y="797"/>
                </a:lnTo>
                <a:lnTo>
                  <a:pt x="607" y="797"/>
                </a:lnTo>
                <a:lnTo>
                  <a:pt x="607" y="827"/>
                </a:lnTo>
                <a:lnTo>
                  <a:pt x="608" y="855"/>
                </a:lnTo>
                <a:lnTo>
                  <a:pt x="610" y="879"/>
                </a:lnTo>
                <a:lnTo>
                  <a:pt x="614" y="901"/>
                </a:lnTo>
                <a:lnTo>
                  <a:pt x="617" y="920"/>
                </a:lnTo>
                <a:lnTo>
                  <a:pt x="622" y="937"/>
                </a:lnTo>
                <a:lnTo>
                  <a:pt x="629" y="951"/>
                </a:lnTo>
                <a:lnTo>
                  <a:pt x="632" y="957"/>
                </a:lnTo>
                <a:lnTo>
                  <a:pt x="636" y="962"/>
                </a:lnTo>
                <a:lnTo>
                  <a:pt x="641" y="967"/>
                </a:lnTo>
                <a:lnTo>
                  <a:pt x="646" y="972"/>
                </a:lnTo>
                <a:lnTo>
                  <a:pt x="651" y="977"/>
                </a:lnTo>
                <a:lnTo>
                  <a:pt x="657" y="981"/>
                </a:lnTo>
                <a:lnTo>
                  <a:pt x="671" y="987"/>
                </a:lnTo>
                <a:lnTo>
                  <a:pt x="687" y="991"/>
                </a:lnTo>
                <a:lnTo>
                  <a:pt x="705" y="995"/>
                </a:lnTo>
                <a:lnTo>
                  <a:pt x="725" y="997"/>
                </a:lnTo>
                <a:lnTo>
                  <a:pt x="747" y="998"/>
                </a:lnTo>
                <a:lnTo>
                  <a:pt x="773" y="999"/>
                </a:lnTo>
                <a:lnTo>
                  <a:pt x="773" y="1035"/>
                </a:lnTo>
                <a:lnTo>
                  <a:pt x="304" y="1035"/>
                </a:lnTo>
                <a:lnTo>
                  <a:pt x="304" y="999"/>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70" name="Freeform 21">
            <a:extLst>
              <a:ext uri="{FF2B5EF4-FFF2-40B4-BE49-F238E27FC236}">
                <a16:creationId xmlns:a16="http://schemas.microsoft.com/office/drawing/2014/main" id="{624144CE-E5A6-D842-BB2E-FE41CEB927EB}"/>
              </a:ext>
            </a:extLst>
          </p:cNvPr>
          <p:cNvSpPr>
            <a:spLocks noEditPoints="1"/>
          </p:cNvSpPr>
          <p:nvPr userDrawn="1"/>
        </p:nvSpPr>
        <p:spPr bwMode="auto">
          <a:xfrm>
            <a:off x="1811339" y="1154113"/>
            <a:ext cx="157163" cy="141288"/>
          </a:xfrm>
          <a:custGeom>
            <a:avLst/>
            <a:gdLst>
              <a:gd name="T0" fmla="*/ 0 w 1196"/>
              <a:gd name="T1" fmla="*/ 1029 h 1065"/>
              <a:gd name="T2" fmla="*/ 48 w 1196"/>
              <a:gd name="T3" fmla="*/ 1027 h 1065"/>
              <a:gd name="T4" fmla="*/ 86 w 1196"/>
              <a:gd name="T5" fmla="*/ 1022 h 1065"/>
              <a:gd name="T6" fmla="*/ 115 w 1196"/>
              <a:gd name="T7" fmla="*/ 1013 h 1065"/>
              <a:gd name="T8" fmla="*/ 137 w 1196"/>
              <a:gd name="T9" fmla="*/ 999 h 1065"/>
              <a:gd name="T10" fmla="*/ 156 w 1196"/>
              <a:gd name="T11" fmla="*/ 979 h 1065"/>
              <a:gd name="T12" fmla="*/ 172 w 1196"/>
              <a:gd name="T13" fmla="*/ 953 h 1065"/>
              <a:gd name="T14" fmla="*/ 188 w 1196"/>
              <a:gd name="T15" fmla="*/ 920 h 1065"/>
              <a:gd name="T16" fmla="*/ 586 w 1196"/>
              <a:gd name="T17" fmla="*/ 0 h 1065"/>
              <a:gd name="T18" fmla="*/ 990 w 1196"/>
              <a:gd name="T19" fmla="*/ 879 h 1065"/>
              <a:gd name="T20" fmla="*/ 1008 w 1196"/>
              <a:gd name="T21" fmla="*/ 920 h 1065"/>
              <a:gd name="T22" fmla="*/ 1025 w 1196"/>
              <a:gd name="T23" fmla="*/ 953 h 1065"/>
              <a:gd name="T24" fmla="*/ 1041 w 1196"/>
              <a:gd name="T25" fmla="*/ 979 h 1065"/>
              <a:gd name="T26" fmla="*/ 1060 w 1196"/>
              <a:gd name="T27" fmla="*/ 999 h 1065"/>
              <a:gd name="T28" fmla="*/ 1082 w 1196"/>
              <a:gd name="T29" fmla="*/ 1013 h 1065"/>
              <a:gd name="T30" fmla="*/ 1111 w 1196"/>
              <a:gd name="T31" fmla="*/ 1022 h 1065"/>
              <a:gd name="T32" fmla="*/ 1148 w 1196"/>
              <a:gd name="T33" fmla="*/ 1027 h 1065"/>
              <a:gd name="T34" fmla="*/ 1196 w 1196"/>
              <a:gd name="T35" fmla="*/ 1029 h 1065"/>
              <a:gd name="T36" fmla="*/ 717 w 1196"/>
              <a:gd name="T37" fmla="*/ 1065 h 1065"/>
              <a:gd name="T38" fmla="*/ 717 w 1196"/>
              <a:gd name="T39" fmla="*/ 1029 h 1065"/>
              <a:gd name="T40" fmla="*/ 766 w 1196"/>
              <a:gd name="T41" fmla="*/ 1027 h 1065"/>
              <a:gd name="T42" fmla="*/ 805 w 1196"/>
              <a:gd name="T43" fmla="*/ 1022 h 1065"/>
              <a:gd name="T44" fmla="*/ 834 w 1196"/>
              <a:gd name="T45" fmla="*/ 1013 h 1065"/>
              <a:gd name="T46" fmla="*/ 854 w 1196"/>
              <a:gd name="T47" fmla="*/ 998 h 1065"/>
              <a:gd name="T48" fmla="*/ 865 w 1196"/>
              <a:gd name="T49" fmla="*/ 981 h 1065"/>
              <a:gd name="T50" fmla="*/ 868 w 1196"/>
              <a:gd name="T51" fmla="*/ 958 h 1065"/>
              <a:gd name="T52" fmla="*/ 864 w 1196"/>
              <a:gd name="T53" fmla="*/ 931 h 1065"/>
              <a:gd name="T54" fmla="*/ 852 w 1196"/>
              <a:gd name="T55" fmla="*/ 897 h 1065"/>
              <a:gd name="T56" fmla="*/ 352 w 1196"/>
              <a:gd name="T57" fmla="*/ 706 h 1065"/>
              <a:gd name="T58" fmla="*/ 269 w 1196"/>
              <a:gd name="T59" fmla="*/ 897 h 1065"/>
              <a:gd name="T60" fmla="*/ 257 w 1196"/>
              <a:gd name="T61" fmla="*/ 930 h 1065"/>
              <a:gd name="T62" fmla="*/ 253 w 1196"/>
              <a:gd name="T63" fmla="*/ 957 h 1065"/>
              <a:gd name="T64" fmla="*/ 256 w 1196"/>
              <a:gd name="T65" fmla="*/ 980 h 1065"/>
              <a:gd name="T66" fmla="*/ 267 w 1196"/>
              <a:gd name="T67" fmla="*/ 998 h 1065"/>
              <a:gd name="T68" fmla="*/ 288 w 1196"/>
              <a:gd name="T69" fmla="*/ 1012 h 1065"/>
              <a:gd name="T70" fmla="*/ 316 w 1196"/>
              <a:gd name="T71" fmla="*/ 1021 h 1065"/>
              <a:gd name="T72" fmla="*/ 355 w 1196"/>
              <a:gd name="T73" fmla="*/ 1027 h 1065"/>
              <a:gd name="T74" fmla="*/ 403 w 1196"/>
              <a:gd name="T75" fmla="*/ 1029 h 1065"/>
              <a:gd name="T76" fmla="*/ 0 w 1196"/>
              <a:gd name="T77" fmla="*/ 1065 h 1065"/>
              <a:gd name="T78" fmla="*/ 740 w 1196"/>
              <a:gd name="T79" fmla="*/ 643 h 1065"/>
              <a:gd name="T80" fmla="*/ 380 w 1196"/>
              <a:gd name="T81" fmla="*/ 643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96" h="1065">
                <a:moveTo>
                  <a:pt x="0" y="1029"/>
                </a:moveTo>
                <a:lnTo>
                  <a:pt x="0" y="1029"/>
                </a:lnTo>
                <a:lnTo>
                  <a:pt x="26" y="1028"/>
                </a:lnTo>
                <a:lnTo>
                  <a:pt x="48" y="1027"/>
                </a:lnTo>
                <a:lnTo>
                  <a:pt x="68" y="1025"/>
                </a:lnTo>
                <a:lnTo>
                  <a:pt x="86" y="1022"/>
                </a:lnTo>
                <a:lnTo>
                  <a:pt x="102" y="1018"/>
                </a:lnTo>
                <a:lnTo>
                  <a:pt x="115" y="1013"/>
                </a:lnTo>
                <a:lnTo>
                  <a:pt x="127" y="1007"/>
                </a:lnTo>
                <a:lnTo>
                  <a:pt x="137" y="999"/>
                </a:lnTo>
                <a:lnTo>
                  <a:pt x="148" y="990"/>
                </a:lnTo>
                <a:lnTo>
                  <a:pt x="156" y="979"/>
                </a:lnTo>
                <a:lnTo>
                  <a:pt x="164" y="967"/>
                </a:lnTo>
                <a:lnTo>
                  <a:pt x="172" y="953"/>
                </a:lnTo>
                <a:lnTo>
                  <a:pt x="180" y="937"/>
                </a:lnTo>
                <a:lnTo>
                  <a:pt x="188" y="920"/>
                </a:lnTo>
                <a:lnTo>
                  <a:pt x="207" y="879"/>
                </a:lnTo>
                <a:lnTo>
                  <a:pt x="586" y="0"/>
                </a:lnTo>
                <a:lnTo>
                  <a:pt x="609" y="0"/>
                </a:lnTo>
                <a:lnTo>
                  <a:pt x="990" y="879"/>
                </a:lnTo>
                <a:lnTo>
                  <a:pt x="990" y="879"/>
                </a:lnTo>
                <a:lnTo>
                  <a:pt x="1008" y="920"/>
                </a:lnTo>
                <a:lnTo>
                  <a:pt x="1017" y="937"/>
                </a:lnTo>
                <a:lnTo>
                  <a:pt x="1025" y="953"/>
                </a:lnTo>
                <a:lnTo>
                  <a:pt x="1033" y="967"/>
                </a:lnTo>
                <a:lnTo>
                  <a:pt x="1041" y="979"/>
                </a:lnTo>
                <a:lnTo>
                  <a:pt x="1049" y="990"/>
                </a:lnTo>
                <a:lnTo>
                  <a:pt x="1060" y="999"/>
                </a:lnTo>
                <a:lnTo>
                  <a:pt x="1070" y="1007"/>
                </a:lnTo>
                <a:lnTo>
                  <a:pt x="1082" y="1013"/>
                </a:lnTo>
                <a:lnTo>
                  <a:pt x="1095" y="1018"/>
                </a:lnTo>
                <a:lnTo>
                  <a:pt x="1111" y="1022"/>
                </a:lnTo>
                <a:lnTo>
                  <a:pt x="1128" y="1025"/>
                </a:lnTo>
                <a:lnTo>
                  <a:pt x="1148" y="1027"/>
                </a:lnTo>
                <a:lnTo>
                  <a:pt x="1170" y="1028"/>
                </a:lnTo>
                <a:lnTo>
                  <a:pt x="1196" y="1029"/>
                </a:lnTo>
                <a:lnTo>
                  <a:pt x="1196" y="1065"/>
                </a:lnTo>
                <a:lnTo>
                  <a:pt x="717" y="1065"/>
                </a:lnTo>
                <a:lnTo>
                  <a:pt x="717" y="1029"/>
                </a:lnTo>
                <a:lnTo>
                  <a:pt x="717" y="1029"/>
                </a:lnTo>
                <a:lnTo>
                  <a:pt x="743" y="1028"/>
                </a:lnTo>
                <a:lnTo>
                  <a:pt x="766" y="1027"/>
                </a:lnTo>
                <a:lnTo>
                  <a:pt x="787" y="1025"/>
                </a:lnTo>
                <a:lnTo>
                  <a:pt x="805" y="1022"/>
                </a:lnTo>
                <a:lnTo>
                  <a:pt x="820" y="1018"/>
                </a:lnTo>
                <a:lnTo>
                  <a:pt x="834" y="1013"/>
                </a:lnTo>
                <a:lnTo>
                  <a:pt x="845" y="1006"/>
                </a:lnTo>
                <a:lnTo>
                  <a:pt x="854" y="998"/>
                </a:lnTo>
                <a:lnTo>
                  <a:pt x="861" y="990"/>
                </a:lnTo>
                <a:lnTo>
                  <a:pt x="865" y="981"/>
                </a:lnTo>
                <a:lnTo>
                  <a:pt x="868" y="970"/>
                </a:lnTo>
                <a:lnTo>
                  <a:pt x="868" y="958"/>
                </a:lnTo>
                <a:lnTo>
                  <a:pt x="867" y="945"/>
                </a:lnTo>
                <a:lnTo>
                  <a:pt x="864" y="931"/>
                </a:lnTo>
                <a:lnTo>
                  <a:pt x="859" y="915"/>
                </a:lnTo>
                <a:lnTo>
                  <a:pt x="852" y="897"/>
                </a:lnTo>
                <a:lnTo>
                  <a:pt x="769" y="706"/>
                </a:lnTo>
                <a:lnTo>
                  <a:pt x="352" y="706"/>
                </a:lnTo>
                <a:lnTo>
                  <a:pt x="269" y="897"/>
                </a:lnTo>
                <a:lnTo>
                  <a:pt x="269" y="897"/>
                </a:lnTo>
                <a:lnTo>
                  <a:pt x="262" y="915"/>
                </a:lnTo>
                <a:lnTo>
                  <a:pt x="257" y="930"/>
                </a:lnTo>
                <a:lnTo>
                  <a:pt x="254" y="944"/>
                </a:lnTo>
                <a:lnTo>
                  <a:pt x="253" y="957"/>
                </a:lnTo>
                <a:lnTo>
                  <a:pt x="253" y="969"/>
                </a:lnTo>
                <a:lnTo>
                  <a:pt x="256" y="980"/>
                </a:lnTo>
                <a:lnTo>
                  <a:pt x="260" y="989"/>
                </a:lnTo>
                <a:lnTo>
                  <a:pt x="267" y="998"/>
                </a:lnTo>
                <a:lnTo>
                  <a:pt x="276" y="1006"/>
                </a:lnTo>
                <a:lnTo>
                  <a:pt x="288" y="1012"/>
                </a:lnTo>
                <a:lnTo>
                  <a:pt x="301" y="1017"/>
                </a:lnTo>
                <a:lnTo>
                  <a:pt x="316" y="1021"/>
                </a:lnTo>
                <a:lnTo>
                  <a:pt x="335" y="1025"/>
                </a:lnTo>
                <a:lnTo>
                  <a:pt x="355" y="1027"/>
                </a:lnTo>
                <a:lnTo>
                  <a:pt x="378" y="1028"/>
                </a:lnTo>
                <a:lnTo>
                  <a:pt x="403" y="1029"/>
                </a:lnTo>
                <a:lnTo>
                  <a:pt x="403" y="1065"/>
                </a:lnTo>
                <a:lnTo>
                  <a:pt x="0" y="1065"/>
                </a:lnTo>
                <a:lnTo>
                  <a:pt x="0" y="1029"/>
                </a:lnTo>
                <a:close/>
                <a:moveTo>
                  <a:pt x="740" y="643"/>
                </a:moveTo>
                <a:lnTo>
                  <a:pt x="559" y="226"/>
                </a:lnTo>
                <a:lnTo>
                  <a:pt x="380" y="643"/>
                </a:lnTo>
                <a:lnTo>
                  <a:pt x="740" y="643"/>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71" name="Freeform 22">
            <a:extLst>
              <a:ext uri="{FF2B5EF4-FFF2-40B4-BE49-F238E27FC236}">
                <a16:creationId xmlns:a16="http://schemas.microsoft.com/office/drawing/2014/main" id="{A387DB3F-83D5-0A40-B69D-A25DB16F3840}"/>
              </a:ext>
            </a:extLst>
          </p:cNvPr>
          <p:cNvSpPr>
            <a:spLocks/>
          </p:cNvSpPr>
          <p:nvPr userDrawn="1"/>
        </p:nvSpPr>
        <p:spPr bwMode="auto">
          <a:xfrm>
            <a:off x="1966913" y="1158877"/>
            <a:ext cx="142875" cy="136525"/>
          </a:xfrm>
          <a:custGeom>
            <a:avLst/>
            <a:gdLst>
              <a:gd name="T0" fmla="*/ 304 w 1077"/>
              <a:gd name="T1" fmla="*/ 999 h 1035"/>
              <a:gd name="T2" fmla="*/ 353 w 1077"/>
              <a:gd name="T3" fmla="*/ 997 h 1035"/>
              <a:gd name="T4" fmla="*/ 391 w 1077"/>
              <a:gd name="T5" fmla="*/ 991 h 1035"/>
              <a:gd name="T6" fmla="*/ 420 w 1077"/>
              <a:gd name="T7" fmla="*/ 981 h 1035"/>
              <a:gd name="T8" fmla="*/ 431 w 1077"/>
              <a:gd name="T9" fmla="*/ 972 h 1035"/>
              <a:gd name="T10" fmla="*/ 441 w 1077"/>
              <a:gd name="T11" fmla="*/ 962 h 1035"/>
              <a:gd name="T12" fmla="*/ 449 w 1077"/>
              <a:gd name="T13" fmla="*/ 951 h 1035"/>
              <a:gd name="T14" fmla="*/ 461 w 1077"/>
              <a:gd name="T15" fmla="*/ 920 h 1035"/>
              <a:gd name="T16" fmla="*/ 467 w 1077"/>
              <a:gd name="T17" fmla="*/ 879 h 1035"/>
              <a:gd name="T18" fmla="*/ 470 w 1077"/>
              <a:gd name="T19" fmla="*/ 827 h 1035"/>
              <a:gd name="T20" fmla="*/ 470 w 1077"/>
              <a:gd name="T21" fmla="*/ 68 h 1035"/>
              <a:gd name="T22" fmla="*/ 246 w 1077"/>
              <a:gd name="T23" fmla="*/ 68 h 1035"/>
              <a:gd name="T24" fmla="*/ 193 w 1077"/>
              <a:gd name="T25" fmla="*/ 69 h 1035"/>
              <a:gd name="T26" fmla="*/ 151 w 1077"/>
              <a:gd name="T27" fmla="*/ 75 h 1035"/>
              <a:gd name="T28" fmla="*/ 119 w 1077"/>
              <a:gd name="T29" fmla="*/ 85 h 1035"/>
              <a:gd name="T30" fmla="*/ 95 w 1077"/>
              <a:gd name="T31" fmla="*/ 98 h 1035"/>
              <a:gd name="T32" fmla="*/ 78 w 1077"/>
              <a:gd name="T33" fmla="*/ 117 h 1035"/>
              <a:gd name="T34" fmla="*/ 65 w 1077"/>
              <a:gd name="T35" fmla="*/ 139 h 1035"/>
              <a:gd name="T36" fmla="*/ 55 w 1077"/>
              <a:gd name="T37" fmla="*/ 167 h 1035"/>
              <a:gd name="T38" fmla="*/ 37 w 1077"/>
              <a:gd name="T39" fmla="*/ 233 h 1035"/>
              <a:gd name="T40" fmla="*/ 17 w 1077"/>
              <a:gd name="T41" fmla="*/ 0 h 1035"/>
              <a:gd name="T42" fmla="*/ 1077 w 1077"/>
              <a:gd name="T43" fmla="*/ 233 h 1035"/>
              <a:gd name="T44" fmla="*/ 1032 w 1077"/>
              <a:gd name="T45" fmla="*/ 198 h 1035"/>
              <a:gd name="T46" fmla="*/ 1024 w 1077"/>
              <a:gd name="T47" fmla="*/ 167 h 1035"/>
              <a:gd name="T48" fmla="*/ 1014 w 1077"/>
              <a:gd name="T49" fmla="*/ 139 h 1035"/>
              <a:gd name="T50" fmla="*/ 1000 w 1077"/>
              <a:gd name="T51" fmla="*/ 117 h 1035"/>
              <a:gd name="T52" fmla="*/ 983 w 1077"/>
              <a:gd name="T53" fmla="*/ 98 h 1035"/>
              <a:gd name="T54" fmla="*/ 960 w 1077"/>
              <a:gd name="T55" fmla="*/ 85 h 1035"/>
              <a:gd name="T56" fmla="*/ 927 w 1077"/>
              <a:gd name="T57" fmla="*/ 75 h 1035"/>
              <a:gd name="T58" fmla="*/ 886 w 1077"/>
              <a:gd name="T59" fmla="*/ 69 h 1035"/>
              <a:gd name="T60" fmla="*/ 833 w 1077"/>
              <a:gd name="T61" fmla="*/ 68 h 1035"/>
              <a:gd name="T62" fmla="*/ 608 w 1077"/>
              <a:gd name="T63" fmla="*/ 797 h 1035"/>
              <a:gd name="T64" fmla="*/ 609 w 1077"/>
              <a:gd name="T65" fmla="*/ 827 h 1035"/>
              <a:gd name="T66" fmla="*/ 611 w 1077"/>
              <a:gd name="T67" fmla="*/ 879 h 1035"/>
              <a:gd name="T68" fmla="*/ 618 w 1077"/>
              <a:gd name="T69" fmla="*/ 920 h 1035"/>
              <a:gd name="T70" fmla="*/ 629 w 1077"/>
              <a:gd name="T71" fmla="*/ 951 h 1035"/>
              <a:gd name="T72" fmla="*/ 637 w 1077"/>
              <a:gd name="T73" fmla="*/ 962 h 1035"/>
              <a:gd name="T74" fmla="*/ 647 w 1077"/>
              <a:gd name="T75" fmla="*/ 972 h 1035"/>
              <a:gd name="T76" fmla="*/ 658 w 1077"/>
              <a:gd name="T77" fmla="*/ 981 h 1035"/>
              <a:gd name="T78" fmla="*/ 688 w 1077"/>
              <a:gd name="T79" fmla="*/ 991 h 1035"/>
              <a:gd name="T80" fmla="*/ 725 w 1077"/>
              <a:gd name="T81" fmla="*/ 997 h 1035"/>
              <a:gd name="T82" fmla="*/ 773 w 1077"/>
              <a:gd name="T83" fmla="*/ 999 h 1035"/>
              <a:gd name="T84" fmla="*/ 304 w 1077"/>
              <a:gd name="T85" fmla="*/ 1035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7" h="1035">
                <a:moveTo>
                  <a:pt x="304" y="999"/>
                </a:moveTo>
                <a:lnTo>
                  <a:pt x="304" y="999"/>
                </a:lnTo>
                <a:lnTo>
                  <a:pt x="330" y="998"/>
                </a:lnTo>
                <a:lnTo>
                  <a:pt x="353" y="997"/>
                </a:lnTo>
                <a:lnTo>
                  <a:pt x="373" y="995"/>
                </a:lnTo>
                <a:lnTo>
                  <a:pt x="391" y="991"/>
                </a:lnTo>
                <a:lnTo>
                  <a:pt x="406" y="987"/>
                </a:lnTo>
                <a:lnTo>
                  <a:pt x="420" y="981"/>
                </a:lnTo>
                <a:lnTo>
                  <a:pt x="426" y="977"/>
                </a:lnTo>
                <a:lnTo>
                  <a:pt x="431" y="972"/>
                </a:lnTo>
                <a:lnTo>
                  <a:pt x="436" y="967"/>
                </a:lnTo>
                <a:lnTo>
                  <a:pt x="441" y="962"/>
                </a:lnTo>
                <a:lnTo>
                  <a:pt x="445" y="957"/>
                </a:lnTo>
                <a:lnTo>
                  <a:pt x="449" y="951"/>
                </a:lnTo>
                <a:lnTo>
                  <a:pt x="455" y="937"/>
                </a:lnTo>
                <a:lnTo>
                  <a:pt x="461" y="920"/>
                </a:lnTo>
                <a:lnTo>
                  <a:pt x="465" y="901"/>
                </a:lnTo>
                <a:lnTo>
                  <a:pt x="467" y="879"/>
                </a:lnTo>
                <a:lnTo>
                  <a:pt x="469" y="855"/>
                </a:lnTo>
                <a:lnTo>
                  <a:pt x="470" y="827"/>
                </a:lnTo>
                <a:lnTo>
                  <a:pt x="470" y="797"/>
                </a:lnTo>
                <a:lnTo>
                  <a:pt x="470" y="68"/>
                </a:lnTo>
                <a:lnTo>
                  <a:pt x="246" y="68"/>
                </a:lnTo>
                <a:lnTo>
                  <a:pt x="246" y="68"/>
                </a:lnTo>
                <a:lnTo>
                  <a:pt x="217" y="68"/>
                </a:lnTo>
                <a:lnTo>
                  <a:pt x="193" y="69"/>
                </a:lnTo>
                <a:lnTo>
                  <a:pt x="170" y="72"/>
                </a:lnTo>
                <a:lnTo>
                  <a:pt x="151" y="75"/>
                </a:lnTo>
                <a:lnTo>
                  <a:pt x="134" y="79"/>
                </a:lnTo>
                <a:lnTo>
                  <a:pt x="119" y="85"/>
                </a:lnTo>
                <a:lnTo>
                  <a:pt x="107" y="91"/>
                </a:lnTo>
                <a:lnTo>
                  <a:pt x="95" y="98"/>
                </a:lnTo>
                <a:lnTo>
                  <a:pt x="86" y="106"/>
                </a:lnTo>
                <a:lnTo>
                  <a:pt x="78" y="117"/>
                </a:lnTo>
                <a:lnTo>
                  <a:pt x="71" y="127"/>
                </a:lnTo>
                <a:lnTo>
                  <a:pt x="65" y="139"/>
                </a:lnTo>
                <a:lnTo>
                  <a:pt x="60" y="152"/>
                </a:lnTo>
                <a:lnTo>
                  <a:pt x="55" y="167"/>
                </a:lnTo>
                <a:lnTo>
                  <a:pt x="45" y="198"/>
                </a:lnTo>
                <a:lnTo>
                  <a:pt x="37" y="233"/>
                </a:lnTo>
                <a:lnTo>
                  <a:pt x="0" y="233"/>
                </a:lnTo>
                <a:lnTo>
                  <a:pt x="17" y="0"/>
                </a:lnTo>
                <a:lnTo>
                  <a:pt x="1062" y="0"/>
                </a:lnTo>
                <a:lnTo>
                  <a:pt x="1077" y="233"/>
                </a:lnTo>
                <a:lnTo>
                  <a:pt x="1041" y="233"/>
                </a:lnTo>
                <a:lnTo>
                  <a:pt x="1032" y="198"/>
                </a:lnTo>
                <a:lnTo>
                  <a:pt x="1032" y="198"/>
                </a:lnTo>
                <a:lnTo>
                  <a:pt x="1024" y="167"/>
                </a:lnTo>
                <a:lnTo>
                  <a:pt x="1019" y="152"/>
                </a:lnTo>
                <a:lnTo>
                  <a:pt x="1014" y="139"/>
                </a:lnTo>
                <a:lnTo>
                  <a:pt x="1008" y="127"/>
                </a:lnTo>
                <a:lnTo>
                  <a:pt x="1000" y="117"/>
                </a:lnTo>
                <a:lnTo>
                  <a:pt x="992" y="106"/>
                </a:lnTo>
                <a:lnTo>
                  <a:pt x="983" y="98"/>
                </a:lnTo>
                <a:lnTo>
                  <a:pt x="972" y="91"/>
                </a:lnTo>
                <a:lnTo>
                  <a:pt x="960" y="85"/>
                </a:lnTo>
                <a:lnTo>
                  <a:pt x="944" y="79"/>
                </a:lnTo>
                <a:lnTo>
                  <a:pt x="927" y="75"/>
                </a:lnTo>
                <a:lnTo>
                  <a:pt x="907" y="72"/>
                </a:lnTo>
                <a:lnTo>
                  <a:pt x="886" y="69"/>
                </a:lnTo>
                <a:lnTo>
                  <a:pt x="860" y="68"/>
                </a:lnTo>
                <a:lnTo>
                  <a:pt x="833" y="68"/>
                </a:lnTo>
                <a:lnTo>
                  <a:pt x="608" y="68"/>
                </a:lnTo>
                <a:lnTo>
                  <a:pt x="608" y="797"/>
                </a:lnTo>
                <a:lnTo>
                  <a:pt x="608" y="797"/>
                </a:lnTo>
                <a:lnTo>
                  <a:pt x="609" y="827"/>
                </a:lnTo>
                <a:lnTo>
                  <a:pt x="609" y="855"/>
                </a:lnTo>
                <a:lnTo>
                  <a:pt x="611" y="879"/>
                </a:lnTo>
                <a:lnTo>
                  <a:pt x="614" y="901"/>
                </a:lnTo>
                <a:lnTo>
                  <a:pt x="618" y="920"/>
                </a:lnTo>
                <a:lnTo>
                  <a:pt x="623" y="937"/>
                </a:lnTo>
                <a:lnTo>
                  <a:pt x="629" y="951"/>
                </a:lnTo>
                <a:lnTo>
                  <a:pt x="633" y="957"/>
                </a:lnTo>
                <a:lnTo>
                  <a:pt x="637" y="962"/>
                </a:lnTo>
                <a:lnTo>
                  <a:pt x="642" y="967"/>
                </a:lnTo>
                <a:lnTo>
                  <a:pt x="647" y="972"/>
                </a:lnTo>
                <a:lnTo>
                  <a:pt x="653" y="977"/>
                </a:lnTo>
                <a:lnTo>
                  <a:pt x="658" y="981"/>
                </a:lnTo>
                <a:lnTo>
                  <a:pt x="672" y="987"/>
                </a:lnTo>
                <a:lnTo>
                  <a:pt x="688" y="991"/>
                </a:lnTo>
                <a:lnTo>
                  <a:pt x="705" y="995"/>
                </a:lnTo>
                <a:lnTo>
                  <a:pt x="725" y="997"/>
                </a:lnTo>
                <a:lnTo>
                  <a:pt x="748" y="998"/>
                </a:lnTo>
                <a:lnTo>
                  <a:pt x="773" y="999"/>
                </a:lnTo>
                <a:lnTo>
                  <a:pt x="773" y="1035"/>
                </a:lnTo>
                <a:lnTo>
                  <a:pt x="304" y="1035"/>
                </a:lnTo>
                <a:lnTo>
                  <a:pt x="304" y="999"/>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72" name="Freeform 23">
            <a:extLst>
              <a:ext uri="{FF2B5EF4-FFF2-40B4-BE49-F238E27FC236}">
                <a16:creationId xmlns:a16="http://schemas.microsoft.com/office/drawing/2014/main" id="{5E0A04C1-F1DF-C14C-AE96-48E5572CFC9C}"/>
              </a:ext>
            </a:extLst>
          </p:cNvPr>
          <p:cNvSpPr>
            <a:spLocks/>
          </p:cNvSpPr>
          <p:nvPr userDrawn="1"/>
        </p:nvSpPr>
        <p:spPr bwMode="auto">
          <a:xfrm>
            <a:off x="2141538" y="1154114"/>
            <a:ext cx="88900" cy="144463"/>
          </a:xfrm>
          <a:custGeom>
            <a:avLst/>
            <a:gdLst>
              <a:gd name="T0" fmla="*/ 39 w 683"/>
              <a:gd name="T1" fmla="*/ 752 h 1102"/>
              <a:gd name="T2" fmla="*/ 64 w 683"/>
              <a:gd name="T3" fmla="*/ 849 h 1102"/>
              <a:gd name="T4" fmla="*/ 104 w 683"/>
              <a:gd name="T5" fmla="*/ 921 h 1102"/>
              <a:gd name="T6" fmla="*/ 171 w 683"/>
              <a:gd name="T7" fmla="*/ 985 h 1102"/>
              <a:gd name="T8" fmla="*/ 273 w 683"/>
              <a:gd name="T9" fmla="*/ 1026 h 1102"/>
              <a:gd name="T10" fmla="*/ 377 w 683"/>
              <a:gd name="T11" fmla="*/ 1032 h 1102"/>
              <a:gd name="T12" fmla="*/ 476 w 683"/>
              <a:gd name="T13" fmla="*/ 1002 h 1102"/>
              <a:gd name="T14" fmla="*/ 544 w 683"/>
              <a:gd name="T15" fmla="*/ 937 h 1102"/>
              <a:gd name="T16" fmla="*/ 570 w 683"/>
              <a:gd name="T17" fmla="*/ 844 h 1102"/>
              <a:gd name="T18" fmla="*/ 555 w 683"/>
              <a:gd name="T19" fmla="*/ 787 h 1102"/>
              <a:gd name="T20" fmla="*/ 501 w 683"/>
              <a:gd name="T21" fmla="*/ 720 h 1102"/>
              <a:gd name="T22" fmla="*/ 413 w 683"/>
              <a:gd name="T23" fmla="*/ 659 h 1102"/>
              <a:gd name="T24" fmla="*/ 169 w 683"/>
              <a:gd name="T25" fmla="*/ 529 h 1102"/>
              <a:gd name="T26" fmla="*/ 86 w 683"/>
              <a:gd name="T27" fmla="*/ 455 h 1102"/>
              <a:gd name="T28" fmla="*/ 30 w 683"/>
              <a:gd name="T29" fmla="*/ 358 h 1102"/>
              <a:gd name="T30" fmla="*/ 14 w 683"/>
              <a:gd name="T31" fmla="*/ 265 h 1102"/>
              <a:gd name="T32" fmla="*/ 23 w 683"/>
              <a:gd name="T33" fmla="*/ 201 h 1102"/>
              <a:gd name="T34" fmla="*/ 46 w 683"/>
              <a:gd name="T35" fmla="*/ 142 h 1102"/>
              <a:gd name="T36" fmla="*/ 85 w 683"/>
              <a:gd name="T37" fmla="*/ 92 h 1102"/>
              <a:gd name="T38" fmla="*/ 136 w 683"/>
              <a:gd name="T39" fmla="*/ 52 h 1102"/>
              <a:gd name="T40" fmla="*/ 199 w 683"/>
              <a:gd name="T41" fmla="*/ 24 h 1102"/>
              <a:gd name="T42" fmla="*/ 269 w 683"/>
              <a:gd name="T43" fmla="*/ 9 h 1102"/>
              <a:gd name="T44" fmla="*/ 337 w 683"/>
              <a:gd name="T45" fmla="*/ 10 h 1102"/>
              <a:gd name="T46" fmla="*/ 411 w 683"/>
              <a:gd name="T47" fmla="*/ 25 h 1102"/>
              <a:gd name="T48" fmla="*/ 510 w 683"/>
              <a:gd name="T49" fmla="*/ 79 h 1102"/>
              <a:gd name="T50" fmla="*/ 540 w 683"/>
              <a:gd name="T51" fmla="*/ 46 h 1102"/>
              <a:gd name="T52" fmla="*/ 595 w 683"/>
              <a:gd name="T53" fmla="*/ 0 h 1102"/>
              <a:gd name="T54" fmla="*/ 552 w 683"/>
              <a:gd name="T55" fmla="*/ 326 h 1102"/>
              <a:gd name="T56" fmla="*/ 511 w 683"/>
              <a:gd name="T57" fmla="*/ 200 h 1102"/>
              <a:gd name="T58" fmla="*/ 473 w 683"/>
              <a:gd name="T59" fmla="*/ 145 h 1102"/>
              <a:gd name="T60" fmla="*/ 419 w 683"/>
              <a:gd name="T61" fmla="*/ 106 h 1102"/>
              <a:gd name="T62" fmla="*/ 348 w 683"/>
              <a:gd name="T63" fmla="*/ 82 h 1102"/>
              <a:gd name="T64" fmla="*/ 277 w 683"/>
              <a:gd name="T65" fmla="*/ 78 h 1102"/>
              <a:gd name="T66" fmla="*/ 200 w 683"/>
              <a:gd name="T67" fmla="*/ 104 h 1102"/>
              <a:gd name="T68" fmla="*/ 147 w 683"/>
              <a:gd name="T69" fmla="*/ 158 h 1102"/>
              <a:gd name="T70" fmla="*/ 128 w 683"/>
              <a:gd name="T71" fmla="*/ 231 h 1102"/>
              <a:gd name="T72" fmla="*/ 139 w 683"/>
              <a:gd name="T73" fmla="*/ 292 h 1102"/>
              <a:gd name="T74" fmla="*/ 190 w 683"/>
              <a:gd name="T75" fmla="*/ 355 h 1102"/>
              <a:gd name="T76" fmla="*/ 287 w 683"/>
              <a:gd name="T77" fmla="*/ 417 h 1102"/>
              <a:gd name="T78" fmla="*/ 548 w 683"/>
              <a:gd name="T79" fmla="*/ 556 h 1102"/>
              <a:gd name="T80" fmla="*/ 631 w 683"/>
              <a:gd name="T81" fmla="*/ 633 h 1102"/>
              <a:gd name="T82" fmla="*/ 674 w 683"/>
              <a:gd name="T83" fmla="*/ 720 h 1102"/>
              <a:gd name="T84" fmla="*/ 683 w 683"/>
              <a:gd name="T85" fmla="*/ 792 h 1102"/>
              <a:gd name="T86" fmla="*/ 673 w 683"/>
              <a:gd name="T87" fmla="*/ 874 h 1102"/>
              <a:gd name="T88" fmla="*/ 642 w 683"/>
              <a:gd name="T89" fmla="*/ 947 h 1102"/>
              <a:gd name="T90" fmla="*/ 596 w 683"/>
              <a:gd name="T91" fmla="*/ 1007 h 1102"/>
              <a:gd name="T92" fmla="*/ 536 w 683"/>
              <a:gd name="T93" fmla="*/ 1053 h 1102"/>
              <a:gd name="T94" fmla="*/ 465 w 683"/>
              <a:gd name="T95" fmla="*/ 1085 h 1102"/>
              <a:gd name="T96" fmla="*/ 387 w 683"/>
              <a:gd name="T97" fmla="*/ 1100 h 1102"/>
              <a:gd name="T98" fmla="*/ 307 w 683"/>
              <a:gd name="T99" fmla="*/ 1099 h 1102"/>
              <a:gd name="T100" fmla="*/ 208 w 683"/>
              <a:gd name="T101" fmla="*/ 1073 h 1102"/>
              <a:gd name="T102" fmla="*/ 95 w 683"/>
              <a:gd name="T103" fmla="*/ 1024 h 1102"/>
              <a:gd name="T104" fmla="*/ 62 w 683"/>
              <a:gd name="T105" fmla="*/ 1044 h 1102"/>
              <a:gd name="T106" fmla="*/ 35 w 683"/>
              <a:gd name="T107" fmla="*/ 1102 h 1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83" h="1102">
                <a:moveTo>
                  <a:pt x="0" y="723"/>
                </a:moveTo>
                <a:lnTo>
                  <a:pt x="36" y="723"/>
                </a:lnTo>
                <a:lnTo>
                  <a:pt x="36" y="723"/>
                </a:lnTo>
                <a:lnTo>
                  <a:pt x="37" y="736"/>
                </a:lnTo>
                <a:lnTo>
                  <a:pt x="39" y="752"/>
                </a:lnTo>
                <a:lnTo>
                  <a:pt x="41" y="771"/>
                </a:lnTo>
                <a:lnTo>
                  <a:pt x="46" y="795"/>
                </a:lnTo>
                <a:lnTo>
                  <a:pt x="53" y="821"/>
                </a:lnTo>
                <a:lnTo>
                  <a:pt x="59" y="835"/>
                </a:lnTo>
                <a:lnTo>
                  <a:pt x="64" y="849"/>
                </a:lnTo>
                <a:lnTo>
                  <a:pt x="70" y="863"/>
                </a:lnTo>
                <a:lnTo>
                  <a:pt x="77" y="878"/>
                </a:lnTo>
                <a:lnTo>
                  <a:pt x="85" y="893"/>
                </a:lnTo>
                <a:lnTo>
                  <a:pt x="93" y="907"/>
                </a:lnTo>
                <a:lnTo>
                  <a:pt x="104" y="921"/>
                </a:lnTo>
                <a:lnTo>
                  <a:pt x="115" y="935"/>
                </a:lnTo>
                <a:lnTo>
                  <a:pt x="127" y="948"/>
                </a:lnTo>
                <a:lnTo>
                  <a:pt x="140" y="961"/>
                </a:lnTo>
                <a:lnTo>
                  <a:pt x="155" y="974"/>
                </a:lnTo>
                <a:lnTo>
                  <a:pt x="171" y="985"/>
                </a:lnTo>
                <a:lnTo>
                  <a:pt x="188" y="995"/>
                </a:lnTo>
                <a:lnTo>
                  <a:pt x="207" y="1004"/>
                </a:lnTo>
                <a:lnTo>
                  <a:pt x="227" y="1012"/>
                </a:lnTo>
                <a:lnTo>
                  <a:pt x="250" y="1020"/>
                </a:lnTo>
                <a:lnTo>
                  <a:pt x="273" y="1026"/>
                </a:lnTo>
                <a:lnTo>
                  <a:pt x="298" y="1030"/>
                </a:lnTo>
                <a:lnTo>
                  <a:pt x="325" y="1032"/>
                </a:lnTo>
                <a:lnTo>
                  <a:pt x="354" y="1033"/>
                </a:lnTo>
                <a:lnTo>
                  <a:pt x="354" y="1033"/>
                </a:lnTo>
                <a:lnTo>
                  <a:pt x="377" y="1032"/>
                </a:lnTo>
                <a:lnTo>
                  <a:pt x="398" y="1030"/>
                </a:lnTo>
                <a:lnTo>
                  <a:pt x="419" y="1025"/>
                </a:lnTo>
                <a:lnTo>
                  <a:pt x="439" y="1019"/>
                </a:lnTo>
                <a:lnTo>
                  <a:pt x="458" y="1011"/>
                </a:lnTo>
                <a:lnTo>
                  <a:pt x="476" y="1002"/>
                </a:lnTo>
                <a:lnTo>
                  <a:pt x="492" y="992"/>
                </a:lnTo>
                <a:lnTo>
                  <a:pt x="507" y="980"/>
                </a:lnTo>
                <a:lnTo>
                  <a:pt x="522" y="966"/>
                </a:lnTo>
                <a:lnTo>
                  <a:pt x="534" y="952"/>
                </a:lnTo>
                <a:lnTo>
                  <a:pt x="544" y="937"/>
                </a:lnTo>
                <a:lnTo>
                  <a:pt x="553" y="919"/>
                </a:lnTo>
                <a:lnTo>
                  <a:pt x="560" y="902"/>
                </a:lnTo>
                <a:lnTo>
                  <a:pt x="566" y="884"/>
                </a:lnTo>
                <a:lnTo>
                  <a:pt x="569" y="864"/>
                </a:lnTo>
                <a:lnTo>
                  <a:pt x="570" y="844"/>
                </a:lnTo>
                <a:lnTo>
                  <a:pt x="570" y="844"/>
                </a:lnTo>
                <a:lnTo>
                  <a:pt x="569" y="828"/>
                </a:lnTo>
                <a:lnTo>
                  <a:pt x="566" y="814"/>
                </a:lnTo>
                <a:lnTo>
                  <a:pt x="562" y="800"/>
                </a:lnTo>
                <a:lnTo>
                  <a:pt x="555" y="787"/>
                </a:lnTo>
                <a:lnTo>
                  <a:pt x="547" y="772"/>
                </a:lnTo>
                <a:lnTo>
                  <a:pt x="538" y="759"/>
                </a:lnTo>
                <a:lnTo>
                  <a:pt x="527" y="746"/>
                </a:lnTo>
                <a:lnTo>
                  <a:pt x="515" y="732"/>
                </a:lnTo>
                <a:lnTo>
                  <a:pt x="501" y="720"/>
                </a:lnTo>
                <a:lnTo>
                  <a:pt x="486" y="707"/>
                </a:lnTo>
                <a:lnTo>
                  <a:pt x="470" y="695"/>
                </a:lnTo>
                <a:lnTo>
                  <a:pt x="452" y="682"/>
                </a:lnTo>
                <a:lnTo>
                  <a:pt x="434" y="670"/>
                </a:lnTo>
                <a:lnTo>
                  <a:pt x="413" y="659"/>
                </a:lnTo>
                <a:lnTo>
                  <a:pt x="371" y="634"/>
                </a:lnTo>
                <a:lnTo>
                  <a:pt x="206" y="550"/>
                </a:lnTo>
                <a:lnTo>
                  <a:pt x="206" y="550"/>
                </a:lnTo>
                <a:lnTo>
                  <a:pt x="186" y="540"/>
                </a:lnTo>
                <a:lnTo>
                  <a:pt x="169" y="529"/>
                </a:lnTo>
                <a:lnTo>
                  <a:pt x="151" y="516"/>
                </a:lnTo>
                <a:lnTo>
                  <a:pt x="133" y="502"/>
                </a:lnTo>
                <a:lnTo>
                  <a:pt x="117" y="488"/>
                </a:lnTo>
                <a:lnTo>
                  <a:pt x="100" y="472"/>
                </a:lnTo>
                <a:lnTo>
                  <a:pt x="86" y="455"/>
                </a:lnTo>
                <a:lnTo>
                  <a:pt x="72" y="438"/>
                </a:lnTo>
                <a:lnTo>
                  <a:pt x="60" y="419"/>
                </a:lnTo>
                <a:lnTo>
                  <a:pt x="48" y="400"/>
                </a:lnTo>
                <a:lnTo>
                  <a:pt x="38" y="380"/>
                </a:lnTo>
                <a:lnTo>
                  <a:pt x="30" y="358"/>
                </a:lnTo>
                <a:lnTo>
                  <a:pt x="23" y="336"/>
                </a:lnTo>
                <a:lnTo>
                  <a:pt x="18" y="313"/>
                </a:lnTo>
                <a:lnTo>
                  <a:pt x="15" y="290"/>
                </a:lnTo>
                <a:lnTo>
                  <a:pt x="14" y="265"/>
                </a:lnTo>
                <a:lnTo>
                  <a:pt x="14" y="265"/>
                </a:lnTo>
                <a:lnTo>
                  <a:pt x="15" y="252"/>
                </a:lnTo>
                <a:lnTo>
                  <a:pt x="16" y="240"/>
                </a:lnTo>
                <a:lnTo>
                  <a:pt x="17" y="226"/>
                </a:lnTo>
                <a:lnTo>
                  <a:pt x="20" y="213"/>
                </a:lnTo>
                <a:lnTo>
                  <a:pt x="23" y="201"/>
                </a:lnTo>
                <a:lnTo>
                  <a:pt x="26" y="188"/>
                </a:lnTo>
                <a:lnTo>
                  <a:pt x="30" y="177"/>
                </a:lnTo>
                <a:lnTo>
                  <a:pt x="35" y="165"/>
                </a:lnTo>
                <a:lnTo>
                  <a:pt x="41" y="154"/>
                </a:lnTo>
                <a:lnTo>
                  <a:pt x="46" y="142"/>
                </a:lnTo>
                <a:lnTo>
                  <a:pt x="53" y="132"/>
                </a:lnTo>
                <a:lnTo>
                  <a:pt x="61" y="121"/>
                </a:lnTo>
                <a:lnTo>
                  <a:pt x="68" y="112"/>
                </a:lnTo>
                <a:lnTo>
                  <a:pt x="76" y="101"/>
                </a:lnTo>
                <a:lnTo>
                  <a:pt x="85" y="92"/>
                </a:lnTo>
                <a:lnTo>
                  <a:pt x="94" y="83"/>
                </a:lnTo>
                <a:lnTo>
                  <a:pt x="105" y="75"/>
                </a:lnTo>
                <a:lnTo>
                  <a:pt x="115" y="67"/>
                </a:lnTo>
                <a:lnTo>
                  <a:pt x="125" y="60"/>
                </a:lnTo>
                <a:lnTo>
                  <a:pt x="136" y="52"/>
                </a:lnTo>
                <a:lnTo>
                  <a:pt x="147" y="45"/>
                </a:lnTo>
                <a:lnTo>
                  <a:pt x="160" y="39"/>
                </a:lnTo>
                <a:lnTo>
                  <a:pt x="172" y="34"/>
                </a:lnTo>
                <a:lnTo>
                  <a:pt x="185" y="29"/>
                </a:lnTo>
                <a:lnTo>
                  <a:pt x="199" y="24"/>
                </a:lnTo>
                <a:lnTo>
                  <a:pt x="212" y="20"/>
                </a:lnTo>
                <a:lnTo>
                  <a:pt x="226" y="17"/>
                </a:lnTo>
                <a:lnTo>
                  <a:pt x="239" y="14"/>
                </a:lnTo>
                <a:lnTo>
                  <a:pt x="255" y="12"/>
                </a:lnTo>
                <a:lnTo>
                  <a:pt x="269" y="9"/>
                </a:lnTo>
                <a:lnTo>
                  <a:pt x="284" y="8"/>
                </a:lnTo>
                <a:lnTo>
                  <a:pt x="300" y="8"/>
                </a:lnTo>
                <a:lnTo>
                  <a:pt x="300" y="8"/>
                </a:lnTo>
                <a:lnTo>
                  <a:pt x="319" y="8"/>
                </a:lnTo>
                <a:lnTo>
                  <a:pt x="337" y="10"/>
                </a:lnTo>
                <a:lnTo>
                  <a:pt x="353" y="12"/>
                </a:lnTo>
                <a:lnTo>
                  <a:pt x="369" y="15"/>
                </a:lnTo>
                <a:lnTo>
                  <a:pt x="384" y="18"/>
                </a:lnTo>
                <a:lnTo>
                  <a:pt x="398" y="21"/>
                </a:lnTo>
                <a:lnTo>
                  <a:pt x="411" y="25"/>
                </a:lnTo>
                <a:lnTo>
                  <a:pt x="425" y="30"/>
                </a:lnTo>
                <a:lnTo>
                  <a:pt x="448" y="40"/>
                </a:lnTo>
                <a:lnTo>
                  <a:pt x="471" y="52"/>
                </a:lnTo>
                <a:lnTo>
                  <a:pt x="491" y="66"/>
                </a:lnTo>
                <a:lnTo>
                  <a:pt x="510" y="79"/>
                </a:lnTo>
                <a:lnTo>
                  <a:pt x="510" y="79"/>
                </a:lnTo>
                <a:lnTo>
                  <a:pt x="519" y="73"/>
                </a:lnTo>
                <a:lnTo>
                  <a:pt x="526" y="65"/>
                </a:lnTo>
                <a:lnTo>
                  <a:pt x="533" y="57"/>
                </a:lnTo>
                <a:lnTo>
                  <a:pt x="540" y="46"/>
                </a:lnTo>
                <a:lnTo>
                  <a:pt x="546" y="36"/>
                </a:lnTo>
                <a:lnTo>
                  <a:pt x="552" y="25"/>
                </a:lnTo>
                <a:lnTo>
                  <a:pt x="557" y="13"/>
                </a:lnTo>
                <a:lnTo>
                  <a:pt x="561" y="0"/>
                </a:lnTo>
                <a:lnTo>
                  <a:pt x="595" y="0"/>
                </a:lnTo>
                <a:lnTo>
                  <a:pt x="595" y="380"/>
                </a:lnTo>
                <a:lnTo>
                  <a:pt x="560" y="380"/>
                </a:lnTo>
                <a:lnTo>
                  <a:pt x="560" y="380"/>
                </a:lnTo>
                <a:lnTo>
                  <a:pt x="556" y="353"/>
                </a:lnTo>
                <a:lnTo>
                  <a:pt x="552" y="326"/>
                </a:lnTo>
                <a:lnTo>
                  <a:pt x="547" y="300"/>
                </a:lnTo>
                <a:lnTo>
                  <a:pt x="541" y="274"/>
                </a:lnTo>
                <a:lnTo>
                  <a:pt x="533" y="249"/>
                </a:lnTo>
                <a:lnTo>
                  <a:pt x="523" y="223"/>
                </a:lnTo>
                <a:lnTo>
                  <a:pt x="511" y="200"/>
                </a:lnTo>
                <a:lnTo>
                  <a:pt x="504" y="187"/>
                </a:lnTo>
                <a:lnTo>
                  <a:pt x="497" y="177"/>
                </a:lnTo>
                <a:lnTo>
                  <a:pt x="490" y="166"/>
                </a:lnTo>
                <a:lnTo>
                  <a:pt x="482" y="156"/>
                </a:lnTo>
                <a:lnTo>
                  <a:pt x="473" y="145"/>
                </a:lnTo>
                <a:lnTo>
                  <a:pt x="463" y="136"/>
                </a:lnTo>
                <a:lnTo>
                  <a:pt x="453" y="128"/>
                </a:lnTo>
                <a:lnTo>
                  <a:pt x="443" y="120"/>
                </a:lnTo>
                <a:lnTo>
                  <a:pt x="431" y="112"/>
                </a:lnTo>
                <a:lnTo>
                  <a:pt x="419" y="106"/>
                </a:lnTo>
                <a:lnTo>
                  <a:pt x="406" y="99"/>
                </a:lnTo>
                <a:lnTo>
                  <a:pt x="393" y="93"/>
                </a:lnTo>
                <a:lnTo>
                  <a:pt x="379" y="89"/>
                </a:lnTo>
                <a:lnTo>
                  <a:pt x="363" y="85"/>
                </a:lnTo>
                <a:lnTo>
                  <a:pt x="348" y="82"/>
                </a:lnTo>
                <a:lnTo>
                  <a:pt x="331" y="79"/>
                </a:lnTo>
                <a:lnTo>
                  <a:pt x="313" y="78"/>
                </a:lnTo>
                <a:lnTo>
                  <a:pt x="295" y="78"/>
                </a:lnTo>
                <a:lnTo>
                  <a:pt x="295" y="78"/>
                </a:lnTo>
                <a:lnTo>
                  <a:pt x="277" y="78"/>
                </a:lnTo>
                <a:lnTo>
                  <a:pt x="260" y="81"/>
                </a:lnTo>
                <a:lnTo>
                  <a:pt x="244" y="84"/>
                </a:lnTo>
                <a:lnTo>
                  <a:pt x="228" y="89"/>
                </a:lnTo>
                <a:lnTo>
                  <a:pt x="214" y="95"/>
                </a:lnTo>
                <a:lnTo>
                  <a:pt x="200" y="104"/>
                </a:lnTo>
                <a:lnTo>
                  <a:pt x="187" y="112"/>
                </a:lnTo>
                <a:lnTo>
                  <a:pt x="175" y="122"/>
                </a:lnTo>
                <a:lnTo>
                  <a:pt x="165" y="133"/>
                </a:lnTo>
                <a:lnTo>
                  <a:pt x="156" y="144"/>
                </a:lnTo>
                <a:lnTo>
                  <a:pt x="147" y="158"/>
                </a:lnTo>
                <a:lnTo>
                  <a:pt x="140" y="171"/>
                </a:lnTo>
                <a:lnTo>
                  <a:pt x="135" y="185"/>
                </a:lnTo>
                <a:lnTo>
                  <a:pt x="131" y="200"/>
                </a:lnTo>
                <a:lnTo>
                  <a:pt x="129" y="215"/>
                </a:lnTo>
                <a:lnTo>
                  <a:pt x="128" y="231"/>
                </a:lnTo>
                <a:lnTo>
                  <a:pt x="128" y="231"/>
                </a:lnTo>
                <a:lnTo>
                  <a:pt x="128" y="248"/>
                </a:lnTo>
                <a:lnTo>
                  <a:pt x="131" y="263"/>
                </a:lnTo>
                <a:lnTo>
                  <a:pt x="134" y="277"/>
                </a:lnTo>
                <a:lnTo>
                  <a:pt x="139" y="292"/>
                </a:lnTo>
                <a:lnTo>
                  <a:pt x="146" y="305"/>
                </a:lnTo>
                <a:lnTo>
                  <a:pt x="155" y="317"/>
                </a:lnTo>
                <a:lnTo>
                  <a:pt x="165" y="331"/>
                </a:lnTo>
                <a:lnTo>
                  <a:pt x="177" y="343"/>
                </a:lnTo>
                <a:lnTo>
                  <a:pt x="190" y="355"/>
                </a:lnTo>
                <a:lnTo>
                  <a:pt x="206" y="366"/>
                </a:lnTo>
                <a:lnTo>
                  <a:pt x="223" y="379"/>
                </a:lnTo>
                <a:lnTo>
                  <a:pt x="243" y="392"/>
                </a:lnTo>
                <a:lnTo>
                  <a:pt x="263" y="404"/>
                </a:lnTo>
                <a:lnTo>
                  <a:pt x="287" y="417"/>
                </a:lnTo>
                <a:lnTo>
                  <a:pt x="339" y="445"/>
                </a:lnTo>
                <a:lnTo>
                  <a:pt x="502" y="530"/>
                </a:lnTo>
                <a:lnTo>
                  <a:pt x="502" y="530"/>
                </a:lnTo>
                <a:lnTo>
                  <a:pt x="526" y="542"/>
                </a:lnTo>
                <a:lnTo>
                  <a:pt x="548" y="556"/>
                </a:lnTo>
                <a:lnTo>
                  <a:pt x="568" y="571"/>
                </a:lnTo>
                <a:lnTo>
                  <a:pt x="586" y="585"/>
                </a:lnTo>
                <a:lnTo>
                  <a:pt x="604" y="601"/>
                </a:lnTo>
                <a:lnTo>
                  <a:pt x="618" y="617"/>
                </a:lnTo>
                <a:lnTo>
                  <a:pt x="631" y="633"/>
                </a:lnTo>
                <a:lnTo>
                  <a:pt x="642" y="651"/>
                </a:lnTo>
                <a:lnTo>
                  <a:pt x="653" y="667"/>
                </a:lnTo>
                <a:lnTo>
                  <a:pt x="661" y="684"/>
                </a:lnTo>
                <a:lnTo>
                  <a:pt x="668" y="703"/>
                </a:lnTo>
                <a:lnTo>
                  <a:pt x="674" y="720"/>
                </a:lnTo>
                <a:lnTo>
                  <a:pt x="678" y="738"/>
                </a:lnTo>
                <a:lnTo>
                  <a:pt x="681" y="756"/>
                </a:lnTo>
                <a:lnTo>
                  <a:pt x="682" y="774"/>
                </a:lnTo>
                <a:lnTo>
                  <a:pt x="683" y="792"/>
                </a:lnTo>
                <a:lnTo>
                  <a:pt x="683" y="792"/>
                </a:lnTo>
                <a:lnTo>
                  <a:pt x="683" y="809"/>
                </a:lnTo>
                <a:lnTo>
                  <a:pt x="681" y="826"/>
                </a:lnTo>
                <a:lnTo>
                  <a:pt x="679" y="843"/>
                </a:lnTo>
                <a:lnTo>
                  <a:pt x="676" y="859"/>
                </a:lnTo>
                <a:lnTo>
                  <a:pt x="673" y="874"/>
                </a:lnTo>
                <a:lnTo>
                  <a:pt x="668" y="890"/>
                </a:lnTo>
                <a:lnTo>
                  <a:pt x="663" y="905"/>
                </a:lnTo>
                <a:lnTo>
                  <a:pt x="657" y="919"/>
                </a:lnTo>
                <a:lnTo>
                  <a:pt x="651" y="934"/>
                </a:lnTo>
                <a:lnTo>
                  <a:pt x="642" y="947"/>
                </a:lnTo>
                <a:lnTo>
                  <a:pt x="634" y="960"/>
                </a:lnTo>
                <a:lnTo>
                  <a:pt x="626" y="973"/>
                </a:lnTo>
                <a:lnTo>
                  <a:pt x="617" y="985"/>
                </a:lnTo>
                <a:lnTo>
                  <a:pt x="607" y="996"/>
                </a:lnTo>
                <a:lnTo>
                  <a:pt x="596" y="1007"/>
                </a:lnTo>
                <a:lnTo>
                  <a:pt x="585" y="1018"/>
                </a:lnTo>
                <a:lnTo>
                  <a:pt x="574" y="1028"/>
                </a:lnTo>
                <a:lnTo>
                  <a:pt x="562" y="1037"/>
                </a:lnTo>
                <a:lnTo>
                  <a:pt x="549" y="1045"/>
                </a:lnTo>
                <a:lnTo>
                  <a:pt x="536" y="1053"/>
                </a:lnTo>
                <a:lnTo>
                  <a:pt x="523" y="1062"/>
                </a:lnTo>
                <a:lnTo>
                  <a:pt x="509" y="1068"/>
                </a:lnTo>
                <a:lnTo>
                  <a:pt x="495" y="1075"/>
                </a:lnTo>
                <a:lnTo>
                  <a:pt x="480" y="1080"/>
                </a:lnTo>
                <a:lnTo>
                  <a:pt x="465" y="1085"/>
                </a:lnTo>
                <a:lnTo>
                  <a:pt x="450" y="1089"/>
                </a:lnTo>
                <a:lnTo>
                  <a:pt x="435" y="1093"/>
                </a:lnTo>
                <a:lnTo>
                  <a:pt x="419" y="1096"/>
                </a:lnTo>
                <a:lnTo>
                  <a:pt x="403" y="1099"/>
                </a:lnTo>
                <a:lnTo>
                  <a:pt x="387" y="1100"/>
                </a:lnTo>
                <a:lnTo>
                  <a:pt x="370" y="1101"/>
                </a:lnTo>
                <a:lnTo>
                  <a:pt x="354" y="1102"/>
                </a:lnTo>
                <a:lnTo>
                  <a:pt x="354" y="1102"/>
                </a:lnTo>
                <a:lnTo>
                  <a:pt x="329" y="1101"/>
                </a:lnTo>
                <a:lnTo>
                  <a:pt x="307" y="1099"/>
                </a:lnTo>
                <a:lnTo>
                  <a:pt x="286" y="1095"/>
                </a:lnTo>
                <a:lnTo>
                  <a:pt x="264" y="1091"/>
                </a:lnTo>
                <a:lnTo>
                  <a:pt x="245" y="1086"/>
                </a:lnTo>
                <a:lnTo>
                  <a:pt x="225" y="1080"/>
                </a:lnTo>
                <a:lnTo>
                  <a:pt x="208" y="1073"/>
                </a:lnTo>
                <a:lnTo>
                  <a:pt x="190" y="1067"/>
                </a:lnTo>
                <a:lnTo>
                  <a:pt x="160" y="1052"/>
                </a:lnTo>
                <a:lnTo>
                  <a:pt x="131" y="1039"/>
                </a:lnTo>
                <a:lnTo>
                  <a:pt x="107" y="1028"/>
                </a:lnTo>
                <a:lnTo>
                  <a:pt x="95" y="1024"/>
                </a:lnTo>
                <a:lnTo>
                  <a:pt x="85" y="1021"/>
                </a:lnTo>
                <a:lnTo>
                  <a:pt x="85" y="1021"/>
                </a:lnTo>
                <a:lnTo>
                  <a:pt x="77" y="1028"/>
                </a:lnTo>
                <a:lnTo>
                  <a:pt x="70" y="1036"/>
                </a:lnTo>
                <a:lnTo>
                  <a:pt x="62" y="1044"/>
                </a:lnTo>
                <a:lnTo>
                  <a:pt x="55" y="1053"/>
                </a:lnTo>
                <a:lnTo>
                  <a:pt x="49" y="1065"/>
                </a:lnTo>
                <a:lnTo>
                  <a:pt x="43" y="1076"/>
                </a:lnTo>
                <a:lnTo>
                  <a:pt x="38" y="1088"/>
                </a:lnTo>
                <a:lnTo>
                  <a:pt x="35" y="1102"/>
                </a:lnTo>
                <a:lnTo>
                  <a:pt x="0" y="1102"/>
                </a:lnTo>
                <a:lnTo>
                  <a:pt x="0" y="723"/>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73" name="Freeform 24">
            <a:extLst>
              <a:ext uri="{FF2B5EF4-FFF2-40B4-BE49-F238E27FC236}">
                <a16:creationId xmlns:a16="http://schemas.microsoft.com/office/drawing/2014/main" id="{C2FB785F-D8AC-CA4C-BD62-D6AEA6FE7B59}"/>
              </a:ext>
            </a:extLst>
          </p:cNvPr>
          <p:cNvSpPr>
            <a:spLocks noEditPoints="1"/>
          </p:cNvSpPr>
          <p:nvPr userDrawn="1"/>
        </p:nvSpPr>
        <p:spPr bwMode="auto">
          <a:xfrm>
            <a:off x="2270126" y="1158877"/>
            <a:ext cx="133350" cy="136525"/>
          </a:xfrm>
          <a:custGeom>
            <a:avLst/>
            <a:gdLst>
              <a:gd name="T0" fmla="*/ 49 w 1009"/>
              <a:gd name="T1" fmla="*/ 997 h 1035"/>
              <a:gd name="T2" fmla="*/ 115 w 1009"/>
              <a:gd name="T3" fmla="*/ 981 h 1035"/>
              <a:gd name="T4" fmla="*/ 136 w 1009"/>
              <a:gd name="T5" fmla="*/ 962 h 1035"/>
              <a:gd name="T6" fmla="*/ 155 w 1009"/>
              <a:gd name="T7" fmla="*/ 920 h 1035"/>
              <a:gd name="T8" fmla="*/ 163 w 1009"/>
              <a:gd name="T9" fmla="*/ 827 h 1035"/>
              <a:gd name="T10" fmla="*/ 163 w 1009"/>
              <a:gd name="T11" fmla="*/ 206 h 1035"/>
              <a:gd name="T12" fmla="*/ 155 w 1009"/>
              <a:gd name="T13" fmla="*/ 114 h 1035"/>
              <a:gd name="T14" fmla="*/ 136 w 1009"/>
              <a:gd name="T15" fmla="*/ 72 h 1035"/>
              <a:gd name="T16" fmla="*/ 115 w 1009"/>
              <a:gd name="T17" fmla="*/ 54 h 1035"/>
              <a:gd name="T18" fmla="*/ 49 w 1009"/>
              <a:gd name="T19" fmla="*/ 38 h 1035"/>
              <a:gd name="T20" fmla="*/ 456 w 1009"/>
              <a:gd name="T21" fmla="*/ 0 h 1035"/>
              <a:gd name="T22" fmla="*/ 520 w 1009"/>
              <a:gd name="T23" fmla="*/ 3 h 1035"/>
              <a:gd name="T24" fmla="*/ 597 w 1009"/>
              <a:gd name="T25" fmla="*/ 17 h 1035"/>
              <a:gd name="T26" fmla="*/ 663 w 1009"/>
              <a:gd name="T27" fmla="*/ 42 h 1035"/>
              <a:gd name="T28" fmla="*/ 718 w 1009"/>
              <a:gd name="T29" fmla="*/ 76 h 1035"/>
              <a:gd name="T30" fmla="*/ 763 w 1009"/>
              <a:gd name="T31" fmla="*/ 118 h 1035"/>
              <a:gd name="T32" fmla="*/ 796 w 1009"/>
              <a:gd name="T33" fmla="*/ 166 h 1035"/>
              <a:gd name="T34" fmla="*/ 817 w 1009"/>
              <a:gd name="T35" fmla="*/ 219 h 1035"/>
              <a:gd name="T36" fmla="*/ 826 w 1009"/>
              <a:gd name="T37" fmla="*/ 276 h 1035"/>
              <a:gd name="T38" fmla="*/ 825 w 1009"/>
              <a:gd name="T39" fmla="*/ 319 h 1035"/>
              <a:gd name="T40" fmla="*/ 815 w 1009"/>
              <a:gd name="T41" fmla="*/ 372 h 1035"/>
              <a:gd name="T42" fmla="*/ 794 w 1009"/>
              <a:gd name="T43" fmla="*/ 421 h 1035"/>
              <a:gd name="T44" fmla="*/ 764 w 1009"/>
              <a:gd name="T45" fmla="*/ 465 h 1035"/>
              <a:gd name="T46" fmla="*/ 726 w 1009"/>
              <a:gd name="T47" fmla="*/ 503 h 1035"/>
              <a:gd name="T48" fmla="*/ 677 w 1009"/>
              <a:gd name="T49" fmla="*/ 535 h 1035"/>
              <a:gd name="T50" fmla="*/ 620 w 1009"/>
              <a:gd name="T51" fmla="*/ 559 h 1035"/>
              <a:gd name="T52" fmla="*/ 555 w 1009"/>
              <a:gd name="T53" fmla="*/ 576 h 1035"/>
              <a:gd name="T54" fmla="*/ 689 w 1009"/>
              <a:gd name="T55" fmla="*/ 779 h 1035"/>
              <a:gd name="T56" fmla="*/ 767 w 1009"/>
              <a:gd name="T57" fmla="*/ 863 h 1035"/>
              <a:gd name="T58" fmla="*/ 848 w 1009"/>
              <a:gd name="T59" fmla="*/ 929 h 1035"/>
              <a:gd name="T60" fmla="*/ 930 w 1009"/>
              <a:gd name="T61" fmla="*/ 977 h 1035"/>
              <a:gd name="T62" fmla="*/ 1009 w 1009"/>
              <a:gd name="T63" fmla="*/ 999 h 1035"/>
              <a:gd name="T64" fmla="*/ 302 w 1009"/>
              <a:gd name="T65" fmla="*/ 581 h 1035"/>
              <a:gd name="T66" fmla="*/ 303 w 1009"/>
              <a:gd name="T67" fmla="*/ 855 h 1035"/>
              <a:gd name="T68" fmla="*/ 316 w 1009"/>
              <a:gd name="T69" fmla="*/ 937 h 1035"/>
              <a:gd name="T70" fmla="*/ 335 w 1009"/>
              <a:gd name="T71" fmla="*/ 967 h 1035"/>
              <a:gd name="T72" fmla="*/ 365 w 1009"/>
              <a:gd name="T73" fmla="*/ 987 h 1035"/>
              <a:gd name="T74" fmla="*/ 440 w 1009"/>
              <a:gd name="T75" fmla="*/ 998 h 1035"/>
              <a:gd name="T76" fmla="*/ 0 w 1009"/>
              <a:gd name="T77" fmla="*/ 999 h 1035"/>
              <a:gd name="T78" fmla="*/ 494 w 1009"/>
              <a:gd name="T79" fmla="*/ 516 h 1035"/>
              <a:gd name="T80" fmla="*/ 541 w 1009"/>
              <a:gd name="T81" fmla="*/ 505 h 1035"/>
              <a:gd name="T82" fmla="*/ 580 w 1009"/>
              <a:gd name="T83" fmla="*/ 486 h 1035"/>
              <a:gd name="T84" fmla="*/ 633 w 1009"/>
              <a:gd name="T85" fmla="*/ 437 h 1035"/>
              <a:gd name="T86" fmla="*/ 665 w 1009"/>
              <a:gd name="T87" fmla="*/ 359 h 1035"/>
              <a:gd name="T88" fmla="*/ 672 w 1009"/>
              <a:gd name="T89" fmla="*/ 291 h 1035"/>
              <a:gd name="T90" fmla="*/ 660 w 1009"/>
              <a:gd name="T91" fmla="*/ 204 h 1035"/>
              <a:gd name="T92" fmla="*/ 619 w 1009"/>
              <a:gd name="T93" fmla="*/ 131 h 1035"/>
              <a:gd name="T94" fmla="*/ 571 w 1009"/>
              <a:gd name="T95" fmla="*/ 91 h 1035"/>
              <a:gd name="T96" fmla="*/ 529 w 1009"/>
              <a:gd name="T97" fmla="*/ 74 h 1035"/>
              <a:gd name="T98" fmla="*/ 481 w 1009"/>
              <a:gd name="T99" fmla="*/ 65 h 1035"/>
              <a:gd name="T100" fmla="*/ 302 w 1009"/>
              <a:gd name="T101" fmla="*/ 519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09" h="1035">
                <a:moveTo>
                  <a:pt x="0" y="999"/>
                </a:moveTo>
                <a:lnTo>
                  <a:pt x="0" y="999"/>
                </a:lnTo>
                <a:lnTo>
                  <a:pt x="25" y="998"/>
                </a:lnTo>
                <a:lnTo>
                  <a:pt x="49" y="997"/>
                </a:lnTo>
                <a:lnTo>
                  <a:pt x="68" y="995"/>
                </a:lnTo>
                <a:lnTo>
                  <a:pt x="87" y="991"/>
                </a:lnTo>
                <a:lnTo>
                  <a:pt x="102" y="987"/>
                </a:lnTo>
                <a:lnTo>
                  <a:pt x="115" y="981"/>
                </a:lnTo>
                <a:lnTo>
                  <a:pt x="120" y="977"/>
                </a:lnTo>
                <a:lnTo>
                  <a:pt x="126" y="972"/>
                </a:lnTo>
                <a:lnTo>
                  <a:pt x="132" y="967"/>
                </a:lnTo>
                <a:lnTo>
                  <a:pt x="136" y="962"/>
                </a:lnTo>
                <a:lnTo>
                  <a:pt x="140" y="957"/>
                </a:lnTo>
                <a:lnTo>
                  <a:pt x="144" y="951"/>
                </a:lnTo>
                <a:lnTo>
                  <a:pt x="150" y="937"/>
                </a:lnTo>
                <a:lnTo>
                  <a:pt x="155" y="920"/>
                </a:lnTo>
                <a:lnTo>
                  <a:pt x="158" y="901"/>
                </a:lnTo>
                <a:lnTo>
                  <a:pt x="161" y="879"/>
                </a:lnTo>
                <a:lnTo>
                  <a:pt x="163" y="855"/>
                </a:lnTo>
                <a:lnTo>
                  <a:pt x="163" y="827"/>
                </a:lnTo>
                <a:lnTo>
                  <a:pt x="164" y="797"/>
                </a:lnTo>
                <a:lnTo>
                  <a:pt x="164" y="236"/>
                </a:lnTo>
                <a:lnTo>
                  <a:pt x="164" y="236"/>
                </a:lnTo>
                <a:lnTo>
                  <a:pt x="163" y="206"/>
                </a:lnTo>
                <a:lnTo>
                  <a:pt x="163" y="178"/>
                </a:lnTo>
                <a:lnTo>
                  <a:pt x="161" y="153"/>
                </a:lnTo>
                <a:lnTo>
                  <a:pt x="158" y="132"/>
                </a:lnTo>
                <a:lnTo>
                  <a:pt x="155" y="114"/>
                </a:lnTo>
                <a:lnTo>
                  <a:pt x="150" y="97"/>
                </a:lnTo>
                <a:lnTo>
                  <a:pt x="144" y="83"/>
                </a:lnTo>
                <a:lnTo>
                  <a:pt x="140" y="77"/>
                </a:lnTo>
                <a:lnTo>
                  <a:pt x="136" y="72"/>
                </a:lnTo>
                <a:lnTo>
                  <a:pt x="132" y="67"/>
                </a:lnTo>
                <a:lnTo>
                  <a:pt x="126" y="61"/>
                </a:lnTo>
                <a:lnTo>
                  <a:pt x="120" y="57"/>
                </a:lnTo>
                <a:lnTo>
                  <a:pt x="115" y="54"/>
                </a:lnTo>
                <a:lnTo>
                  <a:pt x="102" y="48"/>
                </a:lnTo>
                <a:lnTo>
                  <a:pt x="87" y="43"/>
                </a:lnTo>
                <a:lnTo>
                  <a:pt x="68" y="40"/>
                </a:lnTo>
                <a:lnTo>
                  <a:pt x="49" y="38"/>
                </a:lnTo>
                <a:lnTo>
                  <a:pt x="25" y="37"/>
                </a:lnTo>
                <a:lnTo>
                  <a:pt x="0" y="36"/>
                </a:lnTo>
                <a:lnTo>
                  <a:pt x="0" y="0"/>
                </a:lnTo>
                <a:lnTo>
                  <a:pt x="456" y="0"/>
                </a:lnTo>
                <a:lnTo>
                  <a:pt x="456" y="0"/>
                </a:lnTo>
                <a:lnTo>
                  <a:pt x="478" y="0"/>
                </a:lnTo>
                <a:lnTo>
                  <a:pt x="500" y="1"/>
                </a:lnTo>
                <a:lnTo>
                  <a:pt x="520" y="3"/>
                </a:lnTo>
                <a:lnTo>
                  <a:pt x="541" y="6"/>
                </a:lnTo>
                <a:lnTo>
                  <a:pt x="560" y="9"/>
                </a:lnTo>
                <a:lnTo>
                  <a:pt x="578" y="13"/>
                </a:lnTo>
                <a:lnTo>
                  <a:pt x="597" y="17"/>
                </a:lnTo>
                <a:lnTo>
                  <a:pt x="614" y="23"/>
                </a:lnTo>
                <a:lnTo>
                  <a:pt x="632" y="29"/>
                </a:lnTo>
                <a:lnTo>
                  <a:pt x="648" y="35"/>
                </a:lnTo>
                <a:lnTo>
                  <a:pt x="663" y="42"/>
                </a:lnTo>
                <a:lnTo>
                  <a:pt x="679" y="50"/>
                </a:lnTo>
                <a:lnTo>
                  <a:pt x="693" y="58"/>
                </a:lnTo>
                <a:lnTo>
                  <a:pt x="706" y="67"/>
                </a:lnTo>
                <a:lnTo>
                  <a:pt x="718" y="76"/>
                </a:lnTo>
                <a:lnTo>
                  <a:pt x="731" y="85"/>
                </a:lnTo>
                <a:lnTo>
                  <a:pt x="742" y="95"/>
                </a:lnTo>
                <a:lnTo>
                  <a:pt x="753" y="106"/>
                </a:lnTo>
                <a:lnTo>
                  <a:pt x="763" y="118"/>
                </a:lnTo>
                <a:lnTo>
                  <a:pt x="773" y="129"/>
                </a:lnTo>
                <a:lnTo>
                  <a:pt x="781" y="140"/>
                </a:lnTo>
                <a:lnTo>
                  <a:pt x="789" y="152"/>
                </a:lnTo>
                <a:lnTo>
                  <a:pt x="796" y="166"/>
                </a:lnTo>
                <a:lnTo>
                  <a:pt x="802" y="178"/>
                </a:lnTo>
                <a:lnTo>
                  <a:pt x="807" y="191"/>
                </a:lnTo>
                <a:lnTo>
                  <a:pt x="813" y="205"/>
                </a:lnTo>
                <a:lnTo>
                  <a:pt x="817" y="219"/>
                </a:lnTo>
                <a:lnTo>
                  <a:pt x="821" y="233"/>
                </a:lnTo>
                <a:lnTo>
                  <a:pt x="823" y="248"/>
                </a:lnTo>
                <a:lnTo>
                  <a:pt x="825" y="262"/>
                </a:lnTo>
                <a:lnTo>
                  <a:pt x="826" y="276"/>
                </a:lnTo>
                <a:lnTo>
                  <a:pt x="827" y="291"/>
                </a:lnTo>
                <a:lnTo>
                  <a:pt x="827" y="291"/>
                </a:lnTo>
                <a:lnTo>
                  <a:pt x="826" y="306"/>
                </a:lnTo>
                <a:lnTo>
                  <a:pt x="825" y="319"/>
                </a:lnTo>
                <a:lnTo>
                  <a:pt x="824" y="332"/>
                </a:lnTo>
                <a:lnTo>
                  <a:pt x="822" y="346"/>
                </a:lnTo>
                <a:lnTo>
                  <a:pt x="819" y="359"/>
                </a:lnTo>
                <a:lnTo>
                  <a:pt x="815" y="372"/>
                </a:lnTo>
                <a:lnTo>
                  <a:pt x="810" y="385"/>
                </a:lnTo>
                <a:lnTo>
                  <a:pt x="805" y="397"/>
                </a:lnTo>
                <a:lnTo>
                  <a:pt x="800" y="409"/>
                </a:lnTo>
                <a:lnTo>
                  <a:pt x="794" y="421"/>
                </a:lnTo>
                <a:lnTo>
                  <a:pt x="788" y="433"/>
                </a:lnTo>
                <a:lnTo>
                  <a:pt x="781" y="444"/>
                </a:lnTo>
                <a:lnTo>
                  <a:pt x="773" y="454"/>
                </a:lnTo>
                <a:lnTo>
                  <a:pt x="764" y="465"/>
                </a:lnTo>
                <a:lnTo>
                  <a:pt x="755" y="475"/>
                </a:lnTo>
                <a:lnTo>
                  <a:pt x="746" y="485"/>
                </a:lnTo>
                <a:lnTo>
                  <a:pt x="736" y="494"/>
                </a:lnTo>
                <a:lnTo>
                  <a:pt x="726" y="503"/>
                </a:lnTo>
                <a:lnTo>
                  <a:pt x="714" y="511"/>
                </a:lnTo>
                <a:lnTo>
                  <a:pt x="702" y="519"/>
                </a:lnTo>
                <a:lnTo>
                  <a:pt x="690" y="528"/>
                </a:lnTo>
                <a:lnTo>
                  <a:pt x="677" y="535"/>
                </a:lnTo>
                <a:lnTo>
                  <a:pt x="663" y="542"/>
                </a:lnTo>
                <a:lnTo>
                  <a:pt x="650" y="548"/>
                </a:lnTo>
                <a:lnTo>
                  <a:pt x="635" y="554"/>
                </a:lnTo>
                <a:lnTo>
                  <a:pt x="620" y="559"/>
                </a:lnTo>
                <a:lnTo>
                  <a:pt x="605" y="564"/>
                </a:lnTo>
                <a:lnTo>
                  <a:pt x="589" y="569"/>
                </a:lnTo>
                <a:lnTo>
                  <a:pt x="572" y="573"/>
                </a:lnTo>
                <a:lnTo>
                  <a:pt x="555" y="576"/>
                </a:lnTo>
                <a:lnTo>
                  <a:pt x="537" y="579"/>
                </a:lnTo>
                <a:lnTo>
                  <a:pt x="519" y="581"/>
                </a:lnTo>
                <a:lnTo>
                  <a:pt x="689" y="779"/>
                </a:lnTo>
                <a:lnTo>
                  <a:pt x="689" y="779"/>
                </a:lnTo>
                <a:lnTo>
                  <a:pt x="707" y="802"/>
                </a:lnTo>
                <a:lnTo>
                  <a:pt x="728" y="823"/>
                </a:lnTo>
                <a:lnTo>
                  <a:pt x="747" y="844"/>
                </a:lnTo>
                <a:lnTo>
                  <a:pt x="767" y="863"/>
                </a:lnTo>
                <a:lnTo>
                  <a:pt x="787" y="881"/>
                </a:lnTo>
                <a:lnTo>
                  <a:pt x="807" y="899"/>
                </a:lnTo>
                <a:lnTo>
                  <a:pt x="828" y="915"/>
                </a:lnTo>
                <a:lnTo>
                  <a:pt x="848" y="929"/>
                </a:lnTo>
                <a:lnTo>
                  <a:pt x="869" y="944"/>
                </a:lnTo>
                <a:lnTo>
                  <a:pt x="889" y="956"/>
                </a:lnTo>
                <a:lnTo>
                  <a:pt x="910" y="966"/>
                </a:lnTo>
                <a:lnTo>
                  <a:pt x="930" y="977"/>
                </a:lnTo>
                <a:lnTo>
                  <a:pt x="950" y="985"/>
                </a:lnTo>
                <a:lnTo>
                  <a:pt x="970" y="991"/>
                </a:lnTo>
                <a:lnTo>
                  <a:pt x="989" y="996"/>
                </a:lnTo>
                <a:lnTo>
                  <a:pt x="1009" y="999"/>
                </a:lnTo>
                <a:lnTo>
                  <a:pt x="1009" y="1035"/>
                </a:lnTo>
                <a:lnTo>
                  <a:pt x="725" y="1035"/>
                </a:lnTo>
                <a:lnTo>
                  <a:pt x="383" y="581"/>
                </a:lnTo>
                <a:lnTo>
                  <a:pt x="302" y="581"/>
                </a:lnTo>
                <a:lnTo>
                  <a:pt x="302" y="797"/>
                </a:lnTo>
                <a:lnTo>
                  <a:pt x="302" y="797"/>
                </a:lnTo>
                <a:lnTo>
                  <a:pt x="302" y="827"/>
                </a:lnTo>
                <a:lnTo>
                  <a:pt x="303" y="855"/>
                </a:lnTo>
                <a:lnTo>
                  <a:pt x="304" y="879"/>
                </a:lnTo>
                <a:lnTo>
                  <a:pt x="307" y="901"/>
                </a:lnTo>
                <a:lnTo>
                  <a:pt x="312" y="920"/>
                </a:lnTo>
                <a:lnTo>
                  <a:pt x="316" y="937"/>
                </a:lnTo>
                <a:lnTo>
                  <a:pt x="323" y="951"/>
                </a:lnTo>
                <a:lnTo>
                  <a:pt x="326" y="957"/>
                </a:lnTo>
                <a:lnTo>
                  <a:pt x="330" y="962"/>
                </a:lnTo>
                <a:lnTo>
                  <a:pt x="335" y="967"/>
                </a:lnTo>
                <a:lnTo>
                  <a:pt x="340" y="972"/>
                </a:lnTo>
                <a:lnTo>
                  <a:pt x="345" y="977"/>
                </a:lnTo>
                <a:lnTo>
                  <a:pt x="351" y="981"/>
                </a:lnTo>
                <a:lnTo>
                  <a:pt x="365" y="987"/>
                </a:lnTo>
                <a:lnTo>
                  <a:pt x="380" y="991"/>
                </a:lnTo>
                <a:lnTo>
                  <a:pt x="397" y="995"/>
                </a:lnTo>
                <a:lnTo>
                  <a:pt x="418" y="997"/>
                </a:lnTo>
                <a:lnTo>
                  <a:pt x="440" y="998"/>
                </a:lnTo>
                <a:lnTo>
                  <a:pt x="466" y="999"/>
                </a:lnTo>
                <a:lnTo>
                  <a:pt x="466" y="1035"/>
                </a:lnTo>
                <a:lnTo>
                  <a:pt x="0" y="1035"/>
                </a:lnTo>
                <a:lnTo>
                  <a:pt x="0" y="999"/>
                </a:lnTo>
                <a:close/>
                <a:moveTo>
                  <a:pt x="454" y="519"/>
                </a:moveTo>
                <a:lnTo>
                  <a:pt x="454" y="519"/>
                </a:lnTo>
                <a:lnTo>
                  <a:pt x="481" y="517"/>
                </a:lnTo>
                <a:lnTo>
                  <a:pt x="494" y="516"/>
                </a:lnTo>
                <a:lnTo>
                  <a:pt x="507" y="514"/>
                </a:lnTo>
                <a:lnTo>
                  <a:pt x="518" y="512"/>
                </a:lnTo>
                <a:lnTo>
                  <a:pt x="529" y="509"/>
                </a:lnTo>
                <a:lnTo>
                  <a:pt x="541" y="505"/>
                </a:lnTo>
                <a:lnTo>
                  <a:pt x="552" y="501"/>
                </a:lnTo>
                <a:lnTo>
                  <a:pt x="561" y="497"/>
                </a:lnTo>
                <a:lnTo>
                  <a:pt x="571" y="492"/>
                </a:lnTo>
                <a:lnTo>
                  <a:pt x="580" y="486"/>
                </a:lnTo>
                <a:lnTo>
                  <a:pt x="589" y="481"/>
                </a:lnTo>
                <a:lnTo>
                  <a:pt x="605" y="467"/>
                </a:lnTo>
                <a:lnTo>
                  <a:pt x="619" y="452"/>
                </a:lnTo>
                <a:lnTo>
                  <a:pt x="633" y="437"/>
                </a:lnTo>
                <a:lnTo>
                  <a:pt x="643" y="418"/>
                </a:lnTo>
                <a:lnTo>
                  <a:pt x="652" y="400"/>
                </a:lnTo>
                <a:lnTo>
                  <a:pt x="660" y="380"/>
                </a:lnTo>
                <a:lnTo>
                  <a:pt x="665" y="359"/>
                </a:lnTo>
                <a:lnTo>
                  <a:pt x="669" y="338"/>
                </a:lnTo>
                <a:lnTo>
                  <a:pt x="672" y="315"/>
                </a:lnTo>
                <a:lnTo>
                  <a:pt x="672" y="291"/>
                </a:lnTo>
                <a:lnTo>
                  <a:pt x="672" y="291"/>
                </a:lnTo>
                <a:lnTo>
                  <a:pt x="672" y="268"/>
                </a:lnTo>
                <a:lnTo>
                  <a:pt x="669" y="245"/>
                </a:lnTo>
                <a:lnTo>
                  <a:pt x="665" y="224"/>
                </a:lnTo>
                <a:lnTo>
                  <a:pt x="660" y="204"/>
                </a:lnTo>
                <a:lnTo>
                  <a:pt x="652" y="183"/>
                </a:lnTo>
                <a:lnTo>
                  <a:pt x="643" y="165"/>
                </a:lnTo>
                <a:lnTo>
                  <a:pt x="633" y="147"/>
                </a:lnTo>
                <a:lnTo>
                  <a:pt x="619" y="131"/>
                </a:lnTo>
                <a:lnTo>
                  <a:pt x="605" y="117"/>
                </a:lnTo>
                <a:lnTo>
                  <a:pt x="589" y="103"/>
                </a:lnTo>
                <a:lnTo>
                  <a:pt x="580" y="97"/>
                </a:lnTo>
                <a:lnTo>
                  <a:pt x="571" y="91"/>
                </a:lnTo>
                <a:lnTo>
                  <a:pt x="561" y="86"/>
                </a:lnTo>
                <a:lnTo>
                  <a:pt x="552" y="82"/>
                </a:lnTo>
                <a:lnTo>
                  <a:pt x="541" y="78"/>
                </a:lnTo>
                <a:lnTo>
                  <a:pt x="529" y="74"/>
                </a:lnTo>
                <a:lnTo>
                  <a:pt x="518" y="71"/>
                </a:lnTo>
                <a:lnTo>
                  <a:pt x="507" y="69"/>
                </a:lnTo>
                <a:lnTo>
                  <a:pt x="494" y="67"/>
                </a:lnTo>
                <a:lnTo>
                  <a:pt x="481" y="65"/>
                </a:lnTo>
                <a:lnTo>
                  <a:pt x="468" y="63"/>
                </a:lnTo>
                <a:lnTo>
                  <a:pt x="454" y="63"/>
                </a:lnTo>
                <a:lnTo>
                  <a:pt x="302" y="63"/>
                </a:lnTo>
                <a:lnTo>
                  <a:pt x="302" y="519"/>
                </a:lnTo>
                <a:lnTo>
                  <a:pt x="454" y="519"/>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74" name="Freeform 25">
            <a:extLst>
              <a:ext uri="{FF2B5EF4-FFF2-40B4-BE49-F238E27FC236}">
                <a16:creationId xmlns:a16="http://schemas.microsoft.com/office/drawing/2014/main" id="{FA661C93-19C4-494A-8C2E-93A472BDE956}"/>
              </a:ext>
            </a:extLst>
          </p:cNvPr>
          <p:cNvSpPr>
            <a:spLocks noEditPoints="1"/>
          </p:cNvSpPr>
          <p:nvPr userDrawn="1"/>
        </p:nvSpPr>
        <p:spPr bwMode="auto">
          <a:xfrm>
            <a:off x="2411414" y="1103313"/>
            <a:ext cx="157163" cy="192088"/>
          </a:xfrm>
          <a:custGeom>
            <a:avLst/>
            <a:gdLst>
              <a:gd name="T0" fmla="*/ 48 w 1195"/>
              <a:gd name="T1" fmla="*/ 1411 h 1449"/>
              <a:gd name="T2" fmla="*/ 115 w 1195"/>
              <a:gd name="T3" fmla="*/ 1397 h 1449"/>
              <a:gd name="T4" fmla="*/ 157 w 1195"/>
              <a:gd name="T5" fmla="*/ 1363 h 1449"/>
              <a:gd name="T6" fmla="*/ 188 w 1195"/>
              <a:gd name="T7" fmla="*/ 1304 h 1449"/>
              <a:gd name="T8" fmla="*/ 990 w 1195"/>
              <a:gd name="T9" fmla="*/ 1263 h 1449"/>
              <a:gd name="T10" fmla="*/ 1025 w 1195"/>
              <a:gd name="T11" fmla="*/ 1337 h 1449"/>
              <a:gd name="T12" fmla="*/ 1059 w 1195"/>
              <a:gd name="T13" fmla="*/ 1383 h 1449"/>
              <a:gd name="T14" fmla="*/ 1111 w 1195"/>
              <a:gd name="T15" fmla="*/ 1406 h 1449"/>
              <a:gd name="T16" fmla="*/ 1195 w 1195"/>
              <a:gd name="T17" fmla="*/ 1413 h 1449"/>
              <a:gd name="T18" fmla="*/ 718 w 1195"/>
              <a:gd name="T19" fmla="*/ 1413 h 1449"/>
              <a:gd name="T20" fmla="*/ 805 w 1195"/>
              <a:gd name="T21" fmla="*/ 1406 h 1449"/>
              <a:gd name="T22" fmla="*/ 854 w 1195"/>
              <a:gd name="T23" fmla="*/ 1382 h 1449"/>
              <a:gd name="T24" fmla="*/ 868 w 1195"/>
              <a:gd name="T25" fmla="*/ 1342 h 1449"/>
              <a:gd name="T26" fmla="*/ 852 w 1195"/>
              <a:gd name="T27" fmla="*/ 1281 h 1449"/>
              <a:gd name="T28" fmla="*/ 269 w 1195"/>
              <a:gd name="T29" fmla="*/ 1281 h 1449"/>
              <a:gd name="T30" fmla="*/ 253 w 1195"/>
              <a:gd name="T31" fmla="*/ 1341 h 1449"/>
              <a:gd name="T32" fmla="*/ 267 w 1195"/>
              <a:gd name="T33" fmla="*/ 1382 h 1449"/>
              <a:gd name="T34" fmla="*/ 316 w 1195"/>
              <a:gd name="T35" fmla="*/ 1405 h 1449"/>
              <a:gd name="T36" fmla="*/ 404 w 1195"/>
              <a:gd name="T37" fmla="*/ 1413 h 1449"/>
              <a:gd name="T38" fmla="*/ 740 w 1195"/>
              <a:gd name="T39" fmla="*/ 1027 h 1449"/>
              <a:gd name="T40" fmla="*/ 450 w 1195"/>
              <a:gd name="T41" fmla="*/ 141 h 1449"/>
              <a:gd name="T42" fmla="*/ 456 w 1195"/>
              <a:gd name="T43" fmla="*/ 99 h 1449"/>
              <a:gd name="T44" fmla="*/ 482 w 1195"/>
              <a:gd name="T45" fmla="*/ 51 h 1449"/>
              <a:gd name="T46" fmla="*/ 524 w 1195"/>
              <a:gd name="T47" fmla="*/ 17 h 1449"/>
              <a:gd name="T48" fmla="*/ 577 w 1195"/>
              <a:gd name="T49" fmla="*/ 1 h 1449"/>
              <a:gd name="T50" fmla="*/ 621 w 1195"/>
              <a:gd name="T51" fmla="*/ 3 h 1449"/>
              <a:gd name="T52" fmla="*/ 672 w 1195"/>
              <a:gd name="T53" fmla="*/ 25 h 1449"/>
              <a:gd name="T54" fmla="*/ 711 w 1195"/>
              <a:gd name="T55" fmla="*/ 62 h 1449"/>
              <a:gd name="T56" fmla="*/ 732 w 1195"/>
              <a:gd name="T57" fmla="*/ 112 h 1449"/>
              <a:gd name="T58" fmla="*/ 734 w 1195"/>
              <a:gd name="T59" fmla="*/ 156 h 1449"/>
              <a:gd name="T60" fmla="*/ 718 w 1195"/>
              <a:gd name="T61" fmla="*/ 210 h 1449"/>
              <a:gd name="T62" fmla="*/ 683 w 1195"/>
              <a:gd name="T63" fmla="*/ 252 h 1449"/>
              <a:gd name="T64" fmla="*/ 634 w 1195"/>
              <a:gd name="T65" fmla="*/ 278 h 1449"/>
              <a:gd name="T66" fmla="*/ 591 w 1195"/>
              <a:gd name="T67" fmla="*/ 284 h 1449"/>
              <a:gd name="T68" fmla="*/ 536 w 1195"/>
              <a:gd name="T69" fmla="*/ 273 h 1449"/>
              <a:gd name="T70" fmla="*/ 491 w 1195"/>
              <a:gd name="T71" fmla="*/ 242 h 1449"/>
              <a:gd name="T72" fmla="*/ 461 w 1195"/>
              <a:gd name="T73" fmla="*/ 197 h 1449"/>
              <a:gd name="T74" fmla="*/ 450 w 1195"/>
              <a:gd name="T75" fmla="*/ 141 h 1449"/>
              <a:gd name="T76" fmla="*/ 671 w 1195"/>
              <a:gd name="T77" fmla="*/ 133 h 1449"/>
              <a:gd name="T78" fmla="*/ 662 w 1195"/>
              <a:gd name="T79" fmla="*/ 104 h 1449"/>
              <a:gd name="T80" fmla="*/ 642 w 1195"/>
              <a:gd name="T81" fmla="*/ 82 h 1449"/>
              <a:gd name="T82" fmla="*/ 615 w 1195"/>
              <a:gd name="T83" fmla="*/ 67 h 1449"/>
              <a:gd name="T84" fmla="*/ 591 w 1195"/>
              <a:gd name="T85" fmla="*/ 63 h 1449"/>
              <a:gd name="T86" fmla="*/ 562 w 1195"/>
              <a:gd name="T87" fmla="*/ 70 h 1449"/>
              <a:gd name="T88" fmla="*/ 536 w 1195"/>
              <a:gd name="T89" fmla="*/ 86 h 1449"/>
              <a:gd name="T90" fmla="*/ 519 w 1195"/>
              <a:gd name="T91" fmla="*/ 111 h 1449"/>
              <a:gd name="T92" fmla="*/ 512 w 1195"/>
              <a:gd name="T93" fmla="*/ 141 h 1449"/>
              <a:gd name="T94" fmla="*/ 516 w 1195"/>
              <a:gd name="T95" fmla="*/ 165 h 1449"/>
              <a:gd name="T96" fmla="*/ 531 w 1195"/>
              <a:gd name="T97" fmla="*/ 191 h 1449"/>
              <a:gd name="T98" fmla="*/ 554 w 1195"/>
              <a:gd name="T99" fmla="*/ 211 h 1449"/>
              <a:gd name="T100" fmla="*/ 584 w 1195"/>
              <a:gd name="T101" fmla="*/ 220 h 1449"/>
              <a:gd name="T102" fmla="*/ 608 w 1195"/>
              <a:gd name="T103" fmla="*/ 219 h 1449"/>
              <a:gd name="T104" fmla="*/ 636 w 1195"/>
              <a:gd name="T105" fmla="*/ 207 h 1449"/>
              <a:gd name="T106" fmla="*/ 658 w 1195"/>
              <a:gd name="T107" fmla="*/ 185 h 1449"/>
              <a:gd name="T108" fmla="*/ 669 w 1195"/>
              <a:gd name="T109" fmla="*/ 157 h 1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95" h="1449">
                <a:moveTo>
                  <a:pt x="0" y="1413"/>
                </a:moveTo>
                <a:lnTo>
                  <a:pt x="0" y="1413"/>
                </a:lnTo>
                <a:lnTo>
                  <a:pt x="26" y="1412"/>
                </a:lnTo>
                <a:lnTo>
                  <a:pt x="48" y="1411"/>
                </a:lnTo>
                <a:lnTo>
                  <a:pt x="69" y="1409"/>
                </a:lnTo>
                <a:lnTo>
                  <a:pt x="86" y="1406"/>
                </a:lnTo>
                <a:lnTo>
                  <a:pt x="101" y="1402"/>
                </a:lnTo>
                <a:lnTo>
                  <a:pt x="115" y="1397"/>
                </a:lnTo>
                <a:lnTo>
                  <a:pt x="127" y="1391"/>
                </a:lnTo>
                <a:lnTo>
                  <a:pt x="138" y="1383"/>
                </a:lnTo>
                <a:lnTo>
                  <a:pt x="147" y="1374"/>
                </a:lnTo>
                <a:lnTo>
                  <a:pt x="157" y="1363"/>
                </a:lnTo>
                <a:lnTo>
                  <a:pt x="165" y="1351"/>
                </a:lnTo>
                <a:lnTo>
                  <a:pt x="172" y="1337"/>
                </a:lnTo>
                <a:lnTo>
                  <a:pt x="180" y="1321"/>
                </a:lnTo>
                <a:lnTo>
                  <a:pt x="188" y="1304"/>
                </a:lnTo>
                <a:lnTo>
                  <a:pt x="207" y="1263"/>
                </a:lnTo>
                <a:lnTo>
                  <a:pt x="586" y="384"/>
                </a:lnTo>
                <a:lnTo>
                  <a:pt x="609" y="384"/>
                </a:lnTo>
                <a:lnTo>
                  <a:pt x="990" y="1263"/>
                </a:lnTo>
                <a:lnTo>
                  <a:pt x="990" y="1263"/>
                </a:lnTo>
                <a:lnTo>
                  <a:pt x="1008" y="1304"/>
                </a:lnTo>
                <a:lnTo>
                  <a:pt x="1017" y="1321"/>
                </a:lnTo>
                <a:lnTo>
                  <a:pt x="1025" y="1337"/>
                </a:lnTo>
                <a:lnTo>
                  <a:pt x="1033" y="1351"/>
                </a:lnTo>
                <a:lnTo>
                  <a:pt x="1041" y="1363"/>
                </a:lnTo>
                <a:lnTo>
                  <a:pt x="1049" y="1374"/>
                </a:lnTo>
                <a:lnTo>
                  <a:pt x="1059" y="1383"/>
                </a:lnTo>
                <a:lnTo>
                  <a:pt x="1070" y="1391"/>
                </a:lnTo>
                <a:lnTo>
                  <a:pt x="1082" y="1397"/>
                </a:lnTo>
                <a:lnTo>
                  <a:pt x="1095" y="1402"/>
                </a:lnTo>
                <a:lnTo>
                  <a:pt x="1111" y="1406"/>
                </a:lnTo>
                <a:lnTo>
                  <a:pt x="1128" y="1409"/>
                </a:lnTo>
                <a:lnTo>
                  <a:pt x="1147" y="1411"/>
                </a:lnTo>
                <a:lnTo>
                  <a:pt x="1170" y="1412"/>
                </a:lnTo>
                <a:lnTo>
                  <a:pt x="1195" y="1413"/>
                </a:lnTo>
                <a:lnTo>
                  <a:pt x="1195" y="1449"/>
                </a:lnTo>
                <a:lnTo>
                  <a:pt x="718" y="1449"/>
                </a:lnTo>
                <a:lnTo>
                  <a:pt x="718" y="1413"/>
                </a:lnTo>
                <a:lnTo>
                  <a:pt x="718" y="1413"/>
                </a:lnTo>
                <a:lnTo>
                  <a:pt x="744" y="1412"/>
                </a:lnTo>
                <a:lnTo>
                  <a:pt x="766" y="1411"/>
                </a:lnTo>
                <a:lnTo>
                  <a:pt x="786" y="1409"/>
                </a:lnTo>
                <a:lnTo>
                  <a:pt x="805" y="1406"/>
                </a:lnTo>
                <a:lnTo>
                  <a:pt x="820" y="1402"/>
                </a:lnTo>
                <a:lnTo>
                  <a:pt x="834" y="1397"/>
                </a:lnTo>
                <a:lnTo>
                  <a:pt x="845" y="1390"/>
                </a:lnTo>
                <a:lnTo>
                  <a:pt x="854" y="1382"/>
                </a:lnTo>
                <a:lnTo>
                  <a:pt x="861" y="1374"/>
                </a:lnTo>
                <a:lnTo>
                  <a:pt x="865" y="1365"/>
                </a:lnTo>
                <a:lnTo>
                  <a:pt x="868" y="1354"/>
                </a:lnTo>
                <a:lnTo>
                  <a:pt x="868" y="1342"/>
                </a:lnTo>
                <a:lnTo>
                  <a:pt x="867" y="1329"/>
                </a:lnTo>
                <a:lnTo>
                  <a:pt x="864" y="1315"/>
                </a:lnTo>
                <a:lnTo>
                  <a:pt x="859" y="1299"/>
                </a:lnTo>
                <a:lnTo>
                  <a:pt x="852" y="1281"/>
                </a:lnTo>
                <a:lnTo>
                  <a:pt x="769" y="1090"/>
                </a:lnTo>
                <a:lnTo>
                  <a:pt x="352" y="1090"/>
                </a:lnTo>
                <a:lnTo>
                  <a:pt x="269" y="1281"/>
                </a:lnTo>
                <a:lnTo>
                  <a:pt x="269" y="1281"/>
                </a:lnTo>
                <a:lnTo>
                  <a:pt x="262" y="1299"/>
                </a:lnTo>
                <a:lnTo>
                  <a:pt x="257" y="1314"/>
                </a:lnTo>
                <a:lnTo>
                  <a:pt x="254" y="1328"/>
                </a:lnTo>
                <a:lnTo>
                  <a:pt x="253" y="1341"/>
                </a:lnTo>
                <a:lnTo>
                  <a:pt x="253" y="1353"/>
                </a:lnTo>
                <a:lnTo>
                  <a:pt x="256" y="1364"/>
                </a:lnTo>
                <a:lnTo>
                  <a:pt x="260" y="1373"/>
                </a:lnTo>
                <a:lnTo>
                  <a:pt x="267" y="1382"/>
                </a:lnTo>
                <a:lnTo>
                  <a:pt x="276" y="1390"/>
                </a:lnTo>
                <a:lnTo>
                  <a:pt x="287" y="1396"/>
                </a:lnTo>
                <a:lnTo>
                  <a:pt x="301" y="1401"/>
                </a:lnTo>
                <a:lnTo>
                  <a:pt x="316" y="1405"/>
                </a:lnTo>
                <a:lnTo>
                  <a:pt x="335" y="1409"/>
                </a:lnTo>
                <a:lnTo>
                  <a:pt x="355" y="1411"/>
                </a:lnTo>
                <a:lnTo>
                  <a:pt x="378" y="1412"/>
                </a:lnTo>
                <a:lnTo>
                  <a:pt x="404" y="1413"/>
                </a:lnTo>
                <a:lnTo>
                  <a:pt x="404" y="1449"/>
                </a:lnTo>
                <a:lnTo>
                  <a:pt x="0" y="1449"/>
                </a:lnTo>
                <a:lnTo>
                  <a:pt x="0" y="1413"/>
                </a:lnTo>
                <a:close/>
                <a:moveTo>
                  <a:pt x="740" y="1027"/>
                </a:moveTo>
                <a:lnTo>
                  <a:pt x="558" y="610"/>
                </a:lnTo>
                <a:lnTo>
                  <a:pt x="380" y="1027"/>
                </a:lnTo>
                <a:lnTo>
                  <a:pt x="740" y="1027"/>
                </a:lnTo>
                <a:close/>
                <a:moveTo>
                  <a:pt x="450" y="141"/>
                </a:moveTo>
                <a:lnTo>
                  <a:pt x="450" y="141"/>
                </a:lnTo>
                <a:lnTo>
                  <a:pt x="451" y="127"/>
                </a:lnTo>
                <a:lnTo>
                  <a:pt x="453" y="112"/>
                </a:lnTo>
                <a:lnTo>
                  <a:pt x="456" y="99"/>
                </a:lnTo>
                <a:lnTo>
                  <a:pt x="461" y="87"/>
                </a:lnTo>
                <a:lnTo>
                  <a:pt x="467" y="74"/>
                </a:lnTo>
                <a:lnTo>
                  <a:pt x="474" y="62"/>
                </a:lnTo>
                <a:lnTo>
                  <a:pt x="482" y="51"/>
                </a:lnTo>
                <a:lnTo>
                  <a:pt x="491" y="42"/>
                </a:lnTo>
                <a:lnTo>
                  <a:pt x="501" y="33"/>
                </a:lnTo>
                <a:lnTo>
                  <a:pt x="512" y="25"/>
                </a:lnTo>
                <a:lnTo>
                  <a:pt x="524" y="17"/>
                </a:lnTo>
                <a:lnTo>
                  <a:pt x="536" y="11"/>
                </a:lnTo>
                <a:lnTo>
                  <a:pt x="549" y="6"/>
                </a:lnTo>
                <a:lnTo>
                  <a:pt x="563" y="3"/>
                </a:lnTo>
                <a:lnTo>
                  <a:pt x="577" y="1"/>
                </a:lnTo>
                <a:lnTo>
                  <a:pt x="591" y="0"/>
                </a:lnTo>
                <a:lnTo>
                  <a:pt x="591" y="0"/>
                </a:lnTo>
                <a:lnTo>
                  <a:pt x="607" y="1"/>
                </a:lnTo>
                <a:lnTo>
                  <a:pt x="621" y="3"/>
                </a:lnTo>
                <a:lnTo>
                  <a:pt x="634" y="6"/>
                </a:lnTo>
                <a:lnTo>
                  <a:pt x="647" y="11"/>
                </a:lnTo>
                <a:lnTo>
                  <a:pt x="660" y="17"/>
                </a:lnTo>
                <a:lnTo>
                  <a:pt x="672" y="25"/>
                </a:lnTo>
                <a:lnTo>
                  <a:pt x="683" y="33"/>
                </a:lnTo>
                <a:lnTo>
                  <a:pt x="693" y="42"/>
                </a:lnTo>
                <a:lnTo>
                  <a:pt x="703" y="51"/>
                </a:lnTo>
                <a:lnTo>
                  <a:pt x="711" y="62"/>
                </a:lnTo>
                <a:lnTo>
                  <a:pt x="718" y="74"/>
                </a:lnTo>
                <a:lnTo>
                  <a:pt x="724" y="87"/>
                </a:lnTo>
                <a:lnTo>
                  <a:pt x="728" y="99"/>
                </a:lnTo>
                <a:lnTo>
                  <a:pt x="732" y="112"/>
                </a:lnTo>
                <a:lnTo>
                  <a:pt x="734" y="127"/>
                </a:lnTo>
                <a:lnTo>
                  <a:pt x="735" y="141"/>
                </a:lnTo>
                <a:lnTo>
                  <a:pt x="735" y="141"/>
                </a:lnTo>
                <a:lnTo>
                  <a:pt x="734" y="156"/>
                </a:lnTo>
                <a:lnTo>
                  <a:pt x="732" y="170"/>
                </a:lnTo>
                <a:lnTo>
                  <a:pt x="728" y="184"/>
                </a:lnTo>
                <a:lnTo>
                  <a:pt x="724" y="197"/>
                </a:lnTo>
                <a:lnTo>
                  <a:pt x="718" y="210"/>
                </a:lnTo>
                <a:lnTo>
                  <a:pt x="711" y="222"/>
                </a:lnTo>
                <a:lnTo>
                  <a:pt x="703" y="232"/>
                </a:lnTo>
                <a:lnTo>
                  <a:pt x="693" y="242"/>
                </a:lnTo>
                <a:lnTo>
                  <a:pt x="683" y="252"/>
                </a:lnTo>
                <a:lnTo>
                  <a:pt x="672" y="260"/>
                </a:lnTo>
                <a:lnTo>
                  <a:pt x="660" y="267"/>
                </a:lnTo>
                <a:lnTo>
                  <a:pt x="647" y="273"/>
                </a:lnTo>
                <a:lnTo>
                  <a:pt x="634" y="278"/>
                </a:lnTo>
                <a:lnTo>
                  <a:pt x="621" y="281"/>
                </a:lnTo>
                <a:lnTo>
                  <a:pt x="607" y="284"/>
                </a:lnTo>
                <a:lnTo>
                  <a:pt x="591" y="284"/>
                </a:lnTo>
                <a:lnTo>
                  <a:pt x="591" y="284"/>
                </a:lnTo>
                <a:lnTo>
                  <a:pt x="577" y="284"/>
                </a:lnTo>
                <a:lnTo>
                  <a:pt x="563" y="281"/>
                </a:lnTo>
                <a:lnTo>
                  <a:pt x="549" y="278"/>
                </a:lnTo>
                <a:lnTo>
                  <a:pt x="536" y="273"/>
                </a:lnTo>
                <a:lnTo>
                  <a:pt x="524" y="267"/>
                </a:lnTo>
                <a:lnTo>
                  <a:pt x="512" y="260"/>
                </a:lnTo>
                <a:lnTo>
                  <a:pt x="501" y="252"/>
                </a:lnTo>
                <a:lnTo>
                  <a:pt x="491" y="242"/>
                </a:lnTo>
                <a:lnTo>
                  <a:pt x="482" y="232"/>
                </a:lnTo>
                <a:lnTo>
                  <a:pt x="474" y="222"/>
                </a:lnTo>
                <a:lnTo>
                  <a:pt x="467" y="210"/>
                </a:lnTo>
                <a:lnTo>
                  <a:pt x="461" y="197"/>
                </a:lnTo>
                <a:lnTo>
                  <a:pt x="456" y="184"/>
                </a:lnTo>
                <a:lnTo>
                  <a:pt x="453" y="170"/>
                </a:lnTo>
                <a:lnTo>
                  <a:pt x="451" y="156"/>
                </a:lnTo>
                <a:lnTo>
                  <a:pt x="450" y="141"/>
                </a:lnTo>
                <a:lnTo>
                  <a:pt x="450" y="141"/>
                </a:lnTo>
                <a:close/>
                <a:moveTo>
                  <a:pt x="671" y="141"/>
                </a:moveTo>
                <a:lnTo>
                  <a:pt x="671" y="141"/>
                </a:lnTo>
                <a:lnTo>
                  <a:pt x="671" y="133"/>
                </a:lnTo>
                <a:lnTo>
                  <a:pt x="669" y="126"/>
                </a:lnTo>
                <a:lnTo>
                  <a:pt x="668" y="119"/>
                </a:lnTo>
                <a:lnTo>
                  <a:pt x="665" y="111"/>
                </a:lnTo>
                <a:lnTo>
                  <a:pt x="662" y="104"/>
                </a:lnTo>
                <a:lnTo>
                  <a:pt x="658" y="98"/>
                </a:lnTo>
                <a:lnTo>
                  <a:pt x="653" y="92"/>
                </a:lnTo>
                <a:lnTo>
                  <a:pt x="647" y="86"/>
                </a:lnTo>
                <a:lnTo>
                  <a:pt x="642" y="82"/>
                </a:lnTo>
                <a:lnTo>
                  <a:pt x="636" y="77"/>
                </a:lnTo>
                <a:lnTo>
                  <a:pt x="629" y="73"/>
                </a:lnTo>
                <a:lnTo>
                  <a:pt x="622" y="70"/>
                </a:lnTo>
                <a:lnTo>
                  <a:pt x="615" y="67"/>
                </a:lnTo>
                <a:lnTo>
                  <a:pt x="608" y="65"/>
                </a:lnTo>
                <a:lnTo>
                  <a:pt x="599" y="64"/>
                </a:lnTo>
                <a:lnTo>
                  <a:pt x="591" y="63"/>
                </a:lnTo>
                <a:lnTo>
                  <a:pt x="591" y="63"/>
                </a:lnTo>
                <a:lnTo>
                  <a:pt x="584" y="64"/>
                </a:lnTo>
                <a:lnTo>
                  <a:pt x="576" y="65"/>
                </a:lnTo>
                <a:lnTo>
                  <a:pt x="569" y="67"/>
                </a:lnTo>
                <a:lnTo>
                  <a:pt x="562" y="70"/>
                </a:lnTo>
                <a:lnTo>
                  <a:pt x="554" y="73"/>
                </a:lnTo>
                <a:lnTo>
                  <a:pt x="547" y="77"/>
                </a:lnTo>
                <a:lnTo>
                  <a:pt x="541" y="82"/>
                </a:lnTo>
                <a:lnTo>
                  <a:pt x="536" y="86"/>
                </a:lnTo>
                <a:lnTo>
                  <a:pt x="531" y="92"/>
                </a:lnTo>
                <a:lnTo>
                  <a:pt x="526" y="98"/>
                </a:lnTo>
                <a:lnTo>
                  <a:pt x="522" y="104"/>
                </a:lnTo>
                <a:lnTo>
                  <a:pt x="519" y="111"/>
                </a:lnTo>
                <a:lnTo>
                  <a:pt x="516" y="119"/>
                </a:lnTo>
                <a:lnTo>
                  <a:pt x="513" y="126"/>
                </a:lnTo>
                <a:lnTo>
                  <a:pt x="512" y="133"/>
                </a:lnTo>
                <a:lnTo>
                  <a:pt x="512" y="141"/>
                </a:lnTo>
                <a:lnTo>
                  <a:pt x="512" y="141"/>
                </a:lnTo>
                <a:lnTo>
                  <a:pt x="512" y="149"/>
                </a:lnTo>
                <a:lnTo>
                  <a:pt x="513" y="157"/>
                </a:lnTo>
                <a:lnTo>
                  <a:pt x="516" y="165"/>
                </a:lnTo>
                <a:lnTo>
                  <a:pt x="519" y="172"/>
                </a:lnTo>
                <a:lnTo>
                  <a:pt x="522" y="179"/>
                </a:lnTo>
                <a:lnTo>
                  <a:pt x="526" y="185"/>
                </a:lnTo>
                <a:lnTo>
                  <a:pt x="531" y="191"/>
                </a:lnTo>
                <a:lnTo>
                  <a:pt x="536" y="197"/>
                </a:lnTo>
                <a:lnTo>
                  <a:pt x="541" y="202"/>
                </a:lnTo>
                <a:lnTo>
                  <a:pt x="547" y="207"/>
                </a:lnTo>
                <a:lnTo>
                  <a:pt x="554" y="211"/>
                </a:lnTo>
                <a:lnTo>
                  <a:pt x="562" y="215"/>
                </a:lnTo>
                <a:lnTo>
                  <a:pt x="569" y="217"/>
                </a:lnTo>
                <a:lnTo>
                  <a:pt x="576" y="219"/>
                </a:lnTo>
                <a:lnTo>
                  <a:pt x="584" y="220"/>
                </a:lnTo>
                <a:lnTo>
                  <a:pt x="591" y="221"/>
                </a:lnTo>
                <a:lnTo>
                  <a:pt x="591" y="221"/>
                </a:lnTo>
                <a:lnTo>
                  <a:pt x="599" y="220"/>
                </a:lnTo>
                <a:lnTo>
                  <a:pt x="608" y="219"/>
                </a:lnTo>
                <a:lnTo>
                  <a:pt x="615" y="217"/>
                </a:lnTo>
                <a:lnTo>
                  <a:pt x="622" y="215"/>
                </a:lnTo>
                <a:lnTo>
                  <a:pt x="629" y="211"/>
                </a:lnTo>
                <a:lnTo>
                  <a:pt x="636" y="207"/>
                </a:lnTo>
                <a:lnTo>
                  <a:pt x="642" y="202"/>
                </a:lnTo>
                <a:lnTo>
                  <a:pt x="647" y="197"/>
                </a:lnTo>
                <a:lnTo>
                  <a:pt x="653" y="191"/>
                </a:lnTo>
                <a:lnTo>
                  <a:pt x="658" y="185"/>
                </a:lnTo>
                <a:lnTo>
                  <a:pt x="662" y="179"/>
                </a:lnTo>
                <a:lnTo>
                  <a:pt x="665" y="172"/>
                </a:lnTo>
                <a:lnTo>
                  <a:pt x="668" y="165"/>
                </a:lnTo>
                <a:lnTo>
                  <a:pt x="669" y="157"/>
                </a:lnTo>
                <a:lnTo>
                  <a:pt x="671" y="149"/>
                </a:lnTo>
                <a:lnTo>
                  <a:pt x="671" y="141"/>
                </a:lnTo>
                <a:lnTo>
                  <a:pt x="671" y="141"/>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75" name="Freeform 26">
            <a:extLst>
              <a:ext uri="{FF2B5EF4-FFF2-40B4-BE49-F238E27FC236}">
                <a16:creationId xmlns:a16="http://schemas.microsoft.com/office/drawing/2014/main" id="{9A29B5C2-6BCF-864E-A249-62F234E2F11F}"/>
              </a:ext>
            </a:extLst>
          </p:cNvPr>
          <p:cNvSpPr>
            <a:spLocks noEditPoints="1"/>
          </p:cNvSpPr>
          <p:nvPr userDrawn="1"/>
        </p:nvSpPr>
        <p:spPr bwMode="auto">
          <a:xfrm>
            <a:off x="2586039" y="1158877"/>
            <a:ext cx="138113" cy="136525"/>
          </a:xfrm>
          <a:custGeom>
            <a:avLst/>
            <a:gdLst>
              <a:gd name="T0" fmla="*/ 48 w 1043"/>
              <a:gd name="T1" fmla="*/ 997 h 1035"/>
              <a:gd name="T2" fmla="*/ 115 w 1043"/>
              <a:gd name="T3" fmla="*/ 981 h 1035"/>
              <a:gd name="T4" fmla="*/ 135 w 1043"/>
              <a:gd name="T5" fmla="*/ 962 h 1035"/>
              <a:gd name="T6" fmla="*/ 155 w 1043"/>
              <a:gd name="T7" fmla="*/ 920 h 1035"/>
              <a:gd name="T8" fmla="*/ 164 w 1043"/>
              <a:gd name="T9" fmla="*/ 827 h 1035"/>
              <a:gd name="T10" fmla="*/ 164 w 1043"/>
              <a:gd name="T11" fmla="*/ 206 h 1035"/>
              <a:gd name="T12" fmla="*/ 155 w 1043"/>
              <a:gd name="T13" fmla="*/ 114 h 1035"/>
              <a:gd name="T14" fmla="*/ 135 w 1043"/>
              <a:gd name="T15" fmla="*/ 72 h 1035"/>
              <a:gd name="T16" fmla="*/ 115 w 1043"/>
              <a:gd name="T17" fmla="*/ 54 h 1035"/>
              <a:gd name="T18" fmla="*/ 48 w 1043"/>
              <a:gd name="T19" fmla="*/ 38 h 1035"/>
              <a:gd name="T20" fmla="*/ 468 w 1043"/>
              <a:gd name="T21" fmla="*/ 0 h 1035"/>
              <a:gd name="T22" fmla="*/ 574 w 1043"/>
              <a:gd name="T23" fmla="*/ 6 h 1035"/>
              <a:gd name="T24" fmla="*/ 699 w 1043"/>
              <a:gd name="T25" fmla="*/ 32 h 1035"/>
              <a:gd name="T26" fmla="*/ 803 w 1043"/>
              <a:gd name="T27" fmla="*/ 75 h 1035"/>
              <a:gd name="T28" fmla="*/ 888 w 1043"/>
              <a:gd name="T29" fmla="*/ 135 h 1035"/>
              <a:gd name="T30" fmla="*/ 953 w 1043"/>
              <a:gd name="T31" fmla="*/ 209 h 1035"/>
              <a:gd name="T32" fmla="*/ 1001 w 1043"/>
              <a:gd name="T33" fmla="*/ 294 h 1035"/>
              <a:gd name="T34" fmla="*/ 1031 w 1043"/>
              <a:gd name="T35" fmla="*/ 389 h 1035"/>
              <a:gd name="T36" fmla="*/ 1043 w 1043"/>
              <a:gd name="T37" fmla="*/ 491 h 1035"/>
              <a:gd name="T38" fmla="*/ 1041 w 1043"/>
              <a:gd name="T39" fmla="*/ 570 h 1035"/>
              <a:gd name="T40" fmla="*/ 1025 w 1043"/>
              <a:gd name="T41" fmla="*/ 671 h 1035"/>
              <a:gd name="T42" fmla="*/ 991 w 1043"/>
              <a:gd name="T43" fmla="*/ 764 h 1035"/>
              <a:gd name="T44" fmla="*/ 939 w 1043"/>
              <a:gd name="T45" fmla="*/ 846 h 1035"/>
              <a:gd name="T46" fmla="*/ 868 w 1043"/>
              <a:gd name="T47" fmla="*/ 916 h 1035"/>
              <a:gd name="T48" fmla="*/ 779 w 1043"/>
              <a:gd name="T49" fmla="*/ 972 h 1035"/>
              <a:gd name="T50" fmla="*/ 670 w 1043"/>
              <a:gd name="T51" fmla="*/ 1011 h 1035"/>
              <a:gd name="T52" fmla="*/ 540 w 1043"/>
              <a:gd name="T53" fmla="*/ 1032 h 1035"/>
              <a:gd name="T54" fmla="*/ 0 w 1043"/>
              <a:gd name="T55" fmla="*/ 999 h 1035"/>
              <a:gd name="T56" fmla="*/ 529 w 1043"/>
              <a:gd name="T57" fmla="*/ 968 h 1035"/>
              <a:gd name="T58" fmla="*/ 631 w 1043"/>
              <a:gd name="T59" fmla="*/ 947 h 1035"/>
              <a:gd name="T60" fmla="*/ 713 w 1043"/>
              <a:gd name="T61" fmla="*/ 906 h 1035"/>
              <a:gd name="T62" fmla="*/ 775 w 1043"/>
              <a:gd name="T63" fmla="*/ 852 h 1035"/>
              <a:gd name="T64" fmla="*/ 820 w 1043"/>
              <a:gd name="T65" fmla="*/ 785 h 1035"/>
              <a:gd name="T66" fmla="*/ 851 w 1043"/>
              <a:gd name="T67" fmla="*/ 712 h 1035"/>
              <a:gd name="T68" fmla="*/ 869 w 1043"/>
              <a:gd name="T69" fmla="*/ 634 h 1035"/>
              <a:gd name="T70" fmla="*/ 878 w 1043"/>
              <a:gd name="T71" fmla="*/ 517 h 1035"/>
              <a:gd name="T72" fmla="*/ 865 w 1043"/>
              <a:gd name="T73" fmla="*/ 380 h 1035"/>
              <a:gd name="T74" fmla="*/ 845 w 1043"/>
              <a:gd name="T75" fmla="*/ 304 h 1035"/>
              <a:gd name="T76" fmla="*/ 810 w 1043"/>
              <a:gd name="T77" fmla="*/ 231 h 1035"/>
              <a:gd name="T78" fmla="*/ 761 w 1043"/>
              <a:gd name="T79" fmla="*/ 168 h 1035"/>
              <a:gd name="T80" fmla="*/ 695 w 1043"/>
              <a:gd name="T81" fmla="*/ 117 h 1035"/>
              <a:gd name="T82" fmla="*/ 608 w 1043"/>
              <a:gd name="T83" fmla="*/ 81 h 1035"/>
              <a:gd name="T84" fmla="*/ 500 w 1043"/>
              <a:gd name="T85" fmla="*/ 65 h 1035"/>
              <a:gd name="T86" fmla="*/ 302 w 1043"/>
              <a:gd name="T87" fmla="*/ 771 h 1035"/>
              <a:gd name="T88" fmla="*/ 307 w 1043"/>
              <a:gd name="T89" fmla="*/ 875 h 1035"/>
              <a:gd name="T90" fmla="*/ 324 w 1043"/>
              <a:gd name="T91" fmla="*/ 931 h 1035"/>
              <a:gd name="T92" fmla="*/ 344 w 1043"/>
              <a:gd name="T93" fmla="*/ 950 h 1035"/>
              <a:gd name="T94" fmla="*/ 395 w 1043"/>
              <a:gd name="T95" fmla="*/ 967 h 1035"/>
              <a:gd name="T96" fmla="*/ 469 w 1043"/>
              <a:gd name="T97" fmla="*/ 971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43" h="1035">
                <a:moveTo>
                  <a:pt x="0" y="999"/>
                </a:moveTo>
                <a:lnTo>
                  <a:pt x="0" y="999"/>
                </a:lnTo>
                <a:lnTo>
                  <a:pt x="25" y="998"/>
                </a:lnTo>
                <a:lnTo>
                  <a:pt x="48" y="997"/>
                </a:lnTo>
                <a:lnTo>
                  <a:pt x="68" y="995"/>
                </a:lnTo>
                <a:lnTo>
                  <a:pt x="86" y="991"/>
                </a:lnTo>
                <a:lnTo>
                  <a:pt x="102" y="987"/>
                </a:lnTo>
                <a:lnTo>
                  <a:pt x="115" y="981"/>
                </a:lnTo>
                <a:lnTo>
                  <a:pt x="121" y="977"/>
                </a:lnTo>
                <a:lnTo>
                  <a:pt x="126" y="972"/>
                </a:lnTo>
                <a:lnTo>
                  <a:pt x="131" y="967"/>
                </a:lnTo>
                <a:lnTo>
                  <a:pt x="135" y="962"/>
                </a:lnTo>
                <a:lnTo>
                  <a:pt x="139" y="957"/>
                </a:lnTo>
                <a:lnTo>
                  <a:pt x="143" y="951"/>
                </a:lnTo>
                <a:lnTo>
                  <a:pt x="150" y="937"/>
                </a:lnTo>
                <a:lnTo>
                  <a:pt x="155" y="920"/>
                </a:lnTo>
                <a:lnTo>
                  <a:pt x="158" y="901"/>
                </a:lnTo>
                <a:lnTo>
                  <a:pt x="161" y="879"/>
                </a:lnTo>
                <a:lnTo>
                  <a:pt x="163" y="855"/>
                </a:lnTo>
                <a:lnTo>
                  <a:pt x="164" y="827"/>
                </a:lnTo>
                <a:lnTo>
                  <a:pt x="164" y="797"/>
                </a:lnTo>
                <a:lnTo>
                  <a:pt x="164" y="236"/>
                </a:lnTo>
                <a:lnTo>
                  <a:pt x="164" y="236"/>
                </a:lnTo>
                <a:lnTo>
                  <a:pt x="164" y="206"/>
                </a:lnTo>
                <a:lnTo>
                  <a:pt x="163" y="178"/>
                </a:lnTo>
                <a:lnTo>
                  <a:pt x="161" y="153"/>
                </a:lnTo>
                <a:lnTo>
                  <a:pt x="158" y="132"/>
                </a:lnTo>
                <a:lnTo>
                  <a:pt x="155" y="114"/>
                </a:lnTo>
                <a:lnTo>
                  <a:pt x="150" y="97"/>
                </a:lnTo>
                <a:lnTo>
                  <a:pt x="143" y="83"/>
                </a:lnTo>
                <a:lnTo>
                  <a:pt x="139" y="77"/>
                </a:lnTo>
                <a:lnTo>
                  <a:pt x="135" y="72"/>
                </a:lnTo>
                <a:lnTo>
                  <a:pt x="131" y="67"/>
                </a:lnTo>
                <a:lnTo>
                  <a:pt x="126" y="61"/>
                </a:lnTo>
                <a:lnTo>
                  <a:pt x="121" y="57"/>
                </a:lnTo>
                <a:lnTo>
                  <a:pt x="115" y="54"/>
                </a:lnTo>
                <a:lnTo>
                  <a:pt x="102" y="48"/>
                </a:lnTo>
                <a:lnTo>
                  <a:pt x="86" y="43"/>
                </a:lnTo>
                <a:lnTo>
                  <a:pt x="68" y="40"/>
                </a:lnTo>
                <a:lnTo>
                  <a:pt x="48" y="38"/>
                </a:lnTo>
                <a:lnTo>
                  <a:pt x="25" y="37"/>
                </a:lnTo>
                <a:lnTo>
                  <a:pt x="0" y="36"/>
                </a:lnTo>
                <a:lnTo>
                  <a:pt x="0" y="0"/>
                </a:lnTo>
                <a:lnTo>
                  <a:pt x="468" y="0"/>
                </a:lnTo>
                <a:lnTo>
                  <a:pt x="468" y="0"/>
                </a:lnTo>
                <a:lnTo>
                  <a:pt x="504" y="0"/>
                </a:lnTo>
                <a:lnTo>
                  <a:pt x="540" y="2"/>
                </a:lnTo>
                <a:lnTo>
                  <a:pt x="574" y="6"/>
                </a:lnTo>
                <a:lnTo>
                  <a:pt x="608" y="10"/>
                </a:lnTo>
                <a:lnTo>
                  <a:pt x="639" y="16"/>
                </a:lnTo>
                <a:lnTo>
                  <a:pt x="670" y="24"/>
                </a:lnTo>
                <a:lnTo>
                  <a:pt x="699" y="32"/>
                </a:lnTo>
                <a:lnTo>
                  <a:pt x="727" y="41"/>
                </a:lnTo>
                <a:lnTo>
                  <a:pt x="754" y="51"/>
                </a:lnTo>
                <a:lnTo>
                  <a:pt x="779" y="62"/>
                </a:lnTo>
                <a:lnTo>
                  <a:pt x="803" y="75"/>
                </a:lnTo>
                <a:lnTo>
                  <a:pt x="827" y="88"/>
                </a:lnTo>
                <a:lnTo>
                  <a:pt x="848" y="103"/>
                </a:lnTo>
                <a:lnTo>
                  <a:pt x="868" y="119"/>
                </a:lnTo>
                <a:lnTo>
                  <a:pt x="888" y="135"/>
                </a:lnTo>
                <a:lnTo>
                  <a:pt x="906" y="151"/>
                </a:lnTo>
                <a:lnTo>
                  <a:pt x="924" y="170"/>
                </a:lnTo>
                <a:lnTo>
                  <a:pt x="939" y="188"/>
                </a:lnTo>
                <a:lnTo>
                  <a:pt x="953" y="209"/>
                </a:lnTo>
                <a:lnTo>
                  <a:pt x="968" y="228"/>
                </a:lnTo>
                <a:lnTo>
                  <a:pt x="980" y="250"/>
                </a:lnTo>
                <a:lnTo>
                  <a:pt x="991" y="271"/>
                </a:lnTo>
                <a:lnTo>
                  <a:pt x="1001" y="294"/>
                </a:lnTo>
                <a:lnTo>
                  <a:pt x="1010" y="316"/>
                </a:lnTo>
                <a:lnTo>
                  <a:pt x="1018" y="340"/>
                </a:lnTo>
                <a:lnTo>
                  <a:pt x="1025" y="364"/>
                </a:lnTo>
                <a:lnTo>
                  <a:pt x="1031" y="389"/>
                </a:lnTo>
                <a:lnTo>
                  <a:pt x="1035" y="413"/>
                </a:lnTo>
                <a:lnTo>
                  <a:pt x="1039" y="439"/>
                </a:lnTo>
                <a:lnTo>
                  <a:pt x="1041" y="464"/>
                </a:lnTo>
                <a:lnTo>
                  <a:pt x="1043" y="491"/>
                </a:lnTo>
                <a:lnTo>
                  <a:pt x="1043" y="517"/>
                </a:lnTo>
                <a:lnTo>
                  <a:pt x="1043" y="517"/>
                </a:lnTo>
                <a:lnTo>
                  <a:pt x="1043" y="544"/>
                </a:lnTo>
                <a:lnTo>
                  <a:pt x="1041" y="570"/>
                </a:lnTo>
                <a:lnTo>
                  <a:pt x="1039" y="596"/>
                </a:lnTo>
                <a:lnTo>
                  <a:pt x="1035" y="622"/>
                </a:lnTo>
                <a:lnTo>
                  <a:pt x="1031" y="646"/>
                </a:lnTo>
                <a:lnTo>
                  <a:pt x="1025" y="671"/>
                </a:lnTo>
                <a:lnTo>
                  <a:pt x="1018" y="694"/>
                </a:lnTo>
                <a:lnTo>
                  <a:pt x="1010" y="718"/>
                </a:lnTo>
                <a:lnTo>
                  <a:pt x="1001" y="741"/>
                </a:lnTo>
                <a:lnTo>
                  <a:pt x="991" y="764"/>
                </a:lnTo>
                <a:lnTo>
                  <a:pt x="980" y="785"/>
                </a:lnTo>
                <a:lnTo>
                  <a:pt x="968" y="806"/>
                </a:lnTo>
                <a:lnTo>
                  <a:pt x="953" y="826"/>
                </a:lnTo>
                <a:lnTo>
                  <a:pt x="939" y="846"/>
                </a:lnTo>
                <a:lnTo>
                  <a:pt x="924" y="865"/>
                </a:lnTo>
                <a:lnTo>
                  <a:pt x="906" y="882"/>
                </a:lnTo>
                <a:lnTo>
                  <a:pt x="888" y="900"/>
                </a:lnTo>
                <a:lnTo>
                  <a:pt x="868" y="916"/>
                </a:lnTo>
                <a:lnTo>
                  <a:pt x="848" y="932"/>
                </a:lnTo>
                <a:lnTo>
                  <a:pt x="827" y="946"/>
                </a:lnTo>
                <a:lnTo>
                  <a:pt x="803" y="959"/>
                </a:lnTo>
                <a:lnTo>
                  <a:pt x="779" y="972"/>
                </a:lnTo>
                <a:lnTo>
                  <a:pt x="754" y="984"/>
                </a:lnTo>
                <a:lnTo>
                  <a:pt x="727" y="994"/>
                </a:lnTo>
                <a:lnTo>
                  <a:pt x="699" y="1003"/>
                </a:lnTo>
                <a:lnTo>
                  <a:pt x="670" y="1011"/>
                </a:lnTo>
                <a:lnTo>
                  <a:pt x="639" y="1018"/>
                </a:lnTo>
                <a:lnTo>
                  <a:pt x="608" y="1025"/>
                </a:lnTo>
                <a:lnTo>
                  <a:pt x="574" y="1029"/>
                </a:lnTo>
                <a:lnTo>
                  <a:pt x="540" y="1032"/>
                </a:lnTo>
                <a:lnTo>
                  <a:pt x="504" y="1034"/>
                </a:lnTo>
                <a:lnTo>
                  <a:pt x="468" y="1035"/>
                </a:lnTo>
                <a:lnTo>
                  <a:pt x="0" y="1035"/>
                </a:lnTo>
                <a:lnTo>
                  <a:pt x="0" y="999"/>
                </a:lnTo>
                <a:close/>
                <a:moveTo>
                  <a:pt x="469" y="971"/>
                </a:moveTo>
                <a:lnTo>
                  <a:pt x="469" y="971"/>
                </a:lnTo>
                <a:lnTo>
                  <a:pt x="500" y="970"/>
                </a:lnTo>
                <a:lnTo>
                  <a:pt x="529" y="968"/>
                </a:lnTo>
                <a:lnTo>
                  <a:pt x="557" y="964"/>
                </a:lnTo>
                <a:lnTo>
                  <a:pt x="583" y="960"/>
                </a:lnTo>
                <a:lnTo>
                  <a:pt x="608" y="954"/>
                </a:lnTo>
                <a:lnTo>
                  <a:pt x="631" y="947"/>
                </a:lnTo>
                <a:lnTo>
                  <a:pt x="654" y="938"/>
                </a:lnTo>
                <a:lnTo>
                  <a:pt x="675" y="928"/>
                </a:lnTo>
                <a:lnTo>
                  <a:pt x="695" y="918"/>
                </a:lnTo>
                <a:lnTo>
                  <a:pt x="713" y="906"/>
                </a:lnTo>
                <a:lnTo>
                  <a:pt x="730" y="894"/>
                </a:lnTo>
                <a:lnTo>
                  <a:pt x="747" y="880"/>
                </a:lnTo>
                <a:lnTo>
                  <a:pt x="761" y="866"/>
                </a:lnTo>
                <a:lnTo>
                  <a:pt x="775" y="852"/>
                </a:lnTo>
                <a:lnTo>
                  <a:pt x="788" y="836"/>
                </a:lnTo>
                <a:lnTo>
                  <a:pt x="800" y="820"/>
                </a:lnTo>
                <a:lnTo>
                  <a:pt x="810" y="803"/>
                </a:lnTo>
                <a:lnTo>
                  <a:pt x="820" y="785"/>
                </a:lnTo>
                <a:lnTo>
                  <a:pt x="830" y="768"/>
                </a:lnTo>
                <a:lnTo>
                  <a:pt x="838" y="750"/>
                </a:lnTo>
                <a:lnTo>
                  <a:pt x="845" y="731"/>
                </a:lnTo>
                <a:lnTo>
                  <a:pt x="851" y="712"/>
                </a:lnTo>
                <a:lnTo>
                  <a:pt x="856" y="692"/>
                </a:lnTo>
                <a:lnTo>
                  <a:pt x="861" y="673"/>
                </a:lnTo>
                <a:lnTo>
                  <a:pt x="865" y="653"/>
                </a:lnTo>
                <a:lnTo>
                  <a:pt x="869" y="634"/>
                </a:lnTo>
                <a:lnTo>
                  <a:pt x="875" y="595"/>
                </a:lnTo>
                <a:lnTo>
                  <a:pt x="877" y="555"/>
                </a:lnTo>
                <a:lnTo>
                  <a:pt x="878" y="517"/>
                </a:lnTo>
                <a:lnTo>
                  <a:pt x="878" y="517"/>
                </a:lnTo>
                <a:lnTo>
                  <a:pt x="877" y="479"/>
                </a:lnTo>
                <a:lnTo>
                  <a:pt x="875" y="440"/>
                </a:lnTo>
                <a:lnTo>
                  <a:pt x="869" y="401"/>
                </a:lnTo>
                <a:lnTo>
                  <a:pt x="865" y="380"/>
                </a:lnTo>
                <a:lnTo>
                  <a:pt x="861" y="361"/>
                </a:lnTo>
                <a:lnTo>
                  <a:pt x="856" y="342"/>
                </a:lnTo>
                <a:lnTo>
                  <a:pt x="851" y="323"/>
                </a:lnTo>
                <a:lnTo>
                  <a:pt x="845" y="304"/>
                </a:lnTo>
                <a:lnTo>
                  <a:pt x="838" y="285"/>
                </a:lnTo>
                <a:lnTo>
                  <a:pt x="830" y="267"/>
                </a:lnTo>
                <a:lnTo>
                  <a:pt x="820" y="249"/>
                </a:lnTo>
                <a:lnTo>
                  <a:pt x="810" y="231"/>
                </a:lnTo>
                <a:lnTo>
                  <a:pt x="800" y="215"/>
                </a:lnTo>
                <a:lnTo>
                  <a:pt x="788" y="198"/>
                </a:lnTo>
                <a:lnTo>
                  <a:pt x="775" y="183"/>
                </a:lnTo>
                <a:lnTo>
                  <a:pt x="761" y="168"/>
                </a:lnTo>
                <a:lnTo>
                  <a:pt x="747" y="154"/>
                </a:lnTo>
                <a:lnTo>
                  <a:pt x="730" y="140"/>
                </a:lnTo>
                <a:lnTo>
                  <a:pt x="713" y="128"/>
                </a:lnTo>
                <a:lnTo>
                  <a:pt x="695" y="117"/>
                </a:lnTo>
                <a:lnTo>
                  <a:pt x="675" y="106"/>
                </a:lnTo>
                <a:lnTo>
                  <a:pt x="654" y="96"/>
                </a:lnTo>
                <a:lnTo>
                  <a:pt x="631" y="88"/>
                </a:lnTo>
                <a:lnTo>
                  <a:pt x="608" y="81"/>
                </a:lnTo>
                <a:lnTo>
                  <a:pt x="583" y="75"/>
                </a:lnTo>
                <a:lnTo>
                  <a:pt x="557" y="70"/>
                </a:lnTo>
                <a:lnTo>
                  <a:pt x="529" y="67"/>
                </a:lnTo>
                <a:lnTo>
                  <a:pt x="500" y="65"/>
                </a:lnTo>
                <a:lnTo>
                  <a:pt x="469" y="63"/>
                </a:lnTo>
                <a:lnTo>
                  <a:pt x="302" y="63"/>
                </a:lnTo>
                <a:lnTo>
                  <a:pt x="302" y="771"/>
                </a:lnTo>
                <a:lnTo>
                  <a:pt x="302" y="771"/>
                </a:lnTo>
                <a:lnTo>
                  <a:pt x="302" y="802"/>
                </a:lnTo>
                <a:lnTo>
                  <a:pt x="303" y="829"/>
                </a:lnTo>
                <a:lnTo>
                  <a:pt x="304" y="854"/>
                </a:lnTo>
                <a:lnTo>
                  <a:pt x="307" y="875"/>
                </a:lnTo>
                <a:lnTo>
                  <a:pt x="310" y="894"/>
                </a:lnTo>
                <a:lnTo>
                  <a:pt x="315" y="910"/>
                </a:lnTo>
                <a:lnTo>
                  <a:pt x="321" y="924"/>
                </a:lnTo>
                <a:lnTo>
                  <a:pt x="324" y="931"/>
                </a:lnTo>
                <a:lnTo>
                  <a:pt x="329" y="936"/>
                </a:lnTo>
                <a:lnTo>
                  <a:pt x="334" y="941"/>
                </a:lnTo>
                <a:lnTo>
                  <a:pt x="338" y="946"/>
                </a:lnTo>
                <a:lnTo>
                  <a:pt x="344" y="950"/>
                </a:lnTo>
                <a:lnTo>
                  <a:pt x="349" y="953"/>
                </a:lnTo>
                <a:lnTo>
                  <a:pt x="362" y="959"/>
                </a:lnTo>
                <a:lnTo>
                  <a:pt x="378" y="964"/>
                </a:lnTo>
                <a:lnTo>
                  <a:pt x="395" y="967"/>
                </a:lnTo>
                <a:lnTo>
                  <a:pt x="414" y="969"/>
                </a:lnTo>
                <a:lnTo>
                  <a:pt x="437" y="970"/>
                </a:lnTo>
                <a:lnTo>
                  <a:pt x="463" y="971"/>
                </a:lnTo>
                <a:lnTo>
                  <a:pt x="469" y="971"/>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76" name="Freeform 27">
            <a:extLst>
              <a:ext uri="{FF2B5EF4-FFF2-40B4-BE49-F238E27FC236}">
                <a16:creationId xmlns:a16="http://schemas.microsoft.com/office/drawing/2014/main" id="{568DB860-340B-C44E-BD54-38E675CD9CE2}"/>
              </a:ext>
            </a:extLst>
          </p:cNvPr>
          <p:cNvSpPr>
            <a:spLocks/>
          </p:cNvSpPr>
          <p:nvPr userDrawn="1"/>
        </p:nvSpPr>
        <p:spPr bwMode="auto">
          <a:xfrm>
            <a:off x="2760664" y="1158877"/>
            <a:ext cx="112713" cy="136525"/>
          </a:xfrm>
          <a:custGeom>
            <a:avLst/>
            <a:gdLst>
              <a:gd name="T0" fmla="*/ 26 w 859"/>
              <a:gd name="T1" fmla="*/ 998 h 1035"/>
              <a:gd name="T2" fmla="*/ 86 w 859"/>
              <a:gd name="T3" fmla="*/ 991 h 1035"/>
              <a:gd name="T4" fmla="*/ 121 w 859"/>
              <a:gd name="T5" fmla="*/ 977 h 1035"/>
              <a:gd name="T6" fmla="*/ 135 w 859"/>
              <a:gd name="T7" fmla="*/ 962 h 1035"/>
              <a:gd name="T8" fmla="*/ 150 w 859"/>
              <a:gd name="T9" fmla="*/ 937 h 1035"/>
              <a:gd name="T10" fmla="*/ 161 w 859"/>
              <a:gd name="T11" fmla="*/ 879 h 1035"/>
              <a:gd name="T12" fmla="*/ 164 w 859"/>
              <a:gd name="T13" fmla="*/ 797 h 1035"/>
              <a:gd name="T14" fmla="*/ 164 w 859"/>
              <a:gd name="T15" fmla="*/ 206 h 1035"/>
              <a:gd name="T16" fmla="*/ 159 w 859"/>
              <a:gd name="T17" fmla="*/ 132 h 1035"/>
              <a:gd name="T18" fmla="*/ 143 w 859"/>
              <a:gd name="T19" fmla="*/ 83 h 1035"/>
              <a:gd name="T20" fmla="*/ 131 w 859"/>
              <a:gd name="T21" fmla="*/ 67 h 1035"/>
              <a:gd name="T22" fmla="*/ 115 w 859"/>
              <a:gd name="T23" fmla="*/ 54 h 1035"/>
              <a:gd name="T24" fmla="*/ 69 w 859"/>
              <a:gd name="T25" fmla="*/ 40 h 1035"/>
              <a:gd name="T26" fmla="*/ 0 w 859"/>
              <a:gd name="T27" fmla="*/ 36 h 1035"/>
              <a:gd name="T28" fmla="*/ 802 w 859"/>
              <a:gd name="T29" fmla="*/ 227 h 1035"/>
              <a:gd name="T30" fmla="*/ 757 w 859"/>
              <a:gd name="T31" fmla="*/ 193 h 1035"/>
              <a:gd name="T32" fmla="*/ 739 w 859"/>
              <a:gd name="T33" fmla="*/ 135 h 1035"/>
              <a:gd name="T34" fmla="*/ 717 w 859"/>
              <a:gd name="T35" fmla="*/ 103 h 1035"/>
              <a:gd name="T36" fmla="*/ 684 w 859"/>
              <a:gd name="T37" fmla="*/ 81 h 1035"/>
              <a:gd name="T38" fmla="*/ 632 w 859"/>
              <a:gd name="T39" fmla="*/ 68 h 1035"/>
              <a:gd name="T40" fmla="*/ 558 w 859"/>
              <a:gd name="T41" fmla="*/ 63 h 1035"/>
              <a:gd name="T42" fmla="*/ 388 w 859"/>
              <a:gd name="T43" fmla="*/ 455 h 1035"/>
              <a:gd name="T44" fmla="*/ 446 w 859"/>
              <a:gd name="T45" fmla="*/ 454 h 1035"/>
              <a:gd name="T46" fmla="*/ 512 w 859"/>
              <a:gd name="T47" fmla="*/ 446 h 1035"/>
              <a:gd name="T48" fmla="*/ 547 w 859"/>
              <a:gd name="T49" fmla="*/ 431 h 1035"/>
              <a:gd name="T50" fmla="*/ 563 w 859"/>
              <a:gd name="T51" fmla="*/ 417 h 1035"/>
              <a:gd name="T52" fmla="*/ 577 w 859"/>
              <a:gd name="T53" fmla="*/ 393 h 1035"/>
              <a:gd name="T54" fmla="*/ 587 w 859"/>
              <a:gd name="T55" fmla="*/ 339 h 1035"/>
              <a:gd name="T56" fmla="*/ 625 w 859"/>
              <a:gd name="T57" fmla="*/ 289 h 1035"/>
              <a:gd name="T58" fmla="*/ 588 w 859"/>
              <a:gd name="T59" fmla="*/ 685 h 1035"/>
              <a:gd name="T60" fmla="*/ 585 w 859"/>
              <a:gd name="T61" fmla="*/ 616 h 1035"/>
              <a:gd name="T62" fmla="*/ 571 w 859"/>
              <a:gd name="T63" fmla="*/ 569 h 1035"/>
              <a:gd name="T64" fmla="*/ 559 w 859"/>
              <a:gd name="T65" fmla="*/ 552 h 1035"/>
              <a:gd name="T66" fmla="*/ 541 w 859"/>
              <a:gd name="T67" fmla="*/ 540 h 1035"/>
              <a:gd name="T68" fmla="*/ 492 w 859"/>
              <a:gd name="T69" fmla="*/ 525 h 1035"/>
              <a:gd name="T70" fmla="*/ 419 w 859"/>
              <a:gd name="T71" fmla="*/ 519 h 1035"/>
              <a:gd name="T72" fmla="*/ 302 w 859"/>
              <a:gd name="T73" fmla="*/ 771 h 1035"/>
              <a:gd name="T74" fmla="*/ 303 w 859"/>
              <a:gd name="T75" fmla="*/ 829 h 1035"/>
              <a:gd name="T76" fmla="*/ 311 w 859"/>
              <a:gd name="T77" fmla="*/ 894 h 1035"/>
              <a:gd name="T78" fmla="*/ 326 w 859"/>
              <a:gd name="T79" fmla="*/ 931 h 1035"/>
              <a:gd name="T80" fmla="*/ 340 w 859"/>
              <a:gd name="T81" fmla="*/ 946 h 1035"/>
              <a:gd name="T82" fmla="*/ 364 w 859"/>
              <a:gd name="T83" fmla="*/ 959 h 1035"/>
              <a:gd name="T84" fmla="*/ 417 w 859"/>
              <a:gd name="T85" fmla="*/ 969 h 1035"/>
              <a:gd name="T86" fmla="*/ 614 w 859"/>
              <a:gd name="T87" fmla="*/ 971 h 1035"/>
              <a:gd name="T88" fmla="*/ 668 w 859"/>
              <a:gd name="T89" fmla="*/ 969 h 1035"/>
              <a:gd name="T90" fmla="*/ 726 w 859"/>
              <a:gd name="T91" fmla="*/ 959 h 1035"/>
              <a:gd name="T92" fmla="*/ 765 w 859"/>
              <a:gd name="T93" fmla="*/ 940 h 1035"/>
              <a:gd name="T94" fmla="*/ 790 w 859"/>
              <a:gd name="T95" fmla="*/ 911 h 1035"/>
              <a:gd name="T96" fmla="*/ 806 w 859"/>
              <a:gd name="T97" fmla="*/ 872 h 1035"/>
              <a:gd name="T98" fmla="*/ 859 w 859"/>
              <a:gd name="T99" fmla="*/ 806 h 1035"/>
              <a:gd name="T100" fmla="*/ 0 w 859"/>
              <a:gd name="T101" fmla="*/ 999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59" h="1035">
                <a:moveTo>
                  <a:pt x="0" y="999"/>
                </a:moveTo>
                <a:lnTo>
                  <a:pt x="0" y="999"/>
                </a:lnTo>
                <a:lnTo>
                  <a:pt x="26" y="998"/>
                </a:lnTo>
                <a:lnTo>
                  <a:pt x="48" y="997"/>
                </a:lnTo>
                <a:lnTo>
                  <a:pt x="69" y="995"/>
                </a:lnTo>
                <a:lnTo>
                  <a:pt x="86" y="991"/>
                </a:lnTo>
                <a:lnTo>
                  <a:pt x="102" y="987"/>
                </a:lnTo>
                <a:lnTo>
                  <a:pt x="115" y="981"/>
                </a:lnTo>
                <a:lnTo>
                  <a:pt x="121" y="977"/>
                </a:lnTo>
                <a:lnTo>
                  <a:pt x="126" y="972"/>
                </a:lnTo>
                <a:lnTo>
                  <a:pt x="131" y="967"/>
                </a:lnTo>
                <a:lnTo>
                  <a:pt x="135" y="962"/>
                </a:lnTo>
                <a:lnTo>
                  <a:pt x="140" y="957"/>
                </a:lnTo>
                <a:lnTo>
                  <a:pt x="143" y="951"/>
                </a:lnTo>
                <a:lnTo>
                  <a:pt x="150" y="937"/>
                </a:lnTo>
                <a:lnTo>
                  <a:pt x="155" y="920"/>
                </a:lnTo>
                <a:lnTo>
                  <a:pt x="159" y="901"/>
                </a:lnTo>
                <a:lnTo>
                  <a:pt x="161" y="879"/>
                </a:lnTo>
                <a:lnTo>
                  <a:pt x="163" y="855"/>
                </a:lnTo>
                <a:lnTo>
                  <a:pt x="164" y="827"/>
                </a:lnTo>
                <a:lnTo>
                  <a:pt x="164" y="797"/>
                </a:lnTo>
                <a:lnTo>
                  <a:pt x="164" y="236"/>
                </a:lnTo>
                <a:lnTo>
                  <a:pt x="164" y="236"/>
                </a:lnTo>
                <a:lnTo>
                  <a:pt x="164" y="206"/>
                </a:lnTo>
                <a:lnTo>
                  <a:pt x="163" y="178"/>
                </a:lnTo>
                <a:lnTo>
                  <a:pt x="161" y="153"/>
                </a:lnTo>
                <a:lnTo>
                  <a:pt x="159" y="132"/>
                </a:lnTo>
                <a:lnTo>
                  <a:pt x="155" y="114"/>
                </a:lnTo>
                <a:lnTo>
                  <a:pt x="150" y="97"/>
                </a:lnTo>
                <a:lnTo>
                  <a:pt x="143" y="83"/>
                </a:lnTo>
                <a:lnTo>
                  <a:pt x="140" y="77"/>
                </a:lnTo>
                <a:lnTo>
                  <a:pt x="135" y="72"/>
                </a:lnTo>
                <a:lnTo>
                  <a:pt x="131" y="67"/>
                </a:lnTo>
                <a:lnTo>
                  <a:pt x="126" y="61"/>
                </a:lnTo>
                <a:lnTo>
                  <a:pt x="121" y="57"/>
                </a:lnTo>
                <a:lnTo>
                  <a:pt x="115" y="54"/>
                </a:lnTo>
                <a:lnTo>
                  <a:pt x="102" y="48"/>
                </a:lnTo>
                <a:lnTo>
                  <a:pt x="86" y="43"/>
                </a:lnTo>
                <a:lnTo>
                  <a:pt x="69" y="40"/>
                </a:lnTo>
                <a:lnTo>
                  <a:pt x="48" y="38"/>
                </a:lnTo>
                <a:lnTo>
                  <a:pt x="26" y="37"/>
                </a:lnTo>
                <a:lnTo>
                  <a:pt x="0" y="36"/>
                </a:lnTo>
                <a:lnTo>
                  <a:pt x="0" y="0"/>
                </a:lnTo>
                <a:lnTo>
                  <a:pt x="787" y="0"/>
                </a:lnTo>
                <a:lnTo>
                  <a:pt x="802" y="227"/>
                </a:lnTo>
                <a:lnTo>
                  <a:pt x="766" y="227"/>
                </a:lnTo>
                <a:lnTo>
                  <a:pt x="757" y="193"/>
                </a:lnTo>
                <a:lnTo>
                  <a:pt x="757" y="193"/>
                </a:lnTo>
                <a:lnTo>
                  <a:pt x="749" y="162"/>
                </a:lnTo>
                <a:lnTo>
                  <a:pt x="744" y="147"/>
                </a:lnTo>
                <a:lnTo>
                  <a:pt x="739" y="135"/>
                </a:lnTo>
                <a:lnTo>
                  <a:pt x="732" y="123"/>
                </a:lnTo>
                <a:lnTo>
                  <a:pt x="725" y="113"/>
                </a:lnTo>
                <a:lnTo>
                  <a:pt x="717" y="103"/>
                </a:lnTo>
                <a:lnTo>
                  <a:pt x="708" y="95"/>
                </a:lnTo>
                <a:lnTo>
                  <a:pt x="697" y="87"/>
                </a:lnTo>
                <a:lnTo>
                  <a:pt x="684" y="81"/>
                </a:lnTo>
                <a:lnTo>
                  <a:pt x="669" y="76"/>
                </a:lnTo>
                <a:lnTo>
                  <a:pt x="653" y="72"/>
                </a:lnTo>
                <a:lnTo>
                  <a:pt x="632" y="68"/>
                </a:lnTo>
                <a:lnTo>
                  <a:pt x="611" y="66"/>
                </a:lnTo>
                <a:lnTo>
                  <a:pt x="585" y="65"/>
                </a:lnTo>
                <a:lnTo>
                  <a:pt x="558" y="63"/>
                </a:lnTo>
                <a:lnTo>
                  <a:pt x="302" y="63"/>
                </a:lnTo>
                <a:lnTo>
                  <a:pt x="302" y="455"/>
                </a:lnTo>
                <a:lnTo>
                  <a:pt x="388" y="455"/>
                </a:lnTo>
                <a:lnTo>
                  <a:pt x="388" y="455"/>
                </a:lnTo>
                <a:lnTo>
                  <a:pt x="419" y="455"/>
                </a:lnTo>
                <a:lnTo>
                  <a:pt x="446" y="454"/>
                </a:lnTo>
                <a:lnTo>
                  <a:pt x="471" y="452"/>
                </a:lnTo>
                <a:lnTo>
                  <a:pt x="492" y="450"/>
                </a:lnTo>
                <a:lnTo>
                  <a:pt x="512" y="446"/>
                </a:lnTo>
                <a:lnTo>
                  <a:pt x="527" y="441"/>
                </a:lnTo>
                <a:lnTo>
                  <a:pt x="541" y="435"/>
                </a:lnTo>
                <a:lnTo>
                  <a:pt x="547" y="431"/>
                </a:lnTo>
                <a:lnTo>
                  <a:pt x="553" y="426"/>
                </a:lnTo>
                <a:lnTo>
                  <a:pt x="559" y="422"/>
                </a:lnTo>
                <a:lnTo>
                  <a:pt x="563" y="417"/>
                </a:lnTo>
                <a:lnTo>
                  <a:pt x="567" y="412"/>
                </a:lnTo>
                <a:lnTo>
                  <a:pt x="571" y="406"/>
                </a:lnTo>
                <a:lnTo>
                  <a:pt x="577" y="393"/>
                </a:lnTo>
                <a:lnTo>
                  <a:pt x="581" y="376"/>
                </a:lnTo>
                <a:lnTo>
                  <a:pt x="585" y="359"/>
                </a:lnTo>
                <a:lnTo>
                  <a:pt x="587" y="339"/>
                </a:lnTo>
                <a:lnTo>
                  <a:pt x="588" y="315"/>
                </a:lnTo>
                <a:lnTo>
                  <a:pt x="588" y="289"/>
                </a:lnTo>
                <a:lnTo>
                  <a:pt x="625" y="289"/>
                </a:lnTo>
                <a:lnTo>
                  <a:pt x="625" y="685"/>
                </a:lnTo>
                <a:lnTo>
                  <a:pt x="588" y="685"/>
                </a:lnTo>
                <a:lnTo>
                  <a:pt x="588" y="685"/>
                </a:lnTo>
                <a:lnTo>
                  <a:pt x="588" y="659"/>
                </a:lnTo>
                <a:lnTo>
                  <a:pt x="587" y="636"/>
                </a:lnTo>
                <a:lnTo>
                  <a:pt x="585" y="616"/>
                </a:lnTo>
                <a:lnTo>
                  <a:pt x="581" y="597"/>
                </a:lnTo>
                <a:lnTo>
                  <a:pt x="577" y="582"/>
                </a:lnTo>
                <a:lnTo>
                  <a:pt x="571" y="569"/>
                </a:lnTo>
                <a:lnTo>
                  <a:pt x="567" y="562"/>
                </a:lnTo>
                <a:lnTo>
                  <a:pt x="563" y="557"/>
                </a:lnTo>
                <a:lnTo>
                  <a:pt x="559" y="552"/>
                </a:lnTo>
                <a:lnTo>
                  <a:pt x="553" y="547"/>
                </a:lnTo>
                <a:lnTo>
                  <a:pt x="547" y="543"/>
                </a:lnTo>
                <a:lnTo>
                  <a:pt x="541" y="540"/>
                </a:lnTo>
                <a:lnTo>
                  <a:pt x="527" y="533"/>
                </a:lnTo>
                <a:lnTo>
                  <a:pt x="512" y="529"/>
                </a:lnTo>
                <a:lnTo>
                  <a:pt x="492" y="525"/>
                </a:lnTo>
                <a:lnTo>
                  <a:pt x="471" y="522"/>
                </a:lnTo>
                <a:lnTo>
                  <a:pt x="446" y="521"/>
                </a:lnTo>
                <a:lnTo>
                  <a:pt x="419" y="519"/>
                </a:lnTo>
                <a:lnTo>
                  <a:pt x="388" y="519"/>
                </a:lnTo>
                <a:lnTo>
                  <a:pt x="302" y="519"/>
                </a:lnTo>
                <a:lnTo>
                  <a:pt x="302" y="771"/>
                </a:lnTo>
                <a:lnTo>
                  <a:pt x="302" y="771"/>
                </a:lnTo>
                <a:lnTo>
                  <a:pt x="302" y="802"/>
                </a:lnTo>
                <a:lnTo>
                  <a:pt x="303" y="829"/>
                </a:lnTo>
                <a:lnTo>
                  <a:pt x="305" y="854"/>
                </a:lnTo>
                <a:lnTo>
                  <a:pt x="307" y="875"/>
                </a:lnTo>
                <a:lnTo>
                  <a:pt x="311" y="894"/>
                </a:lnTo>
                <a:lnTo>
                  <a:pt x="316" y="910"/>
                </a:lnTo>
                <a:lnTo>
                  <a:pt x="322" y="924"/>
                </a:lnTo>
                <a:lnTo>
                  <a:pt x="326" y="931"/>
                </a:lnTo>
                <a:lnTo>
                  <a:pt x="331" y="936"/>
                </a:lnTo>
                <a:lnTo>
                  <a:pt x="335" y="941"/>
                </a:lnTo>
                <a:lnTo>
                  <a:pt x="340" y="946"/>
                </a:lnTo>
                <a:lnTo>
                  <a:pt x="345" y="950"/>
                </a:lnTo>
                <a:lnTo>
                  <a:pt x="351" y="953"/>
                </a:lnTo>
                <a:lnTo>
                  <a:pt x="364" y="959"/>
                </a:lnTo>
                <a:lnTo>
                  <a:pt x="380" y="964"/>
                </a:lnTo>
                <a:lnTo>
                  <a:pt x="398" y="967"/>
                </a:lnTo>
                <a:lnTo>
                  <a:pt x="417" y="969"/>
                </a:lnTo>
                <a:lnTo>
                  <a:pt x="440" y="970"/>
                </a:lnTo>
                <a:lnTo>
                  <a:pt x="466" y="971"/>
                </a:lnTo>
                <a:lnTo>
                  <a:pt x="614" y="971"/>
                </a:lnTo>
                <a:lnTo>
                  <a:pt x="614" y="971"/>
                </a:lnTo>
                <a:lnTo>
                  <a:pt x="642" y="970"/>
                </a:lnTo>
                <a:lnTo>
                  <a:pt x="668" y="969"/>
                </a:lnTo>
                <a:lnTo>
                  <a:pt x="689" y="966"/>
                </a:lnTo>
                <a:lnTo>
                  <a:pt x="709" y="963"/>
                </a:lnTo>
                <a:lnTo>
                  <a:pt x="726" y="959"/>
                </a:lnTo>
                <a:lnTo>
                  <a:pt x="742" y="954"/>
                </a:lnTo>
                <a:lnTo>
                  <a:pt x="754" y="947"/>
                </a:lnTo>
                <a:lnTo>
                  <a:pt x="765" y="940"/>
                </a:lnTo>
                <a:lnTo>
                  <a:pt x="775" y="932"/>
                </a:lnTo>
                <a:lnTo>
                  <a:pt x="784" y="921"/>
                </a:lnTo>
                <a:lnTo>
                  <a:pt x="790" y="911"/>
                </a:lnTo>
                <a:lnTo>
                  <a:pt x="796" y="899"/>
                </a:lnTo>
                <a:lnTo>
                  <a:pt x="801" y="886"/>
                </a:lnTo>
                <a:lnTo>
                  <a:pt x="806" y="872"/>
                </a:lnTo>
                <a:lnTo>
                  <a:pt x="814" y="840"/>
                </a:lnTo>
                <a:lnTo>
                  <a:pt x="823" y="806"/>
                </a:lnTo>
                <a:lnTo>
                  <a:pt x="859" y="806"/>
                </a:lnTo>
                <a:lnTo>
                  <a:pt x="846" y="1035"/>
                </a:lnTo>
                <a:lnTo>
                  <a:pt x="0" y="1035"/>
                </a:lnTo>
                <a:lnTo>
                  <a:pt x="0" y="999"/>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77" name="Freeform 28">
            <a:extLst>
              <a:ext uri="{FF2B5EF4-FFF2-40B4-BE49-F238E27FC236}">
                <a16:creationId xmlns:a16="http://schemas.microsoft.com/office/drawing/2014/main" id="{BAD311A5-E6DF-034A-AC06-9BA8B657ADCF}"/>
              </a:ext>
            </a:extLst>
          </p:cNvPr>
          <p:cNvSpPr>
            <a:spLocks/>
          </p:cNvSpPr>
          <p:nvPr userDrawn="1"/>
        </p:nvSpPr>
        <p:spPr bwMode="auto">
          <a:xfrm>
            <a:off x="2903539" y="1158877"/>
            <a:ext cx="142875" cy="136525"/>
          </a:xfrm>
          <a:custGeom>
            <a:avLst/>
            <a:gdLst>
              <a:gd name="T0" fmla="*/ 304 w 1077"/>
              <a:gd name="T1" fmla="*/ 999 h 1035"/>
              <a:gd name="T2" fmla="*/ 352 w 1077"/>
              <a:gd name="T3" fmla="*/ 997 h 1035"/>
              <a:gd name="T4" fmla="*/ 391 w 1077"/>
              <a:gd name="T5" fmla="*/ 991 h 1035"/>
              <a:gd name="T6" fmla="*/ 419 w 1077"/>
              <a:gd name="T7" fmla="*/ 981 h 1035"/>
              <a:gd name="T8" fmla="*/ 431 w 1077"/>
              <a:gd name="T9" fmla="*/ 972 h 1035"/>
              <a:gd name="T10" fmla="*/ 441 w 1077"/>
              <a:gd name="T11" fmla="*/ 962 h 1035"/>
              <a:gd name="T12" fmla="*/ 449 w 1077"/>
              <a:gd name="T13" fmla="*/ 951 h 1035"/>
              <a:gd name="T14" fmla="*/ 460 w 1077"/>
              <a:gd name="T15" fmla="*/ 920 h 1035"/>
              <a:gd name="T16" fmla="*/ 466 w 1077"/>
              <a:gd name="T17" fmla="*/ 879 h 1035"/>
              <a:gd name="T18" fmla="*/ 469 w 1077"/>
              <a:gd name="T19" fmla="*/ 827 h 1035"/>
              <a:gd name="T20" fmla="*/ 469 w 1077"/>
              <a:gd name="T21" fmla="*/ 68 h 1035"/>
              <a:gd name="T22" fmla="*/ 246 w 1077"/>
              <a:gd name="T23" fmla="*/ 68 h 1035"/>
              <a:gd name="T24" fmla="*/ 192 w 1077"/>
              <a:gd name="T25" fmla="*/ 69 h 1035"/>
              <a:gd name="T26" fmla="*/ 150 w 1077"/>
              <a:gd name="T27" fmla="*/ 75 h 1035"/>
              <a:gd name="T28" fmla="*/ 119 w 1077"/>
              <a:gd name="T29" fmla="*/ 85 h 1035"/>
              <a:gd name="T30" fmla="*/ 95 w 1077"/>
              <a:gd name="T31" fmla="*/ 98 h 1035"/>
              <a:gd name="T32" fmla="*/ 78 w 1077"/>
              <a:gd name="T33" fmla="*/ 117 h 1035"/>
              <a:gd name="T34" fmla="*/ 65 w 1077"/>
              <a:gd name="T35" fmla="*/ 139 h 1035"/>
              <a:gd name="T36" fmla="*/ 54 w 1077"/>
              <a:gd name="T37" fmla="*/ 167 h 1035"/>
              <a:gd name="T38" fmla="*/ 37 w 1077"/>
              <a:gd name="T39" fmla="*/ 233 h 1035"/>
              <a:gd name="T40" fmla="*/ 15 w 1077"/>
              <a:gd name="T41" fmla="*/ 0 h 1035"/>
              <a:gd name="T42" fmla="*/ 1077 w 1077"/>
              <a:gd name="T43" fmla="*/ 233 h 1035"/>
              <a:gd name="T44" fmla="*/ 1032 w 1077"/>
              <a:gd name="T45" fmla="*/ 198 h 1035"/>
              <a:gd name="T46" fmla="*/ 1023 w 1077"/>
              <a:gd name="T47" fmla="*/ 167 h 1035"/>
              <a:gd name="T48" fmla="*/ 1013 w 1077"/>
              <a:gd name="T49" fmla="*/ 139 h 1035"/>
              <a:gd name="T50" fmla="*/ 1000 w 1077"/>
              <a:gd name="T51" fmla="*/ 117 h 1035"/>
              <a:gd name="T52" fmla="*/ 983 w 1077"/>
              <a:gd name="T53" fmla="*/ 98 h 1035"/>
              <a:gd name="T54" fmla="*/ 958 w 1077"/>
              <a:gd name="T55" fmla="*/ 85 h 1035"/>
              <a:gd name="T56" fmla="*/ 927 w 1077"/>
              <a:gd name="T57" fmla="*/ 75 h 1035"/>
              <a:gd name="T58" fmla="*/ 886 w 1077"/>
              <a:gd name="T59" fmla="*/ 69 h 1035"/>
              <a:gd name="T60" fmla="*/ 832 w 1077"/>
              <a:gd name="T61" fmla="*/ 68 h 1035"/>
              <a:gd name="T62" fmla="*/ 608 w 1077"/>
              <a:gd name="T63" fmla="*/ 797 h 1035"/>
              <a:gd name="T64" fmla="*/ 608 w 1077"/>
              <a:gd name="T65" fmla="*/ 827 h 1035"/>
              <a:gd name="T66" fmla="*/ 611 w 1077"/>
              <a:gd name="T67" fmla="*/ 879 h 1035"/>
              <a:gd name="T68" fmla="*/ 618 w 1077"/>
              <a:gd name="T69" fmla="*/ 920 h 1035"/>
              <a:gd name="T70" fmla="*/ 629 w 1077"/>
              <a:gd name="T71" fmla="*/ 951 h 1035"/>
              <a:gd name="T72" fmla="*/ 637 w 1077"/>
              <a:gd name="T73" fmla="*/ 962 h 1035"/>
              <a:gd name="T74" fmla="*/ 646 w 1077"/>
              <a:gd name="T75" fmla="*/ 972 h 1035"/>
              <a:gd name="T76" fmla="*/ 658 w 1077"/>
              <a:gd name="T77" fmla="*/ 981 h 1035"/>
              <a:gd name="T78" fmla="*/ 687 w 1077"/>
              <a:gd name="T79" fmla="*/ 991 h 1035"/>
              <a:gd name="T80" fmla="*/ 725 w 1077"/>
              <a:gd name="T81" fmla="*/ 997 h 1035"/>
              <a:gd name="T82" fmla="*/ 773 w 1077"/>
              <a:gd name="T83" fmla="*/ 999 h 1035"/>
              <a:gd name="T84" fmla="*/ 304 w 1077"/>
              <a:gd name="T85" fmla="*/ 1035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7" h="1035">
                <a:moveTo>
                  <a:pt x="304" y="999"/>
                </a:moveTo>
                <a:lnTo>
                  <a:pt x="304" y="999"/>
                </a:lnTo>
                <a:lnTo>
                  <a:pt x="329" y="998"/>
                </a:lnTo>
                <a:lnTo>
                  <a:pt x="352" y="997"/>
                </a:lnTo>
                <a:lnTo>
                  <a:pt x="372" y="995"/>
                </a:lnTo>
                <a:lnTo>
                  <a:pt x="391" y="991"/>
                </a:lnTo>
                <a:lnTo>
                  <a:pt x="406" y="987"/>
                </a:lnTo>
                <a:lnTo>
                  <a:pt x="419" y="981"/>
                </a:lnTo>
                <a:lnTo>
                  <a:pt x="426" y="977"/>
                </a:lnTo>
                <a:lnTo>
                  <a:pt x="431" y="972"/>
                </a:lnTo>
                <a:lnTo>
                  <a:pt x="436" y="967"/>
                </a:lnTo>
                <a:lnTo>
                  <a:pt x="441" y="962"/>
                </a:lnTo>
                <a:lnTo>
                  <a:pt x="445" y="957"/>
                </a:lnTo>
                <a:lnTo>
                  <a:pt x="449" y="951"/>
                </a:lnTo>
                <a:lnTo>
                  <a:pt x="455" y="937"/>
                </a:lnTo>
                <a:lnTo>
                  <a:pt x="460" y="920"/>
                </a:lnTo>
                <a:lnTo>
                  <a:pt x="464" y="901"/>
                </a:lnTo>
                <a:lnTo>
                  <a:pt x="466" y="879"/>
                </a:lnTo>
                <a:lnTo>
                  <a:pt x="468" y="855"/>
                </a:lnTo>
                <a:lnTo>
                  <a:pt x="469" y="827"/>
                </a:lnTo>
                <a:lnTo>
                  <a:pt x="469" y="797"/>
                </a:lnTo>
                <a:lnTo>
                  <a:pt x="469" y="68"/>
                </a:lnTo>
                <a:lnTo>
                  <a:pt x="246" y="68"/>
                </a:lnTo>
                <a:lnTo>
                  <a:pt x="246" y="68"/>
                </a:lnTo>
                <a:lnTo>
                  <a:pt x="217" y="68"/>
                </a:lnTo>
                <a:lnTo>
                  <a:pt x="192" y="69"/>
                </a:lnTo>
                <a:lnTo>
                  <a:pt x="170" y="72"/>
                </a:lnTo>
                <a:lnTo>
                  <a:pt x="150" y="75"/>
                </a:lnTo>
                <a:lnTo>
                  <a:pt x="133" y="79"/>
                </a:lnTo>
                <a:lnTo>
                  <a:pt x="119" y="85"/>
                </a:lnTo>
                <a:lnTo>
                  <a:pt x="105" y="91"/>
                </a:lnTo>
                <a:lnTo>
                  <a:pt x="95" y="98"/>
                </a:lnTo>
                <a:lnTo>
                  <a:pt x="85" y="106"/>
                </a:lnTo>
                <a:lnTo>
                  <a:pt x="78" y="117"/>
                </a:lnTo>
                <a:lnTo>
                  <a:pt x="71" y="127"/>
                </a:lnTo>
                <a:lnTo>
                  <a:pt x="65" y="139"/>
                </a:lnTo>
                <a:lnTo>
                  <a:pt x="59" y="152"/>
                </a:lnTo>
                <a:lnTo>
                  <a:pt x="54" y="167"/>
                </a:lnTo>
                <a:lnTo>
                  <a:pt x="45" y="198"/>
                </a:lnTo>
                <a:lnTo>
                  <a:pt x="37" y="233"/>
                </a:lnTo>
                <a:lnTo>
                  <a:pt x="0" y="233"/>
                </a:lnTo>
                <a:lnTo>
                  <a:pt x="15" y="0"/>
                </a:lnTo>
                <a:lnTo>
                  <a:pt x="1062" y="0"/>
                </a:lnTo>
                <a:lnTo>
                  <a:pt x="1077" y="233"/>
                </a:lnTo>
                <a:lnTo>
                  <a:pt x="1041" y="233"/>
                </a:lnTo>
                <a:lnTo>
                  <a:pt x="1032" y="198"/>
                </a:lnTo>
                <a:lnTo>
                  <a:pt x="1032" y="198"/>
                </a:lnTo>
                <a:lnTo>
                  <a:pt x="1023" y="167"/>
                </a:lnTo>
                <a:lnTo>
                  <a:pt x="1019" y="152"/>
                </a:lnTo>
                <a:lnTo>
                  <a:pt x="1013" y="139"/>
                </a:lnTo>
                <a:lnTo>
                  <a:pt x="1007" y="127"/>
                </a:lnTo>
                <a:lnTo>
                  <a:pt x="1000" y="117"/>
                </a:lnTo>
                <a:lnTo>
                  <a:pt x="992" y="106"/>
                </a:lnTo>
                <a:lnTo>
                  <a:pt x="983" y="98"/>
                </a:lnTo>
                <a:lnTo>
                  <a:pt x="972" y="91"/>
                </a:lnTo>
                <a:lnTo>
                  <a:pt x="958" y="85"/>
                </a:lnTo>
                <a:lnTo>
                  <a:pt x="944" y="79"/>
                </a:lnTo>
                <a:lnTo>
                  <a:pt x="927" y="75"/>
                </a:lnTo>
                <a:lnTo>
                  <a:pt x="907" y="72"/>
                </a:lnTo>
                <a:lnTo>
                  <a:pt x="886" y="69"/>
                </a:lnTo>
                <a:lnTo>
                  <a:pt x="860" y="68"/>
                </a:lnTo>
                <a:lnTo>
                  <a:pt x="832" y="68"/>
                </a:lnTo>
                <a:lnTo>
                  <a:pt x="608" y="68"/>
                </a:lnTo>
                <a:lnTo>
                  <a:pt x="608" y="797"/>
                </a:lnTo>
                <a:lnTo>
                  <a:pt x="608" y="797"/>
                </a:lnTo>
                <a:lnTo>
                  <a:pt x="608" y="827"/>
                </a:lnTo>
                <a:lnTo>
                  <a:pt x="609" y="855"/>
                </a:lnTo>
                <a:lnTo>
                  <a:pt x="611" y="879"/>
                </a:lnTo>
                <a:lnTo>
                  <a:pt x="614" y="901"/>
                </a:lnTo>
                <a:lnTo>
                  <a:pt x="618" y="920"/>
                </a:lnTo>
                <a:lnTo>
                  <a:pt x="622" y="937"/>
                </a:lnTo>
                <a:lnTo>
                  <a:pt x="629" y="951"/>
                </a:lnTo>
                <a:lnTo>
                  <a:pt x="633" y="957"/>
                </a:lnTo>
                <a:lnTo>
                  <a:pt x="637" y="962"/>
                </a:lnTo>
                <a:lnTo>
                  <a:pt x="641" y="967"/>
                </a:lnTo>
                <a:lnTo>
                  <a:pt x="646" y="972"/>
                </a:lnTo>
                <a:lnTo>
                  <a:pt x="651" y="977"/>
                </a:lnTo>
                <a:lnTo>
                  <a:pt x="658" y="981"/>
                </a:lnTo>
                <a:lnTo>
                  <a:pt x="672" y="987"/>
                </a:lnTo>
                <a:lnTo>
                  <a:pt x="687" y="991"/>
                </a:lnTo>
                <a:lnTo>
                  <a:pt x="705" y="995"/>
                </a:lnTo>
                <a:lnTo>
                  <a:pt x="725" y="997"/>
                </a:lnTo>
                <a:lnTo>
                  <a:pt x="748" y="998"/>
                </a:lnTo>
                <a:lnTo>
                  <a:pt x="773" y="999"/>
                </a:lnTo>
                <a:lnTo>
                  <a:pt x="773" y="1035"/>
                </a:lnTo>
                <a:lnTo>
                  <a:pt x="304" y="1035"/>
                </a:lnTo>
                <a:lnTo>
                  <a:pt x="304" y="999"/>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i-FI" sz="1800"/>
          </a:p>
        </p:txBody>
      </p:sp>
    </p:spTree>
    <p:extLst>
      <p:ext uri="{BB962C8B-B14F-4D97-AF65-F5344CB8AC3E}">
        <p14:creationId xmlns:p14="http://schemas.microsoft.com/office/powerpoint/2010/main" val="334667170"/>
      </p:ext>
    </p:extLst>
  </p:cSld>
  <p:clrMapOvr>
    <a:masterClrMapping/>
  </p:clrMapOvr>
  <p:extLst mod="1">
    <p:ext uri="{DCECCB84-F9BA-43D5-87BE-67443E8EF086}">
      <p15:sldGuideLst xmlns:p15="http://schemas.microsoft.com/office/powerpoint/2012/main">
        <p15:guide id="1" orient="horz" pos="162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Otsikko ja sisältö Sote-pieni">
    <p:spTree>
      <p:nvGrpSpPr>
        <p:cNvPr id="1" name=""/>
        <p:cNvGrpSpPr/>
        <p:nvPr/>
      </p:nvGrpSpPr>
      <p:grpSpPr>
        <a:xfrm>
          <a:off x="0" y="0"/>
          <a:ext cx="0" cy="0"/>
          <a:chOff x="0" y="0"/>
          <a:chExt cx="0" cy="0"/>
        </a:xfrm>
      </p:grpSpPr>
      <p:sp>
        <p:nvSpPr>
          <p:cNvPr id="10" name="Freeform 6"/>
          <p:cNvSpPr>
            <a:spLocks/>
          </p:cNvSpPr>
          <p:nvPr userDrawn="1"/>
        </p:nvSpPr>
        <p:spPr bwMode="auto">
          <a:xfrm>
            <a:off x="7975600" y="1"/>
            <a:ext cx="1168400" cy="1317625"/>
          </a:xfrm>
          <a:custGeom>
            <a:avLst/>
            <a:gdLst>
              <a:gd name="T0" fmla="*/ 548 w 736"/>
              <a:gd name="T1" fmla="*/ 713 h 830"/>
              <a:gd name="T2" fmla="*/ 548 w 736"/>
              <a:gd name="T3" fmla="*/ 713 h 830"/>
              <a:gd name="T4" fmla="*/ 594 w 736"/>
              <a:gd name="T5" fmla="*/ 745 h 830"/>
              <a:gd name="T6" fmla="*/ 640 w 736"/>
              <a:gd name="T7" fmla="*/ 775 h 830"/>
              <a:gd name="T8" fmla="*/ 688 w 736"/>
              <a:gd name="T9" fmla="*/ 803 h 830"/>
              <a:gd name="T10" fmla="*/ 736 w 736"/>
              <a:gd name="T11" fmla="*/ 830 h 830"/>
              <a:gd name="T12" fmla="*/ 736 w 736"/>
              <a:gd name="T13" fmla="*/ 0 h 830"/>
              <a:gd name="T14" fmla="*/ 0 w 736"/>
              <a:gd name="T15" fmla="*/ 0 h 830"/>
              <a:gd name="T16" fmla="*/ 0 w 736"/>
              <a:gd name="T17" fmla="*/ 0 h 830"/>
              <a:gd name="T18" fmla="*/ 22 w 736"/>
              <a:gd name="T19" fmla="*/ 55 h 830"/>
              <a:gd name="T20" fmla="*/ 46 w 736"/>
              <a:gd name="T21" fmla="*/ 108 h 830"/>
              <a:gd name="T22" fmla="*/ 72 w 736"/>
              <a:gd name="T23" fmla="*/ 161 h 830"/>
              <a:gd name="T24" fmla="*/ 100 w 736"/>
              <a:gd name="T25" fmla="*/ 211 h 830"/>
              <a:gd name="T26" fmla="*/ 129 w 736"/>
              <a:gd name="T27" fmla="*/ 261 h 830"/>
              <a:gd name="T28" fmla="*/ 160 w 736"/>
              <a:gd name="T29" fmla="*/ 309 h 830"/>
              <a:gd name="T30" fmla="*/ 192 w 736"/>
              <a:gd name="T31" fmla="*/ 357 h 830"/>
              <a:gd name="T32" fmla="*/ 226 w 736"/>
              <a:gd name="T33" fmla="*/ 402 h 830"/>
              <a:gd name="T34" fmla="*/ 262 w 736"/>
              <a:gd name="T35" fmla="*/ 445 h 830"/>
              <a:gd name="T36" fmla="*/ 298 w 736"/>
              <a:gd name="T37" fmla="*/ 488 h 830"/>
              <a:gd name="T38" fmla="*/ 338 w 736"/>
              <a:gd name="T39" fmla="*/ 530 h 830"/>
              <a:gd name="T40" fmla="*/ 377 w 736"/>
              <a:gd name="T41" fmla="*/ 569 h 830"/>
              <a:gd name="T42" fmla="*/ 418 w 736"/>
              <a:gd name="T43" fmla="*/ 607 h 830"/>
              <a:gd name="T44" fmla="*/ 460 w 736"/>
              <a:gd name="T45" fmla="*/ 645 h 830"/>
              <a:gd name="T46" fmla="*/ 503 w 736"/>
              <a:gd name="T47" fmla="*/ 679 h 830"/>
              <a:gd name="T48" fmla="*/ 548 w 736"/>
              <a:gd name="T49" fmla="*/ 713 h 830"/>
              <a:gd name="T50" fmla="*/ 548 w 736"/>
              <a:gd name="T51" fmla="*/ 713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830">
                <a:moveTo>
                  <a:pt x="548" y="713"/>
                </a:moveTo>
                <a:lnTo>
                  <a:pt x="548" y="713"/>
                </a:lnTo>
                <a:lnTo>
                  <a:pt x="594" y="745"/>
                </a:lnTo>
                <a:lnTo>
                  <a:pt x="640" y="775"/>
                </a:lnTo>
                <a:lnTo>
                  <a:pt x="688" y="803"/>
                </a:lnTo>
                <a:lnTo>
                  <a:pt x="736" y="830"/>
                </a:lnTo>
                <a:lnTo>
                  <a:pt x="736" y="0"/>
                </a:lnTo>
                <a:lnTo>
                  <a:pt x="0" y="0"/>
                </a:lnTo>
                <a:lnTo>
                  <a:pt x="0" y="0"/>
                </a:lnTo>
                <a:lnTo>
                  <a:pt x="22" y="55"/>
                </a:lnTo>
                <a:lnTo>
                  <a:pt x="46" y="108"/>
                </a:lnTo>
                <a:lnTo>
                  <a:pt x="72" y="161"/>
                </a:lnTo>
                <a:lnTo>
                  <a:pt x="100" y="211"/>
                </a:lnTo>
                <a:lnTo>
                  <a:pt x="129" y="261"/>
                </a:lnTo>
                <a:lnTo>
                  <a:pt x="160" y="309"/>
                </a:lnTo>
                <a:lnTo>
                  <a:pt x="192" y="357"/>
                </a:lnTo>
                <a:lnTo>
                  <a:pt x="226" y="402"/>
                </a:lnTo>
                <a:lnTo>
                  <a:pt x="262" y="445"/>
                </a:lnTo>
                <a:lnTo>
                  <a:pt x="298" y="488"/>
                </a:lnTo>
                <a:lnTo>
                  <a:pt x="338" y="530"/>
                </a:lnTo>
                <a:lnTo>
                  <a:pt x="377" y="569"/>
                </a:lnTo>
                <a:lnTo>
                  <a:pt x="418" y="607"/>
                </a:lnTo>
                <a:lnTo>
                  <a:pt x="460" y="645"/>
                </a:lnTo>
                <a:lnTo>
                  <a:pt x="503" y="679"/>
                </a:lnTo>
                <a:lnTo>
                  <a:pt x="548" y="713"/>
                </a:lnTo>
                <a:lnTo>
                  <a:pt x="548" y="713"/>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3" name="Sisällön paikkamerkki 2"/>
          <p:cNvSpPr>
            <a:spLocks noGrp="1"/>
          </p:cNvSpPr>
          <p:nvPr userDrawn="1">
            <p:ph idx="1"/>
          </p:nvPr>
        </p:nvSpPr>
        <p:spPr>
          <a:xfrm>
            <a:off x="432786" y="1410998"/>
            <a:ext cx="7523591" cy="3393001"/>
          </a:xfrm>
        </p:spPr>
        <p:txBody>
          <a:bodyPr/>
          <a:lstStyle>
            <a:lvl1pPr>
              <a:spcBef>
                <a:spcPts val="400"/>
              </a:spcBef>
              <a:defRPr/>
            </a:lvl1pPr>
            <a:lvl2pPr>
              <a:spcBef>
                <a:spcPts val="400"/>
              </a:spcBef>
              <a:defRPr/>
            </a:lvl2pPr>
            <a:lvl3pPr>
              <a:spcBef>
                <a:spcPts val="400"/>
              </a:spcBef>
              <a:defRPr/>
            </a:lvl3pPr>
            <a:lvl4pPr>
              <a:spcBef>
                <a:spcPts val="400"/>
              </a:spcBef>
              <a:defRPr/>
            </a:lvl4pPr>
            <a:lvl5pPr>
              <a:spcBef>
                <a:spcPts val="400"/>
              </a:spcBef>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8" name="Otsikko 7"/>
          <p:cNvSpPr>
            <a:spLocks noGrp="1"/>
          </p:cNvSpPr>
          <p:nvPr userDrawn="1">
            <p:ph type="title"/>
          </p:nvPr>
        </p:nvSpPr>
        <p:spPr>
          <a:xfrm>
            <a:off x="432786" y="235341"/>
            <a:ext cx="7523591" cy="974270"/>
          </a:xfrm>
        </p:spPr>
        <p:txBody>
          <a:bodyPr/>
          <a:lstStyle>
            <a:lvl1pPr>
              <a:defRPr>
                <a:solidFill>
                  <a:srgbClr val="595965"/>
                </a:solidFill>
              </a:defRPr>
            </a:lvl1pPr>
          </a:lstStyle>
          <a:p>
            <a:r>
              <a:rPr lang="en-US" dirty="0"/>
              <a:t>Click to edit Master title style</a:t>
            </a:r>
            <a:endParaRPr lang="fi-FI" dirty="0"/>
          </a:p>
        </p:txBody>
      </p:sp>
      <p:pic>
        <p:nvPicPr>
          <p:cNvPr id="5" name="Picture 4">
            <a:extLst>
              <a:ext uri="{FF2B5EF4-FFF2-40B4-BE49-F238E27FC236}">
                <a16:creationId xmlns:a16="http://schemas.microsoft.com/office/drawing/2014/main" id="{D7751274-4DD9-C549-B707-1280A51F7A5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24329" y="4699761"/>
            <a:ext cx="1439764" cy="274350"/>
          </a:xfrm>
          <a:prstGeom prst="rect">
            <a:avLst/>
          </a:prstGeom>
        </p:spPr>
      </p:pic>
      <p:pic>
        <p:nvPicPr>
          <p:cNvPr id="6" name="Picture 5">
            <a:extLst>
              <a:ext uri="{FF2B5EF4-FFF2-40B4-BE49-F238E27FC236}">
                <a16:creationId xmlns:a16="http://schemas.microsoft.com/office/drawing/2014/main" id="{4F591584-9FCE-5A4F-A985-77C337C3AB8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604449" y="235341"/>
            <a:ext cx="305495" cy="419486"/>
          </a:xfrm>
          <a:prstGeom prst="rect">
            <a:avLst/>
          </a:prstGeom>
        </p:spPr>
      </p:pic>
    </p:spTree>
    <p:extLst>
      <p:ext uri="{BB962C8B-B14F-4D97-AF65-F5344CB8AC3E}">
        <p14:creationId xmlns:p14="http://schemas.microsoft.com/office/powerpoint/2010/main" val="404516514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_Otsikko ja sisältö Sote ">
    <p:spTree>
      <p:nvGrpSpPr>
        <p:cNvPr id="1" name=""/>
        <p:cNvGrpSpPr/>
        <p:nvPr/>
      </p:nvGrpSpPr>
      <p:grpSpPr>
        <a:xfrm>
          <a:off x="0" y="0"/>
          <a:ext cx="0" cy="0"/>
          <a:chOff x="0" y="0"/>
          <a:chExt cx="0" cy="0"/>
        </a:xfrm>
      </p:grpSpPr>
      <p:grpSp>
        <p:nvGrpSpPr>
          <p:cNvPr id="11" name="Group 10"/>
          <p:cNvGrpSpPr/>
          <p:nvPr userDrawn="1"/>
        </p:nvGrpSpPr>
        <p:grpSpPr>
          <a:xfrm>
            <a:off x="7605714" y="1"/>
            <a:ext cx="1538287" cy="4587875"/>
            <a:chOff x="7631113" y="0"/>
            <a:chExt cx="1538287" cy="4587875"/>
          </a:xfrm>
        </p:grpSpPr>
        <p:sp>
          <p:nvSpPr>
            <p:cNvPr id="7" name="Freeform 5"/>
            <p:cNvSpPr>
              <a:spLocks/>
            </p:cNvSpPr>
            <p:nvPr userDrawn="1"/>
          </p:nvSpPr>
          <p:spPr bwMode="auto">
            <a:xfrm>
              <a:off x="7631113" y="0"/>
              <a:ext cx="1538287" cy="4587875"/>
            </a:xfrm>
            <a:custGeom>
              <a:avLst/>
              <a:gdLst>
                <a:gd name="T0" fmla="*/ 6 w 969"/>
                <a:gd name="T1" fmla="*/ 0 h 2890"/>
                <a:gd name="T2" fmla="*/ 6 w 969"/>
                <a:gd name="T3" fmla="*/ 0 h 2890"/>
                <a:gd name="T4" fmla="*/ 1 w 969"/>
                <a:gd name="T5" fmla="*/ 97 h 2890"/>
                <a:gd name="T6" fmla="*/ 0 w 969"/>
                <a:gd name="T7" fmla="*/ 193 h 2890"/>
                <a:gd name="T8" fmla="*/ 0 w 969"/>
                <a:gd name="T9" fmla="*/ 290 h 2890"/>
                <a:gd name="T10" fmla="*/ 2 w 969"/>
                <a:gd name="T11" fmla="*/ 386 h 2890"/>
                <a:gd name="T12" fmla="*/ 8 w 969"/>
                <a:gd name="T13" fmla="*/ 483 h 2890"/>
                <a:gd name="T14" fmla="*/ 15 w 969"/>
                <a:gd name="T15" fmla="*/ 577 h 2890"/>
                <a:gd name="T16" fmla="*/ 24 w 969"/>
                <a:gd name="T17" fmla="*/ 673 h 2890"/>
                <a:gd name="T18" fmla="*/ 36 w 969"/>
                <a:gd name="T19" fmla="*/ 767 h 2890"/>
                <a:gd name="T20" fmla="*/ 50 w 969"/>
                <a:gd name="T21" fmla="*/ 862 h 2890"/>
                <a:gd name="T22" fmla="*/ 65 w 969"/>
                <a:gd name="T23" fmla="*/ 956 h 2890"/>
                <a:gd name="T24" fmla="*/ 83 w 969"/>
                <a:gd name="T25" fmla="*/ 1048 h 2890"/>
                <a:gd name="T26" fmla="*/ 104 w 969"/>
                <a:gd name="T27" fmla="*/ 1142 h 2890"/>
                <a:gd name="T28" fmla="*/ 125 w 969"/>
                <a:gd name="T29" fmla="*/ 1234 h 2890"/>
                <a:gd name="T30" fmla="*/ 150 w 969"/>
                <a:gd name="T31" fmla="*/ 1325 h 2890"/>
                <a:gd name="T32" fmla="*/ 176 w 969"/>
                <a:gd name="T33" fmla="*/ 1416 h 2890"/>
                <a:gd name="T34" fmla="*/ 204 w 969"/>
                <a:gd name="T35" fmla="*/ 1506 h 2890"/>
                <a:gd name="T36" fmla="*/ 204 w 969"/>
                <a:gd name="T37" fmla="*/ 1506 h 2890"/>
                <a:gd name="T38" fmla="*/ 236 w 969"/>
                <a:gd name="T39" fmla="*/ 1604 h 2890"/>
                <a:gd name="T40" fmla="*/ 272 w 969"/>
                <a:gd name="T41" fmla="*/ 1700 h 2890"/>
                <a:gd name="T42" fmla="*/ 309 w 969"/>
                <a:gd name="T43" fmla="*/ 1794 h 2890"/>
                <a:gd name="T44" fmla="*/ 349 w 969"/>
                <a:gd name="T45" fmla="*/ 1888 h 2890"/>
                <a:gd name="T46" fmla="*/ 389 w 969"/>
                <a:gd name="T47" fmla="*/ 1979 h 2890"/>
                <a:gd name="T48" fmla="*/ 433 w 969"/>
                <a:gd name="T49" fmla="*/ 2069 h 2890"/>
                <a:gd name="T50" fmla="*/ 478 w 969"/>
                <a:gd name="T51" fmla="*/ 2158 h 2890"/>
                <a:gd name="T52" fmla="*/ 526 w 969"/>
                <a:gd name="T53" fmla="*/ 2245 h 2890"/>
                <a:gd name="T54" fmla="*/ 575 w 969"/>
                <a:gd name="T55" fmla="*/ 2331 h 2890"/>
                <a:gd name="T56" fmla="*/ 626 w 969"/>
                <a:gd name="T57" fmla="*/ 2415 h 2890"/>
                <a:gd name="T58" fmla="*/ 679 w 969"/>
                <a:gd name="T59" fmla="*/ 2499 h 2890"/>
                <a:gd name="T60" fmla="*/ 733 w 969"/>
                <a:gd name="T61" fmla="*/ 2580 h 2890"/>
                <a:gd name="T62" fmla="*/ 790 w 969"/>
                <a:gd name="T63" fmla="*/ 2659 h 2890"/>
                <a:gd name="T64" fmla="*/ 847 w 969"/>
                <a:gd name="T65" fmla="*/ 2738 h 2890"/>
                <a:gd name="T66" fmla="*/ 907 w 969"/>
                <a:gd name="T67" fmla="*/ 2815 h 2890"/>
                <a:gd name="T68" fmla="*/ 969 w 969"/>
                <a:gd name="T69" fmla="*/ 2890 h 2890"/>
                <a:gd name="T70" fmla="*/ 969 w 969"/>
                <a:gd name="T71" fmla="*/ 0 h 2890"/>
                <a:gd name="T72" fmla="*/ 6 w 969"/>
                <a:gd name="T73" fmla="*/ 0 h 2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69" h="2890">
                  <a:moveTo>
                    <a:pt x="6" y="0"/>
                  </a:moveTo>
                  <a:lnTo>
                    <a:pt x="6" y="0"/>
                  </a:lnTo>
                  <a:lnTo>
                    <a:pt x="1" y="97"/>
                  </a:lnTo>
                  <a:lnTo>
                    <a:pt x="0" y="193"/>
                  </a:lnTo>
                  <a:lnTo>
                    <a:pt x="0" y="290"/>
                  </a:lnTo>
                  <a:lnTo>
                    <a:pt x="2" y="386"/>
                  </a:lnTo>
                  <a:lnTo>
                    <a:pt x="8" y="483"/>
                  </a:lnTo>
                  <a:lnTo>
                    <a:pt x="15" y="577"/>
                  </a:lnTo>
                  <a:lnTo>
                    <a:pt x="24" y="673"/>
                  </a:lnTo>
                  <a:lnTo>
                    <a:pt x="36" y="767"/>
                  </a:lnTo>
                  <a:lnTo>
                    <a:pt x="50" y="862"/>
                  </a:lnTo>
                  <a:lnTo>
                    <a:pt x="65" y="956"/>
                  </a:lnTo>
                  <a:lnTo>
                    <a:pt x="83" y="1048"/>
                  </a:lnTo>
                  <a:lnTo>
                    <a:pt x="104" y="1142"/>
                  </a:lnTo>
                  <a:lnTo>
                    <a:pt x="125" y="1234"/>
                  </a:lnTo>
                  <a:lnTo>
                    <a:pt x="150" y="1325"/>
                  </a:lnTo>
                  <a:lnTo>
                    <a:pt x="176" y="1416"/>
                  </a:lnTo>
                  <a:lnTo>
                    <a:pt x="204" y="1506"/>
                  </a:lnTo>
                  <a:lnTo>
                    <a:pt x="204" y="1506"/>
                  </a:lnTo>
                  <a:lnTo>
                    <a:pt x="236" y="1604"/>
                  </a:lnTo>
                  <a:lnTo>
                    <a:pt x="272" y="1700"/>
                  </a:lnTo>
                  <a:lnTo>
                    <a:pt x="309" y="1794"/>
                  </a:lnTo>
                  <a:lnTo>
                    <a:pt x="349" y="1888"/>
                  </a:lnTo>
                  <a:lnTo>
                    <a:pt x="389" y="1979"/>
                  </a:lnTo>
                  <a:lnTo>
                    <a:pt x="433" y="2069"/>
                  </a:lnTo>
                  <a:lnTo>
                    <a:pt x="478" y="2158"/>
                  </a:lnTo>
                  <a:lnTo>
                    <a:pt x="526" y="2245"/>
                  </a:lnTo>
                  <a:lnTo>
                    <a:pt x="575" y="2331"/>
                  </a:lnTo>
                  <a:lnTo>
                    <a:pt x="626" y="2415"/>
                  </a:lnTo>
                  <a:lnTo>
                    <a:pt x="679" y="2499"/>
                  </a:lnTo>
                  <a:lnTo>
                    <a:pt x="733" y="2580"/>
                  </a:lnTo>
                  <a:lnTo>
                    <a:pt x="790" y="2659"/>
                  </a:lnTo>
                  <a:lnTo>
                    <a:pt x="847" y="2738"/>
                  </a:lnTo>
                  <a:lnTo>
                    <a:pt x="907" y="2815"/>
                  </a:lnTo>
                  <a:lnTo>
                    <a:pt x="969" y="2890"/>
                  </a:lnTo>
                  <a:lnTo>
                    <a:pt x="969" y="0"/>
                  </a:lnTo>
                  <a:lnTo>
                    <a:pt x="6"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dirty="0"/>
            </a:p>
          </p:txBody>
        </p:sp>
        <p:sp>
          <p:nvSpPr>
            <p:cNvPr id="10" name="Freeform 6"/>
            <p:cNvSpPr>
              <a:spLocks/>
            </p:cNvSpPr>
            <p:nvPr userDrawn="1"/>
          </p:nvSpPr>
          <p:spPr bwMode="auto">
            <a:xfrm>
              <a:off x="8001000" y="0"/>
              <a:ext cx="1168400" cy="1317625"/>
            </a:xfrm>
            <a:custGeom>
              <a:avLst/>
              <a:gdLst>
                <a:gd name="T0" fmla="*/ 548 w 736"/>
                <a:gd name="T1" fmla="*/ 713 h 830"/>
                <a:gd name="T2" fmla="*/ 548 w 736"/>
                <a:gd name="T3" fmla="*/ 713 h 830"/>
                <a:gd name="T4" fmla="*/ 594 w 736"/>
                <a:gd name="T5" fmla="*/ 745 h 830"/>
                <a:gd name="T6" fmla="*/ 640 w 736"/>
                <a:gd name="T7" fmla="*/ 775 h 830"/>
                <a:gd name="T8" fmla="*/ 688 w 736"/>
                <a:gd name="T9" fmla="*/ 803 h 830"/>
                <a:gd name="T10" fmla="*/ 736 w 736"/>
                <a:gd name="T11" fmla="*/ 830 h 830"/>
                <a:gd name="T12" fmla="*/ 736 w 736"/>
                <a:gd name="T13" fmla="*/ 0 h 830"/>
                <a:gd name="T14" fmla="*/ 0 w 736"/>
                <a:gd name="T15" fmla="*/ 0 h 830"/>
                <a:gd name="T16" fmla="*/ 0 w 736"/>
                <a:gd name="T17" fmla="*/ 0 h 830"/>
                <a:gd name="T18" fmla="*/ 22 w 736"/>
                <a:gd name="T19" fmla="*/ 55 h 830"/>
                <a:gd name="T20" fmla="*/ 46 w 736"/>
                <a:gd name="T21" fmla="*/ 108 h 830"/>
                <a:gd name="T22" fmla="*/ 72 w 736"/>
                <a:gd name="T23" fmla="*/ 161 h 830"/>
                <a:gd name="T24" fmla="*/ 100 w 736"/>
                <a:gd name="T25" fmla="*/ 211 h 830"/>
                <a:gd name="T26" fmla="*/ 129 w 736"/>
                <a:gd name="T27" fmla="*/ 261 h 830"/>
                <a:gd name="T28" fmla="*/ 160 w 736"/>
                <a:gd name="T29" fmla="*/ 309 h 830"/>
                <a:gd name="T30" fmla="*/ 192 w 736"/>
                <a:gd name="T31" fmla="*/ 357 h 830"/>
                <a:gd name="T32" fmla="*/ 226 w 736"/>
                <a:gd name="T33" fmla="*/ 402 h 830"/>
                <a:gd name="T34" fmla="*/ 262 w 736"/>
                <a:gd name="T35" fmla="*/ 445 h 830"/>
                <a:gd name="T36" fmla="*/ 298 w 736"/>
                <a:gd name="T37" fmla="*/ 488 h 830"/>
                <a:gd name="T38" fmla="*/ 338 w 736"/>
                <a:gd name="T39" fmla="*/ 530 h 830"/>
                <a:gd name="T40" fmla="*/ 377 w 736"/>
                <a:gd name="T41" fmla="*/ 569 h 830"/>
                <a:gd name="T42" fmla="*/ 418 w 736"/>
                <a:gd name="T43" fmla="*/ 607 h 830"/>
                <a:gd name="T44" fmla="*/ 460 w 736"/>
                <a:gd name="T45" fmla="*/ 645 h 830"/>
                <a:gd name="T46" fmla="*/ 503 w 736"/>
                <a:gd name="T47" fmla="*/ 679 h 830"/>
                <a:gd name="T48" fmla="*/ 548 w 736"/>
                <a:gd name="T49" fmla="*/ 713 h 830"/>
                <a:gd name="T50" fmla="*/ 548 w 736"/>
                <a:gd name="T51" fmla="*/ 713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830">
                  <a:moveTo>
                    <a:pt x="548" y="713"/>
                  </a:moveTo>
                  <a:lnTo>
                    <a:pt x="548" y="713"/>
                  </a:lnTo>
                  <a:lnTo>
                    <a:pt x="594" y="745"/>
                  </a:lnTo>
                  <a:lnTo>
                    <a:pt x="640" y="775"/>
                  </a:lnTo>
                  <a:lnTo>
                    <a:pt x="688" y="803"/>
                  </a:lnTo>
                  <a:lnTo>
                    <a:pt x="736" y="830"/>
                  </a:lnTo>
                  <a:lnTo>
                    <a:pt x="736" y="0"/>
                  </a:lnTo>
                  <a:lnTo>
                    <a:pt x="0" y="0"/>
                  </a:lnTo>
                  <a:lnTo>
                    <a:pt x="0" y="0"/>
                  </a:lnTo>
                  <a:lnTo>
                    <a:pt x="22" y="55"/>
                  </a:lnTo>
                  <a:lnTo>
                    <a:pt x="46" y="108"/>
                  </a:lnTo>
                  <a:lnTo>
                    <a:pt x="72" y="161"/>
                  </a:lnTo>
                  <a:lnTo>
                    <a:pt x="100" y="211"/>
                  </a:lnTo>
                  <a:lnTo>
                    <a:pt x="129" y="261"/>
                  </a:lnTo>
                  <a:lnTo>
                    <a:pt x="160" y="309"/>
                  </a:lnTo>
                  <a:lnTo>
                    <a:pt x="192" y="357"/>
                  </a:lnTo>
                  <a:lnTo>
                    <a:pt x="226" y="402"/>
                  </a:lnTo>
                  <a:lnTo>
                    <a:pt x="262" y="445"/>
                  </a:lnTo>
                  <a:lnTo>
                    <a:pt x="298" y="488"/>
                  </a:lnTo>
                  <a:lnTo>
                    <a:pt x="338" y="530"/>
                  </a:lnTo>
                  <a:lnTo>
                    <a:pt x="377" y="569"/>
                  </a:lnTo>
                  <a:lnTo>
                    <a:pt x="418" y="607"/>
                  </a:lnTo>
                  <a:lnTo>
                    <a:pt x="460" y="645"/>
                  </a:lnTo>
                  <a:lnTo>
                    <a:pt x="503" y="679"/>
                  </a:lnTo>
                  <a:lnTo>
                    <a:pt x="548" y="713"/>
                  </a:lnTo>
                  <a:lnTo>
                    <a:pt x="548" y="71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dirty="0"/>
            </a:p>
          </p:txBody>
        </p:sp>
      </p:grpSp>
      <p:sp>
        <p:nvSpPr>
          <p:cNvPr id="3" name="Sisällön paikkamerkki 2"/>
          <p:cNvSpPr>
            <a:spLocks noGrp="1"/>
          </p:cNvSpPr>
          <p:nvPr userDrawn="1">
            <p:ph idx="1"/>
          </p:nvPr>
        </p:nvSpPr>
        <p:spPr>
          <a:xfrm>
            <a:off x="432786" y="1410998"/>
            <a:ext cx="7523591" cy="3393001"/>
          </a:xfrm>
        </p:spPr>
        <p:txBody>
          <a:bodyPr/>
          <a:lstStyle>
            <a:lvl1pPr>
              <a:defRPr>
                <a:solidFill>
                  <a:srgbClr val="595965"/>
                </a:solidFill>
              </a:defRPr>
            </a:lvl1pPr>
            <a:lvl2pPr>
              <a:defRPr>
                <a:solidFill>
                  <a:srgbClr val="595965"/>
                </a:solidFill>
              </a:defRPr>
            </a:lvl2pPr>
            <a:lvl3pPr>
              <a:defRPr>
                <a:solidFill>
                  <a:srgbClr val="595965"/>
                </a:solidFill>
              </a:defRPr>
            </a:lvl3pPr>
            <a:lvl4pPr>
              <a:defRPr>
                <a:solidFill>
                  <a:srgbClr val="595965"/>
                </a:solidFill>
              </a:defRPr>
            </a:lvl4pPr>
            <a:lvl5pPr>
              <a:defRPr>
                <a:solidFill>
                  <a:srgbClr val="595965"/>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8" name="Otsikko 7"/>
          <p:cNvSpPr>
            <a:spLocks noGrp="1"/>
          </p:cNvSpPr>
          <p:nvPr userDrawn="1">
            <p:ph type="title"/>
          </p:nvPr>
        </p:nvSpPr>
        <p:spPr>
          <a:xfrm>
            <a:off x="432786" y="235341"/>
            <a:ext cx="7523591" cy="974270"/>
          </a:xfrm>
        </p:spPr>
        <p:txBody>
          <a:bodyPr/>
          <a:lstStyle>
            <a:lvl1pPr>
              <a:defRPr>
                <a:solidFill>
                  <a:srgbClr val="595965"/>
                </a:solidFill>
              </a:defRPr>
            </a:lvl1pPr>
          </a:lstStyle>
          <a:p>
            <a:r>
              <a:rPr lang="en-US" dirty="0"/>
              <a:t>Click to edit Master title style</a:t>
            </a:r>
            <a:endParaRPr lang="fi-FI" dirty="0"/>
          </a:p>
        </p:txBody>
      </p:sp>
      <p:pic>
        <p:nvPicPr>
          <p:cNvPr id="4" name="Picture 3">
            <a:extLst>
              <a:ext uri="{FF2B5EF4-FFF2-40B4-BE49-F238E27FC236}">
                <a16:creationId xmlns:a16="http://schemas.microsoft.com/office/drawing/2014/main" id="{754219E2-E925-5346-9128-1CC5851983C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24329" y="4699761"/>
            <a:ext cx="1439764" cy="274350"/>
          </a:xfrm>
          <a:prstGeom prst="rect">
            <a:avLst/>
          </a:prstGeom>
        </p:spPr>
      </p:pic>
      <p:pic>
        <p:nvPicPr>
          <p:cNvPr id="9" name="Picture 8">
            <a:extLst>
              <a:ext uri="{FF2B5EF4-FFF2-40B4-BE49-F238E27FC236}">
                <a16:creationId xmlns:a16="http://schemas.microsoft.com/office/drawing/2014/main" id="{6A34F243-EB61-D748-AAD4-903B490D52C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604449" y="235341"/>
            <a:ext cx="305495" cy="419486"/>
          </a:xfrm>
          <a:prstGeom prst="rect">
            <a:avLst/>
          </a:prstGeom>
        </p:spPr>
      </p:pic>
    </p:spTree>
    <p:extLst>
      <p:ext uri="{BB962C8B-B14F-4D97-AF65-F5344CB8AC3E}">
        <p14:creationId xmlns:p14="http://schemas.microsoft.com/office/powerpoint/2010/main" val="258779856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_Otsikko ja sisältö Sote">
    <p:spTree>
      <p:nvGrpSpPr>
        <p:cNvPr id="1" name=""/>
        <p:cNvGrpSpPr/>
        <p:nvPr/>
      </p:nvGrpSpPr>
      <p:grpSpPr>
        <a:xfrm>
          <a:off x="0" y="0"/>
          <a:ext cx="0" cy="0"/>
          <a:chOff x="0" y="0"/>
          <a:chExt cx="0" cy="0"/>
        </a:xfrm>
      </p:grpSpPr>
      <p:grpSp>
        <p:nvGrpSpPr>
          <p:cNvPr id="42" name="Group 41"/>
          <p:cNvGrpSpPr/>
          <p:nvPr userDrawn="1"/>
        </p:nvGrpSpPr>
        <p:grpSpPr>
          <a:xfrm>
            <a:off x="6788151" y="1"/>
            <a:ext cx="2355850" cy="5143501"/>
            <a:chOff x="6788150" y="0"/>
            <a:chExt cx="2355850" cy="5143501"/>
          </a:xfrm>
        </p:grpSpPr>
        <p:sp>
          <p:nvSpPr>
            <p:cNvPr id="31" name="Freeform 22"/>
            <p:cNvSpPr>
              <a:spLocks/>
            </p:cNvSpPr>
            <p:nvPr userDrawn="1"/>
          </p:nvSpPr>
          <p:spPr bwMode="auto">
            <a:xfrm>
              <a:off x="7845425" y="4103688"/>
              <a:ext cx="1298575" cy="1039813"/>
            </a:xfrm>
            <a:custGeom>
              <a:avLst/>
              <a:gdLst>
                <a:gd name="T0" fmla="*/ 482 w 818"/>
                <a:gd name="T1" fmla="*/ 0 h 655"/>
                <a:gd name="T2" fmla="*/ 483 w 818"/>
                <a:gd name="T3" fmla="*/ 0 h 655"/>
                <a:gd name="T4" fmla="*/ 483 w 818"/>
                <a:gd name="T5" fmla="*/ 0 h 655"/>
                <a:gd name="T6" fmla="*/ 482 w 818"/>
                <a:gd name="T7" fmla="*/ 0 h 655"/>
                <a:gd name="T8" fmla="*/ 482 w 818"/>
                <a:gd name="T9" fmla="*/ 0 h 655"/>
                <a:gd name="T10" fmla="*/ 482 w 818"/>
                <a:gd name="T11" fmla="*/ 0 h 655"/>
                <a:gd name="T12" fmla="*/ 442 w 818"/>
                <a:gd name="T13" fmla="*/ 40 h 655"/>
                <a:gd name="T14" fmla="*/ 404 w 818"/>
                <a:gd name="T15" fmla="*/ 79 h 655"/>
                <a:gd name="T16" fmla="*/ 369 w 818"/>
                <a:gd name="T17" fmla="*/ 118 h 655"/>
                <a:gd name="T18" fmla="*/ 334 w 818"/>
                <a:gd name="T19" fmla="*/ 156 h 655"/>
                <a:gd name="T20" fmla="*/ 303 w 818"/>
                <a:gd name="T21" fmla="*/ 194 h 655"/>
                <a:gd name="T22" fmla="*/ 271 w 818"/>
                <a:gd name="T23" fmla="*/ 232 h 655"/>
                <a:gd name="T24" fmla="*/ 242 w 818"/>
                <a:gd name="T25" fmla="*/ 269 h 655"/>
                <a:gd name="T26" fmla="*/ 214 w 818"/>
                <a:gd name="T27" fmla="*/ 309 h 655"/>
                <a:gd name="T28" fmla="*/ 186 w 818"/>
                <a:gd name="T29" fmla="*/ 347 h 655"/>
                <a:gd name="T30" fmla="*/ 159 w 818"/>
                <a:gd name="T31" fmla="*/ 387 h 655"/>
                <a:gd name="T32" fmla="*/ 132 w 818"/>
                <a:gd name="T33" fmla="*/ 428 h 655"/>
                <a:gd name="T34" fmla="*/ 106 w 818"/>
                <a:gd name="T35" fmla="*/ 469 h 655"/>
                <a:gd name="T36" fmla="*/ 80 w 818"/>
                <a:gd name="T37" fmla="*/ 513 h 655"/>
                <a:gd name="T38" fmla="*/ 53 w 818"/>
                <a:gd name="T39" fmla="*/ 558 h 655"/>
                <a:gd name="T40" fmla="*/ 0 w 818"/>
                <a:gd name="T41" fmla="*/ 655 h 655"/>
                <a:gd name="T42" fmla="*/ 818 w 818"/>
                <a:gd name="T43" fmla="*/ 655 h 655"/>
                <a:gd name="T44" fmla="*/ 818 w 818"/>
                <a:gd name="T45" fmla="*/ 163 h 655"/>
                <a:gd name="T46" fmla="*/ 818 w 818"/>
                <a:gd name="T47" fmla="*/ 163 h 655"/>
                <a:gd name="T48" fmla="*/ 795 w 818"/>
                <a:gd name="T49" fmla="*/ 157 h 655"/>
                <a:gd name="T50" fmla="*/ 772 w 818"/>
                <a:gd name="T51" fmla="*/ 148 h 655"/>
                <a:gd name="T52" fmla="*/ 746 w 818"/>
                <a:gd name="T53" fmla="*/ 136 h 655"/>
                <a:gd name="T54" fmla="*/ 719 w 818"/>
                <a:gd name="T55" fmla="*/ 125 h 655"/>
                <a:gd name="T56" fmla="*/ 663 w 818"/>
                <a:gd name="T57" fmla="*/ 98 h 655"/>
                <a:gd name="T58" fmla="*/ 609 w 818"/>
                <a:gd name="T59" fmla="*/ 70 h 655"/>
                <a:gd name="T60" fmla="*/ 559 w 818"/>
                <a:gd name="T61" fmla="*/ 43 h 655"/>
                <a:gd name="T62" fmla="*/ 519 w 818"/>
                <a:gd name="T63" fmla="*/ 22 h 655"/>
                <a:gd name="T64" fmla="*/ 482 w 818"/>
                <a:gd name="T65" fmla="*/ 0 h 655"/>
                <a:gd name="T66" fmla="*/ 482 w 818"/>
                <a:gd name="T67" fmla="*/ 0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18" h="655">
                  <a:moveTo>
                    <a:pt x="482" y="0"/>
                  </a:moveTo>
                  <a:lnTo>
                    <a:pt x="483" y="0"/>
                  </a:lnTo>
                  <a:lnTo>
                    <a:pt x="483" y="0"/>
                  </a:lnTo>
                  <a:lnTo>
                    <a:pt x="482" y="0"/>
                  </a:lnTo>
                  <a:lnTo>
                    <a:pt x="482" y="0"/>
                  </a:lnTo>
                  <a:lnTo>
                    <a:pt x="482" y="0"/>
                  </a:lnTo>
                  <a:lnTo>
                    <a:pt x="442" y="40"/>
                  </a:lnTo>
                  <a:lnTo>
                    <a:pt x="404" y="79"/>
                  </a:lnTo>
                  <a:lnTo>
                    <a:pt x="369" y="118"/>
                  </a:lnTo>
                  <a:lnTo>
                    <a:pt x="334" y="156"/>
                  </a:lnTo>
                  <a:lnTo>
                    <a:pt x="303" y="194"/>
                  </a:lnTo>
                  <a:lnTo>
                    <a:pt x="271" y="232"/>
                  </a:lnTo>
                  <a:lnTo>
                    <a:pt x="242" y="269"/>
                  </a:lnTo>
                  <a:lnTo>
                    <a:pt x="214" y="309"/>
                  </a:lnTo>
                  <a:lnTo>
                    <a:pt x="186" y="347"/>
                  </a:lnTo>
                  <a:lnTo>
                    <a:pt x="159" y="387"/>
                  </a:lnTo>
                  <a:lnTo>
                    <a:pt x="132" y="428"/>
                  </a:lnTo>
                  <a:lnTo>
                    <a:pt x="106" y="469"/>
                  </a:lnTo>
                  <a:lnTo>
                    <a:pt x="80" y="513"/>
                  </a:lnTo>
                  <a:lnTo>
                    <a:pt x="53" y="558"/>
                  </a:lnTo>
                  <a:lnTo>
                    <a:pt x="0" y="655"/>
                  </a:lnTo>
                  <a:lnTo>
                    <a:pt x="818" y="655"/>
                  </a:lnTo>
                  <a:lnTo>
                    <a:pt x="818" y="163"/>
                  </a:lnTo>
                  <a:lnTo>
                    <a:pt x="818" y="163"/>
                  </a:lnTo>
                  <a:lnTo>
                    <a:pt x="795" y="157"/>
                  </a:lnTo>
                  <a:lnTo>
                    <a:pt x="772" y="148"/>
                  </a:lnTo>
                  <a:lnTo>
                    <a:pt x="746" y="136"/>
                  </a:lnTo>
                  <a:lnTo>
                    <a:pt x="719" y="125"/>
                  </a:lnTo>
                  <a:lnTo>
                    <a:pt x="663" y="98"/>
                  </a:lnTo>
                  <a:lnTo>
                    <a:pt x="609" y="70"/>
                  </a:lnTo>
                  <a:lnTo>
                    <a:pt x="559" y="43"/>
                  </a:lnTo>
                  <a:lnTo>
                    <a:pt x="519" y="22"/>
                  </a:lnTo>
                  <a:lnTo>
                    <a:pt x="482" y="0"/>
                  </a:lnTo>
                  <a:lnTo>
                    <a:pt x="482" y="0"/>
                  </a:lnTo>
                  <a:close/>
                </a:path>
              </a:pathLst>
            </a:custGeom>
            <a:solidFill>
              <a:schemeClr val="tx2">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2" name="Freeform 23"/>
            <p:cNvSpPr>
              <a:spLocks/>
            </p:cNvSpPr>
            <p:nvPr userDrawn="1"/>
          </p:nvSpPr>
          <p:spPr bwMode="auto">
            <a:xfrm>
              <a:off x="6788150" y="0"/>
              <a:ext cx="1822450" cy="4084638"/>
            </a:xfrm>
            <a:custGeom>
              <a:avLst/>
              <a:gdLst>
                <a:gd name="T0" fmla="*/ 1148 w 1148"/>
                <a:gd name="T1" fmla="*/ 864 h 2573"/>
                <a:gd name="T2" fmla="*/ 1148 w 1148"/>
                <a:gd name="T3" fmla="*/ 864 h 2573"/>
                <a:gd name="T4" fmla="*/ 1148 w 1148"/>
                <a:gd name="T5" fmla="*/ 864 h 2573"/>
                <a:gd name="T6" fmla="*/ 104 w 1148"/>
                <a:gd name="T7" fmla="*/ 0 h 2573"/>
                <a:gd name="T8" fmla="*/ 19 w 1148"/>
                <a:gd name="T9" fmla="*/ 0 h 2573"/>
                <a:gd name="T10" fmla="*/ 11 w 1148"/>
                <a:gd name="T11" fmla="*/ 77 h 2573"/>
                <a:gd name="T12" fmla="*/ 1 w 1148"/>
                <a:gd name="T13" fmla="*/ 230 h 2573"/>
                <a:gd name="T14" fmla="*/ 0 w 1148"/>
                <a:gd name="T15" fmla="*/ 381 h 2573"/>
                <a:gd name="T16" fmla="*/ 7 w 1148"/>
                <a:gd name="T17" fmla="*/ 533 h 2573"/>
                <a:gd name="T18" fmla="*/ 21 w 1148"/>
                <a:gd name="T19" fmla="*/ 683 h 2573"/>
                <a:gd name="T20" fmla="*/ 45 w 1148"/>
                <a:gd name="T21" fmla="*/ 831 h 2573"/>
                <a:gd name="T22" fmla="*/ 75 w 1148"/>
                <a:gd name="T23" fmla="*/ 978 h 2573"/>
                <a:gd name="T24" fmla="*/ 115 w 1148"/>
                <a:gd name="T25" fmla="*/ 1122 h 2573"/>
                <a:gd name="T26" fmla="*/ 136 w 1148"/>
                <a:gd name="T27" fmla="*/ 1193 h 2573"/>
                <a:gd name="T28" fmla="*/ 173 w 1148"/>
                <a:gd name="T29" fmla="*/ 1299 h 2573"/>
                <a:gd name="T30" fmla="*/ 214 w 1148"/>
                <a:gd name="T31" fmla="*/ 1404 h 2573"/>
                <a:gd name="T32" fmla="*/ 259 w 1148"/>
                <a:gd name="T33" fmla="*/ 1505 h 2573"/>
                <a:gd name="T34" fmla="*/ 307 w 1148"/>
                <a:gd name="T35" fmla="*/ 1604 h 2573"/>
                <a:gd name="T36" fmla="*/ 359 w 1148"/>
                <a:gd name="T37" fmla="*/ 1701 h 2573"/>
                <a:gd name="T38" fmla="*/ 414 w 1148"/>
                <a:gd name="T39" fmla="*/ 1794 h 2573"/>
                <a:gd name="T40" fmla="*/ 473 w 1148"/>
                <a:gd name="T41" fmla="*/ 1886 h 2573"/>
                <a:gd name="T42" fmla="*/ 534 w 1148"/>
                <a:gd name="T43" fmla="*/ 1973 h 2573"/>
                <a:gd name="T44" fmla="*/ 600 w 1148"/>
                <a:gd name="T45" fmla="*/ 2059 h 2573"/>
                <a:gd name="T46" fmla="*/ 667 w 1148"/>
                <a:gd name="T47" fmla="*/ 2142 h 2573"/>
                <a:gd name="T48" fmla="*/ 738 w 1148"/>
                <a:gd name="T49" fmla="*/ 2221 h 2573"/>
                <a:gd name="T50" fmla="*/ 811 w 1148"/>
                <a:gd name="T51" fmla="*/ 2297 h 2573"/>
                <a:gd name="T52" fmla="*/ 888 w 1148"/>
                <a:gd name="T53" fmla="*/ 2372 h 2573"/>
                <a:gd name="T54" fmla="*/ 966 w 1148"/>
                <a:gd name="T55" fmla="*/ 2441 h 2573"/>
                <a:gd name="T56" fmla="*/ 1049 w 1148"/>
                <a:gd name="T57" fmla="*/ 2509 h 2573"/>
                <a:gd name="T58" fmla="*/ 1132 w 1148"/>
                <a:gd name="T59" fmla="*/ 2573 h 2573"/>
                <a:gd name="T60" fmla="*/ 1131 w 1148"/>
                <a:gd name="T61" fmla="*/ 2553 h 2573"/>
                <a:gd name="T62" fmla="*/ 1131 w 1148"/>
                <a:gd name="T63" fmla="*/ 2304 h 2573"/>
                <a:gd name="T64" fmla="*/ 1144 w 1148"/>
                <a:gd name="T65" fmla="*/ 1131 h 2573"/>
                <a:gd name="T66" fmla="*/ 1148 w 1148"/>
                <a:gd name="T67" fmla="*/ 864 h 2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48" h="2573">
                  <a:moveTo>
                    <a:pt x="1148" y="864"/>
                  </a:moveTo>
                  <a:lnTo>
                    <a:pt x="1148" y="864"/>
                  </a:lnTo>
                  <a:lnTo>
                    <a:pt x="1148" y="864"/>
                  </a:lnTo>
                  <a:lnTo>
                    <a:pt x="1148" y="864"/>
                  </a:lnTo>
                  <a:lnTo>
                    <a:pt x="1148" y="864"/>
                  </a:lnTo>
                  <a:lnTo>
                    <a:pt x="1148" y="864"/>
                  </a:lnTo>
                  <a:lnTo>
                    <a:pt x="663" y="0"/>
                  </a:lnTo>
                  <a:lnTo>
                    <a:pt x="104" y="0"/>
                  </a:lnTo>
                  <a:lnTo>
                    <a:pt x="86" y="0"/>
                  </a:lnTo>
                  <a:lnTo>
                    <a:pt x="19" y="0"/>
                  </a:lnTo>
                  <a:lnTo>
                    <a:pt x="19" y="0"/>
                  </a:lnTo>
                  <a:lnTo>
                    <a:pt x="11" y="77"/>
                  </a:lnTo>
                  <a:lnTo>
                    <a:pt x="6" y="153"/>
                  </a:lnTo>
                  <a:lnTo>
                    <a:pt x="1" y="230"/>
                  </a:lnTo>
                  <a:lnTo>
                    <a:pt x="0" y="306"/>
                  </a:lnTo>
                  <a:lnTo>
                    <a:pt x="0" y="381"/>
                  </a:lnTo>
                  <a:lnTo>
                    <a:pt x="2" y="458"/>
                  </a:lnTo>
                  <a:lnTo>
                    <a:pt x="7" y="533"/>
                  </a:lnTo>
                  <a:lnTo>
                    <a:pt x="14" y="609"/>
                  </a:lnTo>
                  <a:lnTo>
                    <a:pt x="21" y="683"/>
                  </a:lnTo>
                  <a:lnTo>
                    <a:pt x="33" y="757"/>
                  </a:lnTo>
                  <a:lnTo>
                    <a:pt x="45" y="831"/>
                  </a:lnTo>
                  <a:lnTo>
                    <a:pt x="60" y="905"/>
                  </a:lnTo>
                  <a:lnTo>
                    <a:pt x="75" y="978"/>
                  </a:lnTo>
                  <a:lnTo>
                    <a:pt x="95" y="1050"/>
                  </a:lnTo>
                  <a:lnTo>
                    <a:pt x="115" y="1122"/>
                  </a:lnTo>
                  <a:lnTo>
                    <a:pt x="136" y="1193"/>
                  </a:lnTo>
                  <a:lnTo>
                    <a:pt x="136" y="1193"/>
                  </a:lnTo>
                  <a:lnTo>
                    <a:pt x="154" y="1247"/>
                  </a:lnTo>
                  <a:lnTo>
                    <a:pt x="173" y="1299"/>
                  </a:lnTo>
                  <a:lnTo>
                    <a:pt x="194" y="1351"/>
                  </a:lnTo>
                  <a:lnTo>
                    <a:pt x="214" y="1404"/>
                  </a:lnTo>
                  <a:lnTo>
                    <a:pt x="236" y="1455"/>
                  </a:lnTo>
                  <a:lnTo>
                    <a:pt x="259" y="1505"/>
                  </a:lnTo>
                  <a:lnTo>
                    <a:pt x="282" y="1555"/>
                  </a:lnTo>
                  <a:lnTo>
                    <a:pt x="307" y="1604"/>
                  </a:lnTo>
                  <a:lnTo>
                    <a:pt x="333" y="1653"/>
                  </a:lnTo>
                  <a:lnTo>
                    <a:pt x="359" y="1701"/>
                  </a:lnTo>
                  <a:lnTo>
                    <a:pt x="386" y="1748"/>
                  </a:lnTo>
                  <a:lnTo>
                    <a:pt x="414" y="1794"/>
                  </a:lnTo>
                  <a:lnTo>
                    <a:pt x="443" y="1841"/>
                  </a:lnTo>
                  <a:lnTo>
                    <a:pt x="473" y="1886"/>
                  </a:lnTo>
                  <a:lnTo>
                    <a:pt x="503" y="1929"/>
                  </a:lnTo>
                  <a:lnTo>
                    <a:pt x="534" y="1973"/>
                  </a:lnTo>
                  <a:lnTo>
                    <a:pt x="567" y="2017"/>
                  </a:lnTo>
                  <a:lnTo>
                    <a:pt x="600" y="2059"/>
                  </a:lnTo>
                  <a:lnTo>
                    <a:pt x="633" y="2100"/>
                  </a:lnTo>
                  <a:lnTo>
                    <a:pt x="667" y="2142"/>
                  </a:lnTo>
                  <a:lnTo>
                    <a:pt x="702" y="2181"/>
                  </a:lnTo>
                  <a:lnTo>
                    <a:pt x="738" y="2221"/>
                  </a:lnTo>
                  <a:lnTo>
                    <a:pt x="774" y="2260"/>
                  </a:lnTo>
                  <a:lnTo>
                    <a:pt x="811" y="2297"/>
                  </a:lnTo>
                  <a:lnTo>
                    <a:pt x="849" y="2334"/>
                  </a:lnTo>
                  <a:lnTo>
                    <a:pt x="888" y="2372"/>
                  </a:lnTo>
                  <a:lnTo>
                    <a:pt x="927" y="2406"/>
                  </a:lnTo>
                  <a:lnTo>
                    <a:pt x="966" y="2441"/>
                  </a:lnTo>
                  <a:lnTo>
                    <a:pt x="1007" y="2476"/>
                  </a:lnTo>
                  <a:lnTo>
                    <a:pt x="1049" y="2509"/>
                  </a:lnTo>
                  <a:lnTo>
                    <a:pt x="1089" y="2541"/>
                  </a:lnTo>
                  <a:lnTo>
                    <a:pt x="1132" y="2573"/>
                  </a:lnTo>
                  <a:lnTo>
                    <a:pt x="1132" y="2573"/>
                  </a:lnTo>
                  <a:lnTo>
                    <a:pt x="1131" y="2553"/>
                  </a:lnTo>
                  <a:lnTo>
                    <a:pt x="1131" y="2498"/>
                  </a:lnTo>
                  <a:lnTo>
                    <a:pt x="1131" y="2304"/>
                  </a:lnTo>
                  <a:lnTo>
                    <a:pt x="1137" y="1717"/>
                  </a:lnTo>
                  <a:lnTo>
                    <a:pt x="1144" y="1131"/>
                  </a:lnTo>
                  <a:lnTo>
                    <a:pt x="1148" y="864"/>
                  </a:lnTo>
                  <a:lnTo>
                    <a:pt x="1148" y="864"/>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3" name="Freeform 24"/>
            <p:cNvSpPr>
              <a:spLocks noEditPoints="1"/>
            </p:cNvSpPr>
            <p:nvPr userDrawn="1"/>
          </p:nvSpPr>
          <p:spPr bwMode="auto">
            <a:xfrm>
              <a:off x="6953250" y="0"/>
              <a:ext cx="2001838" cy="4103688"/>
            </a:xfrm>
            <a:custGeom>
              <a:avLst/>
              <a:gdLst>
                <a:gd name="T0" fmla="*/ 582 w 1261"/>
                <a:gd name="T1" fmla="*/ 0 h 2585"/>
                <a:gd name="T2" fmla="*/ 0 w 1261"/>
                <a:gd name="T3" fmla="*/ 0 h 2585"/>
                <a:gd name="T4" fmla="*/ 6 w 1261"/>
                <a:gd name="T5" fmla="*/ 33 h 2585"/>
                <a:gd name="T6" fmla="*/ 22 w 1261"/>
                <a:gd name="T7" fmla="*/ 97 h 2585"/>
                <a:gd name="T8" fmla="*/ 32 w 1261"/>
                <a:gd name="T9" fmla="*/ 129 h 2585"/>
                <a:gd name="T10" fmla="*/ 63 w 1261"/>
                <a:gd name="T11" fmla="*/ 210 h 2585"/>
                <a:gd name="T12" fmla="*/ 99 w 1261"/>
                <a:gd name="T13" fmla="*/ 288 h 2585"/>
                <a:gd name="T14" fmla="*/ 140 w 1261"/>
                <a:gd name="T15" fmla="*/ 361 h 2585"/>
                <a:gd name="T16" fmla="*/ 186 w 1261"/>
                <a:gd name="T17" fmla="*/ 431 h 2585"/>
                <a:gd name="T18" fmla="*/ 238 w 1261"/>
                <a:gd name="T19" fmla="*/ 495 h 2585"/>
                <a:gd name="T20" fmla="*/ 294 w 1261"/>
                <a:gd name="T21" fmla="*/ 556 h 2585"/>
                <a:gd name="T22" fmla="*/ 355 w 1261"/>
                <a:gd name="T23" fmla="*/ 611 h 2585"/>
                <a:gd name="T24" fmla="*/ 419 w 1261"/>
                <a:gd name="T25" fmla="*/ 660 h 2585"/>
                <a:gd name="T26" fmla="*/ 454 w 1261"/>
                <a:gd name="T27" fmla="*/ 686 h 2585"/>
                <a:gd name="T28" fmla="*/ 528 w 1261"/>
                <a:gd name="T29" fmla="*/ 730 h 2585"/>
                <a:gd name="T30" fmla="*/ 604 w 1261"/>
                <a:gd name="T31" fmla="*/ 768 h 2585"/>
                <a:gd name="T32" fmla="*/ 681 w 1261"/>
                <a:gd name="T33" fmla="*/ 801 h 2585"/>
                <a:gd name="T34" fmla="*/ 761 w 1261"/>
                <a:gd name="T35" fmla="*/ 826 h 2585"/>
                <a:gd name="T36" fmla="*/ 841 w 1261"/>
                <a:gd name="T37" fmla="*/ 845 h 2585"/>
                <a:gd name="T38" fmla="*/ 922 w 1261"/>
                <a:gd name="T39" fmla="*/ 857 h 2585"/>
                <a:gd name="T40" fmla="*/ 1003 w 1261"/>
                <a:gd name="T41" fmla="*/ 863 h 2585"/>
                <a:gd name="T42" fmla="*/ 1044 w 1261"/>
                <a:gd name="T43" fmla="*/ 864 h 2585"/>
                <a:gd name="T44" fmla="*/ 976 w 1261"/>
                <a:gd name="T45" fmla="*/ 918 h 2585"/>
                <a:gd name="T46" fmla="*/ 913 w 1261"/>
                <a:gd name="T47" fmla="*/ 977 h 2585"/>
                <a:gd name="T48" fmla="*/ 857 w 1261"/>
                <a:gd name="T49" fmla="*/ 1038 h 2585"/>
                <a:gd name="T50" fmla="*/ 805 w 1261"/>
                <a:gd name="T51" fmla="*/ 1104 h 2585"/>
                <a:gd name="T52" fmla="*/ 759 w 1261"/>
                <a:gd name="T53" fmla="*/ 1173 h 2585"/>
                <a:gd name="T54" fmla="*/ 720 w 1261"/>
                <a:gd name="T55" fmla="*/ 1245 h 2585"/>
                <a:gd name="T56" fmla="*/ 686 w 1261"/>
                <a:gd name="T57" fmla="*/ 1320 h 2585"/>
                <a:gd name="T58" fmla="*/ 658 w 1261"/>
                <a:gd name="T59" fmla="*/ 1396 h 2585"/>
                <a:gd name="T60" fmla="*/ 645 w 1261"/>
                <a:gd name="T61" fmla="*/ 1438 h 2585"/>
                <a:gd name="T62" fmla="*/ 625 w 1261"/>
                <a:gd name="T63" fmla="*/ 1521 h 2585"/>
                <a:gd name="T64" fmla="*/ 612 w 1261"/>
                <a:gd name="T65" fmla="*/ 1605 h 2585"/>
                <a:gd name="T66" fmla="*/ 606 w 1261"/>
                <a:gd name="T67" fmla="*/ 1689 h 2585"/>
                <a:gd name="T68" fmla="*/ 606 w 1261"/>
                <a:gd name="T69" fmla="*/ 1772 h 2585"/>
                <a:gd name="T70" fmla="*/ 614 w 1261"/>
                <a:gd name="T71" fmla="*/ 1854 h 2585"/>
                <a:gd name="T72" fmla="*/ 626 w 1261"/>
                <a:gd name="T73" fmla="*/ 1935 h 2585"/>
                <a:gd name="T74" fmla="*/ 645 w 1261"/>
                <a:gd name="T75" fmla="*/ 2015 h 2585"/>
                <a:gd name="T76" fmla="*/ 658 w 1261"/>
                <a:gd name="T77" fmla="*/ 2053 h 2585"/>
                <a:gd name="T78" fmla="*/ 688 w 1261"/>
                <a:gd name="T79" fmla="*/ 2135 h 2585"/>
                <a:gd name="T80" fmla="*/ 724 w 1261"/>
                <a:gd name="T81" fmla="*/ 2212 h 2585"/>
                <a:gd name="T82" fmla="*/ 766 w 1261"/>
                <a:gd name="T83" fmla="*/ 2286 h 2585"/>
                <a:gd name="T84" fmla="*/ 812 w 1261"/>
                <a:gd name="T85" fmla="*/ 2355 h 2585"/>
                <a:gd name="T86" fmla="*/ 864 w 1261"/>
                <a:gd name="T87" fmla="*/ 2420 h 2585"/>
                <a:gd name="T88" fmla="*/ 920 w 1261"/>
                <a:gd name="T89" fmla="*/ 2480 h 2585"/>
                <a:gd name="T90" fmla="*/ 979 w 1261"/>
                <a:gd name="T91" fmla="*/ 2535 h 2585"/>
                <a:gd name="T92" fmla="*/ 1044 w 1261"/>
                <a:gd name="T93" fmla="*/ 2585 h 2585"/>
                <a:gd name="T94" fmla="*/ 1044 w 1261"/>
                <a:gd name="T95" fmla="*/ 2585 h 2585"/>
                <a:gd name="T96" fmla="*/ 1261 w 1261"/>
                <a:gd name="T97" fmla="*/ 2376 h 2585"/>
                <a:gd name="T98" fmla="*/ 1044 w 1261"/>
                <a:gd name="T99" fmla="*/ 864 h 2585"/>
                <a:gd name="T100" fmla="*/ 1044 w 1261"/>
                <a:gd name="T101" fmla="*/ 864 h 2585"/>
                <a:gd name="T102" fmla="*/ 1044 w 1261"/>
                <a:gd name="T103" fmla="*/ 864 h 2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61" h="2585">
                  <a:moveTo>
                    <a:pt x="1255" y="0"/>
                  </a:moveTo>
                  <a:lnTo>
                    <a:pt x="582" y="0"/>
                  </a:lnTo>
                  <a:lnTo>
                    <a:pt x="470" y="0"/>
                  </a:lnTo>
                  <a:lnTo>
                    <a:pt x="0" y="0"/>
                  </a:lnTo>
                  <a:lnTo>
                    <a:pt x="0" y="0"/>
                  </a:lnTo>
                  <a:lnTo>
                    <a:pt x="6" y="33"/>
                  </a:lnTo>
                  <a:lnTo>
                    <a:pt x="14" y="65"/>
                  </a:lnTo>
                  <a:lnTo>
                    <a:pt x="22" y="97"/>
                  </a:lnTo>
                  <a:lnTo>
                    <a:pt x="32" y="129"/>
                  </a:lnTo>
                  <a:lnTo>
                    <a:pt x="32" y="129"/>
                  </a:lnTo>
                  <a:lnTo>
                    <a:pt x="47" y="170"/>
                  </a:lnTo>
                  <a:lnTo>
                    <a:pt x="63" y="210"/>
                  </a:lnTo>
                  <a:lnTo>
                    <a:pt x="79" y="250"/>
                  </a:lnTo>
                  <a:lnTo>
                    <a:pt x="99" y="288"/>
                  </a:lnTo>
                  <a:lnTo>
                    <a:pt x="119" y="325"/>
                  </a:lnTo>
                  <a:lnTo>
                    <a:pt x="140" y="361"/>
                  </a:lnTo>
                  <a:lnTo>
                    <a:pt x="163" y="396"/>
                  </a:lnTo>
                  <a:lnTo>
                    <a:pt x="186" y="431"/>
                  </a:lnTo>
                  <a:lnTo>
                    <a:pt x="212" y="464"/>
                  </a:lnTo>
                  <a:lnTo>
                    <a:pt x="238" y="495"/>
                  </a:lnTo>
                  <a:lnTo>
                    <a:pt x="266" y="525"/>
                  </a:lnTo>
                  <a:lnTo>
                    <a:pt x="294" y="556"/>
                  </a:lnTo>
                  <a:lnTo>
                    <a:pt x="324" y="584"/>
                  </a:lnTo>
                  <a:lnTo>
                    <a:pt x="355" y="611"/>
                  </a:lnTo>
                  <a:lnTo>
                    <a:pt x="387" y="637"/>
                  </a:lnTo>
                  <a:lnTo>
                    <a:pt x="419" y="660"/>
                  </a:lnTo>
                  <a:lnTo>
                    <a:pt x="419" y="660"/>
                  </a:lnTo>
                  <a:lnTo>
                    <a:pt x="454" y="686"/>
                  </a:lnTo>
                  <a:lnTo>
                    <a:pt x="491" y="709"/>
                  </a:lnTo>
                  <a:lnTo>
                    <a:pt x="528" y="730"/>
                  </a:lnTo>
                  <a:lnTo>
                    <a:pt x="565" y="750"/>
                  </a:lnTo>
                  <a:lnTo>
                    <a:pt x="604" y="768"/>
                  </a:lnTo>
                  <a:lnTo>
                    <a:pt x="642" y="785"/>
                  </a:lnTo>
                  <a:lnTo>
                    <a:pt x="681" y="801"/>
                  </a:lnTo>
                  <a:lnTo>
                    <a:pt x="721" y="815"/>
                  </a:lnTo>
                  <a:lnTo>
                    <a:pt x="761" y="826"/>
                  </a:lnTo>
                  <a:lnTo>
                    <a:pt x="801" y="836"/>
                  </a:lnTo>
                  <a:lnTo>
                    <a:pt x="841" y="845"/>
                  </a:lnTo>
                  <a:lnTo>
                    <a:pt x="882" y="852"/>
                  </a:lnTo>
                  <a:lnTo>
                    <a:pt x="922" y="857"/>
                  </a:lnTo>
                  <a:lnTo>
                    <a:pt x="963" y="861"/>
                  </a:lnTo>
                  <a:lnTo>
                    <a:pt x="1003" y="863"/>
                  </a:lnTo>
                  <a:lnTo>
                    <a:pt x="1044" y="864"/>
                  </a:lnTo>
                  <a:lnTo>
                    <a:pt x="1044" y="864"/>
                  </a:lnTo>
                  <a:lnTo>
                    <a:pt x="1010" y="890"/>
                  </a:lnTo>
                  <a:lnTo>
                    <a:pt x="976" y="918"/>
                  </a:lnTo>
                  <a:lnTo>
                    <a:pt x="943" y="946"/>
                  </a:lnTo>
                  <a:lnTo>
                    <a:pt x="913" y="977"/>
                  </a:lnTo>
                  <a:lnTo>
                    <a:pt x="884" y="1007"/>
                  </a:lnTo>
                  <a:lnTo>
                    <a:pt x="857" y="1038"/>
                  </a:lnTo>
                  <a:lnTo>
                    <a:pt x="830" y="1071"/>
                  </a:lnTo>
                  <a:lnTo>
                    <a:pt x="805" y="1104"/>
                  </a:lnTo>
                  <a:lnTo>
                    <a:pt x="781" y="1139"/>
                  </a:lnTo>
                  <a:lnTo>
                    <a:pt x="759" y="1173"/>
                  </a:lnTo>
                  <a:lnTo>
                    <a:pt x="739" y="1208"/>
                  </a:lnTo>
                  <a:lnTo>
                    <a:pt x="720" y="1245"/>
                  </a:lnTo>
                  <a:lnTo>
                    <a:pt x="702" y="1281"/>
                  </a:lnTo>
                  <a:lnTo>
                    <a:pt x="686" y="1320"/>
                  </a:lnTo>
                  <a:lnTo>
                    <a:pt x="671" y="1358"/>
                  </a:lnTo>
                  <a:lnTo>
                    <a:pt x="658" y="1396"/>
                  </a:lnTo>
                  <a:lnTo>
                    <a:pt x="658" y="1396"/>
                  </a:lnTo>
                  <a:lnTo>
                    <a:pt x="645" y="1438"/>
                  </a:lnTo>
                  <a:lnTo>
                    <a:pt x="634" y="1479"/>
                  </a:lnTo>
                  <a:lnTo>
                    <a:pt x="625" y="1521"/>
                  </a:lnTo>
                  <a:lnTo>
                    <a:pt x="617" y="1564"/>
                  </a:lnTo>
                  <a:lnTo>
                    <a:pt x="612" y="1605"/>
                  </a:lnTo>
                  <a:lnTo>
                    <a:pt x="608" y="1647"/>
                  </a:lnTo>
                  <a:lnTo>
                    <a:pt x="606" y="1689"/>
                  </a:lnTo>
                  <a:lnTo>
                    <a:pt x="605" y="1730"/>
                  </a:lnTo>
                  <a:lnTo>
                    <a:pt x="606" y="1772"/>
                  </a:lnTo>
                  <a:lnTo>
                    <a:pt x="609" y="1814"/>
                  </a:lnTo>
                  <a:lnTo>
                    <a:pt x="614" y="1854"/>
                  </a:lnTo>
                  <a:lnTo>
                    <a:pt x="619" y="1895"/>
                  </a:lnTo>
                  <a:lnTo>
                    <a:pt x="626" y="1935"/>
                  </a:lnTo>
                  <a:lnTo>
                    <a:pt x="635" y="1974"/>
                  </a:lnTo>
                  <a:lnTo>
                    <a:pt x="645" y="2015"/>
                  </a:lnTo>
                  <a:lnTo>
                    <a:pt x="658" y="2053"/>
                  </a:lnTo>
                  <a:lnTo>
                    <a:pt x="658" y="2053"/>
                  </a:lnTo>
                  <a:lnTo>
                    <a:pt x="672" y="2095"/>
                  </a:lnTo>
                  <a:lnTo>
                    <a:pt x="688" y="2135"/>
                  </a:lnTo>
                  <a:lnTo>
                    <a:pt x="705" y="2174"/>
                  </a:lnTo>
                  <a:lnTo>
                    <a:pt x="724" y="2212"/>
                  </a:lnTo>
                  <a:lnTo>
                    <a:pt x="744" y="2249"/>
                  </a:lnTo>
                  <a:lnTo>
                    <a:pt x="766" y="2286"/>
                  </a:lnTo>
                  <a:lnTo>
                    <a:pt x="788" y="2321"/>
                  </a:lnTo>
                  <a:lnTo>
                    <a:pt x="812" y="2355"/>
                  </a:lnTo>
                  <a:lnTo>
                    <a:pt x="838" y="2387"/>
                  </a:lnTo>
                  <a:lnTo>
                    <a:pt x="864" y="2420"/>
                  </a:lnTo>
                  <a:lnTo>
                    <a:pt x="891" y="2450"/>
                  </a:lnTo>
                  <a:lnTo>
                    <a:pt x="920" y="2480"/>
                  </a:lnTo>
                  <a:lnTo>
                    <a:pt x="949" y="2508"/>
                  </a:lnTo>
                  <a:lnTo>
                    <a:pt x="979" y="2535"/>
                  </a:lnTo>
                  <a:lnTo>
                    <a:pt x="1012" y="2561"/>
                  </a:lnTo>
                  <a:lnTo>
                    <a:pt x="1044" y="2585"/>
                  </a:lnTo>
                  <a:lnTo>
                    <a:pt x="1044" y="2585"/>
                  </a:lnTo>
                  <a:lnTo>
                    <a:pt x="1044" y="2585"/>
                  </a:lnTo>
                  <a:lnTo>
                    <a:pt x="1044" y="2585"/>
                  </a:lnTo>
                  <a:lnTo>
                    <a:pt x="1261" y="2376"/>
                  </a:lnTo>
                  <a:lnTo>
                    <a:pt x="1255" y="0"/>
                  </a:lnTo>
                  <a:close/>
                  <a:moveTo>
                    <a:pt x="1044" y="864"/>
                  </a:moveTo>
                  <a:lnTo>
                    <a:pt x="1044" y="864"/>
                  </a:lnTo>
                  <a:lnTo>
                    <a:pt x="1044" y="864"/>
                  </a:lnTo>
                  <a:lnTo>
                    <a:pt x="1045" y="864"/>
                  </a:lnTo>
                  <a:lnTo>
                    <a:pt x="1044" y="864"/>
                  </a:lnTo>
                  <a:close/>
                </a:path>
              </a:pathLst>
            </a:custGeom>
            <a:solidFill>
              <a:schemeClr val="accent4">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dirty="0"/>
            </a:p>
          </p:txBody>
        </p:sp>
        <p:sp>
          <p:nvSpPr>
            <p:cNvPr id="34" name="Freeform 25"/>
            <p:cNvSpPr>
              <a:spLocks/>
            </p:cNvSpPr>
            <p:nvPr userDrawn="1"/>
          </p:nvSpPr>
          <p:spPr bwMode="auto">
            <a:xfrm>
              <a:off x="7877175" y="0"/>
              <a:ext cx="1266825" cy="4103688"/>
            </a:xfrm>
            <a:custGeom>
              <a:avLst/>
              <a:gdLst>
                <a:gd name="T0" fmla="*/ 0 w 798"/>
                <a:gd name="T1" fmla="*/ 0 h 2585"/>
                <a:gd name="T2" fmla="*/ 73 w 798"/>
                <a:gd name="T3" fmla="*/ 96 h 2585"/>
                <a:gd name="T4" fmla="*/ 142 w 798"/>
                <a:gd name="T5" fmla="*/ 196 h 2585"/>
                <a:gd name="T6" fmla="*/ 206 w 798"/>
                <a:gd name="T7" fmla="*/ 299 h 2585"/>
                <a:gd name="T8" fmla="*/ 267 w 798"/>
                <a:gd name="T9" fmla="*/ 405 h 2585"/>
                <a:gd name="T10" fmla="*/ 322 w 798"/>
                <a:gd name="T11" fmla="*/ 515 h 2585"/>
                <a:gd name="T12" fmla="*/ 374 w 798"/>
                <a:gd name="T13" fmla="*/ 629 h 2585"/>
                <a:gd name="T14" fmla="*/ 420 w 798"/>
                <a:gd name="T15" fmla="*/ 745 h 2585"/>
                <a:gd name="T16" fmla="*/ 462 w 798"/>
                <a:gd name="T17" fmla="*/ 864 h 2585"/>
                <a:gd name="T18" fmla="*/ 463 w 798"/>
                <a:gd name="T19" fmla="*/ 864 h 2585"/>
                <a:gd name="T20" fmla="*/ 462 w 798"/>
                <a:gd name="T21" fmla="*/ 864 h 2585"/>
                <a:gd name="T22" fmla="*/ 462 w 798"/>
                <a:gd name="T23" fmla="*/ 864 h 2585"/>
                <a:gd name="T24" fmla="*/ 478 w 798"/>
                <a:gd name="T25" fmla="*/ 915 h 2585"/>
                <a:gd name="T26" fmla="*/ 508 w 798"/>
                <a:gd name="T27" fmla="*/ 1017 h 2585"/>
                <a:gd name="T28" fmla="*/ 532 w 798"/>
                <a:gd name="T29" fmla="*/ 1122 h 2585"/>
                <a:gd name="T30" fmla="*/ 554 w 798"/>
                <a:gd name="T31" fmla="*/ 1226 h 2585"/>
                <a:gd name="T32" fmla="*/ 571 w 798"/>
                <a:gd name="T33" fmla="*/ 1332 h 2585"/>
                <a:gd name="T34" fmla="*/ 584 w 798"/>
                <a:gd name="T35" fmla="*/ 1439 h 2585"/>
                <a:gd name="T36" fmla="*/ 593 w 798"/>
                <a:gd name="T37" fmla="*/ 1547 h 2585"/>
                <a:gd name="T38" fmla="*/ 598 w 798"/>
                <a:gd name="T39" fmla="*/ 1655 h 2585"/>
                <a:gd name="T40" fmla="*/ 599 w 798"/>
                <a:gd name="T41" fmla="*/ 1763 h 2585"/>
                <a:gd name="T42" fmla="*/ 595 w 798"/>
                <a:gd name="T43" fmla="*/ 1873 h 2585"/>
                <a:gd name="T44" fmla="*/ 586 w 798"/>
                <a:gd name="T45" fmla="*/ 1982 h 2585"/>
                <a:gd name="T46" fmla="*/ 574 w 798"/>
                <a:gd name="T47" fmla="*/ 2091 h 2585"/>
                <a:gd name="T48" fmla="*/ 557 w 798"/>
                <a:gd name="T49" fmla="*/ 2202 h 2585"/>
                <a:gd name="T50" fmla="*/ 536 w 798"/>
                <a:gd name="T51" fmla="*/ 2312 h 2585"/>
                <a:gd name="T52" fmla="*/ 510 w 798"/>
                <a:gd name="T53" fmla="*/ 2421 h 2585"/>
                <a:gd name="T54" fmla="*/ 480 w 798"/>
                <a:gd name="T55" fmla="*/ 2530 h 2585"/>
                <a:gd name="T56" fmla="*/ 462 w 798"/>
                <a:gd name="T57" fmla="*/ 2585 h 2585"/>
                <a:gd name="T58" fmla="*/ 597 w 798"/>
                <a:gd name="T59" fmla="*/ 2529 h 2585"/>
                <a:gd name="T60" fmla="*/ 675 w 798"/>
                <a:gd name="T61" fmla="*/ 2492 h 2585"/>
                <a:gd name="T62" fmla="*/ 798 w 798"/>
                <a:gd name="T63" fmla="*/ 2430 h 2585"/>
                <a:gd name="T64" fmla="*/ 798 w 798"/>
                <a:gd name="T65" fmla="*/ 0 h 2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98" h="2585">
                  <a:moveTo>
                    <a:pt x="0" y="0"/>
                  </a:moveTo>
                  <a:lnTo>
                    <a:pt x="0" y="0"/>
                  </a:lnTo>
                  <a:lnTo>
                    <a:pt x="37" y="47"/>
                  </a:lnTo>
                  <a:lnTo>
                    <a:pt x="73" y="96"/>
                  </a:lnTo>
                  <a:lnTo>
                    <a:pt x="108" y="145"/>
                  </a:lnTo>
                  <a:lnTo>
                    <a:pt x="142" y="196"/>
                  </a:lnTo>
                  <a:lnTo>
                    <a:pt x="175" y="246"/>
                  </a:lnTo>
                  <a:lnTo>
                    <a:pt x="206" y="299"/>
                  </a:lnTo>
                  <a:lnTo>
                    <a:pt x="237" y="352"/>
                  </a:lnTo>
                  <a:lnTo>
                    <a:pt x="267" y="405"/>
                  </a:lnTo>
                  <a:lnTo>
                    <a:pt x="295" y="460"/>
                  </a:lnTo>
                  <a:lnTo>
                    <a:pt x="322" y="515"/>
                  </a:lnTo>
                  <a:lnTo>
                    <a:pt x="349" y="572"/>
                  </a:lnTo>
                  <a:lnTo>
                    <a:pt x="374" y="629"/>
                  </a:lnTo>
                  <a:lnTo>
                    <a:pt x="397" y="686"/>
                  </a:lnTo>
                  <a:lnTo>
                    <a:pt x="420" y="745"/>
                  </a:lnTo>
                  <a:lnTo>
                    <a:pt x="441" y="804"/>
                  </a:lnTo>
                  <a:lnTo>
                    <a:pt x="462" y="864"/>
                  </a:lnTo>
                  <a:lnTo>
                    <a:pt x="462" y="864"/>
                  </a:lnTo>
                  <a:lnTo>
                    <a:pt x="463" y="864"/>
                  </a:lnTo>
                  <a:lnTo>
                    <a:pt x="463" y="864"/>
                  </a:lnTo>
                  <a:lnTo>
                    <a:pt x="462" y="864"/>
                  </a:lnTo>
                  <a:lnTo>
                    <a:pt x="462" y="864"/>
                  </a:lnTo>
                  <a:lnTo>
                    <a:pt x="462" y="864"/>
                  </a:lnTo>
                  <a:lnTo>
                    <a:pt x="462" y="864"/>
                  </a:lnTo>
                  <a:lnTo>
                    <a:pt x="478" y="915"/>
                  </a:lnTo>
                  <a:lnTo>
                    <a:pt x="493" y="966"/>
                  </a:lnTo>
                  <a:lnTo>
                    <a:pt x="508" y="1017"/>
                  </a:lnTo>
                  <a:lnTo>
                    <a:pt x="520" y="1069"/>
                  </a:lnTo>
                  <a:lnTo>
                    <a:pt x="532" y="1122"/>
                  </a:lnTo>
                  <a:lnTo>
                    <a:pt x="544" y="1173"/>
                  </a:lnTo>
                  <a:lnTo>
                    <a:pt x="554" y="1226"/>
                  </a:lnTo>
                  <a:lnTo>
                    <a:pt x="563" y="1279"/>
                  </a:lnTo>
                  <a:lnTo>
                    <a:pt x="571" y="1332"/>
                  </a:lnTo>
                  <a:lnTo>
                    <a:pt x="579" y="1386"/>
                  </a:lnTo>
                  <a:lnTo>
                    <a:pt x="584" y="1439"/>
                  </a:lnTo>
                  <a:lnTo>
                    <a:pt x="590" y="1493"/>
                  </a:lnTo>
                  <a:lnTo>
                    <a:pt x="593" y="1547"/>
                  </a:lnTo>
                  <a:lnTo>
                    <a:pt x="597" y="1601"/>
                  </a:lnTo>
                  <a:lnTo>
                    <a:pt x="598" y="1655"/>
                  </a:lnTo>
                  <a:lnTo>
                    <a:pt x="599" y="1709"/>
                  </a:lnTo>
                  <a:lnTo>
                    <a:pt x="599" y="1763"/>
                  </a:lnTo>
                  <a:lnTo>
                    <a:pt x="598" y="1818"/>
                  </a:lnTo>
                  <a:lnTo>
                    <a:pt x="595" y="1873"/>
                  </a:lnTo>
                  <a:lnTo>
                    <a:pt x="592" y="1927"/>
                  </a:lnTo>
                  <a:lnTo>
                    <a:pt x="586" y="1982"/>
                  </a:lnTo>
                  <a:lnTo>
                    <a:pt x="581" y="2037"/>
                  </a:lnTo>
                  <a:lnTo>
                    <a:pt x="574" y="2091"/>
                  </a:lnTo>
                  <a:lnTo>
                    <a:pt x="566" y="2147"/>
                  </a:lnTo>
                  <a:lnTo>
                    <a:pt x="557" y="2202"/>
                  </a:lnTo>
                  <a:lnTo>
                    <a:pt x="547" y="2257"/>
                  </a:lnTo>
                  <a:lnTo>
                    <a:pt x="536" y="2312"/>
                  </a:lnTo>
                  <a:lnTo>
                    <a:pt x="523" y="2366"/>
                  </a:lnTo>
                  <a:lnTo>
                    <a:pt x="510" y="2421"/>
                  </a:lnTo>
                  <a:lnTo>
                    <a:pt x="495" y="2476"/>
                  </a:lnTo>
                  <a:lnTo>
                    <a:pt x="480" y="2530"/>
                  </a:lnTo>
                  <a:lnTo>
                    <a:pt x="462" y="2585"/>
                  </a:lnTo>
                  <a:lnTo>
                    <a:pt x="462" y="2585"/>
                  </a:lnTo>
                  <a:lnTo>
                    <a:pt x="555" y="2547"/>
                  </a:lnTo>
                  <a:lnTo>
                    <a:pt x="597" y="2529"/>
                  </a:lnTo>
                  <a:lnTo>
                    <a:pt x="637" y="2511"/>
                  </a:lnTo>
                  <a:lnTo>
                    <a:pt x="675" y="2492"/>
                  </a:lnTo>
                  <a:lnTo>
                    <a:pt x="715" y="2473"/>
                  </a:lnTo>
                  <a:lnTo>
                    <a:pt x="798" y="2430"/>
                  </a:lnTo>
                  <a:lnTo>
                    <a:pt x="798" y="701"/>
                  </a:lnTo>
                  <a:lnTo>
                    <a:pt x="798" y="0"/>
                  </a:lnTo>
                  <a:lnTo>
                    <a:pt x="0"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dirty="0"/>
            </a:p>
          </p:txBody>
        </p:sp>
        <p:sp>
          <p:nvSpPr>
            <p:cNvPr id="35" name="Freeform 26"/>
            <p:cNvSpPr>
              <a:spLocks/>
            </p:cNvSpPr>
            <p:nvPr userDrawn="1"/>
          </p:nvSpPr>
          <p:spPr bwMode="auto">
            <a:xfrm>
              <a:off x="8610600" y="1112838"/>
              <a:ext cx="533400" cy="258763"/>
            </a:xfrm>
            <a:custGeom>
              <a:avLst/>
              <a:gdLst>
                <a:gd name="T0" fmla="*/ 336 w 336"/>
                <a:gd name="T1" fmla="*/ 0 h 163"/>
                <a:gd name="T2" fmla="*/ 336 w 336"/>
                <a:gd name="T3" fmla="*/ 0 h 163"/>
                <a:gd name="T4" fmla="*/ 291 w 336"/>
                <a:gd name="T5" fmla="*/ 13 h 163"/>
                <a:gd name="T6" fmla="*/ 246 w 336"/>
                <a:gd name="T7" fmla="*/ 29 h 163"/>
                <a:gd name="T8" fmla="*/ 202 w 336"/>
                <a:gd name="T9" fmla="*/ 47 h 163"/>
                <a:gd name="T10" fmla="*/ 159 w 336"/>
                <a:gd name="T11" fmla="*/ 67 h 163"/>
                <a:gd name="T12" fmla="*/ 118 w 336"/>
                <a:gd name="T13" fmla="*/ 89 h 163"/>
                <a:gd name="T14" fmla="*/ 77 w 336"/>
                <a:gd name="T15" fmla="*/ 111 h 163"/>
                <a:gd name="T16" fmla="*/ 38 w 336"/>
                <a:gd name="T17" fmla="*/ 136 h 163"/>
                <a:gd name="T18" fmla="*/ 0 w 336"/>
                <a:gd name="T19" fmla="*/ 163 h 163"/>
                <a:gd name="T20" fmla="*/ 0 w 336"/>
                <a:gd name="T21" fmla="*/ 163 h 163"/>
                <a:gd name="T22" fmla="*/ 43 w 336"/>
                <a:gd name="T23" fmla="*/ 162 h 163"/>
                <a:gd name="T24" fmla="*/ 87 w 336"/>
                <a:gd name="T25" fmla="*/ 160 h 163"/>
                <a:gd name="T26" fmla="*/ 130 w 336"/>
                <a:gd name="T27" fmla="*/ 155 h 163"/>
                <a:gd name="T28" fmla="*/ 173 w 336"/>
                <a:gd name="T29" fmla="*/ 150 h 163"/>
                <a:gd name="T30" fmla="*/ 214 w 336"/>
                <a:gd name="T31" fmla="*/ 142 h 163"/>
                <a:gd name="T32" fmla="*/ 255 w 336"/>
                <a:gd name="T33" fmla="*/ 133 h 163"/>
                <a:gd name="T34" fmla="*/ 297 w 336"/>
                <a:gd name="T35" fmla="*/ 121 h 163"/>
                <a:gd name="T36" fmla="*/ 336 w 336"/>
                <a:gd name="T37" fmla="*/ 109 h 163"/>
                <a:gd name="T38" fmla="*/ 336 w 336"/>
                <a:gd name="T39"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6" h="163">
                  <a:moveTo>
                    <a:pt x="336" y="0"/>
                  </a:moveTo>
                  <a:lnTo>
                    <a:pt x="336" y="0"/>
                  </a:lnTo>
                  <a:lnTo>
                    <a:pt x="291" y="13"/>
                  </a:lnTo>
                  <a:lnTo>
                    <a:pt x="246" y="29"/>
                  </a:lnTo>
                  <a:lnTo>
                    <a:pt x="202" y="47"/>
                  </a:lnTo>
                  <a:lnTo>
                    <a:pt x="159" y="67"/>
                  </a:lnTo>
                  <a:lnTo>
                    <a:pt x="118" y="89"/>
                  </a:lnTo>
                  <a:lnTo>
                    <a:pt x="77" y="111"/>
                  </a:lnTo>
                  <a:lnTo>
                    <a:pt x="38" y="136"/>
                  </a:lnTo>
                  <a:lnTo>
                    <a:pt x="0" y="163"/>
                  </a:lnTo>
                  <a:lnTo>
                    <a:pt x="0" y="163"/>
                  </a:lnTo>
                  <a:lnTo>
                    <a:pt x="43" y="162"/>
                  </a:lnTo>
                  <a:lnTo>
                    <a:pt x="87" y="160"/>
                  </a:lnTo>
                  <a:lnTo>
                    <a:pt x="130" y="155"/>
                  </a:lnTo>
                  <a:lnTo>
                    <a:pt x="173" y="150"/>
                  </a:lnTo>
                  <a:lnTo>
                    <a:pt x="214" y="142"/>
                  </a:lnTo>
                  <a:lnTo>
                    <a:pt x="255" y="133"/>
                  </a:lnTo>
                  <a:lnTo>
                    <a:pt x="297" y="121"/>
                  </a:lnTo>
                  <a:lnTo>
                    <a:pt x="336" y="109"/>
                  </a:lnTo>
                  <a:lnTo>
                    <a:pt x="336" y="0"/>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6" name="Freeform 27"/>
            <p:cNvSpPr>
              <a:spLocks/>
            </p:cNvSpPr>
            <p:nvPr userDrawn="1"/>
          </p:nvSpPr>
          <p:spPr bwMode="auto">
            <a:xfrm>
              <a:off x="8610600" y="4103688"/>
              <a:ext cx="28575" cy="20638"/>
            </a:xfrm>
            <a:custGeom>
              <a:avLst/>
              <a:gdLst>
                <a:gd name="T0" fmla="*/ 18 w 18"/>
                <a:gd name="T1" fmla="*/ 13 h 13"/>
                <a:gd name="T2" fmla="*/ 18 w 18"/>
                <a:gd name="T3" fmla="*/ 13 h 13"/>
                <a:gd name="T4" fmla="*/ 0 w 18"/>
                <a:gd name="T5" fmla="*/ 0 h 13"/>
                <a:gd name="T6" fmla="*/ 0 w 18"/>
                <a:gd name="T7" fmla="*/ 0 h 13"/>
                <a:gd name="T8" fmla="*/ 18 w 18"/>
                <a:gd name="T9" fmla="*/ 13 h 13"/>
                <a:gd name="T10" fmla="*/ 18 w 18"/>
                <a:gd name="T11" fmla="*/ 13 h 13"/>
              </a:gdLst>
              <a:ahLst/>
              <a:cxnLst>
                <a:cxn ang="0">
                  <a:pos x="T0" y="T1"/>
                </a:cxn>
                <a:cxn ang="0">
                  <a:pos x="T2" y="T3"/>
                </a:cxn>
                <a:cxn ang="0">
                  <a:pos x="T4" y="T5"/>
                </a:cxn>
                <a:cxn ang="0">
                  <a:pos x="T6" y="T7"/>
                </a:cxn>
                <a:cxn ang="0">
                  <a:pos x="T8" y="T9"/>
                </a:cxn>
                <a:cxn ang="0">
                  <a:pos x="T10" y="T11"/>
                </a:cxn>
              </a:cxnLst>
              <a:rect l="0" t="0" r="r" b="b"/>
              <a:pathLst>
                <a:path w="18" h="13">
                  <a:moveTo>
                    <a:pt x="18" y="13"/>
                  </a:moveTo>
                  <a:lnTo>
                    <a:pt x="18" y="13"/>
                  </a:lnTo>
                  <a:lnTo>
                    <a:pt x="0" y="0"/>
                  </a:lnTo>
                  <a:lnTo>
                    <a:pt x="0" y="0"/>
                  </a:lnTo>
                  <a:lnTo>
                    <a:pt x="18" y="13"/>
                  </a:lnTo>
                  <a:lnTo>
                    <a:pt x="18" y="13"/>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7" name="Freeform 28"/>
            <p:cNvSpPr>
              <a:spLocks/>
            </p:cNvSpPr>
            <p:nvPr userDrawn="1"/>
          </p:nvSpPr>
          <p:spPr bwMode="auto">
            <a:xfrm>
              <a:off x="8639175" y="4124325"/>
              <a:ext cx="504825" cy="312738"/>
            </a:xfrm>
            <a:custGeom>
              <a:avLst/>
              <a:gdLst>
                <a:gd name="T0" fmla="*/ 318 w 318"/>
                <a:gd name="T1" fmla="*/ 150 h 197"/>
                <a:gd name="T2" fmla="*/ 318 w 318"/>
                <a:gd name="T3" fmla="*/ 150 h 197"/>
                <a:gd name="T4" fmla="*/ 276 w 318"/>
                <a:gd name="T5" fmla="*/ 138 h 197"/>
                <a:gd name="T6" fmla="*/ 236 w 318"/>
                <a:gd name="T7" fmla="*/ 123 h 197"/>
                <a:gd name="T8" fmla="*/ 195 w 318"/>
                <a:gd name="T9" fmla="*/ 108 h 197"/>
                <a:gd name="T10" fmla="*/ 155 w 318"/>
                <a:gd name="T11" fmla="*/ 90 h 197"/>
                <a:gd name="T12" fmla="*/ 115 w 318"/>
                <a:gd name="T13" fmla="*/ 69 h 197"/>
                <a:gd name="T14" fmla="*/ 76 w 318"/>
                <a:gd name="T15" fmla="*/ 48 h 197"/>
                <a:gd name="T16" fmla="*/ 38 w 318"/>
                <a:gd name="T17" fmla="*/ 24 h 197"/>
                <a:gd name="T18" fmla="*/ 0 w 318"/>
                <a:gd name="T19" fmla="*/ 0 h 197"/>
                <a:gd name="T20" fmla="*/ 0 w 318"/>
                <a:gd name="T21" fmla="*/ 0 h 197"/>
                <a:gd name="T22" fmla="*/ 39 w 318"/>
                <a:gd name="T23" fmla="*/ 27 h 197"/>
                <a:gd name="T24" fmla="*/ 77 w 318"/>
                <a:gd name="T25" fmla="*/ 54 h 197"/>
                <a:gd name="T26" fmla="*/ 117 w 318"/>
                <a:gd name="T27" fmla="*/ 80 h 197"/>
                <a:gd name="T28" fmla="*/ 157 w 318"/>
                <a:gd name="T29" fmla="*/ 104 h 197"/>
                <a:gd name="T30" fmla="*/ 196 w 318"/>
                <a:gd name="T31" fmla="*/ 128 h 197"/>
                <a:gd name="T32" fmla="*/ 237 w 318"/>
                <a:gd name="T33" fmla="*/ 152 h 197"/>
                <a:gd name="T34" fmla="*/ 277 w 318"/>
                <a:gd name="T35" fmla="*/ 174 h 197"/>
                <a:gd name="T36" fmla="*/ 318 w 318"/>
                <a:gd name="T37" fmla="*/ 197 h 197"/>
                <a:gd name="T38" fmla="*/ 318 w 318"/>
                <a:gd name="T39" fmla="*/ 15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8" h="197">
                  <a:moveTo>
                    <a:pt x="318" y="150"/>
                  </a:moveTo>
                  <a:lnTo>
                    <a:pt x="318" y="150"/>
                  </a:lnTo>
                  <a:lnTo>
                    <a:pt x="276" y="138"/>
                  </a:lnTo>
                  <a:lnTo>
                    <a:pt x="236" y="123"/>
                  </a:lnTo>
                  <a:lnTo>
                    <a:pt x="195" y="108"/>
                  </a:lnTo>
                  <a:lnTo>
                    <a:pt x="155" y="90"/>
                  </a:lnTo>
                  <a:lnTo>
                    <a:pt x="115" y="69"/>
                  </a:lnTo>
                  <a:lnTo>
                    <a:pt x="76" y="48"/>
                  </a:lnTo>
                  <a:lnTo>
                    <a:pt x="38" y="24"/>
                  </a:lnTo>
                  <a:lnTo>
                    <a:pt x="0" y="0"/>
                  </a:lnTo>
                  <a:lnTo>
                    <a:pt x="0" y="0"/>
                  </a:lnTo>
                  <a:lnTo>
                    <a:pt x="39" y="27"/>
                  </a:lnTo>
                  <a:lnTo>
                    <a:pt x="77" y="54"/>
                  </a:lnTo>
                  <a:lnTo>
                    <a:pt x="117" y="80"/>
                  </a:lnTo>
                  <a:lnTo>
                    <a:pt x="157" y="104"/>
                  </a:lnTo>
                  <a:lnTo>
                    <a:pt x="196" y="128"/>
                  </a:lnTo>
                  <a:lnTo>
                    <a:pt x="237" y="152"/>
                  </a:lnTo>
                  <a:lnTo>
                    <a:pt x="277" y="174"/>
                  </a:lnTo>
                  <a:lnTo>
                    <a:pt x="318" y="197"/>
                  </a:lnTo>
                  <a:lnTo>
                    <a:pt x="318" y="150"/>
                  </a:ln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dirty="0"/>
            </a:p>
          </p:txBody>
        </p:sp>
        <p:sp>
          <p:nvSpPr>
            <p:cNvPr id="38" name="Freeform 29"/>
            <p:cNvSpPr>
              <a:spLocks/>
            </p:cNvSpPr>
            <p:nvPr userDrawn="1"/>
          </p:nvSpPr>
          <p:spPr bwMode="auto">
            <a:xfrm>
              <a:off x="8585200" y="4084638"/>
              <a:ext cx="25400" cy="19050"/>
            </a:xfrm>
            <a:custGeom>
              <a:avLst/>
              <a:gdLst>
                <a:gd name="T0" fmla="*/ 0 w 16"/>
                <a:gd name="T1" fmla="*/ 0 h 12"/>
                <a:gd name="T2" fmla="*/ 0 w 16"/>
                <a:gd name="T3" fmla="*/ 0 h 12"/>
                <a:gd name="T4" fmla="*/ 16 w 16"/>
                <a:gd name="T5" fmla="*/ 12 h 12"/>
                <a:gd name="T6" fmla="*/ 16 w 16"/>
                <a:gd name="T7" fmla="*/ 12 h 12"/>
                <a:gd name="T8" fmla="*/ 0 w 16"/>
                <a:gd name="T9" fmla="*/ 0 h 12"/>
                <a:gd name="T10" fmla="*/ 0 w 16"/>
                <a:gd name="T11" fmla="*/ 0 h 12"/>
              </a:gdLst>
              <a:ahLst/>
              <a:cxnLst>
                <a:cxn ang="0">
                  <a:pos x="T0" y="T1"/>
                </a:cxn>
                <a:cxn ang="0">
                  <a:pos x="T2" y="T3"/>
                </a:cxn>
                <a:cxn ang="0">
                  <a:pos x="T4" y="T5"/>
                </a:cxn>
                <a:cxn ang="0">
                  <a:pos x="T6" y="T7"/>
                </a:cxn>
                <a:cxn ang="0">
                  <a:pos x="T8" y="T9"/>
                </a:cxn>
                <a:cxn ang="0">
                  <a:pos x="T10" y="T11"/>
                </a:cxn>
              </a:cxnLst>
              <a:rect l="0" t="0" r="r" b="b"/>
              <a:pathLst>
                <a:path w="16" h="12">
                  <a:moveTo>
                    <a:pt x="0" y="0"/>
                  </a:moveTo>
                  <a:lnTo>
                    <a:pt x="0" y="0"/>
                  </a:lnTo>
                  <a:lnTo>
                    <a:pt x="16" y="12"/>
                  </a:lnTo>
                  <a:lnTo>
                    <a:pt x="16" y="12"/>
                  </a:lnTo>
                  <a:lnTo>
                    <a:pt x="0" y="0"/>
                  </a:lnTo>
                  <a:lnTo>
                    <a:pt x="0" y="0"/>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9" name="Freeform 30"/>
            <p:cNvSpPr>
              <a:spLocks/>
            </p:cNvSpPr>
            <p:nvPr userDrawn="1"/>
          </p:nvSpPr>
          <p:spPr bwMode="auto">
            <a:xfrm>
              <a:off x="7588250" y="4103688"/>
              <a:ext cx="1022350" cy="1039813"/>
            </a:xfrm>
            <a:custGeom>
              <a:avLst/>
              <a:gdLst>
                <a:gd name="T0" fmla="*/ 0 w 644"/>
                <a:gd name="T1" fmla="*/ 655 h 655"/>
                <a:gd name="T2" fmla="*/ 332 w 644"/>
                <a:gd name="T3" fmla="*/ 655 h 655"/>
                <a:gd name="T4" fmla="*/ 332 w 644"/>
                <a:gd name="T5" fmla="*/ 655 h 655"/>
                <a:gd name="T6" fmla="*/ 357 w 644"/>
                <a:gd name="T7" fmla="*/ 617 h 655"/>
                <a:gd name="T8" fmla="*/ 381 w 644"/>
                <a:gd name="T9" fmla="*/ 577 h 655"/>
                <a:gd name="T10" fmla="*/ 404 w 644"/>
                <a:gd name="T11" fmla="*/ 538 h 655"/>
                <a:gd name="T12" fmla="*/ 426 w 644"/>
                <a:gd name="T13" fmla="*/ 499 h 655"/>
                <a:gd name="T14" fmla="*/ 449 w 644"/>
                <a:gd name="T15" fmla="*/ 458 h 655"/>
                <a:gd name="T16" fmla="*/ 470 w 644"/>
                <a:gd name="T17" fmla="*/ 418 h 655"/>
                <a:gd name="T18" fmla="*/ 491 w 644"/>
                <a:gd name="T19" fmla="*/ 377 h 655"/>
                <a:gd name="T20" fmla="*/ 511 w 644"/>
                <a:gd name="T21" fmla="*/ 337 h 655"/>
                <a:gd name="T22" fmla="*/ 530 w 644"/>
                <a:gd name="T23" fmla="*/ 295 h 655"/>
                <a:gd name="T24" fmla="*/ 548 w 644"/>
                <a:gd name="T25" fmla="*/ 253 h 655"/>
                <a:gd name="T26" fmla="*/ 566 w 644"/>
                <a:gd name="T27" fmla="*/ 212 h 655"/>
                <a:gd name="T28" fmla="*/ 583 w 644"/>
                <a:gd name="T29" fmla="*/ 170 h 655"/>
                <a:gd name="T30" fmla="*/ 600 w 644"/>
                <a:gd name="T31" fmla="*/ 129 h 655"/>
                <a:gd name="T32" fmla="*/ 614 w 644"/>
                <a:gd name="T33" fmla="*/ 86 h 655"/>
                <a:gd name="T34" fmla="*/ 630 w 644"/>
                <a:gd name="T35" fmla="*/ 43 h 655"/>
                <a:gd name="T36" fmla="*/ 644 w 644"/>
                <a:gd name="T37" fmla="*/ 0 h 655"/>
                <a:gd name="T38" fmla="*/ 644 w 644"/>
                <a:gd name="T39" fmla="*/ 0 h 655"/>
                <a:gd name="T40" fmla="*/ 644 w 644"/>
                <a:gd name="T41" fmla="*/ 0 h 655"/>
                <a:gd name="T42" fmla="*/ 596 w 644"/>
                <a:gd name="T43" fmla="*/ 35 h 655"/>
                <a:gd name="T44" fmla="*/ 550 w 644"/>
                <a:gd name="T45" fmla="*/ 72 h 655"/>
                <a:gd name="T46" fmla="*/ 504 w 644"/>
                <a:gd name="T47" fmla="*/ 108 h 655"/>
                <a:gd name="T48" fmla="*/ 459 w 644"/>
                <a:gd name="T49" fmla="*/ 147 h 655"/>
                <a:gd name="T50" fmla="*/ 415 w 644"/>
                <a:gd name="T51" fmla="*/ 185 h 655"/>
                <a:gd name="T52" fmla="*/ 372 w 644"/>
                <a:gd name="T53" fmla="*/ 224 h 655"/>
                <a:gd name="T54" fmla="*/ 331 w 644"/>
                <a:gd name="T55" fmla="*/ 265 h 655"/>
                <a:gd name="T56" fmla="*/ 290 w 644"/>
                <a:gd name="T57" fmla="*/ 305 h 655"/>
                <a:gd name="T58" fmla="*/ 250 w 644"/>
                <a:gd name="T59" fmla="*/ 347 h 655"/>
                <a:gd name="T60" fmla="*/ 212 w 644"/>
                <a:gd name="T61" fmla="*/ 388 h 655"/>
                <a:gd name="T62" fmla="*/ 173 w 644"/>
                <a:gd name="T63" fmla="*/ 431 h 655"/>
                <a:gd name="T64" fmla="*/ 137 w 644"/>
                <a:gd name="T65" fmla="*/ 475 h 655"/>
                <a:gd name="T66" fmla="*/ 101 w 644"/>
                <a:gd name="T67" fmla="*/ 519 h 655"/>
                <a:gd name="T68" fmla="*/ 66 w 644"/>
                <a:gd name="T69" fmla="*/ 564 h 655"/>
                <a:gd name="T70" fmla="*/ 33 w 644"/>
                <a:gd name="T71" fmla="*/ 609 h 655"/>
                <a:gd name="T72" fmla="*/ 0 w 644"/>
                <a:gd name="T73" fmla="*/ 655 h 655"/>
                <a:gd name="T74" fmla="*/ 0 w 644"/>
                <a:gd name="T75" fmla="*/ 655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44" h="655">
                  <a:moveTo>
                    <a:pt x="0" y="655"/>
                  </a:moveTo>
                  <a:lnTo>
                    <a:pt x="332" y="655"/>
                  </a:lnTo>
                  <a:lnTo>
                    <a:pt x="332" y="655"/>
                  </a:lnTo>
                  <a:lnTo>
                    <a:pt x="357" y="617"/>
                  </a:lnTo>
                  <a:lnTo>
                    <a:pt x="381" y="577"/>
                  </a:lnTo>
                  <a:lnTo>
                    <a:pt x="404" y="538"/>
                  </a:lnTo>
                  <a:lnTo>
                    <a:pt x="426" y="499"/>
                  </a:lnTo>
                  <a:lnTo>
                    <a:pt x="449" y="458"/>
                  </a:lnTo>
                  <a:lnTo>
                    <a:pt x="470" y="418"/>
                  </a:lnTo>
                  <a:lnTo>
                    <a:pt x="491" y="377"/>
                  </a:lnTo>
                  <a:lnTo>
                    <a:pt x="511" y="337"/>
                  </a:lnTo>
                  <a:lnTo>
                    <a:pt x="530" y="295"/>
                  </a:lnTo>
                  <a:lnTo>
                    <a:pt x="548" y="253"/>
                  </a:lnTo>
                  <a:lnTo>
                    <a:pt x="566" y="212"/>
                  </a:lnTo>
                  <a:lnTo>
                    <a:pt x="583" y="170"/>
                  </a:lnTo>
                  <a:lnTo>
                    <a:pt x="600" y="129"/>
                  </a:lnTo>
                  <a:lnTo>
                    <a:pt x="614" y="86"/>
                  </a:lnTo>
                  <a:lnTo>
                    <a:pt x="630" y="43"/>
                  </a:lnTo>
                  <a:lnTo>
                    <a:pt x="644" y="0"/>
                  </a:lnTo>
                  <a:lnTo>
                    <a:pt x="644" y="0"/>
                  </a:lnTo>
                  <a:lnTo>
                    <a:pt x="644" y="0"/>
                  </a:lnTo>
                  <a:lnTo>
                    <a:pt x="596" y="35"/>
                  </a:lnTo>
                  <a:lnTo>
                    <a:pt x="550" y="72"/>
                  </a:lnTo>
                  <a:lnTo>
                    <a:pt x="504" y="108"/>
                  </a:lnTo>
                  <a:lnTo>
                    <a:pt x="459" y="147"/>
                  </a:lnTo>
                  <a:lnTo>
                    <a:pt x="415" y="185"/>
                  </a:lnTo>
                  <a:lnTo>
                    <a:pt x="372" y="224"/>
                  </a:lnTo>
                  <a:lnTo>
                    <a:pt x="331" y="265"/>
                  </a:lnTo>
                  <a:lnTo>
                    <a:pt x="290" y="305"/>
                  </a:lnTo>
                  <a:lnTo>
                    <a:pt x="250" y="347"/>
                  </a:lnTo>
                  <a:lnTo>
                    <a:pt x="212" y="388"/>
                  </a:lnTo>
                  <a:lnTo>
                    <a:pt x="173" y="431"/>
                  </a:lnTo>
                  <a:lnTo>
                    <a:pt x="137" y="475"/>
                  </a:lnTo>
                  <a:lnTo>
                    <a:pt x="101" y="519"/>
                  </a:lnTo>
                  <a:lnTo>
                    <a:pt x="66" y="564"/>
                  </a:lnTo>
                  <a:lnTo>
                    <a:pt x="33" y="609"/>
                  </a:lnTo>
                  <a:lnTo>
                    <a:pt x="0" y="655"/>
                  </a:lnTo>
                  <a:lnTo>
                    <a:pt x="0" y="655"/>
                  </a:lnTo>
                  <a:close/>
                </a:path>
              </a:pathLst>
            </a:custGeom>
            <a:solidFill>
              <a:schemeClr val="tx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0" name="Freeform 31"/>
            <p:cNvSpPr>
              <a:spLocks/>
            </p:cNvSpPr>
            <p:nvPr userDrawn="1"/>
          </p:nvSpPr>
          <p:spPr bwMode="auto">
            <a:xfrm>
              <a:off x="8610600" y="3771900"/>
              <a:ext cx="533400" cy="619125"/>
            </a:xfrm>
            <a:custGeom>
              <a:avLst/>
              <a:gdLst>
                <a:gd name="T0" fmla="*/ 336 w 336"/>
                <a:gd name="T1" fmla="*/ 0 h 390"/>
                <a:gd name="T2" fmla="*/ 336 w 336"/>
                <a:gd name="T3" fmla="*/ 0 h 390"/>
                <a:gd name="T4" fmla="*/ 292 w 336"/>
                <a:gd name="T5" fmla="*/ 24 h 390"/>
                <a:gd name="T6" fmla="*/ 249 w 336"/>
                <a:gd name="T7" fmla="*/ 47 h 390"/>
                <a:gd name="T8" fmla="*/ 207 w 336"/>
                <a:gd name="T9" fmla="*/ 73 h 390"/>
                <a:gd name="T10" fmla="*/ 164 w 336"/>
                <a:gd name="T11" fmla="*/ 99 h 390"/>
                <a:gd name="T12" fmla="*/ 122 w 336"/>
                <a:gd name="T13" fmla="*/ 125 h 390"/>
                <a:gd name="T14" fmla="*/ 81 w 336"/>
                <a:gd name="T15" fmla="*/ 152 h 390"/>
                <a:gd name="T16" fmla="*/ 40 w 336"/>
                <a:gd name="T17" fmla="*/ 180 h 390"/>
                <a:gd name="T18" fmla="*/ 0 w 336"/>
                <a:gd name="T19" fmla="*/ 209 h 390"/>
                <a:gd name="T20" fmla="*/ 1 w 336"/>
                <a:gd name="T21" fmla="*/ 209 h 390"/>
                <a:gd name="T22" fmla="*/ 1 w 336"/>
                <a:gd name="T23" fmla="*/ 209 h 390"/>
                <a:gd name="T24" fmla="*/ 41 w 336"/>
                <a:gd name="T25" fmla="*/ 239 h 390"/>
                <a:gd name="T26" fmla="*/ 83 w 336"/>
                <a:gd name="T27" fmla="*/ 267 h 390"/>
                <a:gd name="T28" fmla="*/ 124 w 336"/>
                <a:gd name="T29" fmla="*/ 293 h 390"/>
                <a:gd name="T30" fmla="*/ 167 w 336"/>
                <a:gd name="T31" fmla="*/ 317 h 390"/>
                <a:gd name="T32" fmla="*/ 210 w 336"/>
                <a:gd name="T33" fmla="*/ 340 h 390"/>
                <a:gd name="T34" fmla="*/ 252 w 336"/>
                <a:gd name="T35" fmla="*/ 360 h 390"/>
                <a:gd name="T36" fmla="*/ 273 w 336"/>
                <a:gd name="T37" fmla="*/ 369 h 390"/>
                <a:gd name="T38" fmla="*/ 294 w 336"/>
                <a:gd name="T39" fmla="*/ 377 h 390"/>
                <a:gd name="T40" fmla="*/ 315 w 336"/>
                <a:gd name="T41" fmla="*/ 384 h 390"/>
                <a:gd name="T42" fmla="*/ 336 w 336"/>
                <a:gd name="T43" fmla="*/ 390 h 390"/>
                <a:gd name="T44" fmla="*/ 336 w 336"/>
                <a:gd name="T45" fmla="*/ 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6" h="390">
                  <a:moveTo>
                    <a:pt x="336" y="0"/>
                  </a:moveTo>
                  <a:lnTo>
                    <a:pt x="336" y="0"/>
                  </a:lnTo>
                  <a:lnTo>
                    <a:pt x="292" y="24"/>
                  </a:lnTo>
                  <a:lnTo>
                    <a:pt x="249" y="47"/>
                  </a:lnTo>
                  <a:lnTo>
                    <a:pt x="207" y="73"/>
                  </a:lnTo>
                  <a:lnTo>
                    <a:pt x="164" y="99"/>
                  </a:lnTo>
                  <a:lnTo>
                    <a:pt x="122" y="125"/>
                  </a:lnTo>
                  <a:lnTo>
                    <a:pt x="81" y="152"/>
                  </a:lnTo>
                  <a:lnTo>
                    <a:pt x="40" y="180"/>
                  </a:lnTo>
                  <a:lnTo>
                    <a:pt x="0" y="209"/>
                  </a:lnTo>
                  <a:lnTo>
                    <a:pt x="1" y="209"/>
                  </a:lnTo>
                  <a:lnTo>
                    <a:pt x="1" y="209"/>
                  </a:lnTo>
                  <a:lnTo>
                    <a:pt x="41" y="239"/>
                  </a:lnTo>
                  <a:lnTo>
                    <a:pt x="83" y="267"/>
                  </a:lnTo>
                  <a:lnTo>
                    <a:pt x="124" y="293"/>
                  </a:lnTo>
                  <a:lnTo>
                    <a:pt x="167" y="317"/>
                  </a:lnTo>
                  <a:lnTo>
                    <a:pt x="210" y="340"/>
                  </a:lnTo>
                  <a:lnTo>
                    <a:pt x="252" y="360"/>
                  </a:lnTo>
                  <a:lnTo>
                    <a:pt x="273" y="369"/>
                  </a:lnTo>
                  <a:lnTo>
                    <a:pt x="294" y="377"/>
                  </a:lnTo>
                  <a:lnTo>
                    <a:pt x="315" y="384"/>
                  </a:lnTo>
                  <a:lnTo>
                    <a:pt x="336" y="390"/>
                  </a:lnTo>
                  <a:lnTo>
                    <a:pt x="336"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dirty="0"/>
            </a:p>
          </p:txBody>
        </p:sp>
      </p:grpSp>
      <p:sp>
        <p:nvSpPr>
          <p:cNvPr id="3" name="Sisällön paikkamerkki 2"/>
          <p:cNvSpPr>
            <a:spLocks noGrp="1"/>
          </p:cNvSpPr>
          <p:nvPr>
            <p:ph idx="1"/>
          </p:nvPr>
        </p:nvSpPr>
        <p:spPr>
          <a:xfrm>
            <a:off x="432785" y="1410998"/>
            <a:ext cx="6587487" cy="3393001"/>
          </a:xfrm>
        </p:spPr>
        <p:txBody>
          <a:bodyPr/>
          <a:lstStyle>
            <a:lvl1pPr>
              <a:defRPr>
                <a:solidFill>
                  <a:srgbClr val="595965"/>
                </a:solidFill>
              </a:defRPr>
            </a:lvl1pPr>
            <a:lvl2pPr>
              <a:defRPr>
                <a:solidFill>
                  <a:srgbClr val="595965"/>
                </a:solidFill>
              </a:defRPr>
            </a:lvl2pPr>
            <a:lvl3pPr>
              <a:defRPr>
                <a:solidFill>
                  <a:srgbClr val="595965"/>
                </a:solidFill>
              </a:defRPr>
            </a:lvl3pPr>
            <a:lvl4pPr>
              <a:defRPr>
                <a:solidFill>
                  <a:srgbClr val="595965"/>
                </a:solidFill>
              </a:defRPr>
            </a:lvl4pPr>
            <a:lvl5pPr>
              <a:defRPr>
                <a:solidFill>
                  <a:srgbClr val="595965"/>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8" name="Otsikko 7"/>
          <p:cNvSpPr>
            <a:spLocks noGrp="1"/>
          </p:cNvSpPr>
          <p:nvPr>
            <p:ph type="title"/>
          </p:nvPr>
        </p:nvSpPr>
        <p:spPr>
          <a:xfrm>
            <a:off x="432785" y="235341"/>
            <a:ext cx="6587487" cy="974270"/>
          </a:xfrm>
        </p:spPr>
        <p:txBody>
          <a:bodyPr/>
          <a:lstStyle>
            <a:lvl1pPr>
              <a:defRPr>
                <a:solidFill>
                  <a:srgbClr val="595965"/>
                </a:solidFill>
              </a:defRPr>
            </a:lvl1pPr>
          </a:lstStyle>
          <a:p>
            <a:r>
              <a:rPr lang="en-US" dirty="0"/>
              <a:t>Click to edit Master title style</a:t>
            </a:r>
            <a:endParaRPr lang="fi-FI" dirty="0"/>
          </a:p>
        </p:txBody>
      </p:sp>
      <p:pic>
        <p:nvPicPr>
          <p:cNvPr id="16" name="Picture 15">
            <a:extLst>
              <a:ext uri="{FF2B5EF4-FFF2-40B4-BE49-F238E27FC236}">
                <a16:creationId xmlns:a16="http://schemas.microsoft.com/office/drawing/2014/main" id="{69A31FAB-93E6-9C47-A33D-8A717BF62E1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24329" y="4699761"/>
            <a:ext cx="1439764" cy="274350"/>
          </a:xfrm>
          <a:prstGeom prst="rect">
            <a:avLst/>
          </a:prstGeom>
        </p:spPr>
      </p:pic>
      <p:pic>
        <p:nvPicPr>
          <p:cNvPr id="17" name="Picture 16">
            <a:extLst>
              <a:ext uri="{FF2B5EF4-FFF2-40B4-BE49-F238E27FC236}">
                <a16:creationId xmlns:a16="http://schemas.microsoft.com/office/drawing/2014/main" id="{B2B30F64-7970-AA4F-A58E-1B0E2975A93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604449" y="235341"/>
            <a:ext cx="305495" cy="419486"/>
          </a:xfrm>
          <a:prstGeom prst="rect">
            <a:avLst/>
          </a:prstGeom>
        </p:spPr>
      </p:pic>
    </p:spTree>
    <p:extLst>
      <p:ext uri="{BB962C8B-B14F-4D97-AF65-F5344CB8AC3E}">
        <p14:creationId xmlns:p14="http://schemas.microsoft.com/office/powerpoint/2010/main" val="317879886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7_Väliotsikko">
    <p:spTree>
      <p:nvGrpSpPr>
        <p:cNvPr id="1" name=""/>
        <p:cNvGrpSpPr/>
        <p:nvPr/>
      </p:nvGrpSpPr>
      <p:grpSpPr>
        <a:xfrm>
          <a:off x="0" y="0"/>
          <a:ext cx="0" cy="0"/>
          <a:chOff x="0" y="0"/>
          <a:chExt cx="0" cy="0"/>
        </a:xfrm>
      </p:grpSpPr>
      <p:pic>
        <p:nvPicPr>
          <p:cNvPr id="2" name="Kuva 1"/>
          <p:cNvPicPr>
            <a:picLocks noChangeAspect="1"/>
          </p:cNvPicPr>
          <p:nvPr userDrawn="1"/>
        </p:nvPicPr>
        <p:blipFill rotWithShape="1">
          <a:blip r:embed="rId2" cstate="print">
            <a:extLst>
              <a:ext uri="{28A0092B-C50C-407E-A947-70E740481C1C}">
                <a14:useLocalDpi xmlns:a14="http://schemas.microsoft.com/office/drawing/2010/main" val="0"/>
              </a:ext>
            </a:extLst>
          </a:blip>
          <a:srcRect t="4078" r="20921"/>
          <a:stretch/>
        </p:blipFill>
        <p:spPr>
          <a:xfrm>
            <a:off x="2627785" y="-20538"/>
            <a:ext cx="6480720" cy="5184576"/>
          </a:xfrm>
          <a:prstGeom prst="rect">
            <a:avLst/>
          </a:prstGeom>
        </p:spPr>
      </p:pic>
      <p:sp>
        <p:nvSpPr>
          <p:cNvPr id="58" name="Rectangle 57"/>
          <p:cNvSpPr/>
          <p:nvPr userDrawn="1"/>
        </p:nvSpPr>
        <p:spPr>
          <a:xfrm rot="10800000" flipV="1">
            <a:off x="4427983" y="-21804"/>
            <a:ext cx="4714430" cy="5165302"/>
          </a:xfrm>
          <a:prstGeom prst="rect">
            <a:avLst/>
          </a:prstGeom>
          <a:solidFill>
            <a:schemeClr val="accent4">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a:p>
        </p:txBody>
      </p:sp>
      <p:sp>
        <p:nvSpPr>
          <p:cNvPr id="51" name="Rectangle 50"/>
          <p:cNvSpPr/>
          <p:nvPr userDrawn="1"/>
        </p:nvSpPr>
        <p:spPr>
          <a:xfrm rot="10800000" flipV="1">
            <a:off x="-10666" y="-21804"/>
            <a:ext cx="4582667" cy="5165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a:p>
        </p:txBody>
      </p:sp>
      <p:sp>
        <p:nvSpPr>
          <p:cNvPr id="54" name="Freeform 7"/>
          <p:cNvSpPr>
            <a:spLocks/>
          </p:cNvSpPr>
          <p:nvPr userDrawn="1"/>
        </p:nvSpPr>
        <p:spPr bwMode="auto">
          <a:xfrm rot="10800000" flipV="1">
            <a:off x="3392895" y="-21803"/>
            <a:ext cx="4279900" cy="5165302"/>
          </a:xfrm>
          <a:custGeom>
            <a:avLst/>
            <a:gdLst>
              <a:gd name="T0" fmla="*/ 2425 w 2696"/>
              <a:gd name="T1" fmla="*/ 3240 h 3240"/>
              <a:gd name="T2" fmla="*/ 2398 w 2696"/>
              <a:gd name="T3" fmla="*/ 3171 h 3240"/>
              <a:gd name="T4" fmla="*/ 2372 w 2696"/>
              <a:gd name="T5" fmla="*/ 3103 h 3240"/>
              <a:gd name="T6" fmla="*/ 2325 w 2696"/>
              <a:gd name="T7" fmla="*/ 2966 h 3240"/>
              <a:gd name="T8" fmla="*/ 2283 w 2696"/>
              <a:gd name="T9" fmla="*/ 2828 h 3240"/>
              <a:gd name="T10" fmla="*/ 2248 w 2696"/>
              <a:gd name="T11" fmla="*/ 2689 h 3240"/>
              <a:gd name="T12" fmla="*/ 2219 w 2696"/>
              <a:gd name="T13" fmla="*/ 2550 h 3240"/>
              <a:gd name="T14" fmla="*/ 2196 w 2696"/>
              <a:gd name="T15" fmla="*/ 2411 h 3240"/>
              <a:gd name="T16" fmla="*/ 2178 w 2696"/>
              <a:gd name="T17" fmla="*/ 2273 h 3240"/>
              <a:gd name="T18" fmla="*/ 2164 w 2696"/>
              <a:gd name="T19" fmla="*/ 2133 h 3240"/>
              <a:gd name="T20" fmla="*/ 2157 w 2696"/>
              <a:gd name="T21" fmla="*/ 1995 h 3240"/>
              <a:gd name="T22" fmla="*/ 2156 w 2696"/>
              <a:gd name="T23" fmla="*/ 1856 h 3240"/>
              <a:gd name="T24" fmla="*/ 2160 w 2696"/>
              <a:gd name="T25" fmla="*/ 1718 h 3240"/>
              <a:gd name="T26" fmla="*/ 2170 w 2696"/>
              <a:gd name="T27" fmla="*/ 1581 h 3240"/>
              <a:gd name="T28" fmla="*/ 2183 w 2696"/>
              <a:gd name="T29" fmla="*/ 1445 h 3240"/>
              <a:gd name="T30" fmla="*/ 2203 w 2696"/>
              <a:gd name="T31" fmla="*/ 1310 h 3240"/>
              <a:gd name="T32" fmla="*/ 2228 w 2696"/>
              <a:gd name="T33" fmla="*/ 1175 h 3240"/>
              <a:gd name="T34" fmla="*/ 2259 w 2696"/>
              <a:gd name="T35" fmla="*/ 1042 h 3240"/>
              <a:gd name="T36" fmla="*/ 2274 w 2696"/>
              <a:gd name="T37" fmla="*/ 977 h 3240"/>
              <a:gd name="T38" fmla="*/ 2313 w 2696"/>
              <a:gd name="T39" fmla="*/ 845 h 3240"/>
              <a:gd name="T40" fmla="*/ 2354 w 2696"/>
              <a:gd name="T41" fmla="*/ 716 h 3240"/>
              <a:gd name="T42" fmla="*/ 2400 w 2696"/>
              <a:gd name="T43" fmla="*/ 590 h 3240"/>
              <a:gd name="T44" fmla="*/ 2452 w 2696"/>
              <a:gd name="T45" fmla="*/ 466 h 3240"/>
              <a:gd name="T46" fmla="*/ 2507 w 2696"/>
              <a:gd name="T47" fmla="*/ 345 h 3240"/>
              <a:gd name="T48" fmla="*/ 2566 w 2696"/>
              <a:gd name="T49" fmla="*/ 227 h 3240"/>
              <a:gd name="T50" fmla="*/ 2630 w 2696"/>
              <a:gd name="T51" fmla="*/ 113 h 3240"/>
              <a:gd name="T52" fmla="*/ 2696 w 2696"/>
              <a:gd name="T53" fmla="*/ 0 h 3240"/>
              <a:gd name="T54" fmla="*/ 0 w 2696"/>
              <a:gd name="T55" fmla="*/ 0 h 3240"/>
              <a:gd name="T56" fmla="*/ 72 w 2696"/>
              <a:gd name="T57" fmla="*/ 207 h 3240"/>
              <a:gd name="T58" fmla="*/ 150 w 2696"/>
              <a:gd name="T59" fmla="*/ 414 h 3240"/>
              <a:gd name="T60" fmla="*/ 187 w 2696"/>
              <a:gd name="T61" fmla="*/ 510 h 3240"/>
              <a:gd name="T62" fmla="*/ 266 w 2696"/>
              <a:gd name="T63" fmla="*/ 701 h 3240"/>
              <a:gd name="T64" fmla="*/ 349 w 2696"/>
              <a:gd name="T65" fmla="*/ 890 h 3240"/>
              <a:gd name="T66" fmla="*/ 436 w 2696"/>
              <a:gd name="T67" fmla="*/ 1077 h 3240"/>
              <a:gd name="T68" fmla="*/ 527 w 2696"/>
              <a:gd name="T69" fmla="*/ 1262 h 3240"/>
              <a:gd name="T70" fmla="*/ 622 w 2696"/>
              <a:gd name="T71" fmla="*/ 1446 h 3240"/>
              <a:gd name="T72" fmla="*/ 722 w 2696"/>
              <a:gd name="T73" fmla="*/ 1627 h 3240"/>
              <a:gd name="T74" fmla="*/ 826 w 2696"/>
              <a:gd name="T75" fmla="*/ 1807 h 3240"/>
              <a:gd name="T76" fmla="*/ 934 w 2696"/>
              <a:gd name="T77" fmla="*/ 1983 h 3240"/>
              <a:gd name="T78" fmla="*/ 1046 w 2696"/>
              <a:gd name="T79" fmla="*/ 2159 h 3240"/>
              <a:gd name="T80" fmla="*/ 1162 w 2696"/>
              <a:gd name="T81" fmla="*/ 2332 h 3240"/>
              <a:gd name="T82" fmla="*/ 1282 w 2696"/>
              <a:gd name="T83" fmla="*/ 2503 h 3240"/>
              <a:gd name="T84" fmla="*/ 1406 w 2696"/>
              <a:gd name="T85" fmla="*/ 2671 h 3240"/>
              <a:gd name="T86" fmla="*/ 1535 w 2696"/>
              <a:gd name="T87" fmla="*/ 2837 h 3240"/>
              <a:gd name="T88" fmla="*/ 1667 w 2696"/>
              <a:gd name="T89" fmla="*/ 3000 h 3240"/>
              <a:gd name="T90" fmla="*/ 1804 w 2696"/>
              <a:gd name="T91" fmla="*/ 3160 h 3240"/>
              <a:gd name="T92" fmla="*/ 1874 w 2696"/>
              <a:gd name="T93" fmla="*/ 3240 h 3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96" h="3240">
                <a:moveTo>
                  <a:pt x="1874" y="3240"/>
                </a:moveTo>
                <a:lnTo>
                  <a:pt x="2425" y="3240"/>
                </a:lnTo>
                <a:lnTo>
                  <a:pt x="2425" y="3240"/>
                </a:lnTo>
                <a:lnTo>
                  <a:pt x="2398" y="3171"/>
                </a:lnTo>
                <a:lnTo>
                  <a:pt x="2398" y="3171"/>
                </a:lnTo>
                <a:lnTo>
                  <a:pt x="2372" y="3103"/>
                </a:lnTo>
                <a:lnTo>
                  <a:pt x="2347" y="3034"/>
                </a:lnTo>
                <a:lnTo>
                  <a:pt x="2325" y="2966"/>
                </a:lnTo>
                <a:lnTo>
                  <a:pt x="2304" y="2897"/>
                </a:lnTo>
                <a:lnTo>
                  <a:pt x="2283" y="2828"/>
                </a:lnTo>
                <a:lnTo>
                  <a:pt x="2265" y="2759"/>
                </a:lnTo>
                <a:lnTo>
                  <a:pt x="2248" y="2689"/>
                </a:lnTo>
                <a:lnTo>
                  <a:pt x="2233" y="2620"/>
                </a:lnTo>
                <a:lnTo>
                  <a:pt x="2219" y="2550"/>
                </a:lnTo>
                <a:lnTo>
                  <a:pt x="2207" y="2481"/>
                </a:lnTo>
                <a:lnTo>
                  <a:pt x="2196" y="2411"/>
                </a:lnTo>
                <a:lnTo>
                  <a:pt x="2185" y="2342"/>
                </a:lnTo>
                <a:lnTo>
                  <a:pt x="2178" y="2273"/>
                </a:lnTo>
                <a:lnTo>
                  <a:pt x="2170" y="2203"/>
                </a:lnTo>
                <a:lnTo>
                  <a:pt x="2164" y="2133"/>
                </a:lnTo>
                <a:lnTo>
                  <a:pt x="2161" y="2063"/>
                </a:lnTo>
                <a:lnTo>
                  <a:pt x="2157" y="1995"/>
                </a:lnTo>
                <a:lnTo>
                  <a:pt x="2156" y="1925"/>
                </a:lnTo>
                <a:lnTo>
                  <a:pt x="2156" y="1856"/>
                </a:lnTo>
                <a:lnTo>
                  <a:pt x="2157" y="1787"/>
                </a:lnTo>
                <a:lnTo>
                  <a:pt x="2160" y="1718"/>
                </a:lnTo>
                <a:lnTo>
                  <a:pt x="2164" y="1649"/>
                </a:lnTo>
                <a:lnTo>
                  <a:pt x="2170" y="1581"/>
                </a:lnTo>
                <a:lnTo>
                  <a:pt x="2175" y="1513"/>
                </a:lnTo>
                <a:lnTo>
                  <a:pt x="2183" y="1445"/>
                </a:lnTo>
                <a:lnTo>
                  <a:pt x="2193" y="1377"/>
                </a:lnTo>
                <a:lnTo>
                  <a:pt x="2203" y="1310"/>
                </a:lnTo>
                <a:lnTo>
                  <a:pt x="2215" y="1242"/>
                </a:lnTo>
                <a:lnTo>
                  <a:pt x="2228" y="1175"/>
                </a:lnTo>
                <a:lnTo>
                  <a:pt x="2243" y="1108"/>
                </a:lnTo>
                <a:lnTo>
                  <a:pt x="2259" y="1042"/>
                </a:lnTo>
                <a:lnTo>
                  <a:pt x="2274" y="977"/>
                </a:lnTo>
                <a:lnTo>
                  <a:pt x="2274" y="977"/>
                </a:lnTo>
                <a:lnTo>
                  <a:pt x="2293" y="910"/>
                </a:lnTo>
                <a:lnTo>
                  <a:pt x="2313" y="845"/>
                </a:lnTo>
                <a:lnTo>
                  <a:pt x="2333" y="780"/>
                </a:lnTo>
                <a:lnTo>
                  <a:pt x="2354" y="716"/>
                </a:lnTo>
                <a:lnTo>
                  <a:pt x="2377" y="653"/>
                </a:lnTo>
                <a:lnTo>
                  <a:pt x="2400" y="590"/>
                </a:lnTo>
                <a:lnTo>
                  <a:pt x="2426" y="528"/>
                </a:lnTo>
                <a:lnTo>
                  <a:pt x="2452" y="466"/>
                </a:lnTo>
                <a:lnTo>
                  <a:pt x="2479" y="405"/>
                </a:lnTo>
                <a:lnTo>
                  <a:pt x="2507" y="345"/>
                </a:lnTo>
                <a:lnTo>
                  <a:pt x="2536" y="286"/>
                </a:lnTo>
                <a:lnTo>
                  <a:pt x="2566" y="227"/>
                </a:lnTo>
                <a:lnTo>
                  <a:pt x="2597" y="169"/>
                </a:lnTo>
                <a:lnTo>
                  <a:pt x="2630" y="113"/>
                </a:lnTo>
                <a:lnTo>
                  <a:pt x="2662" y="55"/>
                </a:lnTo>
                <a:lnTo>
                  <a:pt x="2696" y="0"/>
                </a:lnTo>
                <a:lnTo>
                  <a:pt x="0" y="0"/>
                </a:lnTo>
                <a:lnTo>
                  <a:pt x="0" y="0"/>
                </a:lnTo>
                <a:lnTo>
                  <a:pt x="35" y="104"/>
                </a:lnTo>
                <a:lnTo>
                  <a:pt x="72" y="207"/>
                </a:lnTo>
                <a:lnTo>
                  <a:pt x="111" y="311"/>
                </a:lnTo>
                <a:lnTo>
                  <a:pt x="150" y="414"/>
                </a:lnTo>
                <a:lnTo>
                  <a:pt x="150" y="414"/>
                </a:lnTo>
                <a:lnTo>
                  <a:pt x="187" y="510"/>
                </a:lnTo>
                <a:lnTo>
                  <a:pt x="226" y="605"/>
                </a:lnTo>
                <a:lnTo>
                  <a:pt x="266" y="701"/>
                </a:lnTo>
                <a:lnTo>
                  <a:pt x="306" y="795"/>
                </a:lnTo>
                <a:lnTo>
                  <a:pt x="349" y="890"/>
                </a:lnTo>
                <a:lnTo>
                  <a:pt x="392" y="983"/>
                </a:lnTo>
                <a:lnTo>
                  <a:pt x="436" y="1077"/>
                </a:lnTo>
                <a:lnTo>
                  <a:pt x="481" y="1169"/>
                </a:lnTo>
                <a:lnTo>
                  <a:pt x="527" y="1262"/>
                </a:lnTo>
                <a:lnTo>
                  <a:pt x="574" y="1353"/>
                </a:lnTo>
                <a:lnTo>
                  <a:pt x="622" y="1446"/>
                </a:lnTo>
                <a:lnTo>
                  <a:pt x="672" y="1537"/>
                </a:lnTo>
                <a:lnTo>
                  <a:pt x="722" y="1627"/>
                </a:lnTo>
                <a:lnTo>
                  <a:pt x="773" y="1717"/>
                </a:lnTo>
                <a:lnTo>
                  <a:pt x="826" y="1807"/>
                </a:lnTo>
                <a:lnTo>
                  <a:pt x="879" y="1896"/>
                </a:lnTo>
                <a:lnTo>
                  <a:pt x="934" y="1983"/>
                </a:lnTo>
                <a:lnTo>
                  <a:pt x="989" y="2072"/>
                </a:lnTo>
                <a:lnTo>
                  <a:pt x="1046" y="2159"/>
                </a:lnTo>
                <a:lnTo>
                  <a:pt x="1104" y="2246"/>
                </a:lnTo>
                <a:lnTo>
                  <a:pt x="1162" y="2332"/>
                </a:lnTo>
                <a:lnTo>
                  <a:pt x="1222" y="2418"/>
                </a:lnTo>
                <a:lnTo>
                  <a:pt x="1282" y="2503"/>
                </a:lnTo>
                <a:lnTo>
                  <a:pt x="1344" y="2588"/>
                </a:lnTo>
                <a:lnTo>
                  <a:pt x="1406" y="2671"/>
                </a:lnTo>
                <a:lnTo>
                  <a:pt x="1470" y="2754"/>
                </a:lnTo>
                <a:lnTo>
                  <a:pt x="1535" y="2837"/>
                </a:lnTo>
                <a:lnTo>
                  <a:pt x="1601" y="2918"/>
                </a:lnTo>
                <a:lnTo>
                  <a:pt x="1667" y="3000"/>
                </a:lnTo>
                <a:lnTo>
                  <a:pt x="1736" y="3080"/>
                </a:lnTo>
                <a:lnTo>
                  <a:pt x="1804" y="3160"/>
                </a:lnTo>
                <a:lnTo>
                  <a:pt x="1874" y="3240"/>
                </a:lnTo>
                <a:lnTo>
                  <a:pt x="1874" y="3240"/>
                </a:lnTo>
                <a:close/>
              </a:path>
            </a:pathLst>
          </a:custGeom>
          <a:solidFill>
            <a:srgbClr val="EA006F"/>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10" name="Otsikko 1"/>
          <p:cNvSpPr>
            <a:spLocks noGrp="1"/>
          </p:cNvSpPr>
          <p:nvPr userDrawn="1">
            <p:ph type="ctrTitle"/>
          </p:nvPr>
        </p:nvSpPr>
        <p:spPr>
          <a:xfrm>
            <a:off x="366652" y="411510"/>
            <a:ext cx="3485269" cy="2967062"/>
          </a:xfrm>
        </p:spPr>
        <p:txBody>
          <a:bodyPr anchor="b" anchorCtr="0">
            <a:noAutofit/>
          </a:bodyPr>
          <a:lstStyle>
            <a:lvl1pPr algn="l">
              <a:defRPr sz="4000">
                <a:solidFill>
                  <a:schemeClr val="accent4"/>
                </a:solidFill>
              </a:defRPr>
            </a:lvl1pPr>
          </a:lstStyle>
          <a:p>
            <a:r>
              <a:rPr lang="en-US" dirty="0"/>
              <a:t>Click to edit Master title style</a:t>
            </a:r>
            <a:endParaRPr lang="fi-FI" dirty="0"/>
          </a:p>
        </p:txBody>
      </p:sp>
      <p:sp>
        <p:nvSpPr>
          <p:cNvPr id="11" name="Alaotsikko 2"/>
          <p:cNvSpPr>
            <a:spLocks noGrp="1"/>
          </p:cNvSpPr>
          <p:nvPr userDrawn="1">
            <p:ph type="subTitle" idx="1"/>
          </p:nvPr>
        </p:nvSpPr>
        <p:spPr>
          <a:xfrm>
            <a:off x="366652" y="3507854"/>
            <a:ext cx="3485270" cy="1512168"/>
          </a:xfrm>
        </p:spPr>
        <p:txBody>
          <a:bodyPr>
            <a:normAutofit/>
          </a:bodyPr>
          <a:lstStyle>
            <a:lvl1pPr marL="0" indent="0" algn="l">
              <a:spcBef>
                <a:spcPts val="0"/>
              </a:spcBef>
              <a:buNone/>
              <a:defRPr sz="1800">
                <a:solidFill>
                  <a:srgbClr val="595965"/>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endParaRPr lang="fi-FI" dirty="0"/>
          </a:p>
        </p:txBody>
      </p:sp>
      <p:sp>
        <p:nvSpPr>
          <p:cNvPr id="32" name="Freeform 30"/>
          <p:cNvSpPr>
            <a:spLocks/>
          </p:cNvSpPr>
          <p:nvPr userDrawn="1"/>
        </p:nvSpPr>
        <p:spPr bwMode="auto">
          <a:xfrm>
            <a:off x="7331075" y="1931691"/>
            <a:ext cx="371475" cy="98425"/>
          </a:xfrm>
          <a:custGeom>
            <a:avLst/>
            <a:gdLst>
              <a:gd name="T0" fmla="*/ 87 w 2807"/>
              <a:gd name="T1" fmla="*/ 343 h 743"/>
              <a:gd name="T2" fmla="*/ 203 w 2807"/>
              <a:gd name="T3" fmla="*/ 417 h 743"/>
              <a:gd name="T4" fmla="*/ 319 w 2807"/>
              <a:gd name="T5" fmla="*/ 479 h 743"/>
              <a:gd name="T6" fmla="*/ 430 w 2807"/>
              <a:gd name="T7" fmla="*/ 529 h 743"/>
              <a:gd name="T8" fmla="*/ 603 w 2807"/>
              <a:gd name="T9" fmla="*/ 595 h 743"/>
              <a:gd name="T10" fmla="*/ 724 w 2807"/>
              <a:gd name="T11" fmla="*/ 633 h 743"/>
              <a:gd name="T12" fmla="*/ 857 w 2807"/>
              <a:gd name="T13" fmla="*/ 666 h 743"/>
              <a:gd name="T14" fmla="*/ 1001 w 2807"/>
              <a:gd name="T15" fmla="*/ 696 h 743"/>
              <a:gd name="T16" fmla="*/ 1157 w 2807"/>
              <a:gd name="T17" fmla="*/ 719 h 743"/>
              <a:gd name="T18" fmla="*/ 1324 w 2807"/>
              <a:gd name="T19" fmla="*/ 736 h 743"/>
              <a:gd name="T20" fmla="*/ 1502 w 2807"/>
              <a:gd name="T21" fmla="*/ 743 h 743"/>
              <a:gd name="T22" fmla="*/ 1689 w 2807"/>
              <a:gd name="T23" fmla="*/ 738 h 743"/>
              <a:gd name="T24" fmla="*/ 1819 w 2807"/>
              <a:gd name="T25" fmla="*/ 729 h 743"/>
              <a:gd name="T26" fmla="*/ 1999 w 2807"/>
              <a:gd name="T27" fmla="*/ 706 h 743"/>
              <a:gd name="T28" fmla="*/ 2159 w 2807"/>
              <a:gd name="T29" fmla="*/ 678 h 743"/>
              <a:gd name="T30" fmla="*/ 2302 w 2807"/>
              <a:gd name="T31" fmla="*/ 643 h 743"/>
              <a:gd name="T32" fmla="*/ 2426 w 2807"/>
              <a:gd name="T33" fmla="*/ 605 h 743"/>
              <a:gd name="T34" fmla="*/ 2533 w 2807"/>
              <a:gd name="T35" fmla="*/ 566 h 743"/>
              <a:gd name="T36" fmla="*/ 2672 w 2807"/>
              <a:gd name="T37" fmla="*/ 505 h 743"/>
              <a:gd name="T38" fmla="*/ 2773 w 2807"/>
              <a:gd name="T39" fmla="*/ 449 h 743"/>
              <a:gd name="T40" fmla="*/ 2807 w 2807"/>
              <a:gd name="T41" fmla="*/ 426 h 743"/>
              <a:gd name="T42" fmla="*/ 2745 w 2807"/>
              <a:gd name="T43" fmla="*/ 402 h 743"/>
              <a:gd name="T44" fmla="*/ 2688 w 2807"/>
              <a:gd name="T45" fmla="*/ 372 h 743"/>
              <a:gd name="T46" fmla="*/ 2586 w 2807"/>
              <a:gd name="T47" fmla="*/ 303 h 743"/>
              <a:gd name="T48" fmla="*/ 2529 w 2807"/>
              <a:gd name="T49" fmla="*/ 256 h 743"/>
              <a:gd name="T50" fmla="*/ 2518 w 2807"/>
              <a:gd name="T51" fmla="*/ 294 h 743"/>
              <a:gd name="T52" fmla="*/ 2507 w 2807"/>
              <a:gd name="T53" fmla="*/ 381 h 743"/>
              <a:gd name="T54" fmla="*/ 2499 w 2807"/>
              <a:gd name="T55" fmla="*/ 413 h 743"/>
              <a:gd name="T56" fmla="*/ 2443 w 2807"/>
              <a:gd name="T57" fmla="*/ 391 h 743"/>
              <a:gd name="T58" fmla="*/ 2423 w 2807"/>
              <a:gd name="T59" fmla="*/ 381 h 743"/>
              <a:gd name="T60" fmla="*/ 2392 w 2807"/>
              <a:gd name="T61" fmla="*/ 357 h 743"/>
              <a:gd name="T62" fmla="*/ 2361 w 2807"/>
              <a:gd name="T63" fmla="*/ 324 h 743"/>
              <a:gd name="T64" fmla="*/ 2334 w 2807"/>
              <a:gd name="T65" fmla="*/ 283 h 743"/>
              <a:gd name="T66" fmla="*/ 2316 w 2807"/>
              <a:gd name="T67" fmla="*/ 235 h 743"/>
              <a:gd name="T68" fmla="*/ 2310 w 2807"/>
              <a:gd name="T69" fmla="*/ 199 h 743"/>
              <a:gd name="T70" fmla="*/ 2252 w 2807"/>
              <a:gd name="T71" fmla="*/ 195 h 743"/>
              <a:gd name="T72" fmla="*/ 2110 w 2807"/>
              <a:gd name="T73" fmla="*/ 243 h 743"/>
              <a:gd name="T74" fmla="*/ 1984 w 2807"/>
              <a:gd name="T75" fmla="*/ 277 h 743"/>
              <a:gd name="T76" fmla="*/ 1843 w 2807"/>
              <a:gd name="T77" fmla="*/ 303 h 743"/>
              <a:gd name="T78" fmla="*/ 1697 w 2807"/>
              <a:gd name="T79" fmla="*/ 319 h 743"/>
              <a:gd name="T80" fmla="*/ 1558 w 2807"/>
              <a:gd name="T81" fmla="*/ 322 h 743"/>
              <a:gd name="T82" fmla="*/ 1293 w 2807"/>
              <a:gd name="T83" fmla="*/ 312 h 743"/>
              <a:gd name="T84" fmla="*/ 1030 w 2807"/>
              <a:gd name="T85" fmla="*/ 282 h 743"/>
              <a:gd name="T86" fmla="*/ 855 w 2807"/>
              <a:gd name="T87" fmla="*/ 251 h 743"/>
              <a:gd name="T88" fmla="*/ 725 w 2807"/>
              <a:gd name="T89" fmla="*/ 221 h 743"/>
              <a:gd name="T90" fmla="*/ 594 w 2807"/>
              <a:gd name="T91" fmla="*/ 185 h 743"/>
              <a:gd name="T92" fmla="*/ 465 w 2807"/>
              <a:gd name="T93" fmla="*/ 143 h 743"/>
              <a:gd name="T94" fmla="*/ 336 w 2807"/>
              <a:gd name="T95" fmla="*/ 94 h 743"/>
              <a:gd name="T96" fmla="*/ 251 w 2807"/>
              <a:gd name="T97" fmla="*/ 58 h 743"/>
              <a:gd name="T98" fmla="*/ 122 w 2807"/>
              <a:gd name="T99" fmla="*/ 0 h 743"/>
              <a:gd name="T100" fmla="*/ 119 w 2807"/>
              <a:gd name="T101" fmla="*/ 19 h 743"/>
              <a:gd name="T102" fmla="*/ 121 w 2807"/>
              <a:gd name="T103" fmla="*/ 51 h 743"/>
              <a:gd name="T104" fmla="*/ 136 w 2807"/>
              <a:gd name="T105" fmla="*/ 96 h 743"/>
              <a:gd name="T106" fmla="*/ 171 w 2807"/>
              <a:gd name="T107" fmla="*/ 156 h 743"/>
              <a:gd name="T108" fmla="*/ 207 w 2807"/>
              <a:gd name="T109" fmla="*/ 204 h 743"/>
              <a:gd name="T110" fmla="*/ 151 w 2807"/>
              <a:gd name="T111" fmla="*/ 199 h 743"/>
              <a:gd name="T112" fmla="*/ 98 w 2807"/>
              <a:gd name="T113" fmla="*/ 204 h 743"/>
              <a:gd name="T114" fmla="*/ 69 w 2807"/>
              <a:gd name="T115" fmla="*/ 215 h 743"/>
              <a:gd name="T116" fmla="*/ 32 w 2807"/>
              <a:gd name="T117" fmla="*/ 244 h 743"/>
              <a:gd name="T118" fmla="*/ 7 w 2807"/>
              <a:gd name="T119" fmla="*/ 272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07" h="743">
                <a:moveTo>
                  <a:pt x="0" y="284"/>
                </a:moveTo>
                <a:lnTo>
                  <a:pt x="0" y="284"/>
                </a:lnTo>
                <a:lnTo>
                  <a:pt x="87" y="343"/>
                </a:lnTo>
                <a:lnTo>
                  <a:pt x="127" y="369"/>
                </a:lnTo>
                <a:lnTo>
                  <a:pt x="166" y="394"/>
                </a:lnTo>
                <a:lnTo>
                  <a:pt x="203" y="417"/>
                </a:lnTo>
                <a:lnTo>
                  <a:pt x="241" y="438"/>
                </a:lnTo>
                <a:lnTo>
                  <a:pt x="280" y="460"/>
                </a:lnTo>
                <a:lnTo>
                  <a:pt x="319" y="479"/>
                </a:lnTo>
                <a:lnTo>
                  <a:pt x="319" y="479"/>
                </a:lnTo>
                <a:lnTo>
                  <a:pt x="372" y="504"/>
                </a:lnTo>
                <a:lnTo>
                  <a:pt x="430" y="529"/>
                </a:lnTo>
                <a:lnTo>
                  <a:pt x="495" y="556"/>
                </a:lnTo>
                <a:lnTo>
                  <a:pt x="565" y="581"/>
                </a:lnTo>
                <a:lnTo>
                  <a:pt x="603" y="595"/>
                </a:lnTo>
                <a:lnTo>
                  <a:pt x="642" y="607"/>
                </a:lnTo>
                <a:lnTo>
                  <a:pt x="682" y="620"/>
                </a:lnTo>
                <a:lnTo>
                  <a:pt x="724" y="633"/>
                </a:lnTo>
                <a:lnTo>
                  <a:pt x="767" y="644"/>
                </a:lnTo>
                <a:lnTo>
                  <a:pt x="811" y="655"/>
                </a:lnTo>
                <a:lnTo>
                  <a:pt x="857" y="666"/>
                </a:lnTo>
                <a:lnTo>
                  <a:pt x="903" y="677"/>
                </a:lnTo>
                <a:lnTo>
                  <a:pt x="952" y="687"/>
                </a:lnTo>
                <a:lnTo>
                  <a:pt x="1001" y="696"/>
                </a:lnTo>
                <a:lnTo>
                  <a:pt x="1052" y="705"/>
                </a:lnTo>
                <a:lnTo>
                  <a:pt x="1104" y="713"/>
                </a:lnTo>
                <a:lnTo>
                  <a:pt x="1157" y="719"/>
                </a:lnTo>
                <a:lnTo>
                  <a:pt x="1212" y="727"/>
                </a:lnTo>
                <a:lnTo>
                  <a:pt x="1267" y="732"/>
                </a:lnTo>
                <a:lnTo>
                  <a:pt x="1324" y="736"/>
                </a:lnTo>
                <a:lnTo>
                  <a:pt x="1382" y="739"/>
                </a:lnTo>
                <a:lnTo>
                  <a:pt x="1442" y="741"/>
                </a:lnTo>
                <a:lnTo>
                  <a:pt x="1502" y="743"/>
                </a:lnTo>
                <a:lnTo>
                  <a:pt x="1563" y="742"/>
                </a:lnTo>
                <a:lnTo>
                  <a:pt x="1626" y="741"/>
                </a:lnTo>
                <a:lnTo>
                  <a:pt x="1689" y="738"/>
                </a:lnTo>
                <a:lnTo>
                  <a:pt x="1754" y="734"/>
                </a:lnTo>
                <a:lnTo>
                  <a:pt x="1819" y="729"/>
                </a:lnTo>
                <a:lnTo>
                  <a:pt x="1819" y="729"/>
                </a:lnTo>
                <a:lnTo>
                  <a:pt x="1881" y="723"/>
                </a:lnTo>
                <a:lnTo>
                  <a:pt x="1941" y="714"/>
                </a:lnTo>
                <a:lnTo>
                  <a:pt x="1999" y="706"/>
                </a:lnTo>
                <a:lnTo>
                  <a:pt x="2054" y="697"/>
                </a:lnTo>
                <a:lnTo>
                  <a:pt x="2108" y="688"/>
                </a:lnTo>
                <a:lnTo>
                  <a:pt x="2159" y="678"/>
                </a:lnTo>
                <a:lnTo>
                  <a:pt x="2209" y="666"/>
                </a:lnTo>
                <a:lnTo>
                  <a:pt x="2257" y="655"/>
                </a:lnTo>
                <a:lnTo>
                  <a:pt x="2302" y="643"/>
                </a:lnTo>
                <a:lnTo>
                  <a:pt x="2346" y="631"/>
                </a:lnTo>
                <a:lnTo>
                  <a:pt x="2387" y="618"/>
                </a:lnTo>
                <a:lnTo>
                  <a:pt x="2426" y="605"/>
                </a:lnTo>
                <a:lnTo>
                  <a:pt x="2464" y="593"/>
                </a:lnTo>
                <a:lnTo>
                  <a:pt x="2500" y="579"/>
                </a:lnTo>
                <a:lnTo>
                  <a:pt x="2533" y="566"/>
                </a:lnTo>
                <a:lnTo>
                  <a:pt x="2564" y="554"/>
                </a:lnTo>
                <a:lnTo>
                  <a:pt x="2622" y="528"/>
                </a:lnTo>
                <a:lnTo>
                  <a:pt x="2672" y="505"/>
                </a:lnTo>
                <a:lnTo>
                  <a:pt x="2713" y="483"/>
                </a:lnTo>
                <a:lnTo>
                  <a:pt x="2747" y="465"/>
                </a:lnTo>
                <a:lnTo>
                  <a:pt x="2773" y="449"/>
                </a:lnTo>
                <a:lnTo>
                  <a:pt x="2792" y="436"/>
                </a:lnTo>
                <a:lnTo>
                  <a:pt x="2807" y="426"/>
                </a:lnTo>
                <a:lnTo>
                  <a:pt x="2807" y="426"/>
                </a:lnTo>
                <a:lnTo>
                  <a:pt x="2786" y="419"/>
                </a:lnTo>
                <a:lnTo>
                  <a:pt x="2766" y="410"/>
                </a:lnTo>
                <a:lnTo>
                  <a:pt x="2745" y="402"/>
                </a:lnTo>
                <a:lnTo>
                  <a:pt x="2726" y="391"/>
                </a:lnTo>
                <a:lnTo>
                  <a:pt x="2706" y="382"/>
                </a:lnTo>
                <a:lnTo>
                  <a:pt x="2688" y="372"/>
                </a:lnTo>
                <a:lnTo>
                  <a:pt x="2651" y="349"/>
                </a:lnTo>
                <a:lnTo>
                  <a:pt x="2618" y="327"/>
                </a:lnTo>
                <a:lnTo>
                  <a:pt x="2586" y="303"/>
                </a:lnTo>
                <a:lnTo>
                  <a:pt x="2556" y="280"/>
                </a:lnTo>
                <a:lnTo>
                  <a:pt x="2529" y="256"/>
                </a:lnTo>
                <a:lnTo>
                  <a:pt x="2529" y="256"/>
                </a:lnTo>
                <a:lnTo>
                  <a:pt x="2524" y="266"/>
                </a:lnTo>
                <a:lnTo>
                  <a:pt x="2521" y="279"/>
                </a:lnTo>
                <a:lnTo>
                  <a:pt x="2518" y="294"/>
                </a:lnTo>
                <a:lnTo>
                  <a:pt x="2515" y="312"/>
                </a:lnTo>
                <a:lnTo>
                  <a:pt x="2515" y="312"/>
                </a:lnTo>
                <a:lnTo>
                  <a:pt x="2507" y="381"/>
                </a:lnTo>
                <a:lnTo>
                  <a:pt x="2503" y="414"/>
                </a:lnTo>
                <a:lnTo>
                  <a:pt x="2503" y="414"/>
                </a:lnTo>
                <a:lnTo>
                  <a:pt x="2499" y="413"/>
                </a:lnTo>
                <a:lnTo>
                  <a:pt x="2489" y="410"/>
                </a:lnTo>
                <a:lnTo>
                  <a:pt x="2470" y="403"/>
                </a:lnTo>
                <a:lnTo>
                  <a:pt x="2443" y="391"/>
                </a:lnTo>
                <a:lnTo>
                  <a:pt x="2443" y="391"/>
                </a:lnTo>
                <a:lnTo>
                  <a:pt x="2433" y="387"/>
                </a:lnTo>
                <a:lnTo>
                  <a:pt x="2423" y="381"/>
                </a:lnTo>
                <a:lnTo>
                  <a:pt x="2413" y="374"/>
                </a:lnTo>
                <a:lnTo>
                  <a:pt x="2403" y="366"/>
                </a:lnTo>
                <a:lnTo>
                  <a:pt x="2392" y="357"/>
                </a:lnTo>
                <a:lnTo>
                  <a:pt x="2381" y="347"/>
                </a:lnTo>
                <a:lnTo>
                  <a:pt x="2371" y="336"/>
                </a:lnTo>
                <a:lnTo>
                  <a:pt x="2361" y="324"/>
                </a:lnTo>
                <a:lnTo>
                  <a:pt x="2351" y="312"/>
                </a:lnTo>
                <a:lnTo>
                  <a:pt x="2342" y="297"/>
                </a:lnTo>
                <a:lnTo>
                  <a:pt x="2334" y="283"/>
                </a:lnTo>
                <a:lnTo>
                  <a:pt x="2326" y="268"/>
                </a:lnTo>
                <a:lnTo>
                  <a:pt x="2320" y="251"/>
                </a:lnTo>
                <a:lnTo>
                  <a:pt x="2316" y="235"/>
                </a:lnTo>
                <a:lnTo>
                  <a:pt x="2312" y="216"/>
                </a:lnTo>
                <a:lnTo>
                  <a:pt x="2310" y="199"/>
                </a:lnTo>
                <a:lnTo>
                  <a:pt x="2310" y="199"/>
                </a:lnTo>
                <a:lnTo>
                  <a:pt x="2309" y="174"/>
                </a:lnTo>
                <a:lnTo>
                  <a:pt x="2309" y="174"/>
                </a:lnTo>
                <a:lnTo>
                  <a:pt x="2252" y="195"/>
                </a:lnTo>
                <a:lnTo>
                  <a:pt x="2186" y="218"/>
                </a:lnTo>
                <a:lnTo>
                  <a:pt x="2149" y="231"/>
                </a:lnTo>
                <a:lnTo>
                  <a:pt x="2110" y="243"/>
                </a:lnTo>
                <a:lnTo>
                  <a:pt x="2069" y="254"/>
                </a:lnTo>
                <a:lnTo>
                  <a:pt x="2028" y="266"/>
                </a:lnTo>
                <a:lnTo>
                  <a:pt x="1984" y="277"/>
                </a:lnTo>
                <a:lnTo>
                  <a:pt x="1938" y="286"/>
                </a:lnTo>
                <a:lnTo>
                  <a:pt x="1892" y="295"/>
                </a:lnTo>
                <a:lnTo>
                  <a:pt x="1843" y="303"/>
                </a:lnTo>
                <a:lnTo>
                  <a:pt x="1795" y="311"/>
                </a:lnTo>
                <a:lnTo>
                  <a:pt x="1746" y="316"/>
                </a:lnTo>
                <a:lnTo>
                  <a:pt x="1697" y="319"/>
                </a:lnTo>
                <a:lnTo>
                  <a:pt x="1647" y="321"/>
                </a:lnTo>
                <a:lnTo>
                  <a:pt x="1647" y="321"/>
                </a:lnTo>
                <a:lnTo>
                  <a:pt x="1558" y="322"/>
                </a:lnTo>
                <a:lnTo>
                  <a:pt x="1470" y="321"/>
                </a:lnTo>
                <a:lnTo>
                  <a:pt x="1382" y="317"/>
                </a:lnTo>
                <a:lnTo>
                  <a:pt x="1293" y="312"/>
                </a:lnTo>
                <a:lnTo>
                  <a:pt x="1205" y="304"/>
                </a:lnTo>
                <a:lnTo>
                  <a:pt x="1118" y="294"/>
                </a:lnTo>
                <a:lnTo>
                  <a:pt x="1030" y="282"/>
                </a:lnTo>
                <a:lnTo>
                  <a:pt x="943" y="268"/>
                </a:lnTo>
                <a:lnTo>
                  <a:pt x="899" y="259"/>
                </a:lnTo>
                <a:lnTo>
                  <a:pt x="855" y="251"/>
                </a:lnTo>
                <a:lnTo>
                  <a:pt x="812" y="241"/>
                </a:lnTo>
                <a:lnTo>
                  <a:pt x="768" y="231"/>
                </a:lnTo>
                <a:lnTo>
                  <a:pt x="725" y="221"/>
                </a:lnTo>
                <a:lnTo>
                  <a:pt x="681" y="209"/>
                </a:lnTo>
                <a:lnTo>
                  <a:pt x="638" y="197"/>
                </a:lnTo>
                <a:lnTo>
                  <a:pt x="594" y="185"/>
                </a:lnTo>
                <a:lnTo>
                  <a:pt x="551" y="171"/>
                </a:lnTo>
                <a:lnTo>
                  <a:pt x="508" y="157"/>
                </a:lnTo>
                <a:lnTo>
                  <a:pt x="465" y="143"/>
                </a:lnTo>
                <a:lnTo>
                  <a:pt x="422" y="127"/>
                </a:lnTo>
                <a:lnTo>
                  <a:pt x="379" y="111"/>
                </a:lnTo>
                <a:lnTo>
                  <a:pt x="336" y="94"/>
                </a:lnTo>
                <a:lnTo>
                  <a:pt x="294" y="76"/>
                </a:lnTo>
                <a:lnTo>
                  <a:pt x="251" y="58"/>
                </a:lnTo>
                <a:lnTo>
                  <a:pt x="251" y="58"/>
                </a:lnTo>
                <a:lnTo>
                  <a:pt x="165" y="19"/>
                </a:lnTo>
                <a:lnTo>
                  <a:pt x="122" y="0"/>
                </a:lnTo>
                <a:lnTo>
                  <a:pt x="122" y="0"/>
                </a:lnTo>
                <a:lnTo>
                  <a:pt x="121" y="3"/>
                </a:lnTo>
                <a:lnTo>
                  <a:pt x="119" y="12"/>
                </a:lnTo>
                <a:lnTo>
                  <a:pt x="119" y="19"/>
                </a:lnTo>
                <a:lnTo>
                  <a:pt x="119" y="28"/>
                </a:lnTo>
                <a:lnTo>
                  <a:pt x="119" y="39"/>
                </a:lnTo>
                <a:lnTo>
                  <a:pt x="121" y="51"/>
                </a:lnTo>
                <a:lnTo>
                  <a:pt x="125" y="64"/>
                </a:lnTo>
                <a:lnTo>
                  <a:pt x="129" y="79"/>
                </a:lnTo>
                <a:lnTo>
                  <a:pt x="136" y="96"/>
                </a:lnTo>
                <a:lnTo>
                  <a:pt x="145" y="114"/>
                </a:lnTo>
                <a:lnTo>
                  <a:pt x="156" y="135"/>
                </a:lnTo>
                <a:lnTo>
                  <a:pt x="171" y="156"/>
                </a:lnTo>
                <a:lnTo>
                  <a:pt x="187" y="180"/>
                </a:lnTo>
                <a:lnTo>
                  <a:pt x="207" y="204"/>
                </a:lnTo>
                <a:lnTo>
                  <a:pt x="207" y="204"/>
                </a:lnTo>
                <a:lnTo>
                  <a:pt x="189" y="201"/>
                </a:lnTo>
                <a:lnTo>
                  <a:pt x="170" y="199"/>
                </a:lnTo>
                <a:lnTo>
                  <a:pt x="151" y="199"/>
                </a:lnTo>
                <a:lnTo>
                  <a:pt x="132" y="199"/>
                </a:lnTo>
                <a:lnTo>
                  <a:pt x="114" y="201"/>
                </a:lnTo>
                <a:lnTo>
                  <a:pt x="98" y="204"/>
                </a:lnTo>
                <a:lnTo>
                  <a:pt x="83" y="209"/>
                </a:lnTo>
                <a:lnTo>
                  <a:pt x="69" y="215"/>
                </a:lnTo>
                <a:lnTo>
                  <a:pt x="69" y="215"/>
                </a:lnTo>
                <a:lnTo>
                  <a:pt x="55" y="224"/>
                </a:lnTo>
                <a:lnTo>
                  <a:pt x="42" y="234"/>
                </a:lnTo>
                <a:lnTo>
                  <a:pt x="32" y="244"/>
                </a:lnTo>
                <a:lnTo>
                  <a:pt x="21" y="253"/>
                </a:lnTo>
                <a:lnTo>
                  <a:pt x="13" y="262"/>
                </a:lnTo>
                <a:lnTo>
                  <a:pt x="7" y="272"/>
                </a:lnTo>
                <a:lnTo>
                  <a:pt x="0" y="28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3" name="Freeform 31"/>
          <p:cNvSpPr>
            <a:spLocks/>
          </p:cNvSpPr>
          <p:nvPr userDrawn="1"/>
        </p:nvSpPr>
        <p:spPr bwMode="auto">
          <a:xfrm>
            <a:off x="7248526" y="1618954"/>
            <a:ext cx="377825" cy="271463"/>
          </a:xfrm>
          <a:custGeom>
            <a:avLst/>
            <a:gdLst>
              <a:gd name="T0" fmla="*/ 2491 w 2863"/>
              <a:gd name="T1" fmla="*/ 103 h 2054"/>
              <a:gd name="T2" fmla="*/ 2575 w 2863"/>
              <a:gd name="T3" fmla="*/ 23 h 2054"/>
              <a:gd name="T4" fmla="*/ 2196 w 2863"/>
              <a:gd name="T5" fmla="*/ 132 h 2054"/>
              <a:gd name="T6" fmla="*/ 1671 w 2863"/>
              <a:gd name="T7" fmla="*/ 429 h 2054"/>
              <a:gd name="T8" fmla="*/ 1528 w 2863"/>
              <a:gd name="T9" fmla="*/ 462 h 2054"/>
              <a:gd name="T10" fmla="*/ 1416 w 2863"/>
              <a:gd name="T11" fmla="*/ 568 h 2054"/>
              <a:gd name="T12" fmla="*/ 1409 w 2863"/>
              <a:gd name="T13" fmla="*/ 634 h 2054"/>
              <a:gd name="T14" fmla="*/ 1479 w 2863"/>
              <a:gd name="T15" fmla="*/ 748 h 2054"/>
              <a:gd name="T16" fmla="*/ 1586 w 2863"/>
              <a:gd name="T17" fmla="*/ 787 h 2054"/>
              <a:gd name="T18" fmla="*/ 1476 w 2863"/>
              <a:gd name="T19" fmla="*/ 974 h 2054"/>
              <a:gd name="T20" fmla="*/ 1133 w 2863"/>
              <a:gd name="T21" fmla="*/ 1199 h 2054"/>
              <a:gd name="T22" fmla="*/ 799 w 2863"/>
              <a:gd name="T23" fmla="*/ 1254 h 2054"/>
              <a:gd name="T24" fmla="*/ 634 w 2863"/>
              <a:gd name="T25" fmla="*/ 1102 h 2054"/>
              <a:gd name="T26" fmla="*/ 539 w 2863"/>
              <a:gd name="T27" fmla="*/ 1015 h 2054"/>
              <a:gd name="T28" fmla="*/ 406 w 2863"/>
              <a:gd name="T29" fmla="*/ 1023 h 2054"/>
              <a:gd name="T30" fmla="*/ 231 w 2863"/>
              <a:gd name="T31" fmla="*/ 1090 h 2054"/>
              <a:gd name="T32" fmla="*/ 382 w 2863"/>
              <a:gd name="T33" fmla="*/ 1121 h 2054"/>
              <a:gd name="T34" fmla="*/ 351 w 2863"/>
              <a:gd name="T35" fmla="*/ 1168 h 2054"/>
              <a:gd name="T36" fmla="*/ 418 w 2863"/>
              <a:gd name="T37" fmla="*/ 1270 h 2054"/>
              <a:gd name="T38" fmla="*/ 608 w 2863"/>
              <a:gd name="T39" fmla="*/ 1387 h 2054"/>
              <a:gd name="T40" fmla="*/ 314 w 2863"/>
              <a:gd name="T41" fmla="*/ 1296 h 2054"/>
              <a:gd name="T42" fmla="*/ 234 w 2863"/>
              <a:gd name="T43" fmla="*/ 1324 h 2054"/>
              <a:gd name="T44" fmla="*/ 77 w 2863"/>
              <a:gd name="T45" fmla="*/ 1367 h 2054"/>
              <a:gd name="T46" fmla="*/ 0 w 2863"/>
              <a:gd name="T47" fmla="*/ 1480 h 2054"/>
              <a:gd name="T48" fmla="*/ 63 w 2863"/>
              <a:gd name="T49" fmla="*/ 1501 h 2054"/>
              <a:gd name="T50" fmla="*/ 166 w 2863"/>
              <a:gd name="T51" fmla="*/ 1461 h 2054"/>
              <a:gd name="T52" fmla="*/ 187 w 2863"/>
              <a:gd name="T53" fmla="*/ 1573 h 2054"/>
              <a:gd name="T54" fmla="*/ 354 w 2863"/>
              <a:gd name="T55" fmla="*/ 1597 h 2054"/>
              <a:gd name="T56" fmla="*/ 616 w 2863"/>
              <a:gd name="T57" fmla="*/ 1588 h 2054"/>
              <a:gd name="T58" fmla="*/ 382 w 2863"/>
              <a:gd name="T59" fmla="*/ 1636 h 2054"/>
              <a:gd name="T60" fmla="*/ 295 w 2863"/>
              <a:gd name="T61" fmla="*/ 1696 h 2054"/>
              <a:gd name="T62" fmla="*/ 254 w 2863"/>
              <a:gd name="T63" fmla="*/ 1795 h 2054"/>
              <a:gd name="T64" fmla="*/ 239 w 2863"/>
              <a:gd name="T65" fmla="*/ 1953 h 2054"/>
              <a:gd name="T66" fmla="*/ 335 w 2863"/>
              <a:gd name="T67" fmla="*/ 2045 h 2054"/>
              <a:gd name="T68" fmla="*/ 341 w 2863"/>
              <a:gd name="T69" fmla="*/ 1906 h 2054"/>
              <a:gd name="T70" fmla="*/ 417 w 2863"/>
              <a:gd name="T71" fmla="*/ 1946 h 2054"/>
              <a:gd name="T72" fmla="*/ 509 w 2863"/>
              <a:gd name="T73" fmla="*/ 1935 h 2054"/>
              <a:gd name="T74" fmla="*/ 732 w 2863"/>
              <a:gd name="T75" fmla="*/ 1733 h 2054"/>
              <a:gd name="T76" fmla="*/ 874 w 2863"/>
              <a:gd name="T77" fmla="*/ 1691 h 2054"/>
              <a:gd name="T78" fmla="*/ 870 w 2863"/>
              <a:gd name="T79" fmla="*/ 1786 h 2054"/>
              <a:gd name="T80" fmla="*/ 945 w 2863"/>
              <a:gd name="T81" fmla="*/ 1834 h 2054"/>
              <a:gd name="T82" fmla="*/ 875 w 2863"/>
              <a:gd name="T83" fmla="*/ 1948 h 2054"/>
              <a:gd name="T84" fmla="*/ 1004 w 2863"/>
              <a:gd name="T85" fmla="*/ 1919 h 2054"/>
              <a:gd name="T86" fmla="*/ 1100 w 2863"/>
              <a:gd name="T87" fmla="*/ 1787 h 2054"/>
              <a:gd name="T88" fmla="*/ 1159 w 2863"/>
              <a:gd name="T89" fmla="*/ 1734 h 2054"/>
              <a:gd name="T90" fmla="*/ 1183 w 2863"/>
              <a:gd name="T91" fmla="*/ 1628 h 2054"/>
              <a:gd name="T92" fmla="*/ 1338 w 2863"/>
              <a:gd name="T93" fmla="*/ 1564 h 2054"/>
              <a:gd name="T94" fmla="*/ 1370 w 2863"/>
              <a:gd name="T95" fmla="*/ 1465 h 2054"/>
              <a:gd name="T96" fmla="*/ 1461 w 2863"/>
              <a:gd name="T97" fmla="*/ 1462 h 2054"/>
              <a:gd name="T98" fmla="*/ 1684 w 2863"/>
              <a:gd name="T99" fmla="*/ 1556 h 2054"/>
              <a:gd name="T100" fmla="*/ 1888 w 2863"/>
              <a:gd name="T101" fmla="*/ 1440 h 2054"/>
              <a:gd name="T102" fmla="*/ 1799 w 2863"/>
              <a:gd name="T103" fmla="*/ 1308 h 2054"/>
              <a:gd name="T104" fmla="*/ 1857 w 2863"/>
              <a:gd name="T105" fmla="*/ 1327 h 2054"/>
              <a:gd name="T106" fmla="*/ 2183 w 2863"/>
              <a:gd name="T107" fmla="*/ 1273 h 2054"/>
              <a:gd name="T108" fmla="*/ 2142 w 2863"/>
              <a:gd name="T109" fmla="*/ 1164 h 2054"/>
              <a:gd name="T110" fmla="*/ 2112 w 2863"/>
              <a:gd name="T111" fmla="*/ 1069 h 2054"/>
              <a:gd name="T112" fmla="*/ 2121 w 2863"/>
              <a:gd name="T113" fmla="*/ 977 h 2054"/>
              <a:gd name="T114" fmla="*/ 2085 w 2863"/>
              <a:gd name="T115" fmla="*/ 807 h 2054"/>
              <a:gd name="T116" fmla="*/ 2859 w 2863"/>
              <a:gd name="T117" fmla="*/ 408 h 2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63" h="2054">
                <a:moveTo>
                  <a:pt x="2759" y="252"/>
                </a:moveTo>
                <a:lnTo>
                  <a:pt x="2759" y="252"/>
                </a:lnTo>
                <a:lnTo>
                  <a:pt x="2742" y="239"/>
                </a:lnTo>
                <a:lnTo>
                  <a:pt x="2725" y="227"/>
                </a:lnTo>
                <a:lnTo>
                  <a:pt x="2708" y="214"/>
                </a:lnTo>
                <a:lnTo>
                  <a:pt x="2690" y="203"/>
                </a:lnTo>
                <a:lnTo>
                  <a:pt x="2655" y="184"/>
                </a:lnTo>
                <a:lnTo>
                  <a:pt x="2621" y="165"/>
                </a:lnTo>
                <a:lnTo>
                  <a:pt x="2586" y="148"/>
                </a:lnTo>
                <a:lnTo>
                  <a:pt x="2553" y="133"/>
                </a:lnTo>
                <a:lnTo>
                  <a:pt x="2522" y="118"/>
                </a:lnTo>
                <a:lnTo>
                  <a:pt x="2491" y="103"/>
                </a:lnTo>
                <a:lnTo>
                  <a:pt x="2491" y="103"/>
                </a:lnTo>
                <a:lnTo>
                  <a:pt x="2507" y="93"/>
                </a:lnTo>
                <a:lnTo>
                  <a:pt x="2523" y="82"/>
                </a:lnTo>
                <a:lnTo>
                  <a:pt x="2540" y="68"/>
                </a:lnTo>
                <a:lnTo>
                  <a:pt x="2556" y="54"/>
                </a:lnTo>
                <a:lnTo>
                  <a:pt x="2570" y="41"/>
                </a:lnTo>
                <a:lnTo>
                  <a:pt x="2574" y="35"/>
                </a:lnTo>
                <a:lnTo>
                  <a:pt x="2577" y="30"/>
                </a:lnTo>
                <a:lnTo>
                  <a:pt x="2577" y="26"/>
                </a:lnTo>
                <a:lnTo>
                  <a:pt x="2577" y="24"/>
                </a:lnTo>
                <a:lnTo>
                  <a:pt x="2575" y="23"/>
                </a:lnTo>
                <a:lnTo>
                  <a:pt x="2575" y="23"/>
                </a:lnTo>
                <a:lnTo>
                  <a:pt x="2562" y="16"/>
                </a:lnTo>
                <a:lnTo>
                  <a:pt x="2550" y="10"/>
                </a:lnTo>
                <a:lnTo>
                  <a:pt x="2538" y="6"/>
                </a:lnTo>
                <a:lnTo>
                  <a:pt x="2527" y="4"/>
                </a:lnTo>
                <a:lnTo>
                  <a:pt x="2508" y="1"/>
                </a:lnTo>
                <a:lnTo>
                  <a:pt x="2501" y="0"/>
                </a:lnTo>
                <a:lnTo>
                  <a:pt x="2501" y="0"/>
                </a:lnTo>
                <a:lnTo>
                  <a:pt x="2440" y="24"/>
                </a:lnTo>
                <a:lnTo>
                  <a:pt x="2377" y="50"/>
                </a:lnTo>
                <a:lnTo>
                  <a:pt x="2317" y="76"/>
                </a:lnTo>
                <a:lnTo>
                  <a:pt x="2256" y="103"/>
                </a:lnTo>
                <a:lnTo>
                  <a:pt x="2196" y="132"/>
                </a:lnTo>
                <a:lnTo>
                  <a:pt x="2138" y="160"/>
                </a:lnTo>
                <a:lnTo>
                  <a:pt x="2081" y="189"/>
                </a:lnTo>
                <a:lnTo>
                  <a:pt x="2026" y="219"/>
                </a:lnTo>
                <a:lnTo>
                  <a:pt x="1972" y="247"/>
                </a:lnTo>
                <a:lnTo>
                  <a:pt x="1921" y="276"/>
                </a:lnTo>
                <a:lnTo>
                  <a:pt x="1872" y="303"/>
                </a:lnTo>
                <a:lnTo>
                  <a:pt x="1825" y="331"/>
                </a:lnTo>
                <a:lnTo>
                  <a:pt x="1782" y="358"/>
                </a:lnTo>
                <a:lnTo>
                  <a:pt x="1741" y="383"/>
                </a:lnTo>
                <a:lnTo>
                  <a:pt x="1705" y="407"/>
                </a:lnTo>
                <a:lnTo>
                  <a:pt x="1671" y="429"/>
                </a:lnTo>
                <a:lnTo>
                  <a:pt x="1671" y="429"/>
                </a:lnTo>
                <a:lnTo>
                  <a:pt x="1666" y="432"/>
                </a:lnTo>
                <a:lnTo>
                  <a:pt x="1666" y="432"/>
                </a:lnTo>
                <a:lnTo>
                  <a:pt x="1654" y="439"/>
                </a:lnTo>
                <a:lnTo>
                  <a:pt x="1643" y="446"/>
                </a:lnTo>
                <a:lnTo>
                  <a:pt x="1632" y="451"/>
                </a:lnTo>
                <a:lnTo>
                  <a:pt x="1620" y="455"/>
                </a:lnTo>
                <a:lnTo>
                  <a:pt x="1608" y="458"/>
                </a:lnTo>
                <a:lnTo>
                  <a:pt x="1597" y="461"/>
                </a:lnTo>
                <a:lnTo>
                  <a:pt x="1585" y="462"/>
                </a:lnTo>
                <a:lnTo>
                  <a:pt x="1574" y="463"/>
                </a:lnTo>
                <a:lnTo>
                  <a:pt x="1550" y="464"/>
                </a:lnTo>
                <a:lnTo>
                  <a:pt x="1528" y="462"/>
                </a:lnTo>
                <a:lnTo>
                  <a:pt x="1505" y="459"/>
                </a:lnTo>
                <a:lnTo>
                  <a:pt x="1485" y="454"/>
                </a:lnTo>
                <a:lnTo>
                  <a:pt x="1465" y="449"/>
                </a:lnTo>
                <a:lnTo>
                  <a:pt x="1448" y="442"/>
                </a:lnTo>
                <a:lnTo>
                  <a:pt x="1433" y="436"/>
                </a:lnTo>
                <a:lnTo>
                  <a:pt x="1418" y="430"/>
                </a:lnTo>
                <a:lnTo>
                  <a:pt x="1399" y="420"/>
                </a:lnTo>
                <a:lnTo>
                  <a:pt x="1393" y="416"/>
                </a:lnTo>
                <a:lnTo>
                  <a:pt x="1372" y="544"/>
                </a:lnTo>
                <a:lnTo>
                  <a:pt x="1372" y="544"/>
                </a:lnTo>
                <a:lnTo>
                  <a:pt x="1395" y="557"/>
                </a:lnTo>
                <a:lnTo>
                  <a:pt x="1416" y="568"/>
                </a:lnTo>
                <a:lnTo>
                  <a:pt x="1437" y="577"/>
                </a:lnTo>
                <a:lnTo>
                  <a:pt x="1454" y="586"/>
                </a:lnTo>
                <a:lnTo>
                  <a:pt x="1470" y="592"/>
                </a:lnTo>
                <a:lnTo>
                  <a:pt x="1486" y="596"/>
                </a:lnTo>
                <a:lnTo>
                  <a:pt x="1499" y="600"/>
                </a:lnTo>
                <a:lnTo>
                  <a:pt x="1510" y="602"/>
                </a:lnTo>
                <a:lnTo>
                  <a:pt x="1510" y="602"/>
                </a:lnTo>
                <a:lnTo>
                  <a:pt x="1491" y="606"/>
                </a:lnTo>
                <a:lnTo>
                  <a:pt x="1470" y="611"/>
                </a:lnTo>
                <a:lnTo>
                  <a:pt x="1450" y="617"/>
                </a:lnTo>
                <a:lnTo>
                  <a:pt x="1428" y="625"/>
                </a:lnTo>
                <a:lnTo>
                  <a:pt x="1409" y="634"/>
                </a:lnTo>
                <a:lnTo>
                  <a:pt x="1391" y="645"/>
                </a:lnTo>
                <a:lnTo>
                  <a:pt x="1381" y="650"/>
                </a:lnTo>
                <a:lnTo>
                  <a:pt x="1373" y="656"/>
                </a:lnTo>
                <a:lnTo>
                  <a:pt x="1366" y="663"/>
                </a:lnTo>
                <a:lnTo>
                  <a:pt x="1360" y="670"/>
                </a:lnTo>
                <a:lnTo>
                  <a:pt x="1404" y="788"/>
                </a:lnTo>
                <a:lnTo>
                  <a:pt x="1404" y="788"/>
                </a:lnTo>
                <a:lnTo>
                  <a:pt x="1416" y="779"/>
                </a:lnTo>
                <a:lnTo>
                  <a:pt x="1432" y="770"/>
                </a:lnTo>
                <a:lnTo>
                  <a:pt x="1453" y="758"/>
                </a:lnTo>
                <a:lnTo>
                  <a:pt x="1465" y="753"/>
                </a:lnTo>
                <a:lnTo>
                  <a:pt x="1479" y="748"/>
                </a:lnTo>
                <a:lnTo>
                  <a:pt x="1494" y="743"/>
                </a:lnTo>
                <a:lnTo>
                  <a:pt x="1509" y="738"/>
                </a:lnTo>
                <a:lnTo>
                  <a:pt x="1527" y="734"/>
                </a:lnTo>
                <a:lnTo>
                  <a:pt x="1545" y="731"/>
                </a:lnTo>
                <a:lnTo>
                  <a:pt x="1564" y="729"/>
                </a:lnTo>
                <a:lnTo>
                  <a:pt x="1585" y="728"/>
                </a:lnTo>
                <a:lnTo>
                  <a:pt x="1585" y="728"/>
                </a:lnTo>
                <a:lnTo>
                  <a:pt x="1588" y="744"/>
                </a:lnTo>
                <a:lnTo>
                  <a:pt x="1588" y="744"/>
                </a:lnTo>
                <a:lnTo>
                  <a:pt x="1588" y="758"/>
                </a:lnTo>
                <a:lnTo>
                  <a:pt x="1588" y="773"/>
                </a:lnTo>
                <a:lnTo>
                  <a:pt x="1586" y="787"/>
                </a:lnTo>
                <a:lnTo>
                  <a:pt x="1583" y="802"/>
                </a:lnTo>
                <a:lnTo>
                  <a:pt x="1578" y="818"/>
                </a:lnTo>
                <a:lnTo>
                  <a:pt x="1573" y="833"/>
                </a:lnTo>
                <a:lnTo>
                  <a:pt x="1565" y="848"/>
                </a:lnTo>
                <a:lnTo>
                  <a:pt x="1557" y="864"/>
                </a:lnTo>
                <a:lnTo>
                  <a:pt x="1549" y="880"/>
                </a:lnTo>
                <a:lnTo>
                  <a:pt x="1539" y="895"/>
                </a:lnTo>
                <a:lnTo>
                  <a:pt x="1528" y="912"/>
                </a:lnTo>
                <a:lnTo>
                  <a:pt x="1516" y="927"/>
                </a:lnTo>
                <a:lnTo>
                  <a:pt x="1503" y="943"/>
                </a:lnTo>
                <a:lnTo>
                  <a:pt x="1490" y="959"/>
                </a:lnTo>
                <a:lnTo>
                  <a:pt x="1476" y="974"/>
                </a:lnTo>
                <a:lnTo>
                  <a:pt x="1461" y="989"/>
                </a:lnTo>
                <a:lnTo>
                  <a:pt x="1429" y="1020"/>
                </a:lnTo>
                <a:lnTo>
                  <a:pt x="1396" y="1049"/>
                </a:lnTo>
                <a:lnTo>
                  <a:pt x="1360" y="1076"/>
                </a:lnTo>
                <a:lnTo>
                  <a:pt x="1323" y="1102"/>
                </a:lnTo>
                <a:lnTo>
                  <a:pt x="1285" y="1126"/>
                </a:lnTo>
                <a:lnTo>
                  <a:pt x="1247" y="1148"/>
                </a:lnTo>
                <a:lnTo>
                  <a:pt x="1209" y="1167"/>
                </a:lnTo>
                <a:lnTo>
                  <a:pt x="1189" y="1177"/>
                </a:lnTo>
                <a:lnTo>
                  <a:pt x="1171" y="1185"/>
                </a:lnTo>
                <a:lnTo>
                  <a:pt x="1171" y="1185"/>
                </a:lnTo>
                <a:lnTo>
                  <a:pt x="1133" y="1199"/>
                </a:lnTo>
                <a:lnTo>
                  <a:pt x="1095" y="1211"/>
                </a:lnTo>
                <a:lnTo>
                  <a:pt x="1060" y="1223"/>
                </a:lnTo>
                <a:lnTo>
                  <a:pt x="1026" y="1232"/>
                </a:lnTo>
                <a:lnTo>
                  <a:pt x="993" y="1240"/>
                </a:lnTo>
                <a:lnTo>
                  <a:pt x="962" y="1246"/>
                </a:lnTo>
                <a:lnTo>
                  <a:pt x="933" y="1250"/>
                </a:lnTo>
                <a:lnTo>
                  <a:pt x="905" y="1254"/>
                </a:lnTo>
                <a:lnTo>
                  <a:pt x="879" y="1256"/>
                </a:lnTo>
                <a:lnTo>
                  <a:pt x="856" y="1257"/>
                </a:lnTo>
                <a:lnTo>
                  <a:pt x="834" y="1257"/>
                </a:lnTo>
                <a:lnTo>
                  <a:pt x="815" y="1256"/>
                </a:lnTo>
                <a:lnTo>
                  <a:pt x="799" y="1254"/>
                </a:lnTo>
                <a:lnTo>
                  <a:pt x="785" y="1251"/>
                </a:lnTo>
                <a:lnTo>
                  <a:pt x="774" y="1247"/>
                </a:lnTo>
                <a:lnTo>
                  <a:pt x="765" y="1243"/>
                </a:lnTo>
                <a:lnTo>
                  <a:pt x="765" y="1243"/>
                </a:lnTo>
                <a:lnTo>
                  <a:pt x="741" y="1227"/>
                </a:lnTo>
                <a:lnTo>
                  <a:pt x="720" y="1209"/>
                </a:lnTo>
                <a:lnTo>
                  <a:pt x="701" y="1191"/>
                </a:lnTo>
                <a:lnTo>
                  <a:pt x="685" y="1172"/>
                </a:lnTo>
                <a:lnTo>
                  <a:pt x="670" y="1155"/>
                </a:lnTo>
                <a:lnTo>
                  <a:pt x="656" y="1137"/>
                </a:lnTo>
                <a:lnTo>
                  <a:pt x="645" y="1119"/>
                </a:lnTo>
                <a:lnTo>
                  <a:pt x="634" y="1102"/>
                </a:lnTo>
                <a:lnTo>
                  <a:pt x="615" y="1071"/>
                </a:lnTo>
                <a:lnTo>
                  <a:pt x="605" y="1057"/>
                </a:lnTo>
                <a:lnTo>
                  <a:pt x="596" y="1045"/>
                </a:lnTo>
                <a:lnTo>
                  <a:pt x="587" y="1033"/>
                </a:lnTo>
                <a:lnTo>
                  <a:pt x="577" y="1025"/>
                </a:lnTo>
                <a:lnTo>
                  <a:pt x="565" y="1018"/>
                </a:lnTo>
                <a:lnTo>
                  <a:pt x="559" y="1015"/>
                </a:lnTo>
                <a:lnTo>
                  <a:pt x="553" y="1013"/>
                </a:lnTo>
                <a:lnTo>
                  <a:pt x="553" y="1013"/>
                </a:lnTo>
                <a:lnTo>
                  <a:pt x="549" y="1013"/>
                </a:lnTo>
                <a:lnTo>
                  <a:pt x="546" y="1013"/>
                </a:lnTo>
                <a:lnTo>
                  <a:pt x="539" y="1015"/>
                </a:lnTo>
                <a:lnTo>
                  <a:pt x="532" y="1018"/>
                </a:lnTo>
                <a:lnTo>
                  <a:pt x="524" y="1022"/>
                </a:lnTo>
                <a:lnTo>
                  <a:pt x="516" y="1026"/>
                </a:lnTo>
                <a:lnTo>
                  <a:pt x="507" y="1029"/>
                </a:lnTo>
                <a:lnTo>
                  <a:pt x="499" y="1031"/>
                </a:lnTo>
                <a:lnTo>
                  <a:pt x="494" y="1031"/>
                </a:lnTo>
                <a:lnTo>
                  <a:pt x="489" y="1031"/>
                </a:lnTo>
                <a:lnTo>
                  <a:pt x="489" y="1031"/>
                </a:lnTo>
                <a:lnTo>
                  <a:pt x="468" y="1028"/>
                </a:lnTo>
                <a:lnTo>
                  <a:pt x="448" y="1025"/>
                </a:lnTo>
                <a:lnTo>
                  <a:pt x="427" y="1024"/>
                </a:lnTo>
                <a:lnTo>
                  <a:pt x="406" y="1023"/>
                </a:lnTo>
                <a:lnTo>
                  <a:pt x="386" y="1023"/>
                </a:lnTo>
                <a:lnTo>
                  <a:pt x="366" y="1025"/>
                </a:lnTo>
                <a:lnTo>
                  <a:pt x="347" y="1027"/>
                </a:lnTo>
                <a:lnTo>
                  <a:pt x="327" y="1031"/>
                </a:lnTo>
                <a:lnTo>
                  <a:pt x="309" y="1035"/>
                </a:lnTo>
                <a:lnTo>
                  <a:pt x="292" y="1043"/>
                </a:lnTo>
                <a:lnTo>
                  <a:pt x="276" y="1050"/>
                </a:lnTo>
                <a:lnTo>
                  <a:pt x="262" y="1059"/>
                </a:lnTo>
                <a:lnTo>
                  <a:pt x="248" y="1070"/>
                </a:lnTo>
                <a:lnTo>
                  <a:pt x="242" y="1076"/>
                </a:lnTo>
                <a:lnTo>
                  <a:pt x="236" y="1082"/>
                </a:lnTo>
                <a:lnTo>
                  <a:pt x="231" y="1090"/>
                </a:lnTo>
                <a:lnTo>
                  <a:pt x="227" y="1098"/>
                </a:lnTo>
                <a:lnTo>
                  <a:pt x="223" y="1105"/>
                </a:lnTo>
                <a:lnTo>
                  <a:pt x="219" y="1114"/>
                </a:lnTo>
                <a:lnTo>
                  <a:pt x="219" y="1114"/>
                </a:lnTo>
                <a:lnTo>
                  <a:pt x="257" y="1112"/>
                </a:lnTo>
                <a:lnTo>
                  <a:pt x="292" y="1111"/>
                </a:lnTo>
                <a:lnTo>
                  <a:pt x="312" y="1111"/>
                </a:lnTo>
                <a:lnTo>
                  <a:pt x="331" y="1112"/>
                </a:lnTo>
                <a:lnTo>
                  <a:pt x="349" y="1113"/>
                </a:lnTo>
                <a:lnTo>
                  <a:pt x="364" y="1116"/>
                </a:lnTo>
                <a:lnTo>
                  <a:pt x="377" y="1119"/>
                </a:lnTo>
                <a:lnTo>
                  <a:pt x="382" y="1121"/>
                </a:lnTo>
                <a:lnTo>
                  <a:pt x="387" y="1123"/>
                </a:lnTo>
                <a:lnTo>
                  <a:pt x="389" y="1126"/>
                </a:lnTo>
                <a:lnTo>
                  <a:pt x="391" y="1130"/>
                </a:lnTo>
                <a:lnTo>
                  <a:pt x="391" y="1133"/>
                </a:lnTo>
                <a:lnTo>
                  <a:pt x="389" y="1137"/>
                </a:lnTo>
                <a:lnTo>
                  <a:pt x="386" y="1141"/>
                </a:lnTo>
                <a:lnTo>
                  <a:pt x="381" y="1146"/>
                </a:lnTo>
                <a:lnTo>
                  <a:pt x="374" y="1151"/>
                </a:lnTo>
                <a:lnTo>
                  <a:pt x="366" y="1156"/>
                </a:lnTo>
                <a:lnTo>
                  <a:pt x="366" y="1156"/>
                </a:lnTo>
                <a:lnTo>
                  <a:pt x="357" y="1162"/>
                </a:lnTo>
                <a:lnTo>
                  <a:pt x="351" y="1168"/>
                </a:lnTo>
                <a:lnTo>
                  <a:pt x="346" y="1175"/>
                </a:lnTo>
                <a:lnTo>
                  <a:pt x="344" y="1182"/>
                </a:lnTo>
                <a:lnTo>
                  <a:pt x="343" y="1189"/>
                </a:lnTo>
                <a:lnTo>
                  <a:pt x="344" y="1195"/>
                </a:lnTo>
                <a:lnTo>
                  <a:pt x="346" y="1202"/>
                </a:lnTo>
                <a:lnTo>
                  <a:pt x="349" y="1209"/>
                </a:lnTo>
                <a:lnTo>
                  <a:pt x="354" y="1217"/>
                </a:lnTo>
                <a:lnTo>
                  <a:pt x="360" y="1225"/>
                </a:lnTo>
                <a:lnTo>
                  <a:pt x="368" y="1232"/>
                </a:lnTo>
                <a:lnTo>
                  <a:pt x="376" y="1239"/>
                </a:lnTo>
                <a:lnTo>
                  <a:pt x="396" y="1254"/>
                </a:lnTo>
                <a:lnTo>
                  <a:pt x="418" y="1270"/>
                </a:lnTo>
                <a:lnTo>
                  <a:pt x="442" y="1285"/>
                </a:lnTo>
                <a:lnTo>
                  <a:pt x="467" y="1299"/>
                </a:lnTo>
                <a:lnTo>
                  <a:pt x="519" y="1327"/>
                </a:lnTo>
                <a:lnTo>
                  <a:pt x="565" y="1350"/>
                </a:lnTo>
                <a:lnTo>
                  <a:pt x="585" y="1361"/>
                </a:lnTo>
                <a:lnTo>
                  <a:pt x="601" y="1370"/>
                </a:lnTo>
                <a:lnTo>
                  <a:pt x="601" y="1370"/>
                </a:lnTo>
                <a:lnTo>
                  <a:pt x="608" y="1375"/>
                </a:lnTo>
                <a:lnTo>
                  <a:pt x="611" y="1379"/>
                </a:lnTo>
                <a:lnTo>
                  <a:pt x="613" y="1382"/>
                </a:lnTo>
                <a:lnTo>
                  <a:pt x="611" y="1385"/>
                </a:lnTo>
                <a:lnTo>
                  <a:pt x="608" y="1387"/>
                </a:lnTo>
                <a:lnTo>
                  <a:pt x="604" y="1389"/>
                </a:lnTo>
                <a:lnTo>
                  <a:pt x="598" y="1390"/>
                </a:lnTo>
                <a:lnTo>
                  <a:pt x="598" y="1390"/>
                </a:lnTo>
                <a:lnTo>
                  <a:pt x="588" y="1390"/>
                </a:lnTo>
                <a:lnTo>
                  <a:pt x="576" y="1388"/>
                </a:lnTo>
                <a:lnTo>
                  <a:pt x="561" y="1385"/>
                </a:lnTo>
                <a:lnTo>
                  <a:pt x="545" y="1380"/>
                </a:lnTo>
                <a:lnTo>
                  <a:pt x="509" y="1369"/>
                </a:lnTo>
                <a:lnTo>
                  <a:pt x="469" y="1354"/>
                </a:lnTo>
                <a:lnTo>
                  <a:pt x="387" y="1323"/>
                </a:lnTo>
                <a:lnTo>
                  <a:pt x="349" y="1307"/>
                </a:lnTo>
                <a:lnTo>
                  <a:pt x="314" y="1296"/>
                </a:lnTo>
                <a:lnTo>
                  <a:pt x="314" y="1296"/>
                </a:lnTo>
                <a:lnTo>
                  <a:pt x="303" y="1293"/>
                </a:lnTo>
                <a:lnTo>
                  <a:pt x="292" y="1291"/>
                </a:lnTo>
                <a:lnTo>
                  <a:pt x="283" y="1291"/>
                </a:lnTo>
                <a:lnTo>
                  <a:pt x="275" y="1292"/>
                </a:lnTo>
                <a:lnTo>
                  <a:pt x="268" y="1294"/>
                </a:lnTo>
                <a:lnTo>
                  <a:pt x="262" y="1297"/>
                </a:lnTo>
                <a:lnTo>
                  <a:pt x="257" y="1300"/>
                </a:lnTo>
                <a:lnTo>
                  <a:pt x="253" y="1303"/>
                </a:lnTo>
                <a:lnTo>
                  <a:pt x="244" y="1312"/>
                </a:lnTo>
                <a:lnTo>
                  <a:pt x="238" y="1319"/>
                </a:lnTo>
                <a:lnTo>
                  <a:pt x="234" y="1324"/>
                </a:lnTo>
                <a:lnTo>
                  <a:pt x="231" y="1325"/>
                </a:lnTo>
                <a:lnTo>
                  <a:pt x="229" y="1326"/>
                </a:lnTo>
                <a:lnTo>
                  <a:pt x="229" y="1326"/>
                </a:lnTo>
                <a:lnTo>
                  <a:pt x="220" y="1325"/>
                </a:lnTo>
                <a:lnTo>
                  <a:pt x="210" y="1324"/>
                </a:lnTo>
                <a:lnTo>
                  <a:pt x="198" y="1325"/>
                </a:lnTo>
                <a:lnTo>
                  <a:pt x="188" y="1325"/>
                </a:lnTo>
                <a:lnTo>
                  <a:pt x="166" y="1329"/>
                </a:lnTo>
                <a:lnTo>
                  <a:pt x="143" y="1335"/>
                </a:lnTo>
                <a:lnTo>
                  <a:pt x="121" y="1343"/>
                </a:lnTo>
                <a:lnTo>
                  <a:pt x="98" y="1353"/>
                </a:lnTo>
                <a:lnTo>
                  <a:pt x="77" y="1367"/>
                </a:lnTo>
                <a:lnTo>
                  <a:pt x="66" y="1374"/>
                </a:lnTo>
                <a:lnTo>
                  <a:pt x="57" y="1381"/>
                </a:lnTo>
                <a:lnTo>
                  <a:pt x="48" y="1389"/>
                </a:lnTo>
                <a:lnTo>
                  <a:pt x="40" y="1397"/>
                </a:lnTo>
                <a:lnTo>
                  <a:pt x="32" y="1407"/>
                </a:lnTo>
                <a:lnTo>
                  <a:pt x="25" y="1416"/>
                </a:lnTo>
                <a:lnTo>
                  <a:pt x="18" y="1426"/>
                </a:lnTo>
                <a:lnTo>
                  <a:pt x="12" y="1435"/>
                </a:lnTo>
                <a:lnTo>
                  <a:pt x="8" y="1446"/>
                </a:lnTo>
                <a:lnTo>
                  <a:pt x="4" y="1458"/>
                </a:lnTo>
                <a:lnTo>
                  <a:pt x="2" y="1469"/>
                </a:lnTo>
                <a:lnTo>
                  <a:pt x="0" y="1480"/>
                </a:lnTo>
                <a:lnTo>
                  <a:pt x="0" y="1492"/>
                </a:lnTo>
                <a:lnTo>
                  <a:pt x="0" y="1505"/>
                </a:lnTo>
                <a:lnTo>
                  <a:pt x="3" y="1518"/>
                </a:lnTo>
                <a:lnTo>
                  <a:pt x="6" y="1530"/>
                </a:lnTo>
                <a:lnTo>
                  <a:pt x="11" y="1544"/>
                </a:lnTo>
                <a:lnTo>
                  <a:pt x="17" y="1558"/>
                </a:lnTo>
                <a:lnTo>
                  <a:pt x="17" y="1558"/>
                </a:lnTo>
                <a:lnTo>
                  <a:pt x="20" y="1553"/>
                </a:lnTo>
                <a:lnTo>
                  <a:pt x="30" y="1540"/>
                </a:lnTo>
                <a:lnTo>
                  <a:pt x="45" y="1521"/>
                </a:lnTo>
                <a:lnTo>
                  <a:pt x="53" y="1511"/>
                </a:lnTo>
                <a:lnTo>
                  <a:pt x="63" y="1501"/>
                </a:lnTo>
                <a:lnTo>
                  <a:pt x="75" y="1490"/>
                </a:lnTo>
                <a:lnTo>
                  <a:pt x="86" y="1481"/>
                </a:lnTo>
                <a:lnTo>
                  <a:pt x="98" y="1473"/>
                </a:lnTo>
                <a:lnTo>
                  <a:pt x="111" y="1466"/>
                </a:lnTo>
                <a:lnTo>
                  <a:pt x="125" y="1461"/>
                </a:lnTo>
                <a:lnTo>
                  <a:pt x="131" y="1459"/>
                </a:lnTo>
                <a:lnTo>
                  <a:pt x="138" y="1458"/>
                </a:lnTo>
                <a:lnTo>
                  <a:pt x="145" y="1458"/>
                </a:lnTo>
                <a:lnTo>
                  <a:pt x="151" y="1458"/>
                </a:lnTo>
                <a:lnTo>
                  <a:pt x="159" y="1459"/>
                </a:lnTo>
                <a:lnTo>
                  <a:pt x="166" y="1461"/>
                </a:lnTo>
                <a:lnTo>
                  <a:pt x="166" y="1461"/>
                </a:lnTo>
                <a:lnTo>
                  <a:pt x="171" y="1463"/>
                </a:lnTo>
                <a:lnTo>
                  <a:pt x="174" y="1467"/>
                </a:lnTo>
                <a:lnTo>
                  <a:pt x="175" y="1473"/>
                </a:lnTo>
                <a:lnTo>
                  <a:pt x="176" y="1479"/>
                </a:lnTo>
                <a:lnTo>
                  <a:pt x="176" y="1496"/>
                </a:lnTo>
                <a:lnTo>
                  <a:pt x="174" y="1514"/>
                </a:lnTo>
                <a:lnTo>
                  <a:pt x="174" y="1524"/>
                </a:lnTo>
                <a:lnTo>
                  <a:pt x="174" y="1534"/>
                </a:lnTo>
                <a:lnTo>
                  <a:pt x="176" y="1545"/>
                </a:lnTo>
                <a:lnTo>
                  <a:pt x="178" y="1554"/>
                </a:lnTo>
                <a:lnTo>
                  <a:pt x="182" y="1564"/>
                </a:lnTo>
                <a:lnTo>
                  <a:pt x="187" y="1573"/>
                </a:lnTo>
                <a:lnTo>
                  <a:pt x="195" y="1581"/>
                </a:lnTo>
                <a:lnTo>
                  <a:pt x="205" y="1589"/>
                </a:lnTo>
                <a:lnTo>
                  <a:pt x="205" y="1589"/>
                </a:lnTo>
                <a:lnTo>
                  <a:pt x="213" y="1593"/>
                </a:lnTo>
                <a:lnTo>
                  <a:pt x="221" y="1596"/>
                </a:lnTo>
                <a:lnTo>
                  <a:pt x="231" y="1599"/>
                </a:lnTo>
                <a:lnTo>
                  <a:pt x="242" y="1600"/>
                </a:lnTo>
                <a:lnTo>
                  <a:pt x="254" y="1602"/>
                </a:lnTo>
                <a:lnTo>
                  <a:pt x="267" y="1602"/>
                </a:lnTo>
                <a:lnTo>
                  <a:pt x="293" y="1602"/>
                </a:lnTo>
                <a:lnTo>
                  <a:pt x="323" y="1600"/>
                </a:lnTo>
                <a:lnTo>
                  <a:pt x="354" y="1597"/>
                </a:lnTo>
                <a:lnTo>
                  <a:pt x="418" y="1589"/>
                </a:lnTo>
                <a:lnTo>
                  <a:pt x="481" y="1580"/>
                </a:lnTo>
                <a:lnTo>
                  <a:pt x="510" y="1576"/>
                </a:lnTo>
                <a:lnTo>
                  <a:pt x="538" y="1574"/>
                </a:lnTo>
                <a:lnTo>
                  <a:pt x="562" y="1573"/>
                </a:lnTo>
                <a:lnTo>
                  <a:pt x="583" y="1574"/>
                </a:lnTo>
                <a:lnTo>
                  <a:pt x="592" y="1575"/>
                </a:lnTo>
                <a:lnTo>
                  <a:pt x="600" y="1577"/>
                </a:lnTo>
                <a:lnTo>
                  <a:pt x="607" y="1580"/>
                </a:lnTo>
                <a:lnTo>
                  <a:pt x="613" y="1585"/>
                </a:lnTo>
                <a:lnTo>
                  <a:pt x="613" y="1585"/>
                </a:lnTo>
                <a:lnTo>
                  <a:pt x="616" y="1588"/>
                </a:lnTo>
                <a:lnTo>
                  <a:pt x="617" y="1591"/>
                </a:lnTo>
                <a:lnTo>
                  <a:pt x="616" y="1593"/>
                </a:lnTo>
                <a:lnTo>
                  <a:pt x="611" y="1596"/>
                </a:lnTo>
                <a:lnTo>
                  <a:pt x="607" y="1598"/>
                </a:lnTo>
                <a:lnTo>
                  <a:pt x="600" y="1601"/>
                </a:lnTo>
                <a:lnTo>
                  <a:pt x="583" y="1605"/>
                </a:lnTo>
                <a:lnTo>
                  <a:pt x="560" y="1609"/>
                </a:lnTo>
                <a:lnTo>
                  <a:pt x="535" y="1612"/>
                </a:lnTo>
                <a:lnTo>
                  <a:pt x="474" y="1620"/>
                </a:lnTo>
                <a:lnTo>
                  <a:pt x="443" y="1624"/>
                </a:lnTo>
                <a:lnTo>
                  <a:pt x="412" y="1629"/>
                </a:lnTo>
                <a:lnTo>
                  <a:pt x="382" y="1636"/>
                </a:lnTo>
                <a:lnTo>
                  <a:pt x="356" y="1642"/>
                </a:lnTo>
                <a:lnTo>
                  <a:pt x="344" y="1646"/>
                </a:lnTo>
                <a:lnTo>
                  <a:pt x="332" y="1650"/>
                </a:lnTo>
                <a:lnTo>
                  <a:pt x="322" y="1654"/>
                </a:lnTo>
                <a:lnTo>
                  <a:pt x="314" y="1659"/>
                </a:lnTo>
                <a:lnTo>
                  <a:pt x="307" y="1664"/>
                </a:lnTo>
                <a:lnTo>
                  <a:pt x="302" y="1669"/>
                </a:lnTo>
                <a:lnTo>
                  <a:pt x="298" y="1676"/>
                </a:lnTo>
                <a:lnTo>
                  <a:pt x="296" y="1682"/>
                </a:lnTo>
                <a:lnTo>
                  <a:pt x="296" y="1682"/>
                </a:lnTo>
                <a:lnTo>
                  <a:pt x="295" y="1687"/>
                </a:lnTo>
                <a:lnTo>
                  <a:pt x="295" y="1696"/>
                </a:lnTo>
                <a:lnTo>
                  <a:pt x="296" y="1707"/>
                </a:lnTo>
                <a:lnTo>
                  <a:pt x="298" y="1713"/>
                </a:lnTo>
                <a:lnTo>
                  <a:pt x="300" y="1718"/>
                </a:lnTo>
                <a:lnTo>
                  <a:pt x="300" y="1718"/>
                </a:lnTo>
                <a:lnTo>
                  <a:pt x="301" y="1725"/>
                </a:lnTo>
                <a:lnTo>
                  <a:pt x="301" y="1731"/>
                </a:lnTo>
                <a:lnTo>
                  <a:pt x="298" y="1737"/>
                </a:lnTo>
                <a:lnTo>
                  <a:pt x="293" y="1743"/>
                </a:lnTo>
                <a:lnTo>
                  <a:pt x="283" y="1757"/>
                </a:lnTo>
                <a:lnTo>
                  <a:pt x="269" y="1775"/>
                </a:lnTo>
                <a:lnTo>
                  <a:pt x="261" y="1785"/>
                </a:lnTo>
                <a:lnTo>
                  <a:pt x="254" y="1795"/>
                </a:lnTo>
                <a:lnTo>
                  <a:pt x="246" y="1807"/>
                </a:lnTo>
                <a:lnTo>
                  <a:pt x="240" y="1820"/>
                </a:lnTo>
                <a:lnTo>
                  <a:pt x="234" y="1834"/>
                </a:lnTo>
                <a:lnTo>
                  <a:pt x="230" y="1849"/>
                </a:lnTo>
                <a:lnTo>
                  <a:pt x="226" y="1866"/>
                </a:lnTo>
                <a:lnTo>
                  <a:pt x="225" y="1884"/>
                </a:lnTo>
                <a:lnTo>
                  <a:pt x="225" y="1884"/>
                </a:lnTo>
                <a:lnTo>
                  <a:pt x="225" y="1893"/>
                </a:lnTo>
                <a:lnTo>
                  <a:pt x="225" y="1902"/>
                </a:lnTo>
                <a:lnTo>
                  <a:pt x="228" y="1920"/>
                </a:lnTo>
                <a:lnTo>
                  <a:pt x="233" y="1937"/>
                </a:lnTo>
                <a:lnTo>
                  <a:pt x="239" y="1953"/>
                </a:lnTo>
                <a:lnTo>
                  <a:pt x="247" y="1968"/>
                </a:lnTo>
                <a:lnTo>
                  <a:pt x="257" y="1982"/>
                </a:lnTo>
                <a:lnTo>
                  <a:pt x="267" y="1995"/>
                </a:lnTo>
                <a:lnTo>
                  <a:pt x="277" y="2007"/>
                </a:lnTo>
                <a:lnTo>
                  <a:pt x="287" y="2017"/>
                </a:lnTo>
                <a:lnTo>
                  <a:pt x="298" y="2026"/>
                </a:lnTo>
                <a:lnTo>
                  <a:pt x="315" y="2042"/>
                </a:lnTo>
                <a:lnTo>
                  <a:pt x="327" y="2050"/>
                </a:lnTo>
                <a:lnTo>
                  <a:pt x="332" y="2054"/>
                </a:lnTo>
                <a:lnTo>
                  <a:pt x="332" y="2054"/>
                </a:lnTo>
                <a:lnTo>
                  <a:pt x="334" y="2050"/>
                </a:lnTo>
                <a:lnTo>
                  <a:pt x="335" y="2045"/>
                </a:lnTo>
                <a:lnTo>
                  <a:pt x="335" y="2036"/>
                </a:lnTo>
                <a:lnTo>
                  <a:pt x="334" y="2027"/>
                </a:lnTo>
                <a:lnTo>
                  <a:pt x="331" y="2006"/>
                </a:lnTo>
                <a:lnTo>
                  <a:pt x="328" y="1980"/>
                </a:lnTo>
                <a:lnTo>
                  <a:pt x="327" y="1968"/>
                </a:lnTo>
                <a:lnTo>
                  <a:pt x="326" y="1955"/>
                </a:lnTo>
                <a:lnTo>
                  <a:pt x="326" y="1943"/>
                </a:lnTo>
                <a:lnTo>
                  <a:pt x="328" y="1932"/>
                </a:lnTo>
                <a:lnTo>
                  <a:pt x="330" y="1922"/>
                </a:lnTo>
                <a:lnTo>
                  <a:pt x="334" y="1913"/>
                </a:lnTo>
                <a:lnTo>
                  <a:pt x="337" y="1910"/>
                </a:lnTo>
                <a:lnTo>
                  <a:pt x="341" y="1906"/>
                </a:lnTo>
                <a:lnTo>
                  <a:pt x="344" y="1904"/>
                </a:lnTo>
                <a:lnTo>
                  <a:pt x="348" y="1901"/>
                </a:lnTo>
                <a:lnTo>
                  <a:pt x="348" y="1901"/>
                </a:lnTo>
                <a:lnTo>
                  <a:pt x="353" y="1900"/>
                </a:lnTo>
                <a:lnTo>
                  <a:pt x="357" y="1900"/>
                </a:lnTo>
                <a:lnTo>
                  <a:pt x="362" y="1901"/>
                </a:lnTo>
                <a:lnTo>
                  <a:pt x="366" y="1905"/>
                </a:lnTo>
                <a:lnTo>
                  <a:pt x="375" y="1912"/>
                </a:lnTo>
                <a:lnTo>
                  <a:pt x="386" y="1921"/>
                </a:lnTo>
                <a:lnTo>
                  <a:pt x="397" y="1932"/>
                </a:lnTo>
                <a:lnTo>
                  <a:pt x="410" y="1941"/>
                </a:lnTo>
                <a:lnTo>
                  <a:pt x="417" y="1946"/>
                </a:lnTo>
                <a:lnTo>
                  <a:pt x="424" y="1950"/>
                </a:lnTo>
                <a:lnTo>
                  <a:pt x="434" y="1953"/>
                </a:lnTo>
                <a:lnTo>
                  <a:pt x="442" y="1955"/>
                </a:lnTo>
                <a:lnTo>
                  <a:pt x="442" y="1955"/>
                </a:lnTo>
                <a:lnTo>
                  <a:pt x="451" y="1955"/>
                </a:lnTo>
                <a:lnTo>
                  <a:pt x="460" y="1955"/>
                </a:lnTo>
                <a:lnTo>
                  <a:pt x="468" y="1954"/>
                </a:lnTo>
                <a:lnTo>
                  <a:pt x="478" y="1952"/>
                </a:lnTo>
                <a:lnTo>
                  <a:pt x="486" y="1948"/>
                </a:lnTo>
                <a:lnTo>
                  <a:pt x="494" y="1944"/>
                </a:lnTo>
                <a:lnTo>
                  <a:pt x="501" y="1940"/>
                </a:lnTo>
                <a:lnTo>
                  <a:pt x="509" y="1935"/>
                </a:lnTo>
                <a:lnTo>
                  <a:pt x="525" y="1923"/>
                </a:lnTo>
                <a:lnTo>
                  <a:pt x="539" y="1909"/>
                </a:lnTo>
                <a:lnTo>
                  <a:pt x="554" y="1892"/>
                </a:lnTo>
                <a:lnTo>
                  <a:pt x="571" y="1875"/>
                </a:lnTo>
                <a:lnTo>
                  <a:pt x="604" y="1836"/>
                </a:lnTo>
                <a:lnTo>
                  <a:pt x="624" y="1817"/>
                </a:lnTo>
                <a:lnTo>
                  <a:pt x="644" y="1797"/>
                </a:lnTo>
                <a:lnTo>
                  <a:pt x="667" y="1777"/>
                </a:lnTo>
                <a:lnTo>
                  <a:pt x="691" y="1758"/>
                </a:lnTo>
                <a:lnTo>
                  <a:pt x="705" y="1749"/>
                </a:lnTo>
                <a:lnTo>
                  <a:pt x="718" y="1741"/>
                </a:lnTo>
                <a:lnTo>
                  <a:pt x="732" y="1733"/>
                </a:lnTo>
                <a:lnTo>
                  <a:pt x="747" y="1725"/>
                </a:lnTo>
                <a:lnTo>
                  <a:pt x="747" y="1725"/>
                </a:lnTo>
                <a:lnTo>
                  <a:pt x="787" y="1706"/>
                </a:lnTo>
                <a:lnTo>
                  <a:pt x="819" y="1694"/>
                </a:lnTo>
                <a:lnTo>
                  <a:pt x="831" y="1689"/>
                </a:lnTo>
                <a:lnTo>
                  <a:pt x="843" y="1686"/>
                </a:lnTo>
                <a:lnTo>
                  <a:pt x="852" y="1685"/>
                </a:lnTo>
                <a:lnTo>
                  <a:pt x="859" y="1684"/>
                </a:lnTo>
                <a:lnTo>
                  <a:pt x="865" y="1684"/>
                </a:lnTo>
                <a:lnTo>
                  <a:pt x="869" y="1686"/>
                </a:lnTo>
                <a:lnTo>
                  <a:pt x="872" y="1688"/>
                </a:lnTo>
                <a:lnTo>
                  <a:pt x="874" y="1691"/>
                </a:lnTo>
                <a:lnTo>
                  <a:pt x="876" y="1694"/>
                </a:lnTo>
                <a:lnTo>
                  <a:pt x="876" y="1698"/>
                </a:lnTo>
                <a:lnTo>
                  <a:pt x="875" y="1708"/>
                </a:lnTo>
                <a:lnTo>
                  <a:pt x="872" y="1720"/>
                </a:lnTo>
                <a:lnTo>
                  <a:pt x="868" y="1734"/>
                </a:lnTo>
                <a:lnTo>
                  <a:pt x="865" y="1747"/>
                </a:lnTo>
                <a:lnTo>
                  <a:pt x="863" y="1759"/>
                </a:lnTo>
                <a:lnTo>
                  <a:pt x="863" y="1765"/>
                </a:lnTo>
                <a:lnTo>
                  <a:pt x="863" y="1772"/>
                </a:lnTo>
                <a:lnTo>
                  <a:pt x="865" y="1777"/>
                </a:lnTo>
                <a:lnTo>
                  <a:pt x="867" y="1782"/>
                </a:lnTo>
                <a:lnTo>
                  <a:pt x="870" y="1786"/>
                </a:lnTo>
                <a:lnTo>
                  <a:pt x="875" y="1790"/>
                </a:lnTo>
                <a:lnTo>
                  <a:pt x="881" y="1793"/>
                </a:lnTo>
                <a:lnTo>
                  <a:pt x="889" y="1795"/>
                </a:lnTo>
                <a:lnTo>
                  <a:pt x="889" y="1795"/>
                </a:lnTo>
                <a:lnTo>
                  <a:pt x="901" y="1799"/>
                </a:lnTo>
                <a:lnTo>
                  <a:pt x="912" y="1802"/>
                </a:lnTo>
                <a:lnTo>
                  <a:pt x="921" y="1807"/>
                </a:lnTo>
                <a:lnTo>
                  <a:pt x="928" y="1811"/>
                </a:lnTo>
                <a:lnTo>
                  <a:pt x="935" y="1817"/>
                </a:lnTo>
                <a:lnTo>
                  <a:pt x="940" y="1822"/>
                </a:lnTo>
                <a:lnTo>
                  <a:pt x="943" y="1828"/>
                </a:lnTo>
                <a:lnTo>
                  <a:pt x="945" y="1834"/>
                </a:lnTo>
                <a:lnTo>
                  <a:pt x="947" y="1840"/>
                </a:lnTo>
                <a:lnTo>
                  <a:pt x="947" y="1846"/>
                </a:lnTo>
                <a:lnTo>
                  <a:pt x="946" y="1853"/>
                </a:lnTo>
                <a:lnTo>
                  <a:pt x="945" y="1860"/>
                </a:lnTo>
                <a:lnTo>
                  <a:pt x="943" y="1867"/>
                </a:lnTo>
                <a:lnTo>
                  <a:pt x="940" y="1874"/>
                </a:lnTo>
                <a:lnTo>
                  <a:pt x="932" y="1887"/>
                </a:lnTo>
                <a:lnTo>
                  <a:pt x="922" y="1900"/>
                </a:lnTo>
                <a:lnTo>
                  <a:pt x="912" y="1913"/>
                </a:lnTo>
                <a:lnTo>
                  <a:pt x="902" y="1924"/>
                </a:lnTo>
                <a:lnTo>
                  <a:pt x="892" y="1934"/>
                </a:lnTo>
                <a:lnTo>
                  <a:pt x="875" y="1948"/>
                </a:lnTo>
                <a:lnTo>
                  <a:pt x="869" y="1955"/>
                </a:lnTo>
                <a:lnTo>
                  <a:pt x="869" y="1955"/>
                </a:lnTo>
                <a:lnTo>
                  <a:pt x="877" y="1959"/>
                </a:lnTo>
                <a:lnTo>
                  <a:pt x="888" y="1961"/>
                </a:lnTo>
                <a:lnTo>
                  <a:pt x="899" y="1962"/>
                </a:lnTo>
                <a:lnTo>
                  <a:pt x="912" y="1961"/>
                </a:lnTo>
                <a:lnTo>
                  <a:pt x="926" y="1958"/>
                </a:lnTo>
                <a:lnTo>
                  <a:pt x="941" y="1954"/>
                </a:lnTo>
                <a:lnTo>
                  <a:pt x="957" y="1947"/>
                </a:lnTo>
                <a:lnTo>
                  <a:pt x="972" y="1939"/>
                </a:lnTo>
                <a:lnTo>
                  <a:pt x="989" y="1930"/>
                </a:lnTo>
                <a:lnTo>
                  <a:pt x="1004" y="1919"/>
                </a:lnTo>
                <a:lnTo>
                  <a:pt x="1019" y="1906"/>
                </a:lnTo>
                <a:lnTo>
                  <a:pt x="1035" y="1891"/>
                </a:lnTo>
                <a:lnTo>
                  <a:pt x="1048" y="1874"/>
                </a:lnTo>
                <a:lnTo>
                  <a:pt x="1061" y="1855"/>
                </a:lnTo>
                <a:lnTo>
                  <a:pt x="1073" y="1835"/>
                </a:lnTo>
                <a:lnTo>
                  <a:pt x="1083" y="1814"/>
                </a:lnTo>
                <a:lnTo>
                  <a:pt x="1083" y="1814"/>
                </a:lnTo>
                <a:lnTo>
                  <a:pt x="1086" y="1805"/>
                </a:lnTo>
                <a:lnTo>
                  <a:pt x="1089" y="1799"/>
                </a:lnTo>
                <a:lnTo>
                  <a:pt x="1092" y="1794"/>
                </a:lnTo>
                <a:lnTo>
                  <a:pt x="1096" y="1790"/>
                </a:lnTo>
                <a:lnTo>
                  <a:pt x="1100" y="1787"/>
                </a:lnTo>
                <a:lnTo>
                  <a:pt x="1103" y="1784"/>
                </a:lnTo>
                <a:lnTo>
                  <a:pt x="1111" y="1781"/>
                </a:lnTo>
                <a:lnTo>
                  <a:pt x="1120" y="1778"/>
                </a:lnTo>
                <a:lnTo>
                  <a:pt x="1129" y="1774"/>
                </a:lnTo>
                <a:lnTo>
                  <a:pt x="1138" y="1768"/>
                </a:lnTo>
                <a:lnTo>
                  <a:pt x="1143" y="1763"/>
                </a:lnTo>
                <a:lnTo>
                  <a:pt x="1148" y="1758"/>
                </a:lnTo>
                <a:lnTo>
                  <a:pt x="1148" y="1758"/>
                </a:lnTo>
                <a:lnTo>
                  <a:pt x="1151" y="1752"/>
                </a:lnTo>
                <a:lnTo>
                  <a:pt x="1154" y="1746"/>
                </a:lnTo>
                <a:lnTo>
                  <a:pt x="1158" y="1740"/>
                </a:lnTo>
                <a:lnTo>
                  <a:pt x="1159" y="1734"/>
                </a:lnTo>
                <a:lnTo>
                  <a:pt x="1160" y="1719"/>
                </a:lnTo>
                <a:lnTo>
                  <a:pt x="1160" y="1705"/>
                </a:lnTo>
                <a:lnTo>
                  <a:pt x="1160" y="1690"/>
                </a:lnTo>
                <a:lnTo>
                  <a:pt x="1160" y="1676"/>
                </a:lnTo>
                <a:lnTo>
                  <a:pt x="1162" y="1661"/>
                </a:lnTo>
                <a:lnTo>
                  <a:pt x="1164" y="1655"/>
                </a:lnTo>
                <a:lnTo>
                  <a:pt x="1166" y="1649"/>
                </a:lnTo>
                <a:lnTo>
                  <a:pt x="1166" y="1649"/>
                </a:lnTo>
                <a:lnTo>
                  <a:pt x="1170" y="1643"/>
                </a:lnTo>
                <a:lnTo>
                  <a:pt x="1174" y="1638"/>
                </a:lnTo>
                <a:lnTo>
                  <a:pt x="1178" y="1633"/>
                </a:lnTo>
                <a:lnTo>
                  <a:pt x="1183" y="1628"/>
                </a:lnTo>
                <a:lnTo>
                  <a:pt x="1195" y="1620"/>
                </a:lnTo>
                <a:lnTo>
                  <a:pt x="1209" y="1614"/>
                </a:lnTo>
                <a:lnTo>
                  <a:pt x="1223" y="1609"/>
                </a:lnTo>
                <a:lnTo>
                  <a:pt x="1237" y="1605"/>
                </a:lnTo>
                <a:lnTo>
                  <a:pt x="1268" y="1597"/>
                </a:lnTo>
                <a:lnTo>
                  <a:pt x="1298" y="1591"/>
                </a:lnTo>
                <a:lnTo>
                  <a:pt x="1310" y="1587"/>
                </a:lnTo>
                <a:lnTo>
                  <a:pt x="1321" y="1581"/>
                </a:lnTo>
                <a:lnTo>
                  <a:pt x="1329" y="1575"/>
                </a:lnTo>
                <a:lnTo>
                  <a:pt x="1333" y="1572"/>
                </a:lnTo>
                <a:lnTo>
                  <a:pt x="1335" y="1568"/>
                </a:lnTo>
                <a:lnTo>
                  <a:pt x="1338" y="1564"/>
                </a:lnTo>
                <a:lnTo>
                  <a:pt x="1340" y="1559"/>
                </a:lnTo>
                <a:lnTo>
                  <a:pt x="1340" y="1554"/>
                </a:lnTo>
                <a:lnTo>
                  <a:pt x="1340" y="1549"/>
                </a:lnTo>
                <a:lnTo>
                  <a:pt x="1340" y="1549"/>
                </a:lnTo>
                <a:lnTo>
                  <a:pt x="1338" y="1534"/>
                </a:lnTo>
                <a:lnTo>
                  <a:pt x="1338" y="1521"/>
                </a:lnTo>
                <a:lnTo>
                  <a:pt x="1341" y="1509"/>
                </a:lnTo>
                <a:lnTo>
                  <a:pt x="1345" y="1499"/>
                </a:lnTo>
                <a:lnTo>
                  <a:pt x="1350" y="1488"/>
                </a:lnTo>
                <a:lnTo>
                  <a:pt x="1355" y="1480"/>
                </a:lnTo>
                <a:lnTo>
                  <a:pt x="1362" y="1472"/>
                </a:lnTo>
                <a:lnTo>
                  <a:pt x="1370" y="1465"/>
                </a:lnTo>
                <a:lnTo>
                  <a:pt x="1378" y="1459"/>
                </a:lnTo>
                <a:lnTo>
                  <a:pt x="1388" y="1453"/>
                </a:lnTo>
                <a:lnTo>
                  <a:pt x="1406" y="1443"/>
                </a:lnTo>
                <a:lnTo>
                  <a:pt x="1424" y="1435"/>
                </a:lnTo>
                <a:lnTo>
                  <a:pt x="1441" y="1428"/>
                </a:lnTo>
                <a:lnTo>
                  <a:pt x="1441" y="1428"/>
                </a:lnTo>
                <a:lnTo>
                  <a:pt x="1443" y="1428"/>
                </a:lnTo>
                <a:lnTo>
                  <a:pt x="1444" y="1429"/>
                </a:lnTo>
                <a:lnTo>
                  <a:pt x="1447" y="1431"/>
                </a:lnTo>
                <a:lnTo>
                  <a:pt x="1449" y="1436"/>
                </a:lnTo>
                <a:lnTo>
                  <a:pt x="1453" y="1443"/>
                </a:lnTo>
                <a:lnTo>
                  <a:pt x="1461" y="1462"/>
                </a:lnTo>
                <a:lnTo>
                  <a:pt x="1467" y="1473"/>
                </a:lnTo>
                <a:lnTo>
                  <a:pt x="1474" y="1485"/>
                </a:lnTo>
                <a:lnTo>
                  <a:pt x="1484" y="1498"/>
                </a:lnTo>
                <a:lnTo>
                  <a:pt x="1494" y="1511"/>
                </a:lnTo>
                <a:lnTo>
                  <a:pt x="1506" y="1525"/>
                </a:lnTo>
                <a:lnTo>
                  <a:pt x="1522" y="1539"/>
                </a:lnTo>
                <a:lnTo>
                  <a:pt x="1539" y="1552"/>
                </a:lnTo>
                <a:lnTo>
                  <a:pt x="1559" y="1564"/>
                </a:lnTo>
                <a:lnTo>
                  <a:pt x="1583" y="1576"/>
                </a:lnTo>
                <a:lnTo>
                  <a:pt x="1609" y="1587"/>
                </a:lnTo>
                <a:lnTo>
                  <a:pt x="1609" y="1587"/>
                </a:lnTo>
                <a:lnTo>
                  <a:pt x="1684" y="1556"/>
                </a:lnTo>
                <a:lnTo>
                  <a:pt x="1730" y="1534"/>
                </a:lnTo>
                <a:lnTo>
                  <a:pt x="1757" y="1521"/>
                </a:lnTo>
                <a:lnTo>
                  <a:pt x="1786" y="1506"/>
                </a:lnTo>
                <a:lnTo>
                  <a:pt x="1786" y="1506"/>
                </a:lnTo>
                <a:lnTo>
                  <a:pt x="1818" y="1489"/>
                </a:lnTo>
                <a:lnTo>
                  <a:pt x="1848" y="1472"/>
                </a:lnTo>
                <a:lnTo>
                  <a:pt x="1860" y="1464"/>
                </a:lnTo>
                <a:lnTo>
                  <a:pt x="1871" y="1457"/>
                </a:lnTo>
                <a:lnTo>
                  <a:pt x="1881" y="1449"/>
                </a:lnTo>
                <a:lnTo>
                  <a:pt x="1889" y="1442"/>
                </a:lnTo>
                <a:lnTo>
                  <a:pt x="1889" y="1442"/>
                </a:lnTo>
                <a:lnTo>
                  <a:pt x="1888" y="1440"/>
                </a:lnTo>
                <a:lnTo>
                  <a:pt x="1887" y="1438"/>
                </a:lnTo>
                <a:lnTo>
                  <a:pt x="1879" y="1431"/>
                </a:lnTo>
                <a:lnTo>
                  <a:pt x="1868" y="1420"/>
                </a:lnTo>
                <a:lnTo>
                  <a:pt x="1855" y="1406"/>
                </a:lnTo>
                <a:lnTo>
                  <a:pt x="1840" y="1388"/>
                </a:lnTo>
                <a:lnTo>
                  <a:pt x="1825" y="1369"/>
                </a:lnTo>
                <a:lnTo>
                  <a:pt x="1818" y="1358"/>
                </a:lnTo>
                <a:lnTo>
                  <a:pt x="1812" y="1345"/>
                </a:lnTo>
                <a:lnTo>
                  <a:pt x="1807" y="1334"/>
                </a:lnTo>
                <a:lnTo>
                  <a:pt x="1802" y="1321"/>
                </a:lnTo>
                <a:lnTo>
                  <a:pt x="1802" y="1321"/>
                </a:lnTo>
                <a:lnTo>
                  <a:pt x="1799" y="1308"/>
                </a:lnTo>
                <a:lnTo>
                  <a:pt x="1796" y="1297"/>
                </a:lnTo>
                <a:lnTo>
                  <a:pt x="1794" y="1288"/>
                </a:lnTo>
                <a:lnTo>
                  <a:pt x="1794" y="1279"/>
                </a:lnTo>
                <a:lnTo>
                  <a:pt x="1794" y="1272"/>
                </a:lnTo>
                <a:lnTo>
                  <a:pt x="1794" y="1267"/>
                </a:lnTo>
                <a:lnTo>
                  <a:pt x="1795" y="1263"/>
                </a:lnTo>
                <a:lnTo>
                  <a:pt x="1796" y="1261"/>
                </a:lnTo>
                <a:lnTo>
                  <a:pt x="1796" y="1261"/>
                </a:lnTo>
                <a:lnTo>
                  <a:pt x="1809" y="1278"/>
                </a:lnTo>
                <a:lnTo>
                  <a:pt x="1824" y="1295"/>
                </a:lnTo>
                <a:lnTo>
                  <a:pt x="1845" y="1316"/>
                </a:lnTo>
                <a:lnTo>
                  <a:pt x="1857" y="1327"/>
                </a:lnTo>
                <a:lnTo>
                  <a:pt x="1869" y="1338"/>
                </a:lnTo>
                <a:lnTo>
                  <a:pt x="1883" y="1349"/>
                </a:lnTo>
                <a:lnTo>
                  <a:pt x="1899" y="1361"/>
                </a:lnTo>
                <a:lnTo>
                  <a:pt x="1915" y="1372"/>
                </a:lnTo>
                <a:lnTo>
                  <a:pt x="1932" y="1381"/>
                </a:lnTo>
                <a:lnTo>
                  <a:pt x="1949" y="1390"/>
                </a:lnTo>
                <a:lnTo>
                  <a:pt x="1967" y="1398"/>
                </a:lnTo>
                <a:lnTo>
                  <a:pt x="1967" y="1398"/>
                </a:lnTo>
                <a:lnTo>
                  <a:pt x="2021" y="1370"/>
                </a:lnTo>
                <a:lnTo>
                  <a:pt x="2075" y="1340"/>
                </a:lnTo>
                <a:lnTo>
                  <a:pt x="2129" y="1307"/>
                </a:lnTo>
                <a:lnTo>
                  <a:pt x="2183" y="1273"/>
                </a:lnTo>
                <a:lnTo>
                  <a:pt x="2183" y="1273"/>
                </a:lnTo>
                <a:lnTo>
                  <a:pt x="2218" y="1249"/>
                </a:lnTo>
                <a:lnTo>
                  <a:pt x="2218" y="1249"/>
                </a:lnTo>
                <a:lnTo>
                  <a:pt x="2219" y="1248"/>
                </a:lnTo>
                <a:lnTo>
                  <a:pt x="2219" y="1248"/>
                </a:lnTo>
                <a:lnTo>
                  <a:pt x="2220" y="1246"/>
                </a:lnTo>
                <a:lnTo>
                  <a:pt x="2219" y="1244"/>
                </a:lnTo>
                <a:lnTo>
                  <a:pt x="2215" y="1237"/>
                </a:lnTo>
                <a:lnTo>
                  <a:pt x="2207" y="1228"/>
                </a:lnTo>
                <a:lnTo>
                  <a:pt x="2196" y="1217"/>
                </a:lnTo>
                <a:lnTo>
                  <a:pt x="2171" y="1193"/>
                </a:lnTo>
                <a:lnTo>
                  <a:pt x="2142" y="1164"/>
                </a:lnTo>
                <a:lnTo>
                  <a:pt x="2129" y="1150"/>
                </a:lnTo>
                <a:lnTo>
                  <a:pt x="2118" y="1136"/>
                </a:lnTo>
                <a:lnTo>
                  <a:pt x="2108" y="1121"/>
                </a:lnTo>
                <a:lnTo>
                  <a:pt x="2104" y="1114"/>
                </a:lnTo>
                <a:lnTo>
                  <a:pt x="2101" y="1108"/>
                </a:lnTo>
                <a:lnTo>
                  <a:pt x="2100" y="1101"/>
                </a:lnTo>
                <a:lnTo>
                  <a:pt x="2099" y="1095"/>
                </a:lnTo>
                <a:lnTo>
                  <a:pt x="2099" y="1089"/>
                </a:lnTo>
                <a:lnTo>
                  <a:pt x="2100" y="1084"/>
                </a:lnTo>
                <a:lnTo>
                  <a:pt x="2102" y="1078"/>
                </a:lnTo>
                <a:lnTo>
                  <a:pt x="2106" y="1073"/>
                </a:lnTo>
                <a:lnTo>
                  <a:pt x="2112" y="1069"/>
                </a:lnTo>
                <a:lnTo>
                  <a:pt x="2119" y="1065"/>
                </a:lnTo>
                <a:lnTo>
                  <a:pt x="2119" y="1065"/>
                </a:lnTo>
                <a:lnTo>
                  <a:pt x="2125" y="1061"/>
                </a:lnTo>
                <a:lnTo>
                  <a:pt x="2130" y="1056"/>
                </a:lnTo>
                <a:lnTo>
                  <a:pt x="2133" y="1051"/>
                </a:lnTo>
                <a:lnTo>
                  <a:pt x="2135" y="1045"/>
                </a:lnTo>
                <a:lnTo>
                  <a:pt x="2136" y="1039"/>
                </a:lnTo>
                <a:lnTo>
                  <a:pt x="2136" y="1030"/>
                </a:lnTo>
                <a:lnTo>
                  <a:pt x="2136" y="1023"/>
                </a:lnTo>
                <a:lnTo>
                  <a:pt x="2134" y="1014"/>
                </a:lnTo>
                <a:lnTo>
                  <a:pt x="2129" y="997"/>
                </a:lnTo>
                <a:lnTo>
                  <a:pt x="2121" y="977"/>
                </a:lnTo>
                <a:lnTo>
                  <a:pt x="2102" y="935"/>
                </a:lnTo>
                <a:lnTo>
                  <a:pt x="2093" y="914"/>
                </a:lnTo>
                <a:lnTo>
                  <a:pt x="2085" y="893"/>
                </a:lnTo>
                <a:lnTo>
                  <a:pt x="2078" y="873"/>
                </a:lnTo>
                <a:lnTo>
                  <a:pt x="2076" y="863"/>
                </a:lnTo>
                <a:lnTo>
                  <a:pt x="2074" y="853"/>
                </a:lnTo>
                <a:lnTo>
                  <a:pt x="2074" y="844"/>
                </a:lnTo>
                <a:lnTo>
                  <a:pt x="2074" y="836"/>
                </a:lnTo>
                <a:lnTo>
                  <a:pt x="2075" y="828"/>
                </a:lnTo>
                <a:lnTo>
                  <a:pt x="2077" y="821"/>
                </a:lnTo>
                <a:lnTo>
                  <a:pt x="2080" y="814"/>
                </a:lnTo>
                <a:lnTo>
                  <a:pt x="2085" y="807"/>
                </a:lnTo>
                <a:lnTo>
                  <a:pt x="2091" y="801"/>
                </a:lnTo>
                <a:lnTo>
                  <a:pt x="2099" y="797"/>
                </a:lnTo>
                <a:lnTo>
                  <a:pt x="2099" y="797"/>
                </a:lnTo>
                <a:lnTo>
                  <a:pt x="2200" y="744"/>
                </a:lnTo>
                <a:lnTo>
                  <a:pt x="2306" y="693"/>
                </a:lnTo>
                <a:lnTo>
                  <a:pt x="2410" y="642"/>
                </a:lnTo>
                <a:lnTo>
                  <a:pt x="2513" y="592"/>
                </a:lnTo>
                <a:lnTo>
                  <a:pt x="2705" y="501"/>
                </a:lnTo>
                <a:lnTo>
                  <a:pt x="2788" y="461"/>
                </a:lnTo>
                <a:lnTo>
                  <a:pt x="2863" y="424"/>
                </a:lnTo>
                <a:lnTo>
                  <a:pt x="2863" y="424"/>
                </a:lnTo>
                <a:lnTo>
                  <a:pt x="2859" y="408"/>
                </a:lnTo>
                <a:lnTo>
                  <a:pt x="2853" y="389"/>
                </a:lnTo>
                <a:lnTo>
                  <a:pt x="2843" y="366"/>
                </a:lnTo>
                <a:lnTo>
                  <a:pt x="2836" y="354"/>
                </a:lnTo>
                <a:lnTo>
                  <a:pt x="2829" y="339"/>
                </a:lnTo>
                <a:lnTo>
                  <a:pt x="2821" y="325"/>
                </a:lnTo>
                <a:lnTo>
                  <a:pt x="2812" y="311"/>
                </a:lnTo>
                <a:lnTo>
                  <a:pt x="2801" y="296"/>
                </a:lnTo>
                <a:lnTo>
                  <a:pt x="2788" y="281"/>
                </a:lnTo>
                <a:lnTo>
                  <a:pt x="2774" y="267"/>
                </a:lnTo>
                <a:lnTo>
                  <a:pt x="2759" y="25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5" name="Freeform 32"/>
          <p:cNvSpPr>
            <a:spLocks/>
          </p:cNvSpPr>
          <p:nvPr userDrawn="1"/>
        </p:nvSpPr>
        <p:spPr bwMode="auto">
          <a:xfrm>
            <a:off x="7194551" y="1861841"/>
            <a:ext cx="161925" cy="153988"/>
          </a:xfrm>
          <a:custGeom>
            <a:avLst/>
            <a:gdLst>
              <a:gd name="T0" fmla="*/ 2 w 1226"/>
              <a:gd name="T1" fmla="*/ 386 h 1168"/>
              <a:gd name="T2" fmla="*/ 22 w 1226"/>
              <a:gd name="T3" fmla="*/ 434 h 1168"/>
              <a:gd name="T4" fmla="*/ 61 w 1226"/>
              <a:gd name="T5" fmla="*/ 466 h 1168"/>
              <a:gd name="T6" fmla="*/ 120 w 1226"/>
              <a:gd name="T7" fmla="*/ 479 h 1168"/>
              <a:gd name="T8" fmla="*/ 142 w 1226"/>
              <a:gd name="T9" fmla="*/ 469 h 1168"/>
              <a:gd name="T10" fmla="*/ 160 w 1226"/>
              <a:gd name="T11" fmla="*/ 436 h 1168"/>
              <a:gd name="T12" fmla="*/ 164 w 1226"/>
              <a:gd name="T13" fmla="*/ 370 h 1168"/>
              <a:gd name="T14" fmla="*/ 174 w 1226"/>
              <a:gd name="T15" fmla="*/ 344 h 1168"/>
              <a:gd name="T16" fmla="*/ 198 w 1226"/>
              <a:gd name="T17" fmla="*/ 331 h 1168"/>
              <a:gd name="T18" fmla="*/ 223 w 1226"/>
              <a:gd name="T19" fmla="*/ 318 h 1168"/>
              <a:gd name="T20" fmla="*/ 427 w 1226"/>
              <a:gd name="T21" fmla="*/ 416 h 1168"/>
              <a:gd name="T22" fmla="*/ 628 w 1226"/>
              <a:gd name="T23" fmla="*/ 534 h 1168"/>
              <a:gd name="T24" fmla="*/ 876 w 1226"/>
              <a:gd name="T25" fmla="*/ 703 h 1168"/>
              <a:gd name="T26" fmla="*/ 868 w 1226"/>
              <a:gd name="T27" fmla="*/ 783 h 1168"/>
              <a:gd name="T28" fmla="*/ 779 w 1226"/>
              <a:gd name="T29" fmla="*/ 957 h 1168"/>
              <a:gd name="T30" fmla="*/ 753 w 1226"/>
              <a:gd name="T31" fmla="*/ 1040 h 1168"/>
              <a:gd name="T32" fmla="*/ 754 w 1226"/>
              <a:gd name="T33" fmla="*/ 1090 h 1168"/>
              <a:gd name="T34" fmla="*/ 771 w 1226"/>
              <a:gd name="T35" fmla="*/ 1130 h 1168"/>
              <a:gd name="T36" fmla="*/ 801 w 1226"/>
              <a:gd name="T37" fmla="*/ 1157 h 1168"/>
              <a:gd name="T38" fmla="*/ 842 w 1226"/>
              <a:gd name="T39" fmla="*/ 1168 h 1168"/>
              <a:gd name="T40" fmla="*/ 880 w 1226"/>
              <a:gd name="T41" fmla="*/ 1163 h 1168"/>
              <a:gd name="T42" fmla="*/ 919 w 1226"/>
              <a:gd name="T43" fmla="*/ 1140 h 1168"/>
              <a:gd name="T44" fmla="*/ 944 w 1226"/>
              <a:gd name="T45" fmla="*/ 1107 h 1168"/>
              <a:gd name="T46" fmla="*/ 952 w 1226"/>
              <a:gd name="T47" fmla="*/ 1060 h 1168"/>
              <a:gd name="T48" fmla="*/ 930 w 1226"/>
              <a:gd name="T49" fmla="*/ 1010 h 1168"/>
              <a:gd name="T50" fmla="*/ 885 w 1226"/>
              <a:gd name="T51" fmla="*/ 989 h 1168"/>
              <a:gd name="T52" fmla="*/ 919 w 1226"/>
              <a:gd name="T53" fmla="*/ 879 h 1168"/>
              <a:gd name="T54" fmla="*/ 954 w 1226"/>
              <a:gd name="T55" fmla="*/ 807 h 1168"/>
              <a:gd name="T56" fmla="*/ 1024 w 1226"/>
              <a:gd name="T57" fmla="*/ 715 h 1168"/>
              <a:gd name="T58" fmla="*/ 1095 w 1226"/>
              <a:gd name="T59" fmla="*/ 673 h 1168"/>
              <a:gd name="T60" fmla="*/ 1125 w 1226"/>
              <a:gd name="T61" fmla="*/ 670 h 1168"/>
              <a:gd name="T62" fmla="*/ 1099 w 1226"/>
              <a:gd name="T63" fmla="*/ 633 h 1168"/>
              <a:gd name="T64" fmla="*/ 1083 w 1226"/>
              <a:gd name="T65" fmla="*/ 543 h 1168"/>
              <a:gd name="T66" fmla="*/ 1096 w 1226"/>
              <a:gd name="T67" fmla="*/ 477 h 1168"/>
              <a:gd name="T68" fmla="*/ 1132 w 1226"/>
              <a:gd name="T69" fmla="*/ 395 h 1168"/>
              <a:gd name="T70" fmla="*/ 1195 w 1226"/>
              <a:gd name="T71" fmla="*/ 258 h 1168"/>
              <a:gd name="T72" fmla="*/ 1225 w 1226"/>
              <a:gd name="T73" fmla="*/ 141 h 1168"/>
              <a:gd name="T74" fmla="*/ 1217 w 1226"/>
              <a:gd name="T75" fmla="*/ 95 h 1168"/>
              <a:gd name="T76" fmla="*/ 1187 w 1226"/>
              <a:gd name="T77" fmla="*/ 55 h 1168"/>
              <a:gd name="T78" fmla="*/ 1144 w 1226"/>
              <a:gd name="T79" fmla="*/ 34 h 1168"/>
              <a:gd name="T80" fmla="*/ 1104 w 1226"/>
              <a:gd name="T81" fmla="*/ 35 h 1168"/>
              <a:gd name="T82" fmla="*/ 1061 w 1226"/>
              <a:gd name="T83" fmla="*/ 57 h 1168"/>
              <a:gd name="T84" fmla="*/ 1033 w 1226"/>
              <a:gd name="T85" fmla="*/ 94 h 1168"/>
              <a:gd name="T86" fmla="*/ 1025 w 1226"/>
              <a:gd name="T87" fmla="*/ 139 h 1168"/>
              <a:gd name="T88" fmla="*/ 1048 w 1226"/>
              <a:gd name="T89" fmla="*/ 205 h 1168"/>
              <a:gd name="T90" fmla="*/ 1095 w 1226"/>
              <a:gd name="T91" fmla="*/ 230 h 1168"/>
              <a:gd name="T92" fmla="*/ 1107 w 1226"/>
              <a:gd name="T93" fmla="*/ 240 h 1168"/>
              <a:gd name="T94" fmla="*/ 1044 w 1226"/>
              <a:gd name="T95" fmla="*/ 390 h 1168"/>
              <a:gd name="T96" fmla="*/ 975 w 1226"/>
              <a:gd name="T97" fmla="*/ 431 h 1168"/>
              <a:gd name="T98" fmla="*/ 717 w 1226"/>
              <a:gd name="T99" fmla="*/ 289 h 1168"/>
              <a:gd name="T100" fmla="*/ 529 w 1226"/>
              <a:gd name="T101" fmla="*/ 205 h 1168"/>
              <a:gd name="T102" fmla="*/ 317 w 1226"/>
              <a:gd name="T103" fmla="*/ 140 h 1168"/>
              <a:gd name="T104" fmla="*/ 378 w 1226"/>
              <a:gd name="T105" fmla="*/ 31 h 1168"/>
              <a:gd name="T106" fmla="*/ 389 w 1226"/>
              <a:gd name="T107" fmla="*/ 0 h 1168"/>
              <a:gd name="T108" fmla="*/ 367 w 1226"/>
              <a:gd name="T109" fmla="*/ 10 h 1168"/>
              <a:gd name="T110" fmla="*/ 285 w 1226"/>
              <a:gd name="T111" fmla="*/ 57 h 1168"/>
              <a:gd name="T112" fmla="*/ 211 w 1226"/>
              <a:gd name="T113" fmla="*/ 85 h 1168"/>
              <a:gd name="T114" fmla="*/ 147 w 1226"/>
              <a:gd name="T115" fmla="*/ 85 h 1168"/>
              <a:gd name="T116" fmla="*/ 114 w 1226"/>
              <a:gd name="T117" fmla="*/ 85 h 1168"/>
              <a:gd name="T118" fmla="*/ 87 w 1226"/>
              <a:gd name="T119" fmla="*/ 134 h 1168"/>
              <a:gd name="T120" fmla="*/ 42 w 1226"/>
              <a:gd name="T121" fmla="*/ 261 h 1168"/>
              <a:gd name="T122" fmla="*/ 6 w 1226"/>
              <a:gd name="T123" fmla="*/ 327 h 1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6" h="1168">
                <a:moveTo>
                  <a:pt x="1" y="345"/>
                </a:moveTo>
                <a:lnTo>
                  <a:pt x="1" y="345"/>
                </a:lnTo>
                <a:lnTo>
                  <a:pt x="0" y="359"/>
                </a:lnTo>
                <a:lnTo>
                  <a:pt x="0" y="370"/>
                </a:lnTo>
                <a:lnTo>
                  <a:pt x="2" y="386"/>
                </a:lnTo>
                <a:lnTo>
                  <a:pt x="5" y="401"/>
                </a:lnTo>
                <a:lnTo>
                  <a:pt x="8" y="409"/>
                </a:lnTo>
                <a:lnTo>
                  <a:pt x="11" y="417"/>
                </a:lnTo>
                <a:lnTo>
                  <a:pt x="16" y="425"/>
                </a:lnTo>
                <a:lnTo>
                  <a:pt x="22" y="434"/>
                </a:lnTo>
                <a:lnTo>
                  <a:pt x="28" y="442"/>
                </a:lnTo>
                <a:lnTo>
                  <a:pt x="36" y="449"/>
                </a:lnTo>
                <a:lnTo>
                  <a:pt x="36" y="449"/>
                </a:lnTo>
                <a:lnTo>
                  <a:pt x="48" y="458"/>
                </a:lnTo>
                <a:lnTo>
                  <a:pt x="61" y="466"/>
                </a:lnTo>
                <a:lnTo>
                  <a:pt x="76" y="473"/>
                </a:lnTo>
                <a:lnTo>
                  <a:pt x="91" y="478"/>
                </a:lnTo>
                <a:lnTo>
                  <a:pt x="105" y="480"/>
                </a:lnTo>
                <a:lnTo>
                  <a:pt x="113" y="480"/>
                </a:lnTo>
                <a:lnTo>
                  <a:pt x="120" y="479"/>
                </a:lnTo>
                <a:lnTo>
                  <a:pt x="126" y="478"/>
                </a:lnTo>
                <a:lnTo>
                  <a:pt x="132" y="476"/>
                </a:lnTo>
                <a:lnTo>
                  <a:pt x="137" y="473"/>
                </a:lnTo>
                <a:lnTo>
                  <a:pt x="142" y="469"/>
                </a:lnTo>
                <a:lnTo>
                  <a:pt x="142" y="469"/>
                </a:lnTo>
                <a:lnTo>
                  <a:pt x="147" y="464"/>
                </a:lnTo>
                <a:lnTo>
                  <a:pt x="152" y="457"/>
                </a:lnTo>
                <a:lnTo>
                  <a:pt x="155" y="451"/>
                </a:lnTo>
                <a:lnTo>
                  <a:pt x="158" y="444"/>
                </a:lnTo>
                <a:lnTo>
                  <a:pt x="160" y="436"/>
                </a:lnTo>
                <a:lnTo>
                  <a:pt x="161" y="428"/>
                </a:lnTo>
                <a:lnTo>
                  <a:pt x="162" y="411"/>
                </a:lnTo>
                <a:lnTo>
                  <a:pt x="162" y="395"/>
                </a:lnTo>
                <a:lnTo>
                  <a:pt x="163" y="378"/>
                </a:lnTo>
                <a:lnTo>
                  <a:pt x="164" y="370"/>
                </a:lnTo>
                <a:lnTo>
                  <a:pt x="166" y="362"/>
                </a:lnTo>
                <a:lnTo>
                  <a:pt x="168" y="355"/>
                </a:lnTo>
                <a:lnTo>
                  <a:pt x="172" y="347"/>
                </a:lnTo>
                <a:lnTo>
                  <a:pt x="172" y="347"/>
                </a:lnTo>
                <a:lnTo>
                  <a:pt x="174" y="344"/>
                </a:lnTo>
                <a:lnTo>
                  <a:pt x="178" y="341"/>
                </a:lnTo>
                <a:lnTo>
                  <a:pt x="187" y="335"/>
                </a:lnTo>
                <a:lnTo>
                  <a:pt x="195" y="332"/>
                </a:lnTo>
                <a:lnTo>
                  <a:pt x="198" y="331"/>
                </a:lnTo>
                <a:lnTo>
                  <a:pt x="198" y="331"/>
                </a:lnTo>
                <a:lnTo>
                  <a:pt x="205" y="329"/>
                </a:lnTo>
                <a:lnTo>
                  <a:pt x="211" y="326"/>
                </a:lnTo>
                <a:lnTo>
                  <a:pt x="217" y="323"/>
                </a:lnTo>
                <a:lnTo>
                  <a:pt x="223" y="318"/>
                </a:lnTo>
                <a:lnTo>
                  <a:pt x="223" y="318"/>
                </a:lnTo>
                <a:lnTo>
                  <a:pt x="264" y="337"/>
                </a:lnTo>
                <a:lnTo>
                  <a:pt x="305" y="355"/>
                </a:lnTo>
                <a:lnTo>
                  <a:pt x="347" y="374"/>
                </a:lnTo>
                <a:lnTo>
                  <a:pt x="388" y="395"/>
                </a:lnTo>
                <a:lnTo>
                  <a:pt x="427" y="416"/>
                </a:lnTo>
                <a:lnTo>
                  <a:pt x="468" y="439"/>
                </a:lnTo>
                <a:lnTo>
                  <a:pt x="509" y="461"/>
                </a:lnTo>
                <a:lnTo>
                  <a:pt x="549" y="485"/>
                </a:lnTo>
                <a:lnTo>
                  <a:pt x="589" y="509"/>
                </a:lnTo>
                <a:lnTo>
                  <a:pt x="628" y="534"/>
                </a:lnTo>
                <a:lnTo>
                  <a:pt x="706" y="584"/>
                </a:lnTo>
                <a:lnTo>
                  <a:pt x="782" y="636"/>
                </a:lnTo>
                <a:lnTo>
                  <a:pt x="857" y="689"/>
                </a:lnTo>
                <a:lnTo>
                  <a:pt x="857" y="689"/>
                </a:lnTo>
                <a:lnTo>
                  <a:pt x="876" y="703"/>
                </a:lnTo>
                <a:lnTo>
                  <a:pt x="894" y="714"/>
                </a:lnTo>
                <a:lnTo>
                  <a:pt x="894" y="714"/>
                </a:lnTo>
                <a:lnTo>
                  <a:pt x="887" y="736"/>
                </a:lnTo>
                <a:lnTo>
                  <a:pt x="878" y="759"/>
                </a:lnTo>
                <a:lnTo>
                  <a:pt x="868" y="783"/>
                </a:lnTo>
                <a:lnTo>
                  <a:pt x="856" y="809"/>
                </a:lnTo>
                <a:lnTo>
                  <a:pt x="856" y="809"/>
                </a:lnTo>
                <a:lnTo>
                  <a:pt x="816" y="885"/>
                </a:lnTo>
                <a:lnTo>
                  <a:pt x="797" y="921"/>
                </a:lnTo>
                <a:lnTo>
                  <a:pt x="779" y="957"/>
                </a:lnTo>
                <a:lnTo>
                  <a:pt x="772" y="975"/>
                </a:lnTo>
                <a:lnTo>
                  <a:pt x="766" y="992"/>
                </a:lnTo>
                <a:lnTo>
                  <a:pt x="760" y="1008"/>
                </a:lnTo>
                <a:lnTo>
                  <a:pt x="756" y="1025"/>
                </a:lnTo>
                <a:lnTo>
                  <a:pt x="753" y="1040"/>
                </a:lnTo>
                <a:lnTo>
                  <a:pt x="751" y="1054"/>
                </a:lnTo>
                <a:lnTo>
                  <a:pt x="751" y="1069"/>
                </a:lnTo>
                <a:lnTo>
                  <a:pt x="752" y="1081"/>
                </a:lnTo>
                <a:lnTo>
                  <a:pt x="752" y="1081"/>
                </a:lnTo>
                <a:lnTo>
                  <a:pt x="754" y="1090"/>
                </a:lnTo>
                <a:lnTo>
                  <a:pt x="756" y="1099"/>
                </a:lnTo>
                <a:lnTo>
                  <a:pt x="759" y="1107"/>
                </a:lnTo>
                <a:lnTo>
                  <a:pt x="762" y="1116"/>
                </a:lnTo>
                <a:lnTo>
                  <a:pt x="766" y="1123"/>
                </a:lnTo>
                <a:lnTo>
                  <a:pt x="771" y="1130"/>
                </a:lnTo>
                <a:lnTo>
                  <a:pt x="776" y="1136"/>
                </a:lnTo>
                <a:lnTo>
                  <a:pt x="781" y="1142"/>
                </a:lnTo>
                <a:lnTo>
                  <a:pt x="787" y="1147"/>
                </a:lnTo>
                <a:lnTo>
                  <a:pt x="794" y="1152"/>
                </a:lnTo>
                <a:lnTo>
                  <a:pt x="801" y="1157"/>
                </a:lnTo>
                <a:lnTo>
                  <a:pt x="808" y="1160"/>
                </a:lnTo>
                <a:lnTo>
                  <a:pt x="816" y="1163"/>
                </a:lnTo>
                <a:lnTo>
                  <a:pt x="824" y="1165"/>
                </a:lnTo>
                <a:lnTo>
                  <a:pt x="833" y="1167"/>
                </a:lnTo>
                <a:lnTo>
                  <a:pt x="842" y="1168"/>
                </a:lnTo>
                <a:lnTo>
                  <a:pt x="842" y="1168"/>
                </a:lnTo>
                <a:lnTo>
                  <a:pt x="852" y="1168"/>
                </a:lnTo>
                <a:lnTo>
                  <a:pt x="862" y="1167"/>
                </a:lnTo>
                <a:lnTo>
                  <a:pt x="871" y="1165"/>
                </a:lnTo>
                <a:lnTo>
                  <a:pt x="880" y="1163"/>
                </a:lnTo>
                <a:lnTo>
                  <a:pt x="889" y="1160"/>
                </a:lnTo>
                <a:lnTo>
                  <a:pt x="897" y="1155"/>
                </a:lnTo>
                <a:lnTo>
                  <a:pt x="905" y="1151"/>
                </a:lnTo>
                <a:lnTo>
                  <a:pt x="912" y="1146"/>
                </a:lnTo>
                <a:lnTo>
                  <a:pt x="919" y="1140"/>
                </a:lnTo>
                <a:lnTo>
                  <a:pt x="925" y="1135"/>
                </a:lnTo>
                <a:lnTo>
                  <a:pt x="931" y="1129"/>
                </a:lnTo>
                <a:lnTo>
                  <a:pt x="936" y="1122"/>
                </a:lnTo>
                <a:lnTo>
                  <a:pt x="940" y="1115"/>
                </a:lnTo>
                <a:lnTo>
                  <a:pt x="944" y="1107"/>
                </a:lnTo>
                <a:lnTo>
                  <a:pt x="947" y="1100"/>
                </a:lnTo>
                <a:lnTo>
                  <a:pt x="949" y="1092"/>
                </a:lnTo>
                <a:lnTo>
                  <a:pt x="949" y="1092"/>
                </a:lnTo>
                <a:lnTo>
                  <a:pt x="951" y="1076"/>
                </a:lnTo>
                <a:lnTo>
                  <a:pt x="952" y="1060"/>
                </a:lnTo>
                <a:lnTo>
                  <a:pt x="950" y="1048"/>
                </a:lnTo>
                <a:lnTo>
                  <a:pt x="947" y="1036"/>
                </a:lnTo>
                <a:lnTo>
                  <a:pt x="942" y="1027"/>
                </a:lnTo>
                <a:lnTo>
                  <a:pt x="937" y="1017"/>
                </a:lnTo>
                <a:lnTo>
                  <a:pt x="930" y="1010"/>
                </a:lnTo>
                <a:lnTo>
                  <a:pt x="922" y="1005"/>
                </a:lnTo>
                <a:lnTo>
                  <a:pt x="915" y="1000"/>
                </a:lnTo>
                <a:lnTo>
                  <a:pt x="908" y="996"/>
                </a:lnTo>
                <a:lnTo>
                  <a:pt x="894" y="991"/>
                </a:lnTo>
                <a:lnTo>
                  <a:pt x="885" y="989"/>
                </a:lnTo>
                <a:lnTo>
                  <a:pt x="880" y="989"/>
                </a:lnTo>
                <a:lnTo>
                  <a:pt x="880" y="989"/>
                </a:lnTo>
                <a:lnTo>
                  <a:pt x="896" y="944"/>
                </a:lnTo>
                <a:lnTo>
                  <a:pt x="908" y="908"/>
                </a:lnTo>
                <a:lnTo>
                  <a:pt x="919" y="879"/>
                </a:lnTo>
                <a:lnTo>
                  <a:pt x="919" y="879"/>
                </a:lnTo>
                <a:lnTo>
                  <a:pt x="927" y="859"/>
                </a:lnTo>
                <a:lnTo>
                  <a:pt x="937" y="841"/>
                </a:lnTo>
                <a:lnTo>
                  <a:pt x="945" y="823"/>
                </a:lnTo>
                <a:lnTo>
                  <a:pt x="954" y="807"/>
                </a:lnTo>
                <a:lnTo>
                  <a:pt x="962" y="792"/>
                </a:lnTo>
                <a:lnTo>
                  <a:pt x="971" y="777"/>
                </a:lnTo>
                <a:lnTo>
                  <a:pt x="989" y="753"/>
                </a:lnTo>
                <a:lnTo>
                  <a:pt x="1006" y="732"/>
                </a:lnTo>
                <a:lnTo>
                  <a:pt x="1024" y="715"/>
                </a:lnTo>
                <a:lnTo>
                  <a:pt x="1040" y="702"/>
                </a:lnTo>
                <a:lnTo>
                  <a:pt x="1055" y="690"/>
                </a:lnTo>
                <a:lnTo>
                  <a:pt x="1070" y="683"/>
                </a:lnTo>
                <a:lnTo>
                  <a:pt x="1083" y="677"/>
                </a:lnTo>
                <a:lnTo>
                  <a:pt x="1095" y="673"/>
                </a:lnTo>
                <a:lnTo>
                  <a:pt x="1105" y="671"/>
                </a:lnTo>
                <a:lnTo>
                  <a:pt x="1114" y="670"/>
                </a:lnTo>
                <a:lnTo>
                  <a:pt x="1120" y="670"/>
                </a:lnTo>
                <a:lnTo>
                  <a:pt x="1125" y="670"/>
                </a:lnTo>
                <a:lnTo>
                  <a:pt x="1125" y="670"/>
                </a:lnTo>
                <a:lnTo>
                  <a:pt x="1121" y="666"/>
                </a:lnTo>
                <a:lnTo>
                  <a:pt x="1116" y="661"/>
                </a:lnTo>
                <a:lnTo>
                  <a:pt x="1111" y="653"/>
                </a:lnTo>
                <a:lnTo>
                  <a:pt x="1104" y="644"/>
                </a:lnTo>
                <a:lnTo>
                  <a:pt x="1099" y="633"/>
                </a:lnTo>
                <a:lnTo>
                  <a:pt x="1093" y="620"/>
                </a:lnTo>
                <a:lnTo>
                  <a:pt x="1088" y="603"/>
                </a:lnTo>
                <a:lnTo>
                  <a:pt x="1085" y="586"/>
                </a:lnTo>
                <a:lnTo>
                  <a:pt x="1083" y="566"/>
                </a:lnTo>
                <a:lnTo>
                  <a:pt x="1083" y="543"/>
                </a:lnTo>
                <a:lnTo>
                  <a:pt x="1084" y="531"/>
                </a:lnTo>
                <a:lnTo>
                  <a:pt x="1086" y="519"/>
                </a:lnTo>
                <a:lnTo>
                  <a:pt x="1088" y="505"/>
                </a:lnTo>
                <a:lnTo>
                  <a:pt x="1092" y="491"/>
                </a:lnTo>
                <a:lnTo>
                  <a:pt x="1096" y="477"/>
                </a:lnTo>
                <a:lnTo>
                  <a:pt x="1101" y="461"/>
                </a:lnTo>
                <a:lnTo>
                  <a:pt x="1107" y="446"/>
                </a:lnTo>
                <a:lnTo>
                  <a:pt x="1115" y="430"/>
                </a:lnTo>
                <a:lnTo>
                  <a:pt x="1123" y="412"/>
                </a:lnTo>
                <a:lnTo>
                  <a:pt x="1132" y="395"/>
                </a:lnTo>
                <a:lnTo>
                  <a:pt x="1132" y="395"/>
                </a:lnTo>
                <a:lnTo>
                  <a:pt x="1152" y="358"/>
                </a:lnTo>
                <a:lnTo>
                  <a:pt x="1169" y="322"/>
                </a:lnTo>
                <a:lnTo>
                  <a:pt x="1184" y="289"/>
                </a:lnTo>
                <a:lnTo>
                  <a:pt x="1195" y="258"/>
                </a:lnTo>
                <a:lnTo>
                  <a:pt x="1206" y="227"/>
                </a:lnTo>
                <a:lnTo>
                  <a:pt x="1214" y="197"/>
                </a:lnTo>
                <a:lnTo>
                  <a:pt x="1220" y="169"/>
                </a:lnTo>
                <a:lnTo>
                  <a:pt x="1225" y="141"/>
                </a:lnTo>
                <a:lnTo>
                  <a:pt x="1225" y="141"/>
                </a:lnTo>
                <a:lnTo>
                  <a:pt x="1226" y="132"/>
                </a:lnTo>
                <a:lnTo>
                  <a:pt x="1225" y="123"/>
                </a:lnTo>
                <a:lnTo>
                  <a:pt x="1224" y="114"/>
                </a:lnTo>
                <a:lnTo>
                  <a:pt x="1221" y="104"/>
                </a:lnTo>
                <a:lnTo>
                  <a:pt x="1217" y="95"/>
                </a:lnTo>
                <a:lnTo>
                  <a:pt x="1213" y="87"/>
                </a:lnTo>
                <a:lnTo>
                  <a:pt x="1208" y="78"/>
                </a:lnTo>
                <a:lnTo>
                  <a:pt x="1202" y="70"/>
                </a:lnTo>
                <a:lnTo>
                  <a:pt x="1194" y="63"/>
                </a:lnTo>
                <a:lnTo>
                  <a:pt x="1187" y="55"/>
                </a:lnTo>
                <a:lnTo>
                  <a:pt x="1179" y="49"/>
                </a:lnTo>
                <a:lnTo>
                  <a:pt x="1171" y="44"/>
                </a:lnTo>
                <a:lnTo>
                  <a:pt x="1163" y="39"/>
                </a:lnTo>
                <a:lnTo>
                  <a:pt x="1153" y="36"/>
                </a:lnTo>
                <a:lnTo>
                  <a:pt x="1144" y="34"/>
                </a:lnTo>
                <a:lnTo>
                  <a:pt x="1134" y="32"/>
                </a:lnTo>
                <a:lnTo>
                  <a:pt x="1134" y="32"/>
                </a:lnTo>
                <a:lnTo>
                  <a:pt x="1124" y="32"/>
                </a:lnTo>
                <a:lnTo>
                  <a:pt x="1115" y="33"/>
                </a:lnTo>
                <a:lnTo>
                  <a:pt x="1104" y="35"/>
                </a:lnTo>
                <a:lnTo>
                  <a:pt x="1095" y="38"/>
                </a:lnTo>
                <a:lnTo>
                  <a:pt x="1086" y="42"/>
                </a:lnTo>
                <a:lnTo>
                  <a:pt x="1078" y="46"/>
                </a:lnTo>
                <a:lnTo>
                  <a:pt x="1070" y="52"/>
                </a:lnTo>
                <a:lnTo>
                  <a:pt x="1061" y="57"/>
                </a:lnTo>
                <a:lnTo>
                  <a:pt x="1054" y="65"/>
                </a:lnTo>
                <a:lnTo>
                  <a:pt x="1048" y="71"/>
                </a:lnTo>
                <a:lnTo>
                  <a:pt x="1042" y="78"/>
                </a:lnTo>
                <a:lnTo>
                  <a:pt x="1037" y="86"/>
                </a:lnTo>
                <a:lnTo>
                  <a:pt x="1033" y="94"/>
                </a:lnTo>
                <a:lnTo>
                  <a:pt x="1029" y="102"/>
                </a:lnTo>
                <a:lnTo>
                  <a:pt x="1027" y="111"/>
                </a:lnTo>
                <a:lnTo>
                  <a:pt x="1026" y="119"/>
                </a:lnTo>
                <a:lnTo>
                  <a:pt x="1026" y="119"/>
                </a:lnTo>
                <a:lnTo>
                  <a:pt x="1025" y="139"/>
                </a:lnTo>
                <a:lnTo>
                  <a:pt x="1026" y="158"/>
                </a:lnTo>
                <a:lnTo>
                  <a:pt x="1030" y="173"/>
                </a:lnTo>
                <a:lnTo>
                  <a:pt x="1035" y="185"/>
                </a:lnTo>
                <a:lnTo>
                  <a:pt x="1041" y="195"/>
                </a:lnTo>
                <a:lnTo>
                  <a:pt x="1048" y="205"/>
                </a:lnTo>
                <a:lnTo>
                  <a:pt x="1056" y="212"/>
                </a:lnTo>
                <a:lnTo>
                  <a:pt x="1065" y="217"/>
                </a:lnTo>
                <a:lnTo>
                  <a:pt x="1073" y="221"/>
                </a:lnTo>
                <a:lnTo>
                  <a:pt x="1081" y="225"/>
                </a:lnTo>
                <a:lnTo>
                  <a:pt x="1095" y="230"/>
                </a:lnTo>
                <a:lnTo>
                  <a:pt x="1101" y="232"/>
                </a:lnTo>
                <a:lnTo>
                  <a:pt x="1104" y="234"/>
                </a:lnTo>
                <a:lnTo>
                  <a:pt x="1107" y="237"/>
                </a:lnTo>
                <a:lnTo>
                  <a:pt x="1107" y="240"/>
                </a:lnTo>
                <a:lnTo>
                  <a:pt x="1107" y="240"/>
                </a:lnTo>
                <a:lnTo>
                  <a:pt x="1096" y="276"/>
                </a:lnTo>
                <a:lnTo>
                  <a:pt x="1084" y="309"/>
                </a:lnTo>
                <a:lnTo>
                  <a:pt x="1071" y="339"/>
                </a:lnTo>
                <a:lnTo>
                  <a:pt x="1057" y="365"/>
                </a:lnTo>
                <a:lnTo>
                  <a:pt x="1044" y="390"/>
                </a:lnTo>
                <a:lnTo>
                  <a:pt x="1031" y="411"/>
                </a:lnTo>
                <a:lnTo>
                  <a:pt x="1016" y="431"/>
                </a:lnTo>
                <a:lnTo>
                  <a:pt x="1002" y="447"/>
                </a:lnTo>
                <a:lnTo>
                  <a:pt x="1002" y="447"/>
                </a:lnTo>
                <a:lnTo>
                  <a:pt x="975" y="431"/>
                </a:lnTo>
                <a:lnTo>
                  <a:pt x="942" y="411"/>
                </a:lnTo>
                <a:lnTo>
                  <a:pt x="942" y="411"/>
                </a:lnTo>
                <a:lnTo>
                  <a:pt x="865" y="369"/>
                </a:lnTo>
                <a:lnTo>
                  <a:pt x="790" y="328"/>
                </a:lnTo>
                <a:lnTo>
                  <a:pt x="717" y="289"/>
                </a:lnTo>
                <a:lnTo>
                  <a:pt x="680" y="271"/>
                </a:lnTo>
                <a:lnTo>
                  <a:pt x="643" y="254"/>
                </a:lnTo>
                <a:lnTo>
                  <a:pt x="606" y="236"/>
                </a:lnTo>
                <a:lnTo>
                  <a:pt x="568" y="221"/>
                </a:lnTo>
                <a:lnTo>
                  <a:pt x="529" y="205"/>
                </a:lnTo>
                <a:lnTo>
                  <a:pt x="489" y="190"/>
                </a:lnTo>
                <a:lnTo>
                  <a:pt x="448" y="176"/>
                </a:lnTo>
                <a:lnTo>
                  <a:pt x="406" y="164"/>
                </a:lnTo>
                <a:lnTo>
                  <a:pt x="362" y="151"/>
                </a:lnTo>
                <a:lnTo>
                  <a:pt x="317" y="140"/>
                </a:lnTo>
                <a:lnTo>
                  <a:pt x="317" y="140"/>
                </a:lnTo>
                <a:lnTo>
                  <a:pt x="334" y="107"/>
                </a:lnTo>
                <a:lnTo>
                  <a:pt x="334" y="107"/>
                </a:lnTo>
                <a:lnTo>
                  <a:pt x="360" y="63"/>
                </a:lnTo>
                <a:lnTo>
                  <a:pt x="378" y="31"/>
                </a:lnTo>
                <a:lnTo>
                  <a:pt x="385" y="20"/>
                </a:lnTo>
                <a:lnTo>
                  <a:pt x="389" y="10"/>
                </a:lnTo>
                <a:lnTo>
                  <a:pt x="391" y="4"/>
                </a:lnTo>
                <a:lnTo>
                  <a:pt x="390" y="2"/>
                </a:lnTo>
                <a:lnTo>
                  <a:pt x="389" y="0"/>
                </a:lnTo>
                <a:lnTo>
                  <a:pt x="389" y="0"/>
                </a:lnTo>
                <a:lnTo>
                  <a:pt x="388" y="0"/>
                </a:lnTo>
                <a:lnTo>
                  <a:pt x="387" y="0"/>
                </a:lnTo>
                <a:lnTo>
                  <a:pt x="381" y="1"/>
                </a:lnTo>
                <a:lnTo>
                  <a:pt x="367" y="10"/>
                </a:lnTo>
                <a:lnTo>
                  <a:pt x="343" y="26"/>
                </a:lnTo>
                <a:lnTo>
                  <a:pt x="326" y="35"/>
                </a:lnTo>
                <a:lnTo>
                  <a:pt x="307" y="46"/>
                </a:lnTo>
                <a:lnTo>
                  <a:pt x="307" y="46"/>
                </a:lnTo>
                <a:lnTo>
                  <a:pt x="285" y="57"/>
                </a:lnTo>
                <a:lnTo>
                  <a:pt x="267" y="67"/>
                </a:lnTo>
                <a:lnTo>
                  <a:pt x="252" y="73"/>
                </a:lnTo>
                <a:lnTo>
                  <a:pt x="237" y="78"/>
                </a:lnTo>
                <a:lnTo>
                  <a:pt x="224" y="82"/>
                </a:lnTo>
                <a:lnTo>
                  <a:pt x="211" y="85"/>
                </a:lnTo>
                <a:lnTo>
                  <a:pt x="183" y="89"/>
                </a:lnTo>
                <a:lnTo>
                  <a:pt x="183" y="89"/>
                </a:lnTo>
                <a:lnTo>
                  <a:pt x="174" y="89"/>
                </a:lnTo>
                <a:lnTo>
                  <a:pt x="165" y="88"/>
                </a:lnTo>
                <a:lnTo>
                  <a:pt x="147" y="85"/>
                </a:lnTo>
                <a:lnTo>
                  <a:pt x="132" y="81"/>
                </a:lnTo>
                <a:lnTo>
                  <a:pt x="125" y="81"/>
                </a:lnTo>
                <a:lnTo>
                  <a:pt x="120" y="82"/>
                </a:lnTo>
                <a:lnTo>
                  <a:pt x="120" y="82"/>
                </a:lnTo>
                <a:lnTo>
                  <a:pt x="114" y="85"/>
                </a:lnTo>
                <a:lnTo>
                  <a:pt x="107" y="91"/>
                </a:lnTo>
                <a:lnTo>
                  <a:pt x="102" y="98"/>
                </a:lnTo>
                <a:lnTo>
                  <a:pt x="97" y="107"/>
                </a:lnTo>
                <a:lnTo>
                  <a:pt x="92" y="120"/>
                </a:lnTo>
                <a:lnTo>
                  <a:pt x="87" y="134"/>
                </a:lnTo>
                <a:lnTo>
                  <a:pt x="74" y="171"/>
                </a:lnTo>
                <a:lnTo>
                  <a:pt x="74" y="171"/>
                </a:lnTo>
                <a:lnTo>
                  <a:pt x="49" y="242"/>
                </a:lnTo>
                <a:lnTo>
                  <a:pt x="42" y="261"/>
                </a:lnTo>
                <a:lnTo>
                  <a:pt x="42" y="261"/>
                </a:lnTo>
                <a:lnTo>
                  <a:pt x="34" y="279"/>
                </a:lnTo>
                <a:lnTo>
                  <a:pt x="27" y="293"/>
                </a:lnTo>
                <a:lnTo>
                  <a:pt x="14" y="312"/>
                </a:lnTo>
                <a:lnTo>
                  <a:pt x="10" y="320"/>
                </a:lnTo>
                <a:lnTo>
                  <a:pt x="6" y="327"/>
                </a:lnTo>
                <a:lnTo>
                  <a:pt x="3" y="335"/>
                </a:lnTo>
                <a:lnTo>
                  <a:pt x="1" y="34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6" name="Freeform 33"/>
          <p:cNvSpPr>
            <a:spLocks/>
          </p:cNvSpPr>
          <p:nvPr userDrawn="1"/>
        </p:nvSpPr>
        <p:spPr bwMode="auto">
          <a:xfrm>
            <a:off x="7189787" y="1214140"/>
            <a:ext cx="39688" cy="46038"/>
          </a:xfrm>
          <a:custGeom>
            <a:avLst/>
            <a:gdLst>
              <a:gd name="T0" fmla="*/ 103 w 296"/>
              <a:gd name="T1" fmla="*/ 350 h 350"/>
              <a:gd name="T2" fmla="*/ 103 w 296"/>
              <a:gd name="T3" fmla="*/ 350 h 350"/>
              <a:gd name="T4" fmla="*/ 132 w 296"/>
              <a:gd name="T5" fmla="*/ 349 h 350"/>
              <a:gd name="T6" fmla="*/ 164 w 296"/>
              <a:gd name="T7" fmla="*/ 346 h 350"/>
              <a:gd name="T8" fmla="*/ 196 w 296"/>
              <a:gd name="T9" fmla="*/ 343 h 350"/>
              <a:gd name="T10" fmla="*/ 226 w 296"/>
              <a:gd name="T11" fmla="*/ 339 h 350"/>
              <a:gd name="T12" fmla="*/ 276 w 296"/>
              <a:gd name="T13" fmla="*/ 333 h 350"/>
              <a:gd name="T14" fmla="*/ 296 w 296"/>
              <a:gd name="T15" fmla="*/ 329 h 350"/>
              <a:gd name="T16" fmla="*/ 293 w 296"/>
              <a:gd name="T17" fmla="*/ 25 h 350"/>
              <a:gd name="T18" fmla="*/ 293 w 296"/>
              <a:gd name="T19" fmla="*/ 25 h 350"/>
              <a:gd name="T20" fmla="*/ 244 w 296"/>
              <a:gd name="T21" fmla="*/ 18 h 350"/>
              <a:gd name="T22" fmla="*/ 142 w 296"/>
              <a:gd name="T23" fmla="*/ 2 h 350"/>
              <a:gd name="T24" fmla="*/ 142 w 296"/>
              <a:gd name="T25" fmla="*/ 2 h 350"/>
              <a:gd name="T26" fmla="*/ 129 w 296"/>
              <a:gd name="T27" fmla="*/ 1 h 350"/>
              <a:gd name="T28" fmla="*/ 117 w 296"/>
              <a:gd name="T29" fmla="*/ 0 h 350"/>
              <a:gd name="T30" fmla="*/ 105 w 296"/>
              <a:gd name="T31" fmla="*/ 0 h 350"/>
              <a:gd name="T32" fmla="*/ 94 w 296"/>
              <a:gd name="T33" fmla="*/ 1 h 350"/>
              <a:gd name="T34" fmla="*/ 84 w 296"/>
              <a:gd name="T35" fmla="*/ 3 h 350"/>
              <a:gd name="T36" fmla="*/ 75 w 296"/>
              <a:gd name="T37" fmla="*/ 6 h 350"/>
              <a:gd name="T38" fmla="*/ 66 w 296"/>
              <a:gd name="T39" fmla="*/ 9 h 350"/>
              <a:gd name="T40" fmla="*/ 59 w 296"/>
              <a:gd name="T41" fmla="*/ 13 h 350"/>
              <a:gd name="T42" fmla="*/ 51 w 296"/>
              <a:gd name="T43" fmla="*/ 17 h 350"/>
              <a:gd name="T44" fmla="*/ 44 w 296"/>
              <a:gd name="T45" fmla="*/ 22 h 350"/>
              <a:gd name="T46" fmla="*/ 38 w 296"/>
              <a:gd name="T47" fmla="*/ 27 h 350"/>
              <a:gd name="T48" fmla="*/ 33 w 296"/>
              <a:gd name="T49" fmla="*/ 32 h 350"/>
              <a:gd name="T50" fmla="*/ 24 w 296"/>
              <a:gd name="T51" fmla="*/ 45 h 350"/>
              <a:gd name="T52" fmla="*/ 17 w 296"/>
              <a:gd name="T53" fmla="*/ 57 h 350"/>
              <a:gd name="T54" fmla="*/ 11 w 296"/>
              <a:gd name="T55" fmla="*/ 70 h 350"/>
              <a:gd name="T56" fmla="*/ 6 w 296"/>
              <a:gd name="T57" fmla="*/ 83 h 350"/>
              <a:gd name="T58" fmla="*/ 3 w 296"/>
              <a:gd name="T59" fmla="*/ 96 h 350"/>
              <a:gd name="T60" fmla="*/ 1 w 296"/>
              <a:gd name="T61" fmla="*/ 106 h 350"/>
              <a:gd name="T62" fmla="*/ 0 w 296"/>
              <a:gd name="T63" fmla="*/ 123 h 350"/>
              <a:gd name="T64" fmla="*/ 0 w 296"/>
              <a:gd name="T65" fmla="*/ 129 h 350"/>
              <a:gd name="T66" fmla="*/ 4 w 296"/>
              <a:gd name="T67" fmla="*/ 213 h 350"/>
              <a:gd name="T68" fmla="*/ 4 w 296"/>
              <a:gd name="T69" fmla="*/ 213 h 350"/>
              <a:gd name="T70" fmla="*/ 4 w 296"/>
              <a:gd name="T71" fmla="*/ 219 h 350"/>
              <a:gd name="T72" fmla="*/ 6 w 296"/>
              <a:gd name="T73" fmla="*/ 235 h 350"/>
              <a:gd name="T74" fmla="*/ 11 w 296"/>
              <a:gd name="T75" fmla="*/ 256 h 350"/>
              <a:gd name="T76" fmla="*/ 15 w 296"/>
              <a:gd name="T77" fmla="*/ 268 h 350"/>
              <a:gd name="T78" fmla="*/ 19 w 296"/>
              <a:gd name="T79" fmla="*/ 282 h 350"/>
              <a:gd name="T80" fmla="*/ 24 w 296"/>
              <a:gd name="T81" fmla="*/ 294 h 350"/>
              <a:gd name="T82" fmla="*/ 31 w 296"/>
              <a:gd name="T83" fmla="*/ 306 h 350"/>
              <a:gd name="T84" fmla="*/ 39 w 296"/>
              <a:gd name="T85" fmla="*/ 319 h 350"/>
              <a:gd name="T86" fmla="*/ 48 w 296"/>
              <a:gd name="T87" fmla="*/ 329 h 350"/>
              <a:gd name="T88" fmla="*/ 53 w 296"/>
              <a:gd name="T89" fmla="*/ 333 h 350"/>
              <a:gd name="T90" fmla="*/ 60 w 296"/>
              <a:gd name="T91" fmla="*/ 337 h 350"/>
              <a:gd name="T92" fmla="*/ 66 w 296"/>
              <a:gd name="T93" fmla="*/ 341 h 350"/>
              <a:gd name="T94" fmla="*/ 72 w 296"/>
              <a:gd name="T95" fmla="*/ 344 h 350"/>
              <a:gd name="T96" fmla="*/ 79 w 296"/>
              <a:gd name="T97" fmla="*/ 346 h 350"/>
              <a:gd name="T98" fmla="*/ 86 w 296"/>
              <a:gd name="T99" fmla="*/ 348 h 350"/>
              <a:gd name="T100" fmla="*/ 94 w 296"/>
              <a:gd name="T101" fmla="*/ 349 h 350"/>
              <a:gd name="T102" fmla="*/ 103 w 296"/>
              <a:gd name="T103" fmla="*/ 35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6" h="350">
                <a:moveTo>
                  <a:pt x="103" y="350"/>
                </a:moveTo>
                <a:lnTo>
                  <a:pt x="103" y="350"/>
                </a:lnTo>
                <a:lnTo>
                  <a:pt x="132" y="349"/>
                </a:lnTo>
                <a:lnTo>
                  <a:pt x="164" y="346"/>
                </a:lnTo>
                <a:lnTo>
                  <a:pt x="196" y="343"/>
                </a:lnTo>
                <a:lnTo>
                  <a:pt x="226" y="339"/>
                </a:lnTo>
                <a:lnTo>
                  <a:pt x="276" y="333"/>
                </a:lnTo>
                <a:lnTo>
                  <a:pt x="296" y="329"/>
                </a:lnTo>
                <a:lnTo>
                  <a:pt x="293" y="25"/>
                </a:lnTo>
                <a:lnTo>
                  <a:pt x="293" y="25"/>
                </a:lnTo>
                <a:lnTo>
                  <a:pt x="244" y="18"/>
                </a:lnTo>
                <a:lnTo>
                  <a:pt x="142" y="2"/>
                </a:lnTo>
                <a:lnTo>
                  <a:pt x="142" y="2"/>
                </a:lnTo>
                <a:lnTo>
                  <a:pt x="129" y="1"/>
                </a:lnTo>
                <a:lnTo>
                  <a:pt x="117" y="0"/>
                </a:lnTo>
                <a:lnTo>
                  <a:pt x="105" y="0"/>
                </a:lnTo>
                <a:lnTo>
                  <a:pt x="94" y="1"/>
                </a:lnTo>
                <a:lnTo>
                  <a:pt x="84" y="3"/>
                </a:lnTo>
                <a:lnTo>
                  <a:pt x="75" y="6"/>
                </a:lnTo>
                <a:lnTo>
                  <a:pt x="66" y="9"/>
                </a:lnTo>
                <a:lnTo>
                  <a:pt x="59" y="13"/>
                </a:lnTo>
                <a:lnTo>
                  <a:pt x="51" y="17"/>
                </a:lnTo>
                <a:lnTo>
                  <a:pt x="44" y="22"/>
                </a:lnTo>
                <a:lnTo>
                  <a:pt x="38" y="27"/>
                </a:lnTo>
                <a:lnTo>
                  <a:pt x="33" y="32"/>
                </a:lnTo>
                <a:lnTo>
                  <a:pt x="24" y="45"/>
                </a:lnTo>
                <a:lnTo>
                  <a:pt x="17" y="57"/>
                </a:lnTo>
                <a:lnTo>
                  <a:pt x="11" y="70"/>
                </a:lnTo>
                <a:lnTo>
                  <a:pt x="6" y="83"/>
                </a:lnTo>
                <a:lnTo>
                  <a:pt x="3" y="96"/>
                </a:lnTo>
                <a:lnTo>
                  <a:pt x="1" y="106"/>
                </a:lnTo>
                <a:lnTo>
                  <a:pt x="0" y="123"/>
                </a:lnTo>
                <a:lnTo>
                  <a:pt x="0" y="129"/>
                </a:lnTo>
                <a:lnTo>
                  <a:pt x="4" y="213"/>
                </a:lnTo>
                <a:lnTo>
                  <a:pt x="4" y="213"/>
                </a:lnTo>
                <a:lnTo>
                  <a:pt x="4" y="219"/>
                </a:lnTo>
                <a:lnTo>
                  <a:pt x="6" y="235"/>
                </a:lnTo>
                <a:lnTo>
                  <a:pt x="11" y="256"/>
                </a:lnTo>
                <a:lnTo>
                  <a:pt x="15" y="268"/>
                </a:lnTo>
                <a:lnTo>
                  <a:pt x="19" y="282"/>
                </a:lnTo>
                <a:lnTo>
                  <a:pt x="24" y="294"/>
                </a:lnTo>
                <a:lnTo>
                  <a:pt x="31" y="306"/>
                </a:lnTo>
                <a:lnTo>
                  <a:pt x="39" y="319"/>
                </a:lnTo>
                <a:lnTo>
                  <a:pt x="48" y="329"/>
                </a:lnTo>
                <a:lnTo>
                  <a:pt x="53" y="333"/>
                </a:lnTo>
                <a:lnTo>
                  <a:pt x="60" y="337"/>
                </a:lnTo>
                <a:lnTo>
                  <a:pt x="66" y="341"/>
                </a:lnTo>
                <a:lnTo>
                  <a:pt x="72" y="344"/>
                </a:lnTo>
                <a:lnTo>
                  <a:pt x="79" y="346"/>
                </a:lnTo>
                <a:lnTo>
                  <a:pt x="86" y="348"/>
                </a:lnTo>
                <a:lnTo>
                  <a:pt x="94" y="349"/>
                </a:lnTo>
                <a:lnTo>
                  <a:pt x="103" y="3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7" name="Freeform 34"/>
          <p:cNvSpPr>
            <a:spLocks/>
          </p:cNvSpPr>
          <p:nvPr userDrawn="1"/>
        </p:nvSpPr>
        <p:spPr bwMode="auto">
          <a:xfrm>
            <a:off x="7237413" y="1203028"/>
            <a:ext cx="60325" cy="57150"/>
          </a:xfrm>
          <a:custGeom>
            <a:avLst/>
            <a:gdLst>
              <a:gd name="T0" fmla="*/ 450 w 450"/>
              <a:gd name="T1" fmla="*/ 290 h 425"/>
              <a:gd name="T2" fmla="*/ 450 w 450"/>
              <a:gd name="T3" fmla="*/ 225 h 425"/>
              <a:gd name="T4" fmla="*/ 449 w 450"/>
              <a:gd name="T5" fmla="*/ 54 h 425"/>
              <a:gd name="T6" fmla="*/ 444 w 450"/>
              <a:gd name="T7" fmla="*/ 20 h 425"/>
              <a:gd name="T8" fmla="*/ 436 w 450"/>
              <a:gd name="T9" fmla="*/ 3 h 425"/>
              <a:gd name="T10" fmla="*/ 429 w 450"/>
              <a:gd name="T11" fmla="*/ 0 h 425"/>
              <a:gd name="T12" fmla="*/ 367 w 450"/>
              <a:gd name="T13" fmla="*/ 2 h 425"/>
              <a:gd name="T14" fmla="*/ 362 w 450"/>
              <a:gd name="T15" fmla="*/ 14 h 425"/>
              <a:gd name="T16" fmla="*/ 347 w 450"/>
              <a:gd name="T17" fmla="*/ 59 h 425"/>
              <a:gd name="T18" fmla="*/ 325 w 450"/>
              <a:gd name="T19" fmla="*/ 2 h 425"/>
              <a:gd name="T20" fmla="*/ 261 w 450"/>
              <a:gd name="T21" fmla="*/ 2 h 425"/>
              <a:gd name="T22" fmla="*/ 242 w 450"/>
              <a:gd name="T23" fmla="*/ 16 h 425"/>
              <a:gd name="T24" fmla="*/ 224 w 450"/>
              <a:gd name="T25" fmla="*/ 64 h 425"/>
              <a:gd name="T26" fmla="*/ 192 w 450"/>
              <a:gd name="T27" fmla="*/ 4 h 425"/>
              <a:gd name="T28" fmla="*/ 135 w 450"/>
              <a:gd name="T29" fmla="*/ 6 h 425"/>
              <a:gd name="T30" fmla="*/ 127 w 450"/>
              <a:gd name="T31" fmla="*/ 11 h 425"/>
              <a:gd name="T32" fmla="*/ 110 w 450"/>
              <a:gd name="T33" fmla="*/ 53 h 425"/>
              <a:gd name="T34" fmla="*/ 86 w 450"/>
              <a:gd name="T35" fmla="*/ 6 h 425"/>
              <a:gd name="T36" fmla="*/ 38 w 450"/>
              <a:gd name="T37" fmla="*/ 6 h 425"/>
              <a:gd name="T38" fmla="*/ 25 w 450"/>
              <a:gd name="T39" fmla="*/ 10 h 425"/>
              <a:gd name="T40" fmla="*/ 10 w 450"/>
              <a:gd name="T41" fmla="*/ 28 h 425"/>
              <a:gd name="T42" fmla="*/ 1 w 450"/>
              <a:gd name="T43" fmla="*/ 55 h 425"/>
              <a:gd name="T44" fmla="*/ 1 w 450"/>
              <a:gd name="T45" fmla="*/ 141 h 425"/>
              <a:gd name="T46" fmla="*/ 5 w 450"/>
              <a:gd name="T47" fmla="*/ 324 h 425"/>
              <a:gd name="T48" fmla="*/ 27 w 450"/>
              <a:gd name="T49" fmla="*/ 401 h 425"/>
              <a:gd name="T50" fmla="*/ 54 w 450"/>
              <a:gd name="T51" fmla="*/ 396 h 425"/>
              <a:gd name="T52" fmla="*/ 74 w 450"/>
              <a:gd name="T53" fmla="*/ 384 h 425"/>
              <a:gd name="T54" fmla="*/ 83 w 450"/>
              <a:gd name="T55" fmla="*/ 374 h 425"/>
              <a:gd name="T56" fmla="*/ 100 w 450"/>
              <a:gd name="T57" fmla="*/ 341 h 425"/>
              <a:gd name="T58" fmla="*/ 105 w 450"/>
              <a:gd name="T59" fmla="*/ 317 h 425"/>
              <a:gd name="T60" fmla="*/ 105 w 450"/>
              <a:gd name="T61" fmla="*/ 367 h 425"/>
              <a:gd name="T62" fmla="*/ 108 w 450"/>
              <a:gd name="T63" fmla="*/ 420 h 425"/>
              <a:gd name="T64" fmla="*/ 116 w 450"/>
              <a:gd name="T65" fmla="*/ 424 h 425"/>
              <a:gd name="T66" fmla="*/ 150 w 450"/>
              <a:gd name="T67" fmla="*/ 423 h 425"/>
              <a:gd name="T68" fmla="*/ 176 w 450"/>
              <a:gd name="T69" fmla="*/ 412 h 425"/>
              <a:gd name="T70" fmla="*/ 189 w 450"/>
              <a:gd name="T71" fmla="*/ 402 h 425"/>
              <a:gd name="T72" fmla="*/ 209 w 450"/>
              <a:gd name="T73" fmla="*/ 368 h 425"/>
              <a:gd name="T74" fmla="*/ 224 w 450"/>
              <a:gd name="T75" fmla="*/ 317 h 425"/>
              <a:gd name="T76" fmla="*/ 225 w 450"/>
              <a:gd name="T77" fmla="*/ 381 h 425"/>
              <a:gd name="T78" fmla="*/ 229 w 450"/>
              <a:gd name="T79" fmla="*/ 419 h 425"/>
              <a:gd name="T80" fmla="*/ 237 w 450"/>
              <a:gd name="T81" fmla="*/ 421 h 425"/>
              <a:gd name="T82" fmla="*/ 266 w 450"/>
              <a:gd name="T83" fmla="*/ 418 h 425"/>
              <a:gd name="T84" fmla="*/ 300 w 450"/>
              <a:gd name="T85" fmla="*/ 405 h 425"/>
              <a:gd name="T86" fmla="*/ 309 w 450"/>
              <a:gd name="T87" fmla="*/ 397 h 425"/>
              <a:gd name="T88" fmla="*/ 331 w 450"/>
              <a:gd name="T89" fmla="*/ 367 h 425"/>
              <a:gd name="T90" fmla="*/ 342 w 450"/>
              <a:gd name="T91" fmla="*/ 334 h 425"/>
              <a:gd name="T92" fmla="*/ 345 w 450"/>
              <a:gd name="T93" fmla="*/ 346 h 425"/>
              <a:gd name="T94" fmla="*/ 348 w 450"/>
              <a:gd name="T95" fmla="*/ 391 h 425"/>
              <a:gd name="T96" fmla="*/ 379 w 450"/>
              <a:gd name="T97" fmla="*/ 386 h 425"/>
              <a:gd name="T98" fmla="*/ 404 w 450"/>
              <a:gd name="T99" fmla="*/ 375 h 425"/>
              <a:gd name="T100" fmla="*/ 425 w 450"/>
              <a:gd name="T101" fmla="*/ 360 h 425"/>
              <a:gd name="T102" fmla="*/ 439 w 450"/>
              <a:gd name="T103" fmla="*/ 342 h 425"/>
              <a:gd name="T104" fmla="*/ 448 w 450"/>
              <a:gd name="T105" fmla="*/ 311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0" h="425">
                <a:moveTo>
                  <a:pt x="448" y="311"/>
                </a:moveTo>
                <a:lnTo>
                  <a:pt x="448" y="311"/>
                </a:lnTo>
                <a:lnTo>
                  <a:pt x="450" y="290"/>
                </a:lnTo>
                <a:lnTo>
                  <a:pt x="450" y="268"/>
                </a:lnTo>
                <a:lnTo>
                  <a:pt x="450" y="225"/>
                </a:lnTo>
                <a:lnTo>
                  <a:pt x="450" y="225"/>
                </a:lnTo>
                <a:lnTo>
                  <a:pt x="449" y="64"/>
                </a:lnTo>
                <a:lnTo>
                  <a:pt x="449" y="64"/>
                </a:lnTo>
                <a:lnTo>
                  <a:pt x="449" y="54"/>
                </a:lnTo>
                <a:lnTo>
                  <a:pt x="448" y="44"/>
                </a:lnTo>
                <a:lnTo>
                  <a:pt x="447" y="33"/>
                </a:lnTo>
                <a:lnTo>
                  <a:pt x="444" y="20"/>
                </a:lnTo>
                <a:lnTo>
                  <a:pt x="441" y="10"/>
                </a:lnTo>
                <a:lnTo>
                  <a:pt x="439" y="6"/>
                </a:lnTo>
                <a:lnTo>
                  <a:pt x="436" y="3"/>
                </a:lnTo>
                <a:lnTo>
                  <a:pt x="433" y="1"/>
                </a:lnTo>
                <a:lnTo>
                  <a:pt x="429" y="0"/>
                </a:lnTo>
                <a:lnTo>
                  <a:pt x="429" y="0"/>
                </a:lnTo>
                <a:lnTo>
                  <a:pt x="396" y="0"/>
                </a:lnTo>
                <a:lnTo>
                  <a:pt x="378" y="1"/>
                </a:lnTo>
                <a:lnTo>
                  <a:pt x="367" y="2"/>
                </a:lnTo>
                <a:lnTo>
                  <a:pt x="367" y="2"/>
                </a:lnTo>
                <a:lnTo>
                  <a:pt x="364" y="7"/>
                </a:lnTo>
                <a:lnTo>
                  <a:pt x="362" y="14"/>
                </a:lnTo>
                <a:lnTo>
                  <a:pt x="356" y="33"/>
                </a:lnTo>
                <a:lnTo>
                  <a:pt x="350" y="52"/>
                </a:lnTo>
                <a:lnTo>
                  <a:pt x="347" y="59"/>
                </a:lnTo>
                <a:lnTo>
                  <a:pt x="345" y="64"/>
                </a:lnTo>
                <a:lnTo>
                  <a:pt x="325" y="2"/>
                </a:lnTo>
                <a:lnTo>
                  <a:pt x="325" y="2"/>
                </a:lnTo>
                <a:lnTo>
                  <a:pt x="309" y="1"/>
                </a:lnTo>
                <a:lnTo>
                  <a:pt x="286" y="1"/>
                </a:lnTo>
                <a:lnTo>
                  <a:pt x="261" y="2"/>
                </a:lnTo>
                <a:lnTo>
                  <a:pt x="247" y="4"/>
                </a:lnTo>
                <a:lnTo>
                  <a:pt x="247" y="4"/>
                </a:lnTo>
                <a:lnTo>
                  <a:pt x="242" y="16"/>
                </a:lnTo>
                <a:lnTo>
                  <a:pt x="236" y="34"/>
                </a:lnTo>
                <a:lnTo>
                  <a:pt x="229" y="52"/>
                </a:lnTo>
                <a:lnTo>
                  <a:pt x="224" y="64"/>
                </a:lnTo>
                <a:lnTo>
                  <a:pt x="205" y="5"/>
                </a:lnTo>
                <a:lnTo>
                  <a:pt x="205" y="5"/>
                </a:lnTo>
                <a:lnTo>
                  <a:pt x="192" y="4"/>
                </a:lnTo>
                <a:lnTo>
                  <a:pt x="168" y="4"/>
                </a:lnTo>
                <a:lnTo>
                  <a:pt x="144" y="5"/>
                </a:lnTo>
                <a:lnTo>
                  <a:pt x="135" y="6"/>
                </a:lnTo>
                <a:lnTo>
                  <a:pt x="131" y="6"/>
                </a:lnTo>
                <a:lnTo>
                  <a:pt x="131" y="6"/>
                </a:lnTo>
                <a:lnTo>
                  <a:pt x="127" y="11"/>
                </a:lnTo>
                <a:lnTo>
                  <a:pt x="124" y="18"/>
                </a:lnTo>
                <a:lnTo>
                  <a:pt x="117" y="36"/>
                </a:lnTo>
                <a:lnTo>
                  <a:pt x="110" y="53"/>
                </a:lnTo>
                <a:lnTo>
                  <a:pt x="105" y="64"/>
                </a:lnTo>
                <a:lnTo>
                  <a:pt x="86" y="6"/>
                </a:lnTo>
                <a:lnTo>
                  <a:pt x="86" y="6"/>
                </a:lnTo>
                <a:lnTo>
                  <a:pt x="69" y="6"/>
                </a:lnTo>
                <a:lnTo>
                  <a:pt x="38" y="6"/>
                </a:lnTo>
                <a:lnTo>
                  <a:pt x="38" y="6"/>
                </a:lnTo>
                <a:lnTo>
                  <a:pt x="33" y="7"/>
                </a:lnTo>
                <a:lnTo>
                  <a:pt x="29" y="8"/>
                </a:lnTo>
                <a:lnTo>
                  <a:pt x="25" y="10"/>
                </a:lnTo>
                <a:lnTo>
                  <a:pt x="21" y="12"/>
                </a:lnTo>
                <a:lnTo>
                  <a:pt x="15" y="19"/>
                </a:lnTo>
                <a:lnTo>
                  <a:pt x="10" y="28"/>
                </a:lnTo>
                <a:lnTo>
                  <a:pt x="5" y="36"/>
                </a:lnTo>
                <a:lnTo>
                  <a:pt x="2" y="46"/>
                </a:lnTo>
                <a:lnTo>
                  <a:pt x="1" y="55"/>
                </a:lnTo>
                <a:lnTo>
                  <a:pt x="0" y="63"/>
                </a:lnTo>
                <a:lnTo>
                  <a:pt x="0" y="63"/>
                </a:lnTo>
                <a:lnTo>
                  <a:pt x="1" y="141"/>
                </a:lnTo>
                <a:lnTo>
                  <a:pt x="2" y="220"/>
                </a:lnTo>
                <a:lnTo>
                  <a:pt x="2" y="220"/>
                </a:lnTo>
                <a:lnTo>
                  <a:pt x="5" y="324"/>
                </a:lnTo>
                <a:lnTo>
                  <a:pt x="8" y="402"/>
                </a:lnTo>
                <a:lnTo>
                  <a:pt x="8" y="402"/>
                </a:lnTo>
                <a:lnTo>
                  <a:pt x="27" y="401"/>
                </a:lnTo>
                <a:lnTo>
                  <a:pt x="37" y="399"/>
                </a:lnTo>
                <a:lnTo>
                  <a:pt x="45" y="398"/>
                </a:lnTo>
                <a:lnTo>
                  <a:pt x="54" y="396"/>
                </a:lnTo>
                <a:lnTo>
                  <a:pt x="62" y="393"/>
                </a:lnTo>
                <a:lnTo>
                  <a:pt x="68" y="388"/>
                </a:lnTo>
                <a:lnTo>
                  <a:pt x="74" y="384"/>
                </a:lnTo>
                <a:lnTo>
                  <a:pt x="74" y="384"/>
                </a:lnTo>
                <a:lnTo>
                  <a:pt x="79" y="379"/>
                </a:lnTo>
                <a:lnTo>
                  <a:pt x="83" y="374"/>
                </a:lnTo>
                <a:lnTo>
                  <a:pt x="90" y="363"/>
                </a:lnTo>
                <a:lnTo>
                  <a:pt x="95" y="352"/>
                </a:lnTo>
                <a:lnTo>
                  <a:pt x="100" y="341"/>
                </a:lnTo>
                <a:lnTo>
                  <a:pt x="103" y="331"/>
                </a:lnTo>
                <a:lnTo>
                  <a:pt x="104" y="324"/>
                </a:lnTo>
                <a:lnTo>
                  <a:pt x="105" y="317"/>
                </a:lnTo>
                <a:lnTo>
                  <a:pt x="105" y="317"/>
                </a:lnTo>
                <a:lnTo>
                  <a:pt x="105" y="337"/>
                </a:lnTo>
                <a:lnTo>
                  <a:pt x="105" y="367"/>
                </a:lnTo>
                <a:lnTo>
                  <a:pt x="106" y="397"/>
                </a:lnTo>
                <a:lnTo>
                  <a:pt x="108" y="420"/>
                </a:lnTo>
                <a:lnTo>
                  <a:pt x="108" y="420"/>
                </a:lnTo>
                <a:lnTo>
                  <a:pt x="108" y="421"/>
                </a:lnTo>
                <a:lnTo>
                  <a:pt x="110" y="422"/>
                </a:lnTo>
                <a:lnTo>
                  <a:pt x="116" y="424"/>
                </a:lnTo>
                <a:lnTo>
                  <a:pt x="125" y="425"/>
                </a:lnTo>
                <a:lnTo>
                  <a:pt x="136" y="425"/>
                </a:lnTo>
                <a:lnTo>
                  <a:pt x="150" y="423"/>
                </a:lnTo>
                <a:lnTo>
                  <a:pt x="163" y="418"/>
                </a:lnTo>
                <a:lnTo>
                  <a:pt x="169" y="415"/>
                </a:lnTo>
                <a:lnTo>
                  <a:pt x="176" y="412"/>
                </a:lnTo>
                <a:lnTo>
                  <a:pt x="182" y="407"/>
                </a:lnTo>
                <a:lnTo>
                  <a:pt x="189" y="402"/>
                </a:lnTo>
                <a:lnTo>
                  <a:pt x="189" y="402"/>
                </a:lnTo>
                <a:lnTo>
                  <a:pt x="197" y="392"/>
                </a:lnTo>
                <a:lnTo>
                  <a:pt x="204" y="380"/>
                </a:lnTo>
                <a:lnTo>
                  <a:pt x="209" y="368"/>
                </a:lnTo>
                <a:lnTo>
                  <a:pt x="213" y="356"/>
                </a:lnTo>
                <a:lnTo>
                  <a:pt x="220" y="333"/>
                </a:lnTo>
                <a:lnTo>
                  <a:pt x="224" y="317"/>
                </a:lnTo>
                <a:lnTo>
                  <a:pt x="224" y="317"/>
                </a:lnTo>
                <a:lnTo>
                  <a:pt x="224" y="348"/>
                </a:lnTo>
                <a:lnTo>
                  <a:pt x="225" y="381"/>
                </a:lnTo>
                <a:lnTo>
                  <a:pt x="227" y="408"/>
                </a:lnTo>
                <a:lnTo>
                  <a:pt x="228" y="417"/>
                </a:lnTo>
                <a:lnTo>
                  <a:pt x="229" y="419"/>
                </a:lnTo>
                <a:lnTo>
                  <a:pt x="230" y="420"/>
                </a:lnTo>
                <a:lnTo>
                  <a:pt x="230" y="420"/>
                </a:lnTo>
                <a:lnTo>
                  <a:pt x="237" y="421"/>
                </a:lnTo>
                <a:lnTo>
                  <a:pt x="245" y="421"/>
                </a:lnTo>
                <a:lnTo>
                  <a:pt x="255" y="420"/>
                </a:lnTo>
                <a:lnTo>
                  <a:pt x="266" y="418"/>
                </a:lnTo>
                <a:lnTo>
                  <a:pt x="277" y="415"/>
                </a:lnTo>
                <a:lnTo>
                  <a:pt x="289" y="411"/>
                </a:lnTo>
                <a:lnTo>
                  <a:pt x="300" y="405"/>
                </a:lnTo>
                <a:lnTo>
                  <a:pt x="305" y="401"/>
                </a:lnTo>
                <a:lnTo>
                  <a:pt x="309" y="397"/>
                </a:lnTo>
                <a:lnTo>
                  <a:pt x="309" y="397"/>
                </a:lnTo>
                <a:lnTo>
                  <a:pt x="317" y="387"/>
                </a:lnTo>
                <a:lnTo>
                  <a:pt x="325" y="377"/>
                </a:lnTo>
                <a:lnTo>
                  <a:pt x="331" y="367"/>
                </a:lnTo>
                <a:lnTo>
                  <a:pt x="336" y="356"/>
                </a:lnTo>
                <a:lnTo>
                  <a:pt x="339" y="345"/>
                </a:lnTo>
                <a:lnTo>
                  <a:pt x="342" y="334"/>
                </a:lnTo>
                <a:lnTo>
                  <a:pt x="345" y="317"/>
                </a:lnTo>
                <a:lnTo>
                  <a:pt x="345" y="317"/>
                </a:lnTo>
                <a:lnTo>
                  <a:pt x="345" y="346"/>
                </a:lnTo>
                <a:lnTo>
                  <a:pt x="346" y="370"/>
                </a:lnTo>
                <a:lnTo>
                  <a:pt x="348" y="391"/>
                </a:lnTo>
                <a:lnTo>
                  <a:pt x="348" y="391"/>
                </a:lnTo>
                <a:lnTo>
                  <a:pt x="362" y="390"/>
                </a:lnTo>
                <a:lnTo>
                  <a:pt x="371" y="388"/>
                </a:lnTo>
                <a:lnTo>
                  <a:pt x="379" y="386"/>
                </a:lnTo>
                <a:lnTo>
                  <a:pt x="379" y="386"/>
                </a:lnTo>
                <a:lnTo>
                  <a:pt x="393" y="380"/>
                </a:lnTo>
                <a:lnTo>
                  <a:pt x="404" y="375"/>
                </a:lnTo>
                <a:lnTo>
                  <a:pt x="415" y="368"/>
                </a:lnTo>
                <a:lnTo>
                  <a:pt x="415" y="368"/>
                </a:lnTo>
                <a:lnTo>
                  <a:pt x="425" y="360"/>
                </a:lnTo>
                <a:lnTo>
                  <a:pt x="430" y="355"/>
                </a:lnTo>
                <a:lnTo>
                  <a:pt x="435" y="349"/>
                </a:lnTo>
                <a:lnTo>
                  <a:pt x="439" y="342"/>
                </a:lnTo>
                <a:lnTo>
                  <a:pt x="443" y="333"/>
                </a:lnTo>
                <a:lnTo>
                  <a:pt x="446" y="323"/>
                </a:lnTo>
                <a:lnTo>
                  <a:pt x="448" y="3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8" name="Freeform 35"/>
          <p:cNvSpPr>
            <a:spLocks/>
          </p:cNvSpPr>
          <p:nvPr userDrawn="1"/>
        </p:nvSpPr>
        <p:spPr bwMode="auto">
          <a:xfrm>
            <a:off x="7245351" y="1206204"/>
            <a:ext cx="73025" cy="80963"/>
          </a:xfrm>
          <a:custGeom>
            <a:avLst/>
            <a:gdLst>
              <a:gd name="T0" fmla="*/ 554 w 554"/>
              <a:gd name="T1" fmla="*/ 356 h 620"/>
              <a:gd name="T2" fmla="*/ 549 w 554"/>
              <a:gd name="T3" fmla="*/ 350 h 620"/>
              <a:gd name="T4" fmla="*/ 535 w 554"/>
              <a:gd name="T5" fmla="*/ 331 h 620"/>
              <a:gd name="T6" fmla="*/ 525 w 554"/>
              <a:gd name="T7" fmla="*/ 306 h 620"/>
              <a:gd name="T8" fmla="*/ 520 w 554"/>
              <a:gd name="T9" fmla="*/ 285 h 620"/>
              <a:gd name="T10" fmla="*/ 516 w 554"/>
              <a:gd name="T11" fmla="*/ 258 h 620"/>
              <a:gd name="T12" fmla="*/ 515 w 554"/>
              <a:gd name="T13" fmla="*/ 243 h 620"/>
              <a:gd name="T14" fmla="*/ 516 w 554"/>
              <a:gd name="T15" fmla="*/ 222 h 620"/>
              <a:gd name="T16" fmla="*/ 520 w 554"/>
              <a:gd name="T17" fmla="*/ 202 h 620"/>
              <a:gd name="T18" fmla="*/ 532 w 554"/>
              <a:gd name="T19" fmla="*/ 167 h 620"/>
              <a:gd name="T20" fmla="*/ 546 w 554"/>
              <a:gd name="T21" fmla="*/ 142 h 620"/>
              <a:gd name="T22" fmla="*/ 551 w 554"/>
              <a:gd name="T23" fmla="*/ 43 h 620"/>
              <a:gd name="T24" fmla="*/ 542 w 554"/>
              <a:gd name="T25" fmla="*/ 36 h 620"/>
              <a:gd name="T26" fmla="*/ 504 w 554"/>
              <a:gd name="T27" fmla="*/ 13 h 620"/>
              <a:gd name="T28" fmla="*/ 482 w 554"/>
              <a:gd name="T29" fmla="*/ 2 h 620"/>
              <a:gd name="T30" fmla="*/ 470 w 554"/>
              <a:gd name="T31" fmla="*/ 0 h 620"/>
              <a:gd name="T32" fmla="*/ 465 w 554"/>
              <a:gd name="T33" fmla="*/ 327 h 620"/>
              <a:gd name="T34" fmla="*/ 465 w 554"/>
              <a:gd name="T35" fmla="*/ 339 h 620"/>
              <a:gd name="T36" fmla="*/ 458 w 554"/>
              <a:gd name="T37" fmla="*/ 360 h 620"/>
              <a:gd name="T38" fmla="*/ 444 w 554"/>
              <a:gd name="T39" fmla="*/ 382 h 620"/>
              <a:gd name="T40" fmla="*/ 426 w 554"/>
              <a:gd name="T41" fmla="*/ 402 h 620"/>
              <a:gd name="T42" fmla="*/ 405 w 554"/>
              <a:gd name="T43" fmla="*/ 421 h 620"/>
              <a:gd name="T44" fmla="*/ 380 w 554"/>
              <a:gd name="T45" fmla="*/ 437 h 620"/>
              <a:gd name="T46" fmla="*/ 353 w 554"/>
              <a:gd name="T47" fmla="*/ 449 h 620"/>
              <a:gd name="T48" fmla="*/ 327 w 554"/>
              <a:gd name="T49" fmla="*/ 458 h 620"/>
              <a:gd name="T50" fmla="*/ 314 w 554"/>
              <a:gd name="T51" fmla="*/ 461 h 620"/>
              <a:gd name="T52" fmla="*/ 255 w 554"/>
              <a:gd name="T53" fmla="*/ 471 h 620"/>
              <a:gd name="T54" fmla="*/ 199 w 554"/>
              <a:gd name="T55" fmla="*/ 477 h 620"/>
              <a:gd name="T56" fmla="*/ 98 w 554"/>
              <a:gd name="T57" fmla="*/ 482 h 620"/>
              <a:gd name="T58" fmla="*/ 27 w 554"/>
              <a:gd name="T59" fmla="*/ 482 h 620"/>
              <a:gd name="T60" fmla="*/ 0 w 554"/>
              <a:gd name="T61" fmla="*/ 481 h 620"/>
              <a:gd name="T62" fmla="*/ 4 w 554"/>
              <a:gd name="T63" fmla="*/ 508 h 620"/>
              <a:gd name="T64" fmla="*/ 13 w 554"/>
              <a:gd name="T65" fmla="*/ 550 h 620"/>
              <a:gd name="T66" fmla="*/ 18 w 554"/>
              <a:gd name="T67" fmla="*/ 566 h 620"/>
              <a:gd name="T68" fmla="*/ 29 w 554"/>
              <a:gd name="T69" fmla="*/ 586 h 620"/>
              <a:gd name="T70" fmla="*/ 44 w 554"/>
              <a:gd name="T71" fmla="*/ 604 h 620"/>
              <a:gd name="T72" fmla="*/ 62 w 554"/>
              <a:gd name="T73" fmla="*/ 620 h 620"/>
              <a:gd name="T74" fmla="*/ 554 w 554"/>
              <a:gd name="T75" fmla="*/ 450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4" h="620">
                <a:moveTo>
                  <a:pt x="554" y="450"/>
                </a:moveTo>
                <a:lnTo>
                  <a:pt x="554" y="356"/>
                </a:lnTo>
                <a:lnTo>
                  <a:pt x="554" y="356"/>
                </a:lnTo>
                <a:lnTo>
                  <a:pt x="549" y="350"/>
                </a:lnTo>
                <a:lnTo>
                  <a:pt x="543" y="342"/>
                </a:lnTo>
                <a:lnTo>
                  <a:pt x="535" y="331"/>
                </a:lnTo>
                <a:lnTo>
                  <a:pt x="528" y="315"/>
                </a:lnTo>
                <a:lnTo>
                  <a:pt x="525" y="306"/>
                </a:lnTo>
                <a:lnTo>
                  <a:pt x="522" y="296"/>
                </a:lnTo>
                <a:lnTo>
                  <a:pt x="520" y="285"/>
                </a:lnTo>
                <a:lnTo>
                  <a:pt x="517" y="271"/>
                </a:lnTo>
                <a:lnTo>
                  <a:pt x="516" y="258"/>
                </a:lnTo>
                <a:lnTo>
                  <a:pt x="515" y="243"/>
                </a:lnTo>
                <a:lnTo>
                  <a:pt x="515" y="243"/>
                </a:lnTo>
                <a:lnTo>
                  <a:pt x="515" y="232"/>
                </a:lnTo>
                <a:lnTo>
                  <a:pt x="516" y="222"/>
                </a:lnTo>
                <a:lnTo>
                  <a:pt x="517" y="212"/>
                </a:lnTo>
                <a:lnTo>
                  <a:pt x="520" y="202"/>
                </a:lnTo>
                <a:lnTo>
                  <a:pt x="526" y="183"/>
                </a:lnTo>
                <a:lnTo>
                  <a:pt x="532" y="167"/>
                </a:lnTo>
                <a:lnTo>
                  <a:pt x="540" y="154"/>
                </a:lnTo>
                <a:lnTo>
                  <a:pt x="546" y="142"/>
                </a:lnTo>
                <a:lnTo>
                  <a:pt x="552" y="133"/>
                </a:lnTo>
                <a:lnTo>
                  <a:pt x="551" y="43"/>
                </a:lnTo>
                <a:lnTo>
                  <a:pt x="551" y="43"/>
                </a:lnTo>
                <a:lnTo>
                  <a:pt x="542" y="36"/>
                </a:lnTo>
                <a:lnTo>
                  <a:pt x="518" y="21"/>
                </a:lnTo>
                <a:lnTo>
                  <a:pt x="504" y="13"/>
                </a:lnTo>
                <a:lnTo>
                  <a:pt x="489" y="5"/>
                </a:lnTo>
                <a:lnTo>
                  <a:pt x="482" y="2"/>
                </a:lnTo>
                <a:lnTo>
                  <a:pt x="476" y="1"/>
                </a:lnTo>
                <a:lnTo>
                  <a:pt x="470" y="0"/>
                </a:lnTo>
                <a:lnTo>
                  <a:pt x="464" y="0"/>
                </a:lnTo>
                <a:lnTo>
                  <a:pt x="465" y="327"/>
                </a:lnTo>
                <a:lnTo>
                  <a:pt x="465" y="327"/>
                </a:lnTo>
                <a:lnTo>
                  <a:pt x="465" y="339"/>
                </a:lnTo>
                <a:lnTo>
                  <a:pt x="462" y="349"/>
                </a:lnTo>
                <a:lnTo>
                  <a:pt x="458" y="360"/>
                </a:lnTo>
                <a:lnTo>
                  <a:pt x="452" y="370"/>
                </a:lnTo>
                <a:lnTo>
                  <a:pt x="444" y="382"/>
                </a:lnTo>
                <a:lnTo>
                  <a:pt x="436" y="392"/>
                </a:lnTo>
                <a:lnTo>
                  <a:pt x="426" y="402"/>
                </a:lnTo>
                <a:lnTo>
                  <a:pt x="416" y="411"/>
                </a:lnTo>
                <a:lnTo>
                  <a:pt x="405" y="421"/>
                </a:lnTo>
                <a:lnTo>
                  <a:pt x="392" y="429"/>
                </a:lnTo>
                <a:lnTo>
                  <a:pt x="380" y="437"/>
                </a:lnTo>
                <a:lnTo>
                  <a:pt x="367" y="443"/>
                </a:lnTo>
                <a:lnTo>
                  <a:pt x="353" y="449"/>
                </a:lnTo>
                <a:lnTo>
                  <a:pt x="340" y="454"/>
                </a:lnTo>
                <a:lnTo>
                  <a:pt x="327" y="458"/>
                </a:lnTo>
                <a:lnTo>
                  <a:pt x="314" y="461"/>
                </a:lnTo>
                <a:lnTo>
                  <a:pt x="314" y="461"/>
                </a:lnTo>
                <a:lnTo>
                  <a:pt x="284" y="467"/>
                </a:lnTo>
                <a:lnTo>
                  <a:pt x="255" y="471"/>
                </a:lnTo>
                <a:lnTo>
                  <a:pt x="227" y="474"/>
                </a:lnTo>
                <a:lnTo>
                  <a:pt x="199" y="477"/>
                </a:lnTo>
                <a:lnTo>
                  <a:pt x="146" y="480"/>
                </a:lnTo>
                <a:lnTo>
                  <a:pt x="98" y="482"/>
                </a:lnTo>
                <a:lnTo>
                  <a:pt x="58" y="482"/>
                </a:lnTo>
                <a:lnTo>
                  <a:pt x="27" y="482"/>
                </a:lnTo>
                <a:lnTo>
                  <a:pt x="0" y="481"/>
                </a:lnTo>
                <a:lnTo>
                  <a:pt x="0" y="481"/>
                </a:lnTo>
                <a:lnTo>
                  <a:pt x="1" y="488"/>
                </a:lnTo>
                <a:lnTo>
                  <a:pt x="4" y="508"/>
                </a:lnTo>
                <a:lnTo>
                  <a:pt x="10" y="535"/>
                </a:lnTo>
                <a:lnTo>
                  <a:pt x="13" y="550"/>
                </a:lnTo>
                <a:lnTo>
                  <a:pt x="18" y="566"/>
                </a:lnTo>
                <a:lnTo>
                  <a:pt x="18" y="566"/>
                </a:lnTo>
                <a:lnTo>
                  <a:pt x="23" y="576"/>
                </a:lnTo>
                <a:lnTo>
                  <a:pt x="29" y="586"/>
                </a:lnTo>
                <a:lnTo>
                  <a:pt x="36" y="595"/>
                </a:lnTo>
                <a:lnTo>
                  <a:pt x="44" y="604"/>
                </a:lnTo>
                <a:lnTo>
                  <a:pt x="57" y="616"/>
                </a:lnTo>
                <a:lnTo>
                  <a:pt x="62" y="620"/>
                </a:lnTo>
                <a:lnTo>
                  <a:pt x="451" y="620"/>
                </a:lnTo>
                <a:lnTo>
                  <a:pt x="554" y="4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9" name="Freeform 36"/>
          <p:cNvSpPr>
            <a:spLocks/>
          </p:cNvSpPr>
          <p:nvPr userDrawn="1"/>
        </p:nvSpPr>
        <p:spPr bwMode="auto">
          <a:xfrm>
            <a:off x="7251700" y="1298279"/>
            <a:ext cx="57150" cy="17463"/>
          </a:xfrm>
          <a:custGeom>
            <a:avLst/>
            <a:gdLst>
              <a:gd name="T0" fmla="*/ 20 w 435"/>
              <a:gd name="T1" fmla="*/ 142 h 142"/>
              <a:gd name="T2" fmla="*/ 411 w 435"/>
              <a:gd name="T3" fmla="*/ 142 h 142"/>
              <a:gd name="T4" fmla="*/ 411 w 435"/>
              <a:gd name="T5" fmla="*/ 142 h 142"/>
              <a:gd name="T6" fmla="*/ 422 w 435"/>
              <a:gd name="T7" fmla="*/ 109 h 142"/>
              <a:gd name="T8" fmla="*/ 430 w 435"/>
              <a:gd name="T9" fmla="*/ 83 h 142"/>
              <a:gd name="T10" fmla="*/ 433 w 435"/>
              <a:gd name="T11" fmla="*/ 72 h 142"/>
              <a:gd name="T12" fmla="*/ 435 w 435"/>
              <a:gd name="T13" fmla="*/ 63 h 142"/>
              <a:gd name="T14" fmla="*/ 417 w 435"/>
              <a:gd name="T15" fmla="*/ 0 h 142"/>
              <a:gd name="T16" fmla="*/ 22 w 435"/>
              <a:gd name="T17" fmla="*/ 0 h 142"/>
              <a:gd name="T18" fmla="*/ 0 w 435"/>
              <a:gd name="T19" fmla="*/ 65 h 142"/>
              <a:gd name="T20" fmla="*/ 20 w 435"/>
              <a:gd name="T2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5" h="142">
                <a:moveTo>
                  <a:pt x="20" y="142"/>
                </a:moveTo>
                <a:lnTo>
                  <a:pt x="411" y="142"/>
                </a:lnTo>
                <a:lnTo>
                  <a:pt x="411" y="142"/>
                </a:lnTo>
                <a:lnTo>
                  <a:pt x="422" y="109"/>
                </a:lnTo>
                <a:lnTo>
                  <a:pt x="430" y="83"/>
                </a:lnTo>
                <a:lnTo>
                  <a:pt x="433" y="72"/>
                </a:lnTo>
                <a:lnTo>
                  <a:pt x="435" y="63"/>
                </a:lnTo>
                <a:lnTo>
                  <a:pt x="417" y="0"/>
                </a:lnTo>
                <a:lnTo>
                  <a:pt x="22" y="0"/>
                </a:lnTo>
                <a:lnTo>
                  <a:pt x="0" y="65"/>
                </a:lnTo>
                <a:lnTo>
                  <a:pt x="20" y="1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0" name="Freeform 37"/>
          <p:cNvSpPr>
            <a:spLocks/>
          </p:cNvSpPr>
          <p:nvPr userDrawn="1"/>
        </p:nvSpPr>
        <p:spPr bwMode="auto">
          <a:xfrm>
            <a:off x="7254875" y="1326854"/>
            <a:ext cx="57150" cy="66675"/>
          </a:xfrm>
          <a:custGeom>
            <a:avLst/>
            <a:gdLst>
              <a:gd name="T0" fmla="*/ 384 w 436"/>
              <a:gd name="T1" fmla="*/ 0 h 514"/>
              <a:gd name="T2" fmla="*/ 2 w 436"/>
              <a:gd name="T3" fmla="*/ 0 h 514"/>
              <a:gd name="T4" fmla="*/ 0 w 436"/>
              <a:gd name="T5" fmla="*/ 505 h 514"/>
              <a:gd name="T6" fmla="*/ 331 w 436"/>
              <a:gd name="T7" fmla="*/ 514 h 514"/>
              <a:gd name="T8" fmla="*/ 436 w 436"/>
              <a:gd name="T9" fmla="*/ 431 h 514"/>
              <a:gd name="T10" fmla="*/ 384 w 436"/>
              <a:gd name="T11" fmla="*/ 0 h 514"/>
            </a:gdLst>
            <a:ahLst/>
            <a:cxnLst>
              <a:cxn ang="0">
                <a:pos x="T0" y="T1"/>
              </a:cxn>
              <a:cxn ang="0">
                <a:pos x="T2" y="T3"/>
              </a:cxn>
              <a:cxn ang="0">
                <a:pos x="T4" y="T5"/>
              </a:cxn>
              <a:cxn ang="0">
                <a:pos x="T6" y="T7"/>
              </a:cxn>
              <a:cxn ang="0">
                <a:pos x="T8" y="T9"/>
              </a:cxn>
              <a:cxn ang="0">
                <a:pos x="T10" y="T11"/>
              </a:cxn>
            </a:cxnLst>
            <a:rect l="0" t="0" r="r" b="b"/>
            <a:pathLst>
              <a:path w="436" h="514">
                <a:moveTo>
                  <a:pt x="384" y="0"/>
                </a:moveTo>
                <a:lnTo>
                  <a:pt x="2" y="0"/>
                </a:lnTo>
                <a:lnTo>
                  <a:pt x="0" y="505"/>
                </a:lnTo>
                <a:lnTo>
                  <a:pt x="331" y="514"/>
                </a:lnTo>
                <a:lnTo>
                  <a:pt x="436" y="431"/>
                </a:lnTo>
                <a:lnTo>
                  <a:pt x="3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1" name="Freeform 38"/>
          <p:cNvSpPr>
            <a:spLocks/>
          </p:cNvSpPr>
          <p:nvPr userDrawn="1"/>
        </p:nvSpPr>
        <p:spPr bwMode="auto">
          <a:xfrm>
            <a:off x="7251701" y="1391941"/>
            <a:ext cx="77788" cy="68263"/>
          </a:xfrm>
          <a:custGeom>
            <a:avLst/>
            <a:gdLst>
              <a:gd name="T0" fmla="*/ 586 w 586"/>
              <a:gd name="T1" fmla="*/ 139 h 523"/>
              <a:gd name="T2" fmla="*/ 586 w 586"/>
              <a:gd name="T3" fmla="*/ 139 h 523"/>
              <a:gd name="T4" fmla="*/ 552 w 586"/>
              <a:gd name="T5" fmla="*/ 115 h 523"/>
              <a:gd name="T6" fmla="*/ 527 w 586"/>
              <a:gd name="T7" fmla="*/ 97 h 523"/>
              <a:gd name="T8" fmla="*/ 519 w 586"/>
              <a:gd name="T9" fmla="*/ 90 h 523"/>
              <a:gd name="T10" fmla="*/ 514 w 586"/>
              <a:gd name="T11" fmla="*/ 85 h 523"/>
              <a:gd name="T12" fmla="*/ 514 w 586"/>
              <a:gd name="T13" fmla="*/ 85 h 523"/>
              <a:gd name="T14" fmla="*/ 512 w 586"/>
              <a:gd name="T15" fmla="*/ 79 h 523"/>
              <a:gd name="T16" fmla="*/ 510 w 586"/>
              <a:gd name="T17" fmla="*/ 69 h 523"/>
              <a:gd name="T18" fmla="*/ 506 w 586"/>
              <a:gd name="T19" fmla="*/ 40 h 523"/>
              <a:gd name="T20" fmla="*/ 503 w 586"/>
              <a:gd name="T21" fmla="*/ 0 h 523"/>
              <a:gd name="T22" fmla="*/ 381 w 586"/>
              <a:gd name="T23" fmla="*/ 98 h 523"/>
              <a:gd name="T24" fmla="*/ 8 w 586"/>
              <a:gd name="T25" fmla="*/ 97 h 523"/>
              <a:gd name="T26" fmla="*/ 8 w 586"/>
              <a:gd name="T27" fmla="*/ 97 h 523"/>
              <a:gd name="T28" fmla="*/ 8 w 586"/>
              <a:gd name="T29" fmla="*/ 98 h 523"/>
              <a:gd name="T30" fmla="*/ 7 w 586"/>
              <a:gd name="T31" fmla="*/ 100 h 523"/>
              <a:gd name="T32" fmla="*/ 5 w 586"/>
              <a:gd name="T33" fmla="*/ 108 h 523"/>
              <a:gd name="T34" fmla="*/ 3 w 586"/>
              <a:gd name="T35" fmla="*/ 139 h 523"/>
              <a:gd name="T36" fmla="*/ 2 w 586"/>
              <a:gd name="T37" fmla="*/ 183 h 523"/>
              <a:gd name="T38" fmla="*/ 1 w 586"/>
              <a:gd name="T39" fmla="*/ 233 h 523"/>
              <a:gd name="T40" fmla="*/ 0 w 586"/>
              <a:gd name="T41" fmla="*/ 327 h 523"/>
              <a:gd name="T42" fmla="*/ 0 w 586"/>
              <a:gd name="T43" fmla="*/ 369 h 523"/>
              <a:gd name="T44" fmla="*/ 0 w 586"/>
              <a:gd name="T45" fmla="*/ 369 h 523"/>
              <a:gd name="T46" fmla="*/ 29 w 586"/>
              <a:gd name="T47" fmla="*/ 395 h 523"/>
              <a:gd name="T48" fmla="*/ 95 w 586"/>
              <a:gd name="T49" fmla="*/ 448 h 523"/>
              <a:gd name="T50" fmla="*/ 131 w 586"/>
              <a:gd name="T51" fmla="*/ 477 h 523"/>
              <a:gd name="T52" fmla="*/ 162 w 586"/>
              <a:gd name="T53" fmla="*/ 501 h 523"/>
              <a:gd name="T54" fmla="*/ 186 w 586"/>
              <a:gd name="T55" fmla="*/ 517 h 523"/>
              <a:gd name="T56" fmla="*/ 193 w 586"/>
              <a:gd name="T57" fmla="*/ 522 h 523"/>
              <a:gd name="T58" fmla="*/ 195 w 586"/>
              <a:gd name="T59" fmla="*/ 523 h 523"/>
              <a:gd name="T60" fmla="*/ 197 w 586"/>
              <a:gd name="T61" fmla="*/ 523 h 523"/>
              <a:gd name="T62" fmla="*/ 448 w 586"/>
              <a:gd name="T63" fmla="*/ 206 h 523"/>
              <a:gd name="T64" fmla="*/ 586 w 586"/>
              <a:gd name="T65" fmla="*/ 139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86" h="523">
                <a:moveTo>
                  <a:pt x="586" y="139"/>
                </a:moveTo>
                <a:lnTo>
                  <a:pt x="586" y="139"/>
                </a:lnTo>
                <a:lnTo>
                  <a:pt x="552" y="115"/>
                </a:lnTo>
                <a:lnTo>
                  <a:pt x="527" y="97"/>
                </a:lnTo>
                <a:lnTo>
                  <a:pt x="519" y="90"/>
                </a:lnTo>
                <a:lnTo>
                  <a:pt x="514" y="85"/>
                </a:lnTo>
                <a:lnTo>
                  <a:pt x="514" y="85"/>
                </a:lnTo>
                <a:lnTo>
                  <a:pt x="512" y="79"/>
                </a:lnTo>
                <a:lnTo>
                  <a:pt x="510" y="69"/>
                </a:lnTo>
                <a:lnTo>
                  <a:pt x="506" y="40"/>
                </a:lnTo>
                <a:lnTo>
                  <a:pt x="503" y="0"/>
                </a:lnTo>
                <a:lnTo>
                  <a:pt x="381" y="98"/>
                </a:lnTo>
                <a:lnTo>
                  <a:pt x="8" y="97"/>
                </a:lnTo>
                <a:lnTo>
                  <a:pt x="8" y="97"/>
                </a:lnTo>
                <a:lnTo>
                  <a:pt x="8" y="98"/>
                </a:lnTo>
                <a:lnTo>
                  <a:pt x="7" y="100"/>
                </a:lnTo>
                <a:lnTo>
                  <a:pt x="5" y="108"/>
                </a:lnTo>
                <a:lnTo>
                  <a:pt x="3" y="139"/>
                </a:lnTo>
                <a:lnTo>
                  <a:pt x="2" y="183"/>
                </a:lnTo>
                <a:lnTo>
                  <a:pt x="1" y="233"/>
                </a:lnTo>
                <a:lnTo>
                  <a:pt x="0" y="327"/>
                </a:lnTo>
                <a:lnTo>
                  <a:pt x="0" y="369"/>
                </a:lnTo>
                <a:lnTo>
                  <a:pt x="0" y="369"/>
                </a:lnTo>
                <a:lnTo>
                  <a:pt x="29" y="395"/>
                </a:lnTo>
                <a:lnTo>
                  <a:pt x="95" y="448"/>
                </a:lnTo>
                <a:lnTo>
                  <a:pt x="131" y="477"/>
                </a:lnTo>
                <a:lnTo>
                  <a:pt x="162" y="501"/>
                </a:lnTo>
                <a:lnTo>
                  <a:pt x="186" y="517"/>
                </a:lnTo>
                <a:lnTo>
                  <a:pt x="193" y="522"/>
                </a:lnTo>
                <a:lnTo>
                  <a:pt x="195" y="523"/>
                </a:lnTo>
                <a:lnTo>
                  <a:pt x="197" y="523"/>
                </a:lnTo>
                <a:lnTo>
                  <a:pt x="448" y="206"/>
                </a:lnTo>
                <a:lnTo>
                  <a:pt x="586" y="13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2" name="Freeform 39"/>
          <p:cNvSpPr>
            <a:spLocks/>
          </p:cNvSpPr>
          <p:nvPr userDrawn="1"/>
        </p:nvSpPr>
        <p:spPr bwMode="auto">
          <a:xfrm>
            <a:off x="7288212" y="1417340"/>
            <a:ext cx="115888" cy="66675"/>
          </a:xfrm>
          <a:custGeom>
            <a:avLst/>
            <a:gdLst>
              <a:gd name="T0" fmla="*/ 226 w 879"/>
              <a:gd name="T1" fmla="*/ 65 h 509"/>
              <a:gd name="T2" fmla="*/ 0 w 879"/>
              <a:gd name="T3" fmla="*/ 355 h 509"/>
              <a:gd name="T4" fmla="*/ 369 w 879"/>
              <a:gd name="T5" fmla="*/ 509 h 509"/>
              <a:gd name="T6" fmla="*/ 369 w 879"/>
              <a:gd name="T7" fmla="*/ 509 h 509"/>
              <a:gd name="T8" fmla="*/ 409 w 879"/>
              <a:gd name="T9" fmla="*/ 487 h 509"/>
              <a:gd name="T10" fmla="*/ 452 w 879"/>
              <a:gd name="T11" fmla="*/ 464 h 509"/>
              <a:gd name="T12" fmla="*/ 495 w 879"/>
              <a:gd name="T13" fmla="*/ 439 h 509"/>
              <a:gd name="T14" fmla="*/ 538 w 879"/>
              <a:gd name="T15" fmla="*/ 413 h 509"/>
              <a:gd name="T16" fmla="*/ 623 w 879"/>
              <a:gd name="T17" fmla="*/ 361 h 509"/>
              <a:gd name="T18" fmla="*/ 703 w 879"/>
              <a:gd name="T19" fmla="*/ 311 h 509"/>
              <a:gd name="T20" fmla="*/ 773 w 879"/>
              <a:gd name="T21" fmla="*/ 266 h 509"/>
              <a:gd name="T22" fmla="*/ 829 w 879"/>
              <a:gd name="T23" fmla="*/ 229 h 509"/>
              <a:gd name="T24" fmla="*/ 879 w 879"/>
              <a:gd name="T25" fmla="*/ 196 h 509"/>
              <a:gd name="T26" fmla="*/ 359 w 879"/>
              <a:gd name="T27" fmla="*/ 0 h 509"/>
              <a:gd name="T28" fmla="*/ 226 w 879"/>
              <a:gd name="T29" fmla="*/ 65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9" h="509">
                <a:moveTo>
                  <a:pt x="226" y="65"/>
                </a:moveTo>
                <a:lnTo>
                  <a:pt x="0" y="355"/>
                </a:lnTo>
                <a:lnTo>
                  <a:pt x="369" y="509"/>
                </a:lnTo>
                <a:lnTo>
                  <a:pt x="369" y="509"/>
                </a:lnTo>
                <a:lnTo>
                  <a:pt x="409" y="487"/>
                </a:lnTo>
                <a:lnTo>
                  <a:pt x="452" y="464"/>
                </a:lnTo>
                <a:lnTo>
                  <a:pt x="495" y="439"/>
                </a:lnTo>
                <a:lnTo>
                  <a:pt x="538" y="413"/>
                </a:lnTo>
                <a:lnTo>
                  <a:pt x="623" y="361"/>
                </a:lnTo>
                <a:lnTo>
                  <a:pt x="703" y="311"/>
                </a:lnTo>
                <a:lnTo>
                  <a:pt x="773" y="266"/>
                </a:lnTo>
                <a:lnTo>
                  <a:pt x="829" y="229"/>
                </a:lnTo>
                <a:lnTo>
                  <a:pt x="879" y="196"/>
                </a:lnTo>
                <a:lnTo>
                  <a:pt x="359" y="0"/>
                </a:lnTo>
                <a:lnTo>
                  <a:pt x="226" y="6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3" name="Freeform 40"/>
          <p:cNvSpPr>
            <a:spLocks/>
          </p:cNvSpPr>
          <p:nvPr userDrawn="1"/>
        </p:nvSpPr>
        <p:spPr bwMode="auto">
          <a:xfrm>
            <a:off x="7323137" y="1172866"/>
            <a:ext cx="26988" cy="123825"/>
          </a:xfrm>
          <a:custGeom>
            <a:avLst/>
            <a:gdLst>
              <a:gd name="T0" fmla="*/ 170 w 211"/>
              <a:gd name="T1" fmla="*/ 388 h 928"/>
              <a:gd name="T2" fmla="*/ 169 w 211"/>
              <a:gd name="T3" fmla="*/ 133 h 928"/>
              <a:gd name="T4" fmla="*/ 171 w 211"/>
              <a:gd name="T5" fmla="*/ 84 h 928"/>
              <a:gd name="T6" fmla="*/ 172 w 211"/>
              <a:gd name="T7" fmla="*/ 79 h 928"/>
              <a:gd name="T8" fmla="*/ 182 w 211"/>
              <a:gd name="T9" fmla="*/ 64 h 928"/>
              <a:gd name="T10" fmla="*/ 188 w 211"/>
              <a:gd name="T11" fmla="*/ 53 h 928"/>
              <a:gd name="T12" fmla="*/ 192 w 211"/>
              <a:gd name="T13" fmla="*/ 36 h 928"/>
              <a:gd name="T14" fmla="*/ 191 w 211"/>
              <a:gd name="T15" fmla="*/ 18 h 928"/>
              <a:gd name="T16" fmla="*/ 188 w 211"/>
              <a:gd name="T17" fmla="*/ 0 h 928"/>
              <a:gd name="T18" fmla="*/ 6 w 211"/>
              <a:gd name="T19" fmla="*/ 0 h 928"/>
              <a:gd name="T20" fmla="*/ 4 w 211"/>
              <a:gd name="T21" fmla="*/ 8 h 928"/>
              <a:gd name="T22" fmla="*/ 5 w 211"/>
              <a:gd name="T23" fmla="*/ 33 h 928"/>
              <a:gd name="T24" fmla="*/ 7 w 211"/>
              <a:gd name="T25" fmla="*/ 43 h 928"/>
              <a:gd name="T26" fmla="*/ 17 w 211"/>
              <a:gd name="T27" fmla="*/ 65 h 928"/>
              <a:gd name="T28" fmla="*/ 28 w 211"/>
              <a:gd name="T29" fmla="*/ 80 h 928"/>
              <a:gd name="T30" fmla="*/ 33 w 211"/>
              <a:gd name="T31" fmla="*/ 388 h 928"/>
              <a:gd name="T32" fmla="*/ 29 w 211"/>
              <a:gd name="T33" fmla="*/ 395 h 928"/>
              <a:gd name="T34" fmla="*/ 19 w 211"/>
              <a:gd name="T35" fmla="*/ 412 h 928"/>
              <a:gd name="T36" fmla="*/ 9 w 211"/>
              <a:gd name="T37" fmla="*/ 443 h 928"/>
              <a:gd name="T38" fmla="*/ 0 w 211"/>
              <a:gd name="T39" fmla="*/ 487 h 928"/>
              <a:gd name="T40" fmla="*/ 0 w 211"/>
              <a:gd name="T41" fmla="*/ 498 h 928"/>
              <a:gd name="T42" fmla="*/ 1 w 211"/>
              <a:gd name="T43" fmla="*/ 518 h 928"/>
              <a:gd name="T44" fmla="*/ 10 w 211"/>
              <a:gd name="T45" fmla="*/ 546 h 928"/>
              <a:gd name="T46" fmla="*/ 23 w 211"/>
              <a:gd name="T47" fmla="*/ 576 h 928"/>
              <a:gd name="T48" fmla="*/ 35 w 211"/>
              <a:gd name="T49" fmla="*/ 594 h 928"/>
              <a:gd name="T50" fmla="*/ 31 w 211"/>
              <a:gd name="T51" fmla="*/ 850 h 928"/>
              <a:gd name="T52" fmla="*/ 23 w 211"/>
              <a:gd name="T53" fmla="*/ 859 h 928"/>
              <a:gd name="T54" fmla="*/ 18 w 211"/>
              <a:gd name="T55" fmla="*/ 871 h 928"/>
              <a:gd name="T56" fmla="*/ 14 w 211"/>
              <a:gd name="T57" fmla="*/ 888 h 928"/>
              <a:gd name="T58" fmla="*/ 14 w 211"/>
              <a:gd name="T59" fmla="*/ 898 h 928"/>
              <a:gd name="T60" fmla="*/ 15 w 211"/>
              <a:gd name="T61" fmla="*/ 919 h 928"/>
              <a:gd name="T62" fmla="*/ 18 w 211"/>
              <a:gd name="T63" fmla="*/ 928 h 928"/>
              <a:gd name="T64" fmla="*/ 188 w 211"/>
              <a:gd name="T65" fmla="*/ 928 h 928"/>
              <a:gd name="T66" fmla="*/ 191 w 211"/>
              <a:gd name="T67" fmla="*/ 906 h 928"/>
              <a:gd name="T68" fmla="*/ 190 w 211"/>
              <a:gd name="T69" fmla="*/ 881 h 928"/>
              <a:gd name="T70" fmla="*/ 188 w 211"/>
              <a:gd name="T71" fmla="*/ 873 h 928"/>
              <a:gd name="T72" fmla="*/ 179 w 211"/>
              <a:gd name="T73" fmla="*/ 857 h 928"/>
              <a:gd name="T74" fmla="*/ 169 w 211"/>
              <a:gd name="T75" fmla="*/ 846 h 928"/>
              <a:gd name="T76" fmla="*/ 168 w 211"/>
              <a:gd name="T77" fmla="*/ 594 h 928"/>
              <a:gd name="T78" fmla="*/ 190 w 211"/>
              <a:gd name="T79" fmla="*/ 561 h 928"/>
              <a:gd name="T80" fmla="*/ 202 w 211"/>
              <a:gd name="T81" fmla="*/ 537 h 928"/>
              <a:gd name="T82" fmla="*/ 210 w 211"/>
              <a:gd name="T83" fmla="*/ 507 h 928"/>
              <a:gd name="T84" fmla="*/ 211 w 211"/>
              <a:gd name="T85" fmla="*/ 491 h 928"/>
              <a:gd name="T86" fmla="*/ 211 w 211"/>
              <a:gd name="T87" fmla="*/ 482 h 928"/>
              <a:gd name="T88" fmla="*/ 206 w 211"/>
              <a:gd name="T89" fmla="*/ 458 h 928"/>
              <a:gd name="T90" fmla="*/ 195 w 211"/>
              <a:gd name="T91" fmla="*/ 428 h 928"/>
              <a:gd name="T92" fmla="*/ 181 w 211"/>
              <a:gd name="T93" fmla="*/ 405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1" h="928">
                <a:moveTo>
                  <a:pt x="170" y="388"/>
                </a:moveTo>
                <a:lnTo>
                  <a:pt x="170" y="388"/>
                </a:lnTo>
                <a:lnTo>
                  <a:pt x="169" y="238"/>
                </a:lnTo>
                <a:lnTo>
                  <a:pt x="169" y="133"/>
                </a:lnTo>
                <a:lnTo>
                  <a:pt x="170" y="96"/>
                </a:lnTo>
                <a:lnTo>
                  <a:pt x="171" y="84"/>
                </a:lnTo>
                <a:lnTo>
                  <a:pt x="172" y="79"/>
                </a:lnTo>
                <a:lnTo>
                  <a:pt x="172" y="79"/>
                </a:lnTo>
                <a:lnTo>
                  <a:pt x="177" y="71"/>
                </a:lnTo>
                <a:lnTo>
                  <a:pt x="182" y="64"/>
                </a:lnTo>
                <a:lnTo>
                  <a:pt x="188" y="53"/>
                </a:lnTo>
                <a:lnTo>
                  <a:pt x="188" y="53"/>
                </a:lnTo>
                <a:lnTo>
                  <a:pt x="191" y="45"/>
                </a:lnTo>
                <a:lnTo>
                  <a:pt x="192" y="36"/>
                </a:lnTo>
                <a:lnTo>
                  <a:pt x="192" y="28"/>
                </a:lnTo>
                <a:lnTo>
                  <a:pt x="191" y="18"/>
                </a:lnTo>
                <a:lnTo>
                  <a:pt x="189" y="5"/>
                </a:lnTo>
                <a:lnTo>
                  <a:pt x="188" y="0"/>
                </a:lnTo>
                <a:lnTo>
                  <a:pt x="6" y="0"/>
                </a:lnTo>
                <a:lnTo>
                  <a:pt x="6" y="0"/>
                </a:lnTo>
                <a:lnTo>
                  <a:pt x="5" y="4"/>
                </a:lnTo>
                <a:lnTo>
                  <a:pt x="4" y="8"/>
                </a:lnTo>
                <a:lnTo>
                  <a:pt x="4" y="20"/>
                </a:lnTo>
                <a:lnTo>
                  <a:pt x="5" y="33"/>
                </a:lnTo>
                <a:lnTo>
                  <a:pt x="7" y="43"/>
                </a:lnTo>
                <a:lnTo>
                  <a:pt x="7" y="43"/>
                </a:lnTo>
                <a:lnTo>
                  <a:pt x="11" y="54"/>
                </a:lnTo>
                <a:lnTo>
                  <a:pt x="17" y="65"/>
                </a:lnTo>
                <a:lnTo>
                  <a:pt x="24" y="76"/>
                </a:lnTo>
                <a:lnTo>
                  <a:pt x="28" y="80"/>
                </a:lnTo>
                <a:lnTo>
                  <a:pt x="33" y="83"/>
                </a:lnTo>
                <a:lnTo>
                  <a:pt x="33" y="388"/>
                </a:lnTo>
                <a:lnTo>
                  <a:pt x="33" y="388"/>
                </a:lnTo>
                <a:lnTo>
                  <a:pt x="29" y="395"/>
                </a:lnTo>
                <a:lnTo>
                  <a:pt x="24" y="402"/>
                </a:lnTo>
                <a:lnTo>
                  <a:pt x="19" y="412"/>
                </a:lnTo>
                <a:lnTo>
                  <a:pt x="14" y="426"/>
                </a:lnTo>
                <a:lnTo>
                  <a:pt x="9" y="443"/>
                </a:lnTo>
                <a:lnTo>
                  <a:pt x="4" y="463"/>
                </a:lnTo>
                <a:lnTo>
                  <a:pt x="0" y="487"/>
                </a:lnTo>
                <a:lnTo>
                  <a:pt x="0" y="487"/>
                </a:lnTo>
                <a:lnTo>
                  <a:pt x="0" y="498"/>
                </a:lnTo>
                <a:lnTo>
                  <a:pt x="0" y="508"/>
                </a:lnTo>
                <a:lnTo>
                  <a:pt x="1" y="518"/>
                </a:lnTo>
                <a:lnTo>
                  <a:pt x="4" y="529"/>
                </a:lnTo>
                <a:lnTo>
                  <a:pt x="10" y="546"/>
                </a:lnTo>
                <a:lnTo>
                  <a:pt x="16" y="562"/>
                </a:lnTo>
                <a:lnTo>
                  <a:pt x="23" y="576"/>
                </a:lnTo>
                <a:lnTo>
                  <a:pt x="29" y="585"/>
                </a:lnTo>
                <a:lnTo>
                  <a:pt x="35" y="594"/>
                </a:lnTo>
                <a:lnTo>
                  <a:pt x="31" y="850"/>
                </a:lnTo>
                <a:lnTo>
                  <a:pt x="31" y="850"/>
                </a:lnTo>
                <a:lnTo>
                  <a:pt x="29" y="852"/>
                </a:lnTo>
                <a:lnTo>
                  <a:pt x="23" y="859"/>
                </a:lnTo>
                <a:lnTo>
                  <a:pt x="20" y="864"/>
                </a:lnTo>
                <a:lnTo>
                  <a:pt x="18" y="871"/>
                </a:lnTo>
                <a:lnTo>
                  <a:pt x="15" y="879"/>
                </a:lnTo>
                <a:lnTo>
                  <a:pt x="14" y="888"/>
                </a:lnTo>
                <a:lnTo>
                  <a:pt x="14" y="888"/>
                </a:lnTo>
                <a:lnTo>
                  <a:pt x="14" y="898"/>
                </a:lnTo>
                <a:lnTo>
                  <a:pt x="14" y="906"/>
                </a:lnTo>
                <a:lnTo>
                  <a:pt x="15" y="919"/>
                </a:lnTo>
                <a:lnTo>
                  <a:pt x="17" y="926"/>
                </a:lnTo>
                <a:lnTo>
                  <a:pt x="18" y="928"/>
                </a:lnTo>
                <a:lnTo>
                  <a:pt x="188" y="928"/>
                </a:lnTo>
                <a:lnTo>
                  <a:pt x="188" y="928"/>
                </a:lnTo>
                <a:lnTo>
                  <a:pt x="190" y="920"/>
                </a:lnTo>
                <a:lnTo>
                  <a:pt x="191" y="906"/>
                </a:lnTo>
                <a:lnTo>
                  <a:pt x="190" y="889"/>
                </a:lnTo>
                <a:lnTo>
                  <a:pt x="190" y="881"/>
                </a:lnTo>
                <a:lnTo>
                  <a:pt x="188" y="873"/>
                </a:lnTo>
                <a:lnTo>
                  <a:pt x="188" y="873"/>
                </a:lnTo>
                <a:lnTo>
                  <a:pt x="185" y="864"/>
                </a:lnTo>
                <a:lnTo>
                  <a:pt x="179" y="857"/>
                </a:lnTo>
                <a:lnTo>
                  <a:pt x="174" y="851"/>
                </a:lnTo>
                <a:lnTo>
                  <a:pt x="169" y="846"/>
                </a:lnTo>
                <a:lnTo>
                  <a:pt x="168" y="594"/>
                </a:lnTo>
                <a:lnTo>
                  <a:pt x="168" y="594"/>
                </a:lnTo>
                <a:lnTo>
                  <a:pt x="181" y="573"/>
                </a:lnTo>
                <a:lnTo>
                  <a:pt x="190" y="561"/>
                </a:lnTo>
                <a:lnTo>
                  <a:pt x="196" y="550"/>
                </a:lnTo>
                <a:lnTo>
                  <a:pt x="202" y="537"/>
                </a:lnTo>
                <a:lnTo>
                  <a:pt x="207" y="522"/>
                </a:lnTo>
                <a:lnTo>
                  <a:pt x="210" y="507"/>
                </a:lnTo>
                <a:lnTo>
                  <a:pt x="211" y="499"/>
                </a:lnTo>
                <a:lnTo>
                  <a:pt x="211" y="491"/>
                </a:lnTo>
                <a:lnTo>
                  <a:pt x="211" y="491"/>
                </a:lnTo>
                <a:lnTo>
                  <a:pt x="211" y="482"/>
                </a:lnTo>
                <a:lnTo>
                  <a:pt x="210" y="473"/>
                </a:lnTo>
                <a:lnTo>
                  <a:pt x="206" y="458"/>
                </a:lnTo>
                <a:lnTo>
                  <a:pt x="201" y="443"/>
                </a:lnTo>
                <a:lnTo>
                  <a:pt x="195" y="428"/>
                </a:lnTo>
                <a:lnTo>
                  <a:pt x="189" y="416"/>
                </a:lnTo>
                <a:lnTo>
                  <a:pt x="181" y="405"/>
                </a:lnTo>
                <a:lnTo>
                  <a:pt x="170" y="3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4" name="Freeform 41"/>
          <p:cNvSpPr>
            <a:spLocks/>
          </p:cNvSpPr>
          <p:nvPr userDrawn="1"/>
        </p:nvSpPr>
        <p:spPr bwMode="auto">
          <a:xfrm>
            <a:off x="7351713" y="1209378"/>
            <a:ext cx="80963" cy="58738"/>
          </a:xfrm>
          <a:custGeom>
            <a:avLst/>
            <a:gdLst>
              <a:gd name="T0" fmla="*/ 617 w 617"/>
              <a:gd name="T1" fmla="*/ 73 h 442"/>
              <a:gd name="T2" fmla="*/ 433 w 617"/>
              <a:gd name="T3" fmla="*/ 70 h 442"/>
              <a:gd name="T4" fmla="*/ 202 w 617"/>
              <a:gd name="T5" fmla="*/ 68 h 442"/>
              <a:gd name="T6" fmla="*/ 195 w 617"/>
              <a:gd name="T7" fmla="*/ 67 h 442"/>
              <a:gd name="T8" fmla="*/ 174 w 617"/>
              <a:gd name="T9" fmla="*/ 61 h 442"/>
              <a:gd name="T10" fmla="*/ 137 w 617"/>
              <a:gd name="T11" fmla="*/ 44 h 442"/>
              <a:gd name="T12" fmla="*/ 84 w 617"/>
              <a:gd name="T13" fmla="*/ 16 h 442"/>
              <a:gd name="T14" fmla="*/ 53 w 617"/>
              <a:gd name="T15" fmla="*/ 2 h 442"/>
              <a:gd name="T16" fmla="*/ 40 w 617"/>
              <a:gd name="T17" fmla="*/ 0 h 442"/>
              <a:gd name="T18" fmla="*/ 37 w 617"/>
              <a:gd name="T19" fmla="*/ 2 h 442"/>
              <a:gd name="T20" fmla="*/ 22 w 617"/>
              <a:gd name="T21" fmla="*/ 38 h 442"/>
              <a:gd name="T22" fmla="*/ 1 w 617"/>
              <a:gd name="T23" fmla="*/ 91 h 442"/>
              <a:gd name="T24" fmla="*/ 19 w 617"/>
              <a:gd name="T25" fmla="*/ 113 h 442"/>
              <a:gd name="T26" fmla="*/ 38 w 617"/>
              <a:gd name="T27" fmla="*/ 147 h 442"/>
              <a:gd name="T28" fmla="*/ 47 w 617"/>
              <a:gd name="T29" fmla="*/ 169 h 442"/>
              <a:gd name="T30" fmla="*/ 52 w 617"/>
              <a:gd name="T31" fmla="*/ 191 h 442"/>
              <a:gd name="T32" fmla="*/ 55 w 617"/>
              <a:gd name="T33" fmla="*/ 216 h 442"/>
              <a:gd name="T34" fmla="*/ 53 w 617"/>
              <a:gd name="T35" fmla="*/ 235 h 442"/>
              <a:gd name="T36" fmla="*/ 48 w 617"/>
              <a:gd name="T37" fmla="*/ 265 h 442"/>
              <a:gd name="T38" fmla="*/ 42 w 617"/>
              <a:gd name="T39" fmla="*/ 283 h 442"/>
              <a:gd name="T40" fmla="*/ 32 w 617"/>
              <a:gd name="T41" fmla="*/ 304 h 442"/>
              <a:gd name="T42" fmla="*/ 19 w 617"/>
              <a:gd name="T43" fmla="*/ 324 h 442"/>
              <a:gd name="T44" fmla="*/ 0 w 617"/>
              <a:gd name="T45" fmla="*/ 345 h 442"/>
              <a:gd name="T46" fmla="*/ 23 w 617"/>
              <a:gd name="T47" fmla="*/ 391 h 442"/>
              <a:gd name="T48" fmla="*/ 47 w 617"/>
              <a:gd name="T49" fmla="*/ 435 h 442"/>
              <a:gd name="T50" fmla="*/ 52 w 617"/>
              <a:gd name="T51" fmla="*/ 442 h 442"/>
              <a:gd name="T52" fmla="*/ 84 w 617"/>
              <a:gd name="T53" fmla="*/ 423 h 442"/>
              <a:gd name="T54" fmla="*/ 129 w 617"/>
              <a:gd name="T55" fmla="*/ 400 h 442"/>
              <a:gd name="T56" fmla="*/ 183 w 617"/>
              <a:gd name="T57" fmla="*/ 378 h 442"/>
              <a:gd name="T58" fmla="*/ 211 w 617"/>
              <a:gd name="T59" fmla="*/ 371 h 442"/>
              <a:gd name="T60" fmla="*/ 224 w 617"/>
              <a:gd name="T61" fmla="*/ 369 h 442"/>
              <a:gd name="T62" fmla="*/ 330 w 617"/>
              <a:gd name="T63" fmla="*/ 363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17" h="442">
                <a:moveTo>
                  <a:pt x="330" y="363"/>
                </a:moveTo>
                <a:lnTo>
                  <a:pt x="617" y="73"/>
                </a:lnTo>
                <a:lnTo>
                  <a:pt x="617" y="73"/>
                </a:lnTo>
                <a:lnTo>
                  <a:pt x="433" y="70"/>
                </a:lnTo>
                <a:lnTo>
                  <a:pt x="324" y="69"/>
                </a:lnTo>
                <a:lnTo>
                  <a:pt x="202" y="68"/>
                </a:lnTo>
                <a:lnTo>
                  <a:pt x="202" y="68"/>
                </a:lnTo>
                <a:lnTo>
                  <a:pt x="195" y="67"/>
                </a:lnTo>
                <a:lnTo>
                  <a:pt x="185" y="65"/>
                </a:lnTo>
                <a:lnTo>
                  <a:pt x="174" y="61"/>
                </a:lnTo>
                <a:lnTo>
                  <a:pt x="163" y="56"/>
                </a:lnTo>
                <a:lnTo>
                  <a:pt x="137" y="44"/>
                </a:lnTo>
                <a:lnTo>
                  <a:pt x="110" y="30"/>
                </a:lnTo>
                <a:lnTo>
                  <a:pt x="84" y="16"/>
                </a:lnTo>
                <a:lnTo>
                  <a:pt x="63" y="6"/>
                </a:lnTo>
                <a:lnTo>
                  <a:pt x="53" y="2"/>
                </a:lnTo>
                <a:lnTo>
                  <a:pt x="45" y="1"/>
                </a:lnTo>
                <a:lnTo>
                  <a:pt x="40" y="0"/>
                </a:lnTo>
                <a:lnTo>
                  <a:pt x="38" y="1"/>
                </a:lnTo>
                <a:lnTo>
                  <a:pt x="37" y="2"/>
                </a:lnTo>
                <a:lnTo>
                  <a:pt x="37" y="2"/>
                </a:lnTo>
                <a:lnTo>
                  <a:pt x="22" y="38"/>
                </a:lnTo>
                <a:lnTo>
                  <a:pt x="1" y="91"/>
                </a:lnTo>
                <a:lnTo>
                  <a:pt x="1" y="91"/>
                </a:lnTo>
                <a:lnTo>
                  <a:pt x="10" y="101"/>
                </a:lnTo>
                <a:lnTo>
                  <a:pt x="19" y="113"/>
                </a:lnTo>
                <a:lnTo>
                  <a:pt x="29" y="129"/>
                </a:lnTo>
                <a:lnTo>
                  <a:pt x="38" y="147"/>
                </a:lnTo>
                <a:lnTo>
                  <a:pt x="43" y="157"/>
                </a:lnTo>
                <a:lnTo>
                  <a:pt x="47" y="169"/>
                </a:lnTo>
                <a:lnTo>
                  <a:pt x="50" y="180"/>
                </a:lnTo>
                <a:lnTo>
                  <a:pt x="52" y="191"/>
                </a:lnTo>
                <a:lnTo>
                  <a:pt x="55" y="203"/>
                </a:lnTo>
                <a:lnTo>
                  <a:pt x="55" y="216"/>
                </a:lnTo>
                <a:lnTo>
                  <a:pt x="55" y="216"/>
                </a:lnTo>
                <a:lnTo>
                  <a:pt x="53" y="235"/>
                </a:lnTo>
                <a:lnTo>
                  <a:pt x="51" y="248"/>
                </a:lnTo>
                <a:lnTo>
                  <a:pt x="48" y="265"/>
                </a:lnTo>
                <a:lnTo>
                  <a:pt x="45" y="274"/>
                </a:lnTo>
                <a:lnTo>
                  <a:pt x="42" y="283"/>
                </a:lnTo>
                <a:lnTo>
                  <a:pt x="38" y="293"/>
                </a:lnTo>
                <a:lnTo>
                  <a:pt x="32" y="304"/>
                </a:lnTo>
                <a:lnTo>
                  <a:pt x="26" y="313"/>
                </a:lnTo>
                <a:lnTo>
                  <a:pt x="19" y="324"/>
                </a:lnTo>
                <a:lnTo>
                  <a:pt x="11" y="334"/>
                </a:lnTo>
                <a:lnTo>
                  <a:pt x="0" y="345"/>
                </a:lnTo>
                <a:lnTo>
                  <a:pt x="0" y="345"/>
                </a:lnTo>
                <a:lnTo>
                  <a:pt x="23" y="391"/>
                </a:lnTo>
                <a:lnTo>
                  <a:pt x="40" y="423"/>
                </a:lnTo>
                <a:lnTo>
                  <a:pt x="47" y="435"/>
                </a:lnTo>
                <a:lnTo>
                  <a:pt x="52" y="442"/>
                </a:lnTo>
                <a:lnTo>
                  <a:pt x="52" y="442"/>
                </a:lnTo>
                <a:lnTo>
                  <a:pt x="67" y="433"/>
                </a:lnTo>
                <a:lnTo>
                  <a:pt x="84" y="423"/>
                </a:lnTo>
                <a:lnTo>
                  <a:pt x="105" y="412"/>
                </a:lnTo>
                <a:lnTo>
                  <a:pt x="129" y="400"/>
                </a:lnTo>
                <a:lnTo>
                  <a:pt x="156" y="388"/>
                </a:lnTo>
                <a:lnTo>
                  <a:pt x="183" y="378"/>
                </a:lnTo>
                <a:lnTo>
                  <a:pt x="198" y="374"/>
                </a:lnTo>
                <a:lnTo>
                  <a:pt x="211" y="371"/>
                </a:lnTo>
                <a:lnTo>
                  <a:pt x="211" y="371"/>
                </a:lnTo>
                <a:lnTo>
                  <a:pt x="224" y="369"/>
                </a:lnTo>
                <a:lnTo>
                  <a:pt x="248" y="367"/>
                </a:lnTo>
                <a:lnTo>
                  <a:pt x="330" y="36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5" name="Freeform 42"/>
          <p:cNvSpPr>
            <a:spLocks/>
          </p:cNvSpPr>
          <p:nvPr userDrawn="1"/>
        </p:nvSpPr>
        <p:spPr bwMode="auto">
          <a:xfrm>
            <a:off x="7453312" y="1131591"/>
            <a:ext cx="158750" cy="127000"/>
          </a:xfrm>
          <a:custGeom>
            <a:avLst/>
            <a:gdLst>
              <a:gd name="T0" fmla="*/ 1179 w 1207"/>
              <a:gd name="T1" fmla="*/ 480 h 962"/>
              <a:gd name="T2" fmla="*/ 1115 w 1207"/>
              <a:gd name="T3" fmla="*/ 496 h 962"/>
              <a:gd name="T4" fmla="*/ 1079 w 1207"/>
              <a:gd name="T5" fmla="*/ 532 h 962"/>
              <a:gd name="T6" fmla="*/ 1057 w 1207"/>
              <a:gd name="T7" fmla="*/ 600 h 962"/>
              <a:gd name="T8" fmla="*/ 1046 w 1207"/>
              <a:gd name="T9" fmla="*/ 585 h 962"/>
              <a:gd name="T10" fmla="*/ 1007 w 1207"/>
              <a:gd name="T11" fmla="*/ 556 h 962"/>
              <a:gd name="T12" fmla="*/ 935 w 1207"/>
              <a:gd name="T13" fmla="*/ 562 h 962"/>
              <a:gd name="T14" fmla="*/ 930 w 1207"/>
              <a:gd name="T15" fmla="*/ 613 h 962"/>
              <a:gd name="T16" fmla="*/ 935 w 1207"/>
              <a:gd name="T17" fmla="*/ 696 h 962"/>
              <a:gd name="T18" fmla="*/ 890 w 1207"/>
              <a:gd name="T19" fmla="*/ 725 h 962"/>
              <a:gd name="T20" fmla="*/ 842 w 1207"/>
              <a:gd name="T21" fmla="*/ 709 h 962"/>
              <a:gd name="T22" fmla="*/ 816 w 1207"/>
              <a:gd name="T23" fmla="*/ 658 h 962"/>
              <a:gd name="T24" fmla="*/ 805 w 1207"/>
              <a:gd name="T25" fmla="*/ 643 h 962"/>
              <a:gd name="T26" fmla="*/ 749 w 1207"/>
              <a:gd name="T27" fmla="*/ 659 h 962"/>
              <a:gd name="T28" fmla="*/ 701 w 1207"/>
              <a:gd name="T29" fmla="*/ 634 h 962"/>
              <a:gd name="T30" fmla="*/ 694 w 1207"/>
              <a:gd name="T31" fmla="*/ 581 h 962"/>
              <a:gd name="T32" fmla="*/ 754 w 1207"/>
              <a:gd name="T33" fmla="*/ 540 h 962"/>
              <a:gd name="T34" fmla="*/ 824 w 1207"/>
              <a:gd name="T35" fmla="*/ 520 h 962"/>
              <a:gd name="T36" fmla="*/ 805 w 1207"/>
              <a:gd name="T37" fmla="*/ 460 h 962"/>
              <a:gd name="T38" fmla="*/ 764 w 1207"/>
              <a:gd name="T39" fmla="*/ 421 h 962"/>
              <a:gd name="T40" fmla="*/ 698 w 1207"/>
              <a:gd name="T41" fmla="*/ 414 h 962"/>
              <a:gd name="T42" fmla="*/ 672 w 1207"/>
              <a:gd name="T43" fmla="*/ 415 h 962"/>
              <a:gd name="T44" fmla="*/ 712 w 1207"/>
              <a:gd name="T45" fmla="*/ 360 h 962"/>
              <a:gd name="T46" fmla="*/ 709 w 1207"/>
              <a:gd name="T47" fmla="*/ 285 h 962"/>
              <a:gd name="T48" fmla="*/ 668 w 1207"/>
              <a:gd name="T49" fmla="*/ 214 h 962"/>
              <a:gd name="T50" fmla="*/ 606 w 1207"/>
              <a:gd name="T51" fmla="*/ 224 h 962"/>
              <a:gd name="T52" fmla="*/ 535 w 1207"/>
              <a:gd name="T53" fmla="*/ 272 h 962"/>
              <a:gd name="T54" fmla="*/ 516 w 1207"/>
              <a:gd name="T55" fmla="*/ 334 h 962"/>
              <a:gd name="T56" fmla="*/ 508 w 1207"/>
              <a:gd name="T57" fmla="*/ 341 h 962"/>
              <a:gd name="T58" fmla="*/ 458 w 1207"/>
              <a:gd name="T59" fmla="*/ 287 h 962"/>
              <a:gd name="T60" fmla="*/ 404 w 1207"/>
              <a:gd name="T61" fmla="*/ 278 h 962"/>
              <a:gd name="T62" fmla="*/ 345 w 1207"/>
              <a:gd name="T63" fmla="*/ 300 h 962"/>
              <a:gd name="T64" fmla="*/ 362 w 1207"/>
              <a:gd name="T65" fmla="*/ 357 h 962"/>
              <a:gd name="T66" fmla="*/ 382 w 1207"/>
              <a:gd name="T67" fmla="*/ 432 h 962"/>
              <a:gd name="T68" fmla="*/ 347 w 1207"/>
              <a:gd name="T69" fmla="*/ 472 h 962"/>
              <a:gd name="T70" fmla="*/ 292 w 1207"/>
              <a:gd name="T71" fmla="*/ 462 h 962"/>
              <a:gd name="T72" fmla="*/ 262 w 1207"/>
              <a:gd name="T73" fmla="*/ 417 h 962"/>
              <a:gd name="T74" fmla="*/ 249 w 1207"/>
              <a:gd name="T75" fmla="*/ 398 h 962"/>
              <a:gd name="T76" fmla="*/ 194 w 1207"/>
              <a:gd name="T77" fmla="*/ 421 h 962"/>
              <a:gd name="T78" fmla="*/ 147 w 1207"/>
              <a:gd name="T79" fmla="*/ 404 h 962"/>
              <a:gd name="T80" fmla="*/ 128 w 1207"/>
              <a:gd name="T81" fmla="*/ 354 h 962"/>
              <a:gd name="T82" fmla="*/ 178 w 1207"/>
              <a:gd name="T83" fmla="*/ 300 h 962"/>
              <a:gd name="T84" fmla="*/ 233 w 1207"/>
              <a:gd name="T85" fmla="*/ 262 h 962"/>
              <a:gd name="T86" fmla="*/ 195 w 1207"/>
              <a:gd name="T87" fmla="*/ 203 h 962"/>
              <a:gd name="T88" fmla="*/ 145 w 1207"/>
              <a:gd name="T89" fmla="*/ 185 h 962"/>
              <a:gd name="T90" fmla="*/ 115 w 1207"/>
              <a:gd name="T91" fmla="*/ 191 h 962"/>
              <a:gd name="T92" fmla="*/ 153 w 1207"/>
              <a:gd name="T93" fmla="*/ 136 h 962"/>
              <a:gd name="T94" fmla="*/ 157 w 1207"/>
              <a:gd name="T95" fmla="*/ 76 h 962"/>
              <a:gd name="T96" fmla="*/ 134 w 1207"/>
              <a:gd name="T97" fmla="*/ 28 h 962"/>
              <a:gd name="T98" fmla="*/ 269 w 1207"/>
              <a:gd name="T99" fmla="*/ 712 h 962"/>
              <a:gd name="T100" fmla="*/ 354 w 1207"/>
              <a:gd name="T101" fmla="*/ 656 h 962"/>
              <a:gd name="T102" fmla="*/ 437 w 1207"/>
              <a:gd name="T103" fmla="*/ 636 h 962"/>
              <a:gd name="T104" fmla="*/ 517 w 1207"/>
              <a:gd name="T105" fmla="*/ 643 h 962"/>
              <a:gd name="T106" fmla="*/ 610 w 1207"/>
              <a:gd name="T107" fmla="*/ 683 h 962"/>
              <a:gd name="T108" fmla="*/ 658 w 1207"/>
              <a:gd name="T109" fmla="*/ 735 h 962"/>
              <a:gd name="T110" fmla="*/ 673 w 1207"/>
              <a:gd name="T111" fmla="*/ 793 h 962"/>
              <a:gd name="T112" fmla="*/ 646 w 1207"/>
              <a:gd name="T113" fmla="*/ 877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07" h="962">
                <a:moveTo>
                  <a:pt x="841" y="962"/>
                </a:moveTo>
                <a:lnTo>
                  <a:pt x="1207" y="484"/>
                </a:lnTo>
                <a:lnTo>
                  <a:pt x="1207" y="484"/>
                </a:lnTo>
                <a:lnTo>
                  <a:pt x="1200" y="482"/>
                </a:lnTo>
                <a:lnTo>
                  <a:pt x="1190" y="481"/>
                </a:lnTo>
                <a:lnTo>
                  <a:pt x="1179" y="480"/>
                </a:lnTo>
                <a:lnTo>
                  <a:pt x="1166" y="480"/>
                </a:lnTo>
                <a:lnTo>
                  <a:pt x="1149" y="483"/>
                </a:lnTo>
                <a:lnTo>
                  <a:pt x="1141" y="485"/>
                </a:lnTo>
                <a:lnTo>
                  <a:pt x="1133" y="488"/>
                </a:lnTo>
                <a:lnTo>
                  <a:pt x="1124" y="492"/>
                </a:lnTo>
                <a:lnTo>
                  <a:pt x="1115" y="496"/>
                </a:lnTo>
                <a:lnTo>
                  <a:pt x="1115" y="496"/>
                </a:lnTo>
                <a:lnTo>
                  <a:pt x="1106" y="502"/>
                </a:lnTo>
                <a:lnTo>
                  <a:pt x="1097" y="508"/>
                </a:lnTo>
                <a:lnTo>
                  <a:pt x="1090" y="515"/>
                </a:lnTo>
                <a:lnTo>
                  <a:pt x="1084" y="523"/>
                </a:lnTo>
                <a:lnTo>
                  <a:pt x="1079" y="532"/>
                </a:lnTo>
                <a:lnTo>
                  <a:pt x="1074" y="540"/>
                </a:lnTo>
                <a:lnTo>
                  <a:pt x="1070" y="548"/>
                </a:lnTo>
                <a:lnTo>
                  <a:pt x="1067" y="557"/>
                </a:lnTo>
                <a:lnTo>
                  <a:pt x="1062" y="574"/>
                </a:lnTo>
                <a:lnTo>
                  <a:pt x="1058" y="589"/>
                </a:lnTo>
                <a:lnTo>
                  <a:pt x="1057" y="600"/>
                </a:lnTo>
                <a:lnTo>
                  <a:pt x="1058" y="605"/>
                </a:lnTo>
                <a:lnTo>
                  <a:pt x="1059" y="608"/>
                </a:lnTo>
                <a:lnTo>
                  <a:pt x="1059" y="608"/>
                </a:lnTo>
                <a:lnTo>
                  <a:pt x="1055" y="599"/>
                </a:lnTo>
                <a:lnTo>
                  <a:pt x="1051" y="592"/>
                </a:lnTo>
                <a:lnTo>
                  <a:pt x="1046" y="585"/>
                </a:lnTo>
                <a:lnTo>
                  <a:pt x="1041" y="579"/>
                </a:lnTo>
                <a:lnTo>
                  <a:pt x="1036" y="574"/>
                </a:lnTo>
                <a:lnTo>
                  <a:pt x="1031" y="568"/>
                </a:lnTo>
                <a:lnTo>
                  <a:pt x="1025" y="564"/>
                </a:lnTo>
                <a:lnTo>
                  <a:pt x="1020" y="561"/>
                </a:lnTo>
                <a:lnTo>
                  <a:pt x="1007" y="556"/>
                </a:lnTo>
                <a:lnTo>
                  <a:pt x="994" y="554"/>
                </a:lnTo>
                <a:lnTo>
                  <a:pt x="982" y="553"/>
                </a:lnTo>
                <a:lnTo>
                  <a:pt x="970" y="554"/>
                </a:lnTo>
                <a:lnTo>
                  <a:pt x="957" y="556"/>
                </a:lnTo>
                <a:lnTo>
                  <a:pt x="946" y="558"/>
                </a:lnTo>
                <a:lnTo>
                  <a:pt x="935" y="562"/>
                </a:lnTo>
                <a:lnTo>
                  <a:pt x="927" y="565"/>
                </a:lnTo>
                <a:lnTo>
                  <a:pt x="913" y="572"/>
                </a:lnTo>
                <a:lnTo>
                  <a:pt x="908" y="574"/>
                </a:lnTo>
                <a:lnTo>
                  <a:pt x="908" y="574"/>
                </a:lnTo>
                <a:lnTo>
                  <a:pt x="920" y="594"/>
                </a:lnTo>
                <a:lnTo>
                  <a:pt x="930" y="613"/>
                </a:lnTo>
                <a:lnTo>
                  <a:pt x="936" y="632"/>
                </a:lnTo>
                <a:lnTo>
                  <a:pt x="940" y="647"/>
                </a:lnTo>
                <a:lnTo>
                  <a:pt x="941" y="663"/>
                </a:lnTo>
                <a:lnTo>
                  <a:pt x="941" y="675"/>
                </a:lnTo>
                <a:lnTo>
                  <a:pt x="939" y="687"/>
                </a:lnTo>
                <a:lnTo>
                  <a:pt x="935" y="696"/>
                </a:lnTo>
                <a:lnTo>
                  <a:pt x="930" y="705"/>
                </a:lnTo>
                <a:lnTo>
                  <a:pt x="924" y="712"/>
                </a:lnTo>
                <a:lnTo>
                  <a:pt x="915" y="718"/>
                </a:lnTo>
                <a:lnTo>
                  <a:pt x="907" y="722"/>
                </a:lnTo>
                <a:lnTo>
                  <a:pt x="899" y="724"/>
                </a:lnTo>
                <a:lnTo>
                  <a:pt x="890" y="725"/>
                </a:lnTo>
                <a:lnTo>
                  <a:pt x="881" y="725"/>
                </a:lnTo>
                <a:lnTo>
                  <a:pt x="871" y="724"/>
                </a:lnTo>
                <a:lnTo>
                  <a:pt x="871" y="724"/>
                </a:lnTo>
                <a:lnTo>
                  <a:pt x="859" y="720"/>
                </a:lnTo>
                <a:lnTo>
                  <a:pt x="850" y="715"/>
                </a:lnTo>
                <a:lnTo>
                  <a:pt x="842" y="709"/>
                </a:lnTo>
                <a:lnTo>
                  <a:pt x="835" y="702"/>
                </a:lnTo>
                <a:lnTo>
                  <a:pt x="829" y="695"/>
                </a:lnTo>
                <a:lnTo>
                  <a:pt x="825" y="688"/>
                </a:lnTo>
                <a:lnTo>
                  <a:pt x="821" y="680"/>
                </a:lnTo>
                <a:lnTo>
                  <a:pt x="819" y="673"/>
                </a:lnTo>
                <a:lnTo>
                  <a:pt x="816" y="658"/>
                </a:lnTo>
                <a:lnTo>
                  <a:pt x="816" y="646"/>
                </a:lnTo>
                <a:lnTo>
                  <a:pt x="816" y="638"/>
                </a:lnTo>
                <a:lnTo>
                  <a:pt x="816" y="635"/>
                </a:lnTo>
                <a:lnTo>
                  <a:pt x="816" y="635"/>
                </a:lnTo>
                <a:lnTo>
                  <a:pt x="813" y="637"/>
                </a:lnTo>
                <a:lnTo>
                  <a:pt x="805" y="643"/>
                </a:lnTo>
                <a:lnTo>
                  <a:pt x="793" y="650"/>
                </a:lnTo>
                <a:lnTo>
                  <a:pt x="785" y="653"/>
                </a:lnTo>
                <a:lnTo>
                  <a:pt x="777" y="656"/>
                </a:lnTo>
                <a:lnTo>
                  <a:pt x="768" y="658"/>
                </a:lnTo>
                <a:lnTo>
                  <a:pt x="759" y="659"/>
                </a:lnTo>
                <a:lnTo>
                  <a:pt x="749" y="659"/>
                </a:lnTo>
                <a:lnTo>
                  <a:pt x="739" y="658"/>
                </a:lnTo>
                <a:lnTo>
                  <a:pt x="729" y="655"/>
                </a:lnTo>
                <a:lnTo>
                  <a:pt x="720" y="650"/>
                </a:lnTo>
                <a:lnTo>
                  <a:pt x="710" y="643"/>
                </a:lnTo>
                <a:lnTo>
                  <a:pt x="701" y="634"/>
                </a:lnTo>
                <a:lnTo>
                  <a:pt x="701" y="634"/>
                </a:lnTo>
                <a:lnTo>
                  <a:pt x="694" y="625"/>
                </a:lnTo>
                <a:lnTo>
                  <a:pt x="690" y="616"/>
                </a:lnTo>
                <a:lnTo>
                  <a:pt x="688" y="607"/>
                </a:lnTo>
                <a:lnTo>
                  <a:pt x="689" y="598"/>
                </a:lnTo>
                <a:lnTo>
                  <a:pt x="690" y="589"/>
                </a:lnTo>
                <a:lnTo>
                  <a:pt x="694" y="581"/>
                </a:lnTo>
                <a:lnTo>
                  <a:pt x="701" y="572"/>
                </a:lnTo>
                <a:lnTo>
                  <a:pt x="708" y="564"/>
                </a:lnTo>
                <a:lnTo>
                  <a:pt x="717" y="557"/>
                </a:lnTo>
                <a:lnTo>
                  <a:pt x="727" y="550"/>
                </a:lnTo>
                <a:lnTo>
                  <a:pt x="740" y="544"/>
                </a:lnTo>
                <a:lnTo>
                  <a:pt x="754" y="540"/>
                </a:lnTo>
                <a:lnTo>
                  <a:pt x="769" y="536"/>
                </a:lnTo>
                <a:lnTo>
                  <a:pt x="786" y="533"/>
                </a:lnTo>
                <a:lnTo>
                  <a:pt x="804" y="532"/>
                </a:lnTo>
                <a:lnTo>
                  <a:pt x="823" y="531"/>
                </a:lnTo>
                <a:lnTo>
                  <a:pt x="823" y="531"/>
                </a:lnTo>
                <a:lnTo>
                  <a:pt x="824" y="520"/>
                </a:lnTo>
                <a:lnTo>
                  <a:pt x="823" y="509"/>
                </a:lnTo>
                <a:lnTo>
                  <a:pt x="820" y="494"/>
                </a:lnTo>
                <a:lnTo>
                  <a:pt x="817" y="486"/>
                </a:lnTo>
                <a:lnTo>
                  <a:pt x="814" y="477"/>
                </a:lnTo>
                <a:lnTo>
                  <a:pt x="810" y="469"/>
                </a:lnTo>
                <a:lnTo>
                  <a:pt x="805" y="460"/>
                </a:lnTo>
                <a:lnTo>
                  <a:pt x="799" y="451"/>
                </a:lnTo>
                <a:lnTo>
                  <a:pt x="792" y="443"/>
                </a:lnTo>
                <a:lnTo>
                  <a:pt x="782" y="435"/>
                </a:lnTo>
                <a:lnTo>
                  <a:pt x="772" y="426"/>
                </a:lnTo>
                <a:lnTo>
                  <a:pt x="772" y="426"/>
                </a:lnTo>
                <a:lnTo>
                  <a:pt x="764" y="421"/>
                </a:lnTo>
                <a:lnTo>
                  <a:pt x="755" y="417"/>
                </a:lnTo>
                <a:lnTo>
                  <a:pt x="745" y="415"/>
                </a:lnTo>
                <a:lnTo>
                  <a:pt x="735" y="413"/>
                </a:lnTo>
                <a:lnTo>
                  <a:pt x="725" y="412"/>
                </a:lnTo>
                <a:lnTo>
                  <a:pt x="716" y="412"/>
                </a:lnTo>
                <a:lnTo>
                  <a:pt x="698" y="414"/>
                </a:lnTo>
                <a:lnTo>
                  <a:pt x="681" y="418"/>
                </a:lnTo>
                <a:lnTo>
                  <a:pt x="668" y="421"/>
                </a:lnTo>
                <a:lnTo>
                  <a:pt x="657" y="425"/>
                </a:lnTo>
                <a:lnTo>
                  <a:pt x="657" y="425"/>
                </a:lnTo>
                <a:lnTo>
                  <a:pt x="664" y="421"/>
                </a:lnTo>
                <a:lnTo>
                  <a:pt x="672" y="415"/>
                </a:lnTo>
                <a:lnTo>
                  <a:pt x="681" y="408"/>
                </a:lnTo>
                <a:lnTo>
                  <a:pt x="691" y="397"/>
                </a:lnTo>
                <a:lnTo>
                  <a:pt x="701" y="384"/>
                </a:lnTo>
                <a:lnTo>
                  <a:pt x="705" y="376"/>
                </a:lnTo>
                <a:lnTo>
                  <a:pt x="709" y="369"/>
                </a:lnTo>
                <a:lnTo>
                  <a:pt x="712" y="360"/>
                </a:lnTo>
                <a:lnTo>
                  <a:pt x="714" y="351"/>
                </a:lnTo>
                <a:lnTo>
                  <a:pt x="714" y="351"/>
                </a:lnTo>
                <a:lnTo>
                  <a:pt x="716" y="336"/>
                </a:lnTo>
                <a:lnTo>
                  <a:pt x="715" y="320"/>
                </a:lnTo>
                <a:lnTo>
                  <a:pt x="713" y="303"/>
                </a:lnTo>
                <a:lnTo>
                  <a:pt x="709" y="285"/>
                </a:lnTo>
                <a:lnTo>
                  <a:pt x="702" y="267"/>
                </a:lnTo>
                <a:lnTo>
                  <a:pt x="693" y="249"/>
                </a:lnTo>
                <a:lnTo>
                  <a:pt x="682" y="232"/>
                </a:lnTo>
                <a:lnTo>
                  <a:pt x="676" y="223"/>
                </a:lnTo>
                <a:lnTo>
                  <a:pt x="669" y="216"/>
                </a:lnTo>
                <a:lnTo>
                  <a:pt x="668" y="214"/>
                </a:lnTo>
                <a:lnTo>
                  <a:pt x="665" y="214"/>
                </a:lnTo>
                <a:lnTo>
                  <a:pt x="665" y="214"/>
                </a:lnTo>
                <a:lnTo>
                  <a:pt x="655" y="214"/>
                </a:lnTo>
                <a:lnTo>
                  <a:pt x="644" y="215"/>
                </a:lnTo>
                <a:lnTo>
                  <a:pt x="624" y="219"/>
                </a:lnTo>
                <a:lnTo>
                  <a:pt x="606" y="224"/>
                </a:lnTo>
                <a:lnTo>
                  <a:pt x="587" y="232"/>
                </a:lnTo>
                <a:lnTo>
                  <a:pt x="572" y="240"/>
                </a:lnTo>
                <a:lnTo>
                  <a:pt x="557" y="250"/>
                </a:lnTo>
                <a:lnTo>
                  <a:pt x="545" y="261"/>
                </a:lnTo>
                <a:lnTo>
                  <a:pt x="535" y="272"/>
                </a:lnTo>
                <a:lnTo>
                  <a:pt x="535" y="272"/>
                </a:lnTo>
                <a:lnTo>
                  <a:pt x="530" y="280"/>
                </a:lnTo>
                <a:lnTo>
                  <a:pt x="526" y="288"/>
                </a:lnTo>
                <a:lnTo>
                  <a:pt x="523" y="297"/>
                </a:lnTo>
                <a:lnTo>
                  <a:pt x="520" y="305"/>
                </a:lnTo>
                <a:lnTo>
                  <a:pt x="517" y="320"/>
                </a:lnTo>
                <a:lnTo>
                  <a:pt x="516" y="334"/>
                </a:lnTo>
                <a:lnTo>
                  <a:pt x="516" y="347"/>
                </a:lnTo>
                <a:lnTo>
                  <a:pt x="517" y="357"/>
                </a:lnTo>
                <a:lnTo>
                  <a:pt x="519" y="365"/>
                </a:lnTo>
                <a:lnTo>
                  <a:pt x="519" y="365"/>
                </a:lnTo>
                <a:lnTo>
                  <a:pt x="513" y="354"/>
                </a:lnTo>
                <a:lnTo>
                  <a:pt x="508" y="341"/>
                </a:lnTo>
                <a:lnTo>
                  <a:pt x="499" y="327"/>
                </a:lnTo>
                <a:lnTo>
                  <a:pt x="488" y="313"/>
                </a:lnTo>
                <a:lnTo>
                  <a:pt x="482" y="306"/>
                </a:lnTo>
                <a:lnTo>
                  <a:pt x="475" y="299"/>
                </a:lnTo>
                <a:lnTo>
                  <a:pt x="467" y="292"/>
                </a:lnTo>
                <a:lnTo>
                  <a:pt x="458" y="287"/>
                </a:lnTo>
                <a:lnTo>
                  <a:pt x="450" y="283"/>
                </a:lnTo>
                <a:lnTo>
                  <a:pt x="440" y="281"/>
                </a:lnTo>
                <a:lnTo>
                  <a:pt x="440" y="281"/>
                </a:lnTo>
                <a:lnTo>
                  <a:pt x="428" y="278"/>
                </a:lnTo>
                <a:lnTo>
                  <a:pt x="415" y="278"/>
                </a:lnTo>
                <a:lnTo>
                  <a:pt x="404" y="278"/>
                </a:lnTo>
                <a:lnTo>
                  <a:pt x="393" y="279"/>
                </a:lnTo>
                <a:lnTo>
                  <a:pt x="384" y="281"/>
                </a:lnTo>
                <a:lnTo>
                  <a:pt x="374" y="284"/>
                </a:lnTo>
                <a:lnTo>
                  <a:pt x="365" y="287"/>
                </a:lnTo>
                <a:lnTo>
                  <a:pt x="358" y="291"/>
                </a:lnTo>
                <a:lnTo>
                  <a:pt x="345" y="300"/>
                </a:lnTo>
                <a:lnTo>
                  <a:pt x="336" y="307"/>
                </a:lnTo>
                <a:lnTo>
                  <a:pt x="328" y="314"/>
                </a:lnTo>
                <a:lnTo>
                  <a:pt x="328" y="314"/>
                </a:lnTo>
                <a:lnTo>
                  <a:pt x="342" y="328"/>
                </a:lnTo>
                <a:lnTo>
                  <a:pt x="353" y="343"/>
                </a:lnTo>
                <a:lnTo>
                  <a:pt x="362" y="357"/>
                </a:lnTo>
                <a:lnTo>
                  <a:pt x="369" y="371"/>
                </a:lnTo>
                <a:lnTo>
                  <a:pt x="375" y="384"/>
                </a:lnTo>
                <a:lnTo>
                  <a:pt x="380" y="398"/>
                </a:lnTo>
                <a:lnTo>
                  <a:pt x="382" y="410"/>
                </a:lnTo>
                <a:lnTo>
                  <a:pt x="383" y="421"/>
                </a:lnTo>
                <a:lnTo>
                  <a:pt x="382" y="432"/>
                </a:lnTo>
                <a:lnTo>
                  <a:pt x="380" y="442"/>
                </a:lnTo>
                <a:lnTo>
                  <a:pt x="375" y="451"/>
                </a:lnTo>
                <a:lnTo>
                  <a:pt x="370" y="458"/>
                </a:lnTo>
                <a:lnTo>
                  <a:pt x="363" y="464"/>
                </a:lnTo>
                <a:lnTo>
                  <a:pt x="356" y="469"/>
                </a:lnTo>
                <a:lnTo>
                  <a:pt x="347" y="472"/>
                </a:lnTo>
                <a:lnTo>
                  <a:pt x="337" y="473"/>
                </a:lnTo>
                <a:lnTo>
                  <a:pt x="337" y="473"/>
                </a:lnTo>
                <a:lnTo>
                  <a:pt x="322" y="473"/>
                </a:lnTo>
                <a:lnTo>
                  <a:pt x="311" y="471"/>
                </a:lnTo>
                <a:lnTo>
                  <a:pt x="301" y="467"/>
                </a:lnTo>
                <a:lnTo>
                  <a:pt x="292" y="462"/>
                </a:lnTo>
                <a:lnTo>
                  <a:pt x="283" y="456"/>
                </a:lnTo>
                <a:lnTo>
                  <a:pt x="277" y="449"/>
                </a:lnTo>
                <a:lnTo>
                  <a:pt x="272" y="441"/>
                </a:lnTo>
                <a:lnTo>
                  <a:pt x="268" y="432"/>
                </a:lnTo>
                <a:lnTo>
                  <a:pt x="264" y="424"/>
                </a:lnTo>
                <a:lnTo>
                  <a:pt x="262" y="417"/>
                </a:lnTo>
                <a:lnTo>
                  <a:pt x="259" y="403"/>
                </a:lnTo>
                <a:lnTo>
                  <a:pt x="257" y="393"/>
                </a:lnTo>
                <a:lnTo>
                  <a:pt x="257" y="390"/>
                </a:lnTo>
                <a:lnTo>
                  <a:pt x="257" y="390"/>
                </a:lnTo>
                <a:lnTo>
                  <a:pt x="255" y="392"/>
                </a:lnTo>
                <a:lnTo>
                  <a:pt x="249" y="398"/>
                </a:lnTo>
                <a:lnTo>
                  <a:pt x="239" y="405"/>
                </a:lnTo>
                <a:lnTo>
                  <a:pt x="227" y="413"/>
                </a:lnTo>
                <a:lnTo>
                  <a:pt x="220" y="416"/>
                </a:lnTo>
                <a:lnTo>
                  <a:pt x="212" y="419"/>
                </a:lnTo>
                <a:lnTo>
                  <a:pt x="204" y="420"/>
                </a:lnTo>
                <a:lnTo>
                  <a:pt x="194" y="421"/>
                </a:lnTo>
                <a:lnTo>
                  <a:pt x="185" y="421"/>
                </a:lnTo>
                <a:lnTo>
                  <a:pt x="175" y="419"/>
                </a:lnTo>
                <a:lnTo>
                  <a:pt x="165" y="415"/>
                </a:lnTo>
                <a:lnTo>
                  <a:pt x="155" y="409"/>
                </a:lnTo>
                <a:lnTo>
                  <a:pt x="155" y="409"/>
                </a:lnTo>
                <a:lnTo>
                  <a:pt x="147" y="404"/>
                </a:lnTo>
                <a:lnTo>
                  <a:pt x="140" y="397"/>
                </a:lnTo>
                <a:lnTo>
                  <a:pt x="135" y="390"/>
                </a:lnTo>
                <a:lnTo>
                  <a:pt x="131" y="381"/>
                </a:lnTo>
                <a:lnTo>
                  <a:pt x="129" y="372"/>
                </a:lnTo>
                <a:lnTo>
                  <a:pt x="128" y="363"/>
                </a:lnTo>
                <a:lnTo>
                  <a:pt x="128" y="354"/>
                </a:lnTo>
                <a:lnTo>
                  <a:pt x="131" y="345"/>
                </a:lnTo>
                <a:lnTo>
                  <a:pt x="136" y="334"/>
                </a:lnTo>
                <a:lnTo>
                  <a:pt x="142" y="325"/>
                </a:lnTo>
                <a:lnTo>
                  <a:pt x="153" y="316"/>
                </a:lnTo>
                <a:lnTo>
                  <a:pt x="164" y="308"/>
                </a:lnTo>
                <a:lnTo>
                  <a:pt x="178" y="300"/>
                </a:lnTo>
                <a:lnTo>
                  <a:pt x="195" y="292"/>
                </a:lnTo>
                <a:lnTo>
                  <a:pt x="216" y="286"/>
                </a:lnTo>
                <a:lnTo>
                  <a:pt x="239" y="280"/>
                </a:lnTo>
                <a:lnTo>
                  <a:pt x="239" y="280"/>
                </a:lnTo>
                <a:lnTo>
                  <a:pt x="238" y="275"/>
                </a:lnTo>
                <a:lnTo>
                  <a:pt x="233" y="262"/>
                </a:lnTo>
                <a:lnTo>
                  <a:pt x="230" y="253"/>
                </a:lnTo>
                <a:lnTo>
                  <a:pt x="225" y="242"/>
                </a:lnTo>
                <a:lnTo>
                  <a:pt x="220" y="232"/>
                </a:lnTo>
                <a:lnTo>
                  <a:pt x="213" y="222"/>
                </a:lnTo>
                <a:lnTo>
                  <a:pt x="205" y="213"/>
                </a:lnTo>
                <a:lnTo>
                  <a:pt x="195" y="203"/>
                </a:lnTo>
                <a:lnTo>
                  <a:pt x="185" y="196"/>
                </a:lnTo>
                <a:lnTo>
                  <a:pt x="173" y="190"/>
                </a:lnTo>
                <a:lnTo>
                  <a:pt x="167" y="188"/>
                </a:lnTo>
                <a:lnTo>
                  <a:pt x="161" y="187"/>
                </a:lnTo>
                <a:lnTo>
                  <a:pt x="154" y="186"/>
                </a:lnTo>
                <a:lnTo>
                  <a:pt x="145" y="185"/>
                </a:lnTo>
                <a:lnTo>
                  <a:pt x="138" y="186"/>
                </a:lnTo>
                <a:lnTo>
                  <a:pt x="129" y="187"/>
                </a:lnTo>
                <a:lnTo>
                  <a:pt x="121" y="190"/>
                </a:lnTo>
                <a:lnTo>
                  <a:pt x="112" y="193"/>
                </a:lnTo>
                <a:lnTo>
                  <a:pt x="112" y="193"/>
                </a:lnTo>
                <a:lnTo>
                  <a:pt x="115" y="191"/>
                </a:lnTo>
                <a:lnTo>
                  <a:pt x="119" y="188"/>
                </a:lnTo>
                <a:lnTo>
                  <a:pt x="127" y="180"/>
                </a:lnTo>
                <a:lnTo>
                  <a:pt x="136" y="168"/>
                </a:lnTo>
                <a:lnTo>
                  <a:pt x="144" y="153"/>
                </a:lnTo>
                <a:lnTo>
                  <a:pt x="148" y="144"/>
                </a:lnTo>
                <a:lnTo>
                  <a:pt x="153" y="136"/>
                </a:lnTo>
                <a:lnTo>
                  <a:pt x="156" y="127"/>
                </a:lnTo>
                <a:lnTo>
                  <a:pt x="158" y="117"/>
                </a:lnTo>
                <a:lnTo>
                  <a:pt x="159" y="106"/>
                </a:lnTo>
                <a:lnTo>
                  <a:pt x="160" y="97"/>
                </a:lnTo>
                <a:lnTo>
                  <a:pt x="159" y="86"/>
                </a:lnTo>
                <a:lnTo>
                  <a:pt x="157" y="76"/>
                </a:lnTo>
                <a:lnTo>
                  <a:pt x="157" y="76"/>
                </a:lnTo>
                <a:lnTo>
                  <a:pt x="155" y="66"/>
                </a:lnTo>
                <a:lnTo>
                  <a:pt x="150" y="57"/>
                </a:lnTo>
                <a:lnTo>
                  <a:pt x="147" y="49"/>
                </a:lnTo>
                <a:lnTo>
                  <a:pt x="143" y="41"/>
                </a:lnTo>
                <a:lnTo>
                  <a:pt x="134" y="28"/>
                </a:lnTo>
                <a:lnTo>
                  <a:pt x="125" y="17"/>
                </a:lnTo>
                <a:lnTo>
                  <a:pt x="117" y="9"/>
                </a:lnTo>
                <a:lnTo>
                  <a:pt x="110" y="4"/>
                </a:lnTo>
                <a:lnTo>
                  <a:pt x="103" y="0"/>
                </a:lnTo>
                <a:lnTo>
                  <a:pt x="0" y="593"/>
                </a:lnTo>
                <a:lnTo>
                  <a:pt x="269" y="712"/>
                </a:lnTo>
                <a:lnTo>
                  <a:pt x="269" y="712"/>
                </a:lnTo>
                <a:lnTo>
                  <a:pt x="293" y="693"/>
                </a:lnTo>
                <a:lnTo>
                  <a:pt x="315" y="677"/>
                </a:lnTo>
                <a:lnTo>
                  <a:pt x="336" y="665"/>
                </a:lnTo>
                <a:lnTo>
                  <a:pt x="354" y="656"/>
                </a:lnTo>
                <a:lnTo>
                  <a:pt x="354" y="656"/>
                </a:lnTo>
                <a:lnTo>
                  <a:pt x="367" y="650"/>
                </a:lnTo>
                <a:lnTo>
                  <a:pt x="382" y="646"/>
                </a:lnTo>
                <a:lnTo>
                  <a:pt x="396" y="642"/>
                </a:lnTo>
                <a:lnTo>
                  <a:pt x="409" y="639"/>
                </a:lnTo>
                <a:lnTo>
                  <a:pt x="423" y="637"/>
                </a:lnTo>
                <a:lnTo>
                  <a:pt x="437" y="636"/>
                </a:lnTo>
                <a:lnTo>
                  <a:pt x="450" y="635"/>
                </a:lnTo>
                <a:lnTo>
                  <a:pt x="464" y="635"/>
                </a:lnTo>
                <a:lnTo>
                  <a:pt x="478" y="636"/>
                </a:lnTo>
                <a:lnTo>
                  <a:pt x="491" y="638"/>
                </a:lnTo>
                <a:lnTo>
                  <a:pt x="504" y="640"/>
                </a:lnTo>
                <a:lnTo>
                  <a:pt x="517" y="643"/>
                </a:lnTo>
                <a:lnTo>
                  <a:pt x="542" y="650"/>
                </a:lnTo>
                <a:lnTo>
                  <a:pt x="566" y="658"/>
                </a:lnTo>
                <a:lnTo>
                  <a:pt x="566" y="658"/>
                </a:lnTo>
                <a:lnTo>
                  <a:pt x="582" y="667"/>
                </a:lnTo>
                <a:lnTo>
                  <a:pt x="596" y="675"/>
                </a:lnTo>
                <a:lnTo>
                  <a:pt x="610" y="683"/>
                </a:lnTo>
                <a:lnTo>
                  <a:pt x="621" y="691"/>
                </a:lnTo>
                <a:lnTo>
                  <a:pt x="631" y="699"/>
                </a:lnTo>
                <a:lnTo>
                  <a:pt x="639" y="709"/>
                </a:lnTo>
                <a:lnTo>
                  <a:pt x="646" y="717"/>
                </a:lnTo>
                <a:lnTo>
                  <a:pt x="653" y="726"/>
                </a:lnTo>
                <a:lnTo>
                  <a:pt x="658" y="735"/>
                </a:lnTo>
                <a:lnTo>
                  <a:pt x="662" y="743"/>
                </a:lnTo>
                <a:lnTo>
                  <a:pt x="665" y="753"/>
                </a:lnTo>
                <a:lnTo>
                  <a:pt x="668" y="761"/>
                </a:lnTo>
                <a:lnTo>
                  <a:pt x="671" y="778"/>
                </a:lnTo>
                <a:lnTo>
                  <a:pt x="673" y="793"/>
                </a:lnTo>
                <a:lnTo>
                  <a:pt x="673" y="793"/>
                </a:lnTo>
                <a:lnTo>
                  <a:pt x="672" y="804"/>
                </a:lnTo>
                <a:lnTo>
                  <a:pt x="670" y="815"/>
                </a:lnTo>
                <a:lnTo>
                  <a:pt x="667" y="827"/>
                </a:lnTo>
                <a:lnTo>
                  <a:pt x="663" y="839"/>
                </a:lnTo>
                <a:lnTo>
                  <a:pt x="654" y="863"/>
                </a:lnTo>
                <a:lnTo>
                  <a:pt x="646" y="877"/>
                </a:lnTo>
                <a:lnTo>
                  <a:pt x="841" y="96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6" name="Freeform 43"/>
          <p:cNvSpPr>
            <a:spLocks/>
          </p:cNvSpPr>
          <p:nvPr userDrawn="1"/>
        </p:nvSpPr>
        <p:spPr bwMode="auto">
          <a:xfrm>
            <a:off x="7581901" y="1218904"/>
            <a:ext cx="193675" cy="33338"/>
          </a:xfrm>
          <a:custGeom>
            <a:avLst/>
            <a:gdLst>
              <a:gd name="T0" fmla="*/ 1228 w 1463"/>
              <a:gd name="T1" fmla="*/ 227 h 256"/>
              <a:gd name="T2" fmla="*/ 1463 w 1463"/>
              <a:gd name="T3" fmla="*/ 113 h 256"/>
              <a:gd name="T4" fmla="*/ 1225 w 1463"/>
              <a:gd name="T5" fmla="*/ 14 h 256"/>
              <a:gd name="T6" fmla="*/ 1225 w 1463"/>
              <a:gd name="T7" fmla="*/ 14 h 256"/>
              <a:gd name="T8" fmla="*/ 1152 w 1463"/>
              <a:gd name="T9" fmla="*/ 15 h 256"/>
              <a:gd name="T10" fmla="*/ 1060 w 1463"/>
              <a:gd name="T11" fmla="*/ 16 h 256"/>
              <a:gd name="T12" fmla="*/ 949 w 1463"/>
              <a:gd name="T13" fmla="*/ 15 h 256"/>
              <a:gd name="T14" fmla="*/ 824 w 1463"/>
              <a:gd name="T15" fmla="*/ 13 h 256"/>
              <a:gd name="T16" fmla="*/ 531 w 1463"/>
              <a:gd name="T17" fmla="*/ 7 h 256"/>
              <a:gd name="T18" fmla="*/ 197 w 1463"/>
              <a:gd name="T19" fmla="*/ 0 h 256"/>
              <a:gd name="T20" fmla="*/ 0 w 1463"/>
              <a:gd name="T21" fmla="*/ 256 h 256"/>
              <a:gd name="T22" fmla="*/ 0 w 1463"/>
              <a:gd name="T23" fmla="*/ 256 h 256"/>
              <a:gd name="T24" fmla="*/ 734 w 1463"/>
              <a:gd name="T25" fmla="*/ 240 h 256"/>
              <a:gd name="T26" fmla="*/ 1024 w 1463"/>
              <a:gd name="T27" fmla="*/ 234 h 256"/>
              <a:gd name="T28" fmla="*/ 1228 w 1463"/>
              <a:gd name="T29" fmla="*/ 22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3" h="256">
                <a:moveTo>
                  <a:pt x="1228" y="227"/>
                </a:moveTo>
                <a:lnTo>
                  <a:pt x="1463" y="113"/>
                </a:lnTo>
                <a:lnTo>
                  <a:pt x="1225" y="14"/>
                </a:lnTo>
                <a:lnTo>
                  <a:pt x="1225" y="14"/>
                </a:lnTo>
                <a:lnTo>
                  <a:pt x="1152" y="15"/>
                </a:lnTo>
                <a:lnTo>
                  <a:pt x="1060" y="16"/>
                </a:lnTo>
                <a:lnTo>
                  <a:pt x="949" y="15"/>
                </a:lnTo>
                <a:lnTo>
                  <a:pt x="824" y="13"/>
                </a:lnTo>
                <a:lnTo>
                  <a:pt x="531" y="7"/>
                </a:lnTo>
                <a:lnTo>
                  <a:pt x="197" y="0"/>
                </a:lnTo>
                <a:lnTo>
                  <a:pt x="0" y="256"/>
                </a:lnTo>
                <a:lnTo>
                  <a:pt x="0" y="256"/>
                </a:lnTo>
                <a:lnTo>
                  <a:pt x="734" y="240"/>
                </a:lnTo>
                <a:lnTo>
                  <a:pt x="1024" y="234"/>
                </a:lnTo>
                <a:lnTo>
                  <a:pt x="1228" y="22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7" name="Freeform 44"/>
          <p:cNvSpPr>
            <a:spLocks/>
          </p:cNvSpPr>
          <p:nvPr userDrawn="1"/>
        </p:nvSpPr>
        <p:spPr bwMode="auto">
          <a:xfrm>
            <a:off x="7643812" y="1301453"/>
            <a:ext cx="114300" cy="112713"/>
          </a:xfrm>
          <a:custGeom>
            <a:avLst/>
            <a:gdLst>
              <a:gd name="T0" fmla="*/ 386 w 869"/>
              <a:gd name="T1" fmla="*/ 818 h 851"/>
              <a:gd name="T2" fmla="*/ 235 w 869"/>
              <a:gd name="T3" fmla="*/ 737 h 851"/>
              <a:gd name="T4" fmla="*/ 156 w 869"/>
              <a:gd name="T5" fmla="*/ 685 h 851"/>
              <a:gd name="T6" fmla="*/ 90 w 869"/>
              <a:gd name="T7" fmla="*/ 626 h 851"/>
              <a:gd name="T8" fmla="*/ 37 w 869"/>
              <a:gd name="T9" fmla="*/ 557 h 851"/>
              <a:gd name="T10" fmla="*/ 24 w 869"/>
              <a:gd name="T11" fmla="*/ 531 h 851"/>
              <a:gd name="T12" fmla="*/ 10 w 869"/>
              <a:gd name="T13" fmla="*/ 487 h 851"/>
              <a:gd name="T14" fmla="*/ 2 w 869"/>
              <a:gd name="T15" fmla="*/ 439 h 851"/>
              <a:gd name="T16" fmla="*/ 0 w 869"/>
              <a:gd name="T17" fmla="*/ 389 h 851"/>
              <a:gd name="T18" fmla="*/ 5 w 869"/>
              <a:gd name="T19" fmla="*/ 336 h 851"/>
              <a:gd name="T20" fmla="*/ 15 w 869"/>
              <a:gd name="T21" fmla="*/ 283 h 851"/>
              <a:gd name="T22" fmla="*/ 34 w 869"/>
              <a:gd name="T23" fmla="*/ 231 h 851"/>
              <a:gd name="T24" fmla="*/ 59 w 869"/>
              <a:gd name="T25" fmla="*/ 182 h 851"/>
              <a:gd name="T26" fmla="*/ 93 w 869"/>
              <a:gd name="T27" fmla="*/ 136 h 851"/>
              <a:gd name="T28" fmla="*/ 134 w 869"/>
              <a:gd name="T29" fmla="*/ 94 h 851"/>
              <a:gd name="T30" fmla="*/ 183 w 869"/>
              <a:gd name="T31" fmla="*/ 59 h 851"/>
              <a:gd name="T32" fmla="*/ 198 w 869"/>
              <a:gd name="T33" fmla="*/ 75 h 851"/>
              <a:gd name="T34" fmla="*/ 217 w 869"/>
              <a:gd name="T35" fmla="*/ 106 h 851"/>
              <a:gd name="T36" fmla="*/ 227 w 869"/>
              <a:gd name="T37" fmla="*/ 141 h 851"/>
              <a:gd name="T38" fmla="*/ 247 w 869"/>
              <a:gd name="T39" fmla="*/ 150 h 851"/>
              <a:gd name="T40" fmla="*/ 379 w 869"/>
              <a:gd name="T41" fmla="*/ 144 h 851"/>
              <a:gd name="T42" fmla="*/ 424 w 869"/>
              <a:gd name="T43" fmla="*/ 143 h 851"/>
              <a:gd name="T44" fmla="*/ 424 w 869"/>
              <a:gd name="T45" fmla="*/ 94 h 851"/>
              <a:gd name="T46" fmla="*/ 414 w 869"/>
              <a:gd name="T47" fmla="*/ 37 h 851"/>
              <a:gd name="T48" fmla="*/ 397 w 869"/>
              <a:gd name="T49" fmla="*/ 0 h 851"/>
              <a:gd name="T50" fmla="*/ 431 w 869"/>
              <a:gd name="T51" fmla="*/ 27 h 851"/>
              <a:gd name="T52" fmla="*/ 459 w 869"/>
              <a:gd name="T53" fmla="*/ 55 h 851"/>
              <a:gd name="T54" fmla="*/ 475 w 869"/>
              <a:gd name="T55" fmla="*/ 82 h 851"/>
              <a:gd name="T56" fmla="*/ 487 w 869"/>
              <a:gd name="T57" fmla="*/ 116 h 851"/>
              <a:gd name="T58" fmla="*/ 493 w 869"/>
              <a:gd name="T59" fmla="*/ 143 h 851"/>
              <a:gd name="T60" fmla="*/ 671 w 869"/>
              <a:gd name="T61" fmla="*/ 133 h 851"/>
              <a:gd name="T62" fmla="*/ 662 w 869"/>
              <a:gd name="T63" fmla="*/ 88 h 851"/>
              <a:gd name="T64" fmla="*/ 643 w 869"/>
              <a:gd name="T65" fmla="*/ 50 h 851"/>
              <a:gd name="T66" fmla="*/ 651 w 869"/>
              <a:gd name="T67" fmla="*/ 46 h 851"/>
              <a:gd name="T68" fmla="*/ 699 w 869"/>
              <a:gd name="T69" fmla="*/ 73 h 851"/>
              <a:gd name="T70" fmla="*/ 740 w 869"/>
              <a:gd name="T71" fmla="*/ 104 h 851"/>
              <a:gd name="T72" fmla="*/ 775 w 869"/>
              <a:gd name="T73" fmla="*/ 138 h 851"/>
              <a:gd name="T74" fmla="*/ 803 w 869"/>
              <a:gd name="T75" fmla="*/ 175 h 851"/>
              <a:gd name="T76" fmla="*/ 837 w 869"/>
              <a:gd name="T77" fmla="*/ 238 h 851"/>
              <a:gd name="T78" fmla="*/ 861 w 869"/>
              <a:gd name="T79" fmla="*/ 312 h 851"/>
              <a:gd name="T80" fmla="*/ 869 w 869"/>
              <a:gd name="T81" fmla="*/ 379 h 851"/>
              <a:gd name="T82" fmla="*/ 869 w 869"/>
              <a:gd name="T83" fmla="*/ 423 h 851"/>
              <a:gd name="T84" fmla="*/ 859 w 869"/>
              <a:gd name="T85" fmla="*/ 499 h 851"/>
              <a:gd name="T86" fmla="*/ 834 w 869"/>
              <a:gd name="T87" fmla="*/ 569 h 851"/>
              <a:gd name="T88" fmla="*/ 796 w 869"/>
              <a:gd name="T89" fmla="*/ 631 h 851"/>
              <a:gd name="T90" fmla="*/ 749 w 869"/>
              <a:gd name="T91" fmla="*/ 684 h 851"/>
              <a:gd name="T92" fmla="*/ 693 w 869"/>
              <a:gd name="T93" fmla="*/ 727 h 851"/>
              <a:gd name="T94" fmla="*/ 626 w 869"/>
              <a:gd name="T95" fmla="*/ 766 h 851"/>
              <a:gd name="T96" fmla="*/ 506 w 869"/>
              <a:gd name="T97" fmla="*/ 826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9" h="851">
                <a:moveTo>
                  <a:pt x="452" y="851"/>
                </a:moveTo>
                <a:lnTo>
                  <a:pt x="452" y="851"/>
                </a:lnTo>
                <a:lnTo>
                  <a:pt x="386" y="818"/>
                </a:lnTo>
                <a:lnTo>
                  <a:pt x="323" y="785"/>
                </a:lnTo>
                <a:lnTo>
                  <a:pt x="264" y="754"/>
                </a:lnTo>
                <a:lnTo>
                  <a:pt x="235" y="737"/>
                </a:lnTo>
                <a:lnTo>
                  <a:pt x="207" y="720"/>
                </a:lnTo>
                <a:lnTo>
                  <a:pt x="181" y="703"/>
                </a:lnTo>
                <a:lnTo>
                  <a:pt x="156" y="685"/>
                </a:lnTo>
                <a:lnTo>
                  <a:pt x="133" y="666"/>
                </a:lnTo>
                <a:lnTo>
                  <a:pt x="110" y="646"/>
                </a:lnTo>
                <a:lnTo>
                  <a:pt x="90" y="626"/>
                </a:lnTo>
                <a:lnTo>
                  <a:pt x="70" y="605"/>
                </a:lnTo>
                <a:lnTo>
                  <a:pt x="53" y="581"/>
                </a:lnTo>
                <a:lnTo>
                  <a:pt x="37" y="557"/>
                </a:lnTo>
                <a:lnTo>
                  <a:pt x="37" y="557"/>
                </a:lnTo>
                <a:lnTo>
                  <a:pt x="31" y="544"/>
                </a:lnTo>
                <a:lnTo>
                  <a:pt x="24" y="531"/>
                </a:lnTo>
                <a:lnTo>
                  <a:pt x="19" y="517"/>
                </a:lnTo>
                <a:lnTo>
                  <a:pt x="14" y="502"/>
                </a:lnTo>
                <a:lnTo>
                  <a:pt x="10" y="487"/>
                </a:lnTo>
                <a:lnTo>
                  <a:pt x="7" y="472"/>
                </a:lnTo>
                <a:lnTo>
                  <a:pt x="4" y="455"/>
                </a:lnTo>
                <a:lnTo>
                  <a:pt x="2" y="439"/>
                </a:lnTo>
                <a:lnTo>
                  <a:pt x="1" y="423"/>
                </a:lnTo>
                <a:lnTo>
                  <a:pt x="0" y="405"/>
                </a:lnTo>
                <a:lnTo>
                  <a:pt x="0" y="389"/>
                </a:lnTo>
                <a:lnTo>
                  <a:pt x="1" y="371"/>
                </a:lnTo>
                <a:lnTo>
                  <a:pt x="2" y="353"/>
                </a:lnTo>
                <a:lnTo>
                  <a:pt x="5" y="336"/>
                </a:lnTo>
                <a:lnTo>
                  <a:pt x="7" y="318"/>
                </a:lnTo>
                <a:lnTo>
                  <a:pt x="11" y="301"/>
                </a:lnTo>
                <a:lnTo>
                  <a:pt x="15" y="283"/>
                </a:lnTo>
                <a:lnTo>
                  <a:pt x="21" y="266"/>
                </a:lnTo>
                <a:lnTo>
                  <a:pt x="26" y="249"/>
                </a:lnTo>
                <a:lnTo>
                  <a:pt x="34" y="231"/>
                </a:lnTo>
                <a:lnTo>
                  <a:pt x="42" y="215"/>
                </a:lnTo>
                <a:lnTo>
                  <a:pt x="50" y="199"/>
                </a:lnTo>
                <a:lnTo>
                  <a:pt x="59" y="182"/>
                </a:lnTo>
                <a:lnTo>
                  <a:pt x="69" y="166"/>
                </a:lnTo>
                <a:lnTo>
                  <a:pt x="81" y="151"/>
                </a:lnTo>
                <a:lnTo>
                  <a:pt x="93" y="136"/>
                </a:lnTo>
                <a:lnTo>
                  <a:pt x="105" y="122"/>
                </a:lnTo>
                <a:lnTo>
                  <a:pt x="120" y="108"/>
                </a:lnTo>
                <a:lnTo>
                  <a:pt x="134" y="94"/>
                </a:lnTo>
                <a:lnTo>
                  <a:pt x="149" y="82"/>
                </a:lnTo>
                <a:lnTo>
                  <a:pt x="166" y="70"/>
                </a:lnTo>
                <a:lnTo>
                  <a:pt x="183" y="59"/>
                </a:lnTo>
                <a:lnTo>
                  <a:pt x="183" y="59"/>
                </a:lnTo>
                <a:lnTo>
                  <a:pt x="191" y="67"/>
                </a:lnTo>
                <a:lnTo>
                  <a:pt x="198" y="75"/>
                </a:lnTo>
                <a:lnTo>
                  <a:pt x="203" y="82"/>
                </a:lnTo>
                <a:lnTo>
                  <a:pt x="208" y="90"/>
                </a:lnTo>
                <a:lnTo>
                  <a:pt x="217" y="106"/>
                </a:lnTo>
                <a:lnTo>
                  <a:pt x="222" y="120"/>
                </a:lnTo>
                <a:lnTo>
                  <a:pt x="225" y="132"/>
                </a:lnTo>
                <a:lnTo>
                  <a:pt x="227" y="141"/>
                </a:lnTo>
                <a:lnTo>
                  <a:pt x="227" y="150"/>
                </a:lnTo>
                <a:lnTo>
                  <a:pt x="227" y="150"/>
                </a:lnTo>
                <a:lnTo>
                  <a:pt x="247" y="150"/>
                </a:lnTo>
                <a:lnTo>
                  <a:pt x="272" y="150"/>
                </a:lnTo>
                <a:lnTo>
                  <a:pt x="325" y="146"/>
                </a:lnTo>
                <a:lnTo>
                  <a:pt x="379" y="144"/>
                </a:lnTo>
                <a:lnTo>
                  <a:pt x="404" y="143"/>
                </a:lnTo>
                <a:lnTo>
                  <a:pt x="424" y="143"/>
                </a:lnTo>
                <a:lnTo>
                  <a:pt x="424" y="143"/>
                </a:lnTo>
                <a:lnTo>
                  <a:pt x="425" y="129"/>
                </a:lnTo>
                <a:lnTo>
                  <a:pt x="425" y="112"/>
                </a:lnTo>
                <a:lnTo>
                  <a:pt x="424" y="94"/>
                </a:lnTo>
                <a:lnTo>
                  <a:pt x="422" y="76"/>
                </a:lnTo>
                <a:lnTo>
                  <a:pt x="419" y="56"/>
                </a:lnTo>
                <a:lnTo>
                  <a:pt x="414" y="37"/>
                </a:lnTo>
                <a:lnTo>
                  <a:pt x="407" y="19"/>
                </a:lnTo>
                <a:lnTo>
                  <a:pt x="402" y="9"/>
                </a:lnTo>
                <a:lnTo>
                  <a:pt x="397" y="0"/>
                </a:lnTo>
                <a:lnTo>
                  <a:pt x="397" y="0"/>
                </a:lnTo>
                <a:lnTo>
                  <a:pt x="415" y="14"/>
                </a:lnTo>
                <a:lnTo>
                  <a:pt x="431" y="27"/>
                </a:lnTo>
                <a:lnTo>
                  <a:pt x="446" y="40"/>
                </a:lnTo>
                <a:lnTo>
                  <a:pt x="453" y="47"/>
                </a:lnTo>
                <a:lnTo>
                  <a:pt x="459" y="55"/>
                </a:lnTo>
                <a:lnTo>
                  <a:pt x="465" y="64"/>
                </a:lnTo>
                <a:lnTo>
                  <a:pt x="470" y="73"/>
                </a:lnTo>
                <a:lnTo>
                  <a:pt x="475" y="82"/>
                </a:lnTo>
                <a:lnTo>
                  <a:pt x="479" y="92"/>
                </a:lnTo>
                <a:lnTo>
                  <a:pt x="484" y="104"/>
                </a:lnTo>
                <a:lnTo>
                  <a:pt x="487" y="116"/>
                </a:lnTo>
                <a:lnTo>
                  <a:pt x="490" y="129"/>
                </a:lnTo>
                <a:lnTo>
                  <a:pt x="493" y="143"/>
                </a:lnTo>
                <a:lnTo>
                  <a:pt x="493" y="143"/>
                </a:lnTo>
                <a:lnTo>
                  <a:pt x="671" y="150"/>
                </a:lnTo>
                <a:lnTo>
                  <a:pt x="671" y="150"/>
                </a:lnTo>
                <a:lnTo>
                  <a:pt x="671" y="133"/>
                </a:lnTo>
                <a:lnTo>
                  <a:pt x="670" y="118"/>
                </a:lnTo>
                <a:lnTo>
                  <a:pt x="667" y="103"/>
                </a:lnTo>
                <a:lnTo>
                  <a:pt x="662" y="88"/>
                </a:lnTo>
                <a:lnTo>
                  <a:pt x="657" y="75"/>
                </a:lnTo>
                <a:lnTo>
                  <a:pt x="651" y="62"/>
                </a:lnTo>
                <a:lnTo>
                  <a:pt x="643" y="50"/>
                </a:lnTo>
                <a:lnTo>
                  <a:pt x="634" y="38"/>
                </a:lnTo>
                <a:lnTo>
                  <a:pt x="634" y="38"/>
                </a:lnTo>
                <a:lnTo>
                  <a:pt x="651" y="46"/>
                </a:lnTo>
                <a:lnTo>
                  <a:pt x="669" y="54"/>
                </a:lnTo>
                <a:lnTo>
                  <a:pt x="684" y="64"/>
                </a:lnTo>
                <a:lnTo>
                  <a:pt x="699" y="73"/>
                </a:lnTo>
                <a:lnTo>
                  <a:pt x="714" y="83"/>
                </a:lnTo>
                <a:lnTo>
                  <a:pt x="728" y="93"/>
                </a:lnTo>
                <a:lnTo>
                  <a:pt x="740" y="104"/>
                </a:lnTo>
                <a:lnTo>
                  <a:pt x="752" y="115"/>
                </a:lnTo>
                <a:lnTo>
                  <a:pt x="764" y="126"/>
                </a:lnTo>
                <a:lnTo>
                  <a:pt x="775" y="138"/>
                </a:lnTo>
                <a:lnTo>
                  <a:pt x="785" y="151"/>
                </a:lnTo>
                <a:lnTo>
                  <a:pt x="794" y="163"/>
                </a:lnTo>
                <a:lnTo>
                  <a:pt x="803" y="175"/>
                </a:lnTo>
                <a:lnTo>
                  <a:pt x="811" y="187"/>
                </a:lnTo>
                <a:lnTo>
                  <a:pt x="825" y="213"/>
                </a:lnTo>
                <a:lnTo>
                  <a:pt x="837" y="238"/>
                </a:lnTo>
                <a:lnTo>
                  <a:pt x="848" y="263"/>
                </a:lnTo>
                <a:lnTo>
                  <a:pt x="855" y="289"/>
                </a:lnTo>
                <a:lnTo>
                  <a:pt x="861" y="312"/>
                </a:lnTo>
                <a:lnTo>
                  <a:pt x="865" y="336"/>
                </a:lnTo>
                <a:lnTo>
                  <a:pt x="868" y="358"/>
                </a:lnTo>
                <a:lnTo>
                  <a:pt x="869" y="379"/>
                </a:lnTo>
                <a:lnTo>
                  <a:pt x="869" y="397"/>
                </a:lnTo>
                <a:lnTo>
                  <a:pt x="869" y="397"/>
                </a:lnTo>
                <a:lnTo>
                  <a:pt x="869" y="423"/>
                </a:lnTo>
                <a:lnTo>
                  <a:pt x="868" y="449"/>
                </a:lnTo>
                <a:lnTo>
                  <a:pt x="864" y="474"/>
                </a:lnTo>
                <a:lnTo>
                  <a:pt x="859" y="499"/>
                </a:lnTo>
                <a:lnTo>
                  <a:pt x="852" y="523"/>
                </a:lnTo>
                <a:lnTo>
                  <a:pt x="843" y="546"/>
                </a:lnTo>
                <a:lnTo>
                  <a:pt x="834" y="569"/>
                </a:lnTo>
                <a:lnTo>
                  <a:pt x="823" y="590"/>
                </a:lnTo>
                <a:lnTo>
                  <a:pt x="811" y="612"/>
                </a:lnTo>
                <a:lnTo>
                  <a:pt x="796" y="631"/>
                </a:lnTo>
                <a:lnTo>
                  <a:pt x="782" y="651"/>
                </a:lnTo>
                <a:lnTo>
                  <a:pt x="766" y="668"/>
                </a:lnTo>
                <a:lnTo>
                  <a:pt x="749" y="684"/>
                </a:lnTo>
                <a:lnTo>
                  <a:pt x="731" y="700"/>
                </a:lnTo>
                <a:lnTo>
                  <a:pt x="713" y="714"/>
                </a:lnTo>
                <a:lnTo>
                  <a:pt x="693" y="727"/>
                </a:lnTo>
                <a:lnTo>
                  <a:pt x="693" y="727"/>
                </a:lnTo>
                <a:lnTo>
                  <a:pt x="658" y="748"/>
                </a:lnTo>
                <a:lnTo>
                  <a:pt x="626" y="766"/>
                </a:lnTo>
                <a:lnTo>
                  <a:pt x="594" y="783"/>
                </a:lnTo>
                <a:lnTo>
                  <a:pt x="563" y="799"/>
                </a:lnTo>
                <a:lnTo>
                  <a:pt x="506" y="826"/>
                </a:lnTo>
                <a:lnTo>
                  <a:pt x="452" y="85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8" name="Freeform 45"/>
          <p:cNvSpPr>
            <a:spLocks/>
          </p:cNvSpPr>
          <p:nvPr userDrawn="1"/>
        </p:nvSpPr>
        <p:spPr bwMode="auto">
          <a:xfrm>
            <a:off x="7677150" y="1579265"/>
            <a:ext cx="1588" cy="0"/>
          </a:xfrm>
          <a:custGeom>
            <a:avLst/>
            <a:gdLst>
              <a:gd name="T0" fmla="*/ 22 w 22"/>
              <a:gd name="T1" fmla="*/ 9 h 9"/>
              <a:gd name="T2" fmla="*/ 22 w 22"/>
              <a:gd name="T3" fmla="*/ 9 h 9"/>
              <a:gd name="T4" fmla="*/ 3 w 22"/>
              <a:gd name="T5" fmla="*/ 2 h 9"/>
              <a:gd name="T6" fmla="*/ 3 w 22"/>
              <a:gd name="T7" fmla="*/ 2 h 9"/>
              <a:gd name="T8" fmla="*/ 0 w 22"/>
              <a:gd name="T9" fmla="*/ 0 h 9"/>
              <a:gd name="T10" fmla="*/ 0 w 22"/>
              <a:gd name="T11" fmla="*/ 0 h 9"/>
              <a:gd name="T12" fmla="*/ 22 w 22"/>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22" h="9">
                <a:moveTo>
                  <a:pt x="22" y="9"/>
                </a:moveTo>
                <a:lnTo>
                  <a:pt x="22" y="9"/>
                </a:lnTo>
                <a:lnTo>
                  <a:pt x="3" y="2"/>
                </a:lnTo>
                <a:lnTo>
                  <a:pt x="3" y="2"/>
                </a:lnTo>
                <a:lnTo>
                  <a:pt x="0" y="0"/>
                </a:lnTo>
                <a:lnTo>
                  <a:pt x="0" y="0"/>
                </a:lnTo>
                <a:lnTo>
                  <a:pt x="22"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9" name="Freeform 46"/>
          <p:cNvSpPr>
            <a:spLocks/>
          </p:cNvSpPr>
          <p:nvPr userDrawn="1"/>
        </p:nvSpPr>
        <p:spPr bwMode="auto">
          <a:xfrm>
            <a:off x="7429500" y="1261766"/>
            <a:ext cx="20638" cy="12700"/>
          </a:xfrm>
          <a:custGeom>
            <a:avLst/>
            <a:gdLst>
              <a:gd name="T0" fmla="*/ 166 w 166"/>
              <a:gd name="T1" fmla="*/ 69 h 96"/>
              <a:gd name="T2" fmla="*/ 166 w 166"/>
              <a:gd name="T3" fmla="*/ 69 h 96"/>
              <a:gd name="T4" fmla="*/ 166 w 166"/>
              <a:gd name="T5" fmla="*/ 70 h 96"/>
              <a:gd name="T6" fmla="*/ 165 w 166"/>
              <a:gd name="T7" fmla="*/ 72 h 96"/>
              <a:gd name="T8" fmla="*/ 161 w 166"/>
              <a:gd name="T9" fmla="*/ 74 h 96"/>
              <a:gd name="T10" fmla="*/ 155 w 166"/>
              <a:gd name="T11" fmla="*/ 77 h 96"/>
              <a:gd name="T12" fmla="*/ 145 w 166"/>
              <a:gd name="T13" fmla="*/ 79 h 96"/>
              <a:gd name="T14" fmla="*/ 123 w 166"/>
              <a:gd name="T15" fmla="*/ 85 h 96"/>
              <a:gd name="T16" fmla="*/ 95 w 166"/>
              <a:gd name="T17" fmla="*/ 90 h 96"/>
              <a:gd name="T18" fmla="*/ 68 w 166"/>
              <a:gd name="T19" fmla="*/ 94 h 96"/>
              <a:gd name="T20" fmla="*/ 42 w 166"/>
              <a:gd name="T21" fmla="*/ 96 h 96"/>
              <a:gd name="T22" fmla="*/ 24 w 166"/>
              <a:gd name="T23" fmla="*/ 96 h 96"/>
              <a:gd name="T24" fmla="*/ 17 w 166"/>
              <a:gd name="T25" fmla="*/ 95 h 96"/>
              <a:gd name="T26" fmla="*/ 13 w 166"/>
              <a:gd name="T27" fmla="*/ 94 h 96"/>
              <a:gd name="T28" fmla="*/ 13 w 166"/>
              <a:gd name="T29" fmla="*/ 94 h 96"/>
              <a:gd name="T30" fmla="*/ 10 w 166"/>
              <a:gd name="T31" fmla="*/ 92 h 96"/>
              <a:gd name="T32" fmla="*/ 8 w 166"/>
              <a:gd name="T33" fmla="*/ 88 h 96"/>
              <a:gd name="T34" fmla="*/ 5 w 166"/>
              <a:gd name="T35" fmla="*/ 77 h 96"/>
              <a:gd name="T36" fmla="*/ 2 w 166"/>
              <a:gd name="T37" fmla="*/ 65 h 96"/>
              <a:gd name="T38" fmla="*/ 0 w 166"/>
              <a:gd name="T39" fmla="*/ 51 h 96"/>
              <a:gd name="T40" fmla="*/ 0 w 166"/>
              <a:gd name="T41" fmla="*/ 36 h 96"/>
              <a:gd name="T42" fmla="*/ 0 w 166"/>
              <a:gd name="T43" fmla="*/ 23 h 96"/>
              <a:gd name="T44" fmla="*/ 1 w 166"/>
              <a:gd name="T45" fmla="*/ 13 h 96"/>
              <a:gd name="T46" fmla="*/ 2 w 166"/>
              <a:gd name="T47" fmla="*/ 8 h 96"/>
              <a:gd name="T48" fmla="*/ 4 w 166"/>
              <a:gd name="T49" fmla="*/ 5 h 96"/>
              <a:gd name="T50" fmla="*/ 4 w 166"/>
              <a:gd name="T51" fmla="*/ 5 h 96"/>
              <a:gd name="T52" fmla="*/ 5 w 166"/>
              <a:gd name="T53" fmla="*/ 4 h 96"/>
              <a:gd name="T54" fmla="*/ 7 w 166"/>
              <a:gd name="T55" fmla="*/ 2 h 96"/>
              <a:gd name="T56" fmla="*/ 13 w 166"/>
              <a:gd name="T57" fmla="*/ 1 h 96"/>
              <a:gd name="T58" fmla="*/ 22 w 166"/>
              <a:gd name="T59" fmla="*/ 0 h 96"/>
              <a:gd name="T60" fmla="*/ 32 w 166"/>
              <a:gd name="T61" fmla="*/ 0 h 96"/>
              <a:gd name="T62" fmla="*/ 43 w 166"/>
              <a:gd name="T63" fmla="*/ 1 h 96"/>
              <a:gd name="T64" fmla="*/ 55 w 166"/>
              <a:gd name="T65" fmla="*/ 3 h 96"/>
              <a:gd name="T66" fmla="*/ 69 w 166"/>
              <a:gd name="T67" fmla="*/ 6 h 96"/>
              <a:gd name="T68" fmla="*/ 83 w 166"/>
              <a:gd name="T69" fmla="*/ 10 h 96"/>
              <a:gd name="T70" fmla="*/ 96 w 166"/>
              <a:gd name="T71" fmla="*/ 15 h 96"/>
              <a:gd name="T72" fmla="*/ 110 w 166"/>
              <a:gd name="T73" fmla="*/ 20 h 96"/>
              <a:gd name="T74" fmla="*/ 123 w 166"/>
              <a:gd name="T75" fmla="*/ 27 h 96"/>
              <a:gd name="T76" fmla="*/ 135 w 166"/>
              <a:gd name="T77" fmla="*/ 34 h 96"/>
              <a:gd name="T78" fmla="*/ 145 w 166"/>
              <a:gd name="T79" fmla="*/ 42 h 96"/>
              <a:gd name="T80" fmla="*/ 155 w 166"/>
              <a:gd name="T81" fmla="*/ 51 h 96"/>
              <a:gd name="T82" fmla="*/ 162 w 166"/>
              <a:gd name="T83" fmla="*/ 60 h 96"/>
              <a:gd name="T84" fmla="*/ 164 w 166"/>
              <a:gd name="T85" fmla="*/ 64 h 96"/>
              <a:gd name="T86" fmla="*/ 166 w 166"/>
              <a:gd name="T87" fmla="*/ 6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6" h="96">
                <a:moveTo>
                  <a:pt x="166" y="69"/>
                </a:moveTo>
                <a:lnTo>
                  <a:pt x="166" y="69"/>
                </a:lnTo>
                <a:lnTo>
                  <a:pt x="166" y="70"/>
                </a:lnTo>
                <a:lnTo>
                  <a:pt x="165" y="72"/>
                </a:lnTo>
                <a:lnTo>
                  <a:pt x="161" y="74"/>
                </a:lnTo>
                <a:lnTo>
                  <a:pt x="155" y="77"/>
                </a:lnTo>
                <a:lnTo>
                  <a:pt x="145" y="79"/>
                </a:lnTo>
                <a:lnTo>
                  <a:pt x="123" y="85"/>
                </a:lnTo>
                <a:lnTo>
                  <a:pt x="95" y="90"/>
                </a:lnTo>
                <a:lnTo>
                  <a:pt x="68" y="94"/>
                </a:lnTo>
                <a:lnTo>
                  <a:pt x="42" y="96"/>
                </a:lnTo>
                <a:lnTo>
                  <a:pt x="24" y="96"/>
                </a:lnTo>
                <a:lnTo>
                  <a:pt x="17" y="95"/>
                </a:lnTo>
                <a:lnTo>
                  <a:pt x="13" y="94"/>
                </a:lnTo>
                <a:lnTo>
                  <a:pt x="13" y="94"/>
                </a:lnTo>
                <a:lnTo>
                  <a:pt x="10" y="92"/>
                </a:lnTo>
                <a:lnTo>
                  <a:pt x="8" y="88"/>
                </a:lnTo>
                <a:lnTo>
                  <a:pt x="5" y="77"/>
                </a:lnTo>
                <a:lnTo>
                  <a:pt x="2" y="65"/>
                </a:lnTo>
                <a:lnTo>
                  <a:pt x="0" y="51"/>
                </a:lnTo>
                <a:lnTo>
                  <a:pt x="0" y="36"/>
                </a:lnTo>
                <a:lnTo>
                  <a:pt x="0" y="23"/>
                </a:lnTo>
                <a:lnTo>
                  <a:pt x="1" y="13"/>
                </a:lnTo>
                <a:lnTo>
                  <a:pt x="2" y="8"/>
                </a:lnTo>
                <a:lnTo>
                  <a:pt x="4" y="5"/>
                </a:lnTo>
                <a:lnTo>
                  <a:pt x="4" y="5"/>
                </a:lnTo>
                <a:lnTo>
                  <a:pt x="5" y="4"/>
                </a:lnTo>
                <a:lnTo>
                  <a:pt x="7" y="2"/>
                </a:lnTo>
                <a:lnTo>
                  <a:pt x="13" y="1"/>
                </a:lnTo>
                <a:lnTo>
                  <a:pt x="22" y="0"/>
                </a:lnTo>
                <a:lnTo>
                  <a:pt x="32" y="0"/>
                </a:lnTo>
                <a:lnTo>
                  <a:pt x="43" y="1"/>
                </a:lnTo>
                <a:lnTo>
                  <a:pt x="55" y="3"/>
                </a:lnTo>
                <a:lnTo>
                  <a:pt x="69" y="6"/>
                </a:lnTo>
                <a:lnTo>
                  <a:pt x="83" y="10"/>
                </a:lnTo>
                <a:lnTo>
                  <a:pt x="96" y="15"/>
                </a:lnTo>
                <a:lnTo>
                  <a:pt x="110" y="20"/>
                </a:lnTo>
                <a:lnTo>
                  <a:pt x="123" y="27"/>
                </a:lnTo>
                <a:lnTo>
                  <a:pt x="135" y="34"/>
                </a:lnTo>
                <a:lnTo>
                  <a:pt x="145" y="42"/>
                </a:lnTo>
                <a:lnTo>
                  <a:pt x="155" y="51"/>
                </a:lnTo>
                <a:lnTo>
                  <a:pt x="162" y="60"/>
                </a:lnTo>
                <a:lnTo>
                  <a:pt x="164" y="64"/>
                </a:lnTo>
                <a:lnTo>
                  <a:pt x="166" y="6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50" name="Freeform 47"/>
          <p:cNvSpPr>
            <a:spLocks/>
          </p:cNvSpPr>
          <p:nvPr userDrawn="1"/>
        </p:nvSpPr>
        <p:spPr bwMode="auto">
          <a:xfrm>
            <a:off x="7151687" y="1218904"/>
            <a:ext cx="657225" cy="776288"/>
          </a:xfrm>
          <a:custGeom>
            <a:avLst/>
            <a:gdLst>
              <a:gd name="T0" fmla="*/ 4703 w 4973"/>
              <a:gd name="T1" fmla="*/ 1877 h 5865"/>
              <a:gd name="T2" fmla="*/ 4733 w 4973"/>
              <a:gd name="T3" fmla="*/ 1183 h 5865"/>
              <a:gd name="T4" fmla="*/ 4302 w 4973"/>
              <a:gd name="T5" fmla="*/ 476 h 5865"/>
              <a:gd name="T6" fmla="*/ 3581 w 4973"/>
              <a:gd name="T7" fmla="*/ 813 h 5865"/>
              <a:gd name="T8" fmla="*/ 3899 w 4973"/>
              <a:gd name="T9" fmla="*/ 1529 h 5865"/>
              <a:gd name="T10" fmla="*/ 3757 w 4973"/>
              <a:gd name="T11" fmla="*/ 2227 h 5865"/>
              <a:gd name="T12" fmla="*/ 3939 w 4973"/>
              <a:gd name="T13" fmla="*/ 2068 h 5865"/>
              <a:gd name="T14" fmla="*/ 4069 w 4973"/>
              <a:gd name="T15" fmla="*/ 1928 h 5865"/>
              <a:gd name="T16" fmla="*/ 4545 w 4973"/>
              <a:gd name="T17" fmla="*/ 1985 h 5865"/>
              <a:gd name="T18" fmla="*/ 4487 w 4973"/>
              <a:gd name="T19" fmla="*/ 2697 h 5865"/>
              <a:gd name="T20" fmla="*/ 3601 w 4973"/>
              <a:gd name="T21" fmla="*/ 2477 h 5865"/>
              <a:gd name="T22" fmla="*/ 3285 w 4973"/>
              <a:gd name="T23" fmla="*/ 1581 h 5865"/>
              <a:gd name="T24" fmla="*/ 3364 w 4973"/>
              <a:gd name="T25" fmla="*/ 1421 h 5865"/>
              <a:gd name="T26" fmla="*/ 3101 w 4973"/>
              <a:gd name="T27" fmla="*/ 996 h 5865"/>
              <a:gd name="T28" fmla="*/ 3251 w 4973"/>
              <a:gd name="T29" fmla="*/ 599 h 5865"/>
              <a:gd name="T30" fmla="*/ 2863 w 4973"/>
              <a:gd name="T31" fmla="*/ 144 h 5865"/>
              <a:gd name="T32" fmla="*/ 1960 w 4973"/>
              <a:gd name="T33" fmla="*/ 304 h 5865"/>
              <a:gd name="T34" fmla="*/ 1819 w 4973"/>
              <a:gd name="T35" fmla="*/ 748 h 5865"/>
              <a:gd name="T36" fmla="*/ 2202 w 4973"/>
              <a:gd name="T37" fmla="*/ 626 h 5865"/>
              <a:gd name="T38" fmla="*/ 2215 w 4973"/>
              <a:gd name="T39" fmla="*/ 803 h 5865"/>
              <a:gd name="T40" fmla="*/ 1623 w 4973"/>
              <a:gd name="T41" fmla="*/ 851 h 5865"/>
              <a:gd name="T42" fmla="*/ 1602 w 4973"/>
              <a:gd name="T43" fmla="*/ 1055 h 5865"/>
              <a:gd name="T44" fmla="*/ 2246 w 4973"/>
              <a:gd name="T45" fmla="*/ 924 h 5865"/>
              <a:gd name="T46" fmla="*/ 2036 w 4973"/>
              <a:gd name="T47" fmla="*/ 981 h 5865"/>
              <a:gd name="T48" fmla="*/ 1754 w 4973"/>
              <a:gd name="T49" fmla="*/ 1278 h 5865"/>
              <a:gd name="T50" fmla="*/ 2105 w 4973"/>
              <a:gd name="T51" fmla="*/ 1619 h 5865"/>
              <a:gd name="T52" fmla="*/ 863 w 4973"/>
              <a:gd name="T53" fmla="*/ 2239 h 5865"/>
              <a:gd name="T54" fmla="*/ 310 w 4973"/>
              <a:gd name="T55" fmla="*/ 2027 h 5865"/>
              <a:gd name="T56" fmla="*/ 319 w 4973"/>
              <a:gd name="T57" fmla="*/ 2172 h 5865"/>
              <a:gd name="T58" fmla="*/ 380 w 4973"/>
              <a:gd name="T59" fmla="*/ 2295 h 5865"/>
              <a:gd name="T60" fmla="*/ 39 w 4973"/>
              <a:gd name="T61" fmla="*/ 2396 h 5865"/>
              <a:gd name="T62" fmla="*/ 189 w 4973"/>
              <a:gd name="T63" fmla="*/ 2511 h 5865"/>
              <a:gd name="T64" fmla="*/ 322 w 4973"/>
              <a:gd name="T65" fmla="*/ 2588 h 5865"/>
              <a:gd name="T66" fmla="*/ 272 w 4973"/>
              <a:gd name="T67" fmla="*/ 2893 h 5865"/>
              <a:gd name="T68" fmla="*/ 630 w 4973"/>
              <a:gd name="T69" fmla="*/ 2730 h 5865"/>
              <a:gd name="T70" fmla="*/ 811 w 4973"/>
              <a:gd name="T71" fmla="*/ 2843 h 5865"/>
              <a:gd name="T72" fmla="*/ 1024 w 4973"/>
              <a:gd name="T73" fmla="*/ 2773 h 5865"/>
              <a:gd name="T74" fmla="*/ 1290 w 4973"/>
              <a:gd name="T75" fmla="*/ 2556 h 5865"/>
              <a:gd name="T76" fmla="*/ 1713 w 4973"/>
              <a:gd name="T77" fmla="*/ 2519 h 5865"/>
              <a:gd name="T78" fmla="*/ 2306 w 4973"/>
              <a:gd name="T79" fmla="*/ 2641 h 5865"/>
              <a:gd name="T80" fmla="*/ 3357 w 4973"/>
              <a:gd name="T81" fmla="*/ 3092 h 5865"/>
              <a:gd name="T82" fmla="*/ 3742 w 4973"/>
              <a:gd name="T83" fmla="*/ 3928 h 5865"/>
              <a:gd name="T84" fmla="*/ 3685 w 4973"/>
              <a:gd name="T85" fmla="*/ 4224 h 5865"/>
              <a:gd name="T86" fmla="*/ 4224 w 4973"/>
              <a:gd name="T87" fmla="*/ 4337 h 5865"/>
              <a:gd name="T88" fmla="*/ 4264 w 4973"/>
              <a:gd name="T89" fmla="*/ 5017 h 5865"/>
              <a:gd name="T90" fmla="*/ 3761 w 4973"/>
              <a:gd name="T91" fmla="*/ 5058 h 5865"/>
              <a:gd name="T92" fmla="*/ 3894 w 4973"/>
              <a:gd name="T93" fmla="*/ 5210 h 5865"/>
              <a:gd name="T94" fmla="*/ 3894 w 4973"/>
              <a:gd name="T95" fmla="*/ 5294 h 5865"/>
              <a:gd name="T96" fmla="*/ 3751 w 4973"/>
              <a:gd name="T97" fmla="*/ 5644 h 5865"/>
              <a:gd name="T98" fmla="*/ 3926 w 4973"/>
              <a:gd name="T99" fmla="*/ 5586 h 5865"/>
              <a:gd name="T100" fmla="*/ 4212 w 4973"/>
              <a:gd name="T101" fmla="*/ 5447 h 5865"/>
              <a:gd name="T102" fmla="*/ 4257 w 4973"/>
              <a:gd name="T103" fmla="*/ 5812 h 5865"/>
              <a:gd name="T104" fmla="*/ 4352 w 4973"/>
              <a:gd name="T105" fmla="*/ 5675 h 5865"/>
              <a:gd name="T106" fmla="*/ 4557 w 4973"/>
              <a:gd name="T107" fmla="*/ 5328 h 5865"/>
              <a:gd name="T108" fmla="*/ 4736 w 4973"/>
              <a:gd name="T109" fmla="*/ 5505 h 5865"/>
              <a:gd name="T110" fmla="*/ 4753 w 4973"/>
              <a:gd name="T111" fmla="*/ 5108 h 5865"/>
              <a:gd name="T112" fmla="*/ 4693 w 4973"/>
              <a:gd name="T113" fmla="*/ 4810 h 5865"/>
              <a:gd name="T114" fmla="*/ 4677 w 4973"/>
              <a:gd name="T115" fmla="*/ 4437 h 5865"/>
              <a:gd name="T116" fmla="*/ 4640 w 4973"/>
              <a:gd name="T117" fmla="*/ 4108 h 5865"/>
              <a:gd name="T118" fmla="*/ 4297 w 4973"/>
              <a:gd name="T119" fmla="*/ 3793 h 5865"/>
              <a:gd name="T120" fmla="*/ 4267 w 4973"/>
              <a:gd name="T121" fmla="*/ 3366 h 5865"/>
              <a:gd name="T122" fmla="*/ 4428 w 4973"/>
              <a:gd name="T123" fmla="*/ 2994 h 5865"/>
              <a:gd name="T124" fmla="*/ 4923 w 4973"/>
              <a:gd name="T125" fmla="*/ 2543 h 5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973" h="5865">
                <a:moveTo>
                  <a:pt x="4842" y="2253"/>
                </a:moveTo>
                <a:lnTo>
                  <a:pt x="4842" y="2253"/>
                </a:lnTo>
                <a:lnTo>
                  <a:pt x="4862" y="2257"/>
                </a:lnTo>
                <a:lnTo>
                  <a:pt x="4881" y="2259"/>
                </a:lnTo>
                <a:lnTo>
                  <a:pt x="4900" y="2260"/>
                </a:lnTo>
                <a:lnTo>
                  <a:pt x="4916" y="2259"/>
                </a:lnTo>
                <a:lnTo>
                  <a:pt x="4932" y="2257"/>
                </a:lnTo>
                <a:lnTo>
                  <a:pt x="4946" y="2254"/>
                </a:lnTo>
                <a:lnTo>
                  <a:pt x="4958" y="2249"/>
                </a:lnTo>
                <a:lnTo>
                  <a:pt x="4969" y="2243"/>
                </a:lnTo>
                <a:lnTo>
                  <a:pt x="4969" y="2243"/>
                </a:lnTo>
                <a:lnTo>
                  <a:pt x="4967" y="2217"/>
                </a:lnTo>
                <a:lnTo>
                  <a:pt x="4960" y="2157"/>
                </a:lnTo>
                <a:lnTo>
                  <a:pt x="4951" y="2084"/>
                </a:lnTo>
                <a:lnTo>
                  <a:pt x="4946" y="2052"/>
                </a:lnTo>
                <a:lnTo>
                  <a:pt x="4940" y="2024"/>
                </a:lnTo>
                <a:lnTo>
                  <a:pt x="4940" y="2024"/>
                </a:lnTo>
                <a:lnTo>
                  <a:pt x="4922" y="2027"/>
                </a:lnTo>
                <a:lnTo>
                  <a:pt x="4902" y="2030"/>
                </a:lnTo>
                <a:lnTo>
                  <a:pt x="4891" y="2030"/>
                </a:lnTo>
                <a:lnTo>
                  <a:pt x="4879" y="2030"/>
                </a:lnTo>
                <a:lnTo>
                  <a:pt x="4867" y="2029"/>
                </a:lnTo>
                <a:lnTo>
                  <a:pt x="4855" y="2027"/>
                </a:lnTo>
                <a:lnTo>
                  <a:pt x="4843" y="2024"/>
                </a:lnTo>
                <a:lnTo>
                  <a:pt x="4830" y="2020"/>
                </a:lnTo>
                <a:lnTo>
                  <a:pt x="4818" y="2015"/>
                </a:lnTo>
                <a:lnTo>
                  <a:pt x="4806" y="2008"/>
                </a:lnTo>
                <a:lnTo>
                  <a:pt x="4794" y="1998"/>
                </a:lnTo>
                <a:lnTo>
                  <a:pt x="4782" y="1988"/>
                </a:lnTo>
                <a:lnTo>
                  <a:pt x="4771" y="1976"/>
                </a:lnTo>
                <a:lnTo>
                  <a:pt x="4761" y="1962"/>
                </a:lnTo>
                <a:lnTo>
                  <a:pt x="4761" y="1962"/>
                </a:lnTo>
                <a:lnTo>
                  <a:pt x="4743" y="1933"/>
                </a:lnTo>
                <a:lnTo>
                  <a:pt x="4724" y="1905"/>
                </a:lnTo>
                <a:lnTo>
                  <a:pt x="4724" y="1905"/>
                </a:lnTo>
                <a:lnTo>
                  <a:pt x="4703" y="1877"/>
                </a:lnTo>
                <a:lnTo>
                  <a:pt x="4680" y="1849"/>
                </a:lnTo>
                <a:lnTo>
                  <a:pt x="4658" y="1823"/>
                </a:lnTo>
                <a:lnTo>
                  <a:pt x="4634" y="1797"/>
                </a:lnTo>
                <a:lnTo>
                  <a:pt x="4611" y="1773"/>
                </a:lnTo>
                <a:lnTo>
                  <a:pt x="4586" y="1750"/>
                </a:lnTo>
                <a:lnTo>
                  <a:pt x="4562" y="1727"/>
                </a:lnTo>
                <a:lnTo>
                  <a:pt x="4538" y="1707"/>
                </a:lnTo>
                <a:lnTo>
                  <a:pt x="4513" y="1687"/>
                </a:lnTo>
                <a:lnTo>
                  <a:pt x="4489" y="1667"/>
                </a:lnTo>
                <a:lnTo>
                  <a:pt x="4463" y="1649"/>
                </a:lnTo>
                <a:lnTo>
                  <a:pt x="4439" y="1630"/>
                </a:lnTo>
                <a:lnTo>
                  <a:pt x="4413" y="1614"/>
                </a:lnTo>
                <a:lnTo>
                  <a:pt x="4389" y="1598"/>
                </a:lnTo>
                <a:lnTo>
                  <a:pt x="4337" y="1566"/>
                </a:lnTo>
                <a:lnTo>
                  <a:pt x="4337" y="1566"/>
                </a:lnTo>
                <a:lnTo>
                  <a:pt x="4381" y="1543"/>
                </a:lnTo>
                <a:lnTo>
                  <a:pt x="4422" y="1521"/>
                </a:lnTo>
                <a:lnTo>
                  <a:pt x="4459" y="1498"/>
                </a:lnTo>
                <a:lnTo>
                  <a:pt x="4492" y="1477"/>
                </a:lnTo>
                <a:lnTo>
                  <a:pt x="4523" y="1455"/>
                </a:lnTo>
                <a:lnTo>
                  <a:pt x="4549" y="1434"/>
                </a:lnTo>
                <a:lnTo>
                  <a:pt x="4574" y="1414"/>
                </a:lnTo>
                <a:lnTo>
                  <a:pt x="4595" y="1393"/>
                </a:lnTo>
                <a:lnTo>
                  <a:pt x="4615" y="1374"/>
                </a:lnTo>
                <a:lnTo>
                  <a:pt x="4632" y="1355"/>
                </a:lnTo>
                <a:lnTo>
                  <a:pt x="4647" y="1337"/>
                </a:lnTo>
                <a:lnTo>
                  <a:pt x="4661" y="1319"/>
                </a:lnTo>
                <a:lnTo>
                  <a:pt x="4673" y="1303"/>
                </a:lnTo>
                <a:lnTo>
                  <a:pt x="4683" y="1288"/>
                </a:lnTo>
                <a:lnTo>
                  <a:pt x="4700" y="1260"/>
                </a:lnTo>
                <a:lnTo>
                  <a:pt x="4700" y="1260"/>
                </a:lnTo>
                <a:lnTo>
                  <a:pt x="4708" y="1248"/>
                </a:lnTo>
                <a:lnTo>
                  <a:pt x="4714" y="1234"/>
                </a:lnTo>
                <a:lnTo>
                  <a:pt x="4721" y="1218"/>
                </a:lnTo>
                <a:lnTo>
                  <a:pt x="4727" y="1202"/>
                </a:lnTo>
                <a:lnTo>
                  <a:pt x="4733" y="1183"/>
                </a:lnTo>
                <a:lnTo>
                  <a:pt x="4739" y="1164"/>
                </a:lnTo>
                <a:lnTo>
                  <a:pt x="4743" y="1144"/>
                </a:lnTo>
                <a:lnTo>
                  <a:pt x="4749" y="1123"/>
                </a:lnTo>
                <a:lnTo>
                  <a:pt x="4753" y="1101"/>
                </a:lnTo>
                <a:lnTo>
                  <a:pt x="4756" y="1078"/>
                </a:lnTo>
                <a:lnTo>
                  <a:pt x="4758" y="1054"/>
                </a:lnTo>
                <a:lnTo>
                  <a:pt x="4759" y="1030"/>
                </a:lnTo>
                <a:lnTo>
                  <a:pt x="4760" y="1005"/>
                </a:lnTo>
                <a:lnTo>
                  <a:pt x="4759" y="980"/>
                </a:lnTo>
                <a:lnTo>
                  <a:pt x="4758" y="954"/>
                </a:lnTo>
                <a:lnTo>
                  <a:pt x="4755" y="928"/>
                </a:lnTo>
                <a:lnTo>
                  <a:pt x="4751" y="902"/>
                </a:lnTo>
                <a:lnTo>
                  <a:pt x="4745" y="876"/>
                </a:lnTo>
                <a:lnTo>
                  <a:pt x="4738" y="849"/>
                </a:lnTo>
                <a:lnTo>
                  <a:pt x="4730" y="824"/>
                </a:lnTo>
                <a:lnTo>
                  <a:pt x="4720" y="797"/>
                </a:lnTo>
                <a:lnTo>
                  <a:pt x="4709" y="771"/>
                </a:lnTo>
                <a:lnTo>
                  <a:pt x="4695" y="746"/>
                </a:lnTo>
                <a:lnTo>
                  <a:pt x="4681" y="721"/>
                </a:lnTo>
                <a:lnTo>
                  <a:pt x="4665" y="697"/>
                </a:lnTo>
                <a:lnTo>
                  <a:pt x="4646" y="672"/>
                </a:lnTo>
                <a:lnTo>
                  <a:pt x="4625" y="649"/>
                </a:lnTo>
                <a:lnTo>
                  <a:pt x="4602" y="626"/>
                </a:lnTo>
                <a:lnTo>
                  <a:pt x="4578" y="605"/>
                </a:lnTo>
                <a:lnTo>
                  <a:pt x="4551" y="584"/>
                </a:lnTo>
                <a:lnTo>
                  <a:pt x="4522" y="565"/>
                </a:lnTo>
                <a:lnTo>
                  <a:pt x="4490" y="545"/>
                </a:lnTo>
                <a:lnTo>
                  <a:pt x="4490" y="545"/>
                </a:lnTo>
                <a:lnTo>
                  <a:pt x="4466" y="533"/>
                </a:lnTo>
                <a:lnTo>
                  <a:pt x="4443" y="522"/>
                </a:lnTo>
                <a:lnTo>
                  <a:pt x="4419" y="512"/>
                </a:lnTo>
                <a:lnTo>
                  <a:pt x="4396" y="503"/>
                </a:lnTo>
                <a:lnTo>
                  <a:pt x="4372" y="494"/>
                </a:lnTo>
                <a:lnTo>
                  <a:pt x="4348" y="487"/>
                </a:lnTo>
                <a:lnTo>
                  <a:pt x="4325" y="481"/>
                </a:lnTo>
                <a:lnTo>
                  <a:pt x="4302" y="476"/>
                </a:lnTo>
                <a:lnTo>
                  <a:pt x="4278" y="471"/>
                </a:lnTo>
                <a:lnTo>
                  <a:pt x="4256" y="468"/>
                </a:lnTo>
                <a:lnTo>
                  <a:pt x="4233" y="465"/>
                </a:lnTo>
                <a:lnTo>
                  <a:pt x="4211" y="463"/>
                </a:lnTo>
                <a:lnTo>
                  <a:pt x="4188" y="461"/>
                </a:lnTo>
                <a:lnTo>
                  <a:pt x="4167" y="461"/>
                </a:lnTo>
                <a:lnTo>
                  <a:pt x="4145" y="461"/>
                </a:lnTo>
                <a:lnTo>
                  <a:pt x="4124" y="461"/>
                </a:lnTo>
                <a:lnTo>
                  <a:pt x="4083" y="464"/>
                </a:lnTo>
                <a:lnTo>
                  <a:pt x="4044" y="468"/>
                </a:lnTo>
                <a:lnTo>
                  <a:pt x="4007" y="474"/>
                </a:lnTo>
                <a:lnTo>
                  <a:pt x="3973" y="482"/>
                </a:lnTo>
                <a:lnTo>
                  <a:pt x="3941" y="490"/>
                </a:lnTo>
                <a:lnTo>
                  <a:pt x="3912" y="499"/>
                </a:lnTo>
                <a:lnTo>
                  <a:pt x="3887" y="510"/>
                </a:lnTo>
                <a:lnTo>
                  <a:pt x="3864" y="519"/>
                </a:lnTo>
                <a:lnTo>
                  <a:pt x="3864" y="519"/>
                </a:lnTo>
                <a:lnTo>
                  <a:pt x="3844" y="529"/>
                </a:lnTo>
                <a:lnTo>
                  <a:pt x="3824" y="539"/>
                </a:lnTo>
                <a:lnTo>
                  <a:pt x="3806" y="551"/>
                </a:lnTo>
                <a:lnTo>
                  <a:pt x="3787" y="562"/>
                </a:lnTo>
                <a:lnTo>
                  <a:pt x="3769" y="575"/>
                </a:lnTo>
                <a:lnTo>
                  <a:pt x="3752" y="587"/>
                </a:lnTo>
                <a:lnTo>
                  <a:pt x="3735" y="602"/>
                </a:lnTo>
                <a:lnTo>
                  <a:pt x="3719" y="616"/>
                </a:lnTo>
                <a:lnTo>
                  <a:pt x="3703" y="631"/>
                </a:lnTo>
                <a:lnTo>
                  <a:pt x="3687" y="647"/>
                </a:lnTo>
                <a:lnTo>
                  <a:pt x="3673" y="663"/>
                </a:lnTo>
                <a:lnTo>
                  <a:pt x="3659" y="679"/>
                </a:lnTo>
                <a:lnTo>
                  <a:pt x="3645" y="697"/>
                </a:lnTo>
                <a:lnTo>
                  <a:pt x="3633" y="715"/>
                </a:lnTo>
                <a:lnTo>
                  <a:pt x="3621" y="734"/>
                </a:lnTo>
                <a:lnTo>
                  <a:pt x="3609" y="753"/>
                </a:lnTo>
                <a:lnTo>
                  <a:pt x="3599" y="772"/>
                </a:lnTo>
                <a:lnTo>
                  <a:pt x="3589" y="793"/>
                </a:lnTo>
                <a:lnTo>
                  <a:pt x="3581" y="813"/>
                </a:lnTo>
                <a:lnTo>
                  <a:pt x="3573" y="835"/>
                </a:lnTo>
                <a:lnTo>
                  <a:pt x="3565" y="856"/>
                </a:lnTo>
                <a:lnTo>
                  <a:pt x="3559" y="879"/>
                </a:lnTo>
                <a:lnTo>
                  <a:pt x="3554" y="901"/>
                </a:lnTo>
                <a:lnTo>
                  <a:pt x="3550" y="924"/>
                </a:lnTo>
                <a:lnTo>
                  <a:pt x="3547" y="947"/>
                </a:lnTo>
                <a:lnTo>
                  <a:pt x="3545" y="972"/>
                </a:lnTo>
                <a:lnTo>
                  <a:pt x="3544" y="996"/>
                </a:lnTo>
                <a:lnTo>
                  <a:pt x="3543" y="1021"/>
                </a:lnTo>
                <a:lnTo>
                  <a:pt x="3544" y="1046"/>
                </a:lnTo>
                <a:lnTo>
                  <a:pt x="3546" y="1072"/>
                </a:lnTo>
                <a:lnTo>
                  <a:pt x="3550" y="1098"/>
                </a:lnTo>
                <a:lnTo>
                  <a:pt x="3554" y="1124"/>
                </a:lnTo>
                <a:lnTo>
                  <a:pt x="3554" y="1124"/>
                </a:lnTo>
                <a:lnTo>
                  <a:pt x="3559" y="1148"/>
                </a:lnTo>
                <a:lnTo>
                  <a:pt x="3564" y="1169"/>
                </a:lnTo>
                <a:lnTo>
                  <a:pt x="3571" y="1191"/>
                </a:lnTo>
                <a:lnTo>
                  <a:pt x="3577" y="1211"/>
                </a:lnTo>
                <a:lnTo>
                  <a:pt x="3585" y="1231"/>
                </a:lnTo>
                <a:lnTo>
                  <a:pt x="3592" y="1249"/>
                </a:lnTo>
                <a:lnTo>
                  <a:pt x="3601" y="1267"/>
                </a:lnTo>
                <a:lnTo>
                  <a:pt x="3610" y="1285"/>
                </a:lnTo>
                <a:lnTo>
                  <a:pt x="3620" y="1301"/>
                </a:lnTo>
                <a:lnTo>
                  <a:pt x="3631" y="1316"/>
                </a:lnTo>
                <a:lnTo>
                  <a:pt x="3641" y="1332"/>
                </a:lnTo>
                <a:lnTo>
                  <a:pt x="3652" y="1347"/>
                </a:lnTo>
                <a:lnTo>
                  <a:pt x="3665" y="1361"/>
                </a:lnTo>
                <a:lnTo>
                  <a:pt x="3677" y="1375"/>
                </a:lnTo>
                <a:lnTo>
                  <a:pt x="3690" y="1388"/>
                </a:lnTo>
                <a:lnTo>
                  <a:pt x="3704" y="1400"/>
                </a:lnTo>
                <a:lnTo>
                  <a:pt x="3732" y="1425"/>
                </a:lnTo>
                <a:lnTo>
                  <a:pt x="3763" y="1447"/>
                </a:lnTo>
                <a:lnTo>
                  <a:pt x="3795" y="1469"/>
                </a:lnTo>
                <a:lnTo>
                  <a:pt x="3828" y="1489"/>
                </a:lnTo>
                <a:lnTo>
                  <a:pt x="3863" y="1510"/>
                </a:lnTo>
                <a:lnTo>
                  <a:pt x="3899" y="1529"/>
                </a:lnTo>
                <a:lnTo>
                  <a:pt x="3976" y="1567"/>
                </a:lnTo>
                <a:lnTo>
                  <a:pt x="3976" y="1567"/>
                </a:lnTo>
                <a:lnTo>
                  <a:pt x="3945" y="1584"/>
                </a:lnTo>
                <a:lnTo>
                  <a:pt x="3916" y="1601"/>
                </a:lnTo>
                <a:lnTo>
                  <a:pt x="3890" y="1618"/>
                </a:lnTo>
                <a:lnTo>
                  <a:pt x="3864" y="1636"/>
                </a:lnTo>
                <a:lnTo>
                  <a:pt x="3840" y="1656"/>
                </a:lnTo>
                <a:lnTo>
                  <a:pt x="3817" y="1675"/>
                </a:lnTo>
                <a:lnTo>
                  <a:pt x="3797" y="1696"/>
                </a:lnTo>
                <a:lnTo>
                  <a:pt x="3778" y="1717"/>
                </a:lnTo>
                <a:lnTo>
                  <a:pt x="3761" y="1741"/>
                </a:lnTo>
                <a:lnTo>
                  <a:pt x="3754" y="1753"/>
                </a:lnTo>
                <a:lnTo>
                  <a:pt x="3746" y="1765"/>
                </a:lnTo>
                <a:lnTo>
                  <a:pt x="3739" y="1778"/>
                </a:lnTo>
                <a:lnTo>
                  <a:pt x="3733" y="1791"/>
                </a:lnTo>
                <a:lnTo>
                  <a:pt x="3728" y="1804"/>
                </a:lnTo>
                <a:lnTo>
                  <a:pt x="3723" y="1818"/>
                </a:lnTo>
                <a:lnTo>
                  <a:pt x="3718" y="1833"/>
                </a:lnTo>
                <a:lnTo>
                  <a:pt x="3714" y="1848"/>
                </a:lnTo>
                <a:lnTo>
                  <a:pt x="3711" y="1863"/>
                </a:lnTo>
                <a:lnTo>
                  <a:pt x="3708" y="1879"/>
                </a:lnTo>
                <a:lnTo>
                  <a:pt x="3706" y="1895"/>
                </a:lnTo>
                <a:lnTo>
                  <a:pt x="3705" y="1912"/>
                </a:lnTo>
                <a:lnTo>
                  <a:pt x="3704" y="1930"/>
                </a:lnTo>
                <a:lnTo>
                  <a:pt x="3703" y="1947"/>
                </a:lnTo>
                <a:lnTo>
                  <a:pt x="3703" y="1947"/>
                </a:lnTo>
                <a:lnTo>
                  <a:pt x="3704" y="1970"/>
                </a:lnTo>
                <a:lnTo>
                  <a:pt x="3707" y="1993"/>
                </a:lnTo>
                <a:lnTo>
                  <a:pt x="3711" y="2016"/>
                </a:lnTo>
                <a:lnTo>
                  <a:pt x="3716" y="2039"/>
                </a:lnTo>
                <a:lnTo>
                  <a:pt x="3729" y="2087"/>
                </a:lnTo>
                <a:lnTo>
                  <a:pt x="3736" y="2113"/>
                </a:lnTo>
                <a:lnTo>
                  <a:pt x="3742" y="2139"/>
                </a:lnTo>
                <a:lnTo>
                  <a:pt x="3749" y="2168"/>
                </a:lnTo>
                <a:lnTo>
                  <a:pt x="3753" y="2197"/>
                </a:lnTo>
                <a:lnTo>
                  <a:pt x="3757" y="2227"/>
                </a:lnTo>
                <a:lnTo>
                  <a:pt x="3758" y="2260"/>
                </a:lnTo>
                <a:lnTo>
                  <a:pt x="3758" y="2295"/>
                </a:lnTo>
                <a:lnTo>
                  <a:pt x="3757" y="2313"/>
                </a:lnTo>
                <a:lnTo>
                  <a:pt x="3755" y="2332"/>
                </a:lnTo>
                <a:lnTo>
                  <a:pt x="3753" y="2350"/>
                </a:lnTo>
                <a:lnTo>
                  <a:pt x="3750" y="2371"/>
                </a:lnTo>
                <a:lnTo>
                  <a:pt x="3745" y="2391"/>
                </a:lnTo>
                <a:lnTo>
                  <a:pt x="3741" y="2411"/>
                </a:lnTo>
                <a:lnTo>
                  <a:pt x="3741" y="2411"/>
                </a:lnTo>
                <a:lnTo>
                  <a:pt x="3741" y="2413"/>
                </a:lnTo>
                <a:lnTo>
                  <a:pt x="3741" y="2414"/>
                </a:lnTo>
                <a:lnTo>
                  <a:pt x="3743" y="2414"/>
                </a:lnTo>
                <a:lnTo>
                  <a:pt x="3745" y="2416"/>
                </a:lnTo>
                <a:lnTo>
                  <a:pt x="3753" y="2413"/>
                </a:lnTo>
                <a:lnTo>
                  <a:pt x="3762" y="2411"/>
                </a:lnTo>
                <a:lnTo>
                  <a:pt x="3785" y="2401"/>
                </a:lnTo>
                <a:lnTo>
                  <a:pt x="3814" y="2389"/>
                </a:lnTo>
                <a:lnTo>
                  <a:pt x="3842" y="2374"/>
                </a:lnTo>
                <a:lnTo>
                  <a:pt x="3867" y="2360"/>
                </a:lnTo>
                <a:lnTo>
                  <a:pt x="3886" y="2349"/>
                </a:lnTo>
                <a:lnTo>
                  <a:pt x="3891" y="2345"/>
                </a:lnTo>
                <a:lnTo>
                  <a:pt x="3894" y="2343"/>
                </a:lnTo>
                <a:lnTo>
                  <a:pt x="3894" y="2343"/>
                </a:lnTo>
                <a:lnTo>
                  <a:pt x="3903" y="2319"/>
                </a:lnTo>
                <a:lnTo>
                  <a:pt x="3910" y="2296"/>
                </a:lnTo>
                <a:lnTo>
                  <a:pt x="3916" y="2272"/>
                </a:lnTo>
                <a:lnTo>
                  <a:pt x="3921" y="2248"/>
                </a:lnTo>
                <a:lnTo>
                  <a:pt x="3925" y="2224"/>
                </a:lnTo>
                <a:lnTo>
                  <a:pt x="3928" y="2201"/>
                </a:lnTo>
                <a:lnTo>
                  <a:pt x="3930" y="2178"/>
                </a:lnTo>
                <a:lnTo>
                  <a:pt x="3932" y="2156"/>
                </a:lnTo>
                <a:lnTo>
                  <a:pt x="3932" y="2117"/>
                </a:lnTo>
                <a:lnTo>
                  <a:pt x="3931" y="2086"/>
                </a:lnTo>
                <a:lnTo>
                  <a:pt x="3928" y="2059"/>
                </a:lnTo>
                <a:lnTo>
                  <a:pt x="3928" y="2059"/>
                </a:lnTo>
                <a:lnTo>
                  <a:pt x="3939" y="2068"/>
                </a:lnTo>
                <a:lnTo>
                  <a:pt x="3947" y="2079"/>
                </a:lnTo>
                <a:lnTo>
                  <a:pt x="3954" y="2091"/>
                </a:lnTo>
                <a:lnTo>
                  <a:pt x="3960" y="2105"/>
                </a:lnTo>
                <a:lnTo>
                  <a:pt x="3964" y="2120"/>
                </a:lnTo>
                <a:lnTo>
                  <a:pt x="3968" y="2135"/>
                </a:lnTo>
                <a:lnTo>
                  <a:pt x="3971" y="2152"/>
                </a:lnTo>
                <a:lnTo>
                  <a:pt x="3973" y="2168"/>
                </a:lnTo>
                <a:lnTo>
                  <a:pt x="3975" y="2185"/>
                </a:lnTo>
                <a:lnTo>
                  <a:pt x="3976" y="2203"/>
                </a:lnTo>
                <a:lnTo>
                  <a:pt x="3976" y="2219"/>
                </a:lnTo>
                <a:lnTo>
                  <a:pt x="3975" y="2237"/>
                </a:lnTo>
                <a:lnTo>
                  <a:pt x="3971" y="2268"/>
                </a:lnTo>
                <a:lnTo>
                  <a:pt x="3965" y="2297"/>
                </a:lnTo>
                <a:lnTo>
                  <a:pt x="3965" y="2297"/>
                </a:lnTo>
                <a:lnTo>
                  <a:pt x="3982" y="2288"/>
                </a:lnTo>
                <a:lnTo>
                  <a:pt x="3998" y="2276"/>
                </a:lnTo>
                <a:lnTo>
                  <a:pt x="4016" y="2263"/>
                </a:lnTo>
                <a:lnTo>
                  <a:pt x="4036" y="2249"/>
                </a:lnTo>
                <a:lnTo>
                  <a:pt x="4053" y="2234"/>
                </a:lnTo>
                <a:lnTo>
                  <a:pt x="4061" y="2226"/>
                </a:lnTo>
                <a:lnTo>
                  <a:pt x="4068" y="2219"/>
                </a:lnTo>
                <a:lnTo>
                  <a:pt x="4072" y="2212"/>
                </a:lnTo>
                <a:lnTo>
                  <a:pt x="4075" y="2206"/>
                </a:lnTo>
                <a:lnTo>
                  <a:pt x="4075" y="2206"/>
                </a:lnTo>
                <a:lnTo>
                  <a:pt x="4083" y="2176"/>
                </a:lnTo>
                <a:lnTo>
                  <a:pt x="4090" y="2148"/>
                </a:lnTo>
                <a:lnTo>
                  <a:pt x="4094" y="2121"/>
                </a:lnTo>
                <a:lnTo>
                  <a:pt x="4096" y="2095"/>
                </a:lnTo>
                <a:lnTo>
                  <a:pt x="4096" y="2071"/>
                </a:lnTo>
                <a:lnTo>
                  <a:pt x="4095" y="2047"/>
                </a:lnTo>
                <a:lnTo>
                  <a:pt x="4093" y="2025"/>
                </a:lnTo>
                <a:lnTo>
                  <a:pt x="4090" y="2003"/>
                </a:lnTo>
                <a:lnTo>
                  <a:pt x="4085" y="1983"/>
                </a:lnTo>
                <a:lnTo>
                  <a:pt x="4080" y="1964"/>
                </a:lnTo>
                <a:lnTo>
                  <a:pt x="4075" y="1945"/>
                </a:lnTo>
                <a:lnTo>
                  <a:pt x="4069" y="1928"/>
                </a:lnTo>
                <a:lnTo>
                  <a:pt x="4055" y="1894"/>
                </a:lnTo>
                <a:lnTo>
                  <a:pt x="4043" y="1862"/>
                </a:lnTo>
                <a:lnTo>
                  <a:pt x="4043" y="1862"/>
                </a:lnTo>
                <a:lnTo>
                  <a:pt x="4038" y="1847"/>
                </a:lnTo>
                <a:lnTo>
                  <a:pt x="4035" y="1832"/>
                </a:lnTo>
                <a:lnTo>
                  <a:pt x="4034" y="1817"/>
                </a:lnTo>
                <a:lnTo>
                  <a:pt x="4035" y="1802"/>
                </a:lnTo>
                <a:lnTo>
                  <a:pt x="4037" y="1788"/>
                </a:lnTo>
                <a:lnTo>
                  <a:pt x="4041" y="1773"/>
                </a:lnTo>
                <a:lnTo>
                  <a:pt x="4046" y="1759"/>
                </a:lnTo>
                <a:lnTo>
                  <a:pt x="4053" y="1746"/>
                </a:lnTo>
                <a:lnTo>
                  <a:pt x="4061" y="1733"/>
                </a:lnTo>
                <a:lnTo>
                  <a:pt x="4071" y="1719"/>
                </a:lnTo>
                <a:lnTo>
                  <a:pt x="4081" y="1707"/>
                </a:lnTo>
                <a:lnTo>
                  <a:pt x="4092" y="1696"/>
                </a:lnTo>
                <a:lnTo>
                  <a:pt x="4103" y="1684"/>
                </a:lnTo>
                <a:lnTo>
                  <a:pt x="4117" y="1673"/>
                </a:lnTo>
                <a:lnTo>
                  <a:pt x="4130" y="1664"/>
                </a:lnTo>
                <a:lnTo>
                  <a:pt x="4145" y="1655"/>
                </a:lnTo>
                <a:lnTo>
                  <a:pt x="4145" y="1655"/>
                </a:lnTo>
                <a:lnTo>
                  <a:pt x="4180" y="1674"/>
                </a:lnTo>
                <a:lnTo>
                  <a:pt x="4215" y="1695"/>
                </a:lnTo>
                <a:lnTo>
                  <a:pt x="4251" y="1716"/>
                </a:lnTo>
                <a:lnTo>
                  <a:pt x="4286" y="1740"/>
                </a:lnTo>
                <a:lnTo>
                  <a:pt x="4286" y="1740"/>
                </a:lnTo>
                <a:lnTo>
                  <a:pt x="4307" y="1754"/>
                </a:lnTo>
                <a:lnTo>
                  <a:pt x="4341" y="1779"/>
                </a:lnTo>
                <a:lnTo>
                  <a:pt x="4361" y="1794"/>
                </a:lnTo>
                <a:lnTo>
                  <a:pt x="4382" y="1812"/>
                </a:lnTo>
                <a:lnTo>
                  <a:pt x="4405" y="1832"/>
                </a:lnTo>
                <a:lnTo>
                  <a:pt x="4430" y="1853"/>
                </a:lnTo>
                <a:lnTo>
                  <a:pt x="4453" y="1877"/>
                </a:lnTo>
                <a:lnTo>
                  <a:pt x="4478" y="1901"/>
                </a:lnTo>
                <a:lnTo>
                  <a:pt x="4501" y="1928"/>
                </a:lnTo>
                <a:lnTo>
                  <a:pt x="4524" y="1956"/>
                </a:lnTo>
                <a:lnTo>
                  <a:pt x="4545" y="1985"/>
                </a:lnTo>
                <a:lnTo>
                  <a:pt x="4564" y="2016"/>
                </a:lnTo>
                <a:lnTo>
                  <a:pt x="4574" y="2031"/>
                </a:lnTo>
                <a:lnTo>
                  <a:pt x="4582" y="2047"/>
                </a:lnTo>
                <a:lnTo>
                  <a:pt x="4590" y="2064"/>
                </a:lnTo>
                <a:lnTo>
                  <a:pt x="4596" y="2080"/>
                </a:lnTo>
                <a:lnTo>
                  <a:pt x="4596" y="2080"/>
                </a:lnTo>
                <a:lnTo>
                  <a:pt x="4606" y="2106"/>
                </a:lnTo>
                <a:lnTo>
                  <a:pt x="4616" y="2130"/>
                </a:lnTo>
                <a:lnTo>
                  <a:pt x="4624" y="2155"/>
                </a:lnTo>
                <a:lnTo>
                  <a:pt x="4630" y="2178"/>
                </a:lnTo>
                <a:lnTo>
                  <a:pt x="4636" y="2202"/>
                </a:lnTo>
                <a:lnTo>
                  <a:pt x="4641" y="2224"/>
                </a:lnTo>
                <a:lnTo>
                  <a:pt x="4645" y="2246"/>
                </a:lnTo>
                <a:lnTo>
                  <a:pt x="4649" y="2266"/>
                </a:lnTo>
                <a:lnTo>
                  <a:pt x="4651" y="2287"/>
                </a:lnTo>
                <a:lnTo>
                  <a:pt x="4653" y="2306"/>
                </a:lnTo>
                <a:lnTo>
                  <a:pt x="4654" y="2325"/>
                </a:lnTo>
                <a:lnTo>
                  <a:pt x="4655" y="2343"/>
                </a:lnTo>
                <a:lnTo>
                  <a:pt x="4654" y="2377"/>
                </a:lnTo>
                <a:lnTo>
                  <a:pt x="4652" y="2408"/>
                </a:lnTo>
                <a:lnTo>
                  <a:pt x="4648" y="2437"/>
                </a:lnTo>
                <a:lnTo>
                  <a:pt x="4642" y="2464"/>
                </a:lnTo>
                <a:lnTo>
                  <a:pt x="4635" y="2487"/>
                </a:lnTo>
                <a:lnTo>
                  <a:pt x="4628" y="2509"/>
                </a:lnTo>
                <a:lnTo>
                  <a:pt x="4620" y="2527"/>
                </a:lnTo>
                <a:lnTo>
                  <a:pt x="4612" y="2544"/>
                </a:lnTo>
                <a:lnTo>
                  <a:pt x="4603" y="2559"/>
                </a:lnTo>
                <a:lnTo>
                  <a:pt x="4596" y="2570"/>
                </a:lnTo>
                <a:lnTo>
                  <a:pt x="4596" y="2570"/>
                </a:lnTo>
                <a:lnTo>
                  <a:pt x="4582" y="2590"/>
                </a:lnTo>
                <a:lnTo>
                  <a:pt x="4568" y="2611"/>
                </a:lnTo>
                <a:lnTo>
                  <a:pt x="4553" y="2629"/>
                </a:lnTo>
                <a:lnTo>
                  <a:pt x="4538" y="2648"/>
                </a:lnTo>
                <a:lnTo>
                  <a:pt x="4522" y="2665"/>
                </a:lnTo>
                <a:lnTo>
                  <a:pt x="4505" y="2681"/>
                </a:lnTo>
                <a:lnTo>
                  <a:pt x="4487" y="2697"/>
                </a:lnTo>
                <a:lnTo>
                  <a:pt x="4469" y="2711"/>
                </a:lnTo>
                <a:lnTo>
                  <a:pt x="4450" y="2724"/>
                </a:lnTo>
                <a:lnTo>
                  <a:pt x="4430" y="2736"/>
                </a:lnTo>
                <a:lnTo>
                  <a:pt x="4409" y="2747"/>
                </a:lnTo>
                <a:lnTo>
                  <a:pt x="4388" y="2756"/>
                </a:lnTo>
                <a:lnTo>
                  <a:pt x="4364" y="2764"/>
                </a:lnTo>
                <a:lnTo>
                  <a:pt x="4341" y="2771"/>
                </a:lnTo>
                <a:lnTo>
                  <a:pt x="4316" y="2776"/>
                </a:lnTo>
                <a:lnTo>
                  <a:pt x="4290" y="2779"/>
                </a:lnTo>
                <a:lnTo>
                  <a:pt x="4290" y="2779"/>
                </a:lnTo>
                <a:lnTo>
                  <a:pt x="4283" y="2778"/>
                </a:lnTo>
                <a:lnTo>
                  <a:pt x="4275" y="2778"/>
                </a:lnTo>
                <a:lnTo>
                  <a:pt x="4275" y="2778"/>
                </a:lnTo>
                <a:lnTo>
                  <a:pt x="4242" y="2779"/>
                </a:lnTo>
                <a:lnTo>
                  <a:pt x="4213" y="2779"/>
                </a:lnTo>
                <a:lnTo>
                  <a:pt x="4185" y="2778"/>
                </a:lnTo>
                <a:lnTo>
                  <a:pt x="4159" y="2775"/>
                </a:lnTo>
                <a:lnTo>
                  <a:pt x="4159" y="2775"/>
                </a:lnTo>
                <a:lnTo>
                  <a:pt x="4131" y="2770"/>
                </a:lnTo>
                <a:lnTo>
                  <a:pt x="4103" y="2765"/>
                </a:lnTo>
                <a:lnTo>
                  <a:pt x="4077" y="2758"/>
                </a:lnTo>
                <a:lnTo>
                  <a:pt x="4052" y="2751"/>
                </a:lnTo>
                <a:lnTo>
                  <a:pt x="4052" y="2751"/>
                </a:lnTo>
                <a:lnTo>
                  <a:pt x="4009" y="2736"/>
                </a:lnTo>
                <a:lnTo>
                  <a:pt x="3965" y="2717"/>
                </a:lnTo>
                <a:lnTo>
                  <a:pt x="3965" y="2717"/>
                </a:lnTo>
                <a:lnTo>
                  <a:pt x="3925" y="2697"/>
                </a:lnTo>
                <a:lnTo>
                  <a:pt x="3874" y="2669"/>
                </a:lnTo>
                <a:lnTo>
                  <a:pt x="3846" y="2652"/>
                </a:lnTo>
                <a:lnTo>
                  <a:pt x="3815" y="2632"/>
                </a:lnTo>
                <a:lnTo>
                  <a:pt x="3782" y="2612"/>
                </a:lnTo>
                <a:lnTo>
                  <a:pt x="3748" y="2588"/>
                </a:lnTo>
                <a:lnTo>
                  <a:pt x="3712" y="2564"/>
                </a:lnTo>
                <a:lnTo>
                  <a:pt x="3676" y="2536"/>
                </a:lnTo>
                <a:lnTo>
                  <a:pt x="3638" y="2508"/>
                </a:lnTo>
                <a:lnTo>
                  <a:pt x="3601" y="2477"/>
                </a:lnTo>
                <a:lnTo>
                  <a:pt x="3563" y="2444"/>
                </a:lnTo>
                <a:lnTo>
                  <a:pt x="3526" y="2409"/>
                </a:lnTo>
                <a:lnTo>
                  <a:pt x="3488" y="2373"/>
                </a:lnTo>
                <a:lnTo>
                  <a:pt x="3451" y="2335"/>
                </a:lnTo>
                <a:lnTo>
                  <a:pt x="3451" y="2335"/>
                </a:lnTo>
                <a:lnTo>
                  <a:pt x="3394" y="2271"/>
                </a:lnTo>
                <a:lnTo>
                  <a:pt x="3342" y="2212"/>
                </a:lnTo>
                <a:lnTo>
                  <a:pt x="3295" y="2157"/>
                </a:lnTo>
                <a:lnTo>
                  <a:pt x="3253" y="2107"/>
                </a:lnTo>
                <a:lnTo>
                  <a:pt x="3215" y="2060"/>
                </a:lnTo>
                <a:lnTo>
                  <a:pt x="3180" y="2017"/>
                </a:lnTo>
                <a:lnTo>
                  <a:pt x="3120" y="1940"/>
                </a:lnTo>
                <a:lnTo>
                  <a:pt x="3120" y="1940"/>
                </a:lnTo>
                <a:lnTo>
                  <a:pt x="3138" y="1947"/>
                </a:lnTo>
                <a:lnTo>
                  <a:pt x="3156" y="1953"/>
                </a:lnTo>
                <a:lnTo>
                  <a:pt x="3175" y="1958"/>
                </a:lnTo>
                <a:lnTo>
                  <a:pt x="3193" y="1963"/>
                </a:lnTo>
                <a:lnTo>
                  <a:pt x="3211" y="1966"/>
                </a:lnTo>
                <a:lnTo>
                  <a:pt x="3229" y="1968"/>
                </a:lnTo>
                <a:lnTo>
                  <a:pt x="3262" y="1971"/>
                </a:lnTo>
                <a:lnTo>
                  <a:pt x="3289" y="1971"/>
                </a:lnTo>
                <a:lnTo>
                  <a:pt x="3312" y="1970"/>
                </a:lnTo>
                <a:lnTo>
                  <a:pt x="3332" y="1968"/>
                </a:lnTo>
                <a:lnTo>
                  <a:pt x="3332" y="1968"/>
                </a:lnTo>
                <a:lnTo>
                  <a:pt x="3336" y="1918"/>
                </a:lnTo>
                <a:lnTo>
                  <a:pt x="3338" y="1873"/>
                </a:lnTo>
                <a:lnTo>
                  <a:pt x="3340" y="1833"/>
                </a:lnTo>
                <a:lnTo>
                  <a:pt x="3346" y="1698"/>
                </a:lnTo>
                <a:lnTo>
                  <a:pt x="3346" y="1698"/>
                </a:lnTo>
                <a:lnTo>
                  <a:pt x="3349" y="1661"/>
                </a:lnTo>
                <a:lnTo>
                  <a:pt x="3351" y="1626"/>
                </a:lnTo>
                <a:lnTo>
                  <a:pt x="3352" y="1589"/>
                </a:lnTo>
                <a:lnTo>
                  <a:pt x="3352" y="1589"/>
                </a:lnTo>
                <a:lnTo>
                  <a:pt x="3340" y="1588"/>
                </a:lnTo>
                <a:lnTo>
                  <a:pt x="3307" y="1584"/>
                </a:lnTo>
                <a:lnTo>
                  <a:pt x="3285" y="1581"/>
                </a:lnTo>
                <a:lnTo>
                  <a:pt x="3260" y="1576"/>
                </a:lnTo>
                <a:lnTo>
                  <a:pt x="3233" y="1571"/>
                </a:lnTo>
                <a:lnTo>
                  <a:pt x="3206" y="1564"/>
                </a:lnTo>
                <a:lnTo>
                  <a:pt x="3176" y="1555"/>
                </a:lnTo>
                <a:lnTo>
                  <a:pt x="3147" y="1544"/>
                </a:lnTo>
                <a:lnTo>
                  <a:pt x="3120" y="1532"/>
                </a:lnTo>
                <a:lnTo>
                  <a:pt x="3106" y="1526"/>
                </a:lnTo>
                <a:lnTo>
                  <a:pt x="3093" y="1519"/>
                </a:lnTo>
                <a:lnTo>
                  <a:pt x="3081" y="1511"/>
                </a:lnTo>
                <a:lnTo>
                  <a:pt x="3070" y="1502"/>
                </a:lnTo>
                <a:lnTo>
                  <a:pt x="3058" y="1493"/>
                </a:lnTo>
                <a:lnTo>
                  <a:pt x="3049" y="1484"/>
                </a:lnTo>
                <a:lnTo>
                  <a:pt x="3040" y="1474"/>
                </a:lnTo>
                <a:lnTo>
                  <a:pt x="3032" y="1463"/>
                </a:lnTo>
                <a:lnTo>
                  <a:pt x="3025" y="1451"/>
                </a:lnTo>
                <a:lnTo>
                  <a:pt x="3019" y="1439"/>
                </a:lnTo>
                <a:lnTo>
                  <a:pt x="3019" y="1439"/>
                </a:lnTo>
                <a:lnTo>
                  <a:pt x="3030" y="1445"/>
                </a:lnTo>
                <a:lnTo>
                  <a:pt x="3042" y="1450"/>
                </a:lnTo>
                <a:lnTo>
                  <a:pt x="3059" y="1457"/>
                </a:lnTo>
                <a:lnTo>
                  <a:pt x="3081" y="1465"/>
                </a:lnTo>
                <a:lnTo>
                  <a:pt x="3106" y="1472"/>
                </a:lnTo>
                <a:lnTo>
                  <a:pt x="3136" y="1477"/>
                </a:lnTo>
                <a:lnTo>
                  <a:pt x="3152" y="1479"/>
                </a:lnTo>
                <a:lnTo>
                  <a:pt x="3169" y="1480"/>
                </a:lnTo>
                <a:lnTo>
                  <a:pt x="3169" y="1480"/>
                </a:lnTo>
                <a:lnTo>
                  <a:pt x="3201" y="1481"/>
                </a:lnTo>
                <a:lnTo>
                  <a:pt x="3234" y="1481"/>
                </a:lnTo>
                <a:lnTo>
                  <a:pt x="3266" y="1479"/>
                </a:lnTo>
                <a:lnTo>
                  <a:pt x="3295" y="1477"/>
                </a:lnTo>
                <a:lnTo>
                  <a:pt x="3340" y="1471"/>
                </a:lnTo>
                <a:lnTo>
                  <a:pt x="3357" y="1469"/>
                </a:lnTo>
                <a:lnTo>
                  <a:pt x="3357" y="1469"/>
                </a:lnTo>
                <a:lnTo>
                  <a:pt x="3359" y="1463"/>
                </a:lnTo>
                <a:lnTo>
                  <a:pt x="3361" y="1451"/>
                </a:lnTo>
                <a:lnTo>
                  <a:pt x="3364" y="1421"/>
                </a:lnTo>
                <a:lnTo>
                  <a:pt x="3367" y="1381"/>
                </a:lnTo>
                <a:lnTo>
                  <a:pt x="3369" y="1337"/>
                </a:lnTo>
                <a:lnTo>
                  <a:pt x="3373" y="1257"/>
                </a:lnTo>
                <a:lnTo>
                  <a:pt x="3375" y="1222"/>
                </a:lnTo>
                <a:lnTo>
                  <a:pt x="3375" y="1222"/>
                </a:lnTo>
                <a:lnTo>
                  <a:pt x="3376" y="1194"/>
                </a:lnTo>
                <a:lnTo>
                  <a:pt x="3377" y="1154"/>
                </a:lnTo>
                <a:lnTo>
                  <a:pt x="3377" y="1105"/>
                </a:lnTo>
                <a:lnTo>
                  <a:pt x="3377" y="1105"/>
                </a:lnTo>
                <a:lnTo>
                  <a:pt x="3369" y="1107"/>
                </a:lnTo>
                <a:lnTo>
                  <a:pt x="3359" y="1108"/>
                </a:lnTo>
                <a:lnTo>
                  <a:pt x="3338" y="1110"/>
                </a:lnTo>
                <a:lnTo>
                  <a:pt x="3315" y="1109"/>
                </a:lnTo>
                <a:lnTo>
                  <a:pt x="3290" y="1107"/>
                </a:lnTo>
                <a:lnTo>
                  <a:pt x="3264" y="1104"/>
                </a:lnTo>
                <a:lnTo>
                  <a:pt x="3236" y="1100"/>
                </a:lnTo>
                <a:lnTo>
                  <a:pt x="3208" y="1094"/>
                </a:lnTo>
                <a:lnTo>
                  <a:pt x="3178" y="1086"/>
                </a:lnTo>
                <a:lnTo>
                  <a:pt x="3178" y="1086"/>
                </a:lnTo>
                <a:lnTo>
                  <a:pt x="3158" y="1080"/>
                </a:lnTo>
                <a:lnTo>
                  <a:pt x="3135" y="1071"/>
                </a:lnTo>
                <a:lnTo>
                  <a:pt x="3112" y="1059"/>
                </a:lnTo>
                <a:lnTo>
                  <a:pt x="3088" y="1044"/>
                </a:lnTo>
                <a:lnTo>
                  <a:pt x="3064" y="1028"/>
                </a:lnTo>
                <a:lnTo>
                  <a:pt x="3053" y="1019"/>
                </a:lnTo>
                <a:lnTo>
                  <a:pt x="3043" y="1010"/>
                </a:lnTo>
                <a:lnTo>
                  <a:pt x="3034" y="999"/>
                </a:lnTo>
                <a:lnTo>
                  <a:pt x="3025" y="990"/>
                </a:lnTo>
                <a:lnTo>
                  <a:pt x="3017" y="980"/>
                </a:lnTo>
                <a:lnTo>
                  <a:pt x="3010" y="969"/>
                </a:lnTo>
                <a:lnTo>
                  <a:pt x="3010" y="969"/>
                </a:lnTo>
                <a:lnTo>
                  <a:pt x="3022" y="974"/>
                </a:lnTo>
                <a:lnTo>
                  <a:pt x="3035" y="978"/>
                </a:lnTo>
                <a:lnTo>
                  <a:pt x="3052" y="984"/>
                </a:lnTo>
                <a:lnTo>
                  <a:pt x="3075" y="990"/>
                </a:lnTo>
                <a:lnTo>
                  <a:pt x="3101" y="996"/>
                </a:lnTo>
                <a:lnTo>
                  <a:pt x="3132" y="1003"/>
                </a:lnTo>
                <a:lnTo>
                  <a:pt x="3167" y="1008"/>
                </a:lnTo>
                <a:lnTo>
                  <a:pt x="3167" y="1008"/>
                </a:lnTo>
                <a:lnTo>
                  <a:pt x="3187" y="1010"/>
                </a:lnTo>
                <a:lnTo>
                  <a:pt x="3207" y="1011"/>
                </a:lnTo>
                <a:lnTo>
                  <a:pt x="3226" y="1012"/>
                </a:lnTo>
                <a:lnTo>
                  <a:pt x="3245" y="1012"/>
                </a:lnTo>
                <a:lnTo>
                  <a:pt x="3283" y="1010"/>
                </a:lnTo>
                <a:lnTo>
                  <a:pt x="3317" y="1007"/>
                </a:lnTo>
                <a:lnTo>
                  <a:pt x="3346" y="1001"/>
                </a:lnTo>
                <a:lnTo>
                  <a:pt x="3369" y="996"/>
                </a:lnTo>
                <a:lnTo>
                  <a:pt x="3377" y="993"/>
                </a:lnTo>
                <a:lnTo>
                  <a:pt x="3383" y="991"/>
                </a:lnTo>
                <a:lnTo>
                  <a:pt x="3388" y="988"/>
                </a:lnTo>
                <a:lnTo>
                  <a:pt x="3390" y="985"/>
                </a:lnTo>
                <a:lnTo>
                  <a:pt x="3390" y="985"/>
                </a:lnTo>
                <a:lnTo>
                  <a:pt x="3392" y="959"/>
                </a:lnTo>
                <a:lnTo>
                  <a:pt x="3393" y="925"/>
                </a:lnTo>
                <a:lnTo>
                  <a:pt x="3394" y="848"/>
                </a:lnTo>
                <a:lnTo>
                  <a:pt x="3394" y="750"/>
                </a:lnTo>
                <a:lnTo>
                  <a:pt x="3394" y="750"/>
                </a:lnTo>
                <a:lnTo>
                  <a:pt x="3399" y="686"/>
                </a:lnTo>
                <a:lnTo>
                  <a:pt x="3400" y="642"/>
                </a:lnTo>
                <a:lnTo>
                  <a:pt x="3400" y="627"/>
                </a:lnTo>
                <a:lnTo>
                  <a:pt x="3399" y="623"/>
                </a:lnTo>
                <a:lnTo>
                  <a:pt x="3398" y="622"/>
                </a:lnTo>
                <a:lnTo>
                  <a:pt x="3398" y="622"/>
                </a:lnTo>
                <a:lnTo>
                  <a:pt x="3392" y="622"/>
                </a:lnTo>
                <a:lnTo>
                  <a:pt x="3381" y="623"/>
                </a:lnTo>
                <a:lnTo>
                  <a:pt x="3368" y="623"/>
                </a:lnTo>
                <a:lnTo>
                  <a:pt x="3354" y="622"/>
                </a:lnTo>
                <a:lnTo>
                  <a:pt x="3336" y="620"/>
                </a:lnTo>
                <a:lnTo>
                  <a:pt x="3317" y="617"/>
                </a:lnTo>
                <a:lnTo>
                  <a:pt x="3297" y="612"/>
                </a:lnTo>
                <a:lnTo>
                  <a:pt x="3274" y="607"/>
                </a:lnTo>
                <a:lnTo>
                  <a:pt x="3251" y="599"/>
                </a:lnTo>
                <a:lnTo>
                  <a:pt x="3226" y="589"/>
                </a:lnTo>
                <a:lnTo>
                  <a:pt x="3200" y="578"/>
                </a:lnTo>
                <a:lnTo>
                  <a:pt x="3175" y="564"/>
                </a:lnTo>
                <a:lnTo>
                  <a:pt x="3149" y="548"/>
                </a:lnTo>
                <a:lnTo>
                  <a:pt x="3123" y="529"/>
                </a:lnTo>
                <a:lnTo>
                  <a:pt x="3110" y="519"/>
                </a:lnTo>
                <a:lnTo>
                  <a:pt x="3097" y="508"/>
                </a:lnTo>
                <a:lnTo>
                  <a:pt x="3085" y="495"/>
                </a:lnTo>
                <a:lnTo>
                  <a:pt x="3073" y="483"/>
                </a:lnTo>
                <a:lnTo>
                  <a:pt x="3073" y="483"/>
                </a:lnTo>
                <a:lnTo>
                  <a:pt x="3071" y="481"/>
                </a:lnTo>
                <a:lnTo>
                  <a:pt x="3065" y="476"/>
                </a:lnTo>
                <a:lnTo>
                  <a:pt x="3059" y="467"/>
                </a:lnTo>
                <a:lnTo>
                  <a:pt x="3056" y="461"/>
                </a:lnTo>
                <a:lnTo>
                  <a:pt x="3053" y="454"/>
                </a:lnTo>
                <a:lnTo>
                  <a:pt x="3051" y="447"/>
                </a:lnTo>
                <a:lnTo>
                  <a:pt x="3050" y="439"/>
                </a:lnTo>
                <a:lnTo>
                  <a:pt x="3049" y="430"/>
                </a:lnTo>
                <a:lnTo>
                  <a:pt x="3050" y="420"/>
                </a:lnTo>
                <a:lnTo>
                  <a:pt x="3053" y="410"/>
                </a:lnTo>
                <a:lnTo>
                  <a:pt x="3056" y="398"/>
                </a:lnTo>
                <a:lnTo>
                  <a:pt x="3062" y="386"/>
                </a:lnTo>
                <a:lnTo>
                  <a:pt x="3071" y="373"/>
                </a:lnTo>
                <a:lnTo>
                  <a:pt x="3071" y="373"/>
                </a:lnTo>
                <a:lnTo>
                  <a:pt x="2806" y="254"/>
                </a:lnTo>
                <a:lnTo>
                  <a:pt x="2806" y="254"/>
                </a:lnTo>
                <a:lnTo>
                  <a:pt x="2815" y="245"/>
                </a:lnTo>
                <a:lnTo>
                  <a:pt x="2824" y="234"/>
                </a:lnTo>
                <a:lnTo>
                  <a:pt x="2834" y="219"/>
                </a:lnTo>
                <a:lnTo>
                  <a:pt x="2845" y="203"/>
                </a:lnTo>
                <a:lnTo>
                  <a:pt x="2850" y="194"/>
                </a:lnTo>
                <a:lnTo>
                  <a:pt x="2854" y="185"/>
                </a:lnTo>
                <a:lnTo>
                  <a:pt x="2858" y="174"/>
                </a:lnTo>
                <a:lnTo>
                  <a:pt x="2861" y="164"/>
                </a:lnTo>
                <a:lnTo>
                  <a:pt x="2863" y="154"/>
                </a:lnTo>
                <a:lnTo>
                  <a:pt x="2863" y="144"/>
                </a:lnTo>
                <a:lnTo>
                  <a:pt x="2863" y="144"/>
                </a:lnTo>
                <a:lnTo>
                  <a:pt x="2863" y="132"/>
                </a:lnTo>
                <a:lnTo>
                  <a:pt x="2860" y="122"/>
                </a:lnTo>
                <a:lnTo>
                  <a:pt x="2855" y="112"/>
                </a:lnTo>
                <a:lnTo>
                  <a:pt x="2849" y="103"/>
                </a:lnTo>
                <a:lnTo>
                  <a:pt x="2841" y="94"/>
                </a:lnTo>
                <a:lnTo>
                  <a:pt x="2830" y="86"/>
                </a:lnTo>
                <a:lnTo>
                  <a:pt x="2820" y="79"/>
                </a:lnTo>
                <a:lnTo>
                  <a:pt x="2808" y="73"/>
                </a:lnTo>
                <a:lnTo>
                  <a:pt x="2795" y="68"/>
                </a:lnTo>
                <a:lnTo>
                  <a:pt x="2781" y="64"/>
                </a:lnTo>
                <a:lnTo>
                  <a:pt x="2767" y="60"/>
                </a:lnTo>
                <a:lnTo>
                  <a:pt x="2753" y="58"/>
                </a:lnTo>
                <a:lnTo>
                  <a:pt x="2738" y="56"/>
                </a:lnTo>
                <a:lnTo>
                  <a:pt x="2723" y="56"/>
                </a:lnTo>
                <a:lnTo>
                  <a:pt x="2709" y="57"/>
                </a:lnTo>
                <a:lnTo>
                  <a:pt x="2694" y="59"/>
                </a:lnTo>
                <a:lnTo>
                  <a:pt x="2694" y="59"/>
                </a:lnTo>
                <a:lnTo>
                  <a:pt x="2681" y="62"/>
                </a:lnTo>
                <a:lnTo>
                  <a:pt x="2669" y="66"/>
                </a:lnTo>
                <a:lnTo>
                  <a:pt x="2656" y="71"/>
                </a:lnTo>
                <a:lnTo>
                  <a:pt x="2644" y="77"/>
                </a:lnTo>
                <a:lnTo>
                  <a:pt x="2634" y="84"/>
                </a:lnTo>
                <a:lnTo>
                  <a:pt x="2623" y="92"/>
                </a:lnTo>
                <a:lnTo>
                  <a:pt x="2604" y="107"/>
                </a:lnTo>
                <a:lnTo>
                  <a:pt x="2589" y="122"/>
                </a:lnTo>
                <a:lnTo>
                  <a:pt x="2578" y="134"/>
                </a:lnTo>
                <a:lnTo>
                  <a:pt x="2569" y="147"/>
                </a:lnTo>
                <a:lnTo>
                  <a:pt x="2238" y="0"/>
                </a:lnTo>
                <a:lnTo>
                  <a:pt x="1977" y="263"/>
                </a:lnTo>
                <a:lnTo>
                  <a:pt x="1977" y="263"/>
                </a:lnTo>
                <a:lnTo>
                  <a:pt x="1972" y="268"/>
                </a:lnTo>
                <a:lnTo>
                  <a:pt x="1966" y="280"/>
                </a:lnTo>
                <a:lnTo>
                  <a:pt x="1963" y="287"/>
                </a:lnTo>
                <a:lnTo>
                  <a:pt x="1961" y="295"/>
                </a:lnTo>
                <a:lnTo>
                  <a:pt x="1960" y="304"/>
                </a:lnTo>
                <a:lnTo>
                  <a:pt x="1960" y="313"/>
                </a:lnTo>
                <a:lnTo>
                  <a:pt x="1964" y="337"/>
                </a:lnTo>
                <a:lnTo>
                  <a:pt x="1964" y="337"/>
                </a:lnTo>
                <a:lnTo>
                  <a:pt x="1964" y="343"/>
                </a:lnTo>
                <a:lnTo>
                  <a:pt x="1963" y="349"/>
                </a:lnTo>
                <a:lnTo>
                  <a:pt x="1962" y="354"/>
                </a:lnTo>
                <a:lnTo>
                  <a:pt x="1961" y="358"/>
                </a:lnTo>
                <a:lnTo>
                  <a:pt x="1957" y="366"/>
                </a:lnTo>
                <a:lnTo>
                  <a:pt x="1955" y="370"/>
                </a:lnTo>
                <a:lnTo>
                  <a:pt x="1955" y="370"/>
                </a:lnTo>
                <a:lnTo>
                  <a:pt x="1936" y="392"/>
                </a:lnTo>
                <a:lnTo>
                  <a:pt x="1916" y="416"/>
                </a:lnTo>
                <a:lnTo>
                  <a:pt x="1896" y="438"/>
                </a:lnTo>
                <a:lnTo>
                  <a:pt x="1876" y="461"/>
                </a:lnTo>
                <a:lnTo>
                  <a:pt x="1876" y="461"/>
                </a:lnTo>
                <a:lnTo>
                  <a:pt x="1847" y="499"/>
                </a:lnTo>
                <a:lnTo>
                  <a:pt x="1836" y="515"/>
                </a:lnTo>
                <a:lnTo>
                  <a:pt x="1828" y="527"/>
                </a:lnTo>
                <a:lnTo>
                  <a:pt x="1828" y="527"/>
                </a:lnTo>
                <a:lnTo>
                  <a:pt x="1819" y="542"/>
                </a:lnTo>
                <a:lnTo>
                  <a:pt x="1811" y="558"/>
                </a:lnTo>
                <a:lnTo>
                  <a:pt x="1799" y="583"/>
                </a:lnTo>
                <a:lnTo>
                  <a:pt x="1789" y="607"/>
                </a:lnTo>
                <a:lnTo>
                  <a:pt x="1781" y="628"/>
                </a:lnTo>
                <a:lnTo>
                  <a:pt x="1781" y="628"/>
                </a:lnTo>
                <a:lnTo>
                  <a:pt x="1780" y="631"/>
                </a:lnTo>
                <a:lnTo>
                  <a:pt x="1778" y="642"/>
                </a:lnTo>
                <a:lnTo>
                  <a:pt x="1778" y="649"/>
                </a:lnTo>
                <a:lnTo>
                  <a:pt x="1777" y="657"/>
                </a:lnTo>
                <a:lnTo>
                  <a:pt x="1778" y="666"/>
                </a:lnTo>
                <a:lnTo>
                  <a:pt x="1780" y="677"/>
                </a:lnTo>
                <a:lnTo>
                  <a:pt x="1784" y="690"/>
                </a:lnTo>
                <a:lnTo>
                  <a:pt x="1789" y="703"/>
                </a:lnTo>
                <a:lnTo>
                  <a:pt x="1797" y="716"/>
                </a:lnTo>
                <a:lnTo>
                  <a:pt x="1807" y="732"/>
                </a:lnTo>
                <a:lnTo>
                  <a:pt x="1819" y="748"/>
                </a:lnTo>
                <a:lnTo>
                  <a:pt x="1833" y="764"/>
                </a:lnTo>
                <a:lnTo>
                  <a:pt x="1852" y="782"/>
                </a:lnTo>
                <a:lnTo>
                  <a:pt x="1874" y="800"/>
                </a:lnTo>
                <a:lnTo>
                  <a:pt x="1881" y="806"/>
                </a:lnTo>
                <a:lnTo>
                  <a:pt x="1881" y="806"/>
                </a:lnTo>
                <a:lnTo>
                  <a:pt x="1894" y="789"/>
                </a:lnTo>
                <a:lnTo>
                  <a:pt x="1905" y="800"/>
                </a:lnTo>
                <a:lnTo>
                  <a:pt x="1905" y="800"/>
                </a:lnTo>
                <a:lnTo>
                  <a:pt x="1914" y="809"/>
                </a:lnTo>
                <a:lnTo>
                  <a:pt x="1926" y="820"/>
                </a:lnTo>
                <a:lnTo>
                  <a:pt x="1941" y="832"/>
                </a:lnTo>
                <a:lnTo>
                  <a:pt x="1957" y="842"/>
                </a:lnTo>
                <a:lnTo>
                  <a:pt x="1957" y="842"/>
                </a:lnTo>
                <a:lnTo>
                  <a:pt x="1959" y="835"/>
                </a:lnTo>
                <a:lnTo>
                  <a:pt x="1964" y="815"/>
                </a:lnTo>
                <a:lnTo>
                  <a:pt x="1969" y="802"/>
                </a:lnTo>
                <a:lnTo>
                  <a:pt x="1975" y="789"/>
                </a:lnTo>
                <a:lnTo>
                  <a:pt x="1983" y="775"/>
                </a:lnTo>
                <a:lnTo>
                  <a:pt x="1991" y="760"/>
                </a:lnTo>
                <a:lnTo>
                  <a:pt x="1991" y="760"/>
                </a:lnTo>
                <a:lnTo>
                  <a:pt x="2000" y="748"/>
                </a:lnTo>
                <a:lnTo>
                  <a:pt x="2011" y="736"/>
                </a:lnTo>
                <a:lnTo>
                  <a:pt x="2025" y="722"/>
                </a:lnTo>
                <a:lnTo>
                  <a:pt x="2038" y="709"/>
                </a:lnTo>
                <a:lnTo>
                  <a:pt x="2052" y="697"/>
                </a:lnTo>
                <a:lnTo>
                  <a:pt x="2065" y="686"/>
                </a:lnTo>
                <a:lnTo>
                  <a:pt x="2080" y="675"/>
                </a:lnTo>
                <a:lnTo>
                  <a:pt x="2092" y="667"/>
                </a:lnTo>
                <a:lnTo>
                  <a:pt x="2092" y="667"/>
                </a:lnTo>
                <a:lnTo>
                  <a:pt x="2107" y="658"/>
                </a:lnTo>
                <a:lnTo>
                  <a:pt x="2123" y="650"/>
                </a:lnTo>
                <a:lnTo>
                  <a:pt x="2138" y="643"/>
                </a:lnTo>
                <a:lnTo>
                  <a:pt x="2154" y="636"/>
                </a:lnTo>
                <a:lnTo>
                  <a:pt x="2170" y="632"/>
                </a:lnTo>
                <a:lnTo>
                  <a:pt x="2186" y="629"/>
                </a:lnTo>
                <a:lnTo>
                  <a:pt x="2202" y="626"/>
                </a:lnTo>
                <a:lnTo>
                  <a:pt x="2220" y="625"/>
                </a:lnTo>
                <a:lnTo>
                  <a:pt x="2220" y="625"/>
                </a:lnTo>
                <a:lnTo>
                  <a:pt x="2234" y="626"/>
                </a:lnTo>
                <a:lnTo>
                  <a:pt x="2247" y="627"/>
                </a:lnTo>
                <a:lnTo>
                  <a:pt x="2261" y="630"/>
                </a:lnTo>
                <a:lnTo>
                  <a:pt x="2272" y="635"/>
                </a:lnTo>
                <a:lnTo>
                  <a:pt x="2283" y="642"/>
                </a:lnTo>
                <a:lnTo>
                  <a:pt x="2295" y="649"/>
                </a:lnTo>
                <a:lnTo>
                  <a:pt x="2305" y="658"/>
                </a:lnTo>
                <a:lnTo>
                  <a:pt x="2316" y="668"/>
                </a:lnTo>
                <a:lnTo>
                  <a:pt x="2316" y="668"/>
                </a:lnTo>
                <a:lnTo>
                  <a:pt x="2323" y="676"/>
                </a:lnTo>
                <a:lnTo>
                  <a:pt x="2330" y="687"/>
                </a:lnTo>
                <a:lnTo>
                  <a:pt x="2336" y="698"/>
                </a:lnTo>
                <a:lnTo>
                  <a:pt x="2342" y="710"/>
                </a:lnTo>
                <a:lnTo>
                  <a:pt x="2347" y="722"/>
                </a:lnTo>
                <a:lnTo>
                  <a:pt x="2351" y="736"/>
                </a:lnTo>
                <a:lnTo>
                  <a:pt x="2355" y="750"/>
                </a:lnTo>
                <a:lnTo>
                  <a:pt x="2358" y="764"/>
                </a:lnTo>
                <a:lnTo>
                  <a:pt x="2360" y="778"/>
                </a:lnTo>
                <a:lnTo>
                  <a:pt x="2362" y="792"/>
                </a:lnTo>
                <a:lnTo>
                  <a:pt x="2363" y="805"/>
                </a:lnTo>
                <a:lnTo>
                  <a:pt x="2364" y="818"/>
                </a:lnTo>
                <a:lnTo>
                  <a:pt x="2364" y="831"/>
                </a:lnTo>
                <a:lnTo>
                  <a:pt x="2363" y="842"/>
                </a:lnTo>
                <a:lnTo>
                  <a:pt x="2361" y="852"/>
                </a:lnTo>
                <a:lnTo>
                  <a:pt x="2359" y="861"/>
                </a:lnTo>
                <a:lnTo>
                  <a:pt x="2359" y="861"/>
                </a:lnTo>
                <a:lnTo>
                  <a:pt x="2330" y="843"/>
                </a:lnTo>
                <a:lnTo>
                  <a:pt x="2330" y="843"/>
                </a:lnTo>
                <a:lnTo>
                  <a:pt x="2309" y="832"/>
                </a:lnTo>
                <a:lnTo>
                  <a:pt x="2281" y="822"/>
                </a:lnTo>
                <a:lnTo>
                  <a:pt x="2266" y="815"/>
                </a:lnTo>
                <a:lnTo>
                  <a:pt x="2251" y="811"/>
                </a:lnTo>
                <a:lnTo>
                  <a:pt x="2233" y="807"/>
                </a:lnTo>
                <a:lnTo>
                  <a:pt x="2215" y="803"/>
                </a:lnTo>
                <a:lnTo>
                  <a:pt x="2195" y="801"/>
                </a:lnTo>
                <a:lnTo>
                  <a:pt x="2175" y="800"/>
                </a:lnTo>
                <a:lnTo>
                  <a:pt x="2154" y="800"/>
                </a:lnTo>
                <a:lnTo>
                  <a:pt x="2132" y="802"/>
                </a:lnTo>
                <a:lnTo>
                  <a:pt x="2109" y="805"/>
                </a:lnTo>
                <a:lnTo>
                  <a:pt x="2086" y="810"/>
                </a:lnTo>
                <a:lnTo>
                  <a:pt x="2062" y="818"/>
                </a:lnTo>
                <a:lnTo>
                  <a:pt x="2037" y="829"/>
                </a:lnTo>
                <a:lnTo>
                  <a:pt x="2037" y="829"/>
                </a:lnTo>
                <a:lnTo>
                  <a:pt x="1995" y="847"/>
                </a:lnTo>
                <a:lnTo>
                  <a:pt x="1967" y="859"/>
                </a:lnTo>
                <a:lnTo>
                  <a:pt x="1936" y="872"/>
                </a:lnTo>
                <a:lnTo>
                  <a:pt x="1900" y="886"/>
                </a:lnTo>
                <a:lnTo>
                  <a:pt x="1860" y="900"/>
                </a:lnTo>
                <a:lnTo>
                  <a:pt x="1814" y="916"/>
                </a:lnTo>
                <a:lnTo>
                  <a:pt x="1764" y="931"/>
                </a:lnTo>
                <a:lnTo>
                  <a:pt x="1764" y="931"/>
                </a:lnTo>
                <a:lnTo>
                  <a:pt x="1737" y="938"/>
                </a:lnTo>
                <a:lnTo>
                  <a:pt x="1725" y="940"/>
                </a:lnTo>
                <a:lnTo>
                  <a:pt x="1713" y="941"/>
                </a:lnTo>
                <a:lnTo>
                  <a:pt x="1701" y="941"/>
                </a:lnTo>
                <a:lnTo>
                  <a:pt x="1691" y="941"/>
                </a:lnTo>
                <a:lnTo>
                  <a:pt x="1681" y="940"/>
                </a:lnTo>
                <a:lnTo>
                  <a:pt x="1672" y="938"/>
                </a:lnTo>
                <a:lnTo>
                  <a:pt x="1664" y="935"/>
                </a:lnTo>
                <a:lnTo>
                  <a:pt x="1655" y="930"/>
                </a:lnTo>
                <a:lnTo>
                  <a:pt x="1649" y="925"/>
                </a:lnTo>
                <a:lnTo>
                  <a:pt x="1642" y="919"/>
                </a:lnTo>
                <a:lnTo>
                  <a:pt x="1637" y="912"/>
                </a:lnTo>
                <a:lnTo>
                  <a:pt x="1633" y="902"/>
                </a:lnTo>
                <a:lnTo>
                  <a:pt x="1629" y="892"/>
                </a:lnTo>
                <a:lnTo>
                  <a:pt x="1626" y="881"/>
                </a:lnTo>
                <a:lnTo>
                  <a:pt x="1626" y="881"/>
                </a:lnTo>
                <a:lnTo>
                  <a:pt x="1624" y="871"/>
                </a:lnTo>
                <a:lnTo>
                  <a:pt x="1623" y="860"/>
                </a:lnTo>
                <a:lnTo>
                  <a:pt x="1623" y="851"/>
                </a:lnTo>
                <a:lnTo>
                  <a:pt x="1623" y="842"/>
                </a:lnTo>
                <a:lnTo>
                  <a:pt x="1625" y="826"/>
                </a:lnTo>
                <a:lnTo>
                  <a:pt x="1629" y="811"/>
                </a:lnTo>
                <a:lnTo>
                  <a:pt x="1633" y="800"/>
                </a:lnTo>
                <a:lnTo>
                  <a:pt x="1636" y="792"/>
                </a:lnTo>
                <a:lnTo>
                  <a:pt x="1640" y="784"/>
                </a:lnTo>
                <a:lnTo>
                  <a:pt x="1640" y="784"/>
                </a:lnTo>
                <a:lnTo>
                  <a:pt x="1636" y="785"/>
                </a:lnTo>
                <a:lnTo>
                  <a:pt x="1626" y="788"/>
                </a:lnTo>
                <a:lnTo>
                  <a:pt x="1610" y="794"/>
                </a:lnTo>
                <a:lnTo>
                  <a:pt x="1601" y="797"/>
                </a:lnTo>
                <a:lnTo>
                  <a:pt x="1592" y="802"/>
                </a:lnTo>
                <a:lnTo>
                  <a:pt x="1582" y="808"/>
                </a:lnTo>
                <a:lnTo>
                  <a:pt x="1573" y="814"/>
                </a:lnTo>
                <a:lnTo>
                  <a:pt x="1563" y="823"/>
                </a:lnTo>
                <a:lnTo>
                  <a:pt x="1554" y="832"/>
                </a:lnTo>
                <a:lnTo>
                  <a:pt x="1546" y="842"/>
                </a:lnTo>
                <a:lnTo>
                  <a:pt x="1539" y="853"/>
                </a:lnTo>
                <a:lnTo>
                  <a:pt x="1533" y="867"/>
                </a:lnTo>
                <a:lnTo>
                  <a:pt x="1528" y="881"/>
                </a:lnTo>
                <a:lnTo>
                  <a:pt x="1528" y="881"/>
                </a:lnTo>
                <a:lnTo>
                  <a:pt x="1525" y="896"/>
                </a:lnTo>
                <a:lnTo>
                  <a:pt x="1523" y="912"/>
                </a:lnTo>
                <a:lnTo>
                  <a:pt x="1523" y="927"/>
                </a:lnTo>
                <a:lnTo>
                  <a:pt x="1523" y="941"/>
                </a:lnTo>
                <a:lnTo>
                  <a:pt x="1524" y="954"/>
                </a:lnTo>
                <a:lnTo>
                  <a:pt x="1527" y="969"/>
                </a:lnTo>
                <a:lnTo>
                  <a:pt x="1531" y="981"/>
                </a:lnTo>
                <a:lnTo>
                  <a:pt x="1536" y="993"/>
                </a:lnTo>
                <a:lnTo>
                  <a:pt x="1542" y="1006"/>
                </a:lnTo>
                <a:lnTo>
                  <a:pt x="1549" y="1016"/>
                </a:lnTo>
                <a:lnTo>
                  <a:pt x="1557" y="1026"/>
                </a:lnTo>
                <a:lnTo>
                  <a:pt x="1568" y="1034"/>
                </a:lnTo>
                <a:lnTo>
                  <a:pt x="1578" y="1042"/>
                </a:lnTo>
                <a:lnTo>
                  <a:pt x="1590" y="1049"/>
                </a:lnTo>
                <a:lnTo>
                  <a:pt x="1602" y="1055"/>
                </a:lnTo>
                <a:lnTo>
                  <a:pt x="1617" y="1059"/>
                </a:lnTo>
                <a:lnTo>
                  <a:pt x="1617" y="1059"/>
                </a:lnTo>
                <a:lnTo>
                  <a:pt x="1630" y="1062"/>
                </a:lnTo>
                <a:lnTo>
                  <a:pt x="1644" y="1063"/>
                </a:lnTo>
                <a:lnTo>
                  <a:pt x="1660" y="1062"/>
                </a:lnTo>
                <a:lnTo>
                  <a:pt x="1676" y="1060"/>
                </a:lnTo>
                <a:lnTo>
                  <a:pt x="1692" y="1058"/>
                </a:lnTo>
                <a:lnTo>
                  <a:pt x="1710" y="1054"/>
                </a:lnTo>
                <a:lnTo>
                  <a:pt x="1727" y="1049"/>
                </a:lnTo>
                <a:lnTo>
                  <a:pt x="1744" y="1043"/>
                </a:lnTo>
                <a:lnTo>
                  <a:pt x="1779" y="1029"/>
                </a:lnTo>
                <a:lnTo>
                  <a:pt x="1815" y="1014"/>
                </a:lnTo>
                <a:lnTo>
                  <a:pt x="1849" y="997"/>
                </a:lnTo>
                <a:lnTo>
                  <a:pt x="1880" y="981"/>
                </a:lnTo>
                <a:lnTo>
                  <a:pt x="1880" y="981"/>
                </a:lnTo>
                <a:lnTo>
                  <a:pt x="1942" y="949"/>
                </a:lnTo>
                <a:lnTo>
                  <a:pt x="1979" y="931"/>
                </a:lnTo>
                <a:lnTo>
                  <a:pt x="2013" y="915"/>
                </a:lnTo>
                <a:lnTo>
                  <a:pt x="2013" y="915"/>
                </a:lnTo>
                <a:lnTo>
                  <a:pt x="2041" y="903"/>
                </a:lnTo>
                <a:lnTo>
                  <a:pt x="2054" y="899"/>
                </a:lnTo>
                <a:lnTo>
                  <a:pt x="2068" y="895"/>
                </a:lnTo>
                <a:lnTo>
                  <a:pt x="2081" y="892"/>
                </a:lnTo>
                <a:lnTo>
                  <a:pt x="2093" y="890"/>
                </a:lnTo>
                <a:lnTo>
                  <a:pt x="2105" y="888"/>
                </a:lnTo>
                <a:lnTo>
                  <a:pt x="2119" y="888"/>
                </a:lnTo>
                <a:lnTo>
                  <a:pt x="2131" y="888"/>
                </a:lnTo>
                <a:lnTo>
                  <a:pt x="2143" y="889"/>
                </a:lnTo>
                <a:lnTo>
                  <a:pt x="2156" y="891"/>
                </a:lnTo>
                <a:lnTo>
                  <a:pt x="2170" y="893"/>
                </a:lnTo>
                <a:lnTo>
                  <a:pt x="2183" y="897"/>
                </a:lnTo>
                <a:lnTo>
                  <a:pt x="2196" y="901"/>
                </a:lnTo>
                <a:lnTo>
                  <a:pt x="2211" y="907"/>
                </a:lnTo>
                <a:lnTo>
                  <a:pt x="2226" y="914"/>
                </a:lnTo>
                <a:lnTo>
                  <a:pt x="2226" y="914"/>
                </a:lnTo>
                <a:lnTo>
                  <a:pt x="2246" y="924"/>
                </a:lnTo>
                <a:lnTo>
                  <a:pt x="2265" y="934"/>
                </a:lnTo>
                <a:lnTo>
                  <a:pt x="2281" y="945"/>
                </a:lnTo>
                <a:lnTo>
                  <a:pt x="2295" y="954"/>
                </a:lnTo>
                <a:lnTo>
                  <a:pt x="2305" y="964"/>
                </a:lnTo>
                <a:lnTo>
                  <a:pt x="2312" y="971"/>
                </a:lnTo>
                <a:lnTo>
                  <a:pt x="2319" y="977"/>
                </a:lnTo>
                <a:lnTo>
                  <a:pt x="2319" y="977"/>
                </a:lnTo>
                <a:lnTo>
                  <a:pt x="2317" y="980"/>
                </a:lnTo>
                <a:lnTo>
                  <a:pt x="2313" y="987"/>
                </a:lnTo>
                <a:lnTo>
                  <a:pt x="2305" y="998"/>
                </a:lnTo>
                <a:lnTo>
                  <a:pt x="2300" y="1005"/>
                </a:lnTo>
                <a:lnTo>
                  <a:pt x="2293" y="1012"/>
                </a:lnTo>
                <a:lnTo>
                  <a:pt x="2285" y="1018"/>
                </a:lnTo>
                <a:lnTo>
                  <a:pt x="2276" y="1025"/>
                </a:lnTo>
                <a:lnTo>
                  <a:pt x="2267" y="1031"/>
                </a:lnTo>
                <a:lnTo>
                  <a:pt x="2255" y="1036"/>
                </a:lnTo>
                <a:lnTo>
                  <a:pt x="2242" y="1041"/>
                </a:lnTo>
                <a:lnTo>
                  <a:pt x="2228" y="1045"/>
                </a:lnTo>
                <a:lnTo>
                  <a:pt x="2212" y="1049"/>
                </a:lnTo>
                <a:lnTo>
                  <a:pt x="2194" y="1050"/>
                </a:lnTo>
                <a:lnTo>
                  <a:pt x="2194" y="1050"/>
                </a:lnTo>
                <a:lnTo>
                  <a:pt x="2180" y="1051"/>
                </a:lnTo>
                <a:lnTo>
                  <a:pt x="2166" y="1050"/>
                </a:lnTo>
                <a:lnTo>
                  <a:pt x="2152" y="1048"/>
                </a:lnTo>
                <a:lnTo>
                  <a:pt x="2139" y="1044"/>
                </a:lnTo>
                <a:lnTo>
                  <a:pt x="2127" y="1041"/>
                </a:lnTo>
                <a:lnTo>
                  <a:pt x="2115" y="1037"/>
                </a:lnTo>
                <a:lnTo>
                  <a:pt x="2103" y="1033"/>
                </a:lnTo>
                <a:lnTo>
                  <a:pt x="2092" y="1027"/>
                </a:lnTo>
                <a:lnTo>
                  <a:pt x="2082" y="1022"/>
                </a:lnTo>
                <a:lnTo>
                  <a:pt x="2073" y="1016"/>
                </a:lnTo>
                <a:lnTo>
                  <a:pt x="2064" y="1010"/>
                </a:lnTo>
                <a:lnTo>
                  <a:pt x="2056" y="1003"/>
                </a:lnTo>
                <a:lnTo>
                  <a:pt x="2048" y="995"/>
                </a:lnTo>
                <a:lnTo>
                  <a:pt x="2042" y="988"/>
                </a:lnTo>
                <a:lnTo>
                  <a:pt x="2036" y="981"/>
                </a:lnTo>
                <a:lnTo>
                  <a:pt x="2031" y="974"/>
                </a:lnTo>
                <a:lnTo>
                  <a:pt x="2031" y="974"/>
                </a:lnTo>
                <a:lnTo>
                  <a:pt x="2022" y="996"/>
                </a:lnTo>
                <a:lnTo>
                  <a:pt x="2013" y="1014"/>
                </a:lnTo>
                <a:lnTo>
                  <a:pt x="2007" y="1027"/>
                </a:lnTo>
                <a:lnTo>
                  <a:pt x="2007" y="1027"/>
                </a:lnTo>
                <a:lnTo>
                  <a:pt x="2003" y="1035"/>
                </a:lnTo>
                <a:lnTo>
                  <a:pt x="2000" y="1042"/>
                </a:lnTo>
                <a:lnTo>
                  <a:pt x="1998" y="1051"/>
                </a:lnTo>
                <a:lnTo>
                  <a:pt x="1997" y="1057"/>
                </a:lnTo>
                <a:lnTo>
                  <a:pt x="1997" y="1064"/>
                </a:lnTo>
                <a:lnTo>
                  <a:pt x="1997" y="1070"/>
                </a:lnTo>
                <a:lnTo>
                  <a:pt x="1999" y="1082"/>
                </a:lnTo>
                <a:lnTo>
                  <a:pt x="2001" y="1094"/>
                </a:lnTo>
                <a:lnTo>
                  <a:pt x="2003" y="1104"/>
                </a:lnTo>
                <a:lnTo>
                  <a:pt x="2004" y="1115"/>
                </a:lnTo>
                <a:lnTo>
                  <a:pt x="2003" y="1121"/>
                </a:lnTo>
                <a:lnTo>
                  <a:pt x="2001" y="1126"/>
                </a:lnTo>
                <a:lnTo>
                  <a:pt x="2001" y="1126"/>
                </a:lnTo>
                <a:lnTo>
                  <a:pt x="1999" y="1132"/>
                </a:lnTo>
                <a:lnTo>
                  <a:pt x="1995" y="1138"/>
                </a:lnTo>
                <a:lnTo>
                  <a:pt x="1986" y="1151"/>
                </a:lnTo>
                <a:lnTo>
                  <a:pt x="1973" y="1163"/>
                </a:lnTo>
                <a:lnTo>
                  <a:pt x="1960" y="1175"/>
                </a:lnTo>
                <a:lnTo>
                  <a:pt x="1945" y="1187"/>
                </a:lnTo>
                <a:lnTo>
                  <a:pt x="1931" y="1198"/>
                </a:lnTo>
                <a:lnTo>
                  <a:pt x="1904" y="1216"/>
                </a:lnTo>
                <a:lnTo>
                  <a:pt x="1904" y="1216"/>
                </a:lnTo>
                <a:lnTo>
                  <a:pt x="1886" y="1227"/>
                </a:lnTo>
                <a:lnTo>
                  <a:pt x="1864" y="1239"/>
                </a:lnTo>
                <a:lnTo>
                  <a:pt x="1842" y="1249"/>
                </a:lnTo>
                <a:lnTo>
                  <a:pt x="1819" y="1257"/>
                </a:lnTo>
                <a:lnTo>
                  <a:pt x="1798" y="1264"/>
                </a:lnTo>
                <a:lnTo>
                  <a:pt x="1779" y="1270"/>
                </a:lnTo>
                <a:lnTo>
                  <a:pt x="1754" y="1278"/>
                </a:lnTo>
                <a:lnTo>
                  <a:pt x="1754" y="1278"/>
                </a:lnTo>
                <a:lnTo>
                  <a:pt x="1779" y="1336"/>
                </a:lnTo>
                <a:lnTo>
                  <a:pt x="1811" y="1404"/>
                </a:lnTo>
                <a:lnTo>
                  <a:pt x="1811" y="1404"/>
                </a:lnTo>
                <a:lnTo>
                  <a:pt x="1833" y="1449"/>
                </a:lnTo>
                <a:lnTo>
                  <a:pt x="1862" y="1504"/>
                </a:lnTo>
                <a:lnTo>
                  <a:pt x="1877" y="1531"/>
                </a:lnTo>
                <a:lnTo>
                  <a:pt x="1893" y="1557"/>
                </a:lnTo>
                <a:lnTo>
                  <a:pt x="1909" y="1578"/>
                </a:lnTo>
                <a:lnTo>
                  <a:pt x="1916" y="1588"/>
                </a:lnTo>
                <a:lnTo>
                  <a:pt x="1924" y="1597"/>
                </a:lnTo>
                <a:lnTo>
                  <a:pt x="1924" y="1597"/>
                </a:lnTo>
                <a:lnTo>
                  <a:pt x="1940" y="1592"/>
                </a:lnTo>
                <a:lnTo>
                  <a:pt x="1957" y="1587"/>
                </a:lnTo>
                <a:lnTo>
                  <a:pt x="1980" y="1581"/>
                </a:lnTo>
                <a:lnTo>
                  <a:pt x="2004" y="1573"/>
                </a:lnTo>
                <a:lnTo>
                  <a:pt x="2031" y="1563"/>
                </a:lnTo>
                <a:lnTo>
                  <a:pt x="2057" y="1551"/>
                </a:lnTo>
                <a:lnTo>
                  <a:pt x="2071" y="1544"/>
                </a:lnTo>
                <a:lnTo>
                  <a:pt x="2083" y="1537"/>
                </a:lnTo>
                <a:lnTo>
                  <a:pt x="2083" y="1537"/>
                </a:lnTo>
                <a:lnTo>
                  <a:pt x="2105" y="1524"/>
                </a:lnTo>
                <a:lnTo>
                  <a:pt x="2126" y="1510"/>
                </a:lnTo>
                <a:lnTo>
                  <a:pt x="2145" y="1495"/>
                </a:lnTo>
                <a:lnTo>
                  <a:pt x="2162" y="1480"/>
                </a:lnTo>
                <a:lnTo>
                  <a:pt x="2177" y="1466"/>
                </a:lnTo>
                <a:lnTo>
                  <a:pt x="2189" y="1451"/>
                </a:lnTo>
                <a:lnTo>
                  <a:pt x="2199" y="1437"/>
                </a:lnTo>
                <a:lnTo>
                  <a:pt x="2207" y="1424"/>
                </a:lnTo>
                <a:lnTo>
                  <a:pt x="2207" y="1424"/>
                </a:lnTo>
                <a:lnTo>
                  <a:pt x="2190" y="1460"/>
                </a:lnTo>
                <a:lnTo>
                  <a:pt x="2175" y="1493"/>
                </a:lnTo>
                <a:lnTo>
                  <a:pt x="2161" y="1523"/>
                </a:lnTo>
                <a:lnTo>
                  <a:pt x="2146" y="1551"/>
                </a:lnTo>
                <a:lnTo>
                  <a:pt x="2132" y="1576"/>
                </a:lnTo>
                <a:lnTo>
                  <a:pt x="2119" y="1599"/>
                </a:lnTo>
                <a:lnTo>
                  <a:pt x="2105" y="1619"/>
                </a:lnTo>
                <a:lnTo>
                  <a:pt x="2092" y="1637"/>
                </a:lnTo>
                <a:lnTo>
                  <a:pt x="2080" y="1655"/>
                </a:lnTo>
                <a:lnTo>
                  <a:pt x="2068" y="1669"/>
                </a:lnTo>
                <a:lnTo>
                  <a:pt x="2055" y="1682"/>
                </a:lnTo>
                <a:lnTo>
                  <a:pt x="2044" y="1694"/>
                </a:lnTo>
                <a:lnTo>
                  <a:pt x="2033" y="1705"/>
                </a:lnTo>
                <a:lnTo>
                  <a:pt x="2022" y="1714"/>
                </a:lnTo>
                <a:lnTo>
                  <a:pt x="2011" y="1721"/>
                </a:lnTo>
                <a:lnTo>
                  <a:pt x="2000" y="1729"/>
                </a:lnTo>
                <a:lnTo>
                  <a:pt x="2000" y="1729"/>
                </a:lnTo>
                <a:lnTo>
                  <a:pt x="1907" y="1790"/>
                </a:lnTo>
                <a:lnTo>
                  <a:pt x="1797" y="1862"/>
                </a:lnTo>
                <a:lnTo>
                  <a:pt x="1735" y="1901"/>
                </a:lnTo>
                <a:lnTo>
                  <a:pt x="1671" y="1940"/>
                </a:lnTo>
                <a:lnTo>
                  <a:pt x="1602" y="1980"/>
                </a:lnTo>
                <a:lnTo>
                  <a:pt x="1532" y="2020"/>
                </a:lnTo>
                <a:lnTo>
                  <a:pt x="1459" y="2058"/>
                </a:lnTo>
                <a:lnTo>
                  <a:pt x="1422" y="2077"/>
                </a:lnTo>
                <a:lnTo>
                  <a:pt x="1384" y="2094"/>
                </a:lnTo>
                <a:lnTo>
                  <a:pt x="1347" y="2112"/>
                </a:lnTo>
                <a:lnTo>
                  <a:pt x="1308" y="2129"/>
                </a:lnTo>
                <a:lnTo>
                  <a:pt x="1269" y="2146"/>
                </a:lnTo>
                <a:lnTo>
                  <a:pt x="1230" y="2161"/>
                </a:lnTo>
                <a:lnTo>
                  <a:pt x="1190" y="2175"/>
                </a:lnTo>
                <a:lnTo>
                  <a:pt x="1151" y="2189"/>
                </a:lnTo>
                <a:lnTo>
                  <a:pt x="1111" y="2202"/>
                </a:lnTo>
                <a:lnTo>
                  <a:pt x="1072" y="2213"/>
                </a:lnTo>
                <a:lnTo>
                  <a:pt x="1032" y="2223"/>
                </a:lnTo>
                <a:lnTo>
                  <a:pt x="992" y="2231"/>
                </a:lnTo>
                <a:lnTo>
                  <a:pt x="952" y="2240"/>
                </a:lnTo>
                <a:lnTo>
                  <a:pt x="913" y="2246"/>
                </a:lnTo>
                <a:lnTo>
                  <a:pt x="913" y="2246"/>
                </a:lnTo>
                <a:lnTo>
                  <a:pt x="901" y="2246"/>
                </a:lnTo>
                <a:lnTo>
                  <a:pt x="889" y="2245"/>
                </a:lnTo>
                <a:lnTo>
                  <a:pt x="876" y="2242"/>
                </a:lnTo>
                <a:lnTo>
                  <a:pt x="863" y="2239"/>
                </a:lnTo>
                <a:lnTo>
                  <a:pt x="850" y="2236"/>
                </a:lnTo>
                <a:lnTo>
                  <a:pt x="836" y="2230"/>
                </a:lnTo>
                <a:lnTo>
                  <a:pt x="809" y="2218"/>
                </a:lnTo>
                <a:lnTo>
                  <a:pt x="781" y="2204"/>
                </a:lnTo>
                <a:lnTo>
                  <a:pt x="754" y="2188"/>
                </a:lnTo>
                <a:lnTo>
                  <a:pt x="726" y="2170"/>
                </a:lnTo>
                <a:lnTo>
                  <a:pt x="698" y="2151"/>
                </a:lnTo>
                <a:lnTo>
                  <a:pt x="672" y="2130"/>
                </a:lnTo>
                <a:lnTo>
                  <a:pt x="646" y="2110"/>
                </a:lnTo>
                <a:lnTo>
                  <a:pt x="623" y="2089"/>
                </a:lnTo>
                <a:lnTo>
                  <a:pt x="600" y="2069"/>
                </a:lnTo>
                <a:lnTo>
                  <a:pt x="581" y="2049"/>
                </a:lnTo>
                <a:lnTo>
                  <a:pt x="563" y="2032"/>
                </a:lnTo>
                <a:lnTo>
                  <a:pt x="548" y="2017"/>
                </a:lnTo>
                <a:lnTo>
                  <a:pt x="537" y="2003"/>
                </a:lnTo>
                <a:lnTo>
                  <a:pt x="537" y="2003"/>
                </a:lnTo>
                <a:lnTo>
                  <a:pt x="533" y="1999"/>
                </a:lnTo>
                <a:lnTo>
                  <a:pt x="530" y="1995"/>
                </a:lnTo>
                <a:lnTo>
                  <a:pt x="520" y="1990"/>
                </a:lnTo>
                <a:lnTo>
                  <a:pt x="512" y="1988"/>
                </a:lnTo>
                <a:lnTo>
                  <a:pt x="502" y="1987"/>
                </a:lnTo>
                <a:lnTo>
                  <a:pt x="493" y="1987"/>
                </a:lnTo>
                <a:lnTo>
                  <a:pt x="483" y="1989"/>
                </a:lnTo>
                <a:lnTo>
                  <a:pt x="473" y="1992"/>
                </a:lnTo>
                <a:lnTo>
                  <a:pt x="464" y="1996"/>
                </a:lnTo>
                <a:lnTo>
                  <a:pt x="447" y="2004"/>
                </a:lnTo>
                <a:lnTo>
                  <a:pt x="433" y="2014"/>
                </a:lnTo>
                <a:lnTo>
                  <a:pt x="419" y="2024"/>
                </a:lnTo>
                <a:lnTo>
                  <a:pt x="419" y="2024"/>
                </a:lnTo>
                <a:lnTo>
                  <a:pt x="412" y="2023"/>
                </a:lnTo>
                <a:lnTo>
                  <a:pt x="393" y="2021"/>
                </a:lnTo>
                <a:lnTo>
                  <a:pt x="379" y="2021"/>
                </a:lnTo>
                <a:lnTo>
                  <a:pt x="364" y="2021"/>
                </a:lnTo>
                <a:lnTo>
                  <a:pt x="348" y="2022"/>
                </a:lnTo>
                <a:lnTo>
                  <a:pt x="329" y="2024"/>
                </a:lnTo>
                <a:lnTo>
                  <a:pt x="310" y="2027"/>
                </a:lnTo>
                <a:lnTo>
                  <a:pt x="290" y="2032"/>
                </a:lnTo>
                <a:lnTo>
                  <a:pt x="271" y="2038"/>
                </a:lnTo>
                <a:lnTo>
                  <a:pt x="252" y="2047"/>
                </a:lnTo>
                <a:lnTo>
                  <a:pt x="242" y="2053"/>
                </a:lnTo>
                <a:lnTo>
                  <a:pt x="233" y="2058"/>
                </a:lnTo>
                <a:lnTo>
                  <a:pt x="224" y="2064"/>
                </a:lnTo>
                <a:lnTo>
                  <a:pt x="216" y="2071"/>
                </a:lnTo>
                <a:lnTo>
                  <a:pt x="207" y="2079"/>
                </a:lnTo>
                <a:lnTo>
                  <a:pt x="199" y="2087"/>
                </a:lnTo>
                <a:lnTo>
                  <a:pt x="191" y="2097"/>
                </a:lnTo>
                <a:lnTo>
                  <a:pt x="184" y="2106"/>
                </a:lnTo>
                <a:lnTo>
                  <a:pt x="184" y="2106"/>
                </a:lnTo>
                <a:lnTo>
                  <a:pt x="183" y="2109"/>
                </a:lnTo>
                <a:lnTo>
                  <a:pt x="185" y="2111"/>
                </a:lnTo>
                <a:lnTo>
                  <a:pt x="188" y="2112"/>
                </a:lnTo>
                <a:lnTo>
                  <a:pt x="193" y="2112"/>
                </a:lnTo>
                <a:lnTo>
                  <a:pt x="210" y="2110"/>
                </a:lnTo>
                <a:lnTo>
                  <a:pt x="230" y="2108"/>
                </a:lnTo>
                <a:lnTo>
                  <a:pt x="255" y="2106"/>
                </a:lnTo>
                <a:lnTo>
                  <a:pt x="280" y="2105"/>
                </a:lnTo>
                <a:lnTo>
                  <a:pt x="293" y="2106"/>
                </a:lnTo>
                <a:lnTo>
                  <a:pt x="307" y="2107"/>
                </a:lnTo>
                <a:lnTo>
                  <a:pt x="319" y="2109"/>
                </a:lnTo>
                <a:lnTo>
                  <a:pt x="331" y="2112"/>
                </a:lnTo>
                <a:lnTo>
                  <a:pt x="331" y="2112"/>
                </a:lnTo>
                <a:lnTo>
                  <a:pt x="338" y="2115"/>
                </a:lnTo>
                <a:lnTo>
                  <a:pt x="343" y="2118"/>
                </a:lnTo>
                <a:lnTo>
                  <a:pt x="346" y="2121"/>
                </a:lnTo>
                <a:lnTo>
                  <a:pt x="347" y="2124"/>
                </a:lnTo>
                <a:lnTo>
                  <a:pt x="347" y="2127"/>
                </a:lnTo>
                <a:lnTo>
                  <a:pt x="345" y="2131"/>
                </a:lnTo>
                <a:lnTo>
                  <a:pt x="339" y="2139"/>
                </a:lnTo>
                <a:lnTo>
                  <a:pt x="332" y="2149"/>
                </a:lnTo>
                <a:lnTo>
                  <a:pt x="325" y="2160"/>
                </a:lnTo>
                <a:lnTo>
                  <a:pt x="321" y="2166"/>
                </a:lnTo>
                <a:lnTo>
                  <a:pt x="319" y="2172"/>
                </a:lnTo>
                <a:lnTo>
                  <a:pt x="317" y="2178"/>
                </a:lnTo>
                <a:lnTo>
                  <a:pt x="317" y="2185"/>
                </a:lnTo>
                <a:lnTo>
                  <a:pt x="317" y="2185"/>
                </a:lnTo>
                <a:lnTo>
                  <a:pt x="317" y="2191"/>
                </a:lnTo>
                <a:lnTo>
                  <a:pt x="319" y="2197"/>
                </a:lnTo>
                <a:lnTo>
                  <a:pt x="321" y="2202"/>
                </a:lnTo>
                <a:lnTo>
                  <a:pt x="324" y="2207"/>
                </a:lnTo>
                <a:lnTo>
                  <a:pt x="328" y="2212"/>
                </a:lnTo>
                <a:lnTo>
                  <a:pt x="333" y="2217"/>
                </a:lnTo>
                <a:lnTo>
                  <a:pt x="346" y="2227"/>
                </a:lnTo>
                <a:lnTo>
                  <a:pt x="361" y="2237"/>
                </a:lnTo>
                <a:lnTo>
                  <a:pt x="377" y="2246"/>
                </a:lnTo>
                <a:lnTo>
                  <a:pt x="397" y="2255"/>
                </a:lnTo>
                <a:lnTo>
                  <a:pt x="416" y="2263"/>
                </a:lnTo>
                <a:lnTo>
                  <a:pt x="458" y="2279"/>
                </a:lnTo>
                <a:lnTo>
                  <a:pt x="500" y="2293"/>
                </a:lnTo>
                <a:lnTo>
                  <a:pt x="571" y="2314"/>
                </a:lnTo>
                <a:lnTo>
                  <a:pt x="571" y="2314"/>
                </a:lnTo>
                <a:lnTo>
                  <a:pt x="579" y="2318"/>
                </a:lnTo>
                <a:lnTo>
                  <a:pt x="585" y="2322"/>
                </a:lnTo>
                <a:lnTo>
                  <a:pt x="588" y="2328"/>
                </a:lnTo>
                <a:lnTo>
                  <a:pt x="590" y="2333"/>
                </a:lnTo>
                <a:lnTo>
                  <a:pt x="590" y="2337"/>
                </a:lnTo>
                <a:lnTo>
                  <a:pt x="588" y="2341"/>
                </a:lnTo>
                <a:lnTo>
                  <a:pt x="585" y="2343"/>
                </a:lnTo>
                <a:lnTo>
                  <a:pt x="581" y="2344"/>
                </a:lnTo>
                <a:lnTo>
                  <a:pt x="581" y="2344"/>
                </a:lnTo>
                <a:lnTo>
                  <a:pt x="556" y="2343"/>
                </a:lnTo>
                <a:lnTo>
                  <a:pt x="532" y="2340"/>
                </a:lnTo>
                <a:lnTo>
                  <a:pt x="509" y="2337"/>
                </a:lnTo>
                <a:lnTo>
                  <a:pt x="488" y="2332"/>
                </a:lnTo>
                <a:lnTo>
                  <a:pt x="467" y="2327"/>
                </a:lnTo>
                <a:lnTo>
                  <a:pt x="448" y="2320"/>
                </a:lnTo>
                <a:lnTo>
                  <a:pt x="429" y="2314"/>
                </a:lnTo>
                <a:lnTo>
                  <a:pt x="412" y="2308"/>
                </a:lnTo>
                <a:lnTo>
                  <a:pt x="380" y="2295"/>
                </a:lnTo>
                <a:lnTo>
                  <a:pt x="352" y="2283"/>
                </a:lnTo>
                <a:lnTo>
                  <a:pt x="327" y="2271"/>
                </a:lnTo>
                <a:lnTo>
                  <a:pt x="316" y="2267"/>
                </a:lnTo>
                <a:lnTo>
                  <a:pt x="305" y="2263"/>
                </a:lnTo>
                <a:lnTo>
                  <a:pt x="305" y="2263"/>
                </a:lnTo>
                <a:lnTo>
                  <a:pt x="286" y="2258"/>
                </a:lnTo>
                <a:lnTo>
                  <a:pt x="268" y="2254"/>
                </a:lnTo>
                <a:lnTo>
                  <a:pt x="253" y="2251"/>
                </a:lnTo>
                <a:lnTo>
                  <a:pt x="237" y="2249"/>
                </a:lnTo>
                <a:lnTo>
                  <a:pt x="224" y="2248"/>
                </a:lnTo>
                <a:lnTo>
                  <a:pt x="213" y="2249"/>
                </a:lnTo>
                <a:lnTo>
                  <a:pt x="202" y="2250"/>
                </a:lnTo>
                <a:lnTo>
                  <a:pt x="192" y="2252"/>
                </a:lnTo>
                <a:lnTo>
                  <a:pt x="185" y="2256"/>
                </a:lnTo>
                <a:lnTo>
                  <a:pt x="178" y="2260"/>
                </a:lnTo>
                <a:lnTo>
                  <a:pt x="172" y="2265"/>
                </a:lnTo>
                <a:lnTo>
                  <a:pt x="167" y="2271"/>
                </a:lnTo>
                <a:lnTo>
                  <a:pt x="163" y="2277"/>
                </a:lnTo>
                <a:lnTo>
                  <a:pt x="160" y="2286"/>
                </a:lnTo>
                <a:lnTo>
                  <a:pt x="156" y="2294"/>
                </a:lnTo>
                <a:lnTo>
                  <a:pt x="155" y="2303"/>
                </a:lnTo>
                <a:lnTo>
                  <a:pt x="155" y="2303"/>
                </a:lnTo>
                <a:lnTo>
                  <a:pt x="154" y="2306"/>
                </a:lnTo>
                <a:lnTo>
                  <a:pt x="152" y="2309"/>
                </a:lnTo>
                <a:lnTo>
                  <a:pt x="150" y="2312"/>
                </a:lnTo>
                <a:lnTo>
                  <a:pt x="147" y="2314"/>
                </a:lnTo>
                <a:lnTo>
                  <a:pt x="140" y="2318"/>
                </a:lnTo>
                <a:lnTo>
                  <a:pt x="132" y="2323"/>
                </a:lnTo>
                <a:lnTo>
                  <a:pt x="109" y="2333"/>
                </a:lnTo>
                <a:lnTo>
                  <a:pt x="97" y="2339"/>
                </a:lnTo>
                <a:lnTo>
                  <a:pt x="84" y="2347"/>
                </a:lnTo>
                <a:lnTo>
                  <a:pt x="71" y="2357"/>
                </a:lnTo>
                <a:lnTo>
                  <a:pt x="57" y="2371"/>
                </a:lnTo>
                <a:lnTo>
                  <a:pt x="51" y="2378"/>
                </a:lnTo>
                <a:lnTo>
                  <a:pt x="45" y="2386"/>
                </a:lnTo>
                <a:lnTo>
                  <a:pt x="39" y="2396"/>
                </a:lnTo>
                <a:lnTo>
                  <a:pt x="33" y="2406"/>
                </a:lnTo>
                <a:lnTo>
                  <a:pt x="28" y="2418"/>
                </a:lnTo>
                <a:lnTo>
                  <a:pt x="22" y="2430"/>
                </a:lnTo>
                <a:lnTo>
                  <a:pt x="17" y="2444"/>
                </a:lnTo>
                <a:lnTo>
                  <a:pt x="13" y="2458"/>
                </a:lnTo>
                <a:lnTo>
                  <a:pt x="9" y="2475"/>
                </a:lnTo>
                <a:lnTo>
                  <a:pt x="6" y="2492"/>
                </a:lnTo>
                <a:lnTo>
                  <a:pt x="3" y="2512"/>
                </a:lnTo>
                <a:lnTo>
                  <a:pt x="0" y="2532"/>
                </a:lnTo>
                <a:lnTo>
                  <a:pt x="0" y="2532"/>
                </a:lnTo>
                <a:lnTo>
                  <a:pt x="1" y="2533"/>
                </a:lnTo>
                <a:lnTo>
                  <a:pt x="2" y="2534"/>
                </a:lnTo>
                <a:lnTo>
                  <a:pt x="6" y="2532"/>
                </a:lnTo>
                <a:lnTo>
                  <a:pt x="12" y="2527"/>
                </a:lnTo>
                <a:lnTo>
                  <a:pt x="20" y="2519"/>
                </a:lnTo>
                <a:lnTo>
                  <a:pt x="43" y="2496"/>
                </a:lnTo>
                <a:lnTo>
                  <a:pt x="69" y="2472"/>
                </a:lnTo>
                <a:lnTo>
                  <a:pt x="82" y="2459"/>
                </a:lnTo>
                <a:lnTo>
                  <a:pt x="95" y="2448"/>
                </a:lnTo>
                <a:lnTo>
                  <a:pt x="107" y="2439"/>
                </a:lnTo>
                <a:lnTo>
                  <a:pt x="119" y="2432"/>
                </a:lnTo>
                <a:lnTo>
                  <a:pt x="124" y="2429"/>
                </a:lnTo>
                <a:lnTo>
                  <a:pt x="129" y="2428"/>
                </a:lnTo>
                <a:lnTo>
                  <a:pt x="133" y="2427"/>
                </a:lnTo>
                <a:lnTo>
                  <a:pt x="137" y="2427"/>
                </a:lnTo>
                <a:lnTo>
                  <a:pt x="140" y="2429"/>
                </a:lnTo>
                <a:lnTo>
                  <a:pt x="143" y="2431"/>
                </a:lnTo>
                <a:lnTo>
                  <a:pt x="144" y="2435"/>
                </a:lnTo>
                <a:lnTo>
                  <a:pt x="146" y="2439"/>
                </a:lnTo>
                <a:lnTo>
                  <a:pt x="146" y="2439"/>
                </a:lnTo>
                <a:lnTo>
                  <a:pt x="149" y="2455"/>
                </a:lnTo>
                <a:lnTo>
                  <a:pt x="154" y="2470"/>
                </a:lnTo>
                <a:lnTo>
                  <a:pt x="162" y="2483"/>
                </a:lnTo>
                <a:lnTo>
                  <a:pt x="170" y="2493"/>
                </a:lnTo>
                <a:lnTo>
                  <a:pt x="179" y="2503"/>
                </a:lnTo>
                <a:lnTo>
                  <a:pt x="189" y="2511"/>
                </a:lnTo>
                <a:lnTo>
                  <a:pt x="200" y="2518"/>
                </a:lnTo>
                <a:lnTo>
                  <a:pt x="214" y="2523"/>
                </a:lnTo>
                <a:lnTo>
                  <a:pt x="227" y="2527"/>
                </a:lnTo>
                <a:lnTo>
                  <a:pt x="241" y="2529"/>
                </a:lnTo>
                <a:lnTo>
                  <a:pt x="256" y="2531"/>
                </a:lnTo>
                <a:lnTo>
                  <a:pt x="271" y="2532"/>
                </a:lnTo>
                <a:lnTo>
                  <a:pt x="287" y="2533"/>
                </a:lnTo>
                <a:lnTo>
                  <a:pt x="304" y="2532"/>
                </a:lnTo>
                <a:lnTo>
                  <a:pt x="337" y="2530"/>
                </a:lnTo>
                <a:lnTo>
                  <a:pt x="371" y="2526"/>
                </a:lnTo>
                <a:lnTo>
                  <a:pt x="405" y="2521"/>
                </a:lnTo>
                <a:lnTo>
                  <a:pt x="438" y="2516"/>
                </a:lnTo>
                <a:lnTo>
                  <a:pt x="468" y="2512"/>
                </a:lnTo>
                <a:lnTo>
                  <a:pt x="496" y="2510"/>
                </a:lnTo>
                <a:lnTo>
                  <a:pt x="509" y="2509"/>
                </a:lnTo>
                <a:lnTo>
                  <a:pt x="520" y="2509"/>
                </a:lnTo>
                <a:lnTo>
                  <a:pt x="531" y="2510"/>
                </a:lnTo>
                <a:lnTo>
                  <a:pt x="541" y="2512"/>
                </a:lnTo>
                <a:lnTo>
                  <a:pt x="549" y="2515"/>
                </a:lnTo>
                <a:lnTo>
                  <a:pt x="555" y="2519"/>
                </a:lnTo>
                <a:lnTo>
                  <a:pt x="555" y="2519"/>
                </a:lnTo>
                <a:lnTo>
                  <a:pt x="558" y="2522"/>
                </a:lnTo>
                <a:lnTo>
                  <a:pt x="559" y="2524"/>
                </a:lnTo>
                <a:lnTo>
                  <a:pt x="557" y="2527"/>
                </a:lnTo>
                <a:lnTo>
                  <a:pt x="554" y="2529"/>
                </a:lnTo>
                <a:lnTo>
                  <a:pt x="549" y="2532"/>
                </a:lnTo>
                <a:lnTo>
                  <a:pt x="542" y="2534"/>
                </a:lnTo>
                <a:lnTo>
                  <a:pt x="525" y="2538"/>
                </a:lnTo>
                <a:lnTo>
                  <a:pt x="475" y="2547"/>
                </a:lnTo>
                <a:lnTo>
                  <a:pt x="447" y="2553"/>
                </a:lnTo>
                <a:lnTo>
                  <a:pt x="417" y="2559"/>
                </a:lnTo>
                <a:lnTo>
                  <a:pt x="388" y="2566"/>
                </a:lnTo>
                <a:lnTo>
                  <a:pt x="359" y="2574"/>
                </a:lnTo>
                <a:lnTo>
                  <a:pt x="346" y="2578"/>
                </a:lnTo>
                <a:lnTo>
                  <a:pt x="333" y="2583"/>
                </a:lnTo>
                <a:lnTo>
                  <a:pt x="322" y="2588"/>
                </a:lnTo>
                <a:lnTo>
                  <a:pt x="312" y="2594"/>
                </a:lnTo>
                <a:lnTo>
                  <a:pt x="303" y="2601"/>
                </a:lnTo>
                <a:lnTo>
                  <a:pt x="294" y="2607"/>
                </a:lnTo>
                <a:lnTo>
                  <a:pt x="288" y="2614"/>
                </a:lnTo>
                <a:lnTo>
                  <a:pt x="284" y="2622"/>
                </a:lnTo>
                <a:lnTo>
                  <a:pt x="282" y="2630"/>
                </a:lnTo>
                <a:lnTo>
                  <a:pt x="281" y="2638"/>
                </a:lnTo>
                <a:lnTo>
                  <a:pt x="283" y="2649"/>
                </a:lnTo>
                <a:lnTo>
                  <a:pt x="287" y="2659"/>
                </a:lnTo>
                <a:lnTo>
                  <a:pt x="287" y="2659"/>
                </a:lnTo>
                <a:lnTo>
                  <a:pt x="287" y="2660"/>
                </a:lnTo>
                <a:lnTo>
                  <a:pt x="286" y="2663"/>
                </a:lnTo>
                <a:lnTo>
                  <a:pt x="283" y="2669"/>
                </a:lnTo>
                <a:lnTo>
                  <a:pt x="268" y="2686"/>
                </a:lnTo>
                <a:lnTo>
                  <a:pt x="258" y="2699"/>
                </a:lnTo>
                <a:lnTo>
                  <a:pt x="247" y="2712"/>
                </a:lnTo>
                <a:lnTo>
                  <a:pt x="237" y="2727"/>
                </a:lnTo>
                <a:lnTo>
                  <a:pt x="228" y="2744"/>
                </a:lnTo>
                <a:lnTo>
                  <a:pt x="220" y="2761"/>
                </a:lnTo>
                <a:lnTo>
                  <a:pt x="217" y="2770"/>
                </a:lnTo>
                <a:lnTo>
                  <a:pt x="214" y="2781"/>
                </a:lnTo>
                <a:lnTo>
                  <a:pt x="213" y="2790"/>
                </a:lnTo>
                <a:lnTo>
                  <a:pt x="212" y="2801"/>
                </a:lnTo>
                <a:lnTo>
                  <a:pt x="212" y="2811"/>
                </a:lnTo>
                <a:lnTo>
                  <a:pt x="213" y="2821"/>
                </a:lnTo>
                <a:lnTo>
                  <a:pt x="215" y="2833"/>
                </a:lnTo>
                <a:lnTo>
                  <a:pt x="219" y="2844"/>
                </a:lnTo>
                <a:lnTo>
                  <a:pt x="223" y="2856"/>
                </a:lnTo>
                <a:lnTo>
                  <a:pt x="229" y="2867"/>
                </a:lnTo>
                <a:lnTo>
                  <a:pt x="237" y="2880"/>
                </a:lnTo>
                <a:lnTo>
                  <a:pt x="246" y="2892"/>
                </a:lnTo>
                <a:lnTo>
                  <a:pt x="257" y="2904"/>
                </a:lnTo>
                <a:lnTo>
                  <a:pt x="270" y="2917"/>
                </a:lnTo>
                <a:lnTo>
                  <a:pt x="270" y="2917"/>
                </a:lnTo>
                <a:lnTo>
                  <a:pt x="270" y="2910"/>
                </a:lnTo>
                <a:lnTo>
                  <a:pt x="272" y="2893"/>
                </a:lnTo>
                <a:lnTo>
                  <a:pt x="277" y="2868"/>
                </a:lnTo>
                <a:lnTo>
                  <a:pt x="281" y="2855"/>
                </a:lnTo>
                <a:lnTo>
                  <a:pt x="285" y="2841"/>
                </a:lnTo>
                <a:lnTo>
                  <a:pt x="291" y="2828"/>
                </a:lnTo>
                <a:lnTo>
                  <a:pt x="298" y="2814"/>
                </a:lnTo>
                <a:lnTo>
                  <a:pt x="306" y="2801"/>
                </a:lnTo>
                <a:lnTo>
                  <a:pt x="315" y="2791"/>
                </a:lnTo>
                <a:lnTo>
                  <a:pt x="321" y="2786"/>
                </a:lnTo>
                <a:lnTo>
                  <a:pt x="326" y="2782"/>
                </a:lnTo>
                <a:lnTo>
                  <a:pt x="332" y="2777"/>
                </a:lnTo>
                <a:lnTo>
                  <a:pt x="339" y="2774"/>
                </a:lnTo>
                <a:lnTo>
                  <a:pt x="346" y="2772"/>
                </a:lnTo>
                <a:lnTo>
                  <a:pt x="354" y="2770"/>
                </a:lnTo>
                <a:lnTo>
                  <a:pt x="361" y="2770"/>
                </a:lnTo>
                <a:lnTo>
                  <a:pt x="369" y="2770"/>
                </a:lnTo>
                <a:lnTo>
                  <a:pt x="369" y="2770"/>
                </a:lnTo>
                <a:lnTo>
                  <a:pt x="383" y="2771"/>
                </a:lnTo>
                <a:lnTo>
                  <a:pt x="396" y="2774"/>
                </a:lnTo>
                <a:lnTo>
                  <a:pt x="408" y="2778"/>
                </a:lnTo>
                <a:lnTo>
                  <a:pt x="420" y="2783"/>
                </a:lnTo>
                <a:lnTo>
                  <a:pt x="443" y="2793"/>
                </a:lnTo>
                <a:lnTo>
                  <a:pt x="454" y="2797"/>
                </a:lnTo>
                <a:lnTo>
                  <a:pt x="465" y="2801"/>
                </a:lnTo>
                <a:lnTo>
                  <a:pt x="476" y="2804"/>
                </a:lnTo>
                <a:lnTo>
                  <a:pt x="489" y="2806"/>
                </a:lnTo>
                <a:lnTo>
                  <a:pt x="501" y="2807"/>
                </a:lnTo>
                <a:lnTo>
                  <a:pt x="514" y="2805"/>
                </a:lnTo>
                <a:lnTo>
                  <a:pt x="528" y="2802"/>
                </a:lnTo>
                <a:lnTo>
                  <a:pt x="542" y="2796"/>
                </a:lnTo>
                <a:lnTo>
                  <a:pt x="558" y="2788"/>
                </a:lnTo>
                <a:lnTo>
                  <a:pt x="575" y="2775"/>
                </a:lnTo>
                <a:lnTo>
                  <a:pt x="575" y="2775"/>
                </a:lnTo>
                <a:lnTo>
                  <a:pt x="588" y="2766"/>
                </a:lnTo>
                <a:lnTo>
                  <a:pt x="600" y="2755"/>
                </a:lnTo>
                <a:lnTo>
                  <a:pt x="614" y="2743"/>
                </a:lnTo>
                <a:lnTo>
                  <a:pt x="630" y="2730"/>
                </a:lnTo>
                <a:lnTo>
                  <a:pt x="651" y="2718"/>
                </a:lnTo>
                <a:lnTo>
                  <a:pt x="664" y="2711"/>
                </a:lnTo>
                <a:lnTo>
                  <a:pt x="678" y="2705"/>
                </a:lnTo>
                <a:lnTo>
                  <a:pt x="693" y="2698"/>
                </a:lnTo>
                <a:lnTo>
                  <a:pt x="712" y="2692"/>
                </a:lnTo>
                <a:lnTo>
                  <a:pt x="732" y="2684"/>
                </a:lnTo>
                <a:lnTo>
                  <a:pt x="754" y="2677"/>
                </a:lnTo>
                <a:lnTo>
                  <a:pt x="754" y="2677"/>
                </a:lnTo>
                <a:lnTo>
                  <a:pt x="756" y="2677"/>
                </a:lnTo>
                <a:lnTo>
                  <a:pt x="757" y="2678"/>
                </a:lnTo>
                <a:lnTo>
                  <a:pt x="760" y="2683"/>
                </a:lnTo>
                <a:lnTo>
                  <a:pt x="762" y="2692"/>
                </a:lnTo>
                <a:lnTo>
                  <a:pt x="765" y="2701"/>
                </a:lnTo>
                <a:lnTo>
                  <a:pt x="768" y="2713"/>
                </a:lnTo>
                <a:lnTo>
                  <a:pt x="772" y="2725"/>
                </a:lnTo>
                <a:lnTo>
                  <a:pt x="777" y="2738"/>
                </a:lnTo>
                <a:lnTo>
                  <a:pt x="783" y="2750"/>
                </a:lnTo>
                <a:lnTo>
                  <a:pt x="783" y="2750"/>
                </a:lnTo>
                <a:lnTo>
                  <a:pt x="786" y="2753"/>
                </a:lnTo>
                <a:lnTo>
                  <a:pt x="789" y="2755"/>
                </a:lnTo>
                <a:lnTo>
                  <a:pt x="797" y="2760"/>
                </a:lnTo>
                <a:lnTo>
                  <a:pt x="805" y="2763"/>
                </a:lnTo>
                <a:lnTo>
                  <a:pt x="813" y="2767"/>
                </a:lnTo>
                <a:lnTo>
                  <a:pt x="821" y="2770"/>
                </a:lnTo>
                <a:lnTo>
                  <a:pt x="827" y="2773"/>
                </a:lnTo>
                <a:lnTo>
                  <a:pt x="830" y="2775"/>
                </a:lnTo>
                <a:lnTo>
                  <a:pt x="831" y="2777"/>
                </a:lnTo>
                <a:lnTo>
                  <a:pt x="833" y="2781"/>
                </a:lnTo>
                <a:lnTo>
                  <a:pt x="833" y="2784"/>
                </a:lnTo>
                <a:lnTo>
                  <a:pt x="833" y="2784"/>
                </a:lnTo>
                <a:lnTo>
                  <a:pt x="832" y="2794"/>
                </a:lnTo>
                <a:lnTo>
                  <a:pt x="830" y="2805"/>
                </a:lnTo>
                <a:lnTo>
                  <a:pt x="826" y="2815"/>
                </a:lnTo>
                <a:lnTo>
                  <a:pt x="822" y="2824"/>
                </a:lnTo>
                <a:lnTo>
                  <a:pt x="817" y="2834"/>
                </a:lnTo>
                <a:lnTo>
                  <a:pt x="811" y="2843"/>
                </a:lnTo>
                <a:lnTo>
                  <a:pt x="798" y="2859"/>
                </a:lnTo>
                <a:lnTo>
                  <a:pt x="784" y="2873"/>
                </a:lnTo>
                <a:lnTo>
                  <a:pt x="773" y="2884"/>
                </a:lnTo>
                <a:lnTo>
                  <a:pt x="765" y="2890"/>
                </a:lnTo>
                <a:lnTo>
                  <a:pt x="763" y="2893"/>
                </a:lnTo>
                <a:lnTo>
                  <a:pt x="763" y="2893"/>
                </a:lnTo>
                <a:lnTo>
                  <a:pt x="767" y="2896"/>
                </a:lnTo>
                <a:lnTo>
                  <a:pt x="778" y="2899"/>
                </a:lnTo>
                <a:lnTo>
                  <a:pt x="785" y="2900"/>
                </a:lnTo>
                <a:lnTo>
                  <a:pt x="794" y="2901"/>
                </a:lnTo>
                <a:lnTo>
                  <a:pt x="804" y="2901"/>
                </a:lnTo>
                <a:lnTo>
                  <a:pt x="815" y="2899"/>
                </a:lnTo>
                <a:lnTo>
                  <a:pt x="826" y="2896"/>
                </a:lnTo>
                <a:lnTo>
                  <a:pt x="839" y="2891"/>
                </a:lnTo>
                <a:lnTo>
                  <a:pt x="852" y="2884"/>
                </a:lnTo>
                <a:lnTo>
                  <a:pt x="865" y="2874"/>
                </a:lnTo>
                <a:lnTo>
                  <a:pt x="879" y="2860"/>
                </a:lnTo>
                <a:lnTo>
                  <a:pt x="894" y="2844"/>
                </a:lnTo>
                <a:lnTo>
                  <a:pt x="907" y="2824"/>
                </a:lnTo>
                <a:lnTo>
                  <a:pt x="921" y="2801"/>
                </a:lnTo>
                <a:lnTo>
                  <a:pt x="921" y="2801"/>
                </a:lnTo>
                <a:lnTo>
                  <a:pt x="924" y="2797"/>
                </a:lnTo>
                <a:lnTo>
                  <a:pt x="927" y="2793"/>
                </a:lnTo>
                <a:lnTo>
                  <a:pt x="930" y="2791"/>
                </a:lnTo>
                <a:lnTo>
                  <a:pt x="935" y="2789"/>
                </a:lnTo>
                <a:lnTo>
                  <a:pt x="939" y="2788"/>
                </a:lnTo>
                <a:lnTo>
                  <a:pt x="943" y="2788"/>
                </a:lnTo>
                <a:lnTo>
                  <a:pt x="951" y="2788"/>
                </a:lnTo>
                <a:lnTo>
                  <a:pt x="970" y="2790"/>
                </a:lnTo>
                <a:lnTo>
                  <a:pt x="982" y="2790"/>
                </a:lnTo>
                <a:lnTo>
                  <a:pt x="987" y="2789"/>
                </a:lnTo>
                <a:lnTo>
                  <a:pt x="992" y="2788"/>
                </a:lnTo>
                <a:lnTo>
                  <a:pt x="992" y="2788"/>
                </a:lnTo>
                <a:lnTo>
                  <a:pt x="1010" y="2782"/>
                </a:lnTo>
                <a:lnTo>
                  <a:pt x="1017" y="2777"/>
                </a:lnTo>
                <a:lnTo>
                  <a:pt x="1024" y="2773"/>
                </a:lnTo>
                <a:lnTo>
                  <a:pt x="1029" y="2770"/>
                </a:lnTo>
                <a:lnTo>
                  <a:pt x="1033" y="2766"/>
                </a:lnTo>
                <a:lnTo>
                  <a:pt x="1036" y="2762"/>
                </a:lnTo>
                <a:lnTo>
                  <a:pt x="1039" y="2757"/>
                </a:lnTo>
                <a:lnTo>
                  <a:pt x="1041" y="2753"/>
                </a:lnTo>
                <a:lnTo>
                  <a:pt x="1042" y="2748"/>
                </a:lnTo>
                <a:lnTo>
                  <a:pt x="1043" y="2739"/>
                </a:lnTo>
                <a:lnTo>
                  <a:pt x="1042" y="2728"/>
                </a:lnTo>
                <a:lnTo>
                  <a:pt x="1040" y="2718"/>
                </a:lnTo>
                <a:lnTo>
                  <a:pt x="1035" y="2696"/>
                </a:lnTo>
                <a:lnTo>
                  <a:pt x="1034" y="2685"/>
                </a:lnTo>
                <a:lnTo>
                  <a:pt x="1033" y="2673"/>
                </a:lnTo>
                <a:lnTo>
                  <a:pt x="1034" y="2662"/>
                </a:lnTo>
                <a:lnTo>
                  <a:pt x="1036" y="2657"/>
                </a:lnTo>
                <a:lnTo>
                  <a:pt x="1038" y="2651"/>
                </a:lnTo>
                <a:lnTo>
                  <a:pt x="1040" y="2646"/>
                </a:lnTo>
                <a:lnTo>
                  <a:pt x="1044" y="2640"/>
                </a:lnTo>
                <a:lnTo>
                  <a:pt x="1048" y="2634"/>
                </a:lnTo>
                <a:lnTo>
                  <a:pt x="1054" y="2629"/>
                </a:lnTo>
                <a:lnTo>
                  <a:pt x="1054" y="2629"/>
                </a:lnTo>
                <a:lnTo>
                  <a:pt x="1069" y="2616"/>
                </a:lnTo>
                <a:lnTo>
                  <a:pt x="1084" y="2603"/>
                </a:lnTo>
                <a:lnTo>
                  <a:pt x="1099" y="2591"/>
                </a:lnTo>
                <a:lnTo>
                  <a:pt x="1115" y="2579"/>
                </a:lnTo>
                <a:lnTo>
                  <a:pt x="1146" y="2559"/>
                </a:lnTo>
                <a:lnTo>
                  <a:pt x="1178" y="2540"/>
                </a:lnTo>
                <a:lnTo>
                  <a:pt x="1210" y="2524"/>
                </a:lnTo>
                <a:lnTo>
                  <a:pt x="1241" y="2509"/>
                </a:lnTo>
                <a:lnTo>
                  <a:pt x="1273" y="2494"/>
                </a:lnTo>
                <a:lnTo>
                  <a:pt x="1304" y="2482"/>
                </a:lnTo>
                <a:lnTo>
                  <a:pt x="1304" y="2482"/>
                </a:lnTo>
                <a:lnTo>
                  <a:pt x="1303" y="2486"/>
                </a:lnTo>
                <a:lnTo>
                  <a:pt x="1299" y="2498"/>
                </a:lnTo>
                <a:lnTo>
                  <a:pt x="1294" y="2518"/>
                </a:lnTo>
                <a:lnTo>
                  <a:pt x="1291" y="2541"/>
                </a:lnTo>
                <a:lnTo>
                  <a:pt x="1290" y="2556"/>
                </a:lnTo>
                <a:lnTo>
                  <a:pt x="1290" y="2570"/>
                </a:lnTo>
                <a:lnTo>
                  <a:pt x="1291" y="2585"/>
                </a:lnTo>
                <a:lnTo>
                  <a:pt x="1292" y="2602"/>
                </a:lnTo>
                <a:lnTo>
                  <a:pt x="1296" y="2618"/>
                </a:lnTo>
                <a:lnTo>
                  <a:pt x="1301" y="2634"/>
                </a:lnTo>
                <a:lnTo>
                  <a:pt x="1306" y="2652"/>
                </a:lnTo>
                <a:lnTo>
                  <a:pt x="1314" y="2669"/>
                </a:lnTo>
                <a:lnTo>
                  <a:pt x="1640" y="2585"/>
                </a:lnTo>
                <a:lnTo>
                  <a:pt x="1640" y="2585"/>
                </a:lnTo>
                <a:lnTo>
                  <a:pt x="1634" y="2569"/>
                </a:lnTo>
                <a:lnTo>
                  <a:pt x="1631" y="2553"/>
                </a:lnTo>
                <a:lnTo>
                  <a:pt x="1629" y="2535"/>
                </a:lnTo>
                <a:lnTo>
                  <a:pt x="1629" y="2518"/>
                </a:lnTo>
                <a:lnTo>
                  <a:pt x="1631" y="2500"/>
                </a:lnTo>
                <a:lnTo>
                  <a:pt x="1634" y="2483"/>
                </a:lnTo>
                <a:lnTo>
                  <a:pt x="1638" y="2466"/>
                </a:lnTo>
                <a:lnTo>
                  <a:pt x="1644" y="2447"/>
                </a:lnTo>
                <a:lnTo>
                  <a:pt x="1651" y="2430"/>
                </a:lnTo>
                <a:lnTo>
                  <a:pt x="1660" y="2411"/>
                </a:lnTo>
                <a:lnTo>
                  <a:pt x="1669" y="2394"/>
                </a:lnTo>
                <a:lnTo>
                  <a:pt x="1679" y="2377"/>
                </a:lnTo>
                <a:lnTo>
                  <a:pt x="1689" y="2359"/>
                </a:lnTo>
                <a:lnTo>
                  <a:pt x="1701" y="2342"/>
                </a:lnTo>
                <a:lnTo>
                  <a:pt x="1725" y="2310"/>
                </a:lnTo>
                <a:lnTo>
                  <a:pt x="1725" y="2310"/>
                </a:lnTo>
                <a:lnTo>
                  <a:pt x="1726" y="2309"/>
                </a:lnTo>
                <a:lnTo>
                  <a:pt x="1727" y="2309"/>
                </a:lnTo>
                <a:lnTo>
                  <a:pt x="1728" y="2313"/>
                </a:lnTo>
                <a:lnTo>
                  <a:pt x="1725" y="2335"/>
                </a:lnTo>
                <a:lnTo>
                  <a:pt x="1721" y="2368"/>
                </a:lnTo>
                <a:lnTo>
                  <a:pt x="1715" y="2410"/>
                </a:lnTo>
                <a:lnTo>
                  <a:pt x="1713" y="2433"/>
                </a:lnTo>
                <a:lnTo>
                  <a:pt x="1711" y="2456"/>
                </a:lnTo>
                <a:lnTo>
                  <a:pt x="1711" y="2478"/>
                </a:lnTo>
                <a:lnTo>
                  <a:pt x="1711" y="2499"/>
                </a:lnTo>
                <a:lnTo>
                  <a:pt x="1713" y="2519"/>
                </a:lnTo>
                <a:lnTo>
                  <a:pt x="1716" y="2536"/>
                </a:lnTo>
                <a:lnTo>
                  <a:pt x="1719" y="2544"/>
                </a:lnTo>
                <a:lnTo>
                  <a:pt x="1722" y="2551"/>
                </a:lnTo>
                <a:lnTo>
                  <a:pt x="1726" y="2557"/>
                </a:lnTo>
                <a:lnTo>
                  <a:pt x="1730" y="2562"/>
                </a:lnTo>
                <a:lnTo>
                  <a:pt x="2050" y="2479"/>
                </a:lnTo>
                <a:lnTo>
                  <a:pt x="2050" y="2479"/>
                </a:lnTo>
                <a:lnTo>
                  <a:pt x="2046" y="2469"/>
                </a:lnTo>
                <a:lnTo>
                  <a:pt x="2043" y="2457"/>
                </a:lnTo>
                <a:lnTo>
                  <a:pt x="2041" y="2446"/>
                </a:lnTo>
                <a:lnTo>
                  <a:pt x="2039" y="2434"/>
                </a:lnTo>
                <a:lnTo>
                  <a:pt x="2038" y="2422"/>
                </a:lnTo>
                <a:lnTo>
                  <a:pt x="2038" y="2409"/>
                </a:lnTo>
                <a:lnTo>
                  <a:pt x="2039" y="2383"/>
                </a:lnTo>
                <a:lnTo>
                  <a:pt x="2043" y="2356"/>
                </a:lnTo>
                <a:lnTo>
                  <a:pt x="2048" y="2330"/>
                </a:lnTo>
                <a:lnTo>
                  <a:pt x="2055" y="2303"/>
                </a:lnTo>
                <a:lnTo>
                  <a:pt x="2064" y="2279"/>
                </a:lnTo>
                <a:lnTo>
                  <a:pt x="2064" y="2279"/>
                </a:lnTo>
                <a:lnTo>
                  <a:pt x="2072" y="2306"/>
                </a:lnTo>
                <a:lnTo>
                  <a:pt x="2079" y="2335"/>
                </a:lnTo>
                <a:lnTo>
                  <a:pt x="2088" y="2362"/>
                </a:lnTo>
                <a:lnTo>
                  <a:pt x="2098" y="2390"/>
                </a:lnTo>
                <a:lnTo>
                  <a:pt x="2108" y="2417"/>
                </a:lnTo>
                <a:lnTo>
                  <a:pt x="2121" y="2443"/>
                </a:lnTo>
                <a:lnTo>
                  <a:pt x="2135" y="2469"/>
                </a:lnTo>
                <a:lnTo>
                  <a:pt x="2149" y="2494"/>
                </a:lnTo>
                <a:lnTo>
                  <a:pt x="2166" y="2519"/>
                </a:lnTo>
                <a:lnTo>
                  <a:pt x="2183" y="2541"/>
                </a:lnTo>
                <a:lnTo>
                  <a:pt x="2201" y="2563"/>
                </a:lnTo>
                <a:lnTo>
                  <a:pt x="2222" y="2583"/>
                </a:lnTo>
                <a:lnTo>
                  <a:pt x="2244" y="2603"/>
                </a:lnTo>
                <a:lnTo>
                  <a:pt x="2268" y="2619"/>
                </a:lnTo>
                <a:lnTo>
                  <a:pt x="2280" y="2627"/>
                </a:lnTo>
                <a:lnTo>
                  <a:pt x="2292" y="2634"/>
                </a:lnTo>
                <a:lnTo>
                  <a:pt x="2306" y="2641"/>
                </a:lnTo>
                <a:lnTo>
                  <a:pt x="2320" y="2648"/>
                </a:lnTo>
                <a:lnTo>
                  <a:pt x="2320" y="2648"/>
                </a:lnTo>
                <a:lnTo>
                  <a:pt x="2365" y="2667"/>
                </a:lnTo>
                <a:lnTo>
                  <a:pt x="2410" y="2685"/>
                </a:lnTo>
                <a:lnTo>
                  <a:pt x="2454" y="2702"/>
                </a:lnTo>
                <a:lnTo>
                  <a:pt x="2499" y="2718"/>
                </a:lnTo>
                <a:lnTo>
                  <a:pt x="2544" y="2733"/>
                </a:lnTo>
                <a:lnTo>
                  <a:pt x="2589" y="2749"/>
                </a:lnTo>
                <a:lnTo>
                  <a:pt x="2683" y="2778"/>
                </a:lnTo>
                <a:lnTo>
                  <a:pt x="2782" y="2807"/>
                </a:lnTo>
                <a:lnTo>
                  <a:pt x="2889" y="2838"/>
                </a:lnTo>
                <a:lnTo>
                  <a:pt x="3005" y="2872"/>
                </a:lnTo>
                <a:lnTo>
                  <a:pt x="3133" y="2908"/>
                </a:lnTo>
                <a:lnTo>
                  <a:pt x="3133" y="2908"/>
                </a:lnTo>
                <a:lnTo>
                  <a:pt x="3205" y="2931"/>
                </a:lnTo>
                <a:lnTo>
                  <a:pt x="3273" y="2954"/>
                </a:lnTo>
                <a:lnTo>
                  <a:pt x="3305" y="2966"/>
                </a:lnTo>
                <a:lnTo>
                  <a:pt x="3333" y="2977"/>
                </a:lnTo>
                <a:lnTo>
                  <a:pt x="3358" y="2987"/>
                </a:lnTo>
                <a:lnTo>
                  <a:pt x="3377" y="2996"/>
                </a:lnTo>
                <a:lnTo>
                  <a:pt x="3377" y="2996"/>
                </a:lnTo>
                <a:lnTo>
                  <a:pt x="3383" y="2999"/>
                </a:lnTo>
                <a:lnTo>
                  <a:pt x="3389" y="3003"/>
                </a:lnTo>
                <a:lnTo>
                  <a:pt x="3393" y="3006"/>
                </a:lnTo>
                <a:lnTo>
                  <a:pt x="3397" y="3011"/>
                </a:lnTo>
                <a:lnTo>
                  <a:pt x="3399" y="3015"/>
                </a:lnTo>
                <a:lnTo>
                  <a:pt x="3401" y="3020"/>
                </a:lnTo>
                <a:lnTo>
                  <a:pt x="3402" y="3024"/>
                </a:lnTo>
                <a:lnTo>
                  <a:pt x="3402" y="3028"/>
                </a:lnTo>
                <a:lnTo>
                  <a:pt x="3401" y="3037"/>
                </a:lnTo>
                <a:lnTo>
                  <a:pt x="3397" y="3046"/>
                </a:lnTo>
                <a:lnTo>
                  <a:pt x="3392" y="3055"/>
                </a:lnTo>
                <a:lnTo>
                  <a:pt x="3386" y="3064"/>
                </a:lnTo>
                <a:lnTo>
                  <a:pt x="3378" y="3072"/>
                </a:lnTo>
                <a:lnTo>
                  <a:pt x="3371" y="3080"/>
                </a:lnTo>
                <a:lnTo>
                  <a:pt x="3357" y="3092"/>
                </a:lnTo>
                <a:lnTo>
                  <a:pt x="3346" y="3102"/>
                </a:lnTo>
                <a:lnTo>
                  <a:pt x="3341" y="3105"/>
                </a:lnTo>
                <a:lnTo>
                  <a:pt x="3341" y="3105"/>
                </a:lnTo>
                <a:lnTo>
                  <a:pt x="3355" y="3113"/>
                </a:lnTo>
                <a:lnTo>
                  <a:pt x="3371" y="3121"/>
                </a:lnTo>
                <a:lnTo>
                  <a:pt x="3411" y="3139"/>
                </a:lnTo>
                <a:lnTo>
                  <a:pt x="3435" y="3152"/>
                </a:lnTo>
                <a:lnTo>
                  <a:pt x="3461" y="3167"/>
                </a:lnTo>
                <a:lnTo>
                  <a:pt x="3492" y="3186"/>
                </a:lnTo>
                <a:lnTo>
                  <a:pt x="3527" y="3211"/>
                </a:lnTo>
                <a:lnTo>
                  <a:pt x="3527" y="3211"/>
                </a:lnTo>
                <a:lnTo>
                  <a:pt x="3545" y="3226"/>
                </a:lnTo>
                <a:lnTo>
                  <a:pt x="3563" y="3244"/>
                </a:lnTo>
                <a:lnTo>
                  <a:pt x="3580" y="3263"/>
                </a:lnTo>
                <a:lnTo>
                  <a:pt x="3595" y="3284"/>
                </a:lnTo>
                <a:lnTo>
                  <a:pt x="3608" y="3305"/>
                </a:lnTo>
                <a:lnTo>
                  <a:pt x="3622" y="3329"/>
                </a:lnTo>
                <a:lnTo>
                  <a:pt x="3634" y="3352"/>
                </a:lnTo>
                <a:lnTo>
                  <a:pt x="3645" y="3378"/>
                </a:lnTo>
                <a:lnTo>
                  <a:pt x="3655" y="3404"/>
                </a:lnTo>
                <a:lnTo>
                  <a:pt x="3665" y="3432"/>
                </a:lnTo>
                <a:lnTo>
                  <a:pt x="3674" y="3460"/>
                </a:lnTo>
                <a:lnTo>
                  <a:pt x="3682" y="3489"/>
                </a:lnTo>
                <a:lnTo>
                  <a:pt x="3698" y="3549"/>
                </a:lnTo>
                <a:lnTo>
                  <a:pt x="3714" y="3612"/>
                </a:lnTo>
                <a:lnTo>
                  <a:pt x="3714" y="3612"/>
                </a:lnTo>
                <a:lnTo>
                  <a:pt x="3725" y="3662"/>
                </a:lnTo>
                <a:lnTo>
                  <a:pt x="3734" y="3715"/>
                </a:lnTo>
                <a:lnTo>
                  <a:pt x="3742" y="3768"/>
                </a:lnTo>
                <a:lnTo>
                  <a:pt x="3744" y="3795"/>
                </a:lnTo>
                <a:lnTo>
                  <a:pt x="3746" y="3819"/>
                </a:lnTo>
                <a:lnTo>
                  <a:pt x="3748" y="3844"/>
                </a:lnTo>
                <a:lnTo>
                  <a:pt x="3749" y="3867"/>
                </a:lnTo>
                <a:lnTo>
                  <a:pt x="3748" y="3889"/>
                </a:lnTo>
                <a:lnTo>
                  <a:pt x="3745" y="3909"/>
                </a:lnTo>
                <a:lnTo>
                  <a:pt x="3742" y="3928"/>
                </a:lnTo>
                <a:lnTo>
                  <a:pt x="3737" y="3944"/>
                </a:lnTo>
                <a:lnTo>
                  <a:pt x="3731" y="3957"/>
                </a:lnTo>
                <a:lnTo>
                  <a:pt x="3728" y="3963"/>
                </a:lnTo>
                <a:lnTo>
                  <a:pt x="3724" y="3969"/>
                </a:lnTo>
                <a:lnTo>
                  <a:pt x="3724" y="3969"/>
                </a:lnTo>
                <a:lnTo>
                  <a:pt x="3715" y="3979"/>
                </a:lnTo>
                <a:lnTo>
                  <a:pt x="3705" y="3989"/>
                </a:lnTo>
                <a:lnTo>
                  <a:pt x="3691" y="3998"/>
                </a:lnTo>
                <a:lnTo>
                  <a:pt x="3683" y="4003"/>
                </a:lnTo>
                <a:lnTo>
                  <a:pt x="3673" y="4008"/>
                </a:lnTo>
                <a:lnTo>
                  <a:pt x="3663" y="4014"/>
                </a:lnTo>
                <a:lnTo>
                  <a:pt x="3650" y="4019"/>
                </a:lnTo>
                <a:lnTo>
                  <a:pt x="3621" y="4028"/>
                </a:lnTo>
                <a:lnTo>
                  <a:pt x="3582" y="4038"/>
                </a:lnTo>
                <a:lnTo>
                  <a:pt x="3535" y="4048"/>
                </a:lnTo>
                <a:lnTo>
                  <a:pt x="3560" y="4171"/>
                </a:lnTo>
                <a:lnTo>
                  <a:pt x="3560" y="4171"/>
                </a:lnTo>
                <a:lnTo>
                  <a:pt x="3579" y="4172"/>
                </a:lnTo>
                <a:lnTo>
                  <a:pt x="3597" y="4172"/>
                </a:lnTo>
                <a:lnTo>
                  <a:pt x="3615" y="4171"/>
                </a:lnTo>
                <a:lnTo>
                  <a:pt x="3631" y="4169"/>
                </a:lnTo>
                <a:lnTo>
                  <a:pt x="3646" y="4167"/>
                </a:lnTo>
                <a:lnTo>
                  <a:pt x="3662" y="4164"/>
                </a:lnTo>
                <a:lnTo>
                  <a:pt x="3688" y="4157"/>
                </a:lnTo>
                <a:lnTo>
                  <a:pt x="3711" y="4150"/>
                </a:lnTo>
                <a:lnTo>
                  <a:pt x="3728" y="4143"/>
                </a:lnTo>
                <a:lnTo>
                  <a:pt x="3742" y="4137"/>
                </a:lnTo>
                <a:lnTo>
                  <a:pt x="3742" y="4137"/>
                </a:lnTo>
                <a:lnTo>
                  <a:pt x="3736" y="4143"/>
                </a:lnTo>
                <a:lnTo>
                  <a:pt x="3730" y="4151"/>
                </a:lnTo>
                <a:lnTo>
                  <a:pt x="3722" y="4161"/>
                </a:lnTo>
                <a:lnTo>
                  <a:pt x="3722" y="4161"/>
                </a:lnTo>
                <a:lnTo>
                  <a:pt x="3711" y="4177"/>
                </a:lnTo>
                <a:lnTo>
                  <a:pt x="3700" y="4194"/>
                </a:lnTo>
                <a:lnTo>
                  <a:pt x="3692" y="4209"/>
                </a:lnTo>
                <a:lnTo>
                  <a:pt x="3685" y="4224"/>
                </a:lnTo>
                <a:lnTo>
                  <a:pt x="3680" y="4240"/>
                </a:lnTo>
                <a:lnTo>
                  <a:pt x="3675" y="4257"/>
                </a:lnTo>
                <a:lnTo>
                  <a:pt x="3672" y="4274"/>
                </a:lnTo>
                <a:lnTo>
                  <a:pt x="3669" y="4295"/>
                </a:lnTo>
                <a:lnTo>
                  <a:pt x="3799" y="4379"/>
                </a:lnTo>
                <a:lnTo>
                  <a:pt x="3799" y="4379"/>
                </a:lnTo>
                <a:lnTo>
                  <a:pt x="3812" y="4338"/>
                </a:lnTo>
                <a:lnTo>
                  <a:pt x="3826" y="4298"/>
                </a:lnTo>
                <a:lnTo>
                  <a:pt x="3841" y="4262"/>
                </a:lnTo>
                <a:lnTo>
                  <a:pt x="3855" y="4229"/>
                </a:lnTo>
                <a:lnTo>
                  <a:pt x="3870" y="4202"/>
                </a:lnTo>
                <a:lnTo>
                  <a:pt x="3877" y="4189"/>
                </a:lnTo>
                <a:lnTo>
                  <a:pt x="3885" y="4179"/>
                </a:lnTo>
                <a:lnTo>
                  <a:pt x="3892" y="4170"/>
                </a:lnTo>
                <a:lnTo>
                  <a:pt x="3899" y="4163"/>
                </a:lnTo>
                <a:lnTo>
                  <a:pt x="3906" y="4158"/>
                </a:lnTo>
                <a:lnTo>
                  <a:pt x="3913" y="4154"/>
                </a:lnTo>
                <a:lnTo>
                  <a:pt x="3913" y="4154"/>
                </a:lnTo>
                <a:lnTo>
                  <a:pt x="3919" y="4152"/>
                </a:lnTo>
                <a:lnTo>
                  <a:pt x="3926" y="4152"/>
                </a:lnTo>
                <a:lnTo>
                  <a:pt x="3935" y="4152"/>
                </a:lnTo>
                <a:lnTo>
                  <a:pt x="3944" y="4153"/>
                </a:lnTo>
                <a:lnTo>
                  <a:pt x="3954" y="4155"/>
                </a:lnTo>
                <a:lnTo>
                  <a:pt x="3965" y="4157"/>
                </a:lnTo>
                <a:lnTo>
                  <a:pt x="3990" y="4166"/>
                </a:lnTo>
                <a:lnTo>
                  <a:pt x="4017" y="4177"/>
                </a:lnTo>
                <a:lnTo>
                  <a:pt x="4047" y="4192"/>
                </a:lnTo>
                <a:lnTo>
                  <a:pt x="4078" y="4212"/>
                </a:lnTo>
                <a:lnTo>
                  <a:pt x="4110" y="4233"/>
                </a:lnTo>
                <a:lnTo>
                  <a:pt x="4127" y="4246"/>
                </a:lnTo>
                <a:lnTo>
                  <a:pt x="4143" y="4259"/>
                </a:lnTo>
                <a:lnTo>
                  <a:pt x="4160" y="4273"/>
                </a:lnTo>
                <a:lnTo>
                  <a:pt x="4176" y="4288"/>
                </a:lnTo>
                <a:lnTo>
                  <a:pt x="4192" y="4303"/>
                </a:lnTo>
                <a:lnTo>
                  <a:pt x="4208" y="4319"/>
                </a:lnTo>
                <a:lnTo>
                  <a:pt x="4224" y="4337"/>
                </a:lnTo>
                <a:lnTo>
                  <a:pt x="4239" y="4355"/>
                </a:lnTo>
                <a:lnTo>
                  <a:pt x="4254" y="4373"/>
                </a:lnTo>
                <a:lnTo>
                  <a:pt x="4268" y="4393"/>
                </a:lnTo>
                <a:lnTo>
                  <a:pt x="4282" y="4413"/>
                </a:lnTo>
                <a:lnTo>
                  <a:pt x="4296" y="4435"/>
                </a:lnTo>
                <a:lnTo>
                  <a:pt x="4308" y="4456"/>
                </a:lnTo>
                <a:lnTo>
                  <a:pt x="4320" y="4479"/>
                </a:lnTo>
                <a:lnTo>
                  <a:pt x="4331" y="4502"/>
                </a:lnTo>
                <a:lnTo>
                  <a:pt x="4342" y="4527"/>
                </a:lnTo>
                <a:lnTo>
                  <a:pt x="4342" y="4527"/>
                </a:lnTo>
                <a:lnTo>
                  <a:pt x="4347" y="4541"/>
                </a:lnTo>
                <a:lnTo>
                  <a:pt x="4352" y="4558"/>
                </a:lnTo>
                <a:lnTo>
                  <a:pt x="4356" y="4574"/>
                </a:lnTo>
                <a:lnTo>
                  <a:pt x="4360" y="4591"/>
                </a:lnTo>
                <a:lnTo>
                  <a:pt x="4363" y="4610"/>
                </a:lnTo>
                <a:lnTo>
                  <a:pt x="4366" y="4628"/>
                </a:lnTo>
                <a:lnTo>
                  <a:pt x="4370" y="4667"/>
                </a:lnTo>
                <a:lnTo>
                  <a:pt x="4372" y="4706"/>
                </a:lnTo>
                <a:lnTo>
                  <a:pt x="4371" y="4747"/>
                </a:lnTo>
                <a:lnTo>
                  <a:pt x="4370" y="4767"/>
                </a:lnTo>
                <a:lnTo>
                  <a:pt x="4369" y="4787"/>
                </a:lnTo>
                <a:lnTo>
                  <a:pt x="4366" y="4807"/>
                </a:lnTo>
                <a:lnTo>
                  <a:pt x="4363" y="4826"/>
                </a:lnTo>
                <a:lnTo>
                  <a:pt x="4360" y="4846"/>
                </a:lnTo>
                <a:lnTo>
                  <a:pt x="4356" y="4864"/>
                </a:lnTo>
                <a:lnTo>
                  <a:pt x="4351" y="4883"/>
                </a:lnTo>
                <a:lnTo>
                  <a:pt x="4345" y="4900"/>
                </a:lnTo>
                <a:lnTo>
                  <a:pt x="4339" y="4917"/>
                </a:lnTo>
                <a:lnTo>
                  <a:pt x="4332" y="4933"/>
                </a:lnTo>
                <a:lnTo>
                  <a:pt x="4324" y="4948"/>
                </a:lnTo>
                <a:lnTo>
                  <a:pt x="4316" y="4962"/>
                </a:lnTo>
                <a:lnTo>
                  <a:pt x="4307" y="4976"/>
                </a:lnTo>
                <a:lnTo>
                  <a:pt x="4298" y="4988"/>
                </a:lnTo>
                <a:lnTo>
                  <a:pt x="4287" y="4999"/>
                </a:lnTo>
                <a:lnTo>
                  <a:pt x="4276" y="5008"/>
                </a:lnTo>
                <a:lnTo>
                  <a:pt x="4264" y="5017"/>
                </a:lnTo>
                <a:lnTo>
                  <a:pt x="4252" y="5024"/>
                </a:lnTo>
                <a:lnTo>
                  <a:pt x="4238" y="5029"/>
                </a:lnTo>
                <a:lnTo>
                  <a:pt x="4224" y="5032"/>
                </a:lnTo>
                <a:lnTo>
                  <a:pt x="4224" y="5032"/>
                </a:lnTo>
                <a:lnTo>
                  <a:pt x="4216" y="5033"/>
                </a:lnTo>
                <a:lnTo>
                  <a:pt x="4208" y="5033"/>
                </a:lnTo>
                <a:lnTo>
                  <a:pt x="4198" y="5032"/>
                </a:lnTo>
                <a:lnTo>
                  <a:pt x="4188" y="5030"/>
                </a:lnTo>
                <a:lnTo>
                  <a:pt x="4168" y="5025"/>
                </a:lnTo>
                <a:lnTo>
                  <a:pt x="4145" y="5017"/>
                </a:lnTo>
                <a:lnTo>
                  <a:pt x="4123" y="5006"/>
                </a:lnTo>
                <a:lnTo>
                  <a:pt x="4099" y="4995"/>
                </a:lnTo>
                <a:lnTo>
                  <a:pt x="4051" y="4973"/>
                </a:lnTo>
                <a:lnTo>
                  <a:pt x="4028" y="4961"/>
                </a:lnTo>
                <a:lnTo>
                  <a:pt x="4005" y="4952"/>
                </a:lnTo>
                <a:lnTo>
                  <a:pt x="3984" y="4945"/>
                </a:lnTo>
                <a:lnTo>
                  <a:pt x="3964" y="4940"/>
                </a:lnTo>
                <a:lnTo>
                  <a:pt x="3955" y="4939"/>
                </a:lnTo>
                <a:lnTo>
                  <a:pt x="3947" y="4938"/>
                </a:lnTo>
                <a:lnTo>
                  <a:pt x="3939" y="4939"/>
                </a:lnTo>
                <a:lnTo>
                  <a:pt x="3932" y="4940"/>
                </a:lnTo>
                <a:lnTo>
                  <a:pt x="3924" y="4943"/>
                </a:lnTo>
                <a:lnTo>
                  <a:pt x="3919" y="4947"/>
                </a:lnTo>
                <a:lnTo>
                  <a:pt x="3914" y="4952"/>
                </a:lnTo>
                <a:lnTo>
                  <a:pt x="3909" y="4958"/>
                </a:lnTo>
                <a:lnTo>
                  <a:pt x="3909" y="4958"/>
                </a:lnTo>
                <a:lnTo>
                  <a:pt x="3905" y="4965"/>
                </a:lnTo>
                <a:lnTo>
                  <a:pt x="3900" y="4973"/>
                </a:lnTo>
                <a:lnTo>
                  <a:pt x="3893" y="4979"/>
                </a:lnTo>
                <a:lnTo>
                  <a:pt x="3886" y="4985"/>
                </a:lnTo>
                <a:lnTo>
                  <a:pt x="3869" y="4996"/>
                </a:lnTo>
                <a:lnTo>
                  <a:pt x="3851" y="5006"/>
                </a:lnTo>
                <a:lnTo>
                  <a:pt x="3810" y="5028"/>
                </a:lnTo>
                <a:lnTo>
                  <a:pt x="3789" y="5039"/>
                </a:lnTo>
                <a:lnTo>
                  <a:pt x="3770" y="5052"/>
                </a:lnTo>
                <a:lnTo>
                  <a:pt x="3761" y="5058"/>
                </a:lnTo>
                <a:lnTo>
                  <a:pt x="3752" y="5067"/>
                </a:lnTo>
                <a:lnTo>
                  <a:pt x="3743" y="5074"/>
                </a:lnTo>
                <a:lnTo>
                  <a:pt x="3735" y="5083"/>
                </a:lnTo>
                <a:lnTo>
                  <a:pt x="3728" y="5092"/>
                </a:lnTo>
                <a:lnTo>
                  <a:pt x="3722" y="5102"/>
                </a:lnTo>
                <a:lnTo>
                  <a:pt x="3717" y="5113"/>
                </a:lnTo>
                <a:lnTo>
                  <a:pt x="3713" y="5125"/>
                </a:lnTo>
                <a:lnTo>
                  <a:pt x="3710" y="5137"/>
                </a:lnTo>
                <a:lnTo>
                  <a:pt x="3708" y="5151"/>
                </a:lnTo>
                <a:lnTo>
                  <a:pt x="3707" y="5165"/>
                </a:lnTo>
                <a:lnTo>
                  <a:pt x="3707" y="5181"/>
                </a:lnTo>
                <a:lnTo>
                  <a:pt x="3709" y="5198"/>
                </a:lnTo>
                <a:lnTo>
                  <a:pt x="3713" y="5215"/>
                </a:lnTo>
                <a:lnTo>
                  <a:pt x="3718" y="5234"/>
                </a:lnTo>
                <a:lnTo>
                  <a:pt x="3724" y="5255"/>
                </a:lnTo>
                <a:lnTo>
                  <a:pt x="3724" y="5255"/>
                </a:lnTo>
                <a:lnTo>
                  <a:pt x="3741" y="5234"/>
                </a:lnTo>
                <a:lnTo>
                  <a:pt x="3759" y="5213"/>
                </a:lnTo>
                <a:lnTo>
                  <a:pt x="3776" y="5194"/>
                </a:lnTo>
                <a:lnTo>
                  <a:pt x="3794" y="5178"/>
                </a:lnTo>
                <a:lnTo>
                  <a:pt x="3802" y="5171"/>
                </a:lnTo>
                <a:lnTo>
                  <a:pt x="3811" y="5165"/>
                </a:lnTo>
                <a:lnTo>
                  <a:pt x="3819" y="5159"/>
                </a:lnTo>
                <a:lnTo>
                  <a:pt x="3827" y="5155"/>
                </a:lnTo>
                <a:lnTo>
                  <a:pt x="3835" y="5153"/>
                </a:lnTo>
                <a:lnTo>
                  <a:pt x="3843" y="5151"/>
                </a:lnTo>
                <a:lnTo>
                  <a:pt x="3850" y="5151"/>
                </a:lnTo>
                <a:lnTo>
                  <a:pt x="3857" y="5153"/>
                </a:lnTo>
                <a:lnTo>
                  <a:pt x="3857" y="5153"/>
                </a:lnTo>
                <a:lnTo>
                  <a:pt x="3861" y="5155"/>
                </a:lnTo>
                <a:lnTo>
                  <a:pt x="3864" y="5157"/>
                </a:lnTo>
                <a:lnTo>
                  <a:pt x="3870" y="5163"/>
                </a:lnTo>
                <a:lnTo>
                  <a:pt x="3875" y="5171"/>
                </a:lnTo>
                <a:lnTo>
                  <a:pt x="3879" y="5179"/>
                </a:lnTo>
                <a:lnTo>
                  <a:pt x="3888" y="5200"/>
                </a:lnTo>
                <a:lnTo>
                  <a:pt x="3894" y="5210"/>
                </a:lnTo>
                <a:lnTo>
                  <a:pt x="3901" y="5220"/>
                </a:lnTo>
                <a:lnTo>
                  <a:pt x="3901" y="5220"/>
                </a:lnTo>
                <a:lnTo>
                  <a:pt x="3904" y="5223"/>
                </a:lnTo>
                <a:lnTo>
                  <a:pt x="3908" y="5225"/>
                </a:lnTo>
                <a:lnTo>
                  <a:pt x="3913" y="5227"/>
                </a:lnTo>
                <a:lnTo>
                  <a:pt x="3919" y="5228"/>
                </a:lnTo>
                <a:lnTo>
                  <a:pt x="3934" y="5230"/>
                </a:lnTo>
                <a:lnTo>
                  <a:pt x="3950" y="5230"/>
                </a:lnTo>
                <a:lnTo>
                  <a:pt x="3968" y="5229"/>
                </a:lnTo>
                <a:lnTo>
                  <a:pt x="3989" y="5227"/>
                </a:lnTo>
                <a:lnTo>
                  <a:pt x="4032" y="5223"/>
                </a:lnTo>
                <a:lnTo>
                  <a:pt x="4074" y="5219"/>
                </a:lnTo>
                <a:lnTo>
                  <a:pt x="4093" y="5217"/>
                </a:lnTo>
                <a:lnTo>
                  <a:pt x="4110" y="5217"/>
                </a:lnTo>
                <a:lnTo>
                  <a:pt x="4126" y="5217"/>
                </a:lnTo>
                <a:lnTo>
                  <a:pt x="4137" y="5219"/>
                </a:lnTo>
                <a:lnTo>
                  <a:pt x="4142" y="5221"/>
                </a:lnTo>
                <a:lnTo>
                  <a:pt x="4146" y="5223"/>
                </a:lnTo>
                <a:lnTo>
                  <a:pt x="4148" y="5225"/>
                </a:lnTo>
                <a:lnTo>
                  <a:pt x="4150" y="5228"/>
                </a:lnTo>
                <a:lnTo>
                  <a:pt x="4150" y="5228"/>
                </a:lnTo>
                <a:lnTo>
                  <a:pt x="4151" y="5231"/>
                </a:lnTo>
                <a:lnTo>
                  <a:pt x="4150" y="5234"/>
                </a:lnTo>
                <a:lnTo>
                  <a:pt x="4149" y="5236"/>
                </a:lnTo>
                <a:lnTo>
                  <a:pt x="4148" y="5238"/>
                </a:lnTo>
                <a:lnTo>
                  <a:pt x="4143" y="5242"/>
                </a:lnTo>
                <a:lnTo>
                  <a:pt x="4136" y="5243"/>
                </a:lnTo>
                <a:lnTo>
                  <a:pt x="4118" y="5246"/>
                </a:lnTo>
                <a:lnTo>
                  <a:pt x="4100" y="5248"/>
                </a:lnTo>
                <a:lnTo>
                  <a:pt x="4100" y="5248"/>
                </a:lnTo>
                <a:lnTo>
                  <a:pt x="4021" y="5262"/>
                </a:lnTo>
                <a:lnTo>
                  <a:pt x="3981" y="5269"/>
                </a:lnTo>
                <a:lnTo>
                  <a:pt x="3943" y="5277"/>
                </a:lnTo>
                <a:lnTo>
                  <a:pt x="3925" y="5282"/>
                </a:lnTo>
                <a:lnTo>
                  <a:pt x="3909" y="5288"/>
                </a:lnTo>
                <a:lnTo>
                  <a:pt x="3894" y="5294"/>
                </a:lnTo>
                <a:lnTo>
                  <a:pt x="3881" y="5300"/>
                </a:lnTo>
                <a:lnTo>
                  <a:pt x="3869" y="5306"/>
                </a:lnTo>
                <a:lnTo>
                  <a:pt x="3860" y="5314"/>
                </a:lnTo>
                <a:lnTo>
                  <a:pt x="3853" y="5322"/>
                </a:lnTo>
                <a:lnTo>
                  <a:pt x="3850" y="5326"/>
                </a:lnTo>
                <a:lnTo>
                  <a:pt x="3848" y="5331"/>
                </a:lnTo>
                <a:lnTo>
                  <a:pt x="3848" y="5331"/>
                </a:lnTo>
                <a:lnTo>
                  <a:pt x="3846" y="5338"/>
                </a:lnTo>
                <a:lnTo>
                  <a:pt x="3846" y="5342"/>
                </a:lnTo>
                <a:lnTo>
                  <a:pt x="3847" y="5352"/>
                </a:lnTo>
                <a:lnTo>
                  <a:pt x="3847" y="5357"/>
                </a:lnTo>
                <a:lnTo>
                  <a:pt x="3846" y="5363"/>
                </a:lnTo>
                <a:lnTo>
                  <a:pt x="3845" y="5371"/>
                </a:lnTo>
                <a:lnTo>
                  <a:pt x="3842" y="5382"/>
                </a:lnTo>
                <a:lnTo>
                  <a:pt x="3842" y="5382"/>
                </a:lnTo>
                <a:lnTo>
                  <a:pt x="3837" y="5393"/>
                </a:lnTo>
                <a:lnTo>
                  <a:pt x="3831" y="5402"/>
                </a:lnTo>
                <a:lnTo>
                  <a:pt x="3823" y="5410"/>
                </a:lnTo>
                <a:lnTo>
                  <a:pt x="3815" y="5418"/>
                </a:lnTo>
                <a:lnTo>
                  <a:pt x="3796" y="5434"/>
                </a:lnTo>
                <a:lnTo>
                  <a:pt x="3786" y="5442"/>
                </a:lnTo>
                <a:lnTo>
                  <a:pt x="3776" y="5451"/>
                </a:lnTo>
                <a:lnTo>
                  <a:pt x="3767" y="5460"/>
                </a:lnTo>
                <a:lnTo>
                  <a:pt x="3758" y="5472"/>
                </a:lnTo>
                <a:lnTo>
                  <a:pt x="3750" y="5485"/>
                </a:lnTo>
                <a:lnTo>
                  <a:pt x="3742" y="5499"/>
                </a:lnTo>
                <a:lnTo>
                  <a:pt x="3736" y="5517"/>
                </a:lnTo>
                <a:lnTo>
                  <a:pt x="3732" y="5536"/>
                </a:lnTo>
                <a:lnTo>
                  <a:pt x="3730" y="5558"/>
                </a:lnTo>
                <a:lnTo>
                  <a:pt x="3730" y="5584"/>
                </a:lnTo>
                <a:lnTo>
                  <a:pt x="3730" y="5584"/>
                </a:lnTo>
                <a:lnTo>
                  <a:pt x="3732" y="5597"/>
                </a:lnTo>
                <a:lnTo>
                  <a:pt x="3735" y="5610"/>
                </a:lnTo>
                <a:lnTo>
                  <a:pt x="3739" y="5622"/>
                </a:lnTo>
                <a:lnTo>
                  <a:pt x="3744" y="5634"/>
                </a:lnTo>
                <a:lnTo>
                  <a:pt x="3751" y="5644"/>
                </a:lnTo>
                <a:lnTo>
                  <a:pt x="3757" y="5656"/>
                </a:lnTo>
                <a:lnTo>
                  <a:pt x="3763" y="5665"/>
                </a:lnTo>
                <a:lnTo>
                  <a:pt x="3770" y="5674"/>
                </a:lnTo>
                <a:lnTo>
                  <a:pt x="3784" y="5689"/>
                </a:lnTo>
                <a:lnTo>
                  <a:pt x="3797" y="5701"/>
                </a:lnTo>
                <a:lnTo>
                  <a:pt x="3807" y="5708"/>
                </a:lnTo>
                <a:lnTo>
                  <a:pt x="3810" y="5710"/>
                </a:lnTo>
                <a:lnTo>
                  <a:pt x="3813" y="5711"/>
                </a:lnTo>
                <a:lnTo>
                  <a:pt x="3813" y="5711"/>
                </a:lnTo>
                <a:lnTo>
                  <a:pt x="3814" y="5710"/>
                </a:lnTo>
                <a:lnTo>
                  <a:pt x="3815" y="5709"/>
                </a:lnTo>
                <a:lnTo>
                  <a:pt x="3816" y="5704"/>
                </a:lnTo>
                <a:lnTo>
                  <a:pt x="3818" y="5696"/>
                </a:lnTo>
                <a:lnTo>
                  <a:pt x="3818" y="5686"/>
                </a:lnTo>
                <a:lnTo>
                  <a:pt x="3820" y="5662"/>
                </a:lnTo>
                <a:lnTo>
                  <a:pt x="3823" y="5633"/>
                </a:lnTo>
                <a:lnTo>
                  <a:pt x="3825" y="5619"/>
                </a:lnTo>
                <a:lnTo>
                  <a:pt x="3828" y="5603"/>
                </a:lnTo>
                <a:lnTo>
                  <a:pt x="3831" y="5590"/>
                </a:lnTo>
                <a:lnTo>
                  <a:pt x="3836" y="5577"/>
                </a:lnTo>
                <a:lnTo>
                  <a:pt x="3843" y="5566"/>
                </a:lnTo>
                <a:lnTo>
                  <a:pt x="3847" y="5562"/>
                </a:lnTo>
                <a:lnTo>
                  <a:pt x="3851" y="5556"/>
                </a:lnTo>
                <a:lnTo>
                  <a:pt x="3855" y="5553"/>
                </a:lnTo>
                <a:lnTo>
                  <a:pt x="3860" y="5550"/>
                </a:lnTo>
                <a:lnTo>
                  <a:pt x="3865" y="5547"/>
                </a:lnTo>
                <a:lnTo>
                  <a:pt x="3871" y="5546"/>
                </a:lnTo>
                <a:lnTo>
                  <a:pt x="3871" y="5546"/>
                </a:lnTo>
                <a:lnTo>
                  <a:pt x="3877" y="5545"/>
                </a:lnTo>
                <a:lnTo>
                  <a:pt x="3882" y="5546"/>
                </a:lnTo>
                <a:lnTo>
                  <a:pt x="3888" y="5548"/>
                </a:lnTo>
                <a:lnTo>
                  <a:pt x="3892" y="5552"/>
                </a:lnTo>
                <a:lnTo>
                  <a:pt x="3902" y="5561"/>
                </a:lnTo>
                <a:lnTo>
                  <a:pt x="3911" y="5571"/>
                </a:lnTo>
                <a:lnTo>
                  <a:pt x="3921" y="5581"/>
                </a:lnTo>
                <a:lnTo>
                  <a:pt x="3926" y="5586"/>
                </a:lnTo>
                <a:lnTo>
                  <a:pt x="3933" y="5590"/>
                </a:lnTo>
                <a:lnTo>
                  <a:pt x="3940" y="5594"/>
                </a:lnTo>
                <a:lnTo>
                  <a:pt x="3946" y="5597"/>
                </a:lnTo>
                <a:lnTo>
                  <a:pt x="3954" y="5598"/>
                </a:lnTo>
                <a:lnTo>
                  <a:pt x="3962" y="5599"/>
                </a:lnTo>
                <a:lnTo>
                  <a:pt x="3962" y="5599"/>
                </a:lnTo>
                <a:lnTo>
                  <a:pt x="3970" y="5598"/>
                </a:lnTo>
                <a:lnTo>
                  <a:pt x="3979" y="5595"/>
                </a:lnTo>
                <a:lnTo>
                  <a:pt x="3987" y="5592"/>
                </a:lnTo>
                <a:lnTo>
                  <a:pt x="3996" y="5588"/>
                </a:lnTo>
                <a:lnTo>
                  <a:pt x="4005" y="5582"/>
                </a:lnTo>
                <a:lnTo>
                  <a:pt x="4014" y="5576"/>
                </a:lnTo>
                <a:lnTo>
                  <a:pt x="4035" y="5559"/>
                </a:lnTo>
                <a:lnTo>
                  <a:pt x="4055" y="5542"/>
                </a:lnTo>
                <a:lnTo>
                  <a:pt x="4077" y="5522"/>
                </a:lnTo>
                <a:lnTo>
                  <a:pt x="4122" y="5479"/>
                </a:lnTo>
                <a:lnTo>
                  <a:pt x="4144" y="5457"/>
                </a:lnTo>
                <a:lnTo>
                  <a:pt x="4166" y="5437"/>
                </a:lnTo>
                <a:lnTo>
                  <a:pt x="4187" y="5417"/>
                </a:lnTo>
                <a:lnTo>
                  <a:pt x="4208" y="5402"/>
                </a:lnTo>
                <a:lnTo>
                  <a:pt x="4227" y="5389"/>
                </a:lnTo>
                <a:lnTo>
                  <a:pt x="4236" y="5384"/>
                </a:lnTo>
                <a:lnTo>
                  <a:pt x="4245" y="5380"/>
                </a:lnTo>
                <a:lnTo>
                  <a:pt x="4254" y="5376"/>
                </a:lnTo>
                <a:lnTo>
                  <a:pt x="4262" y="5374"/>
                </a:lnTo>
                <a:lnTo>
                  <a:pt x="4270" y="5374"/>
                </a:lnTo>
                <a:lnTo>
                  <a:pt x="4277" y="5375"/>
                </a:lnTo>
                <a:lnTo>
                  <a:pt x="4277" y="5375"/>
                </a:lnTo>
                <a:lnTo>
                  <a:pt x="4278" y="5376"/>
                </a:lnTo>
                <a:lnTo>
                  <a:pt x="4279" y="5379"/>
                </a:lnTo>
                <a:lnTo>
                  <a:pt x="4278" y="5382"/>
                </a:lnTo>
                <a:lnTo>
                  <a:pt x="4277" y="5384"/>
                </a:lnTo>
                <a:lnTo>
                  <a:pt x="4272" y="5391"/>
                </a:lnTo>
                <a:lnTo>
                  <a:pt x="4264" y="5399"/>
                </a:lnTo>
                <a:lnTo>
                  <a:pt x="4241" y="5420"/>
                </a:lnTo>
                <a:lnTo>
                  <a:pt x="4212" y="5447"/>
                </a:lnTo>
                <a:lnTo>
                  <a:pt x="4181" y="5477"/>
                </a:lnTo>
                <a:lnTo>
                  <a:pt x="4167" y="5492"/>
                </a:lnTo>
                <a:lnTo>
                  <a:pt x="4152" y="5508"/>
                </a:lnTo>
                <a:lnTo>
                  <a:pt x="4140" y="5525"/>
                </a:lnTo>
                <a:lnTo>
                  <a:pt x="4129" y="5542"/>
                </a:lnTo>
                <a:lnTo>
                  <a:pt x="4121" y="5558"/>
                </a:lnTo>
                <a:lnTo>
                  <a:pt x="4118" y="5567"/>
                </a:lnTo>
                <a:lnTo>
                  <a:pt x="4116" y="5576"/>
                </a:lnTo>
                <a:lnTo>
                  <a:pt x="4116" y="5576"/>
                </a:lnTo>
                <a:lnTo>
                  <a:pt x="4114" y="5588"/>
                </a:lnTo>
                <a:lnTo>
                  <a:pt x="4114" y="5599"/>
                </a:lnTo>
                <a:lnTo>
                  <a:pt x="4115" y="5611"/>
                </a:lnTo>
                <a:lnTo>
                  <a:pt x="4119" y="5620"/>
                </a:lnTo>
                <a:lnTo>
                  <a:pt x="4123" y="5628"/>
                </a:lnTo>
                <a:lnTo>
                  <a:pt x="4129" y="5636"/>
                </a:lnTo>
                <a:lnTo>
                  <a:pt x="4135" y="5643"/>
                </a:lnTo>
                <a:lnTo>
                  <a:pt x="4142" y="5649"/>
                </a:lnTo>
                <a:lnTo>
                  <a:pt x="4157" y="5663"/>
                </a:lnTo>
                <a:lnTo>
                  <a:pt x="4163" y="5669"/>
                </a:lnTo>
                <a:lnTo>
                  <a:pt x="4169" y="5676"/>
                </a:lnTo>
                <a:lnTo>
                  <a:pt x="4175" y="5683"/>
                </a:lnTo>
                <a:lnTo>
                  <a:pt x="4179" y="5690"/>
                </a:lnTo>
                <a:lnTo>
                  <a:pt x="4182" y="5699"/>
                </a:lnTo>
                <a:lnTo>
                  <a:pt x="4183" y="5708"/>
                </a:lnTo>
                <a:lnTo>
                  <a:pt x="4183" y="5708"/>
                </a:lnTo>
                <a:lnTo>
                  <a:pt x="4184" y="5718"/>
                </a:lnTo>
                <a:lnTo>
                  <a:pt x="4186" y="5729"/>
                </a:lnTo>
                <a:lnTo>
                  <a:pt x="4189" y="5738"/>
                </a:lnTo>
                <a:lnTo>
                  <a:pt x="4193" y="5749"/>
                </a:lnTo>
                <a:lnTo>
                  <a:pt x="4198" y="5758"/>
                </a:lnTo>
                <a:lnTo>
                  <a:pt x="4205" y="5767"/>
                </a:lnTo>
                <a:lnTo>
                  <a:pt x="4212" y="5775"/>
                </a:lnTo>
                <a:lnTo>
                  <a:pt x="4220" y="5783"/>
                </a:lnTo>
                <a:lnTo>
                  <a:pt x="4228" y="5792"/>
                </a:lnTo>
                <a:lnTo>
                  <a:pt x="4237" y="5799"/>
                </a:lnTo>
                <a:lnTo>
                  <a:pt x="4257" y="5812"/>
                </a:lnTo>
                <a:lnTo>
                  <a:pt x="4278" y="5824"/>
                </a:lnTo>
                <a:lnTo>
                  <a:pt x="4300" y="5835"/>
                </a:lnTo>
                <a:lnTo>
                  <a:pt x="4322" y="5844"/>
                </a:lnTo>
                <a:lnTo>
                  <a:pt x="4344" y="5852"/>
                </a:lnTo>
                <a:lnTo>
                  <a:pt x="4364" y="5857"/>
                </a:lnTo>
                <a:lnTo>
                  <a:pt x="4382" y="5862"/>
                </a:lnTo>
                <a:lnTo>
                  <a:pt x="4399" y="5864"/>
                </a:lnTo>
                <a:lnTo>
                  <a:pt x="4412" y="5865"/>
                </a:lnTo>
                <a:lnTo>
                  <a:pt x="4421" y="5865"/>
                </a:lnTo>
                <a:lnTo>
                  <a:pt x="4424" y="5864"/>
                </a:lnTo>
                <a:lnTo>
                  <a:pt x="4426" y="5863"/>
                </a:lnTo>
                <a:lnTo>
                  <a:pt x="4426" y="5863"/>
                </a:lnTo>
                <a:lnTo>
                  <a:pt x="4427" y="5861"/>
                </a:lnTo>
                <a:lnTo>
                  <a:pt x="4427" y="5859"/>
                </a:lnTo>
                <a:lnTo>
                  <a:pt x="4425" y="5853"/>
                </a:lnTo>
                <a:lnTo>
                  <a:pt x="4420" y="5846"/>
                </a:lnTo>
                <a:lnTo>
                  <a:pt x="4412" y="5836"/>
                </a:lnTo>
                <a:lnTo>
                  <a:pt x="4393" y="5813"/>
                </a:lnTo>
                <a:lnTo>
                  <a:pt x="4369" y="5786"/>
                </a:lnTo>
                <a:lnTo>
                  <a:pt x="4358" y="5773"/>
                </a:lnTo>
                <a:lnTo>
                  <a:pt x="4348" y="5759"/>
                </a:lnTo>
                <a:lnTo>
                  <a:pt x="4339" y="5745"/>
                </a:lnTo>
                <a:lnTo>
                  <a:pt x="4330" y="5731"/>
                </a:lnTo>
                <a:lnTo>
                  <a:pt x="4325" y="5718"/>
                </a:lnTo>
                <a:lnTo>
                  <a:pt x="4324" y="5712"/>
                </a:lnTo>
                <a:lnTo>
                  <a:pt x="4323" y="5706"/>
                </a:lnTo>
                <a:lnTo>
                  <a:pt x="4323" y="5700"/>
                </a:lnTo>
                <a:lnTo>
                  <a:pt x="4324" y="5694"/>
                </a:lnTo>
                <a:lnTo>
                  <a:pt x="4326" y="5689"/>
                </a:lnTo>
                <a:lnTo>
                  <a:pt x="4329" y="5684"/>
                </a:lnTo>
                <a:lnTo>
                  <a:pt x="4329" y="5684"/>
                </a:lnTo>
                <a:lnTo>
                  <a:pt x="4333" y="5680"/>
                </a:lnTo>
                <a:lnTo>
                  <a:pt x="4337" y="5677"/>
                </a:lnTo>
                <a:lnTo>
                  <a:pt x="4343" y="5676"/>
                </a:lnTo>
                <a:lnTo>
                  <a:pt x="4347" y="5675"/>
                </a:lnTo>
                <a:lnTo>
                  <a:pt x="4352" y="5675"/>
                </a:lnTo>
                <a:lnTo>
                  <a:pt x="4358" y="5676"/>
                </a:lnTo>
                <a:lnTo>
                  <a:pt x="4370" y="5678"/>
                </a:lnTo>
                <a:lnTo>
                  <a:pt x="4384" y="5681"/>
                </a:lnTo>
                <a:lnTo>
                  <a:pt x="4392" y="5682"/>
                </a:lnTo>
                <a:lnTo>
                  <a:pt x="4399" y="5682"/>
                </a:lnTo>
                <a:lnTo>
                  <a:pt x="4408" y="5682"/>
                </a:lnTo>
                <a:lnTo>
                  <a:pt x="4416" y="5681"/>
                </a:lnTo>
                <a:lnTo>
                  <a:pt x="4425" y="5679"/>
                </a:lnTo>
                <a:lnTo>
                  <a:pt x="4436" y="5675"/>
                </a:lnTo>
                <a:lnTo>
                  <a:pt x="4436" y="5675"/>
                </a:lnTo>
                <a:lnTo>
                  <a:pt x="4437" y="5673"/>
                </a:lnTo>
                <a:lnTo>
                  <a:pt x="4438" y="5670"/>
                </a:lnTo>
                <a:lnTo>
                  <a:pt x="4438" y="5663"/>
                </a:lnTo>
                <a:lnTo>
                  <a:pt x="4436" y="5652"/>
                </a:lnTo>
                <a:lnTo>
                  <a:pt x="4434" y="5637"/>
                </a:lnTo>
                <a:lnTo>
                  <a:pt x="4431" y="5621"/>
                </a:lnTo>
                <a:lnTo>
                  <a:pt x="4428" y="5602"/>
                </a:lnTo>
                <a:lnTo>
                  <a:pt x="4426" y="5581"/>
                </a:lnTo>
                <a:lnTo>
                  <a:pt x="4426" y="5557"/>
                </a:lnTo>
                <a:lnTo>
                  <a:pt x="4428" y="5533"/>
                </a:lnTo>
                <a:lnTo>
                  <a:pt x="4431" y="5520"/>
                </a:lnTo>
                <a:lnTo>
                  <a:pt x="4434" y="5505"/>
                </a:lnTo>
                <a:lnTo>
                  <a:pt x="4437" y="5492"/>
                </a:lnTo>
                <a:lnTo>
                  <a:pt x="4441" y="5477"/>
                </a:lnTo>
                <a:lnTo>
                  <a:pt x="4446" y="5462"/>
                </a:lnTo>
                <a:lnTo>
                  <a:pt x="4453" y="5447"/>
                </a:lnTo>
                <a:lnTo>
                  <a:pt x="4460" y="5432"/>
                </a:lnTo>
                <a:lnTo>
                  <a:pt x="4469" y="5416"/>
                </a:lnTo>
                <a:lnTo>
                  <a:pt x="4479" y="5400"/>
                </a:lnTo>
                <a:lnTo>
                  <a:pt x="4490" y="5384"/>
                </a:lnTo>
                <a:lnTo>
                  <a:pt x="4503" y="5367"/>
                </a:lnTo>
                <a:lnTo>
                  <a:pt x="4516" y="5351"/>
                </a:lnTo>
                <a:lnTo>
                  <a:pt x="4533" y="5334"/>
                </a:lnTo>
                <a:lnTo>
                  <a:pt x="4550" y="5317"/>
                </a:lnTo>
                <a:lnTo>
                  <a:pt x="4550" y="5317"/>
                </a:lnTo>
                <a:lnTo>
                  <a:pt x="4557" y="5328"/>
                </a:lnTo>
                <a:lnTo>
                  <a:pt x="4566" y="5340"/>
                </a:lnTo>
                <a:lnTo>
                  <a:pt x="4578" y="5353"/>
                </a:lnTo>
                <a:lnTo>
                  <a:pt x="4586" y="5360"/>
                </a:lnTo>
                <a:lnTo>
                  <a:pt x="4594" y="5367"/>
                </a:lnTo>
                <a:lnTo>
                  <a:pt x="4603" y="5373"/>
                </a:lnTo>
                <a:lnTo>
                  <a:pt x="4614" y="5381"/>
                </a:lnTo>
                <a:lnTo>
                  <a:pt x="4624" y="5386"/>
                </a:lnTo>
                <a:lnTo>
                  <a:pt x="4636" y="5390"/>
                </a:lnTo>
                <a:lnTo>
                  <a:pt x="4648" y="5394"/>
                </a:lnTo>
                <a:lnTo>
                  <a:pt x="4662" y="5396"/>
                </a:lnTo>
                <a:lnTo>
                  <a:pt x="4662" y="5396"/>
                </a:lnTo>
                <a:lnTo>
                  <a:pt x="4668" y="5397"/>
                </a:lnTo>
                <a:lnTo>
                  <a:pt x="4673" y="5399"/>
                </a:lnTo>
                <a:lnTo>
                  <a:pt x="4677" y="5402"/>
                </a:lnTo>
                <a:lnTo>
                  <a:pt x="4681" y="5405"/>
                </a:lnTo>
                <a:lnTo>
                  <a:pt x="4685" y="5409"/>
                </a:lnTo>
                <a:lnTo>
                  <a:pt x="4688" y="5413"/>
                </a:lnTo>
                <a:lnTo>
                  <a:pt x="4692" y="5425"/>
                </a:lnTo>
                <a:lnTo>
                  <a:pt x="4696" y="5437"/>
                </a:lnTo>
                <a:lnTo>
                  <a:pt x="4698" y="5450"/>
                </a:lnTo>
                <a:lnTo>
                  <a:pt x="4698" y="5463"/>
                </a:lnTo>
                <a:lnTo>
                  <a:pt x="4698" y="5478"/>
                </a:lnTo>
                <a:lnTo>
                  <a:pt x="4696" y="5506"/>
                </a:lnTo>
                <a:lnTo>
                  <a:pt x="4694" y="5531"/>
                </a:lnTo>
                <a:lnTo>
                  <a:pt x="4692" y="5548"/>
                </a:lnTo>
                <a:lnTo>
                  <a:pt x="4692" y="5553"/>
                </a:lnTo>
                <a:lnTo>
                  <a:pt x="4693" y="5554"/>
                </a:lnTo>
                <a:lnTo>
                  <a:pt x="4694" y="5554"/>
                </a:lnTo>
                <a:lnTo>
                  <a:pt x="4694" y="5554"/>
                </a:lnTo>
                <a:lnTo>
                  <a:pt x="4697" y="5553"/>
                </a:lnTo>
                <a:lnTo>
                  <a:pt x="4702" y="5550"/>
                </a:lnTo>
                <a:lnTo>
                  <a:pt x="4708" y="5545"/>
                </a:lnTo>
                <a:lnTo>
                  <a:pt x="4714" y="5538"/>
                </a:lnTo>
                <a:lnTo>
                  <a:pt x="4721" y="5529"/>
                </a:lnTo>
                <a:lnTo>
                  <a:pt x="4729" y="5519"/>
                </a:lnTo>
                <a:lnTo>
                  <a:pt x="4736" y="5505"/>
                </a:lnTo>
                <a:lnTo>
                  <a:pt x="4743" y="5492"/>
                </a:lnTo>
                <a:lnTo>
                  <a:pt x="4751" y="5477"/>
                </a:lnTo>
                <a:lnTo>
                  <a:pt x="4758" y="5459"/>
                </a:lnTo>
                <a:lnTo>
                  <a:pt x="4763" y="5442"/>
                </a:lnTo>
                <a:lnTo>
                  <a:pt x="4768" y="5422"/>
                </a:lnTo>
                <a:lnTo>
                  <a:pt x="4771" y="5402"/>
                </a:lnTo>
                <a:lnTo>
                  <a:pt x="4773" y="5382"/>
                </a:lnTo>
                <a:lnTo>
                  <a:pt x="4772" y="5360"/>
                </a:lnTo>
                <a:lnTo>
                  <a:pt x="4770" y="5338"/>
                </a:lnTo>
                <a:lnTo>
                  <a:pt x="4770" y="5338"/>
                </a:lnTo>
                <a:lnTo>
                  <a:pt x="4778" y="5330"/>
                </a:lnTo>
                <a:lnTo>
                  <a:pt x="4798" y="5313"/>
                </a:lnTo>
                <a:lnTo>
                  <a:pt x="4809" y="5302"/>
                </a:lnTo>
                <a:lnTo>
                  <a:pt x="4819" y="5290"/>
                </a:lnTo>
                <a:lnTo>
                  <a:pt x="4827" y="5276"/>
                </a:lnTo>
                <a:lnTo>
                  <a:pt x="4830" y="5270"/>
                </a:lnTo>
                <a:lnTo>
                  <a:pt x="4832" y="5264"/>
                </a:lnTo>
                <a:lnTo>
                  <a:pt x="4832" y="5264"/>
                </a:lnTo>
                <a:lnTo>
                  <a:pt x="4834" y="5255"/>
                </a:lnTo>
                <a:lnTo>
                  <a:pt x="4835" y="5246"/>
                </a:lnTo>
                <a:lnTo>
                  <a:pt x="4836" y="5237"/>
                </a:lnTo>
                <a:lnTo>
                  <a:pt x="4835" y="5230"/>
                </a:lnTo>
                <a:lnTo>
                  <a:pt x="4834" y="5224"/>
                </a:lnTo>
                <a:lnTo>
                  <a:pt x="4832" y="5218"/>
                </a:lnTo>
                <a:lnTo>
                  <a:pt x="4830" y="5213"/>
                </a:lnTo>
                <a:lnTo>
                  <a:pt x="4827" y="5208"/>
                </a:lnTo>
                <a:lnTo>
                  <a:pt x="4819" y="5199"/>
                </a:lnTo>
                <a:lnTo>
                  <a:pt x="4810" y="5189"/>
                </a:lnTo>
                <a:lnTo>
                  <a:pt x="4800" y="5180"/>
                </a:lnTo>
                <a:lnTo>
                  <a:pt x="4789" y="5169"/>
                </a:lnTo>
                <a:lnTo>
                  <a:pt x="4778" y="5156"/>
                </a:lnTo>
                <a:lnTo>
                  <a:pt x="4772" y="5148"/>
                </a:lnTo>
                <a:lnTo>
                  <a:pt x="4767" y="5139"/>
                </a:lnTo>
                <a:lnTo>
                  <a:pt x="4762" y="5130"/>
                </a:lnTo>
                <a:lnTo>
                  <a:pt x="4757" y="5120"/>
                </a:lnTo>
                <a:lnTo>
                  <a:pt x="4753" y="5108"/>
                </a:lnTo>
                <a:lnTo>
                  <a:pt x="4749" y="5095"/>
                </a:lnTo>
                <a:lnTo>
                  <a:pt x="4744" y="5081"/>
                </a:lnTo>
                <a:lnTo>
                  <a:pt x="4741" y="5065"/>
                </a:lnTo>
                <a:lnTo>
                  <a:pt x="4738" y="5048"/>
                </a:lnTo>
                <a:lnTo>
                  <a:pt x="4736" y="5029"/>
                </a:lnTo>
                <a:lnTo>
                  <a:pt x="4735" y="5008"/>
                </a:lnTo>
                <a:lnTo>
                  <a:pt x="4734" y="4986"/>
                </a:lnTo>
                <a:lnTo>
                  <a:pt x="4734" y="4961"/>
                </a:lnTo>
                <a:lnTo>
                  <a:pt x="4735" y="4935"/>
                </a:lnTo>
                <a:lnTo>
                  <a:pt x="4735" y="4935"/>
                </a:lnTo>
                <a:lnTo>
                  <a:pt x="4735" y="4917"/>
                </a:lnTo>
                <a:lnTo>
                  <a:pt x="4734" y="4911"/>
                </a:lnTo>
                <a:lnTo>
                  <a:pt x="4733" y="4906"/>
                </a:lnTo>
                <a:lnTo>
                  <a:pt x="4731" y="4901"/>
                </a:lnTo>
                <a:lnTo>
                  <a:pt x="4729" y="4897"/>
                </a:lnTo>
                <a:lnTo>
                  <a:pt x="4727" y="4894"/>
                </a:lnTo>
                <a:lnTo>
                  <a:pt x="4724" y="4891"/>
                </a:lnTo>
                <a:lnTo>
                  <a:pt x="4716" y="4885"/>
                </a:lnTo>
                <a:lnTo>
                  <a:pt x="4706" y="4878"/>
                </a:lnTo>
                <a:lnTo>
                  <a:pt x="4693" y="4868"/>
                </a:lnTo>
                <a:lnTo>
                  <a:pt x="4679" y="4856"/>
                </a:lnTo>
                <a:lnTo>
                  <a:pt x="4679" y="4856"/>
                </a:lnTo>
                <a:lnTo>
                  <a:pt x="4671" y="4846"/>
                </a:lnTo>
                <a:lnTo>
                  <a:pt x="4664" y="4836"/>
                </a:lnTo>
                <a:lnTo>
                  <a:pt x="4659" y="4825"/>
                </a:lnTo>
                <a:lnTo>
                  <a:pt x="4655" y="4815"/>
                </a:lnTo>
                <a:lnTo>
                  <a:pt x="4654" y="4807"/>
                </a:lnTo>
                <a:lnTo>
                  <a:pt x="4654" y="4804"/>
                </a:lnTo>
                <a:lnTo>
                  <a:pt x="4654" y="4802"/>
                </a:lnTo>
                <a:lnTo>
                  <a:pt x="4657" y="4800"/>
                </a:lnTo>
                <a:lnTo>
                  <a:pt x="4659" y="4799"/>
                </a:lnTo>
                <a:lnTo>
                  <a:pt x="4661" y="4799"/>
                </a:lnTo>
                <a:lnTo>
                  <a:pt x="4665" y="4800"/>
                </a:lnTo>
                <a:lnTo>
                  <a:pt x="4665" y="4800"/>
                </a:lnTo>
                <a:lnTo>
                  <a:pt x="4679" y="4806"/>
                </a:lnTo>
                <a:lnTo>
                  <a:pt x="4693" y="4810"/>
                </a:lnTo>
                <a:lnTo>
                  <a:pt x="4708" y="4813"/>
                </a:lnTo>
                <a:lnTo>
                  <a:pt x="4723" y="4814"/>
                </a:lnTo>
                <a:lnTo>
                  <a:pt x="4737" y="4815"/>
                </a:lnTo>
                <a:lnTo>
                  <a:pt x="4752" y="4816"/>
                </a:lnTo>
                <a:lnTo>
                  <a:pt x="4765" y="4815"/>
                </a:lnTo>
                <a:lnTo>
                  <a:pt x="4778" y="4814"/>
                </a:lnTo>
                <a:lnTo>
                  <a:pt x="4802" y="4811"/>
                </a:lnTo>
                <a:lnTo>
                  <a:pt x="4819" y="4807"/>
                </a:lnTo>
                <a:lnTo>
                  <a:pt x="4835" y="4803"/>
                </a:lnTo>
                <a:lnTo>
                  <a:pt x="4835" y="4803"/>
                </a:lnTo>
                <a:lnTo>
                  <a:pt x="4844" y="4707"/>
                </a:lnTo>
                <a:lnTo>
                  <a:pt x="4849" y="4632"/>
                </a:lnTo>
                <a:lnTo>
                  <a:pt x="4851" y="4577"/>
                </a:lnTo>
                <a:lnTo>
                  <a:pt x="4851" y="4539"/>
                </a:lnTo>
                <a:lnTo>
                  <a:pt x="4849" y="4514"/>
                </a:lnTo>
                <a:lnTo>
                  <a:pt x="4847" y="4499"/>
                </a:lnTo>
                <a:lnTo>
                  <a:pt x="4845" y="4493"/>
                </a:lnTo>
                <a:lnTo>
                  <a:pt x="4844" y="4491"/>
                </a:lnTo>
                <a:lnTo>
                  <a:pt x="4844" y="4491"/>
                </a:lnTo>
                <a:lnTo>
                  <a:pt x="4825" y="4492"/>
                </a:lnTo>
                <a:lnTo>
                  <a:pt x="4808" y="4491"/>
                </a:lnTo>
                <a:lnTo>
                  <a:pt x="4791" y="4490"/>
                </a:lnTo>
                <a:lnTo>
                  <a:pt x="4776" y="4489"/>
                </a:lnTo>
                <a:lnTo>
                  <a:pt x="4763" y="4487"/>
                </a:lnTo>
                <a:lnTo>
                  <a:pt x="4750" y="4484"/>
                </a:lnTo>
                <a:lnTo>
                  <a:pt x="4737" y="4481"/>
                </a:lnTo>
                <a:lnTo>
                  <a:pt x="4726" y="4477"/>
                </a:lnTo>
                <a:lnTo>
                  <a:pt x="4716" y="4473"/>
                </a:lnTo>
                <a:lnTo>
                  <a:pt x="4707" y="4469"/>
                </a:lnTo>
                <a:lnTo>
                  <a:pt x="4698" y="4463"/>
                </a:lnTo>
                <a:lnTo>
                  <a:pt x="4690" y="4458"/>
                </a:lnTo>
                <a:lnTo>
                  <a:pt x="4683" y="4452"/>
                </a:lnTo>
                <a:lnTo>
                  <a:pt x="4676" y="4447"/>
                </a:lnTo>
                <a:lnTo>
                  <a:pt x="4665" y="4434"/>
                </a:lnTo>
                <a:lnTo>
                  <a:pt x="4665" y="4434"/>
                </a:lnTo>
                <a:lnTo>
                  <a:pt x="4677" y="4437"/>
                </a:lnTo>
                <a:lnTo>
                  <a:pt x="4690" y="4439"/>
                </a:lnTo>
                <a:lnTo>
                  <a:pt x="4717" y="4441"/>
                </a:lnTo>
                <a:lnTo>
                  <a:pt x="4742" y="4441"/>
                </a:lnTo>
                <a:lnTo>
                  <a:pt x="4768" y="4439"/>
                </a:lnTo>
                <a:lnTo>
                  <a:pt x="4790" y="4435"/>
                </a:lnTo>
                <a:lnTo>
                  <a:pt x="4812" y="4429"/>
                </a:lnTo>
                <a:lnTo>
                  <a:pt x="4821" y="4426"/>
                </a:lnTo>
                <a:lnTo>
                  <a:pt x="4829" y="4422"/>
                </a:lnTo>
                <a:lnTo>
                  <a:pt x="4838" y="4416"/>
                </a:lnTo>
                <a:lnTo>
                  <a:pt x="4844" y="4412"/>
                </a:lnTo>
                <a:lnTo>
                  <a:pt x="4844" y="4412"/>
                </a:lnTo>
                <a:lnTo>
                  <a:pt x="4843" y="4364"/>
                </a:lnTo>
                <a:lnTo>
                  <a:pt x="4841" y="4316"/>
                </a:lnTo>
                <a:lnTo>
                  <a:pt x="4838" y="4261"/>
                </a:lnTo>
                <a:lnTo>
                  <a:pt x="4833" y="4206"/>
                </a:lnTo>
                <a:lnTo>
                  <a:pt x="4831" y="4181"/>
                </a:lnTo>
                <a:lnTo>
                  <a:pt x="4828" y="4159"/>
                </a:lnTo>
                <a:lnTo>
                  <a:pt x="4825" y="4140"/>
                </a:lnTo>
                <a:lnTo>
                  <a:pt x="4822" y="4126"/>
                </a:lnTo>
                <a:lnTo>
                  <a:pt x="4820" y="4121"/>
                </a:lnTo>
                <a:lnTo>
                  <a:pt x="4818" y="4118"/>
                </a:lnTo>
                <a:lnTo>
                  <a:pt x="4816" y="4116"/>
                </a:lnTo>
                <a:lnTo>
                  <a:pt x="4814" y="4116"/>
                </a:lnTo>
                <a:lnTo>
                  <a:pt x="4814" y="4116"/>
                </a:lnTo>
                <a:lnTo>
                  <a:pt x="4786" y="4123"/>
                </a:lnTo>
                <a:lnTo>
                  <a:pt x="4760" y="4128"/>
                </a:lnTo>
                <a:lnTo>
                  <a:pt x="4746" y="4129"/>
                </a:lnTo>
                <a:lnTo>
                  <a:pt x="4734" y="4130"/>
                </a:lnTo>
                <a:lnTo>
                  <a:pt x="4722" y="4130"/>
                </a:lnTo>
                <a:lnTo>
                  <a:pt x="4711" y="4129"/>
                </a:lnTo>
                <a:lnTo>
                  <a:pt x="4698" y="4127"/>
                </a:lnTo>
                <a:lnTo>
                  <a:pt x="4687" y="4125"/>
                </a:lnTo>
                <a:lnTo>
                  <a:pt x="4675" y="4122"/>
                </a:lnTo>
                <a:lnTo>
                  <a:pt x="4664" y="4118"/>
                </a:lnTo>
                <a:lnTo>
                  <a:pt x="4652" y="4113"/>
                </a:lnTo>
                <a:lnTo>
                  <a:pt x="4640" y="4108"/>
                </a:lnTo>
                <a:lnTo>
                  <a:pt x="4629" y="4100"/>
                </a:lnTo>
                <a:lnTo>
                  <a:pt x="4618" y="4093"/>
                </a:lnTo>
                <a:lnTo>
                  <a:pt x="4618" y="4093"/>
                </a:lnTo>
                <a:lnTo>
                  <a:pt x="4613" y="4090"/>
                </a:lnTo>
                <a:lnTo>
                  <a:pt x="4608" y="4086"/>
                </a:lnTo>
                <a:lnTo>
                  <a:pt x="4602" y="4078"/>
                </a:lnTo>
                <a:lnTo>
                  <a:pt x="4597" y="4069"/>
                </a:lnTo>
                <a:lnTo>
                  <a:pt x="4594" y="4059"/>
                </a:lnTo>
                <a:lnTo>
                  <a:pt x="4592" y="4047"/>
                </a:lnTo>
                <a:lnTo>
                  <a:pt x="4591" y="4037"/>
                </a:lnTo>
                <a:lnTo>
                  <a:pt x="4590" y="4015"/>
                </a:lnTo>
                <a:lnTo>
                  <a:pt x="4589" y="3993"/>
                </a:lnTo>
                <a:lnTo>
                  <a:pt x="4587" y="3984"/>
                </a:lnTo>
                <a:lnTo>
                  <a:pt x="4585" y="3976"/>
                </a:lnTo>
                <a:lnTo>
                  <a:pt x="4581" y="3969"/>
                </a:lnTo>
                <a:lnTo>
                  <a:pt x="4575" y="3962"/>
                </a:lnTo>
                <a:lnTo>
                  <a:pt x="4571" y="3959"/>
                </a:lnTo>
                <a:lnTo>
                  <a:pt x="4567" y="3957"/>
                </a:lnTo>
                <a:lnTo>
                  <a:pt x="4561" y="3956"/>
                </a:lnTo>
                <a:lnTo>
                  <a:pt x="4556" y="3955"/>
                </a:lnTo>
                <a:lnTo>
                  <a:pt x="4556" y="3955"/>
                </a:lnTo>
                <a:lnTo>
                  <a:pt x="4534" y="3948"/>
                </a:lnTo>
                <a:lnTo>
                  <a:pt x="4511" y="3941"/>
                </a:lnTo>
                <a:lnTo>
                  <a:pt x="4489" y="3933"/>
                </a:lnTo>
                <a:lnTo>
                  <a:pt x="4468" y="3923"/>
                </a:lnTo>
                <a:lnTo>
                  <a:pt x="4448" y="3913"/>
                </a:lnTo>
                <a:lnTo>
                  <a:pt x="4428" y="3902"/>
                </a:lnTo>
                <a:lnTo>
                  <a:pt x="4410" y="3892"/>
                </a:lnTo>
                <a:lnTo>
                  <a:pt x="4394" y="3881"/>
                </a:lnTo>
                <a:lnTo>
                  <a:pt x="4377" y="3869"/>
                </a:lnTo>
                <a:lnTo>
                  <a:pt x="4363" y="3859"/>
                </a:lnTo>
                <a:lnTo>
                  <a:pt x="4337" y="3839"/>
                </a:lnTo>
                <a:lnTo>
                  <a:pt x="4318" y="3820"/>
                </a:lnTo>
                <a:lnTo>
                  <a:pt x="4306" y="3805"/>
                </a:lnTo>
                <a:lnTo>
                  <a:pt x="4306" y="3805"/>
                </a:lnTo>
                <a:lnTo>
                  <a:pt x="4297" y="3793"/>
                </a:lnTo>
                <a:lnTo>
                  <a:pt x="4288" y="3780"/>
                </a:lnTo>
                <a:lnTo>
                  <a:pt x="4282" y="3769"/>
                </a:lnTo>
                <a:lnTo>
                  <a:pt x="4277" y="3758"/>
                </a:lnTo>
                <a:lnTo>
                  <a:pt x="4273" y="3748"/>
                </a:lnTo>
                <a:lnTo>
                  <a:pt x="4270" y="3739"/>
                </a:lnTo>
                <a:lnTo>
                  <a:pt x="4266" y="3722"/>
                </a:lnTo>
                <a:lnTo>
                  <a:pt x="4265" y="3709"/>
                </a:lnTo>
                <a:lnTo>
                  <a:pt x="4265" y="3699"/>
                </a:lnTo>
                <a:lnTo>
                  <a:pt x="4266" y="3690"/>
                </a:lnTo>
                <a:lnTo>
                  <a:pt x="4266" y="3690"/>
                </a:lnTo>
                <a:lnTo>
                  <a:pt x="4284" y="3700"/>
                </a:lnTo>
                <a:lnTo>
                  <a:pt x="4302" y="3706"/>
                </a:lnTo>
                <a:lnTo>
                  <a:pt x="4321" y="3711"/>
                </a:lnTo>
                <a:lnTo>
                  <a:pt x="4340" y="3714"/>
                </a:lnTo>
                <a:lnTo>
                  <a:pt x="4358" y="3716"/>
                </a:lnTo>
                <a:lnTo>
                  <a:pt x="4377" y="3715"/>
                </a:lnTo>
                <a:lnTo>
                  <a:pt x="4396" y="3712"/>
                </a:lnTo>
                <a:lnTo>
                  <a:pt x="4414" y="3708"/>
                </a:lnTo>
                <a:lnTo>
                  <a:pt x="4434" y="3468"/>
                </a:lnTo>
                <a:lnTo>
                  <a:pt x="4434" y="3468"/>
                </a:lnTo>
                <a:lnTo>
                  <a:pt x="4425" y="3467"/>
                </a:lnTo>
                <a:lnTo>
                  <a:pt x="4405" y="3464"/>
                </a:lnTo>
                <a:lnTo>
                  <a:pt x="4392" y="3461"/>
                </a:lnTo>
                <a:lnTo>
                  <a:pt x="4377" y="3457"/>
                </a:lnTo>
                <a:lnTo>
                  <a:pt x="4362" y="3453"/>
                </a:lnTo>
                <a:lnTo>
                  <a:pt x="4348" y="3447"/>
                </a:lnTo>
                <a:lnTo>
                  <a:pt x="4348" y="3447"/>
                </a:lnTo>
                <a:lnTo>
                  <a:pt x="4339" y="3443"/>
                </a:lnTo>
                <a:lnTo>
                  <a:pt x="4331" y="3438"/>
                </a:lnTo>
                <a:lnTo>
                  <a:pt x="4323" y="3432"/>
                </a:lnTo>
                <a:lnTo>
                  <a:pt x="4316" y="3426"/>
                </a:lnTo>
                <a:lnTo>
                  <a:pt x="4302" y="3412"/>
                </a:lnTo>
                <a:lnTo>
                  <a:pt x="4289" y="3399"/>
                </a:lnTo>
                <a:lnTo>
                  <a:pt x="4280" y="3386"/>
                </a:lnTo>
                <a:lnTo>
                  <a:pt x="4273" y="3376"/>
                </a:lnTo>
                <a:lnTo>
                  <a:pt x="4267" y="3366"/>
                </a:lnTo>
                <a:lnTo>
                  <a:pt x="4267" y="3366"/>
                </a:lnTo>
                <a:lnTo>
                  <a:pt x="4274" y="3369"/>
                </a:lnTo>
                <a:lnTo>
                  <a:pt x="4293" y="3377"/>
                </a:lnTo>
                <a:lnTo>
                  <a:pt x="4321" y="3385"/>
                </a:lnTo>
                <a:lnTo>
                  <a:pt x="4339" y="3389"/>
                </a:lnTo>
                <a:lnTo>
                  <a:pt x="4356" y="3392"/>
                </a:lnTo>
                <a:lnTo>
                  <a:pt x="4356" y="3392"/>
                </a:lnTo>
                <a:lnTo>
                  <a:pt x="4375" y="3394"/>
                </a:lnTo>
                <a:lnTo>
                  <a:pt x="4392" y="3395"/>
                </a:lnTo>
                <a:lnTo>
                  <a:pt x="4407" y="3393"/>
                </a:lnTo>
                <a:lnTo>
                  <a:pt x="4419" y="3391"/>
                </a:lnTo>
                <a:lnTo>
                  <a:pt x="4430" y="3389"/>
                </a:lnTo>
                <a:lnTo>
                  <a:pt x="4438" y="3387"/>
                </a:lnTo>
                <a:lnTo>
                  <a:pt x="4444" y="3384"/>
                </a:lnTo>
                <a:lnTo>
                  <a:pt x="4477" y="3113"/>
                </a:lnTo>
                <a:lnTo>
                  <a:pt x="4477" y="3113"/>
                </a:lnTo>
                <a:lnTo>
                  <a:pt x="4451" y="3114"/>
                </a:lnTo>
                <a:lnTo>
                  <a:pt x="4427" y="3113"/>
                </a:lnTo>
                <a:lnTo>
                  <a:pt x="4408" y="3111"/>
                </a:lnTo>
                <a:lnTo>
                  <a:pt x="4392" y="3106"/>
                </a:lnTo>
                <a:lnTo>
                  <a:pt x="4377" y="3100"/>
                </a:lnTo>
                <a:lnTo>
                  <a:pt x="4365" y="3093"/>
                </a:lnTo>
                <a:lnTo>
                  <a:pt x="4356" y="3085"/>
                </a:lnTo>
                <a:lnTo>
                  <a:pt x="4348" y="3077"/>
                </a:lnTo>
                <a:lnTo>
                  <a:pt x="4343" y="3069"/>
                </a:lnTo>
                <a:lnTo>
                  <a:pt x="4337" y="3060"/>
                </a:lnTo>
                <a:lnTo>
                  <a:pt x="4335" y="3051"/>
                </a:lnTo>
                <a:lnTo>
                  <a:pt x="4333" y="3043"/>
                </a:lnTo>
                <a:lnTo>
                  <a:pt x="4332" y="3035"/>
                </a:lnTo>
                <a:lnTo>
                  <a:pt x="4331" y="3029"/>
                </a:lnTo>
                <a:lnTo>
                  <a:pt x="4332" y="3020"/>
                </a:lnTo>
                <a:lnTo>
                  <a:pt x="4332" y="3020"/>
                </a:lnTo>
                <a:lnTo>
                  <a:pt x="4357" y="3015"/>
                </a:lnTo>
                <a:lnTo>
                  <a:pt x="4381" y="3009"/>
                </a:lnTo>
                <a:lnTo>
                  <a:pt x="4405" y="3001"/>
                </a:lnTo>
                <a:lnTo>
                  <a:pt x="4428" y="2994"/>
                </a:lnTo>
                <a:lnTo>
                  <a:pt x="4451" y="2985"/>
                </a:lnTo>
                <a:lnTo>
                  <a:pt x="4473" y="2975"/>
                </a:lnTo>
                <a:lnTo>
                  <a:pt x="4495" y="2964"/>
                </a:lnTo>
                <a:lnTo>
                  <a:pt x="4515" y="2951"/>
                </a:lnTo>
                <a:lnTo>
                  <a:pt x="4536" y="2939"/>
                </a:lnTo>
                <a:lnTo>
                  <a:pt x="4555" y="2926"/>
                </a:lnTo>
                <a:lnTo>
                  <a:pt x="4574" y="2911"/>
                </a:lnTo>
                <a:lnTo>
                  <a:pt x="4592" y="2896"/>
                </a:lnTo>
                <a:lnTo>
                  <a:pt x="4609" y="2881"/>
                </a:lnTo>
                <a:lnTo>
                  <a:pt x="4627" y="2864"/>
                </a:lnTo>
                <a:lnTo>
                  <a:pt x="4642" y="2848"/>
                </a:lnTo>
                <a:lnTo>
                  <a:pt x="4659" y="2831"/>
                </a:lnTo>
                <a:lnTo>
                  <a:pt x="4673" y="2812"/>
                </a:lnTo>
                <a:lnTo>
                  <a:pt x="4688" y="2794"/>
                </a:lnTo>
                <a:lnTo>
                  <a:pt x="4702" y="2775"/>
                </a:lnTo>
                <a:lnTo>
                  <a:pt x="4715" y="2756"/>
                </a:lnTo>
                <a:lnTo>
                  <a:pt x="4727" y="2737"/>
                </a:lnTo>
                <a:lnTo>
                  <a:pt x="4738" y="2717"/>
                </a:lnTo>
                <a:lnTo>
                  <a:pt x="4750" y="2698"/>
                </a:lnTo>
                <a:lnTo>
                  <a:pt x="4760" y="2677"/>
                </a:lnTo>
                <a:lnTo>
                  <a:pt x="4770" y="2657"/>
                </a:lnTo>
                <a:lnTo>
                  <a:pt x="4779" y="2636"/>
                </a:lnTo>
                <a:lnTo>
                  <a:pt x="4787" y="2616"/>
                </a:lnTo>
                <a:lnTo>
                  <a:pt x="4796" y="2595"/>
                </a:lnTo>
                <a:lnTo>
                  <a:pt x="4803" y="2575"/>
                </a:lnTo>
                <a:lnTo>
                  <a:pt x="4809" y="2555"/>
                </a:lnTo>
                <a:lnTo>
                  <a:pt x="4815" y="2534"/>
                </a:lnTo>
                <a:lnTo>
                  <a:pt x="4820" y="2515"/>
                </a:lnTo>
                <a:lnTo>
                  <a:pt x="4820" y="2515"/>
                </a:lnTo>
                <a:lnTo>
                  <a:pt x="4831" y="2521"/>
                </a:lnTo>
                <a:lnTo>
                  <a:pt x="4847" y="2527"/>
                </a:lnTo>
                <a:lnTo>
                  <a:pt x="4864" y="2533"/>
                </a:lnTo>
                <a:lnTo>
                  <a:pt x="4882" y="2538"/>
                </a:lnTo>
                <a:lnTo>
                  <a:pt x="4903" y="2541"/>
                </a:lnTo>
                <a:lnTo>
                  <a:pt x="4913" y="2542"/>
                </a:lnTo>
                <a:lnTo>
                  <a:pt x="4923" y="2543"/>
                </a:lnTo>
                <a:lnTo>
                  <a:pt x="4935" y="2542"/>
                </a:lnTo>
                <a:lnTo>
                  <a:pt x="4945" y="2541"/>
                </a:lnTo>
                <a:lnTo>
                  <a:pt x="4955" y="2539"/>
                </a:lnTo>
                <a:lnTo>
                  <a:pt x="4965" y="2536"/>
                </a:lnTo>
                <a:lnTo>
                  <a:pt x="4965" y="2536"/>
                </a:lnTo>
                <a:lnTo>
                  <a:pt x="4967" y="2508"/>
                </a:lnTo>
                <a:lnTo>
                  <a:pt x="4970" y="2441"/>
                </a:lnTo>
                <a:lnTo>
                  <a:pt x="4972" y="2405"/>
                </a:lnTo>
                <a:lnTo>
                  <a:pt x="4973" y="2371"/>
                </a:lnTo>
                <a:lnTo>
                  <a:pt x="4972" y="2343"/>
                </a:lnTo>
                <a:lnTo>
                  <a:pt x="4972" y="2333"/>
                </a:lnTo>
                <a:lnTo>
                  <a:pt x="4970" y="2327"/>
                </a:lnTo>
                <a:lnTo>
                  <a:pt x="4970" y="2327"/>
                </a:lnTo>
                <a:lnTo>
                  <a:pt x="4955" y="2325"/>
                </a:lnTo>
                <a:lnTo>
                  <a:pt x="4938" y="2322"/>
                </a:lnTo>
                <a:lnTo>
                  <a:pt x="4919" y="2317"/>
                </a:lnTo>
                <a:lnTo>
                  <a:pt x="4911" y="2314"/>
                </a:lnTo>
                <a:lnTo>
                  <a:pt x="4902" y="2311"/>
                </a:lnTo>
                <a:lnTo>
                  <a:pt x="4893" y="2306"/>
                </a:lnTo>
                <a:lnTo>
                  <a:pt x="4885" y="2302"/>
                </a:lnTo>
                <a:lnTo>
                  <a:pt x="4876" y="2296"/>
                </a:lnTo>
                <a:lnTo>
                  <a:pt x="4868" y="2289"/>
                </a:lnTo>
                <a:lnTo>
                  <a:pt x="4861" y="2282"/>
                </a:lnTo>
                <a:lnTo>
                  <a:pt x="4854" y="2273"/>
                </a:lnTo>
                <a:lnTo>
                  <a:pt x="4848" y="2264"/>
                </a:lnTo>
                <a:lnTo>
                  <a:pt x="4842" y="225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86" name="Freeform 37"/>
          <p:cNvSpPr>
            <a:spLocks/>
          </p:cNvSpPr>
          <p:nvPr userDrawn="1"/>
        </p:nvSpPr>
        <p:spPr bwMode="auto">
          <a:xfrm>
            <a:off x="8332789" y="-385339"/>
            <a:ext cx="276225" cy="73025"/>
          </a:xfrm>
          <a:custGeom>
            <a:avLst/>
            <a:gdLst>
              <a:gd name="T0" fmla="*/ 0 w 349"/>
              <a:gd name="T1" fmla="*/ 34 h 91"/>
              <a:gd name="T2" fmla="*/ 0 w 349"/>
              <a:gd name="T3" fmla="*/ 34 h 91"/>
              <a:gd name="T4" fmla="*/ 20 w 349"/>
              <a:gd name="T5" fmla="*/ 49 h 91"/>
              <a:gd name="T6" fmla="*/ 38 w 349"/>
              <a:gd name="T7" fmla="*/ 60 h 91"/>
              <a:gd name="T8" fmla="*/ 38 w 349"/>
              <a:gd name="T9" fmla="*/ 60 h 91"/>
              <a:gd name="T10" fmla="*/ 69 w 349"/>
              <a:gd name="T11" fmla="*/ 71 h 91"/>
              <a:gd name="T12" fmla="*/ 89 w 349"/>
              <a:gd name="T13" fmla="*/ 78 h 91"/>
              <a:gd name="T14" fmla="*/ 111 w 349"/>
              <a:gd name="T15" fmla="*/ 84 h 91"/>
              <a:gd name="T16" fmla="*/ 137 w 349"/>
              <a:gd name="T17" fmla="*/ 87 h 91"/>
              <a:gd name="T18" fmla="*/ 164 w 349"/>
              <a:gd name="T19" fmla="*/ 91 h 91"/>
              <a:gd name="T20" fmla="*/ 194 w 349"/>
              <a:gd name="T21" fmla="*/ 91 h 91"/>
              <a:gd name="T22" fmla="*/ 226 w 349"/>
              <a:gd name="T23" fmla="*/ 89 h 91"/>
              <a:gd name="T24" fmla="*/ 226 w 349"/>
              <a:gd name="T25" fmla="*/ 89 h 91"/>
              <a:gd name="T26" fmla="*/ 256 w 349"/>
              <a:gd name="T27" fmla="*/ 86 h 91"/>
              <a:gd name="T28" fmla="*/ 279 w 349"/>
              <a:gd name="T29" fmla="*/ 80 h 91"/>
              <a:gd name="T30" fmla="*/ 301 w 349"/>
              <a:gd name="T31" fmla="*/ 75 h 91"/>
              <a:gd name="T32" fmla="*/ 318 w 349"/>
              <a:gd name="T33" fmla="*/ 69 h 91"/>
              <a:gd name="T34" fmla="*/ 342 w 349"/>
              <a:gd name="T35" fmla="*/ 56 h 91"/>
              <a:gd name="T36" fmla="*/ 349 w 349"/>
              <a:gd name="T37" fmla="*/ 53 h 91"/>
              <a:gd name="T38" fmla="*/ 349 w 349"/>
              <a:gd name="T39" fmla="*/ 53 h 91"/>
              <a:gd name="T40" fmla="*/ 338 w 349"/>
              <a:gd name="T41" fmla="*/ 49 h 91"/>
              <a:gd name="T42" fmla="*/ 329 w 349"/>
              <a:gd name="T43" fmla="*/ 44 h 91"/>
              <a:gd name="T44" fmla="*/ 314 w 349"/>
              <a:gd name="T45" fmla="*/ 31 h 91"/>
              <a:gd name="T46" fmla="*/ 314 w 349"/>
              <a:gd name="T47" fmla="*/ 31 h 91"/>
              <a:gd name="T48" fmla="*/ 312 w 349"/>
              <a:gd name="T49" fmla="*/ 38 h 91"/>
              <a:gd name="T50" fmla="*/ 312 w 349"/>
              <a:gd name="T51" fmla="*/ 38 h 91"/>
              <a:gd name="T52" fmla="*/ 311 w 349"/>
              <a:gd name="T53" fmla="*/ 51 h 91"/>
              <a:gd name="T54" fmla="*/ 311 w 349"/>
              <a:gd name="T55" fmla="*/ 51 h 91"/>
              <a:gd name="T56" fmla="*/ 303 w 349"/>
              <a:gd name="T57" fmla="*/ 49 h 91"/>
              <a:gd name="T58" fmla="*/ 303 w 349"/>
              <a:gd name="T59" fmla="*/ 49 h 91"/>
              <a:gd name="T60" fmla="*/ 298 w 349"/>
              <a:gd name="T61" fmla="*/ 45 h 91"/>
              <a:gd name="T62" fmla="*/ 292 w 349"/>
              <a:gd name="T63" fmla="*/ 40 h 91"/>
              <a:gd name="T64" fmla="*/ 289 w 349"/>
              <a:gd name="T65" fmla="*/ 33 h 91"/>
              <a:gd name="T66" fmla="*/ 287 w 349"/>
              <a:gd name="T67" fmla="*/ 23 h 91"/>
              <a:gd name="T68" fmla="*/ 287 w 349"/>
              <a:gd name="T69" fmla="*/ 23 h 91"/>
              <a:gd name="T70" fmla="*/ 287 w 349"/>
              <a:gd name="T71" fmla="*/ 22 h 91"/>
              <a:gd name="T72" fmla="*/ 287 w 349"/>
              <a:gd name="T73" fmla="*/ 22 h 91"/>
              <a:gd name="T74" fmla="*/ 272 w 349"/>
              <a:gd name="T75" fmla="*/ 27 h 91"/>
              <a:gd name="T76" fmla="*/ 252 w 349"/>
              <a:gd name="T77" fmla="*/ 33 h 91"/>
              <a:gd name="T78" fmla="*/ 228 w 349"/>
              <a:gd name="T79" fmla="*/ 38 h 91"/>
              <a:gd name="T80" fmla="*/ 205 w 349"/>
              <a:gd name="T81" fmla="*/ 40 h 91"/>
              <a:gd name="T82" fmla="*/ 205 w 349"/>
              <a:gd name="T83" fmla="*/ 40 h 91"/>
              <a:gd name="T84" fmla="*/ 161 w 349"/>
              <a:gd name="T85" fmla="*/ 38 h 91"/>
              <a:gd name="T86" fmla="*/ 139 w 349"/>
              <a:gd name="T87" fmla="*/ 36 h 91"/>
              <a:gd name="T88" fmla="*/ 117 w 349"/>
              <a:gd name="T89" fmla="*/ 33 h 91"/>
              <a:gd name="T90" fmla="*/ 95 w 349"/>
              <a:gd name="T91" fmla="*/ 29 h 91"/>
              <a:gd name="T92" fmla="*/ 73 w 349"/>
              <a:gd name="T93" fmla="*/ 22 h 91"/>
              <a:gd name="T94" fmla="*/ 51 w 349"/>
              <a:gd name="T95" fmla="*/ 14 h 91"/>
              <a:gd name="T96" fmla="*/ 31 w 349"/>
              <a:gd name="T97" fmla="*/ 7 h 91"/>
              <a:gd name="T98" fmla="*/ 31 w 349"/>
              <a:gd name="T99" fmla="*/ 7 h 91"/>
              <a:gd name="T100" fmla="*/ 15 w 349"/>
              <a:gd name="T101" fmla="*/ 0 h 91"/>
              <a:gd name="T102" fmla="*/ 15 w 349"/>
              <a:gd name="T103" fmla="*/ 0 h 91"/>
              <a:gd name="T104" fmla="*/ 15 w 349"/>
              <a:gd name="T105" fmla="*/ 1 h 91"/>
              <a:gd name="T106" fmla="*/ 15 w 349"/>
              <a:gd name="T107" fmla="*/ 5 h 91"/>
              <a:gd name="T108" fmla="*/ 18 w 349"/>
              <a:gd name="T109" fmla="*/ 14 h 91"/>
              <a:gd name="T110" fmla="*/ 25 w 349"/>
              <a:gd name="T111" fmla="*/ 25 h 91"/>
              <a:gd name="T112" fmla="*/ 25 w 349"/>
              <a:gd name="T113" fmla="*/ 25 h 91"/>
              <a:gd name="T114" fmla="*/ 16 w 349"/>
              <a:gd name="T115" fmla="*/ 23 h 91"/>
              <a:gd name="T116" fmla="*/ 7 w 349"/>
              <a:gd name="T117" fmla="*/ 27 h 91"/>
              <a:gd name="T118" fmla="*/ 7 w 349"/>
              <a:gd name="T119" fmla="*/ 27 h 91"/>
              <a:gd name="T120" fmla="*/ 2 w 349"/>
              <a:gd name="T121" fmla="*/ 31 h 91"/>
              <a:gd name="T122" fmla="*/ 0 w 349"/>
              <a:gd name="T123" fmla="*/ 3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9" h="91">
                <a:moveTo>
                  <a:pt x="0" y="34"/>
                </a:moveTo>
                <a:lnTo>
                  <a:pt x="0" y="34"/>
                </a:lnTo>
                <a:lnTo>
                  <a:pt x="20" y="49"/>
                </a:lnTo>
                <a:lnTo>
                  <a:pt x="38" y="60"/>
                </a:lnTo>
                <a:lnTo>
                  <a:pt x="38" y="60"/>
                </a:lnTo>
                <a:lnTo>
                  <a:pt x="69" y="71"/>
                </a:lnTo>
                <a:lnTo>
                  <a:pt x="89" y="78"/>
                </a:lnTo>
                <a:lnTo>
                  <a:pt x="111" y="84"/>
                </a:lnTo>
                <a:lnTo>
                  <a:pt x="137" y="87"/>
                </a:lnTo>
                <a:lnTo>
                  <a:pt x="164" y="91"/>
                </a:lnTo>
                <a:lnTo>
                  <a:pt x="194" y="91"/>
                </a:lnTo>
                <a:lnTo>
                  <a:pt x="226" y="89"/>
                </a:lnTo>
                <a:lnTo>
                  <a:pt x="226" y="89"/>
                </a:lnTo>
                <a:lnTo>
                  <a:pt x="256" y="86"/>
                </a:lnTo>
                <a:lnTo>
                  <a:pt x="279" y="80"/>
                </a:lnTo>
                <a:lnTo>
                  <a:pt x="301" y="75"/>
                </a:lnTo>
                <a:lnTo>
                  <a:pt x="318" y="69"/>
                </a:lnTo>
                <a:lnTo>
                  <a:pt x="342" y="56"/>
                </a:lnTo>
                <a:lnTo>
                  <a:pt x="349" y="53"/>
                </a:lnTo>
                <a:lnTo>
                  <a:pt x="349" y="53"/>
                </a:lnTo>
                <a:lnTo>
                  <a:pt x="338" y="49"/>
                </a:lnTo>
                <a:lnTo>
                  <a:pt x="329" y="44"/>
                </a:lnTo>
                <a:lnTo>
                  <a:pt x="314" y="31"/>
                </a:lnTo>
                <a:lnTo>
                  <a:pt x="314" y="31"/>
                </a:lnTo>
                <a:lnTo>
                  <a:pt x="312" y="38"/>
                </a:lnTo>
                <a:lnTo>
                  <a:pt x="312" y="38"/>
                </a:lnTo>
                <a:lnTo>
                  <a:pt x="311" y="51"/>
                </a:lnTo>
                <a:lnTo>
                  <a:pt x="311" y="51"/>
                </a:lnTo>
                <a:lnTo>
                  <a:pt x="303" y="49"/>
                </a:lnTo>
                <a:lnTo>
                  <a:pt x="303" y="49"/>
                </a:lnTo>
                <a:lnTo>
                  <a:pt x="298" y="45"/>
                </a:lnTo>
                <a:lnTo>
                  <a:pt x="292" y="40"/>
                </a:lnTo>
                <a:lnTo>
                  <a:pt x="289" y="33"/>
                </a:lnTo>
                <a:lnTo>
                  <a:pt x="287" y="23"/>
                </a:lnTo>
                <a:lnTo>
                  <a:pt x="287" y="23"/>
                </a:lnTo>
                <a:lnTo>
                  <a:pt x="287" y="22"/>
                </a:lnTo>
                <a:lnTo>
                  <a:pt x="287" y="22"/>
                </a:lnTo>
                <a:lnTo>
                  <a:pt x="272" y="27"/>
                </a:lnTo>
                <a:lnTo>
                  <a:pt x="252" y="33"/>
                </a:lnTo>
                <a:lnTo>
                  <a:pt x="228" y="38"/>
                </a:lnTo>
                <a:lnTo>
                  <a:pt x="205" y="40"/>
                </a:lnTo>
                <a:lnTo>
                  <a:pt x="205" y="40"/>
                </a:lnTo>
                <a:lnTo>
                  <a:pt x="161" y="38"/>
                </a:lnTo>
                <a:lnTo>
                  <a:pt x="139" y="36"/>
                </a:lnTo>
                <a:lnTo>
                  <a:pt x="117" y="33"/>
                </a:lnTo>
                <a:lnTo>
                  <a:pt x="95" y="29"/>
                </a:lnTo>
                <a:lnTo>
                  <a:pt x="73" y="22"/>
                </a:lnTo>
                <a:lnTo>
                  <a:pt x="51" y="14"/>
                </a:lnTo>
                <a:lnTo>
                  <a:pt x="31" y="7"/>
                </a:lnTo>
                <a:lnTo>
                  <a:pt x="31" y="7"/>
                </a:lnTo>
                <a:lnTo>
                  <a:pt x="15" y="0"/>
                </a:lnTo>
                <a:lnTo>
                  <a:pt x="15" y="0"/>
                </a:lnTo>
                <a:lnTo>
                  <a:pt x="15" y="1"/>
                </a:lnTo>
                <a:lnTo>
                  <a:pt x="15" y="5"/>
                </a:lnTo>
                <a:lnTo>
                  <a:pt x="18" y="14"/>
                </a:lnTo>
                <a:lnTo>
                  <a:pt x="25" y="25"/>
                </a:lnTo>
                <a:lnTo>
                  <a:pt x="25" y="25"/>
                </a:lnTo>
                <a:lnTo>
                  <a:pt x="16" y="23"/>
                </a:lnTo>
                <a:lnTo>
                  <a:pt x="7" y="27"/>
                </a:lnTo>
                <a:lnTo>
                  <a:pt x="7" y="27"/>
                </a:lnTo>
                <a:lnTo>
                  <a:pt x="2" y="31"/>
                </a:lnTo>
                <a:lnTo>
                  <a:pt x="0" y="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87" name="Freeform 38"/>
          <p:cNvSpPr>
            <a:spLocks/>
          </p:cNvSpPr>
          <p:nvPr userDrawn="1"/>
        </p:nvSpPr>
        <p:spPr bwMode="auto">
          <a:xfrm>
            <a:off x="8270876" y="-618703"/>
            <a:ext cx="282575" cy="201613"/>
          </a:xfrm>
          <a:custGeom>
            <a:avLst/>
            <a:gdLst>
              <a:gd name="T0" fmla="*/ 326 w 357"/>
              <a:gd name="T1" fmla="*/ 20 h 253"/>
              <a:gd name="T2" fmla="*/ 320 w 357"/>
              <a:gd name="T3" fmla="*/ 3 h 253"/>
              <a:gd name="T4" fmla="*/ 311 w 357"/>
              <a:gd name="T5" fmla="*/ 0 h 253"/>
              <a:gd name="T6" fmla="*/ 227 w 357"/>
              <a:gd name="T7" fmla="*/ 40 h 253"/>
              <a:gd name="T8" fmla="*/ 207 w 357"/>
              <a:gd name="T9" fmla="*/ 53 h 253"/>
              <a:gd name="T10" fmla="*/ 176 w 357"/>
              <a:gd name="T11" fmla="*/ 53 h 253"/>
              <a:gd name="T12" fmla="*/ 181 w 357"/>
              <a:gd name="T13" fmla="*/ 71 h 253"/>
              <a:gd name="T14" fmla="*/ 172 w 357"/>
              <a:gd name="T15" fmla="*/ 78 h 253"/>
              <a:gd name="T16" fmla="*/ 181 w 357"/>
              <a:gd name="T17" fmla="*/ 93 h 253"/>
              <a:gd name="T18" fmla="*/ 198 w 357"/>
              <a:gd name="T19" fmla="*/ 91 h 253"/>
              <a:gd name="T20" fmla="*/ 189 w 357"/>
              <a:gd name="T21" fmla="*/ 115 h 253"/>
              <a:gd name="T22" fmla="*/ 147 w 357"/>
              <a:gd name="T23" fmla="*/ 146 h 253"/>
              <a:gd name="T24" fmla="*/ 101 w 357"/>
              <a:gd name="T25" fmla="*/ 155 h 253"/>
              <a:gd name="T26" fmla="*/ 79 w 357"/>
              <a:gd name="T27" fmla="*/ 137 h 253"/>
              <a:gd name="T28" fmla="*/ 68 w 357"/>
              <a:gd name="T29" fmla="*/ 126 h 253"/>
              <a:gd name="T30" fmla="*/ 50 w 357"/>
              <a:gd name="T31" fmla="*/ 126 h 253"/>
              <a:gd name="T32" fmla="*/ 28 w 357"/>
              <a:gd name="T33" fmla="*/ 137 h 253"/>
              <a:gd name="T34" fmla="*/ 48 w 357"/>
              <a:gd name="T35" fmla="*/ 140 h 253"/>
              <a:gd name="T36" fmla="*/ 44 w 357"/>
              <a:gd name="T37" fmla="*/ 149 h 253"/>
              <a:gd name="T38" fmla="*/ 75 w 357"/>
              <a:gd name="T39" fmla="*/ 169 h 253"/>
              <a:gd name="T40" fmla="*/ 75 w 357"/>
              <a:gd name="T41" fmla="*/ 171 h 253"/>
              <a:gd name="T42" fmla="*/ 39 w 357"/>
              <a:gd name="T43" fmla="*/ 160 h 253"/>
              <a:gd name="T44" fmla="*/ 28 w 357"/>
              <a:gd name="T45" fmla="*/ 164 h 253"/>
              <a:gd name="T46" fmla="*/ 8 w 357"/>
              <a:gd name="T47" fmla="*/ 171 h 253"/>
              <a:gd name="T48" fmla="*/ 2 w 357"/>
              <a:gd name="T49" fmla="*/ 193 h 253"/>
              <a:gd name="T50" fmla="*/ 17 w 357"/>
              <a:gd name="T51" fmla="*/ 180 h 253"/>
              <a:gd name="T52" fmla="*/ 22 w 357"/>
              <a:gd name="T53" fmla="*/ 188 h 253"/>
              <a:gd name="T54" fmla="*/ 26 w 357"/>
              <a:gd name="T55" fmla="*/ 197 h 253"/>
              <a:gd name="T56" fmla="*/ 66 w 357"/>
              <a:gd name="T57" fmla="*/ 195 h 253"/>
              <a:gd name="T58" fmla="*/ 75 w 357"/>
              <a:gd name="T59" fmla="*/ 197 h 253"/>
              <a:gd name="T60" fmla="*/ 39 w 357"/>
              <a:gd name="T61" fmla="*/ 206 h 253"/>
              <a:gd name="T62" fmla="*/ 37 w 357"/>
              <a:gd name="T63" fmla="*/ 213 h 253"/>
              <a:gd name="T64" fmla="*/ 28 w 357"/>
              <a:gd name="T65" fmla="*/ 233 h 253"/>
              <a:gd name="T66" fmla="*/ 35 w 357"/>
              <a:gd name="T67" fmla="*/ 248 h 253"/>
              <a:gd name="T68" fmla="*/ 41 w 357"/>
              <a:gd name="T69" fmla="*/ 244 h 253"/>
              <a:gd name="T70" fmla="*/ 42 w 357"/>
              <a:gd name="T71" fmla="*/ 235 h 253"/>
              <a:gd name="T72" fmla="*/ 55 w 357"/>
              <a:gd name="T73" fmla="*/ 243 h 253"/>
              <a:gd name="T74" fmla="*/ 72 w 357"/>
              <a:gd name="T75" fmla="*/ 232 h 253"/>
              <a:gd name="T76" fmla="*/ 94 w 357"/>
              <a:gd name="T77" fmla="*/ 213 h 253"/>
              <a:gd name="T78" fmla="*/ 108 w 357"/>
              <a:gd name="T79" fmla="*/ 211 h 253"/>
              <a:gd name="T80" fmla="*/ 110 w 357"/>
              <a:gd name="T81" fmla="*/ 222 h 253"/>
              <a:gd name="T82" fmla="*/ 115 w 357"/>
              <a:gd name="T83" fmla="*/ 233 h 253"/>
              <a:gd name="T84" fmla="*/ 114 w 357"/>
              <a:gd name="T85" fmla="*/ 243 h 253"/>
              <a:gd name="T86" fmla="*/ 136 w 357"/>
              <a:gd name="T87" fmla="*/ 224 h 253"/>
              <a:gd name="T88" fmla="*/ 141 w 357"/>
              <a:gd name="T89" fmla="*/ 219 h 253"/>
              <a:gd name="T90" fmla="*/ 145 w 357"/>
              <a:gd name="T91" fmla="*/ 211 h 253"/>
              <a:gd name="T92" fmla="*/ 147 w 357"/>
              <a:gd name="T93" fmla="*/ 200 h 253"/>
              <a:gd name="T94" fmla="*/ 167 w 357"/>
              <a:gd name="T95" fmla="*/ 193 h 253"/>
              <a:gd name="T96" fmla="*/ 170 w 357"/>
              <a:gd name="T97" fmla="*/ 180 h 253"/>
              <a:gd name="T98" fmla="*/ 181 w 357"/>
              <a:gd name="T99" fmla="*/ 179 h 253"/>
              <a:gd name="T100" fmla="*/ 199 w 357"/>
              <a:gd name="T101" fmla="*/ 197 h 253"/>
              <a:gd name="T102" fmla="*/ 231 w 357"/>
              <a:gd name="T103" fmla="*/ 182 h 253"/>
              <a:gd name="T104" fmla="*/ 227 w 357"/>
              <a:gd name="T105" fmla="*/ 169 h 253"/>
              <a:gd name="T106" fmla="*/ 223 w 357"/>
              <a:gd name="T107" fmla="*/ 155 h 253"/>
              <a:gd name="T108" fmla="*/ 245 w 357"/>
              <a:gd name="T109" fmla="*/ 173 h 253"/>
              <a:gd name="T110" fmla="*/ 276 w 357"/>
              <a:gd name="T111" fmla="*/ 155 h 253"/>
              <a:gd name="T112" fmla="*/ 273 w 357"/>
              <a:gd name="T113" fmla="*/ 149 h 253"/>
              <a:gd name="T114" fmla="*/ 263 w 357"/>
              <a:gd name="T115" fmla="*/ 131 h 253"/>
              <a:gd name="T116" fmla="*/ 262 w 357"/>
              <a:gd name="T117" fmla="*/ 115 h 253"/>
              <a:gd name="T118" fmla="*/ 262 w 357"/>
              <a:gd name="T119" fmla="*/ 98 h 253"/>
              <a:gd name="T120" fmla="*/ 353 w 357"/>
              <a:gd name="T121" fmla="*/ 45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7" h="253">
                <a:moveTo>
                  <a:pt x="344" y="31"/>
                </a:moveTo>
                <a:lnTo>
                  <a:pt x="344" y="31"/>
                </a:lnTo>
                <a:lnTo>
                  <a:pt x="335" y="23"/>
                </a:lnTo>
                <a:lnTo>
                  <a:pt x="326" y="20"/>
                </a:lnTo>
                <a:lnTo>
                  <a:pt x="309" y="12"/>
                </a:lnTo>
                <a:lnTo>
                  <a:pt x="309" y="12"/>
                </a:lnTo>
                <a:lnTo>
                  <a:pt x="316" y="7"/>
                </a:lnTo>
                <a:lnTo>
                  <a:pt x="320" y="3"/>
                </a:lnTo>
                <a:lnTo>
                  <a:pt x="320" y="1"/>
                </a:lnTo>
                <a:lnTo>
                  <a:pt x="320" y="1"/>
                </a:lnTo>
                <a:lnTo>
                  <a:pt x="315" y="0"/>
                </a:lnTo>
                <a:lnTo>
                  <a:pt x="311" y="0"/>
                </a:lnTo>
                <a:lnTo>
                  <a:pt x="311" y="0"/>
                </a:lnTo>
                <a:lnTo>
                  <a:pt x="280" y="12"/>
                </a:lnTo>
                <a:lnTo>
                  <a:pt x="252" y="25"/>
                </a:lnTo>
                <a:lnTo>
                  <a:pt x="227" y="40"/>
                </a:lnTo>
                <a:lnTo>
                  <a:pt x="209" y="53"/>
                </a:lnTo>
                <a:lnTo>
                  <a:pt x="209" y="53"/>
                </a:lnTo>
                <a:lnTo>
                  <a:pt x="207" y="53"/>
                </a:lnTo>
                <a:lnTo>
                  <a:pt x="207" y="53"/>
                </a:lnTo>
                <a:lnTo>
                  <a:pt x="201" y="56"/>
                </a:lnTo>
                <a:lnTo>
                  <a:pt x="196" y="56"/>
                </a:lnTo>
                <a:lnTo>
                  <a:pt x="185" y="54"/>
                </a:lnTo>
                <a:lnTo>
                  <a:pt x="176" y="53"/>
                </a:lnTo>
                <a:lnTo>
                  <a:pt x="174" y="51"/>
                </a:lnTo>
                <a:lnTo>
                  <a:pt x="170" y="67"/>
                </a:lnTo>
                <a:lnTo>
                  <a:pt x="170" y="67"/>
                </a:lnTo>
                <a:lnTo>
                  <a:pt x="181" y="71"/>
                </a:lnTo>
                <a:lnTo>
                  <a:pt x="189" y="74"/>
                </a:lnTo>
                <a:lnTo>
                  <a:pt x="189" y="74"/>
                </a:lnTo>
                <a:lnTo>
                  <a:pt x="178" y="76"/>
                </a:lnTo>
                <a:lnTo>
                  <a:pt x="172" y="78"/>
                </a:lnTo>
                <a:lnTo>
                  <a:pt x="168" y="82"/>
                </a:lnTo>
                <a:lnTo>
                  <a:pt x="174" y="96"/>
                </a:lnTo>
                <a:lnTo>
                  <a:pt x="174" y="96"/>
                </a:lnTo>
                <a:lnTo>
                  <a:pt x="181" y="93"/>
                </a:lnTo>
                <a:lnTo>
                  <a:pt x="189" y="91"/>
                </a:lnTo>
                <a:lnTo>
                  <a:pt x="198" y="89"/>
                </a:lnTo>
                <a:lnTo>
                  <a:pt x="198" y="89"/>
                </a:lnTo>
                <a:lnTo>
                  <a:pt x="198" y="91"/>
                </a:lnTo>
                <a:lnTo>
                  <a:pt x="198" y="91"/>
                </a:lnTo>
                <a:lnTo>
                  <a:pt x="198" y="98"/>
                </a:lnTo>
                <a:lnTo>
                  <a:pt x="194" y="105"/>
                </a:lnTo>
                <a:lnTo>
                  <a:pt x="189" y="115"/>
                </a:lnTo>
                <a:lnTo>
                  <a:pt x="181" y="122"/>
                </a:lnTo>
                <a:lnTo>
                  <a:pt x="165" y="137"/>
                </a:lnTo>
                <a:lnTo>
                  <a:pt x="156" y="142"/>
                </a:lnTo>
                <a:lnTo>
                  <a:pt x="147" y="146"/>
                </a:lnTo>
                <a:lnTo>
                  <a:pt x="147" y="146"/>
                </a:lnTo>
                <a:lnTo>
                  <a:pt x="128" y="151"/>
                </a:lnTo>
                <a:lnTo>
                  <a:pt x="112" y="155"/>
                </a:lnTo>
                <a:lnTo>
                  <a:pt x="101" y="155"/>
                </a:lnTo>
                <a:lnTo>
                  <a:pt x="95" y="153"/>
                </a:lnTo>
                <a:lnTo>
                  <a:pt x="95" y="153"/>
                </a:lnTo>
                <a:lnTo>
                  <a:pt x="84" y="144"/>
                </a:lnTo>
                <a:lnTo>
                  <a:pt x="79" y="137"/>
                </a:lnTo>
                <a:lnTo>
                  <a:pt x="73" y="129"/>
                </a:lnTo>
                <a:lnTo>
                  <a:pt x="72" y="126"/>
                </a:lnTo>
                <a:lnTo>
                  <a:pt x="68" y="126"/>
                </a:lnTo>
                <a:lnTo>
                  <a:pt x="68" y="126"/>
                </a:lnTo>
                <a:lnTo>
                  <a:pt x="64" y="126"/>
                </a:lnTo>
                <a:lnTo>
                  <a:pt x="61" y="127"/>
                </a:lnTo>
                <a:lnTo>
                  <a:pt x="61" y="127"/>
                </a:lnTo>
                <a:lnTo>
                  <a:pt x="50" y="126"/>
                </a:lnTo>
                <a:lnTo>
                  <a:pt x="41" y="127"/>
                </a:lnTo>
                <a:lnTo>
                  <a:pt x="33" y="131"/>
                </a:lnTo>
                <a:lnTo>
                  <a:pt x="30" y="133"/>
                </a:lnTo>
                <a:lnTo>
                  <a:pt x="28" y="137"/>
                </a:lnTo>
                <a:lnTo>
                  <a:pt x="28" y="137"/>
                </a:lnTo>
                <a:lnTo>
                  <a:pt x="41" y="137"/>
                </a:lnTo>
                <a:lnTo>
                  <a:pt x="48" y="138"/>
                </a:lnTo>
                <a:lnTo>
                  <a:pt x="48" y="140"/>
                </a:lnTo>
                <a:lnTo>
                  <a:pt x="46" y="142"/>
                </a:lnTo>
                <a:lnTo>
                  <a:pt x="46" y="142"/>
                </a:lnTo>
                <a:lnTo>
                  <a:pt x="42" y="146"/>
                </a:lnTo>
                <a:lnTo>
                  <a:pt x="44" y="149"/>
                </a:lnTo>
                <a:lnTo>
                  <a:pt x="46" y="153"/>
                </a:lnTo>
                <a:lnTo>
                  <a:pt x="52" y="157"/>
                </a:lnTo>
                <a:lnTo>
                  <a:pt x="75" y="169"/>
                </a:lnTo>
                <a:lnTo>
                  <a:pt x="75" y="169"/>
                </a:lnTo>
                <a:lnTo>
                  <a:pt x="75" y="169"/>
                </a:lnTo>
                <a:lnTo>
                  <a:pt x="75" y="171"/>
                </a:lnTo>
                <a:lnTo>
                  <a:pt x="75" y="171"/>
                </a:lnTo>
                <a:lnTo>
                  <a:pt x="75" y="171"/>
                </a:lnTo>
                <a:lnTo>
                  <a:pt x="68" y="171"/>
                </a:lnTo>
                <a:lnTo>
                  <a:pt x="59" y="168"/>
                </a:lnTo>
                <a:lnTo>
                  <a:pt x="39" y="160"/>
                </a:lnTo>
                <a:lnTo>
                  <a:pt x="39" y="160"/>
                </a:lnTo>
                <a:lnTo>
                  <a:pt x="35" y="160"/>
                </a:lnTo>
                <a:lnTo>
                  <a:pt x="31" y="160"/>
                </a:lnTo>
                <a:lnTo>
                  <a:pt x="28" y="164"/>
                </a:lnTo>
                <a:lnTo>
                  <a:pt x="28" y="164"/>
                </a:lnTo>
                <a:lnTo>
                  <a:pt x="24" y="164"/>
                </a:lnTo>
                <a:lnTo>
                  <a:pt x="19" y="164"/>
                </a:lnTo>
                <a:lnTo>
                  <a:pt x="11" y="168"/>
                </a:lnTo>
                <a:lnTo>
                  <a:pt x="8" y="171"/>
                </a:lnTo>
                <a:lnTo>
                  <a:pt x="2" y="175"/>
                </a:lnTo>
                <a:lnTo>
                  <a:pt x="0" y="180"/>
                </a:lnTo>
                <a:lnTo>
                  <a:pt x="0" y="186"/>
                </a:lnTo>
                <a:lnTo>
                  <a:pt x="2" y="193"/>
                </a:lnTo>
                <a:lnTo>
                  <a:pt x="2" y="193"/>
                </a:lnTo>
                <a:lnTo>
                  <a:pt x="8" y="186"/>
                </a:lnTo>
                <a:lnTo>
                  <a:pt x="13" y="180"/>
                </a:lnTo>
                <a:lnTo>
                  <a:pt x="17" y="180"/>
                </a:lnTo>
                <a:lnTo>
                  <a:pt x="20" y="180"/>
                </a:lnTo>
                <a:lnTo>
                  <a:pt x="20" y="180"/>
                </a:lnTo>
                <a:lnTo>
                  <a:pt x="22" y="182"/>
                </a:lnTo>
                <a:lnTo>
                  <a:pt x="22" y="188"/>
                </a:lnTo>
                <a:lnTo>
                  <a:pt x="22" y="191"/>
                </a:lnTo>
                <a:lnTo>
                  <a:pt x="24" y="195"/>
                </a:lnTo>
                <a:lnTo>
                  <a:pt x="26" y="197"/>
                </a:lnTo>
                <a:lnTo>
                  <a:pt x="26" y="197"/>
                </a:lnTo>
                <a:lnTo>
                  <a:pt x="30" y="199"/>
                </a:lnTo>
                <a:lnTo>
                  <a:pt x="37" y="199"/>
                </a:lnTo>
                <a:lnTo>
                  <a:pt x="52" y="197"/>
                </a:lnTo>
                <a:lnTo>
                  <a:pt x="66" y="195"/>
                </a:lnTo>
                <a:lnTo>
                  <a:pt x="73" y="195"/>
                </a:lnTo>
                <a:lnTo>
                  <a:pt x="75" y="195"/>
                </a:lnTo>
                <a:lnTo>
                  <a:pt x="75" y="195"/>
                </a:lnTo>
                <a:lnTo>
                  <a:pt x="75" y="197"/>
                </a:lnTo>
                <a:lnTo>
                  <a:pt x="72" y="199"/>
                </a:lnTo>
                <a:lnTo>
                  <a:pt x="59" y="200"/>
                </a:lnTo>
                <a:lnTo>
                  <a:pt x="44" y="202"/>
                </a:lnTo>
                <a:lnTo>
                  <a:pt x="39" y="206"/>
                </a:lnTo>
                <a:lnTo>
                  <a:pt x="37" y="208"/>
                </a:lnTo>
                <a:lnTo>
                  <a:pt x="37" y="208"/>
                </a:lnTo>
                <a:lnTo>
                  <a:pt x="37" y="213"/>
                </a:lnTo>
                <a:lnTo>
                  <a:pt x="37" y="213"/>
                </a:lnTo>
                <a:lnTo>
                  <a:pt x="37" y="215"/>
                </a:lnTo>
                <a:lnTo>
                  <a:pt x="33" y="219"/>
                </a:lnTo>
                <a:lnTo>
                  <a:pt x="30" y="226"/>
                </a:lnTo>
                <a:lnTo>
                  <a:pt x="28" y="233"/>
                </a:lnTo>
                <a:lnTo>
                  <a:pt x="28" y="233"/>
                </a:lnTo>
                <a:lnTo>
                  <a:pt x="28" y="237"/>
                </a:lnTo>
                <a:lnTo>
                  <a:pt x="30" y="243"/>
                </a:lnTo>
                <a:lnTo>
                  <a:pt x="35" y="248"/>
                </a:lnTo>
                <a:lnTo>
                  <a:pt x="41" y="253"/>
                </a:lnTo>
                <a:lnTo>
                  <a:pt x="41" y="253"/>
                </a:lnTo>
                <a:lnTo>
                  <a:pt x="42" y="252"/>
                </a:lnTo>
                <a:lnTo>
                  <a:pt x="41" y="244"/>
                </a:lnTo>
                <a:lnTo>
                  <a:pt x="41" y="239"/>
                </a:lnTo>
                <a:lnTo>
                  <a:pt x="42" y="237"/>
                </a:lnTo>
                <a:lnTo>
                  <a:pt x="42" y="235"/>
                </a:lnTo>
                <a:lnTo>
                  <a:pt x="42" y="235"/>
                </a:lnTo>
                <a:lnTo>
                  <a:pt x="46" y="235"/>
                </a:lnTo>
                <a:lnTo>
                  <a:pt x="48" y="237"/>
                </a:lnTo>
                <a:lnTo>
                  <a:pt x="52" y="241"/>
                </a:lnTo>
                <a:lnTo>
                  <a:pt x="55" y="243"/>
                </a:lnTo>
                <a:lnTo>
                  <a:pt x="55" y="243"/>
                </a:lnTo>
                <a:lnTo>
                  <a:pt x="59" y="241"/>
                </a:lnTo>
                <a:lnTo>
                  <a:pt x="62" y="239"/>
                </a:lnTo>
                <a:lnTo>
                  <a:pt x="72" y="232"/>
                </a:lnTo>
                <a:lnTo>
                  <a:pt x="81" y="222"/>
                </a:lnTo>
                <a:lnTo>
                  <a:pt x="86" y="217"/>
                </a:lnTo>
                <a:lnTo>
                  <a:pt x="94" y="213"/>
                </a:lnTo>
                <a:lnTo>
                  <a:pt x="94" y="213"/>
                </a:lnTo>
                <a:lnTo>
                  <a:pt x="103" y="210"/>
                </a:lnTo>
                <a:lnTo>
                  <a:pt x="106" y="208"/>
                </a:lnTo>
                <a:lnTo>
                  <a:pt x="108" y="210"/>
                </a:lnTo>
                <a:lnTo>
                  <a:pt x="108" y="211"/>
                </a:lnTo>
                <a:lnTo>
                  <a:pt x="108" y="217"/>
                </a:lnTo>
                <a:lnTo>
                  <a:pt x="108" y="221"/>
                </a:lnTo>
                <a:lnTo>
                  <a:pt x="110" y="222"/>
                </a:lnTo>
                <a:lnTo>
                  <a:pt x="110" y="222"/>
                </a:lnTo>
                <a:lnTo>
                  <a:pt x="115" y="224"/>
                </a:lnTo>
                <a:lnTo>
                  <a:pt x="117" y="226"/>
                </a:lnTo>
                <a:lnTo>
                  <a:pt x="117" y="230"/>
                </a:lnTo>
                <a:lnTo>
                  <a:pt x="115" y="233"/>
                </a:lnTo>
                <a:lnTo>
                  <a:pt x="112" y="239"/>
                </a:lnTo>
                <a:lnTo>
                  <a:pt x="108" y="243"/>
                </a:lnTo>
                <a:lnTo>
                  <a:pt x="108" y="243"/>
                </a:lnTo>
                <a:lnTo>
                  <a:pt x="114" y="243"/>
                </a:lnTo>
                <a:lnTo>
                  <a:pt x="121" y="241"/>
                </a:lnTo>
                <a:lnTo>
                  <a:pt x="128" y="233"/>
                </a:lnTo>
                <a:lnTo>
                  <a:pt x="132" y="230"/>
                </a:lnTo>
                <a:lnTo>
                  <a:pt x="136" y="224"/>
                </a:lnTo>
                <a:lnTo>
                  <a:pt x="136" y="224"/>
                </a:lnTo>
                <a:lnTo>
                  <a:pt x="136" y="221"/>
                </a:lnTo>
                <a:lnTo>
                  <a:pt x="137" y="221"/>
                </a:lnTo>
                <a:lnTo>
                  <a:pt x="141" y="219"/>
                </a:lnTo>
                <a:lnTo>
                  <a:pt x="143" y="217"/>
                </a:lnTo>
                <a:lnTo>
                  <a:pt x="143" y="217"/>
                </a:lnTo>
                <a:lnTo>
                  <a:pt x="145" y="215"/>
                </a:lnTo>
                <a:lnTo>
                  <a:pt x="145" y="211"/>
                </a:lnTo>
                <a:lnTo>
                  <a:pt x="145" y="208"/>
                </a:lnTo>
                <a:lnTo>
                  <a:pt x="145" y="204"/>
                </a:lnTo>
                <a:lnTo>
                  <a:pt x="145" y="204"/>
                </a:lnTo>
                <a:lnTo>
                  <a:pt x="147" y="200"/>
                </a:lnTo>
                <a:lnTo>
                  <a:pt x="150" y="199"/>
                </a:lnTo>
                <a:lnTo>
                  <a:pt x="157" y="197"/>
                </a:lnTo>
                <a:lnTo>
                  <a:pt x="165" y="195"/>
                </a:lnTo>
                <a:lnTo>
                  <a:pt x="167" y="193"/>
                </a:lnTo>
                <a:lnTo>
                  <a:pt x="167" y="191"/>
                </a:lnTo>
                <a:lnTo>
                  <a:pt x="167" y="191"/>
                </a:lnTo>
                <a:lnTo>
                  <a:pt x="167" y="186"/>
                </a:lnTo>
                <a:lnTo>
                  <a:pt x="170" y="180"/>
                </a:lnTo>
                <a:lnTo>
                  <a:pt x="176" y="179"/>
                </a:lnTo>
                <a:lnTo>
                  <a:pt x="179" y="177"/>
                </a:lnTo>
                <a:lnTo>
                  <a:pt x="179" y="177"/>
                </a:lnTo>
                <a:lnTo>
                  <a:pt x="181" y="179"/>
                </a:lnTo>
                <a:lnTo>
                  <a:pt x="183" y="184"/>
                </a:lnTo>
                <a:lnTo>
                  <a:pt x="189" y="190"/>
                </a:lnTo>
                <a:lnTo>
                  <a:pt x="194" y="193"/>
                </a:lnTo>
                <a:lnTo>
                  <a:pt x="199" y="197"/>
                </a:lnTo>
                <a:lnTo>
                  <a:pt x="199" y="197"/>
                </a:lnTo>
                <a:lnTo>
                  <a:pt x="221" y="186"/>
                </a:lnTo>
                <a:lnTo>
                  <a:pt x="221" y="186"/>
                </a:lnTo>
                <a:lnTo>
                  <a:pt x="231" y="182"/>
                </a:lnTo>
                <a:lnTo>
                  <a:pt x="234" y="179"/>
                </a:lnTo>
                <a:lnTo>
                  <a:pt x="234" y="179"/>
                </a:lnTo>
                <a:lnTo>
                  <a:pt x="231" y="173"/>
                </a:lnTo>
                <a:lnTo>
                  <a:pt x="227" y="169"/>
                </a:lnTo>
                <a:lnTo>
                  <a:pt x="225" y="164"/>
                </a:lnTo>
                <a:lnTo>
                  <a:pt x="225" y="164"/>
                </a:lnTo>
                <a:lnTo>
                  <a:pt x="223" y="158"/>
                </a:lnTo>
                <a:lnTo>
                  <a:pt x="223" y="155"/>
                </a:lnTo>
                <a:lnTo>
                  <a:pt x="223" y="155"/>
                </a:lnTo>
                <a:lnTo>
                  <a:pt x="229" y="162"/>
                </a:lnTo>
                <a:lnTo>
                  <a:pt x="236" y="168"/>
                </a:lnTo>
                <a:lnTo>
                  <a:pt x="245" y="173"/>
                </a:lnTo>
                <a:lnTo>
                  <a:pt x="245" y="173"/>
                </a:lnTo>
                <a:lnTo>
                  <a:pt x="271" y="157"/>
                </a:lnTo>
                <a:lnTo>
                  <a:pt x="271" y="157"/>
                </a:lnTo>
                <a:lnTo>
                  <a:pt x="276" y="155"/>
                </a:lnTo>
                <a:lnTo>
                  <a:pt x="276" y="155"/>
                </a:lnTo>
                <a:lnTo>
                  <a:pt x="276" y="155"/>
                </a:lnTo>
                <a:lnTo>
                  <a:pt x="276" y="155"/>
                </a:lnTo>
                <a:lnTo>
                  <a:pt x="273" y="149"/>
                </a:lnTo>
                <a:lnTo>
                  <a:pt x="267" y="144"/>
                </a:lnTo>
                <a:lnTo>
                  <a:pt x="262" y="137"/>
                </a:lnTo>
                <a:lnTo>
                  <a:pt x="262" y="133"/>
                </a:lnTo>
                <a:lnTo>
                  <a:pt x="263" y="131"/>
                </a:lnTo>
                <a:lnTo>
                  <a:pt x="263" y="131"/>
                </a:lnTo>
                <a:lnTo>
                  <a:pt x="265" y="129"/>
                </a:lnTo>
                <a:lnTo>
                  <a:pt x="265" y="126"/>
                </a:lnTo>
                <a:lnTo>
                  <a:pt x="262" y="115"/>
                </a:lnTo>
                <a:lnTo>
                  <a:pt x="258" y="105"/>
                </a:lnTo>
                <a:lnTo>
                  <a:pt x="258" y="100"/>
                </a:lnTo>
                <a:lnTo>
                  <a:pt x="262" y="98"/>
                </a:lnTo>
                <a:lnTo>
                  <a:pt x="262" y="98"/>
                </a:lnTo>
                <a:lnTo>
                  <a:pt x="313" y="73"/>
                </a:lnTo>
                <a:lnTo>
                  <a:pt x="357" y="51"/>
                </a:lnTo>
                <a:lnTo>
                  <a:pt x="357" y="51"/>
                </a:lnTo>
                <a:lnTo>
                  <a:pt x="353" y="45"/>
                </a:lnTo>
                <a:lnTo>
                  <a:pt x="349" y="38"/>
                </a:lnTo>
                <a:lnTo>
                  <a:pt x="344" y="3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88" name="Freeform 39"/>
          <p:cNvSpPr>
            <a:spLocks/>
          </p:cNvSpPr>
          <p:nvPr userDrawn="1"/>
        </p:nvSpPr>
        <p:spPr bwMode="auto">
          <a:xfrm>
            <a:off x="8229601" y="-437728"/>
            <a:ext cx="120650" cy="115888"/>
          </a:xfrm>
          <a:custGeom>
            <a:avLst/>
            <a:gdLst>
              <a:gd name="T0" fmla="*/ 0 w 152"/>
              <a:gd name="T1" fmla="*/ 42 h 144"/>
              <a:gd name="T2" fmla="*/ 2 w 152"/>
              <a:gd name="T3" fmla="*/ 51 h 144"/>
              <a:gd name="T4" fmla="*/ 4 w 152"/>
              <a:gd name="T5" fmla="*/ 57 h 144"/>
              <a:gd name="T6" fmla="*/ 15 w 152"/>
              <a:gd name="T7" fmla="*/ 60 h 144"/>
              <a:gd name="T8" fmla="*/ 18 w 152"/>
              <a:gd name="T9" fmla="*/ 58 h 144"/>
              <a:gd name="T10" fmla="*/ 20 w 152"/>
              <a:gd name="T11" fmla="*/ 51 h 144"/>
              <a:gd name="T12" fmla="*/ 22 w 152"/>
              <a:gd name="T13" fmla="*/ 44 h 144"/>
              <a:gd name="T14" fmla="*/ 24 w 152"/>
              <a:gd name="T15" fmla="*/ 42 h 144"/>
              <a:gd name="T16" fmla="*/ 26 w 152"/>
              <a:gd name="T17" fmla="*/ 42 h 144"/>
              <a:gd name="T18" fmla="*/ 28 w 152"/>
              <a:gd name="T19" fmla="*/ 40 h 144"/>
              <a:gd name="T20" fmla="*/ 68 w 152"/>
              <a:gd name="T21" fmla="*/ 60 h 144"/>
              <a:gd name="T22" fmla="*/ 106 w 152"/>
              <a:gd name="T23" fmla="*/ 86 h 144"/>
              <a:gd name="T24" fmla="*/ 112 w 152"/>
              <a:gd name="T25" fmla="*/ 89 h 144"/>
              <a:gd name="T26" fmla="*/ 106 w 152"/>
              <a:gd name="T27" fmla="*/ 100 h 144"/>
              <a:gd name="T28" fmla="*/ 95 w 152"/>
              <a:gd name="T29" fmla="*/ 128 h 144"/>
              <a:gd name="T30" fmla="*/ 93 w 152"/>
              <a:gd name="T31" fmla="*/ 135 h 144"/>
              <a:gd name="T32" fmla="*/ 97 w 152"/>
              <a:gd name="T33" fmla="*/ 142 h 144"/>
              <a:gd name="T34" fmla="*/ 104 w 152"/>
              <a:gd name="T35" fmla="*/ 144 h 144"/>
              <a:gd name="T36" fmla="*/ 110 w 152"/>
              <a:gd name="T37" fmla="*/ 144 h 144"/>
              <a:gd name="T38" fmla="*/ 117 w 152"/>
              <a:gd name="T39" fmla="*/ 139 h 144"/>
              <a:gd name="T40" fmla="*/ 119 w 152"/>
              <a:gd name="T41" fmla="*/ 135 h 144"/>
              <a:gd name="T42" fmla="*/ 119 w 152"/>
              <a:gd name="T43" fmla="*/ 130 h 144"/>
              <a:gd name="T44" fmla="*/ 112 w 152"/>
              <a:gd name="T45" fmla="*/ 122 h 144"/>
              <a:gd name="T46" fmla="*/ 110 w 152"/>
              <a:gd name="T47" fmla="*/ 122 h 144"/>
              <a:gd name="T48" fmla="*/ 115 w 152"/>
              <a:gd name="T49" fmla="*/ 110 h 144"/>
              <a:gd name="T50" fmla="*/ 123 w 152"/>
              <a:gd name="T51" fmla="*/ 93 h 144"/>
              <a:gd name="T52" fmla="*/ 132 w 152"/>
              <a:gd name="T53" fmla="*/ 86 h 144"/>
              <a:gd name="T54" fmla="*/ 141 w 152"/>
              <a:gd name="T55" fmla="*/ 84 h 144"/>
              <a:gd name="T56" fmla="*/ 139 w 152"/>
              <a:gd name="T57" fmla="*/ 80 h 144"/>
              <a:gd name="T58" fmla="*/ 135 w 152"/>
              <a:gd name="T59" fmla="*/ 69 h 144"/>
              <a:gd name="T60" fmla="*/ 137 w 152"/>
              <a:gd name="T61" fmla="*/ 57 h 144"/>
              <a:gd name="T62" fmla="*/ 141 w 152"/>
              <a:gd name="T63" fmla="*/ 49 h 144"/>
              <a:gd name="T64" fmla="*/ 152 w 152"/>
              <a:gd name="T65" fmla="*/ 18 h 144"/>
              <a:gd name="T66" fmla="*/ 152 w 152"/>
              <a:gd name="T67" fmla="*/ 13 h 144"/>
              <a:gd name="T68" fmla="*/ 146 w 152"/>
              <a:gd name="T69" fmla="*/ 5 h 144"/>
              <a:gd name="T70" fmla="*/ 141 w 152"/>
              <a:gd name="T71" fmla="*/ 4 h 144"/>
              <a:gd name="T72" fmla="*/ 132 w 152"/>
              <a:gd name="T73" fmla="*/ 7 h 144"/>
              <a:gd name="T74" fmla="*/ 128 w 152"/>
              <a:gd name="T75" fmla="*/ 15 h 144"/>
              <a:gd name="T76" fmla="*/ 128 w 152"/>
              <a:gd name="T77" fmla="*/ 20 h 144"/>
              <a:gd name="T78" fmla="*/ 134 w 152"/>
              <a:gd name="T79" fmla="*/ 27 h 144"/>
              <a:gd name="T80" fmla="*/ 137 w 152"/>
              <a:gd name="T81" fmla="*/ 29 h 144"/>
              <a:gd name="T82" fmla="*/ 132 w 152"/>
              <a:gd name="T83" fmla="*/ 46 h 144"/>
              <a:gd name="T84" fmla="*/ 124 w 152"/>
              <a:gd name="T85" fmla="*/ 55 h 144"/>
              <a:gd name="T86" fmla="*/ 117 w 152"/>
              <a:gd name="T87" fmla="*/ 51 h 144"/>
              <a:gd name="T88" fmla="*/ 60 w 152"/>
              <a:gd name="T89" fmla="*/ 24 h 144"/>
              <a:gd name="T90" fmla="*/ 40 w 152"/>
              <a:gd name="T91" fmla="*/ 18 h 144"/>
              <a:gd name="T92" fmla="*/ 42 w 152"/>
              <a:gd name="T93" fmla="*/ 13 h 144"/>
              <a:gd name="T94" fmla="*/ 50 w 152"/>
              <a:gd name="T95" fmla="*/ 0 h 144"/>
              <a:gd name="T96" fmla="*/ 46 w 152"/>
              <a:gd name="T97" fmla="*/ 2 h 144"/>
              <a:gd name="T98" fmla="*/ 39 w 152"/>
              <a:gd name="T99" fmla="*/ 5 h 144"/>
              <a:gd name="T100" fmla="*/ 24 w 152"/>
              <a:gd name="T101" fmla="*/ 11 h 144"/>
              <a:gd name="T102" fmla="*/ 18 w 152"/>
              <a:gd name="T103" fmla="*/ 11 h 144"/>
              <a:gd name="T104" fmla="*/ 15 w 152"/>
              <a:gd name="T105" fmla="*/ 11 h 144"/>
              <a:gd name="T106" fmla="*/ 9 w 152"/>
              <a:gd name="T107" fmla="*/ 22 h 144"/>
              <a:gd name="T108" fmla="*/ 6 w 152"/>
              <a:gd name="T109" fmla="*/ 33 h 144"/>
              <a:gd name="T110" fmla="*/ 2 w 152"/>
              <a:gd name="T111" fmla="*/ 3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2" h="144">
                <a:moveTo>
                  <a:pt x="0" y="42"/>
                </a:moveTo>
                <a:lnTo>
                  <a:pt x="0" y="42"/>
                </a:lnTo>
                <a:lnTo>
                  <a:pt x="0" y="47"/>
                </a:lnTo>
                <a:lnTo>
                  <a:pt x="2" y="51"/>
                </a:lnTo>
                <a:lnTo>
                  <a:pt x="4" y="57"/>
                </a:lnTo>
                <a:lnTo>
                  <a:pt x="4" y="57"/>
                </a:lnTo>
                <a:lnTo>
                  <a:pt x="11" y="58"/>
                </a:lnTo>
                <a:lnTo>
                  <a:pt x="15" y="60"/>
                </a:lnTo>
                <a:lnTo>
                  <a:pt x="18" y="58"/>
                </a:lnTo>
                <a:lnTo>
                  <a:pt x="18" y="58"/>
                </a:lnTo>
                <a:lnTo>
                  <a:pt x="20" y="55"/>
                </a:lnTo>
                <a:lnTo>
                  <a:pt x="20" y="51"/>
                </a:lnTo>
                <a:lnTo>
                  <a:pt x="20" y="47"/>
                </a:lnTo>
                <a:lnTo>
                  <a:pt x="22" y="44"/>
                </a:lnTo>
                <a:lnTo>
                  <a:pt x="22" y="44"/>
                </a:lnTo>
                <a:lnTo>
                  <a:pt x="24" y="42"/>
                </a:lnTo>
                <a:lnTo>
                  <a:pt x="26" y="42"/>
                </a:lnTo>
                <a:lnTo>
                  <a:pt x="26" y="42"/>
                </a:lnTo>
                <a:lnTo>
                  <a:pt x="28" y="40"/>
                </a:lnTo>
                <a:lnTo>
                  <a:pt x="28" y="40"/>
                </a:lnTo>
                <a:lnTo>
                  <a:pt x="48" y="49"/>
                </a:lnTo>
                <a:lnTo>
                  <a:pt x="68" y="60"/>
                </a:lnTo>
                <a:lnTo>
                  <a:pt x="106" y="86"/>
                </a:lnTo>
                <a:lnTo>
                  <a:pt x="106" y="86"/>
                </a:lnTo>
                <a:lnTo>
                  <a:pt x="112" y="89"/>
                </a:lnTo>
                <a:lnTo>
                  <a:pt x="112" y="89"/>
                </a:lnTo>
                <a:lnTo>
                  <a:pt x="106" y="100"/>
                </a:lnTo>
                <a:lnTo>
                  <a:pt x="106" y="100"/>
                </a:lnTo>
                <a:lnTo>
                  <a:pt x="97" y="119"/>
                </a:lnTo>
                <a:lnTo>
                  <a:pt x="95" y="128"/>
                </a:lnTo>
                <a:lnTo>
                  <a:pt x="93" y="135"/>
                </a:lnTo>
                <a:lnTo>
                  <a:pt x="93" y="135"/>
                </a:lnTo>
                <a:lnTo>
                  <a:pt x="95" y="139"/>
                </a:lnTo>
                <a:lnTo>
                  <a:pt x="97" y="142"/>
                </a:lnTo>
                <a:lnTo>
                  <a:pt x="101" y="144"/>
                </a:lnTo>
                <a:lnTo>
                  <a:pt x="104" y="144"/>
                </a:lnTo>
                <a:lnTo>
                  <a:pt x="104" y="144"/>
                </a:lnTo>
                <a:lnTo>
                  <a:pt x="110" y="144"/>
                </a:lnTo>
                <a:lnTo>
                  <a:pt x="113" y="142"/>
                </a:lnTo>
                <a:lnTo>
                  <a:pt x="117" y="139"/>
                </a:lnTo>
                <a:lnTo>
                  <a:pt x="119" y="135"/>
                </a:lnTo>
                <a:lnTo>
                  <a:pt x="119" y="135"/>
                </a:lnTo>
                <a:lnTo>
                  <a:pt x="119" y="131"/>
                </a:lnTo>
                <a:lnTo>
                  <a:pt x="119" y="130"/>
                </a:lnTo>
                <a:lnTo>
                  <a:pt x="115" y="124"/>
                </a:lnTo>
                <a:lnTo>
                  <a:pt x="112" y="122"/>
                </a:lnTo>
                <a:lnTo>
                  <a:pt x="110" y="122"/>
                </a:lnTo>
                <a:lnTo>
                  <a:pt x="110" y="122"/>
                </a:lnTo>
                <a:lnTo>
                  <a:pt x="115" y="110"/>
                </a:lnTo>
                <a:lnTo>
                  <a:pt x="115" y="110"/>
                </a:lnTo>
                <a:lnTo>
                  <a:pt x="119" y="100"/>
                </a:lnTo>
                <a:lnTo>
                  <a:pt x="123" y="93"/>
                </a:lnTo>
                <a:lnTo>
                  <a:pt x="128" y="89"/>
                </a:lnTo>
                <a:lnTo>
                  <a:pt x="132" y="86"/>
                </a:lnTo>
                <a:lnTo>
                  <a:pt x="137" y="84"/>
                </a:lnTo>
                <a:lnTo>
                  <a:pt x="141" y="84"/>
                </a:lnTo>
                <a:lnTo>
                  <a:pt x="141" y="84"/>
                </a:lnTo>
                <a:lnTo>
                  <a:pt x="139" y="80"/>
                </a:lnTo>
                <a:lnTo>
                  <a:pt x="135" y="75"/>
                </a:lnTo>
                <a:lnTo>
                  <a:pt x="135" y="69"/>
                </a:lnTo>
                <a:lnTo>
                  <a:pt x="135" y="64"/>
                </a:lnTo>
                <a:lnTo>
                  <a:pt x="137" y="57"/>
                </a:lnTo>
                <a:lnTo>
                  <a:pt x="141" y="49"/>
                </a:lnTo>
                <a:lnTo>
                  <a:pt x="141" y="49"/>
                </a:lnTo>
                <a:lnTo>
                  <a:pt x="148" y="31"/>
                </a:lnTo>
                <a:lnTo>
                  <a:pt x="152" y="18"/>
                </a:lnTo>
                <a:lnTo>
                  <a:pt x="152" y="18"/>
                </a:lnTo>
                <a:lnTo>
                  <a:pt x="152" y="13"/>
                </a:lnTo>
                <a:lnTo>
                  <a:pt x="150" y="9"/>
                </a:lnTo>
                <a:lnTo>
                  <a:pt x="146" y="5"/>
                </a:lnTo>
                <a:lnTo>
                  <a:pt x="141" y="4"/>
                </a:lnTo>
                <a:lnTo>
                  <a:pt x="141" y="4"/>
                </a:lnTo>
                <a:lnTo>
                  <a:pt x="137" y="5"/>
                </a:lnTo>
                <a:lnTo>
                  <a:pt x="132" y="7"/>
                </a:lnTo>
                <a:lnTo>
                  <a:pt x="130" y="11"/>
                </a:lnTo>
                <a:lnTo>
                  <a:pt x="128" y="15"/>
                </a:lnTo>
                <a:lnTo>
                  <a:pt x="128" y="15"/>
                </a:lnTo>
                <a:lnTo>
                  <a:pt x="128" y="20"/>
                </a:lnTo>
                <a:lnTo>
                  <a:pt x="130" y="24"/>
                </a:lnTo>
                <a:lnTo>
                  <a:pt x="134" y="27"/>
                </a:lnTo>
                <a:lnTo>
                  <a:pt x="137" y="29"/>
                </a:lnTo>
                <a:lnTo>
                  <a:pt x="137" y="29"/>
                </a:lnTo>
                <a:lnTo>
                  <a:pt x="137" y="29"/>
                </a:lnTo>
                <a:lnTo>
                  <a:pt x="132" y="46"/>
                </a:lnTo>
                <a:lnTo>
                  <a:pt x="124" y="55"/>
                </a:lnTo>
                <a:lnTo>
                  <a:pt x="124" y="55"/>
                </a:lnTo>
                <a:lnTo>
                  <a:pt x="117" y="51"/>
                </a:lnTo>
                <a:lnTo>
                  <a:pt x="117" y="51"/>
                </a:lnTo>
                <a:lnTo>
                  <a:pt x="81" y="31"/>
                </a:lnTo>
                <a:lnTo>
                  <a:pt x="60" y="24"/>
                </a:lnTo>
                <a:lnTo>
                  <a:pt x="40" y="18"/>
                </a:lnTo>
                <a:lnTo>
                  <a:pt x="40" y="18"/>
                </a:lnTo>
                <a:lnTo>
                  <a:pt x="42" y="13"/>
                </a:lnTo>
                <a:lnTo>
                  <a:pt x="42" y="13"/>
                </a:lnTo>
                <a:lnTo>
                  <a:pt x="48" y="4"/>
                </a:lnTo>
                <a:lnTo>
                  <a:pt x="50" y="0"/>
                </a:lnTo>
                <a:lnTo>
                  <a:pt x="50" y="0"/>
                </a:lnTo>
                <a:lnTo>
                  <a:pt x="46" y="2"/>
                </a:lnTo>
                <a:lnTo>
                  <a:pt x="39" y="5"/>
                </a:lnTo>
                <a:lnTo>
                  <a:pt x="39" y="5"/>
                </a:lnTo>
                <a:lnTo>
                  <a:pt x="29" y="9"/>
                </a:lnTo>
                <a:lnTo>
                  <a:pt x="24" y="11"/>
                </a:lnTo>
                <a:lnTo>
                  <a:pt x="24" y="11"/>
                </a:lnTo>
                <a:lnTo>
                  <a:pt x="18" y="11"/>
                </a:lnTo>
                <a:lnTo>
                  <a:pt x="15" y="11"/>
                </a:lnTo>
                <a:lnTo>
                  <a:pt x="15" y="11"/>
                </a:lnTo>
                <a:lnTo>
                  <a:pt x="13" y="13"/>
                </a:lnTo>
                <a:lnTo>
                  <a:pt x="9" y="22"/>
                </a:lnTo>
                <a:lnTo>
                  <a:pt x="9" y="22"/>
                </a:lnTo>
                <a:lnTo>
                  <a:pt x="6" y="33"/>
                </a:lnTo>
                <a:lnTo>
                  <a:pt x="6" y="33"/>
                </a:lnTo>
                <a:lnTo>
                  <a:pt x="2" y="38"/>
                </a:lnTo>
                <a:lnTo>
                  <a:pt x="0" y="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89" name="Freeform 40"/>
          <p:cNvSpPr>
            <a:spLocks/>
          </p:cNvSpPr>
          <p:nvPr userDrawn="1"/>
        </p:nvSpPr>
        <p:spPr bwMode="auto">
          <a:xfrm>
            <a:off x="8226426" y="-921915"/>
            <a:ext cx="30163" cy="34925"/>
          </a:xfrm>
          <a:custGeom>
            <a:avLst/>
            <a:gdLst>
              <a:gd name="T0" fmla="*/ 12 w 36"/>
              <a:gd name="T1" fmla="*/ 44 h 44"/>
              <a:gd name="T2" fmla="*/ 12 w 36"/>
              <a:gd name="T3" fmla="*/ 44 h 44"/>
              <a:gd name="T4" fmla="*/ 27 w 36"/>
              <a:gd name="T5" fmla="*/ 42 h 44"/>
              <a:gd name="T6" fmla="*/ 36 w 36"/>
              <a:gd name="T7" fmla="*/ 40 h 44"/>
              <a:gd name="T8" fmla="*/ 36 w 36"/>
              <a:gd name="T9" fmla="*/ 3 h 44"/>
              <a:gd name="T10" fmla="*/ 36 w 36"/>
              <a:gd name="T11" fmla="*/ 3 h 44"/>
              <a:gd name="T12" fmla="*/ 16 w 36"/>
              <a:gd name="T13" fmla="*/ 0 h 44"/>
              <a:gd name="T14" fmla="*/ 16 w 36"/>
              <a:gd name="T15" fmla="*/ 0 h 44"/>
              <a:gd name="T16" fmla="*/ 11 w 36"/>
              <a:gd name="T17" fmla="*/ 0 h 44"/>
              <a:gd name="T18" fmla="*/ 7 w 36"/>
              <a:gd name="T19" fmla="*/ 2 h 44"/>
              <a:gd name="T20" fmla="*/ 3 w 36"/>
              <a:gd name="T21" fmla="*/ 3 h 44"/>
              <a:gd name="T22" fmla="*/ 1 w 36"/>
              <a:gd name="T23" fmla="*/ 7 h 44"/>
              <a:gd name="T24" fmla="*/ 0 w 36"/>
              <a:gd name="T25" fmla="*/ 13 h 44"/>
              <a:gd name="T26" fmla="*/ 0 w 36"/>
              <a:gd name="T27" fmla="*/ 16 h 44"/>
              <a:gd name="T28" fmla="*/ 0 w 36"/>
              <a:gd name="T29" fmla="*/ 27 h 44"/>
              <a:gd name="T30" fmla="*/ 0 w 36"/>
              <a:gd name="T31" fmla="*/ 27 h 44"/>
              <a:gd name="T32" fmla="*/ 1 w 36"/>
              <a:gd name="T33" fmla="*/ 34 h 44"/>
              <a:gd name="T34" fmla="*/ 5 w 36"/>
              <a:gd name="T35" fmla="*/ 40 h 44"/>
              <a:gd name="T36" fmla="*/ 9 w 36"/>
              <a:gd name="T37" fmla="*/ 42 h 44"/>
              <a:gd name="T38" fmla="*/ 12 w 36"/>
              <a:gd name="T3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 h="44">
                <a:moveTo>
                  <a:pt x="12" y="44"/>
                </a:moveTo>
                <a:lnTo>
                  <a:pt x="12" y="44"/>
                </a:lnTo>
                <a:lnTo>
                  <a:pt x="27" y="42"/>
                </a:lnTo>
                <a:lnTo>
                  <a:pt x="36" y="40"/>
                </a:lnTo>
                <a:lnTo>
                  <a:pt x="36" y="3"/>
                </a:lnTo>
                <a:lnTo>
                  <a:pt x="36" y="3"/>
                </a:lnTo>
                <a:lnTo>
                  <a:pt x="16" y="0"/>
                </a:lnTo>
                <a:lnTo>
                  <a:pt x="16" y="0"/>
                </a:lnTo>
                <a:lnTo>
                  <a:pt x="11" y="0"/>
                </a:lnTo>
                <a:lnTo>
                  <a:pt x="7" y="2"/>
                </a:lnTo>
                <a:lnTo>
                  <a:pt x="3" y="3"/>
                </a:lnTo>
                <a:lnTo>
                  <a:pt x="1" y="7"/>
                </a:lnTo>
                <a:lnTo>
                  <a:pt x="0" y="13"/>
                </a:lnTo>
                <a:lnTo>
                  <a:pt x="0" y="16"/>
                </a:lnTo>
                <a:lnTo>
                  <a:pt x="0" y="27"/>
                </a:lnTo>
                <a:lnTo>
                  <a:pt x="0" y="27"/>
                </a:lnTo>
                <a:lnTo>
                  <a:pt x="1" y="34"/>
                </a:lnTo>
                <a:lnTo>
                  <a:pt x="5" y="40"/>
                </a:lnTo>
                <a:lnTo>
                  <a:pt x="9" y="42"/>
                </a:lnTo>
                <a:lnTo>
                  <a:pt x="12" y="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0" name="Freeform 41"/>
          <p:cNvSpPr>
            <a:spLocks/>
          </p:cNvSpPr>
          <p:nvPr userDrawn="1"/>
        </p:nvSpPr>
        <p:spPr bwMode="auto">
          <a:xfrm>
            <a:off x="8262939" y="-928264"/>
            <a:ext cx="44450" cy="41275"/>
          </a:xfrm>
          <a:custGeom>
            <a:avLst/>
            <a:gdLst>
              <a:gd name="T0" fmla="*/ 55 w 55"/>
              <a:gd name="T1" fmla="*/ 38 h 53"/>
              <a:gd name="T2" fmla="*/ 55 w 55"/>
              <a:gd name="T3" fmla="*/ 27 h 53"/>
              <a:gd name="T4" fmla="*/ 55 w 55"/>
              <a:gd name="T5" fmla="*/ 7 h 53"/>
              <a:gd name="T6" fmla="*/ 55 w 55"/>
              <a:gd name="T7" fmla="*/ 1 h 53"/>
              <a:gd name="T8" fmla="*/ 53 w 55"/>
              <a:gd name="T9" fmla="*/ 0 h 53"/>
              <a:gd name="T10" fmla="*/ 46 w 55"/>
              <a:gd name="T11" fmla="*/ 0 h 53"/>
              <a:gd name="T12" fmla="*/ 40 w 55"/>
              <a:gd name="T13" fmla="*/ 0 h 53"/>
              <a:gd name="T14" fmla="*/ 29 w 55"/>
              <a:gd name="T15" fmla="*/ 0 h 53"/>
              <a:gd name="T16" fmla="*/ 28 w 55"/>
              <a:gd name="T17" fmla="*/ 7 h 53"/>
              <a:gd name="T18" fmla="*/ 26 w 55"/>
              <a:gd name="T19" fmla="*/ 0 h 53"/>
              <a:gd name="T20" fmla="*/ 17 w 55"/>
              <a:gd name="T21" fmla="*/ 0 h 53"/>
              <a:gd name="T22" fmla="*/ 11 w 55"/>
              <a:gd name="T23" fmla="*/ 0 h 53"/>
              <a:gd name="T24" fmla="*/ 4 w 55"/>
              <a:gd name="T25" fmla="*/ 0 h 53"/>
              <a:gd name="T26" fmla="*/ 2 w 55"/>
              <a:gd name="T27" fmla="*/ 1 h 53"/>
              <a:gd name="T28" fmla="*/ 0 w 55"/>
              <a:gd name="T29" fmla="*/ 7 h 53"/>
              <a:gd name="T30" fmla="*/ 0 w 55"/>
              <a:gd name="T31" fmla="*/ 27 h 53"/>
              <a:gd name="T32" fmla="*/ 0 w 55"/>
              <a:gd name="T33" fmla="*/ 49 h 53"/>
              <a:gd name="T34" fmla="*/ 6 w 55"/>
              <a:gd name="T35" fmla="*/ 49 h 53"/>
              <a:gd name="T36" fmla="*/ 9 w 55"/>
              <a:gd name="T37" fmla="*/ 47 h 53"/>
              <a:gd name="T38" fmla="*/ 13 w 55"/>
              <a:gd name="T39" fmla="*/ 40 h 53"/>
              <a:gd name="T40" fmla="*/ 13 w 55"/>
              <a:gd name="T41" fmla="*/ 53 h 53"/>
              <a:gd name="T42" fmla="*/ 17 w 55"/>
              <a:gd name="T43" fmla="*/ 53 h 53"/>
              <a:gd name="T44" fmla="*/ 24 w 55"/>
              <a:gd name="T45" fmla="*/ 49 h 53"/>
              <a:gd name="T46" fmla="*/ 26 w 55"/>
              <a:gd name="T47" fmla="*/ 43 h 53"/>
              <a:gd name="T48" fmla="*/ 28 w 55"/>
              <a:gd name="T49" fmla="*/ 40 h 53"/>
              <a:gd name="T50" fmla="*/ 28 w 55"/>
              <a:gd name="T51" fmla="*/ 53 h 53"/>
              <a:gd name="T52" fmla="*/ 39 w 55"/>
              <a:gd name="T53" fmla="*/ 49 h 53"/>
              <a:gd name="T54" fmla="*/ 42 w 55"/>
              <a:gd name="T55" fmla="*/ 43 h 53"/>
              <a:gd name="T56" fmla="*/ 42 w 55"/>
              <a:gd name="T57" fmla="*/ 40 h 53"/>
              <a:gd name="T58" fmla="*/ 42 w 55"/>
              <a:gd name="T59" fmla="*/ 49 h 53"/>
              <a:gd name="T60" fmla="*/ 46 w 55"/>
              <a:gd name="T61" fmla="*/ 47 h 53"/>
              <a:gd name="T62" fmla="*/ 51 w 55"/>
              <a:gd name="T63" fmla="*/ 45 h 53"/>
              <a:gd name="T64" fmla="*/ 55 w 55"/>
              <a:gd name="T65" fmla="*/ 38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5" h="53">
                <a:moveTo>
                  <a:pt x="55" y="38"/>
                </a:moveTo>
                <a:lnTo>
                  <a:pt x="55" y="38"/>
                </a:lnTo>
                <a:lnTo>
                  <a:pt x="55" y="27"/>
                </a:lnTo>
                <a:lnTo>
                  <a:pt x="55" y="27"/>
                </a:lnTo>
                <a:lnTo>
                  <a:pt x="55" y="7"/>
                </a:lnTo>
                <a:lnTo>
                  <a:pt x="55" y="7"/>
                </a:lnTo>
                <a:lnTo>
                  <a:pt x="55" y="3"/>
                </a:lnTo>
                <a:lnTo>
                  <a:pt x="55" y="1"/>
                </a:lnTo>
                <a:lnTo>
                  <a:pt x="53" y="0"/>
                </a:lnTo>
                <a:lnTo>
                  <a:pt x="53" y="0"/>
                </a:lnTo>
                <a:lnTo>
                  <a:pt x="46" y="0"/>
                </a:lnTo>
                <a:lnTo>
                  <a:pt x="46" y="0"/>
                </a:lnTo>
                <a:lnTo>
                  <a:pt x="42" y="7"/>
                </a:lnTo>
                <a:lnTo>
                  <a:pt x="40" y="0"/>
                </a:lnTo>
                <a:lnTo>
                  <a:pt x="40" y="0"/>
                </a:lnTo>
                <a:lnTo>
                  <a:pt x="29" y="0"/>
                </a:lnTo>
                <a:lnTo>
                  <a:pt x="29" y="0"/>
                </a:lnTo>
                <a:lnTo>
                  <a:pt x="28" y="7"/>
                </a:lnTo>
                <a:lnTo>
                  <a:pt x="26" y="0"/>
                </a:lnTo>
                <a:lnTo>
                  <a:pt x="26" y="0"/>
                </a:lnTo>
                <a:lnTo>
                  <a:pt x="17" y="0"/>
                </a:lnTo>
                <a:lnTo>
                  <a:pt x="17" y="0"/>
                </a:lnTo>
                <a:lnTo>
                  <a:pt x="13" y="7"/>
                </a:lnTo>
                <a:lnTo>
                  <a:pt x="11" y="0"/>
                </a:lnTo>
                <a:lnTo>
                  <a:pt x="11" y="0"/>
                </a:lnTo>
                <a:lnTo>
                  <a:pt x="4" y="0"/>
                </a:lnTo>
                <a:lnTo>
                  <a:pt x="4" y="0"/>
                </a:lnTo>
                <a:lnTo>
                  <a:pt x="2" y="1"/>
                </a:lnTo>
                <a:lnTo>
                  <a:pt x="0" y="3"/>
                </a:lnTo>
                <a:lnTo>
                  <a:pt x="0" y="7"/>
                </a:lnTo>
                <a:lnTo>
                  <a:pt x="0" y="7"/>
                </a:lnTo>
                <a:lnTo>
                  <a:pt x="0" y="27"/>
                </a:lnTo>
                <a:lnTo>
                  <a:pt x="0" y="27"/>
                </a:lnTo>
                <a:lnTo>
                  <a:pt x="0" y="49"/>
                </a:lnTo>
                <a:lnTo>
                  <a:pt x="0" y="49"/>
                </a:lnTo>
                <a:lnTo>
                  <a:pt x="6" y="49"/>
                </a:lnTo>
                <a:lnTo>
                  <a:pt x="9" y="47"/>
                </a:lnTo>
                <a:lnTo>
                  <a:pt x="9" y="47"/>
                </a:lnTo>
                <a:lnTo>
                  <a:pt x="11" y="42"/>
                </a:lnTo>
                <a:lnTo>
                  <a:pt x="13" y="40"/>
                </a:lnTo>
                <a:lnTo>
                  <a:pt x="13" y="40"/>
                </a:lnTo>
                <a:lnTo>
                  <a:pt x="13" y="53"/>
                </a:lnTo>
                <a:lnTo>
                  <a:pt x="13" y="53"/>
                </a:lnTo>
                <a:lnTo>
                  <a:pt x="17" y="53"/>
                </a:lnTo>
                <a:lnTo>
                  <a:pt x="20" y="51"/>
                </a:lnTo>
                <a:lnTo>
                  <a:pt x="24" y="49"/>
                </a:lnTo>
                <a:lnTo>
                  <a:pt x="24" y="49"/>
                </a:lnTo>
                <a:lnTo>
                  <a:pt x="26" y="43"/>
                </a:lnTo>
                <a:lnTo>
                  <a:pt x="28" y="40"/>
                </a:lnTo>
                <a:lnTo>
                  <a:pt x="28" y="40"/>
                </a:lnTo>
                <a:lnTo>
                  <a:pt x="28" y="53"/>
                </a:lnTo>
                <a:lnTo>
                  <a:pt x="28" y="53"/>
                </a:lnTo>
                <a:lnTo>
                  <a:pt x="33" y="51"/>
                </a:lnTo>
                <a:lnTo>
                  <a:pt x="39" y="49"/>
                </a:lnTo>
                <a:lnTo>
                  <a:pt x="39" y="49"/>
                </a:lnTo>
                <a:lnTo>
                  <a:pt x="42" y="43"/>
                </a:lnTo>
                <a:lnTo>
                  <a:pt x="42" y="40"/>
                </a:lnTo>
                <a:lnTo>
                  <a:pt x="42" y="40"/>
                </a:lnTo>
                <a:lnTo>
                  <a:pt x="42" y="49"/>
                </a:lnTo>
                <a:lnTo>
                  <a:pt x="42" y="49"/>
                </a:lnTo>
                <a:lnTo>
                  <a:pt x="46" y="47"/>
                </a:lnTo>
                <a:lnTo>
                  <a:pt x="46" y="47"/>
                </a:lnTo>
                <a:lnTo>
                  <a:pt x="51" y="45"/>
                </a:lnTo>
                <a:lnTo>
                  <a:pt x="51" y="45"/>
                </a:lnTo>
                <a:lnTo>
                  <a:pt x="53" y="43"/>
                </a:lnTo>
                <a:lnTo>
                  <a:pt x="55" y="3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1" name="Freeform 42"/>
          <p:cNvSpPr>
            <a:spLocks/>
          </p:cNvSpPr>
          <p:nvPr userDrawn="1"/>
        </p:nvSpPr>
        <p:spPr bwMode="auto">
          <a:xfrm>
            <a:off x="8269289" y="-926677"/>
            <a:ext cx="53975" cy="60325"/>
          </a:xfrm>
          <a:custGeom>
            <a:avLst/>
            <a:gdLst>
              <a:gd name="T0" fmla="*/ 67 w 67"/>
              <a:gd name="T1" fmla="*/ 57 h 77"/>
              <a:gd name="T2" fmla="*/ 67 w 67"/>
              <a:gd name="T3" fmla="*/ 44 h 77"/>
              <a:gd name="T4" fmla="*/ 67 w 67"/>
              <a:gd name="T5" fmla="*/ 44 h 77"/>
              <a:gd name="T6" fmla="*/ 65 w 67"/>
              <a:gd name="T7" fmla="*/ 42 h 77"/>
              <a:gd name="T8" fmla="*/ 63 w 67"/>
              <a:gd name="T9" fmla="*/ 37 h 77"/>
              <a:gd name="T10" fmla="*/ 63 w 67"/>
              <a:gd name="T11" fmla="*/ 30 h 77"/>
              <a:gd name="T12" fmla="*/ 63 w 67"/>
              <a:gd name="T13" fmla="*/ 30 h 77"/>
              <a:gd name="T14" fmla="*/ 63 w 67"/>
              <a:gd name="T15" fmla="*/ 26 h 77"/>
              <a:gd name="T16" fmla="*/ 65 w 67"/>
              <a:gd name="T17" fmla="*/ 21 h 77"/>
              <a:gd name="T18" fmla="*/ 67 w 67"/>
              <a:gd name="T19" fmla="*/ 17 h 77"/>
              <a:gd name="T20" fmla="*/ 67 w 67"/>
              <a:gd name="T21" fmla="*/ 6 h 77"/>
              <a:gd name="T22" fmla="*/ 67 w 67"/>
              <a:gd name="T23" fmla="*/ 6 h 77"/>
              <a:gd name="T24" fmla="*/ 63 w 67"/>
              <a:gd name="T25" fmla="*/ 2 h 77"/>
              <a:gd name="T26" fmla="*/ 60 w 67"/>
              <a:gd name="T27" fmla="*/ 0 h 77"/>
              <a:gd name="T28" fmla="*/ 56 w 67"/>
              <a:gd name="T29" fmla="*/ 0 h 77"/>
              <a:gd name="T30" fmla="*/ 56 w 67"/>
              <a:gd name="T31" fmla="*/ 41 h 77"/>
              <a:gd name="T32" fmla="*/ 56 w 67"/>
              <a:gd name="T33" fmla="*/ 41 h 77"/>
              <a:gd name="T34" fmla="*/ 54 w 67"/>
              <a:gd name="T35" fmla="*/ 46 h 77"/>
              <a:gd name="T36" fmla="*/ 51 w 67"/>
              <a:gd name="T37" fmla="*/ 52 h 77"/>
              <a:gd name="T38" fmla="*/ 45 w 67"/>
              <a:gd name="T39" fmla="*/ 55 h 77"/>
              <a:gd name="T40" fmla="*/ 38 w 67"/>
              <a:gd name="T41" fmla="*/ 57 h 77"/>
              <a:gd name="T42" fmla="*/ 38 w 67"/>
              <a:gd name="T43" fmla="*/ 57 h 77"/>
              <a:gd name="T44" fmla="*/ 23 w 67"/>
              <a:gd name="T45" fmla="*/ 59 h 77"/>
              <a:gd name="T46" fmla="*/ 10 w 67"/>
              <a:gd name="T47" fmla="*/ 61 h 77"/>
              <a:gd name="T48" fmla="*/ 0 w 67"/>
              <a:gd name="T49" fmla="*/ 61 h 77"/>
              <a:gd name="T50" fmla="*/ 0 w 67"/>
              <a:gd name="T51" fmla="*/ 61 h 77"/>
              <a:gd name="T52" fmla="*/ 1 w 67"/>
              <a:gd name="T53" fmla="*/ 70 h 77"/>
              <a:gd name="T54" fmla="*/ 1 w 67"/>
              <a:gd name="T55" fmla="*/ 70 h 77"/>
              <a:gd name="T56" fmla="*/ 5 w 67"/>
              <a:gd name="T57" fmla="*/ 75 h 77"/>
              <a:gd name="T58" fmla="*/ 7 w 67"/>
              <a:gd name="T59" fmla="*/ 77 h 77"/>
              <a:gd name="T60" fmla="*/ 54 w 67"/>
              <a:gd name="T61" fmla="*/ 77 h 77"/>
              <a:gd name="T62" fmla="*/ 67 w 67"/>
              <a:gd name="T63" fmla="*/ 5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7" h="77">
                <a:moveTo>
                  <a:pt x="67" y="57"/>
                </a:moveTo>
                <a:lnTo>
                  <a:pt x="67" y="44"/>
                </a:lnTo>
                <a:lnTo>
                  <a:pt x="67" y="44"/>
                </a:lnTo>
                <a:lnTo>
                  <a:pt x="65" y="42"/>
                </a:lnTo>
                <a:lnTo>
                  <a:pt x="63" y="37"/>
                </a:lnTo>
                <a:lnTo>
                  <a:pt x="63" y="30"/>
                </a:lnTo>
                <a:lnTo>
                  <a:pt x="63" y="30"/>
                </a:lnTo>
                <a:lnTo>
                  <a:pt x="63" y="26"/>
                </a:lnTo>
                <a:lnTo>
                  <a:pt x="65" y="21"/>
                </a:lnTo>
                <a:lnTo>
                  <a:pt x="67" y="17"/>
                </a:lnTo>
                <a:lnTo>
                  <a:pt x="67" y="6"/>
                </a:lnTo>
                <a:lnTo>
                  <a:pt x="67" y="6"/>
                </a:lnTo>
                <a:lnTo>
                  <a:pt x="63" y="2"/>
                </a:lnTo>
                <a:lnTo>
                  <a:pt x="60" y="0"/>
                </a:lnTo>
                <a:lnTo>
                  <a:pt x="56" y="0"/>
                </a:lnTo>
                <a:lnTo>
                  <a:pt x="56" y="41"/>
                </a:lnTo>
                <a:lnTo>
                  <a:pt x="56" y="41"/>
                </a:lnTo>
                <a:lnTo>
                  <a:pt x="54" y="46"/>
                </a:lnTo>
                <a:lnTo>
                  <a:pt x="51" y="52"/>
                </a:lnTo>
                <a:lnTo>
                  <a:pt x="45" y="55"/>
                </a:lnTo>
                <a:lnTo>
                  <a:pt x="38" y="57"/>
                </a:lnTo>
                <a:lnTo>
                  <a:pt x="38" y="57"/>
                </a:lnTo>
                <a:lnTo>
                  <a:pt x="23" y="59"/>
                </a:lnTo>
                <a:lnTo>
                  <a:pt x="10" y="61"/>
                </a:lnTo>
                <a:lnTo>
                  <a:pt x="0" y="61"/>
                </a:lnTo>
                <a:lnTo>
                  <a:pt x="0" y="61"/>
                </a:lnTo>
                <a:lnTo>
                  <a:pt x="1" y="70"/>
                </a:lnTo>
                <a:lnTo>
                  <a:pt x="1" y="70"/>
                </a:lnTo>
                <a:lnTo>
                  <a:pt x="5" y="75"/>
                </a:lnTo>
                <a:lnTo>
                  <a:pt x="7" y="77"/>
                </a:lnTo>
                <a:lnTo>
                  <a:pt x="54" y="77"/>
                </a:lnTo>
                <a:lnTo>
                  <a:pt x="67" y="5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2" name="Freeform 43"/>
          <p:cNvSpPr>
            <a:spLocks/>
          </p:cNvSpPr>
          <p:nvPr userDrawn="1"/>
        </p:nvSpPr>
        <p:spPr bwMode="auto">
          <a:xfrm>
            <a:off x="8272464" y="-858415"/>
            <a:ext cx="42863" cy="14288"/>
          </a:xfrm>
          <a:custGeom>
            <a:avLst/>
            <a:gdLst>
              <a:gd name="T0" fmla="*/ 4 w 55"/>
              <a:gd name="T1" fmla="*/ 19 h 19"/>
              <a:gd name="T2" fmla="*/ 51 w 55"/>
              <a:gd name="T3" fmla="*/ 19 h 19"/>
              <a:gd name="T4" fmla="*/ 51 w 55"/>
              <a:gd name="T5" fmla="*/ 19 h 19"/>
              <a:gd name="T6" fmla="*/ 55 w 55"/>
              <a:gd name="T7" fmla="*/ 9 h 19"/>
              <a:gd name="T8" fmla="*/ 53 w 55"/>
              <a:gd name="T9" fmla="*/ 0 h 19"/>
              <a:gd name="T10" fmla="*/ 4 w 55"/>
              <a:gd name="T11" fmla="*/ 0 h 19"/>
              <a:gd name="T12" fmla="*/ 0 w 55"/>
              <a:gd name="T13" fmla="*/ 9 h 19"/>
              <a:gd name="T14" fmla="*/ 4 w 55"/>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19">
                <a:moveTo>
                  <a:pt x="4" y="19"/>
                </a:moveTo>
                <a:lnTo>
                  <a:pt x="51" y="19"/>
                </a:lnTo>
                <a:lnTo>
                  <a:pt x="51" y="19"/>
                </a:lnTo>
                <a:lnTo>
                  <a:pt x="55" y="9"/>
                </a:lnTo>
                <a:lnTo>
                  <a:pt x="53" y="0"/>
                </a:lnTo>
                <a:lnTo>
                  <a:pt x="4" y="0"/>
                </a:lnTo>
                <a:lnTo>
                  <a:pt x="0" y="9"/>
                </a:lnTo>
                <a:lnTo>
                  <a:pt x="4" y="1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3" name="Freeform 44"/>
          <p:cNvSpPr>
            <a:spLocks/>
          </p:cNvSpPr>
          <p:nvPr userDrawn="1"/>
        </p:nvSpPr>
        <p:spPr bwMode="auto">
          <a:xfrm>
            <a:off x="8274051" y="-837778"/>
            <a:ext cx="44450" cy="50800"/>
          </a:xfrm>
          <a:custGeom>
            <a:avLst/>
            <a:gdLst>
              <a:gd name="T0" fmla="*/ 47 w 55"/>
              <a:gd name="T1" fmla="*/ 0 h 64"/>
              <a:gd name="T2" fmla="*/ 0 w 55"/>
              <a:gd name="T3" fmla="*/ 0 h 64"/>
              <a:gd name="T4" fmla="*/ 0 w 55"/>
              <a:gd name="T5" fmla="*/ 62 h 64"/>
              <a:gd name="T6" fmla="*/ 42 w 55"/>
              <a:gd name="T7" fmla="*/ 64 h 64"/>
              <a:gd name="T8" fmla="*/ 55 w 55"/>
              <a:gd name="T9" fmla="*/ 53 h 64"/>
              <a:gd name="T10" fmla="*/ 47 w 55"/>
              <a:gd name="T11" fmla="*/ 0 h 64"/>
            </a:gdLst>
            <a:ahLst/>
            <a:cxnLst>
              <a:cxn ang="0">
                <a:pos x="T0" y="T1"/>
              </a:cxn>
              <a:cxn ang="0">
                <a:pos x="T2" y="T3"/>
              </a:cxn>
              <a:cxn ang="0">
                <a:pos x="T4" y="T5"/>
              </a:cxn>
              <a:cxn ang="0">
                <a:pos x="T6" y="T7"/>
              </a:cxn>
              <a:cxn ang="0">
                <a:pos x="T8" y="T9"/>
              </a:cxn>
              <a:cxn ang="0">
                <a:pos x="T10" y="T11"/>
              </a:cxn>
            </a:cxnLst>
            <a:rect l="0" t="0" r="r" b="b"/>
            <a:pathLst>
              <a:path w="55" h="64">
                <a:moveTo>
                  <a:pt x="47" y="0"/>
                </a:moveTo>
                <a:lnTo>
                  <a:pt x="0" y="0"/>
                </a:lnTo>
                <a:lnTo>
                  <a:pt x="0" y="62"/>
                </a:lnTo>
                <a:lnTo>
                  <a:pt x="42" y="64"/>
                </a:lnTo>
                <a:lnTo>
                  <a:pt x="55" y="53"/>
                </a:lnTo>
                <a:lnTo>
                  <a:pt x="4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4" name="Freeform 45"/>
          <p:cNvSpPr>
            <a:spLocks/>
          </p:cNvSpPr>
          <p:nvPr userDrawn="1"/>
        </p:nvSpPr>
        <p:spPr bwMode="auto">
          <a:xfrm>
            <a:off x="8274050" y="-788565"/>
            <a:ext cx="57150" cy="50800"/>
          </a:xfrm>
          <a:custGeom>
            <a:avLst/>
            <a:gdLst>
              <a:gd name="T0" fmla="*/ 73 w 73"/>
              <a:gd name="T1" fmla="*/ 16 h 64"/>
              <a:gd name="T2" fmla="*/ 73 w 73"/>
              <a:gd name="T3" fmla="*/ 16 h 64"/>
              <a:gd name="T4" fmla="*/ 64 w 73"/>
              <a:gd name="T5" fmla="*/ 9 h 64"/>
              <a:gd name="T6" fmla="*/ 64 w 73"/>
              <a:gd name="T7" fmla="*/ 9 h 64"/>
              <a:gd name="T8" fmla="*/ 62 w 73"/>
              <a:gd name="T9" fmla="*/ 0 h 64"/>
              <a:gd name="T10" fmla="*/ 48 w 73"/>
              <a:gd name="T11" fmla="*/ 11 h 64"/>
              <a:gd name="T12" fmla="*/ 0 w 73"/>
              <a:gd name="T13" fmla="*/ 11 h 64"/>
              <a:gd name="T14" fmla="*/ 0 w 73"/>
              <a:gd name="T15" fmla="*/ 11 h 64"/>
              <a:gd name="T16" fmla="*/ 0 w 73"/>
              <a:gd name="T17" fmla="*/ 27 h 64"/>
              <a:gd name="T18" fmla="*/ 0 w 73"/>
              <a:gd name="T19" fmla="*/ 45 h 64"/>
              <a:gd name="T20" fmla="*/ 0 w 73"/>
              <a:gd name="T21" fmla="*/ 45 h 64"/>
              <a:gd name="T22" fmla="*/ 11 w 73"/>
              <a:gd name="T23" fmla="*/ 55 h 64"/>
              <a:gd name="T24" fmla="*/ 24 w 73"/>
              <a:gd name="T25" fmla="*/ 64 h 64"/>
              <a:gd name="T26" fmla="*/ 55 w 73"/>
              <a:gd name="T27" fmla="*/ 25 h 64"/>
              <a:gd name="T28" fmla="*/ 73 w 73"/>
              <a:gd name="T29"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64">
                <a:moveTo>
                  <a:pt x="73" y="16"/>
                </a:moveTo>
                <a:lnTo>
                  <a:pt x="73" y="16"/>
                </a:lnTo>
                <a:lnTo>
                  <a:pt x="64" y="9"/>
                </a:lnTo>
                <a:lnTo>
                  <a:pt x="64" y="9"/>
                </a:lnTo>
                <a:lnTo>
                  <a:pt x="62" y="0"/>
                </a:lnTo>
                <a:lnTo>
                  <a:pt x="48" y="11"/>
                </a:lnTo>
                <a:lnTo>
                  <a:pt x="0" y="11"/>
                </a:lnTo>
                <a:lnTo>
                  <a:pt x="0" y="11"/>
                </a:lnTo>
                <a:lnTo>
                  <a:pt x="0" y="27"/>
                </a:lnTo>
                <a:lnTo>
                  <a:pt x="0" y="45"/>
                </a:lnTo>
                <a:lnTo>
                  <a:pt x="0" y="45"/>
                </a:lnTo>
                <a:lnTo>
                  <a:pt x="11" y="55"/>
                </a:lnTo>
                <a:lnTo>
                  <a:pt x="24" y="64"/>
                </a:lnTo>
                <a:lnTo>
                  <a:pt x="55" y="25"/>
                </a:lnTo>
                <a:lnTo>
                  <a:pt x="73"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5" name="Freeform 46"/>
          <p:cNvSpPr>
            <a:spLocks/>
          </p:cNvSpPr>
          <p:nvPr userDrawn="1"/>
        </p:nvSpPr>
        <p:spPr bwMode="auto">
          <a:xfrm>
            <a:off x="8301038" y="-769515"/>
            <a:ext cx="85725" cy="50800"/>
          </a:xfrm>
          <a:custGeom>
            <a:avLst/>
            <a:gdLst>
              <a:gd name="T0" fmla="*/ 27 w 108"/>
              <a:gd name="T1" fmla="*/ 7 h 63"/>
              <a:gd name="T2" fmla="*/ 0 w 108"/>
              <a:gd name="T3" fmla="*/ 43 h 63"/>
              <a:gd name="T4" fmla="*/ 45 w 108"/>
              <a:gd name="T5" fmla="*/ 63 h 63"/>
              <a:gd name="T6" fmla="*/ 45 w 108"/>
              <a:gd name="T7" fmla="*/ 63 h 63"/>
              <a:gd name="T8" fmla="*/ 65 w 108"/>
              <a:gd name="T9" fmla="*/ 51 h 63"/>
              <a:gd name="T10" fmla="*/ 86 w 108"/>
              <a:gd name="T11" fmla="*/ 38 h 63"/>
              <a:gd name="T12" fmla="*/ 108 w 108"/>
              <a:gd name="T13" fmla="*/ 23 h 63"/>
              <a:gd name="T14" fmla="*/ 44 w 108"/>
              <a:gd name="T15" fmla="*/ 0 h 63"/>
              <a:gd name="T16" fmla="*/ 27 w 108"/>
              <a:gd name="T17" fmla="*/ 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63">
                <a:moveTo>
                  <a:pt x="27" y="7"/>
                </a:moveTo>
                <a:lnTo>
                  <a:pt x="0" y="43"/>
                </a:lnTo>
                <a:lnTo>
                  <a:pt x="45" y="63"/>
                </a:lnTo>
                <a:lnTo>
                  <a:pt x="45" y="63"/>
                </a:lnTo>
                <a:lnTo>
                  <a:pt x="65" y="51"/>
                </a:lnTo>
                <a:lnTo>
                  <a:pt x="86" y="38"/>
                </a:lnTo>
                <a:lnTo>
                  <a:pt x="108" y="23"/>
                </a:lnTo>
                <a:lnTo>
                  <a:pt x="44" y="0"/>
                </a:lnTo>
                <a:lnTo>
                  <a:pt x="2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6" name="Freeform 47"/>
          <p:cNvSpPr>
            <a:spLocks/>
          </p:cNvSpPr>
          <p:nvPr userDrawn="1"/>
        </p:nvSpPr>
        <p:spPr bwMode="auto">
          <a:xfrm>
            <a:off x="8324851" y="-952078"/>
            <a:ext cx="22225" cy="93663"/>
          </a:xfrm>
          <a:custGeom>
            <a:avLst/>
            <a:gdLst>
              <a:gd name="T0" fmla="*/ 22 w 27"/>
              <a:gd name="T1" fmla="*/ 50 h 117"/>
              <a:gd name="T2" fmla="*/ 22 w 27"/>
              <a:gd name="T3" fmla="*/ 50 h 117"/>
              <a:gd name="T4" fmla="*/ 22 w 27"/>
              <a:gd name="T5" fmla="*/ 11 h 117"/>
              <a:gd name="T6" fmla="*/ 22 w 27"/>
              <a:gd name="T7" fmla="*/ 11 h 117"/>
              <a:gd name="T8" fmla="*/ 24 w 27"/>
              <a:gd name="T9" fmla="*/ 8 h 117"/>
              <a:gd name="T10" fmla="*/ 24 w 27"/>
              <a:gd name="T11" fmla="*/ 8 h 117"/>
              <a:gd name="T12" fmla="*/ 24 w 27"/>
              <a:gd name="T13" fmla="*/ 4 h 117"/>
              <a:gd name="T14" fmla="*/ 24 w 27"/>
              <a:gd name="T15" fmla="*/ 0 h 117"/>
              <a:gd name="T16" fmla="*/ 2 w 27"/>
              <a:gd name="T17" fmla="*/ 0 h 117"/>
              <a:gd name="T18" fmla="*/ 2 w 27"/>
              <a:gd name="T19" fmla="*/ 0 h 117"/>
              <a:gd name="T20" fmla="*/ 2 w 27"/>
              <a:gd name="T21" fmla="*/ 6 h 117"/>
              <a:gd name="T22" fmla="*/ 2 w 27"/>
              <a:gd name="T23" fmla="*/ 6 h 117"/>
              <a:gd name="T24" fmla="*/ 2 w 27"/>
              <a:gd name="T25" fmla="*/ 9 h 117"/>
              <a:gd name="T26" fmla="*/ 3 w 27"/>
              <a:gd name="T27" fmla="*/ 11 h 117"/>
              <a:gd name="T28" fmla="*/ 3 w 27"/>
              <a:gd name="T29" fmla="*/ 50 h 117"/>
              <a:gd name="T30" fmla="*/ 3 w 27"/>
              <a:gd name="T31" fmla="*/ 50 h 117"/>
              <a:gd name="T32" fmla="*/ 2 w 27"/>
              <a:gd name="T33" fmla="*/ 52 h 117"/>
              <a:gd name="T34" fmla="*/ 0 w 27"/>
              <a:gd name="T35" fmla="*/ 61 h 117"/>
              <a:gd name="T36" fmla="*/ 0 w 27"/>
              <a:gd name="T37" fmla="*/ 61 h 117"/>
              <a:gd name="T38" fmla="*/ 0 w 27"/>
              <a:gd name="T39" fmla="*/ 66 h 117"/>
              <a:gd name="T40" fmla="*/ 2 w 27"/>
              <a:gd name="T41" fmla="*/ 72 h 117"/>
              <a:gd name="T42" fmla="*/ 5 w 27"/>
              <a:gd name="T43" fmla="*/ 75 h 117"/>
              <a:gd name="T44" fmla="*/ 3 w 27"/>
              <a:gd name="T45" fmla="*/ 106 h 117"/>
              <a:gd name="T46" fmla="*/ 3 w 27"/>
              <a:gd name="T47" fmla="*/ 106 h 117"/>
              <a:gd name="T48" fmla="*/ 3 w 27"/>
              <a:gd name="T49" fmla="*/ 108 h 117"/>
              <a:gd name="T50" fmla="*/ 2 w 27"/>
              <a:gd name="T51" fmla="*/ 112 h 117"/>
              <a:gd name="T52" fmla="*/ 2 w 27"/>
              <a:gd name="T53" fmla="*/ 112 h 117"/>
              <a:gd name="T54" fmla="*/ 2 w 27"/>
              <a:gd name="T55" fmla="*/ 117 h 117"/>
              <a:gd name="T56" fmla="*/ 24 w 27"/>
              <a:gd name="T57" fmla="*/ 117 h 117"/>
              <a:gd name="T58" fmla="*/ 24 w 27"/>
              <a:gd name="T59" fmla="*/ 117 h 117"/>
              <a:gd name="T60" fmla="*/ 24 w 27"/>
              <a:gd name="T61" fmla="*/ 110 h 117"/>
              <a:gd name="T62" fmla="*/ 24 w 27"/>
              <a:gd name="T63" fmla="*/ 110 h 117"/>
              <a:gd name="T64" fmla="*/ 22 w 27"/>
              <a:gd name="T65" fmla="*/ 106 h 117"/>
              <a:gd name="T66" fmla="*/ 22 w 27"/>
              <a:gd name="T67" fmla="*/ 75 h 117"/>
              <a:gd name="T68" fmla="*/ 22 w 27"/>
              <a:gd name="T69" fmla="*/ 75 h 117"/>
              <a:gd name="T70" fmla="*/ 25 w 27"/>
              <a:gd name="T71" fmla="*/ 70 h 117"/>
              <a:gd name="T72" fmla="*/ 25 w 27"/>
              <a:gd name="T73" fmla="*/ 66 h 117"/>
              <a:gd name="T74" fmla="*/ 27 w 27"/>
              <a:gd name="T75" fmla="*/ 62 h 117"/>
              <a:gd name="T76" fmla="*/ 27 w 27"/>
              <a:gd name="T77" fmla="*/ 62 h 117"/>
              <a:gd name="T78" fmla="*/ 24 w 27"/>
              <a:gd name="T79" fmla="*/ 53 h 117"/>
              <a:gd name="T80" fmla="*/ 22 w 27"/>
              <a:gd name="T81" fmla="*/ 5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7" h="117">
                <a:moveTo>
                  <a:pt x="22" y="50"/>
                </a:moveTo>
                <a:lnTo>
                  <a:pt x="22" y="50"/>
                </a:lnTo>
                <a:lnTo>
                  <a:pt x="22" y="11"/>
                </a:lnTo>
                <a:lnTo>
                  <a:pt x="22" y="11"/>
                </a:lnTo>
                <a:lnTo>
                  <a:pt x="24" y="8"/>
                </a:lnTo>
                <a:lnTo>
                  <a:pt x="24" y="8"/>
                </a:lnTo>
                <a:lnTo>
                  <a:pt x="24" y="4"/>
                </a:lnTo>
                <a:lnTo>
                  <a:pt x="24" y="0"/>
                </a:lnTo>
                <a:lnTo>
                  <a:pt x="2" y="0"/>
                </a:lnTo>
                <a:lnTo>
                  <a:pt x="2" y="0"/>
                </a:lnTo>
                <a:lnTo>
                  <a:pt x="2" y="6"/>
                </a:lnTo>
                <a:lnTo>
                  <a:pt x="2" y="6"/>
                </a:lnTo>
                <a:lnTo>
                  <a:pt x="2" y="9"/>
                </a:lnTo>
                <a:lnTo>
                  <a:pt x="3" y="11"/>
                </a:lnTo>
                <a:lnTo>
                  <a:pt x="3" y="50"/>
                </a:lnTo>
                <a:lnTo>
                  <a:pt x="3" y="50"/>
                </a:lnTo>
                <a:lnTo>
                  <a:pt x="2" y="52"/>
                </a:lnTo>
                <a:lnTo>
                  <a:pt x="0" y="61"/>
                </a:lnTo>
                <a:lnTo>
                  <a:pt x="0" y="61"/>
                </a:lnTo>
                <a:lnTo>
                  <a:pt x="0" y="66"/>
                </a:lnTo>
                <a:lnTo>
                  <a:pt x="2" y="72"/>
                </a:lnTo>
                <a:lnTo>
                  <a:pt x="5" y="75"/>
                </a:lnTo>
                <a:lnTo>
                  <a:pt x="3" y="106"/>
                </a:lnTo>
                <a:lnTo>
                  <a:pt x="3" y="106"/>
                </a:lnTo>
                <a:lnTo>
                  <a:pt x="3" y="108"/>
                </a:lnTo>
                <a:lnTo>
                  <a:pt x="2" y="112"/>
                </a:lnTo>
                <a:lnTo>
                  <a:pt x="2" y="112"/>
                </a:lnTo>
                <a:lnTo>
                  <a:pt x="2" y="117"/>
                </a:lnTo>
                <a:lnTo>
                  <a:pt x="24" y="117"/>
                </a:lnTo>
                <a:lnTo>
                  <a:pt x="24" y="117"/>
                </a:lnTo>
                <a:lnTo>
                  <a:pt x="24" y="110"/>
                </a:lnTo>
                <a:lnTo>
                  <a:pt x="24" y="110"/>
                </a:lnTo>
                <a:lnTo>
                  <a:pt x="22" y="106"/>
                </a:lnTo>
                <a:lnTo>
                  <a:pt x="22" y="75"/>
                </a:lnTo>
                <a:lnTo>
                  <a:pt x="22" y="75"/>
                </a:lnTo>
                <a:lnTo>
                  <a:pt x="25" y="70"/>
                </a:lnTo>
                <a:lnTo>
                  <a:pt x="25" y="66"/>
                </a:lnTo>
                <a:lnTo>
                  <a:pt x="27" y="62"/>
                </a:lnTo>
                <a:lnTo>
                  <a:pt x="27" y="62"/>
                </a:lnTo>
                <a:lnTo>
                  <a:pt x="24" y="53"/>
                </a:lnTo>
                <a:lnTo>
                  <a:pt x="22" y="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7" name="Freeform 48"/>
          <p:cNvSpPr>
            <a:spLocks/>
          </p:cNvSpPr>
          <p:nvPr userDrawn="1"/>
        </p:nvSpPr>
        <p:spPr bwMode="auto">
          <a:xfrm>
            <a:off x="8347076" y="-923502"/>
            <a:ext cx="60325" cy="42863"/>
          </a:xfrm>
          <a:custGeom>
            <a:avLst/>
            <a:gdLst>
              <a:gd name="T0" fmla="*/ 42 w 77"/>
              <a:gd name="T1" fmla="*/ 46 h 55"/>
              <a:gd name="T2" fmla="*/ 77 w 77"/>
              <a:gd name="T3" fmla="*/ 9 h 55"/>
              <a:gd name="T4" fmla="*/ 77 w 77"/>
              <a:gd name="T5" fmla="*/ 9 h 55"/>
              <a:gd name="T6" fmla="*/ 26 w 77"/>
              <a:gd name="T7" fmla="*/ 9 h 55"/>
              <a:gd name="T8" fmla="*/ 26 w 77"/>
              <a:gd name="T9" fmla="*/ 9 h 55"/>
              <a:gd name="T10" fmla="*/ 20 w 77"/>
              <a:gd name="T11" fmla="*/ 7 h 55"/>
              <a:gd name="T12" fmla="*/ 15 w 77"/>
              <a:gd name="T13" fmla="*/ 4 h 55"/>
              <a:gd name="T14" fmla="*/ 7 w 77"/>
              <a:gd name="T15" fmla="*/ 0 h 55"/>
              <a:gd name="T16" fmla="*/ 6 w 77"/>
              <a:gd name="T17" fmla="*/ 0 h 55"/>
              <a:gd name="T18" fmla="*/ 6 w 77"/>
              <a:gd name="T19" fmla="*/ 0 h 55"/>
              <a:gd name="T20" fmla="*/ 0 w 77"/>
              <a:gd name="T21" fmla="*/ 11 h 55"/>
              <a:gd name="T22" fmla="*/ 0 w 77"/>
              <a:gd name="T23" fmla="*/ 11 h 55"/>
              <a:gd name="T24" fmla="*/ 4 w 77"/>
              <a:gd name="T25" fmla="*/ 17 h 55"/>
              <a:gd name="T26" fmla="*/ 6 w 77"/>
              <a:gd name="T27" fmla="*/ 20 h 55"/>
              <a:gd name="T28" fmla="*/ 7 w 77"/>
              <a:gd name="T29" fmla="*/ 27 h 55"/>
              <a:gd name="T30" fmla="*/ 7 w 77"/>
              <a:gd name="T31" fmla="*/ 27 h 55"/>
              <a:gd name="T32" fmla="*/ 7 w 77"/>
              <a:gd name="T33" fmla="*/ 33 h 55"/>
              <a:gd name="T34" fmla="*/ 4 w 77"/>
              <a:gd name="T35" fmla="*/ 38 h 55"/>
              <a:gd name="T36" fmla="*/ 0 w 77"/>
              <a:gd name="T37" fmla="*/ 42 h 55"/>
              <a:gd name="T38" fmla="*/ 0 w 77"/>
              <a:gd name="T39" fmla="*/ 42 h 55"/>
              <a:gd name="T40" fmla="*/ 7 w 77"/>
              <a:gd name="T41" fmla="*/ 55 h 55"/>
              <a:gd name="T42" fmla="*/ 7 w 77"/>
              <a:gd name="T43" fmla="*/ 55 h 55"/>
              <a:gd name="T44" fmla="*/ 13 w 77"/>
              <a:gd name="T45" fmla="*/ 51 h 55"/>
              <a:gd name="T46" fmla="*/ 28 w 77"/>
              <a:gd name="T47" fmla="*/ 46 h 55"/>
              <a:gd name="T48" fmla="*/ 28 w 77"/>
              <a:gd name="T49" fmla="*/ 46 h 55"/>
              <a:gd name="T50" fmla="*/ 42 w 77"/>
              <a:gd name="T51" fmla="*/ 4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7" h="55">
                <a:moveTo>
                  <a:pt x="42" y="46"/>
                </a:moveTo>
                <a:lnTo>
                  <a:pt x="77" y="9"/>
                </a:lnTo>
                <a:lnTo>
                  <a:pt x="77" y="9"/>
                </a:lnTo>
                <a:lnTo>
                  <a:pt x="26" y="9"/>
                </a:lnTo>
                <a:lnTo>
                  <a:pt x="26" y="9"/>
                </a:lnTo>
                <a:lnTo>
                  <a:pt x="20" y="7"/>
                </a:lnTo>
                <a:lnTo>
                  <a:pt x="15" y="4"/>
                </a:lnTo>
                <a:lnTo>
                  <a:pt x="7" y="0"/>
                </a:lnTo>
                <a:lnTo>
                  <a:pt x="6" y="0"/>
                </a:lnTo>
                <a:lnTo>
                  <a:pt x="6" y="0"/>
                </a:lnTo>
                <a:lnTo>
                  <a:pt x="0" y="11"/>
                </a:lnTo>
                <a:lnTo>
                  <a:pt x="0" y="11"/>
                </a:lnTo>
                <a:lnTo>
                  <a:pt x="4" y="17"/>
                </a:lnTo>
                <a:lnTo>
                  <a:pt x="6" y="20"/>
                </a:lnTo>
                <a:lnTo>
                  <a:pt x="7" y="27"/>
                </a:lnTo>
                <a:lnTo>
                  <a:pt x="7" y="27"/>
                </a:lnTo>
                <a:lnTo>
                  <a:pt x="7" y="33"/>
                </a:lnTo>
                <a:lnTo>
                  <a:pt x="4" y="38"/>
                </a:lnTo>
                <a:lnTo>
                  <a:pt x="0" y="42"/>
                </a:lnTo>
                <a:lnTo>
                  <a:pt x="0" y="42"/>
                </a:lnTo>
                <a:lnTo>
                  <a:pt x="7" y="55"/>
                </a:lnTo>
                <a:lnTo>
                  <a:pt x="7" y="55"/>
                </a:lnTo>
                <a:lnTo>
                  <a:pt x="13" y="51"/>
                </a:lnTo>
                <a:lnTo>
                  <a:pt x="28" y="46"/>
                </a:lnTo>
                <a:lnTo>
                  <a:pt x="28" y="46"/>
                </a:lnTo>
                <a:lnTo>
                  <a:pt x="42" y="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8" name="Freeform 49"/>
          <p:cNvSpPr>
            <a:spLocks/>
          </p:cNvSpPr>
          <p:nvPr userDrawn="1"/>
        </p:nvSpPr>
        <p:spPr bwMode="auto">
          <a:xfrm>
            <a:off x="8423276" y="-982240"/>
            <a:ext cx="119063" cy="93663"/>
          </a:xfrm>
          <a:custGeom>
            <a:avLst/>
            <a:gdLst>
              <a:gd name="T0" fmla="*/ 152 w 152"/>
              <a:gd name="T1" fmla="*/ 60 h 119"/>
              <a:gd name="T2" fmla="*/ 148 w 152"/>
              <a:gd name="T3" fmla="*/ 58 h 119"/>
              <a:gd name="T4" fmla="*/ 139 w 152"/>
              <a:gd name="T5" fmla="*/ 62 h 119"/>
              <a:gd name="T6" fmla="*/ 135 w 152"/>
              <a:gd name="T7" fmla="*/ 64 h 119"/>
              <a:gd name="T8" fmla="*/ 134 w 152"/>
              <a:gd name="T9" fmla="*/ 75 h 119"/>
              <a:gd name="T10" fmla="*/ 130 w 152"/>
              <a:gd name="T11" fmla="*/ 71 h 119"/>
              <a:gd name="T12" fmla="*/ 121 w 152"/>
              <a:gd name="T13" fmla="*/ 69 h 119"/>
              <a:gd name="T14" fmla="*/ 113 w 152"/>
              <a:gd name="T15" fmla="*/ 71 h 119"/>
              <a:gd name="T16" fmla="*/ 117 w 152"/>
              <a:gd name="T17" fmla="*/ 80 h 119"/>
              <a:gd name="T18" fmla="*/ 113 w 152"/>
              <a:gd name="T19" fmla="*/ 90 h 119"/>
              <a:gd name="T20" fmla="*/ 110 w 152"/>
              <a:gd name="T21" fmla="*/ 90 h 119"/>
              <a:gd name="T22" fmla="*/ 103 w 152"/>
              <a:gd name="T23" fmla="*/ 84 h 119"/>
              <a:gd name="T24" fmla="*/ 103 w 152"/>
              <a:gd name="T25" fmla="*/ 79 h 119"/>
              <a:gd name="T26" fmla="*/ 93 w 152"/>
              <a:gd name="T27" fmla="*/ 82 h 119"/>
              <a:gd name="T28" fmla="*/ 88 w 152"/>
              <a:gd name="T29" fmla="*/ 79 h 119"/>
              <a:gd name="T30" fmla="*/ 90 w 152"/>
              <a:gd name="T31" fmla="*/ 69 h 119"/>
              <a:gd name="T32" fmla="*/ 104 w 152"/>
              <a:gd name="T33" fmla="*/ 66 h 119"/>
              <a:gd name="T34" fmla="*/ 103 w 152"/>
              <a:gd name="T35" fmla="*/ 60 h 119"/>
              <a:gd name="T36" fmla="*/ 97 w 152"/>
              <a:gd name="T37" fmla="*/ 53 h 119"/>
              <a:gd name="T38" fmla="*/ 92 w 152"/>
              <a:gd name="T39" fmla="*/ 51 h 119"/>
              <a:gd name="T40" fmla="*/ 82 w 152"/>
              <a:gd name="T41" fmla="*/ 53 h 119"/>
              <a:gd name="T42" fmla="*/ 86 w 152"/>
              <a:gd name="T43" fmla="*/ 51 h 119"/>
              <a:gd name="T44" fmla="*/ 90 w 152"/>
              <a:gd name="T45" fmla="*/ 44 h 119"/>
              <a:gd name="T46" fmla="*/ 90 w 152"/>
              <a:gd name="T47" fmla="*/ 35 h 119"/>
              <a:gd name="T48" fmla="*/ 84 w 152"/>
              <a:gd name="T49" fmla="*/ 26 h 119"/>
              <a:gd name="T50" fmla="*/ 84 w 152"/>
              <a:gd name="T51" fmla="*/ 26 h 119"/>
              <a:gd name="T52" fmla="*/ 79 w 152"/>
              <a:gd name="T53" fmla="*/ 27 h 119"/>
              <a:gd name="T54" fmla="*/ 68 w 152"/>
              <a:gd name="T55" fmla="*/ 33 h 119"/>
              <a:gd name="T56" fmla="*/ 66 w 152"/>
              <a:gd name="T57" fmla="*/ 38 h 119"/>
              <a:gd name="T58" fmla="*/ 66 w 152"/>
              <a:gd name="T59" fmla="*/ 46 h 119"/>
              <a:gd name="T60" fmla="*/ 62 w 152"/>
              <a:gd name="T61" fmla="*/ 40 h 119"/>
              <a:gd name="T62" fmla="*/ 55 w 152"/>
              <a:gd name="T63" fmla="*/ 35 h 119"/>
              <a:gd name="T64" fmla="*/ 50 w 152"/>
              <a:gd name="T65" fmla="*/ 35 h 119"/>
              <a:gd name="T66" fmla="*/ 42 w 152"/>
              <a:gd name="T67" fmla="*/ 38 h 119"/>
              <a:gd name="T68" fmla="*/ 48 w 152"/>
              <a:gd name="T69" fmla="*/ 46 h 119"/>
              <a:gd name="T70" fmla="*/ 48 w 152"/>
              <a:gd name="T71" fmla="*/ 57 h 119"/>
              <a:gd name="T72" fmla="*/ 42 w 152"/>
              <a:gd name="T73" fmla="*/ 58 h 119"/>
              <a:gd name="T74" fmla="*/ 35 w 152"/>
              <a:gd name="T75" fmla="*/ 53 h 119"/>
              <a:gd name="T76" fmla="*/ 33 w 152"/>
              <a:gd name="T77" fmla="*/ 47 h 119"/>
              <a:gd name="T78" fmla="*/ 26 w 152"/>
              <a:gd name="T79" fmla="*/ 53 h 119"/>
              <a:gd name="T80" fmla="*/ 20 w 152"/>
              <a:gd name="T81" fmla="*/ 51 h 119"/>
              <a:gd name="T82" fmla="*/ 17 w 152"/>
              <a:gd name="T83" fmla="*/ 42 h 119"/>
              <a:gd name="T84" fmla="*/ 31 w 152"/>
              <a:gd name="T85" fmla="*/ 35 h 119"/>
              <a:gd name="T86" fmla="*/ 29 w 152"/>
              <a:gd name="T87" fmla="*/ 33 h 119"/>
              <a:gd name="T88" fmla="*/ 22 w 152"/>
              <a:gd name="T89" fmla="*/ 24 h 119"/>
              <a:gd name="T90" fmla="*/ 15 w 152"/>
              <a:gd name="T91" fmla="*/ 24 h 119"/>
              <a:gd name="T92" fmla="*/ 18 w 152"/>
              <a:gd name="T93" fmla="*/ 18 h 119"/>
              <a:gd name="T94" fmla="*/ 20 w 152"/>
              <a:gd name="T95" fmla="*/ 9 h 119"/>
              <a:gd name="T96" fmla="*/ 18 w 152"/>
              <a:gd name="T97" fmla="*/ 5 h 119"/>
              <a:gd name="T98" fmla="*/ 13 w 152"/>
              <a:gd name="T99" fmla="*/ 0 h 119"/>
              <a:gd name="T100" fmla="*/ 35 w 152"/>
              <a:gd name="T101" fmla="*/ 88 h 119"/>
              <a:gd name="T102" fmla="*/ 46 w 152"/>
              <a:gd name="T103" fmla="*/ 82 h 119"/>
              <a:gd name="T104" fmla="*/ 51 w 152"/>
              <a:gd name="T105" fmla="*/ 79 h 119"/>
              <a:gd name="T106" fmla="*/ 66 w 152"/>
              <a:gd name="T107" fmla="*/ 80 h 119"/>
              <a:gd name="T108" fmla="*/ 71 w 152"/>
              <a:gd name="T109" fmla="*/ 82 h 119"/>
              <a:gd name="T110" fmla="*/ 82 w 152"/>
              <a:gd name="T111" fmla="*/ 90 h 119"/>
              <a:gd name="T112" fmla="*/ 84 w 152"/>
              <a:gd name="T113" fmla="*/ 99 h 119"/>
              <a:gd name="T114" fmla="*/ 84 w 152"/>
              <a:gd name="T115" fmla="*/ 104 h 119"/>
              <a:gd name="T116" fmla="*/ 106 w 152"/>
              <a:gd name="T117"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2" h="119">
                <a:moveTo>
                  <a:pt x="106" y="119"/>
                </a:moveTo>
                <a:lnTo>
                  <a:pt x="152" y="60"/>
                </a:lnTo>
                <a:lnTo>
                  <a:pt x="152" y="60"/>
                </a:lnTo>
                <a:lnTo>
                  <a:pt x="148" y="58"/>
                </a:lnTo>
                <a:lnTo>
                  <a:pt x="145" y="60"/>
                </a:lnTo>
                <a:lnTo>
                  <a:pt x="139" y="62"/>
                </a:lnTo>
                <a:lnTo>
                  <a:pt x="139" y="62"/>
                </a:lnTo>
                <a:lnTo>
                  <a:pt x="135" y="64"/>
                </a:lnTo>
                <a:lnTo>
                  <a:pt x="134" y="69"/>
                </a:lnTo>
                <a:lnTo>
                  <a:pt x="134" y="75"/>
                </a:lnTo>
                <a:lnTo>
                  <a:pt x="134" y="75"/>
                </a:lnTo>
                <a:lnTo>
                  <a:pt x="130" y="71"/>
                </a:lnTo>
                <a:lnTo>
                  <a:pt x="128" y="69"/>
                </a:lnTo>
                <a:lnTo>
                  <a:pt x="121" y="69"/>
                </a:lnTo>
                <a:lnTo>
                  <a:pt x="115" y="69"/>
                </a:lnTo>
                <a:lnTo>
                  <a:pt x="113" y="71"/>
                </a:lnTo>
                <a:lnTo>
                  <a:pt x="113" y="71"/>
                </a:lnTo>
                <a:lnTo>
                  <a:pt x="117" y="80"/>
                </a:lnTo>
                <a:lnTo>
                  <a:pt x="117" y="86"/>
                </a:lnTo>
                <a:lnTo>
                  <a:pt x="113" y="90"/>
                </a:lnTo>
                <a:lnTo>
                  <a:pt x="110" y="90"/>
                </a:lnTo>
                <a:lnTo>
                  <a:pt x="110" y="90"/>
                </a:lnTo>
                <a:lnTo>
                  <a:pt x="104" y="88"/>
                </a:lnTo>
                <a:lnTo>
                  <a:pt x="103" y="84"/>
                </a:lnTo>
                <a:lnTo>
                  <a:pt x="103" y="79"/>
                </a:lnTo>
                <a:lnTo>
                  <a:pt x="103" y="79"/>
                </a:lnTo>
                <a:lnTo>
                  <a:pt x="97" y="82"/>
                </a:lnTo>
                <a:lnTo>
                  <a:pt x="93" y="82"/>
                </a:lnTo>
                <a:lnTo>
                  <a:pt x="88" y="79"/>
                </a:lnTo>
                <a:lnTo>
                  <a:pt x="88" y="79"/>
                </a:lnTo>
                <a:lnTo>
                  <a:pt x="86" y="75"/>
                </a:lnTo>
                <a:lnTo>
                  <a:pt x="90" y="69"/>
                </a:lnTo>
                <a:lnTo>
                  <a:pt x="95" y="68"/>
                </a:lnTo>
                <a:lnTo>
                  <a:pt x="104" y="66"/>
                </a:lnTo>
                <a:lnTo>
                  <a:pt x="104" y="66"/>
                </a:lnTo>
                <a:lnTo>
                  <a:pt x="103" y="60"/>
                </a:lnTo>
                <a:lnTo>
                  <a:pt x="101" y="57"/>
                </a:lnTo>
                <a:lnTo>
                  <a:pt x="97" y="53"/>
                </a:lnTo>
                <a:lnTo>
                  <a:pt x="97" y="53"/>
                </a:lnTo>
                <a:lnTo>
                  <a:pt x="92" y="51"/>
                </a:lnTo>
                <a:lnTo>
                  <a:pt x="88" y="51"/>
                </a:lnTo>
                <a:lnTo>
                  <a:pt x="82" y="53"/>
                </a:lnTo>
                <a:lnTo>
                  <a:pt x="82" y="53"/>
                </a:lnTo>
                <a:lnTo>
                  <a:pt x="86" y="51"/>
                </a:lnTo>
                <a:lnTo>
                  <a:pt x="88" y="47"/>
                </a:lnTo>
                <a:lnTo>
                  <a:pt x="90" y="44"/>
                </a:lnTo>
                <a:lnTo>
                  <a:pt x="90" y="44"/>
                </a:lnTo>
                <a:lnTo>
                  <a:pt x="90" y="35"/>
                </a:lnTo>
                <a:lnTo>
                  <a:pt x="88" y="31"/>
                </a:lnTo>
                <a:lnTo>
                  <a:pt x="84" y="26"/>
                </a:lnTo>
                <a:lnTo>
                  <a:pt x="84" y="26"/>
                </a:lnTo>
                <a:lnTo>
                  <a:pt x="84" y="26"/>
                </a:lnTo>
                <a:lnTo>
                  <a:pt x="84" y="26"/>
                </a:lnTo>
                <a:lnTo>
                  <a:pt x="79" y="27"/>
                </a:lnTo>
                <a:lnTo>
                  <a:pt x="73" y="29"/>
                </a:lnTo>
                <a:lnTo>
                  <a:pt x="68" y="33"/>
                </a:lnTo>
                <a:lnTo>
                  <a:pt x="68" y="33"/>
                </a:lnTo>
                <a:lnTo>
                  <a:pt x="66" y="38"/>
                </a:lnTo>
                <a:lnTo>
                  <a:pt x="66" y="42"/>
                </a:lnTo>
                <a:lnTo>
                  <a:pt x="66" y="46"/>
                </a:lnTo>
                <a:lnTo>
                  <a:pt x="66" y="46"/>
                </a:lnTo>
                <a:lnTo>
                  <a:pt x="62" y="40"/>
                </a:lnTo>
                <a:lnTo>
                  <a:pt x="60" y="37"/>
                </a:lnTo>
                <a:lnTo>
                  <a:pt x="55" y="35"/>
                </a:lnTo>
                <a:lnTo>
                  <a:pt x="55" y="35"/>
                </a:lnTo>
                <a:lnTo>
                  <a:pt x="50" y="35"/>
                </a:lnTo>
                <a:lnTo>
                  <a:pt x="46" y="37"/>
                </a:lnTo>
                <a:lnTo>
                  <a:pt x="42" y="38"/>
                </a:lnTo>
                <a:lnTo>
                  <a:pt x="42" y="38"/>
                </a:lnTo>
                <a:lnTo>
                  <a:pt x="48" y="46"/>
                </a:lnTo>
                <a:lnTo>
                  <a:pt x="48" y="53"/>
                </a:lnTo>
                <a:lnTo>
                  <a:pt x="48" y="57"/>
                </a:lnTo>
                <a:lnTo>
                  <a:pt x="42" y="58"/>
                </a:lnTo>
                <a:lnTo>
                  <a:pt x="42" y="58"/>
                </a:lnTo>
                <a:lnTo>
                  <a:pt x="37" y="57"/>
                </a:lnTo>
                <a:lnTo>
                  <a:pt x="35" y="53"/>
                </a:lnTo>
                <a:lnTo>
                  <a:pt x="33" y="47"/>
                </a:lnTo>
                <a:lnTo>
                  <a:pt x="33" y="47"/>
                </a:lnTo>
                <a:lnTo>
                  <a:pt x="29" y="51"/>
                </a:lnTo>
                <a:lnTo>
                  <a:pt x="26" y="53"/>
                </a:lnTo>
                <a:lnTo>
                  <a:pt x="20" y="51"/>
                </a:lnTo>
                <a:lnTo>
                  <a:pt x="20" y="51"/>
                </a:lnTo>
                <a:lnTo>
                  <a:pt x="17" y="47"/>
                </a:lnTo>
                <a:lnTo>
                  <a:pt x="17" y="42"/>
                </a:lnTo>
                <a:lnTo>
                  <a:pt x="22" y="38"/>
                </a:lnTo>
                <a:lnTo>
                  <a:pt x="31" y="35"/>
                </a:lnTo>
                <a:lnTo>
                  <a:pt x="31" y="35"/>
                </a:lnTo>
                <a:lnTo>
                  <a:pt x="29" y="33"/>
                </a:lnTo>
                <a:lnTo>
                  <a:pt x="28" y="27"/>
                </a:lnTo>
                <a:lnTo>
                  <a:pt x="22" y="24"/>
                </a:lnTo>
                <a:lnTo>
                  <a:pt x="18" y="22"/>
                </a:lnTo>
                <a:lnTo>
                  <a:pt x="15" y="24"/>
                </a:lnTo>
                <a:lnTo>
                  <a:pt x="15" y="24"/>
                </a:lnTo>
                <a:lnTo>
                  <a:pt x="18" y="18"/>
                </a:lnTo>
                <a:lnTo>
                  <a:pt x="20" y="15"/>
                </a:lnTo>
                <a:lnTo>
                  <a:pt x="20" y="9"/>
                </a:lnTo>
                <a:lnTo>
                  <a:pt x="20" y="9"/>
                </a:lnTo>
                <a:lnTo>
                  <a:pt x="18" y="5"/>
                </a:lnTo>
                <a:lnTo>
                  <a:pt x="17" y="2"/>
                </a:lnTo>
                <a:lnTo>
                  <a:pt x="13" y="0"/>
                </a:lnTo>
                <a:lnTo>
                  <a:pt x="0" y="73"/>
                </a:lnTo>
                <a:lnTo>
                  <a:pt x="35" y="88"/>
                </a:lnTo>
                <a:lnTo>
                  <a:pt x="35" y="88"/>
                </a:lnTo>
                <a:lnTo>
                  <a:pt x="46" y="82"/>
                </a:lnTo>
                <a:lnTo>
                  <a:pt x="46" y="82"/>
                </a:lnTo>
                <a:lnTo>
                  <a:pt x="51" y="79"/>
                </a:lnTo>
                <a:lnTo>
                  <a:pt x="59" y="79"/>
                </a:lnTo>
                <a:lnTo>
                  <a:pt x="66" y="80"/>
                </a:lnTo>
                <a:lnTo>
                  <a:pt x="71" y="82"/>
                </a:lnTo>
                <a:lnTo>
                  <a:pt x="71" y="82"/>
                </a:lnTo>
                <a:lnTo>
                  <a:pt x="79" y="86"/>
                </a:lnTo>
                <a:lnTo>
                  <a:pt x="82" y="90"/>
                </a:lnTo>
                <a:lnTo>
                  <a:pt x="84" y="95"/>
                </a:lnTo>
                <a:lnTo>
                  <a:pt x="84" y="99"/>
                </a:lnTo>
                <a:lnTo>
                  <a:pt x="84" y="99"/>
                </a:lnTo>
                <a:lnTo>
                  <a:pt x="84" y="104"/>
                </a:lnTo>
                <a:lnTo>
                  <a:pt x="81" y="110"/>
                </a:lnTo>
                <a:lnTo>
                  <a:pt x="106" y="11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9" name="Freeform 50"/>
          <p:cNvSpPr>
            <a:spLocks/>
          </p:cNvSpPr>
          <p:nvPr userDrawn="1"/>
        </p:nvSpPr>
        <p:spPr bwMode="auto">
          <a:xfrm>
            <a:off x="8520113" y="-917153"/>
            <a:ext cx="142875" cy="25400"/>
          </a:xfrm>
          <a:custGeom>
            <a:avLst/>
            <a:gdLst>
              <a:gd name="T0" fmla="*/ 151 w 180"/>
              <a:gd name="T1" fmla="*/ 28 h 31"/>
              <a:gd name="T2" fmla="*/ 180 w 180"/>
              <a:gd name="T3" fmla="*/ 15 h 31"/>
              <a:gd name="T4" fmla="*/ 151 w 180"/>
              <a:gd name="T5" fmla="*/ 2 h 31"/>
              <a:gd name="T6" fmla="*/ 151 w 180"/>
              <a:gd name="T7" fmla="*/ 2 h 31"/>
              <a:gd name="T8" fmla="*/ 102 w 180"/>
              <a:gd name="T9" fmla="*/ 2 h 31"/>
              <a:gd name="T10" fmla="*/ 23 w 180"/>
              <a:gd name="T11" fmla="*/ 0 h 31"/>
              <a:gd name="T12" fmla="*/ 0 w 180"/>
              <a:gd name="T13" fmla="*/ 31 h 31"/>
              <a:gd name="T14" fmla="*/ 0 w 180"/>
              <a:gd name="T15" fmla="*/ 31 h 31"/>
              <a:gd name="T16" fmla="*/ 151 w 180"/>
              <a:gd name="T17"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31">
                <a:moveTo>
                  <a:pt x="151" y="28"/>
                </a:moveTo>
                <a:lnTo>
                  <a:pt x="180" y="15"/>
                </a:lnTo>
                <a:lnTo>
                  <a:pt x="151" y="2"/>
                </a:lnTo>
                <a:lnTo>
                  <a:pt x="151" y="2"/>
                </a:lnTo>
                <a:lnTo>
                  <a:pt x="102" y="2"/>
                </a:lnTo>
                <a:lnTo>
                  <a:pt x="23" y="0"/>
                </a:lnTo>
                <a:lnTo>
                  <a:pt x="0" y="31"/>
                </a:lnTo>
                <a:lnTo>
                  <a:pt x="0" y="31"/>
                </a:lnTo>
                <a:lnTo>
                  <a:pt x="151"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100" name="Freeform 51"/>
          <p:cNvSpPr>
            <a:spLocks/>
          </p:cNvSpPr>
          <p:nvPr userDrawn="1"/>
        </p:nvSpPr>
        <p:spPr bwMode="auto">
          <a:xfrm>
            <a:off x="8566151" y="-855240"/>
            <a:ext cx="85725" cy="84138"/>
          </a:xfrm>
          <a:custGeom>
            <a:avLst/>
            <a:gdLst>
              <a:gd name="T0" fmla="*/ 55 w 108"/>
              <a:gd name="T1" fmla="*/ 106 h 106"/>
              <a:gd name="T2" fmla="*/ 55 w 108"/>
              <a:gd name="T3" fmla="*/ 106 h 106"/>
              <a:gd name="T4" fmla="*/ 38 w 108"/>
              <a:gd name="T5" fmla="*/ 97 h 106"/>
              <a:gd name="T6" fmla="*/ 26 w 108"/>
              <a:gd name="T7" fmla="*/ 89 h 106"/>
              <a:gd name="T8" fmla="*/ 13 w 108"/>
              <a:gd name="T9" fmla="*/ 80 h 106"/>
              <a:gd name="T10" fmla="*/ 4 w 108"/>
              <a:gd name="T11" fmla="*/ 69 h 106"/>
              <a:gd name="T12" fmla="*/ 4 w 108"/>
              <a:gd name="T13" fmla="*/ 69 h 106"/>
              <a:gd name="T14" fmla="*/ 0 w 108"/>
              <a:gd name="T15" fmla="*/ 62 h 106"/>
              <a:gd name="T16" fmla="*/ 0 w 108"/>
              <a:gd name="T17" fmla="*/ 53 h 106"/>
              <a:gd name="T18" fmla="*/ 0 w 108"/>
              <a:gd name="T19" fmla="*/ 45 h 106"/>
              <a:gd name="T20" fmla="*/ 0 w 108"/>
              <a:gd name="T21" fmla="*/ 36 h 106"/>
              <a:gd name="T22" fmla="*/ 4 w 108"/>
              <a:gd name="T23" fmla="*/ 27 h 106"/>
              <a:gd name="T24" fmla="*/ 7 w 108"/>
              <a:gd name="T25" fmla="*/ 20 h 106"/>
              <a:gd name="T26" fmla="*/ 15 w 108"/>
              <a:gd name="T27" fmla="*/ 13 h 106"/>
              <a:gd name="T28" fmla="*/ 22 w 108"/>
              <a:gd name="T29" fmla="*/ 7 h 106"/>
              <a:gd name="T30" fmla="*/ 22 w 108"/>
              <a:gd name="T31" fmla="*/ 7 h 106"/>
              <a:gd name="T32" fmla="*/ 26 w 108"/>
              <a:gd name="T33" fmla="*/ 11 h 106"/>
              <a:gd name="T34" fmla="*/ 27 w 108"/>
              <a:gd name="T35" fmla="*/ 14 h 106"/>
              <a:gd name="T36" fmla="*/ 27 w 108"/>
              <a:gd name="T37" fmla="*/ 18 h 106"/>
              <a:gd name="T38" fmla="*/ 27 w 108"/>
              <a:gd name="T39" fmla="*/ 18 h 106"/>
              <a:gd name="T40" fmla="*/ 51 w 108"/>
              <a:gd name="T41" fmla="*/ 16 h 106"/>
              <a:gd name="T42" fmla="*/ 51 w 108"/>
              <a:gd name="T43" fmla="*/ 16 h 106"/>
              <a:gd name="T44" fmla="*/ 51 w 108"/>
              <a:gd name="T45" fmla="*/ 9 h 106"/>
              <a:gd name="T46" fmla="*/ 51 w 108"/>
              <a:gd name="T47" fmla="*/ 3 h 106"/>
              <a:gd name="T48" fmla="*/ 49 w 108"/>
              <a:gd name="T49" fmla="*/ 0 h 106"/>
              <a:gd name="T50" fmla="*/ 49 w 108"/>
              <a:gd name="T51" fmla="*/ 0 h 106"/>
              <a:gd name="T52" fmla="*/ 57 w 108"/>
              <a:gd name="T53" fmla="*/ 5 h 106"/>
              <a:gd name="T54" fmla="*/ 59 w 108"/>
              <a:gd name="T55" fmla="*/ 11 h 106"/>
              <a:gd name="T56" fmla="*/ 60 w 108"/>
              <a:gd name="T57" fmla="*/ 16 h 106"/>
              <a:gd name="T58" fmla="*/ 60 w 108"/>
              <a:gd name="T59" fmla="*/ 16 h 106"/>
              <a:gd name="T60" fmla="*/ 82 w 108"/>
              <a:gd name="T61" fmla="*/ 18 h 106"/>
              <a:gd name="T62" fmla="*/ 82 w 108"/>
              <a:gd name="T63" fmla="*/ 18 h 106"/>
              <a:gd name="T64" fmla="*/ 82 w 108"/>
              <a:gd name="T65" fmla="*/ 11 h 106"/>
              <a:gd name="T66" fmla="*/ 79 w 108"/>
              <a:gd name="T67" fmla="*/ 3 h 106"/>
              <a:gd name="T68" fmla="*/ 79 w 108"/>
              <a:gd name="T69" fmla="*/ 3 h 106"/>
              <a:gd name="T70" fmla="*/ 86 w 108"/>
              <a:gd name="T71" fmla="*/ 9 h 106"/>
              <a:gd name="T72" fmla="*/ 93 w 108"/>
              <a:gd name="T73" fmla="*/ 13 h 106"/>
              <a:gd name="T74" fmla="*/ 99 w 108"/>
              <a:gd name="T75" fmla="*/ 20 h 106"/>
              <a:gd name="T76" fmla="*/ 102 w 108"/>
              <a:gd name="T77" fmla="*/ 25 h 106"/>
              <a:gd name="T78" fmla="*/ 106 w 108"/>
              <a:gd name="T79" fmla="*/ 38 h 106"/>
              <a:gd name="T80" fmla="*/ 108 w 108"/>
              <a:gd name="T81" fmla="*/ 49 h 106"/>
              <a:gd name="T82" fmla="*/ 108 w 108"/>
              <a:gd name="T83" fmla="*/ 49 h 106"/>
              <a:gd name="T84" fmla="*/ 106 w 108"/>
              <a:gd name="T85" fmla="*/ 62 h 106"/>
              <a:gd name="T86" fmla="*/ 102 w 108"/>
              <a:gd name="T87" fmla="*/ 73 h 106"/>
              <a:gd name="T88" fmla="*/ 95 w 108"/>
              <a:gd name="T89" fmla="*/ 82 h 106"/>
              <a:gd name="T90" fmla="*/ 86 w 108"/>
              <a:gd name="T91" fmla="*/ 89 h 106"/>
              <a:gd name="T92" fmla="*/ 86 w 108"/>
              <a:gd name="T93" fmla="*/ 89 h 106"/>
              <a:gd name="T94" fmla="*/ 69 w 108"/>
              <a:gd name="T95" fmla="*/ 98 h 106"/>
              <a:gd name="T96" fmla="*/ 55 w 108"/>
              <a:gd name="T97"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 h="106">
                <a:moveTo>
                  <a:pt x="55" y="106"/>
                </a:moveTo>
                <a:lnTo>
                  <a:pt x="55" y="106"/>
                </a:lnTo>
                <a:lnTo>
                  <a:pt x="38" y="97"/>
                </a:lnTo>
                <a:lnTo>
                  <a:pt x="26" y="89"/>
                </a:lnTo>
                <a:lnTo>
                  <a:pt x="13" y="80"/>
                </a:lnTo>
                <a:lnTo>
                  <a:pt x="4" y="69"/>
                </a:lnTo>
                <a:lnTo>
                  <a:pt x="4" y="69"/>
                </a:lnTo>
                <a:lnTo>
                  <a:pt x="0" y="62"/>
                </a:lnTo>
                <a:lnTo>
                  <a:pt x="0" y="53"/>
                </a:lnTo>
                <a:lnTo>
                  <a:pt x="0" y="45"/>
                </a:lnTo>
                <a:lnTo>
                  <a:pt x="0" y="36"/>
                </a:lnTo>
                <a:lnTo>
                  <a:pt x="4" y="27"/>
                </a:lnTo>
                <a:lnTo>
                  <a:pt x="7" y="20"/>
                </a:lnTo>
                <a:lnTo>
                  <a:pt x="15" y="13"/>
                </a:lnTo>
                <a:lnTo>
                  <a:pt x="22" y="7"/>
                </a:lnTo>
                <a:lnTo>
                  <a:pt x="22" y="7"/>
                </a:lnTo>
                <a:lnTo>
                  <a:pt x="26" y="11"/>
                </a:lnTo>
                <a:lnTo>
                  <a:pt x="27" y="14"/>
                </a:lnTo>
                <a:lnTo>
                  <a:pt x="27" y="18"/>
                </a:lnTo>
                <a:lnTo>
                  <a:pt x="27" y="18"/>
                </a:lnTo>
                <a:lnTo>
                  <a:pt x="51" y="16"/>
                </a:lnTo>
                <a:lnTo>
                  <a:pt x="51" y="16"/>
                </a:lnTo>
                <a:lnTo>
                  <a:pt x="51" y="9"/>
                </a:lnTo>
                <a:lnTo>
                  <a:pt x="51" y="3"/>
                </a:lnTo>
                <a:lnTo>
                  <a:pt x="49" y="0"/>
                </a:lnTo>
                <a:lnTo>
                  <a:pt x="49" y="0"/>
                </a:lnTo>
                <a:lnTo>
                  <a:pt x="57" y="5"/>
                </a:lnTo>
                <a:lnTo>
                  <a:pt x="59" y="11"/>
                </a:lnTo>
                <a:lnTo>
                  <a:pt x="60" y="16"/>
                </a:lnTo>
                <a:lnTo>
                  <a:pt x="60" y="16"/>
                </a:lnTo>
                <a:lnTo>
                  <a:pt x="82" y="18"/>
                </a:lnTo>
                <a:lnTo>
                  <a:pt x="82" y="18"/>
                </a:lnTo>
                <a:lnTo>
                  <a:pt x="82" y="11"/>
                </a:lnTo>
                <a:lnTo>
                  <a:pt x="79" y="3"/>
                </a:lnTo>
                <a:lnTo>
                  <a:pt x="79" y="3"/>
                </a:lnTo>
                <a:lnTo>
                  <a:pt x="86" y="9"/>
                </a:lnTo>
                <a:lnTo>
                  <a:pt x="93" y="13"/>
                </a:lnTo>
                <a:lnTo>
                  <a:pt x="99" y="20"/>
                </a:lnTo>
                <a:lnTo>
                  <a:pt x="102" y="25"/>
                </a:lnTo>
                <a:lnTo>
                  <a:pt x="106" y="38"/>
                </a:lnTo>
                <a:lnTo>
                  <a:pt x="108" y="49"/>
                </a:lnTo>
                <a:lnTo>
                  <a:pt x="108" y="49"/>
                </a:lnTo>
                <a:lnTo>
                  <a:pt x="106" y="62"/>
                </a:lnTo>
                <a:lnTo>
                  <a:pt x="102" y="73"/>
                </a:lnTo>
                <a:lnTo>
                  <a:pt x="95" y="82"/>
                </a:lnTo>
                <a:lnTo>
                  <a:pt x="86" y="89"/>
                </a:lnTo>
                <a:lnTo>
                  <a:pt x="86" y="89"/>
                </a:lnTo>
                <a:lnTo>
                  <a:pt x="69" y="98"/>
                </a:lnTo>
                <a:lnTo>
                  <a:pt x="55" y="1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101" name="Freeform 52"/>
          <p:cNvSpPr>
            <a:spLocks/>
          </p:cNvSpPr>
          <p:nvPr userDrawn="1"/>
        </p:nvSpPr>
        <p:spPr bwMode="auto">
          <a:xfrm>
            <a:off x="8589963" y="-648865"/>
            <a:ext cx="1588" cy="1588"/>
          </a:xfrm>
          <a:custGeom>
            <a:avLst/>
            <a:gdLst>
              <a:gd name="T0" fmla="*/ 4 w 4"/>
              <a:gd name="T1" fmla="*/ 2 h 2"/>
              <a:gd name="T2" fmla="*/ 4 w 4"/>
              <a:gd name="T3" fmla="*/ 2 h 2"/>
              <a:gd name="T4" fmla="*/ 2 w 4"/>
              <a:gd name="T5" fmla="*/ 0 h 2"/>
              <a:gd name="T6" fmla="*/ 2 w 4"/>
              <a:gd name="T7" fmla="*/ 0 h 2"/>
              <a:gd name="T8" fmla="*/ 0 w 4"/>
              <a:gd name="T9" fmla="*/ 0 h 2"/>
              <a:gd name="T10" fmla="*/ 0 w 4"/>
              <a:gd name="T11" fmla="*/ 0 h 2"/>
              <a:gd name="T12" fmla="*/ 4 w 4"/>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2"/>
                </a:moveTo>
                <a:lnTo>
                  <a:pt x="4" y="2"/>
                </a:lnTo>
                <a:lnTo>
                  <a:pt x="2" y="0"/>
                </a:lnTo>
                <a:lnTo>
                  <a:pt x="2" y="0"/>
                </a:lnTo>
                <a:lnTo>
                  <a:pt x="0" y="0"/>
                </a:lnTo>
                <a:lnTo>
                  <a:pt x="0" y="0"/>
                </a:lnTo>
                <a:lnTo>
                  <a:pt x="4"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102" name="Freeform 53"/>
          <p:cNvSpPr>
            <a:spLocks/>
          </p:cNvSpPr>
          <p:nvPr userDrawn="1"/>
        </p:nvSpPr>
        <p:spPr bwMode="auto">
          <a:xfrm>
            <a:off x="8405814" y="-885403"/>
            <a:ext cx="15875" cy="9525"/>
          </a:xfrm>
          <a:custGeom>
            <a:avLst/>
            <a:gdLst>
              <a:gd name="T0" fmla="*/ 20 w 20"/>
              <a:gd name="T1" fmla="*/ 10 h 11"/>
              <a:gd name="T2" fmla="*/ 20 w 20"/>
              <a:gd name="T3" fmla="*/ 10 h 11"/>
              <a:gd name="T4" fmla="*/ 19 w 20"/>
              <a:gd name="T5" fmla="*/ 10 h 11"/>
              <a:gd name="T6" fmla="*/ 11 w 20"/>
              <a:gd name="T7" fmla="*/ 11 h 11"/>
              <a:gd name="T8" fmla="*/ 2 w 20"/>
              <a:gd name="T9" fmla="*/ 11 h 11"/>
              <a:gd name="T10" fmla="*/ 2 w 20"/>
              <a:gd name="T11" fmla="*/ 11 h 11"/>
              <a:gd name="T12" fmla="*/ 0 w 20"/>
              <a:gd name="T13" fmla="*/ 8 h 11"/>
              <a:gd name="T14" fmla="*/ 0 w 20"/>
              <a:gd name="T15" fmla="*/ 0 h 11"/>
              <a:gd name="T16" fmla="*/ 0 w 20"/>
              <a:gd name="T17" fmla="*/ 0 h 11"/>
              <a:gd name="T18" fmla="*/ 4 w 20"/>
              <a:gd name="T19" fmla="*/ 0 h 11"/>
              <a:gd name="T20" fmla="*/ 11 w 20"/>
              <a:gd name="T21" fmla="*/ 2 h 11"/>
              <a:gd name="T22" fmla="*/ 17 w 20"/>
              <a:gd name="T23" fmla="*/ 4 h 11"/>
              <a:gd name="T24" fmla="*/ 20 w 20"/>
              <a:gd name="T25"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1">
                <a:moveTo>
                  <a:pt x="20" y="10"/>
                </a:moveTo>
                <a:lnTo>
                  <a:pt x="20" y="10"/>
                </a:lnTo>
                <a:lnTo>
                  <a:pt x="19" y="10"/>
                </a:lnTo>
                <a:lnTo>
                  <a:pt x="11" y="11"/>
                </a:lnTo>
                <a:lnTo>
                  <a:pt x="2" y="11"/>
                </a:lnTo>
                <a:lnTo>
                  <a:pt x="2" y="11"/>
                </a:lnTo>
                <a:lnTo>
                  <a:pt x="0" y="8"/>
                </a:lnTo>
                <a:lnTo>
                  <a:pt x="0" y="0"/>
                </a:lnTo>
                <a:lnTo>
                  <a:pt x="0" y="0"/>
                </a:lnTo>
                <a:lnTo>
                  <a:pt x="4" y="0"/>
                </a:lnTo>
                <a:lnTo>
                  <a:pt x="11" y="2"/>
                </a:lnTo>
                <a:lnTo>
                  <a:pt x="17" y="4"/>
                </a:lnTo>
                <a:lnTo>
                  <a:pt x="20"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103" name="Freeform 54"/>
          <p:cNvSpPr>
            <a:spLocks/>
          </p:cNvSpPr>
          <p:nvPr userDrawn="1"/>
        </p:nvSpPr>
        <p:spPr bwMode="auto">
          <a:xfrm>
            <a:off x="8197851" y="-917153"/>
            <a:ext cx="492125" cy="579438"/>
          </a:xfrm>
          <a:custGeom>
            <a:avLst/>
            <a:gdLst>
              <a:gd name="T0" fmla="*/ 592 w 619"/>
              <a:gd name="T1" fmla="*/ 245 h 729"/>
              <a:gd name="T2" fmla="*/ 588 w 619"/>
              <a:gd name="T3" fmla="*/ 150 h 729"/>
              <a:gd name="T4" fmla="*/ 513 w 619"/>
              <a:gd name="T5" fmla="*/ 57 h 729"/>
              <a:gd name="T6" fmla="*/ 446 w 619"/>
              <a:gd name="T7" fmla="*/ 150 h 729"/>
              <a:gd name="T8" fmla="*/ 460 w 619"/>
              <a:gd name="T9" fmla="*/ 243 h 729"/>
              <a:gd name="T10" fmla="*/ 490 w 619"/>
              <a:gd name="T11" fmla="*/ 256 h 729"/>
              <a:gd name="T12" fmla="*/ 506 w 619"/>
              <a:gd name="T13" fmla="*/ 240 h 729"/>
              <a:gd name="T14" fmla="*/ 568 w 619"/>
              <a:gd name="T15" fmla="*/ 250 h 729"/>
              <a:gd name="T16" fmla="*/ 533 w 619"/>
              <a:gd name="T17" fmla="*/ 345 h 729"/>
              <a:gd name="T18" fmla="*/ 429 w 619"/>
              <a:gd name="T19" fmla="*/ 291 h 729"/>
              <a:gd name="T20" fmla="*/ 417 w 619"/>
              <a:gd name="T21" fmla="*/ 198 h 729"/>
              <a:gd name="T22" fmla="*/ 418 w 619"/>
              <a:gd name="T23" fmla="*/ 183 h 729"/>
              <a:gd name="T24" fmla="*/ 375 w 619"/>
              <a:gd name="T25" fmla="*/ 121 h 729"/>
              <a:gd name="T26" fmla="*/ 424 w 619"/>
              <a:gd name="T27" fmla="*/ 77 h 729"/>
              <a:gd name="T28" fmla="*/ 353 w 619"/>
              <a:gd name="T29" fmla="*/ 28 h 729"/>
              <a:gd name="T30" fmla="*/ 247 w 619"/>
              <a:gd name="T31" fmla="*/ 33 h 729"/>
              <a:gd name="T32" fmla="*/ 225 w 619"/>
              <a:gd name="T33" fmla="*/ 73 h 729"/>
              <a:gd name="T34" fmla="*/ 243 w 619"/>
              <a:gd name="T35" fmla="*/ 104 h 729"/>
              <a:gd name="T36" fmla="*/ 292 w 619"/>
              <a:gd name="T37" fmla="*/ 88 h 729"/>
              <a:gd name="T38" fmla="*/ 219 w 619"/>
              <a:gd name="T39" fmla="*/ 115 h 729"/>
              <a:gd name="T40" fmla="*/ 190 w 619"/>
              <a:gd name="T41" fmla="*/ 110 h 729"/>
              <a:gd name="T42" fmla="*/ 258 w 619"/>
              <a:gd name="T43" fmla="*/ 112 h 729"/>
              <a:gd name="T44" fmla="*/ 261 w 619"/>
              <a:gd name="T45" fmla="*/ 128 h 729"/>
              <a:gd name="T46" fmla="*/ 238 w 619"/>
              <a:gd name="T47" fmla="*/ 152 h 729"/>
              <a:gd name="T48" fmla="*/ 259 w 619"/>
              <a:gd name="T49" fmla="*/ 192 h 729"/>
              <a:gd name="T50" fmla="*/ 133 w 619"/>
              <a:gd name="T51" fmla="*/ 276 h 729"/>
              <a:gd name="T52" fmla="*/ 53 w 619"/>
              <a:gd name="T53" fmla="*/ 252 h 729"/>
              <a:gd name="T54" fmla="*/ 42 w 619"/>
              <a:gd name="T55" fmla="*/ 267 h 729"/>
              <a:gd name="T56" fmla="*/ 51 w 619"/>
              <a:gd name="T57" fmla="*/ 287 h 729"/>
              <a:gd name="T58" fmla="*/ 2 w 619"/>
              <a:gd name="T59" fmla="*/ 305 h 729"/>
              <a:gd name="T60" fmla="*/ 58 w 619"/>
              <a:gd name="T61" fmla="*/ 313 h 729"/>
              <a:gd name="T62" fmla="*/ 37 w 619"/>
              <a:gd name="T63" fmla="*/ 331 h 729"/>
              <a:gd name="T64" fmla="*/ 53 w 619"/>
              <a:gd name="T65" fmla="*/ 345 h 729"/>
              <a:gd name="T66" fmla="*/ 104 w 619"/>
              <a:gd name="T67" fmla="*/ 345 h 729"/>
              <a:gd name="T68" fmla="*/ 117 w 619"/>
              <a:gd name="T69" fmla="*/ 347 h 729"/>
              <a:gd name="T70" fmla="*/ 163 w 619"/>
              <a:gd name="T71" fmla="*/ 309 h 729"/>
              <a:gd name="T72" fmla="*/ 214 w 619"/>
              <a:gd name="T73" fmla="*/ 300 h 729"/>
              <a:gd name="T74" fmla="*/ 283 w 619"/>
              <a:gd name="T75" fmla="*/ 325 h 729"/>
              <a:gd name="T76" fmla="*/ 417 w 619"/>
              <a:gd name="T77" fmla="*/ 386 h 729"/>
              <a:gd name="T78" fmla="*/ 466 w 619"/>
              <a:gd name="T79" fmla="*/ 492 h 729"/>
              <a:gd name="T80" fmla="*/ 464 w 619"/>
              <a:gd name="T81" fmla="*/ 517 h 729"/>
              <a:gd name="T82" fmla="*/ 512 w 619"/>
              <a:gd name="T83" fmla="*/ 526 h 729"/>
              <a:gd name="T84" fmla="*/ 526 w 619"/>
              <a:gd name="T85" fmla="*/ 627 h 729"/>
              <a:gd name="T86" fmla="*/ 462 w 619"/>
              <a:gd name="T87" fmla="*/ 638 h 729"/>
              <a:gd name="T88" fmla="*/ 491 w 619"/>
              <a:gd name="T89" fmla="*/ 651 h 729"/>
              <a:gd name="T90" fmla="*/ 479 w 619"/>
              <a:gd name="T91" fmla="*/ 663 h 729"/>
              <a:gd name="T92" fmla="*/ 475 w 619"/>
              <a:gd name="T93" fmla="*/ 711 h 729"/>
              <a:gd name="T94" fmla="*/ 502 w 619"/>
              <a:gd name="T95" fmla="*/ 693 h 729"/>
              <a:gd name="T96" fmla="*/ 513 w 619"/>
              <a:gd name="T97" fmla="*/ 700 h 729"/>
              <a:gd name="T98" fmla="*/ 544 w 619"/>
              <a:gd name="T99" fmla="*/ 720 h 729"/>
              <a:gd name="T100" fmla="*/ 554 w 619"/>
              <a:gd name="T101" fmla="*/ 678 h 729"/>
              <a:gd name="T102" fmla="*/ 586 w 619"/>
              <a:gd name="T103" fmla="*/ 689 h 729"/>
              <a:gd name="T104" fmla="*/ 590 w 619"/>
              <a:gd name="T105" fmla="*/ 625 h 729"/>
              <a:gd name="T106" fmla="*/ 603 w 619"/>
              <a:gd name="T107" fmla="*/ 598 h 729"/>
              <a:gd name="T108" fmla="*/ 599 w 619"/>
              <a:gd name="T109" fmla="*/ 552 h 729"/>
              <a:gd name="T110" fmla="*/ 574 w 619"/>
              <a:gd name="T111" fmla="*/ 508 h 729"/>
              <a:gd name="T112" fmla="*/ 532 w 619"/>
              <a:gd name="T113" fmla="*/ 462 h 729"/>
              <a:gd name="T114" fmla="*/ 532 w 619"/>
              <a:gd name="T115" fmla="*/ 419 h 729"/>
              <a:gd name="T116" fmla="*/ 539 w 619"/>
              <a:gd name="T117" fmla="*/ 377 h 729"/>
              <a:gd name="T118" fmla="*/ 618 w 619"/>
              <a:gd name="T119" fmla="*/ 316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9" h="729">
                <a:moveTo>
                  <a:pt x="603" y="280"/>
                </a:moveTo>
                <a:lnTo>
                  <a:pt x="603" y="280"/>
                </a:lnTo>
                <a:lnTo>
                  <a:pt x="612" y="282"/>
                </a:lnTo>
                <a:lnTo>
                  <a:pt x="619" y="280"/>
                </a:lnTo>
                <a:lnTo>
                  <a:pt x="619" y="280"/>
                </a:lnTo>
                <a:lnTo>
                  <a:pt x="618" y="269"/>
                </a:lnTo>
                <a:lnTo>
                  <a:pt x="616" y="252"/>
                </a:lnTo>
                <a:lnTo>
                  <a:pt x="616" y="252"/>
                </a:lnTo>
                <a:lnTo>
                  <a:pt x="610" y="252"/>
                </a:lnTo>
                <a:lnTo>
                  <a:pt x="605" y="252"/>
                </a:lnTo>
                <a:lnTo>
                  <a:pt x="599" y="250"/>
                </a:lnTo>
                <a:lnTo>
                  <a:pt x="592" y="245"/>
                </a:lnTo>
                <a:lnTo>
                  <a:pt x="592" y="245"/>
                </a:lnTo>
                <a:lnTo>
                  <a:pt x="588" y="238"/>
                </a:lnTo>
                <a:lnTo>
                  <a:pt x="588" y="238"/>
                </a:lnTo>
                <a:lnTo>
                  <a:pt x="577" y="223"/>
                </a:lnTo>
                <a:lnTo>
                  <a:pt x="565" y="212"/>
                </a:lnTo>
                <a:lnTo>
                  <a:pt x="552" y="203"/>
                </a:lnTo>
                <a:lnTo>
                  <a:pt x="541" y="196"/>
                </a:lnTo>
                <a:lnTo>
                  <a:pt x="541" y="196"/>
                </a:lnTo>
                <a:lnTo>
                  <a:pt x="559" y="185"/>
                </a:lnTo>
                <a:lnTo>
                  <a:pt x="572" y="174"/>
                </a:lnTo>
                <a:lnTo>
                  <a:pt x="581" y="165"/>
                </a:lnTo>
                <a:lnTo>
                  <a:pt x="585" y="157"/>
                </a:lnTo>
                <a:lnTo>
                  <a:pt x="585" y="157"/>
                </a:lnTo>
                <a:lnTo>
                  <a:pt x="588" y="150"/>
                </a:lnTo>
                <a:lnTo>
                  <a:pt x="592" y="139"/>
                </a:lnTo>
                <a:lnTo>
                  <a:pt x="592" y="128"/>
                </a:lnTo>
                <a:lnTo>
                  <a:pt x="592" y="115"/>
                </a:lnTo>
                <a:lnTo>
                  <a:pt x="588" y="103"/>
                </a:lnTo>
                <a:lnTo>
                  <a:pt x="583" y="90"/>
                </a:lnTo>
                <a:lnTo>
                  <a:pt x="574" y="79"/>
                </a:lnTo>
                <a:lnTo>
                  <a:pt x="566" y="73"/>
                </a:lnTo>
                <a:lnTo>
                  <a:pt x="559" y="68"/>
                </a:lnTo>
                <a:lnTo>
                  <a:pt x="559" y="68"/>
                </a:lnTo>
                <a:lnTo>
                  <a:pt x="548" y="62"/>
                </a:lnTo>
                <a:lnTo>
                  <a:pt x="535" y="59"/>
                </a:lnTo>
                <a:lnTo>
                  <a:pt x="524" y="57"/>
                </a:lnTo>
                <a:lnTo>
                  <a:pt x="513" y="57"/>
                </a:lnTo>
                <a:lnTo>
                  <a:pt x="495" y="60"/>
                </a:lnTo>
                <a:lnTo>
                  <a:pt x="481" y="64"/>
                </a:lnTo>
                <a:lnTo>
                  <a:pt x="481" y="64"/>
                </a:lnTo>
                <a:lnTo>
                  <a:pt x="471" y="70"/>
                </a:lnTo>
                <a:lnTo>
                  <a:pt x="462" y="77"/>
                </a:lnTo>
                <a:lnTo>
                  <a:pt x="455" y="84"/>
                </a:lnTo>
                <a:lnTo>
                  <a:pt x="449" y="93"/>
                </a:lnTo>
                <a:lnTo>
                  <a:pt x="446" y="104"/>
                </a:lnTo>
                <a:lnTo>
                  <a:pt x="442" y="115"/>
                </a:lnTo>
                <a:lnTo>
                  <a:pt x="442" y="126"/>
                </a:lnTo>
                <a:lnTo>
                  <a:pt x="442" y="141"/>
                </a:lnTo>
                <a:lnTo>
                  <a:pt x="442" y="141"/>
                </a:lnTo>
                <a:lnTo>
                  <a:pt x="446" y="150"/>
                </a:lnTo>
                <a:lnTo>
                  <a:pt x="449" y="159"/>
                </a:lnTo>
                <a:lnTo>
                  <a:pt x="455" y="168"/>
                </a:lnTo>
                <a:lnTo>
                  <a:pt x="460" y="174"/>
                </a:lnTo>
                <a:lnTo>
                  <a:pt x="477" y="185"/>
                </a:lnTo>
                <a:lnTo>
                  <a:pt x="495" y="196"/>
                </a:lnTo>
                <a:lnTo>
                  <a:pt x="495" y="196"/>
                </a:lnTo>
                <a:lnTo>
                  <a:pt x="481" y="203"/>
                </a:lnTo>
                <a:lnTo>
                  <a:pt x="470" y="214"/>
                </a:lnTo>
                <a:lnTo>
                  <a:pt x="466" y="219"/>
                </a:lnTo>
                <a:lnTo>
                  <a:pt x="464" y="227"/>
                </a:lnTo>
                <a:lnTo>
                  <a:pt x="462" y="234"/>
                </a:lnTo>
                <a:lnTo>
                  <a:pt x="460" y="243"/>
                </a:lnTo>
                <a:lnTo>
                  <a:pt x="460" y="243"/>
                </a:lnTo>
                <a:lnTo>
                  <a:pt x="462" y="254"/>
                </a:lnTo>
                <a:lnTo>
                  <a:pt x="466" y="267"/>
                </a:lnTo>
                <a:lnTo>
                  <a:pt x="468" y="282"/>
                </a:lnTo>
                <a:lnTo>
                  <a:pt x="468" y="291"/>
                </a:lnTo>
                <a:lnTo>
                  <a:pt x="466" y="300"/>
                </a:lnTo>
                <a:lnTo>
                  <a:pt x="466" y="300"/>
                </a:lnTo>
                <a:lnTo>
                  <a:pt x="468" y="300"/>
                </a:lnTo>
                <a:lnTo>
                  <a:pt x="475" y="298"/>
                </a:lnTo>
                <a:lnTo>
                  <a:pt x="484" y="291"/>
                </a:lnTo>
                <a:lnTo>
                  <a:pt x="484" y="291"/>
                </a:lnTo>
                <a:lnTo>
                  <a:pt x="488" y="280"/>
                </a:lnTo>
                <a:lnTo>
                  <a:pt x="490" y="269"/>
                </a:lnTo>
                <a:lnTo>
                  <a:pt x="490" y="256"/>
                </a:lnTo>
                <a:lnTo>
                  <a:pt x="490" y="256"/>
                </a:lnTo>
                <a:lnTo>
                  <a:pt x="493" y="261"/>
                </a:lnTo>
                <a:lnTo>
                  <a:pt x="495" y="271"/>
                </a:lnTo>
                <a:lnTo>
                  <a:pt x="495" y="278"/>
                </a:lnTo>
                <a:lnTo>
                  <a:pt x="493" y="285"/>
                </a:lnTo>
                <a:lnTo>
                  <a:pt x="493" y="285"/>
                </a:lnTo>
                <a:lnTo>
                  <a:pt x="501" y="282"/>
                </a:lnTo>
                <a:lnTo>
                  <a:pt x="504" y="278"/>
                </a:lnTo>
                <a:lnTo>
                  <a:pt x="508" y="274"/>
                </a:lnTo>
                <a:lnTo>
                  <a:pt x="508" y="274"/>
                </a:lnTo>
                <a:lnTo>
                  <a:pt x="510" y="261"/>
                </a:lnTo>
                <a:lnTo>
                  <a:pt x="510" y="249"/>
                </a:lnTo>
                <a:lnTo>
                  <a:pt x="506" y="240"/>
                </a:lnTo>
                <a:lnTo>
                  <a:pt x="504" y="232"/>
                </a:lnTo>
                <a:lnTo>
                  <a:pt x="504" y="232"/>
                </a:lnTo>
                <a:lnTo>
                  <a:pt x="502" y="225"/>
                </a:lnTo>
                <a:lnTo>
                  <a:pt x="504" y="218"/>
                </a:lnTo>
                <a:lnTo>
                  <a:pt x="510" y="210"/>
                </a:lnTo>
                <a:lnTo>
                  <a:pt x="515" y="207"/>
                </a:lnTo>
                <a:lnTo>
                  <a:pt x="515" y="207"/>
                </a:lnTo>
                <a:lnTo>
                  <a:pt x="533" y="216"/>
                </a:lnTo>
                <a:lnTo>
                  <a:pt x="533" y="216"/>
                </a:lnTo>
                <a:lnTo>
                  <a:pt x="541" y="221"/>
                </a:lnTo>
                <a:lnTo>
                  <a:pt x="552" y="230"/>
                </a:lnTo>
                <a:lnTo>
                  <a:pt x="563" y="243"/>
                </a:lnTo>
                <a:lnTo>
                  <a:pt x="568" y="250"/>
                </a:lnTo>
                <a:lnTo>
                  <a:pt x="572" y="260"/>
                </a:lnTo>
                <a:lnTo>
                  <a:pt x="572" y="260"/>
                </a:lnTo>
                <a:lnTo>
                  <a:pt x="577" y="271"/>
                </a:lnTo>
                <a:lnTo>
                  <a:pt x="579" y="282"/>
                </a:lnTo>
                <a:lnTo>
                  <a:pt x="579" y="291"/>
                </a:lnTo>
                <a:lnTo>
                  <a:pt x="579" y="300"/>
                </a:lnTo>
                <a:lnTo>
                  <a:pt x="576" y="313"/>
                </a:lnTo>
                <a:lnTo>
                  <a:pt x="572" y="320"/>
                </a:lnTo>
                <a:lnTo>
                  <a:pt x="572" y="320"/>
                </a:lnTo>
                <a:lnTo>
                  <a:pt x="565" y="329"/>
                </a:lnTo>
                <a:lnTo>
                  <a:pt x="557" y="338"/>
                </a:lnTo>
                <a:lnTo>
                  <a:pt x="546" y="344"/>
                </a:lnTo>
                <a:lnTo>
                  <a:pt x="533" y="345"/>
                </a:lnTo>
                <a:lnTo>
                  <a:pt x="533" y="345"/>
                </a:lnTo>
                <a:lnTo>
                  <a:pt x="532" y="345"/>
                </a:lnTo>
                <a:lnTo>
                  <a:pt x="532" y="345"/>
                </a:lnTo>
                <a:lnTo>
                  <a:pt x="517" y="345"/>
                </a:lnTo>
                <a:lnTo>
                  <a:pt x="517" y="345"/>
                </a:lnTo>
                <a:lnTo>
                  <a:pt x="504" y="342"/>
                </a:lnTo>
                <a:lnTo>
                  <a:pt x="504" y="342"/>
                </a:lnTo>
                <a:lnTo>
                  <a:pt x="493" y="338"/>
                </a:lnTo>
                <a:lnTo>
                  <a:pt x="493" y="338"/>
                </a:lnTo>
                <a:lnTo>
                  <a:pt x="482" y="333"/>
                </a:lnTo>
                <a:lnTo>
                  <a:pt x="466" y="322"/>
                </a:lnTo>
                <a:lnTo>
                  <a:pt x="448" y="309"/>
                </a:lnTo>
                <a:lnTo>
                  <a:pt x="429" y="291"/>
                </a:lnTo>
                <a:lnTo>
                  <a:pt x="429" y="291"/>
                </a:lnTo>
                <a:lnTo>
                  <a:pt x="406" y="261"/>
                </a:lnTo>
                <a:lnTo>
                  <a:pt x="389" y="241"/>
                </a:lnTo>
                <a:lnTo>
                  <a:pt x="389" y="241"/>
                </a:lnTo>
                <a:lnTo>
                  <a:pt x="398" y="245"/>
                </a:lnTo>
                <a:lnTo>
                  <a:pt x="406" y="245"/>
                </a:lnTo>
                <a:lnTo>
                  <a:pt x="415" y="245"/>
                </a:lnTo>
                <a:lnTo>
                  <a:pt x="415" y="245"/>
                </a:lnTo>
                <a:lnTo>
                  <a:pt x="417" y="229"/>
                </a:lnTo>
                <a:lnTo>
                  <a:pt x="417" y="212"/>
                </a:lnTo>
                <a:lnTo>
                  <a:pt x="417" y="212"/>
                </a:lnTo>
                <a:lnTo>
                  <a:pt x="417" y="198"/>
                </a:lnTo>
                <a:lnTo>
                  <a:pt x="417" y="198"/>
                </a:lnTo>
                <a:lnTo>
                  <a:pt x="411" y="198"/>
                </a:lnTo>
                <a:lnTo>
                  <a:pt x="398" y="194"/>
                </a:lnTo>
                <a:lnTo>
                  <a:pt x="393" y="192"/>
                </a:lnTo>
                <a:lnTo>
                  <a:pt x="386" y="188"/>
                </a:lnTo>
                <a:lnTo>
                  <a:pt x="380" y="185"/>
                </a:lnTo>
                <a:lnTo>
                  <a:pt x="376" y="179"/>
                </a:lnTo>
                <a:lnTo>
                  <a:pt x="376" y="179"/>
                </a:lnTo>
                <a:lnTo>
                  <a:pt x="382" y="181"/>
                </a:lnTo>
                <a:lnTo>
                  <a:pt x="387" y="183"/>
                </a:lnTo>
                <a:lnTo>
                  <a:pt x="395" y="185"/>
                </a:lnTo>
                <a:lnTo>
                  <a:pt x="395" y="185"/>
                </a:lnTo>
                <a:lnTo>
                  <a:pt x="411" y="183"/>
                </a:lnTo>
                <a:lnTo>
                  <a:pt x="418" y="183"/>
                </a:lnTo>
                <a:lnTo>
                  <a:pt x="418" y="183"/>
                </a:lnTo>
                <a:lnTo>
                  <a:pt x="420" y="166"/>
                </a:lnTo>
                <a:lnTo>
                  <a:pt x="420" y="152"/>
                </a:lnTo>
                <a:lnTo>
                  <a:pt x="420" y="152"/>
                </a:lnTo>
                <a:lnTo>
                  <a:pt x="420" y="137"/>
                </a:lnTo>
                <a:lnTo>
                  <a:pt x="420" y="137"/>
                </a:lnTo>
                <a:lnTo>
                  <a:pt x="409" y="137"/>
                </a:lnTo>
                <a:lnTo>
                  <a:pt x="396" y="135"/>
                </a:lnTo>
                <a:lnTo>
                  <a:pt x="396" y="135"/>
                </a:lnTo>
                <a:lnTo>
                  <a:pt x="384" y="130"/>
                </a:lnTo>
                <a:lnTo>
                  <a:pt x="378" y="126"/>
                </a:lnTo>
                <a:lnTo>
                  <a:pt x="375" y="121"/>
                </a:lnTo>
                <a:lnTo>
                  <a:pt x="375" y="121"/>
                </a:lnTo>
                <a:lnTo>
                  <a:pt x="380" y="123"/>
                </a:lnTo>
                <a:lnTo>
                  <a:pt x="395" y="126"/>
                </a:lnTo>
                <a:lnTo>
                  <a:pt x="395" y="126"/>
                </a:lnTo>
                <a:lnTo>
                  <a:pt x="404" y="126"/>
                </a:lnTo>
                <a:lnTo>
                  <a:pt x="413" y="124"/>
                </a:lnTo>
                <a:lnTo>
                  <a:pt x="420" y="124"/>
                </a:lnTo>
                <a:lnTo>
                  <a:pt x="422" y="123"/>
                </a:lnTo>
                <a:lnTo>
                  <a:pt x="422" y="123"/>
                </a:lnTo>
                <a:lnTo>
                  <a:pt x="422" y="93"/>
                </a:lnTo>
                <a:lnTo>
                  <a:pt x="422" y="93"/>
                </a:lnTo>
                <a:lnTo>
                  <a:pt x="424" y="86"/>
                </a:lnTo>
                <a:lnTo>
                  <a:pt x="424" y="77"/>
                </a:lnTo>
                <a:lnTo>
                  <a:pt x="424" y="77"/>
                </a:lnTo>
                <a:lnTo>
                  <a:pt x="418" y="77"/>
                </a:lnTo>
                <a:lnTo>
                  <a:pt x="407" y="75"/>
                </a:lnTo>
                <a:lnTo>
                  <a:pt x="395" y="70"/>
                </a:lnTo>
                <a:lnTo>
                  <a:pt x="389" y="66"/>
                </a:lnTo>
                <a:lnTo>
                  <a:pt x="382" y="60"/>
                </a:lnTo>
                <a:lnTo>
                  <a:pt x="382" y="60"/>
                </a:lnTo>
                <a:lnTo>
                  <a:pt x="380" y="57"/>
                </a:lnTo>
                <a:lnTo>
                  <a:pt x="380" y="53"/>
                </a:lnTo>
                <a:lnTo>
                  <a:pt x="382" y="46"/>
                </a:lnTo>
                <a:lnTo>
                  <a:pt x="382" y="46"/>
                </a:lnTo>
                <a:lnTo>
                  <a:pt x="349" y="31"/>
                </a:lnTo>
                <a:lnTo>
                  <a:pt x="349" y="31"/>
                </a:lnTo>
                <a:lnTo>
                  <a:pt x="353" y="28"/>
                </a:lnTo>
                <a:lnTo>
                  <a:pt x="356" y="22"/>
                </a:lnTo>
                <a:lnTo>
                  <a:pt x="356" y="18"/>
                </a:lnTo>
                <a:lnTo>
                  <a:pt x="356" y="18"/>
                </a:lnTo>
                <a:lnTo>
                  <a:pt x="354" y="13"/>
                </a:lnTo>
                <a:lnTo>
                  <a:pt x="349" y="9"/>
                </a:lnTo>
                <a:lnTo>
                  <a:pt x="343" y="8"/>
                </a:lnTo>
                <a:lnTo>
                  <a:pt x="336" y="8"/>
                </a:lnTo>
                <a:lnTo>
                  <a:pt x="336" y="8"/>
                </a:lnTo>
                <a:lnTo>
                  <a:pt x="329" y="9"/>
                </a:lnTo>
                <a:lnTo>
                  <a:pt x="325" y="13"/>
                </a:lnTo>
                <a:lnTo>
                  <a:pt x="320" y="18"/>
                </a:lnTo>
                <a:lnTo>
                  <a:pt x="280" y="0"/>
                </a:lnTo>
                <a:lnTo>
                  <a:pt x="247" y="33"/>
                </a:lnTo>
                <a:lnTo>
                  <a:pt x="247" y="33"/>
                </a:lnTo>
                <a:lnTo>
                  <a:pt x="245" y="35"/>
                </a:lnTo>
                <a:lnTo>
                  <a:pt x="245" y="39"/>
                </a:lnTo>
                <a:lnTo>
                  <a:pt x="245" y="42"/>
                </a:lnTo>
                <a:lnTo>
                  <a:pt x="245" y="42"/>
                </a:lnTo>
                <a:lnTo>
                  <a:pt x="245" y="44"/>
                </a:lnTo>
                <a:lnTo>
                  <a:pt x="243" y="46"/>
                </a:lnTo>
                <a:lnTo>
                  <a:pt x="243" y="46"/>
                </a:lnTo>
                <a:lnTo>
                  <a:pt x="234" y="57"/>
                </a:lnTo>
                <a:lnTo>
                  <a:pt x="234" y="57"/>
                </a:lnTo>
                <a:lnTo>
                  <a:pt x="228" y="66"/>
                </a:lnTo>
                <a:lnTo>
                  <a:pt x="228" y="66"/>
                </a:lnTo>
                <a:lnTo>
                  <a:pt x="225" y="73"/>
                </a:lnTo>
                <a:lnTo>
                  <a:pt x="223" y="79"/>
                </a:lnTo>
                <a:lnTo>
                  <a:pt x="223" y="79"/>
                </a:lnTo>
                <a:lnTo>
                  <a:pt x="221" y="81"/>
                </a:lnTo>
                <a:lnTo>
                  <a:pt x="221" y="84"/>
                </a:lnTo>
                <a:lnTo>
                  <a:pt x="225" y="92"/>
                </a:lnTo>
                <a:lnTo>
                  <a:pt x="234" y="99"/>
                </a:lnTo>
                <a:lnTo>
                  <a:pt x="234" y="101"/>
                </a:lnTo>
                <a:lnTo>
                  <a:pt x="234" y="101"/>
                </a:lnTo>
                <a:lnTo>
                  <a:pt x="236" y="99"/>
                </a:lnTo>
                <a:lnTo>
                  <a:pt x="238" y="99"/>
                </a:lnTo>
                <a:lnTo>
                  <a:pt x="238" y="99"/>
                </a:lnTo>
                <a:lnTo>
                  <a:pt x="243" y="104"/>
                </a:lnTo>
                <a:lnTo>
                  <a:pt x="243" y="104"/>
                </a:lnTo>
                <a:lnTo>
                  <a:pt x="245" y="101"/>
                </a:lnTo>
                <a:lnTo>
                  <a:pt x="248" y="95"/>
                </a:lnTo>
                <a:lnTo>
                  <a:pt x="248" y="95"/>
                </a:lnTo>
                <a:lnTo>
                  <a:pt x="254" y="88"/>
                </a:lnTo>
                <a:lnTo>
                  <a:pt x="261" y="82"/>
                </a:lnTo>
                <a:lnTo>
                  <a:pt x="261" y="82"/>
                </a:lnTo>
                <a:lnTo>
                  <a:pt x="269" y="79"/>
                </a:lnTo>
                <a:lnTo>
                  <a:pt x="276" y="79"/>
                </a:lnTo>
                <a:lnTo>
                  <a:pt x="276" y="79"/>
                </a:lnTo>
                <a:lnTo>
                  <a:pt x="283" y="79"/>
                </a:lnTo>
                <a:lnTo>
                  <a:pt x="289" y="82"/>
                </a:lnTo>
                <a:lnTo>
                  <a:pt x="289" y="82"/>
                </a:lnTo>
                <a:lnTo>
                  <a:pt x="292" y="88"/>
                </a:lnTo>
                <a:lnTo>
                  <a:pt x="294" y="95"/>
                </a:lnTo>
                <a:lnTo>
                  <a:pt x="294" y="103"/>
                </a:lnTo>
                <a:lnTo>
                  <a:pt x="294" y="108"/>
                </a:lnTo>
                <a:lnTo>
                  <a:pt x="294" y="108"/>
                </a:lnTo>
                <a:lnTo>
                  <a:pt x="290" y="104"/>
                </a:lnTo>
                <a:lnTo>
                  <a:pt x="290" y="104"/>
                </a:lnTo>
                <a:lnTo>
                  <a:pt x="285" y="103"/>
                </a:lnTo>
                <a:lnTo>
                  <a:pt x="276" y="101"/>
                </a:lnTo>
                <a:lnTo>
                  <a:pt x="265" y="101"/>
                </a:lnTo>
                <a:lnTo>
                  <a:pt x="254" y="103"/>
                </a:lnTo>
                <a:lnTo>
                  <a:pt x="254" y="103"/>
                </a:lnTo>
                <a:lnTo>
                  <a:pt x="241" y="108"/>
                </a:lnTo>
                <a:lnTo>
                  <a:pt x="219" y="115"/>
                </a:lnTo>
                <a:lnTo>
                  <a:pt x="219" y="115"/>
                </a:lnTo>
                <a:lnTo>
                  <a:pt x="214" y="117"/>
                </a:lnTo>
                <a:lnTo>
                  <a:pt x="208" y="117"/>
                </a:lnTo>
                <a:lnTo>
                  <a:pt x="205" y="113"/>
                </a:lnTo>
                <a:lnTo>
                  <a:pt x="203" y="110"/>
                </a:lnTo>
                <a:lnTo>
                  <a:pt x="203" y="110"/>
                </a:lnTo>
                <a:lnTo>
                  <a:pt x="203" y="104"/>
                </a:lnTo>
                <a:lnTo>
                  <a:pt x="203" y="101"/>
                </a:lnTo>
                <a:lnTo>
                  <a:pt x="205" y="97"/>
                </a:lnTo>
                <a:lnTo>
                  <a:pt x="205" y="97"/>
                </a:lnTo>
                <a:lnTo>
                  <a:pt x="199" y="101"/>
                </a:lnTo>
                <a:lnTo>
                  <a:pt x="194" y="104"/>
                </a:lnTo>
                <a:lnTo>
                  <a:pt x="190" y="110"/>
                </a:lnTo>
                <a:lnTo>
                  <a:pt x="190" y="110"/>
                </a:lnTo>
                <a:lnTo>
                  <a:pt x="190" y="117"/>
                </a:lnTo>
                <a:lnTo>
                  <a:pt x="192" y="124"/>
                </a:lnTo>
                <a:lnTo>
                  <a:pt x="195" y="128"/>
                </a:lnTo>
                <a:lnTo>
                  <a:pt x="201" y="132"/>
                </a:lnTo>
                <a:lnTo>
                  <a:pt x="201" y="132"/>
                </a:lnTo>
                <a:lnTo>
                  <a:pt x="208" y="132"/>
                </a:lnTo>
                <a:lnTo>
                  <a:pt x="217" y="130"/>
                </a:lnTo>
                <a:lnTo>
                  <a:pt x="234" y="123"/>
                </a:lnTo>
                <a:lnTo>
                  <a:pt x="234" y="123"/>
                </a:lnTo>
                <a:lnTo>
                  <a:pt x="250" y="113"/>
                </a:lnTo>
                <a:lnTo>
                  <a:pt x="250" y="113"/>
                </a:lnTo>
                <a:lnTo>
                  <a:pt x="258" y="112"/>
                </a:lnTo>
                <a:lnTo>
                  <a:pt x="263" y="110"/>
                </a:lnTo>
                <a:lnTo>
                  <a:pt x="270" y="112"/>
                </a:lnTo>
                <a:lnTo>
                  <a:pt x="278" y="113"/>
                </a:lnTo>
                <a:lnTo>
                  <a:pt x="278" y="113"/>
                </a:lnTo>
                <a:lnTo>
                  <a:pt x="285" y="119"/>
                </a:lnTo>
                <a:lnTo>
                  <a:pt x="289" y="121"/>
                </a:lnTo>
                <a:lnTo>
                  <a:pt x="289" y="121"/>
                </a:lnTo>
                <a:lnTo>
                  <a:pt x="285" y="126"/>
                </a:lnTo>
                <a:lnTo>
                  <a:pt x="281" y="130"/>
                </a:lnTo>
                <a:lnTo>
                  <a:pt x="274" y="130"/>
                </a:lnTo>
                <a:lnTo>
                  <a:pt x="274" y="130"/>
                </a:lnTo>
                <a:lnTo>
                  <a:pt x="267" y="130"/>
                </a:lnTo>
                <a:lnTo>
                  <a:pt x="261" y="128"/>
                </a:lnTo>
                <a:lnTo>
                  <a:pt x="256" y="124"/>
                </a:lnTo>
                <a:lnTo>
                  <a:pt x="254" y="121"/>
                </a:lnTo>
                <a:lnTo>
                  <a:pt x="254" y="121"/>
                </a:lnTo>
                <a:lnTo>
                  <a:pt x="250" y="128"/>
                </a:lnTo>
                <a:lnTo>
                  <a:pt x="250" y="128"/>
                </a:lnTo>
                <a:lnTo>
                  <a:pt x="248" y="132"/>
                </a:lnTo>
                <a:lnTo>
                  <a:pt x="248" y="135"/>
                </a:lnTo>
                <a:lnTo>
                  <a:pt x="250" y="137"/>
                </a:lnTo>
                <a:lnTo>
                  <a:pt x="248" y="141"/>
                </a:lnTo>
                <a:lnTo>
                  <a:pt x="248" y="141"/>
                </a:lnTo>
                <a:lnTo>
                  <a:pt x="247" y="143"/>
                </a:lnTo>
                <a:lnTo>
                  <a:pt x="245" y="146"/>
                </a:lnTo>
                <a:lnTo>
                  <a:pt x="238" y="152"/>
                </a:lnTo>
                <a:lnTo>
                  <a:pt x="238" y="152"/>
                </a:lnTo>
                <a:lnTo>
                  <a:pt x="227" y="157"/>
                </a:lnTo>
                <a:lnTo>
                  <a:pt x="219" y="159"/>
                </a:lnTo>
                <a:lnTo>
                  <a:pt x="219" y="159"/>
                </a:lnTo>
                <a:lnTo>
                  <a:pt x="227" y="176"/>
                </a:lnTo>
                <a:lnTo>
                  <a:pt x="227" y="176"/>
                </a:lnTo>
                <a:lnTo>
                  <a:pt x="232" y="187"/>
                </a:lnTo>
                <a:lnTo>
                  <a:pt x="236" y="194"/>
                </a:lnTo>
                <a:lnTo>
                  <a:pt x="239" y="199"/>
                </a:lnTo>
                <a:lnTo>
                  <a:pt x="239" y="199"/>
                </a:lnTo>
                <a:lnTo>
                  <a:pt x="247" y="198"/>
                </a:lnTo>
                <a:lnTo>
                  <a:pt x="259" y="192"/>
                </a:lnTo>
                <a:lnTo>
                  <a:pt x="259" y="192"/>
                </a:lnTo>
                <a:lnTo>
                  <a:pt x="269" y="185"/>
                </a:lnTo>
                <a:lnTo>
                  <a:pt x="274" y="177"/>
                </a:lnTo>
                <a:lnTo>
                  <a:pt x="274" y="177"/>
                </a:lnTo>
                <a:lnTo>
                  <a:pt x="267" y="194"/>
                </a:lnTo>
                <a:lnTo>
                  <a:pt x="261" y="203"/>
                </a:lnTo>
                <a:lnTo>
                  <a:pt x="254" y="210"/>
                </a:lnTo>
                <a:lnTo>
                  <a:pt x="248" y="216"/>
                </a:lnTo>
                <a:lnTo>
                  <a:pt x="248" y="216"/>
                </a:lnTo>
                <a:lnTo>
                  <a:pt x="225" y="232"/>
                </a:lnTo>
                <a:lnTo>
                  <a:pt x="192" y="250"/>
                </a:lnTo>
                <a:lnTo>
                  <a:pt x="172" y="261"/>
                </a:lnTo>
                <a:lnTo>
                  <a:pt x="153" y="269"/>
                </a:lnTo>
                <a:lnTo>
                  <a:pt x="133" y="276"/>
                </a:lnTo>
                <a:lnTo>
                  <a:pt x="113" y="280"/>
                </a:lnTo>
                <a:lnTo>
                  <a:pt x="113" y="280"/>
                </a:lnTo>
                <a:lnTo>
                  <a:pt x="108" y="278"/>
                </a:lnTo>
                <a:lnTo>
                  <a:pt x="100" y="276"/>
                </a:lnTo>
                <a:lnTo>
                  <a:pt x="88" y="267"/>
                </a:lnTo>
                <a:lnTo>
                  <a:pt x="75" y="258"/>
                </a:lnTo>
                <a:lnTo>
                  <a:pt x="68" y="249"/>
                </a:lnTo>
                <a:lnTo>
                  <a:pt x="68" y="249"/>
                </a:lnTo>
                <a:lnTo>
                  <a:pt x="66" y="249"/>
                </a:lnTo>
                <a:lnTo>
                  <a:pt x="62" y="247"/>
                </a:lnTo>
                <a:lnTo>
                  <a:pt x="58" y="249"/>
                </a:lnTo>
                <a:lnTo>
                  <a:pt x="53" y="252"/>
                </a:lnTo>
                <a:lnTo>
                  <a:pt x="53" y="252"/>
                </a:lnTo>
                <a:lnTo>
                  <a:pt x="49" y="252"/>
                </a:lnTo>
                <a:lnTo>
                  <a:pt x="42" y="252"/>
                </a:lnTo>
                <a:lnTo>
                  <a:pt x="31" y="254"/>
                </a:lnTo>
                <a:lnTo>
                  <a:pt x="27" y="258"/>
                </a:lnTo>
                <a:lnTo>
                  <a:pt x="24" y="261"/>
                </a:lnTo>
                <a:lnTo>
                  <a:pt x="24" y="261"/>
                </a:lnTo>
                <a:lnTo>
                  <a:pt x="24" y="263"/>
                </a:lnTo>
                <a:lnTo>
                  <a:pt x="29" y="263"/>
                </a:lnTo>
                <a:lnTo>
                  <a:pt x="35" y="261"/>
                </a:lnTo>
                <a:lnTo>
                  <a:pt x="42" y="263"/>
                </a:lnTo>
                <a:lnTo>
                  <a:pt x="42" y="263"/>
                </a:lnTo>
                <a:lnTo>
                  <a:pt x="44" y="265"/>
                </a:lnTo>
                <a:lnTo>
                  <a:pt x="42" y="267"/>
                </a:lnTo>
                <a:lnTo>
                  <a:pt x="40" y="269"/>
                </a:lnTo>
                <a:lnTo>
                  <a:pt x="40" y="272"/>
                </a:lnTo>
                <a:lnTo>
                  <a:pt x="40" y="272"/>
                </a:lnTo>
                <a:lnTo>
                  <a:pt x="40" y="274"/>
                </a:lnTo>
                <a:lnTo>
                  <a:pt x="44" y="278"/>
                </a:lnTo>
                <a:lnTo>
                  <a:pt x="53" y="282"/>
                </a:lnTo>
                <a:lnTo>
                  <a:pt x="71" y="289"/>
                </a:lnTo>
                <a:lnTo>
                  <a:pt x="71" y="289"/>
                </a:lnTo>
                <a:lnTo>
                  <a:pt x="73" y="291"/>
                </a:lnTo>
                <a:lnTo>
                  <a:pt x="73" y="293"/>
                </a:lnTo>
                <a:lnTo>
                  <a:pt x="73" y="293"/>
                </a:lnTo>
                <a:lnTo>
                  <a:pt x="60" y="291"/>
                </a:lnTo>
                <a:lnTo>
                  <a:pt x="51" y="287"/>
                </a:lnTo>
                <a:lnTo>
                  <a:pt x="38" y="282"/>
                </a:lnTo>
                <a:lnTo>
                  <a:pt x="38" y="282"/>
                </a:lnTo>
                <a:lnTo>
                  <a:pt x="29" y="280"/>
                </a:lnTo>
                <a:lnTo>
                  <a:pt x="24" y="280"/>
                </a:lnTo>
                <a:lnTo>
                  <a:pt x="22" y="283"/>
                </a:lnTo>
                <a:lnTo>
                  <a:pt x="20" y="287"/>
                </a:lnTo>
                <a:lnTo>
                  <a:pt x="20" y="287"/>
                </a:lnTo>
                <a:lnTo>
                  <a:pt x="18" y="289"/>
                </a:lnTo>
                <a:lnTo>
                  <a:pt x="16" y="289"/>
                </a:lnTo>
                <a:lnTo>
                  <a:pt x="11" y="293"/>
                </a:lnTo>
                <a:lnTo>
                  <a:pt x="7" y="294"/>
                </a:lnTo>
                <a:lnTo>
                  <a:pt x="4" y="300"/>
                </a:lnTo>
                <a:lnTo>
                  <a:pt x="2" y="305"/>
                </a:lnTo>
                <a:lnTo>
                  <a:pt x="0" y="314"/>
                </a:lnTo>
                <a:lnTo>
                  <a:pt x="0" y="314"/>
                </a:lnTo>
                <a:lnTo>
                  <a:pt x="4" y="313"/>
                </a:lnTo>
                <a:lnTo>
                  <a:pt x="9" y="307"/>
                </a:lnTo>
                <a:lnTo>
                  <a:pt x="15" y="303"/>
                </a:lnTo>
                <a:lnTo>
                  <a:pt x="18" y="302"/>
                </a:lnTo>
                <a:lnTo>
                  <a:pt x="18" y="303"/>
                </a:lnTo>
                <a:lnTo>
                  <a:pt x="18" y="303"/>
                </a:lnTo>
                <a:lnTo>
                  <a:pt x="22" y="311"/>
                </a:lnTo>
                <a:lnTo>
                  <a:pt x="27" y="314"/>
                </a:lnTo>
                <a:lnTo>
                  <a:pt x="35" y="314"/>
                </a:lnTo>
                <a:lnTo>
                  <a:pt x="42" y="314"/>
                </a:lnTo>
                <a:lnTo>
                  <a:pt x="58" y="313"/>
                </a:lnTo>
                <a:lnTo>
                  <a:pt x="66" y="313"/>
                </a:lnTo>
                <a:lnTo>
                  <a:pt x="69" y="313"/>
                </a:lnTo>
                <a:lnTo>
                  <a:pt x="69" y="313"/>
                </a:lnTo>
                <a:lnTo>
                  <a:pt x="69" y="314"/>
                </a:lnTo>
                <a:lnTo>
                  <a:pt x="69" y="314"/>
                </a:lnTo>
                <a:lnTo>
                  <a:pt x="66" y="316"/>
                </a:lnTo>
                <a:lnTo>
                  <a:pt x="53" y="318"/>
                </a:lnTo>
                <a:lnTo>
                  <a:pt x="46" y="320"/>
                </a:lnTo>
                <a:lnTo>
                  <a:pt x="38" y="324"/>
                </a:lnTo>
                <a:lnTo>
                  <a:pt x="37" y="325"/>
                </a:lnTo>
                <a:lnTo>
                  <a:pt x="35" y="329"/>
                </a:lnTo>
                <a:lnTo>
                  <a:pt x="37" y="331"/>
                </a:lnTo>
                <a:lnTo>
                  <a:pt x="37" y="331"/>
                </a:lnTo>
                <a:lnTo>
                  <a:pt x="33" y="335"/>
                </a:lnTo>
                <a:lnTo>
                  <a:pt x="29" y="342"/>
                </a:lnTo>
                <a:lnTo>
                  <a:pt x="27" y="345"/>
                </a:lnTo>
                <a:lnTo>
                  <a:pt x="27" y="351"/>
                </a:lnTo>
                <a:lnTo>
                  <a:pt x="29" y="356"/>
                </a:lnTo>
                <a:lnTo>
                  <a:pt x="35" y="364"/>
                </a:lnTo>
                <a:lnTo>
                  <a:pt x="35" y="364"/>
                </a:lnTo>
                <a:lnTo>
                  <a:pt x="37" y="353"/>
                </a:lnTo>
                <a:lnTo>
                  <a:pt x="40" y="347"/>
                </a:lnTo>
                <a:lnTo>
                  <a:pt x="42" y="345"/>
                </a:lnTo>
                <a:lnTo>
                  <a:pt x="46" y="345"/>
                </a:lnTo>
                <a:lnTo>
                  <a:pt x="46" y="345"/>
                </a:lnTo>
                <a:lnTo>
                  <a:pt x="53" y="345"/>
                </a:lnTo>
                <a:lnTo>
                  <a:pt x="58" y="349"/>
                </a:lnTo>
                <a:lnTo>
                  <a:pt x="64" y="349"/>
                </a:lnTo>
                <a:lnTo>
                  <a:pt x="71" y="345"/>
                </a:lnTo>
                <a:lnTo>
                  <a:pt x="71" y="345"/>
                </a:lnTo>
                <a:lnTo>
                  <a:pt x="79" y="340"/>
                </a:lnTo>
                <a:lnTo>
                  <a:pt x="84" y="336"/>
                </a:lnTo>
                <a:lnTo>
                  <a:pt x="95" y="333"/>
                </a:lnTo>
                <a:lnTo>
                  <a:pt x="95" y="333"/>
                </a:lnTo>
                <a:lnTo>
                  <a:pt x="95" y="336"/>
                </a:lnTo>
                <a:lnTo>
                  <a:pt x="99" y="342"/>
                </a:lnTo>
                <a:lnTo>
                  <a:pt x="99" y="342"/>
                </a:lnTo>
                <a:lnTo>
                  <a:pt x="102" y="344"/>
                </a:lnTo>
                <a:lnTo>
                  <a:pt x="104" y="345"/>
                </a:lnTo>
                <a:lnTo>
                  <a:pt x="104" y="345"/>
                </a:lnTo>
                <a:lnTo>
                  <a:pt x="104" y="345"/>
                </a:lnTo>
                <a:lnTo>
                  <a:pt x="102" y="351"/>
                </a:lnTo>
                <a:lnTo>
                  <a:pt x="99" y="356"/>
                </a:lnTo>
                <a:lnTo>
                  <a:pt x="95" y="360"/>
                </a:lnTo>
                <a:lnTo>
                  <a:pt x="95" y="360"/>
                </a:lnTo>
                <a:lnTo>
                  <a:pt x="97" y="360"/>
                </a:lnTo>
                <a:lnTo>
                  <a:pt x="102" y="360"/>
                </a:lnTo>
                <a:lnTo>
                  <a:pt x="108" y="358"/>
                </a:lnTo>
                <a:lnTo>
                  <a:pt x="111" y="355"/>
                </a:lnTo>
                <a:lnTo>
                  <a:pt x="115" y="349"/>
                </a:lnTo>
                <a:lnTo>
                  <a:pt x="115" y="349"/>
                </a:lnTo>
                <a:lnTo>
                  <a:pt x="117" y="347"/>
                </a:lnTo>
                <a:lnTo>
                  <a:pt x="119" y="347"/>
                </a:lnTo>
                <a:lnTo>
                  <a:pt x="124" y="347"/>
                </a:lnTo>
                <a:lnTo>
                  <a:pt x="124" y="347"/>
                </a:lnTo>
                <a:lnTo>
                  <a:pt x="128" y="345"/>
                </a:lnTo>
                <a:lnTo>
                  <a:pt x="130" y="344"/>
                </a:lnTo>
                <a:lnTo>
                  <a:pt x="130" y="338"/>
                </a:lnTo>
                <a:lnTo>
                  <a:pt x="130" y="333"/>
                </a:lnTo>
                <a:lnTo>
                  <a:pt x="130" y="329"/>
                </a:lnTo>
                <a:lnTo>
                  <a:pt x="132" y="327"/>
                </a:lnTo>
                <a:lnTo>
                  <a:pt x="132" y="327"/>
                </a:lnTo>
                <a:lnTo>
                  <a:pt x="139" y="322"/>
                </a:lnTo>
                <a:lnTo>
                  <a:pt x="146" y="316"/>
                </a:lnTo>
                <a:lnTo>
                  <a:pt x="163" y="309"/>
                </a:lnTo>
                <a:lnTo>
                  <a:pt x="163" y="309"/>
                </a:lnTo>
                <a:lnTo>
                  <a:pt x="161" y="316"/>
                </a:lnTo>
                <a:lnTo>
                  <a:pt x="161" y="324"/>
                </a:lnTo>
                <a:lnTo>
                  <a:pt x="164" y="333"/>
                </a:lnTo>
                <a:lnTo>
                  <a:pt x="205" y="322"/>
                </a:lnTo>
                <a:lnTo>
                  <a:pt x="205" y="322"/>
                </a:lnTo>
                <a:lnTo>
                  <a:pt x="203" y="313"/>
                </a:lnTo>
                <a:lnTo>
                  <a:pt x="205" y="305"/>
                </a:lnTo>
                <a:lnTo>
                  <a:pt x="210" y="296"/>
                </a:lnTo>
                <a:lnTo>
                  <a:pt x="216" y="287"/>
                </a:lnTo>
                <a:lnTo>
                  <a:pt x="216" y="287"/>
                </a:lnTo>
                <a:lnTo>
                  <a:pt x="216" y="291"/>
                </a:lnTo>
                <a:lnTo>
                  <a:pt x="214" y="300"/>
                </a:lnTo>
                <a:lnTo>
                  <a:pt x="214" y="311"/>
                </a:lnTo>
                <a:lnTo>
                  <a:pt x="214" y="316"/>
                </a:lnTo>
                <a:lnTo>
                  <a:pt x="216" y="318"/>
                </a:lnTo>
                <a:lnTo>
                  <a:pt x="256" y="309"/>
                </a:lnTo>
                <a:lnTo>
                  <a:pt x="256" y="309"/>
                </a:lnTo>
                <a:lnTo>
                  <a:pt x="254" y="303"/>
                </a:lnTo>
                <a:lnTo>
                  <a:pt x="254" y="296"/>
                </a:lnTo>
                <a:lnTo>
                  <a:pt x="258" y="283"/>
                </a:lnTo>
                <a:lnTo>
                  <a:pt x="258" y="283"/>
                </a:lnTo>
                <a:lnTo>
                  <a:pt x="261" y="298"/>
                </a:lnTo>
                <a:lnTo>
                  <a:pt x="269" y="311"/>
                </a:lnTo>
                <a:lnTo>
                  <a:pt x="278" y="322"/>
                </a:lnTo>
                <a:lnTo>
                  <a:pt x="283" y="325"/>
                </a:lnTo>
                <a:lnTo>
                  <a:pt x="289" y="329"/>
                </a:lnTo>
                <a:lnTo>
                  <a:pt x="289" y="329"/>
                </a:lnTo>
                <a:lnTo>
                  <a:pt x="311" y="338"/>
                </a:lnTo>
                <a:lnTo>
                  <a:pt x="334" y="345"/>
                </a:lnTo>
                <a:lnTo>
                  <a:pt x="391" y="362"/>
                </a:lnTo>
                <a:lnTo>
                  <a:pt x="391" y="362"/>
                </a:lnTo>
                <a:lnTo>
                  <a:pt x="407" y="367"/>
                </a:lnTo>
                <a:lnTo>
                  <a:pt x="420" y="373"/>
                </a:lnTo>
                <a:lnTo>
                  <a:pt x="420" y="373"/>
                </a:lnTo>
                <a:lnTo>
                  <a:pt x="424" y="375"/>
                </a:lnTo>
                <a:lnTo>
                  <a:pt x="424" y="377"/>
                </a:lnTo>
                <a:lnTo>
                  <a:pt x="422" y="382"/>
                </a:lnTo>
                <a:lnTo>
                  <a:pt x="417" y="386"/>
                </a:lnTo>
                <a:lnTo>
                  <a:pt x="417" y="386"/>
                </a:lnTo>
                <a:lnTo>
                  <a:pt x="424" y="391"/>
                </a:lnTo>
                <a:lnTo>
                  <a:pt x="438" y="400"/>
                </a:lnTo>
                <a:lnTo>
                  <a:pt x="438" y="400"/>
                </a:lnTo>
                <a:lnTo>
                  <a:pt x="448" y="409"/>
                </a:lnTo>
                <a:lnTo>
                  <a:pt x="453" y="420"/>
                </a:lnTo>
                <a:lnTo>
                  <a:pt x="459" y="435"/>
                </a:lnTo>
                <a:lnTo>
                  <a:pt x="462" y="450"/>
                </a:lnTo>
                <a:lnTo>
                  <a:pt x="462" y="450"/>
                </a:lnTo>
                <a:lnTo>
                  <a:pt x="466" y="462"/>
                </a:lnTo>
                <a:lnTo>
                  <a:pt x="466" y="475"/>
                </a:lnTo>
                <a:lnTo>
                  <a:pt x="466" y="486"/>
                </a:lnTo>
                <a:lnTo>
                  <a:pt x="466" y="492"/>
                </a:lnTo>
                <a:lnTo>
                  <a:pt x="464" y="493"/>
                </a:lnTo>
                <a:lnTo>
                  <a:pt x="464" y="493"/>
                </a:lnTo>
                <a:lnTo>
                  <a:pt x="460" y="497"/>
                </a:lnTo>
                <a:lnTo>
                  <a:pt x="457" y="499"/>
                </a:lnTo>
                <a:lnTo>
                  <a:pt x="451" y="501"/>
                </a:lnTo>
                <a:lnTo>
                  <a:pt x="440" y="504"/>
                </a:lnTo>
                <a:lnTo>
                  <a:pt x="444" y="519"/>
                </a:lnTo>
                <a:lnTo>
                  <a:pt x="444" y="519"/>
                </a:lnTo>
                <a:lnTo>
                  <a:pt x="451" y="519"/>
                </a:lnTo>
                <a:lnTo>
                  <a:pt x="459" y="517"/>
                </a:lnTo>
                <a:lnTo>
                  <a:pt x="466" y="515"/>
                </a:lnTo>
                <a:lnTo>
                  <a:pt x="466" y="515"/>
                </a:lnTo>
                <a:lnTo>
                  <a:pt x="464" y="517"/>
                </a:lnTo>
                <a:lnTo>
                  <a:pt x="464" y="517"/>
                </a:lnTo>
                <a:lnTo>
                  <a:pt x="459" y="526"/>
                </a:lnTo>
                <a:lnTo>
                  <a:pt x="457" y="534"/>
                </a:lnTo>
                <a:lnTo>
                  <a:pt x="473" y="545"/>
                </a:lnTo>
                <a:lnTo>
                  <a:pt x="473" y="545"/>
                </a:lnTo>
                <a:lnTo>
                  <a:pt x="481" y="526"/>
                </a:lnTo>
                <a:lnTo>
                  <a:pt x="484" y="521"/>
                </a:lnTo>
                <a:lnTo>
                  <a:pt x="488" y="517"/>
                </a:lnTo>
                <a:lnTo>
                  <a:pt x="488" y="517"/>
                </a:lnTo>
                <a:lnTo>
                  <a:pt x="491" y="517"/>
                </a:lnTo>
                <a:lnTo>
                  <a:pt x="497" y="519"/>
                </a:lnTo>
                <a:lnTo>
                  <a:pt x="504" y="523"/>
                </a:lnTo>
                <a:lnTo>
                  <a:pt x="512" y="526"/>
                </a:lnTo>
                <a:lnTo>
                  <a:pt x="521" y="534"/>
                </a:lnTo>
                <a:lnTo>
                  <a:pt x="528" y="543"/>
                </a:lnTo>
                <a:lnTo>
                  <a:pt x="535" y="552"/>
                </a:lnTo>
                <a:lnTo>
                  <a:pt x="541" y="563"/>
                </a:lnTo>
                <a:lnTo>
                  <a:pt x="541" y="563"/>
                </a:lnTo>
                <a:lnTo>
                  <a:pt x="543" y="572"/>
                </a:lnTo>
                <a:lnTo>
                  <a:pt x="544" y="581"/>
                </a:lnTo>
                <a:lnTo>
                  <a:pt x="544" y="590"/>
                </a:lnTo>
                <a:lnTo>
                  <a:pt x="543" y="601"/>
                </a:lnTo>
                <a:lnTo>
                  <a:pt x="541" y="610"/>
                </a:lnTo>
                <a:lnTo>
                  <a:pt x="537" y="618"/>
                </a:lnTo>
                <a:lnTo>
                  <a:pt x="532" y="623"/>
                </a:lnTo>
                <a:lnTo>
                  <a:pt x="526" y="627"/>
                </a:lnTo>
                <a:lnTo>
                  <a:pt x="526" y="627"/>
                </a:lnTo>
                <a:lnTo>
                  <a:pt x="521" y="627"/>
                </a:lnTo>
                <a:lnTo>
                  <a:pt x="517" y="625"/>
                </a:lnTo>
                <a:lnTo>
                  <a:pt x="504" y="620"/>
                </a:lnTo>
                <a:lnTo>
                  <a:pt x="493" y="614"/>
                </a:lnTo>
                <a:lnTo>
                  <a:pt x="490" y="614"/>
                </a:lnTo>
                <a:lnTo>
                  <a:pt x="486" y="618"/>
                </a:lnTo>
                <a:lnTo>
                  <a:pt x="486" y="618"/>
                </a:lnTo>
                <a:lnTo>
                  <a:pt x="484" y="620"/>
                </a:lnTo>
                <a:lnTo>
                  <a:pt x="479" y="623"/>
                </a:lnTo>
                <a:lnTo>
                  <a:pt x="470" y="629"/>
                </a:lnTo>
                <a:lnTo>
                  <a:pt x="466" y="632"/>
                </a:lnTo>
                <a:lnTo>
                  <a:pt x="462" y="638"/>
                </a:lnTo>
                <a:lnTo>
                  <a:pt x="462" y="645"/>
                </a:lnTo>
                <a:lnTo>
                  <a:pt x="464" y="654"/>
                </a:lnTo>
                <a:lnTo>
                  <a:pt x="464" y="654"/>
                </a:lnTo>
                <a:lnTo>
                  <a:pt x="473" y="645"/>
                </a:lnTo>
                <a:lnTo>
                  <a:pt x="477" y="641"/>
                </a:lnTo>
                <a:lnTo>
                  <a:pt x="481" y="641"/>
                </a:lnTo>
                <a:lnTo>
                  <a:pt x="481" y="641"/>
                </a:lnTo>
                <a:lnTo>
                  <a:pt x="482" y="643"/>
                </a:lnTo>
                <a:lnTo>
                  <a:pt x="482" y="645"/>
                </a:lnTo>
                <a:lnTo>
                  <a:pt x="486" y="649"/>
                </a:lnTo>
                <a:lnTo>
                  <a:pt x="486" y="649"/>
                </a:lnTo>
                <a:lnTo>
                  <a:pt x="488" y="651"/>
                </a:lnTo>
                <a:lnTo>
                  <a:pt x="491" y="651"/>
                </a:lnTo>
                <a:lnTo>
                  <a:pt x="502" y="651"/>
                </a:lnTo>
                <a:lnTo>
                  <a:pt x="512" y="649"/>
                </a:lnTo>
                <a:lnTo>
                  <a:pt x="515" y="649"/>
                </a:lnTo>
                <a:lnTo>
                  <a:pt x="517" y="651"/>
                </a:lnTo>
                <a:lnTo>
                  <a:pt x="517" y="651"/>
                </a:lnTo>
                <a:lnTo>
                  <a:pt x="517" y="652"/>
                </a:lnTo>
                <a:lnTo>
                  <a:pt x="515" y="652"/>
                </a:lnTo>
                <a:lnTo>
                  <a:pt x="510" y="652"/>
                </a:lnTo>
                <a:lnTo>
                  <a:pt x="510" y="652"/>
                </a:lnTo>
                <a:lnTo>
                  <a:pt x="491" y="656"/>
                </a:lnTo>
                <a:lnTo>
                  <a:pt x="484" y="660"/>
                </a:lnTo>
                <a:lnTo>
                  <a:pt x="479" y="663"/>
                </a:lnTo>
                <a:lnTo>
                  <a:pt x="479" y="663"/>
                </a:lnTo>
                <a:lnTo>
                  <a:pt x="479" y="665"/>
                </a:lnTo>
                <a:lnTo>
                  <a:pt x="479" y="669"/>
                </a:lnTo>
                <a:lnTo>
                  <a:pt x="479" y="669"/>
                </a:lnTo>
                <a:lnTo>
                  <a:pt x="475" y="674"/>
                </a:lnTo>
                <a:lnTo>
                  <a:pt x="470" y="678"/>
                </a:lnTo>
                <a:lnTo>
                  <a:pt x="466" y="683"/>
                </a:lnTo>
                <a:lnTo>
                  <a:pt x="464" y="689"/>
                </a:lnTo>
                <a:lnTo>
                  <a:pt x="464" y="694"/>
                </a:lnTo>
                <a:lnTo>
                  <a:pt x="464" y="694"/>
                </a:lnTo>
                <a:lnTo>
                  <a:pt x="466" y="702"/>
                </a:lnTo>
                <a:lnTo>
                  <a:pt x="470" y="705"/>
                </a:lnTo>
                <a:lnTo>
                  <a:pt x="475" y="711"/>
                </a:lnTo>
                <a:lnTo>
                  <a:pt x="475" y="711"/>
                </a:lnTo>
                <a:lnTo>
                  <a:pt x="475" y="707"/>
                </a:lnTo>
                <a:lnTo>
                  <a:pt x="477" y="702"/>
                </a:lnTo>
                <a:lnTo>
                  <a:pt x="479" y="694"/>
                </a:lnTo>
                <a:lnTo>
                  <a:pt x="479" y="691"/>
                </a:lnTo>
                <a:lnTo>
                  <a:pt x="482" y="691"/>
                </a:lnTo>
                <a:lnTo>
                  <a:pt x="482" y="691"/>
                </a:lnTo>
                <a:lnTo>
                  <a:pt x="484" y="691"/>
                </a:lnTo>
                <a:lnTo>
                  <a:pt x="488" y="693"/>
                </a:lnTo>
                <a:lnTo>
                  <a:pt x="490" y="696"/>
                </a:lnTo>
                <a:lnTo>
                  <a:pt x="493" y="696"/>
                </a:lnTo>
                <a:lnTo>
                  <a:pt x="493" y="696"/>
                </a:lnTo>
                <a:lnTo>
                  <a:pt x="497" y="696"/>
                </a:lnTo>
                <a:lnTo>
                  <a:pt x="502" y="693"/>
                </a:lnTo>
                <a:lnTo>
                  <a:pt x="513" y="682"/>
                </a:lnTo>
                <a:lnTo>
                  <a:pt x="524" y="672"/>
                </a:lnTo>
                <a:lnTo>
                  <a:pt x="528" y="669"/>
                </a:lnTo>
                <a:lnTo>
                  <a:pt x="532" y="669"/>
                </a:lnTo>
                <a:lnTo>
                  <a:pt x="532" y="669"/>
                </a:lnTo>
                <a:lnTo>
                  <a:pt x="533" y="671"/>
                </a:lnTo>
                <a:lnTo>
                  <a:pt x="532" y="672"/>
                </a:lnTo>
                <a:lnTo>
                  <a:pt x="524" y="678"/>
                </a:lnTo>
                <a:lnTo>
                  <a:pt x="517" y="685"/>
                </a:lnTo>
                <a:lnTo>
                  <a:pt x="513" y="689"/>
                </a:lnTo>
                <a:lnTo>
                  <a:pt x="512" y="694"/>
                </a:lnTo>
                <a:lnTo>
                  <a:pt x="512" y="694"/>
                </a:lnTo>
                <a:lnTo>
                  <a:pt x="513" y="700"/>
                </a:lnTo>
                <a:lnTo>
                  <a:pt x="515" y="704"/>
                </a:lnTo>
                <a:lnTo>
                  <a:pt x="519" y="707"/>
                </a:lnTo>
                <a:lnTo>
                  <a:pt x="521" y="711"/>
                </a:lnTo>
                <a:lnTo>
                  <a:pt x="521" y="711"/>
                </a:lnTo>
                <a:lnTo>
                  <a:pt x="523" y="715"/>
                </a:lnTo>
                <a:lnTo>
                  <a:pt x="526" y="720"/>
                </a:lnTo>
                <a:lnTo>
                  <a:pt x="530" y="724"/>
                </a:lnTo>
                <a:lnTo>
                  <a:pt x="535" y="725"/>
                </a:lnTo>
                <a:lnTo>
                  <a:pt x="546" y="729"/>
                </a:lnTo>
                <a:lnTo>
                  <a:pt x="552" y="729"/>
                </a:lnTo>
                <a:lnTo>
                  <a:pt x="552" y="729"/>
                </a:lnTo>
                <a:lnTo>
                  <a:pt x="550" y="725"/>
                </a:lnTo>
                <a:lnTo>
                  <a:pt x="544" y="720"/>
                </a:lnTo>
                <a:lnTo>
                  <a:pt x="539" y="713"/>
                </a:lnTo>
                <a:lnTo>
                  <a:pt x="539" y="711"/>
                </a:lnTo>
                <a:lnTo>
                  <a:pt x="539" y="707"/>
                </a:lnTo>
                <a:lnTo>
                  <a:pt x="539" y="707"/>
                </a:lnTo>
                <a:lnTo>
                  <a:pt x="541" y="705"/>
                </a:lnTo>
                <a:lnTo>
                  <a:pt x="544" y="707"/>
                </a:lnTo>
                <a:lnTo>
                  <a:pt x="548" y="707"/>
                </a:lnTo>
                <a:lnTo>
                  <a:pt x="552" y="705"/>
                </a:lnTo>
                <a:lnTo>
                  <a:pt x="552" y="705"/>
                </a:lnTo>
                <a:lnTo>
                  <a:pt x="552" y="702"/>
                </a:lnTo>
                <a:lnTo>
                  <a:pt x="552" y="691"/>
                </a:lnTo>
                <a:lnTo>
                  <a:pt x="552" y="685"/>
                </a:lnTo>
                <a:lnTo>
                  <a:pt x="554" y="678"/>
                </a:lnTo>
                <a:lnTo>
                  <a:pt x="559" y="671"/>
                </a:lnTo>
                <a:lnTo>
                  <a:pt x="566" y="662"/>
                </a:lnTo>
                <a:lnTo>
                  <a:pt x="566" y="662"/>
                </a:lnTo>
                <a:lnTo>
                  <a:pt x="570" y="667"/>
                </a:lnTo>
                <a:lnTo>
                  <a:pt x="574" y="669"/>
                </a:lnTo>
                <a:lnTo>
                  <a:pt x="581" y="671"/>
                </a:lnTo>
                <a:lnTo>
                  <a:pt x="581" y="671"/>
                </a:lnTo>
                <a:lnTo>
                  <a:pt x="583" y="672"/>
                </a:lnTo>
                <a:lnTo>
                  <a:pt x="585" y="674"/>
                </a:lnTo>
                <a:lnTo>
                  <a:pt x="585" y="682"/>
                </a:lnTo>
                <a:lnTo>
                  <a:pt x="585" y="691"/>
                </a:lnTo>
                <a:lnTo>
                  <a:pt x="585" y="691"/>
                </a:lnTo>
                <a:lnTo>
                  <a:pt x="586" y="689"/>
                </a:lnTo>
                <a:lnTo>
                  <a:pt x="590" y="683"/>
                </a:lnTo>
                <a:lnTo>
                  <a:pt x="594" y="674"/>
                </a:lnTo>
                <a:lnTo>
                  <a:pt x="594" y="663"/>
                </a:lnTo>
                <a:lnTo>
                  <a:pt x="594" y="663"/>
                </a:lnTo>
                <a:lnTo>
                  <a:pt x="597" y="662"/>
                </a:lnTo>
                <a:lnTo>
                  <a:pt x="601" y="654"/>
                </a:lnTo>
                <a:lnTo>
                  <a:pt x="601" y="654"/>
                </a:lnTo>
                <a:lnTo>
                  <a:pt x="603" y="651"/>
                </a:lnTo>
                <a:lnTo>
                  <a:pt x="601" y="649"/>
                </a:lnTo>
                <a:lnTo>
                  <a:pt x="596" y="643"/>
                </a:lnTo>
                <a:lnTo>
                  <a:pt x="594" y="640"/>
                </a:lnTo>
                <a:lnTo>
                  <a:pt x="592" y="634"/>
                </a:lnTo>
                <a:lnTo>
                  <a:pt x="590" y="625"/>
                </a:lnTo>
                <a:lnTo>
                  <a:pt x="590" y="614"/>
                </a:lnTo>
                <a:lnTo>
                  <a:pt x="590" y="614"/>
                </a:lnTo>
                <a:lnTo>
                  <a:pt x="590" y="610"/>
                </a:lnTo>
                <a:lnTo>
                  <a:pt x="588" y="609"/>
                </a:lnTo>
                <a:lnTo>
                  <a:pt x="583" y="605"/>
                </a:lnTo>
                <a:lnTo>
                  <a:pt x="583" y="605"/>
                </a:lnTo>
                <a:lnTo>
                  <a:pt x="579" y="599"/>
                </a:lnTo>
                <a:lnTo>
                  <a:pt x="579" y="598"/>
                </a:lnTo>
                <a:lnTo>
                  <a:pt x="581" y="598"/>
                </a:lnTo>
                <a:lnTo>
                  <a:pt x="581" y="598"/>
                </a:lnTo>
                <a:lnTo>
                  <a:pt x="588" y="599"/>
                </a:lnTo>
                <a:lnTo>
                  <a:pt x="596" y="599"/>
                </a:lnTo>
                <a:lnTo>
                  <a:pt x="603" y="598"/>
                </a:lnTo>
                <a:lnTo>
                  <a:pt x="603" y="598"/>
                </a:lnTo>
                <a:lnTo>
                  <a:pt x="603" y="576"/>
                </a:lnTo>
                <a:lnTo>
                  <a:pt x="605" y="565"/>
                </a:lnTo>
                <a:lnTo>
                  <a:pt x="603" y="559"/>
                </a:lnTo>
                <a:lnTo>
                  <a:pt x="603" y="559"/>
                </a:lnTo>
                <a:lnTo>
                  <a:pt x="596" y="559"/>
                </a:lnTo>
                <a:lnTo>
                  <a:pt x="588" y="557"/>
                </a:lnTo>
                <a:lnTo>
                  <a:pt x="585" y="556"/>
                </a:lnTo>
                <a:lnTo>
                  <a:pt x="581" y="552"/>
                </a:lnTo>
                <a:lnTo>
                  <a:pt x="581" y="552"/>
                </a:lnTo>
                <a:lnTo>
                  <a:pt x="586" y="552"/>
                </a:lnTo>
                <a:lnTo>
                  <a:pt x="594" y="552"/>
                </a:lnTo>
                <a:lnTo>
                  <a:pt x="599" y="552"/>
                </a:lnTo>
                <a:lnTo>
                  <a:pt x="603" y="548"/>
                </a:lnTo>
                <a:lnTo>
                  <a:pt x="603" y="548"/>
                </a:lnTo>
                <a:lnTo>
                  <a:pt x="603" y="530"/>
                </a:lnTo>
                <a:lnTo>
                  <a:pt x="601" y="517"/>
                </a:lnTo>
                <a:lnTo>
                  <a:pt x="601" y="514"/>
                </a:lnTo>
                <a:lnTo>
                  <a:pt x="599" y="512"/>
                </a:lnTo>
                <a:lnTo>
                  <a:pt x="599" y="512"/>
                </a:lnTo>
                <a:lnTo>
                  <a:pt x="592" y="514"/>
                </a:lnTo>
                <a:lnTo>
                  <a:pt x="586" y="514"/>
                </a:lnTo>
                <a:lnTo>
                  <a:pt x="581" y="512"/>
                </a:lnTo>
                <a:lnTo>
                  <a:pt x="576" y="510"/>
                </a:lnTo>
                <a:lnTo>
                  <a:pt x="576" y="510"/>
                </a:lnTo>
                <a:lnTo>
                  <a:pt x="574" y="508"/>
                </a:lnTo>
                <a:lnTo>
                  <a:pt x="572" y="504"/>
                </a:lnTo>
                <a:lnTo>
                  <a:pt x="572" y="499"/>
                </a:lnTo>
                <a:lnTo>
                  <a:pt x="570" y="495"/>
                </a:lnTo>
                <a:lnTo>
                  <a:pt x="570" y="493"/>
                </a:lnTo>
                <a:lnTo>
                  <a:pt x="568" y="492"/>
                </a:lnTo>
                <a:lnTo>
                  <a:pt x="568" y="492"/>
                </a:lnTo>
                <a:lnTo>
                  <a:pt x="557" y="488"/>
                </a:lnTo>
                <a:lnTo>
                  <a:pt x="546" y="482"/>
                </a:lnTo>
                <a:lnTo>
                  <a:pt x="541" y="477"/>
                </a:lnTo>
                <a:lnTo>
                  <a:pt x="535" y="473"/>
                </a:lnTo>
                <a:lnTo>
                  <a:pt x="535" y="473"/>
                </a:lnTo>
                <a:lnTo>
                  <a:pt x="532" y="468"/>
                </a:lnTo>
                <a:lnTo>
                  <a:pt x="532" y="462"/>
                </a:lnTo>
                <a:lnTo>
                  <a:pt x="532" y="459"/>
                </a:lnTo>
                <a:lnTo>
                  <a:pt x="532" y="459"/>
                </a:lnTo>
                <a:lnTo>
                  <a:pt x="541" y="462"/>
                </a:lnTo>
                <a:lnTo>
                  <a:pt x="544" y="462"/>
                </a:lnTo>
                <a:lnTo>
                  <a:pt x="550" y="461"/>
                </a:lnTo>
                <a:lnTo>
                  <a:pt x="552" y="431"/>
                </a:lnTo>
                <a:lnTo>
                  <a:pt x="552" y="431"/>
                </a:lnTo>
                <a:lnTo>
                  <a:pt x="548" y="431"/>
                </a:lnTo>
                <a:lnTo>
                  <a:pt x="541" y="430"/>
                </a:lnTo>
                <a:lnTo>
                  <a:pt x="541" y="430"/>
                </a:lnTo>
                <a:lnTo>
                  <a:pt x="537" y="426"/>
                </a:lnTo>
                <a:lnTo>
                  <a:pt x="533" y="422"/>
                </a:lnTo>
                <a:lnTo>
                  <a:pt x="532" y="419"/>
                </a:lnTo>
                <a:lnTo>
                  <a:pt x="532" y="419"/>
                </a:lnTo>
                <a:lnTo>
                  <a:pt x="535" y="420"/>
                </a:lnTo>
                <a:lnTo>
                  <a:pt x="543" y="422"/>
                </a:lnTo>
                <a:lnTo>
                  <a:pt x="543" y="422"/>
                </a:lnTo>
                <a:lnTo>
                  <a:pt x="550" y="422"/>
                </a:lnTo>
                <a:lnTo>
                  <a:pt x="554" y="420"/>
                </a:lnTo>
                <a:lnTo>
                  <a:pt x="557" y="387"/>
                </a:lnTo>
                <a:lnTo>
                  <a:pt x="557" y="387"/>
                </a:lnTo>
                <a:lnTo>
                  <a:pt x="552" y="387"/>
                </a:lnTo>
                <a:lnTo>
                  <a:pt x="546" y="386"/>
                </a:lnTo>
                <a:lnTo>
                  <a:pt x="541" y="384"/>
                </a:lnTo>
                <a:lnTo>
                  <a:pt x="539" y="378"/>
                </a:lnTo>
                <a:lnTo>
                  <a:pt x="539" y="377"/>
                </a:lnTo>
                <a:lnTo>
                  <a:pt x="539" y="377"/>
                </a:lnTo>
                <a:lnTo>
                  <a:pt x="552" y="373"/>
                </a:lnTo>
                <a:lnTo>
                  <a:pt x="563" y="367"/>
                </a:lnTo>
                <a:lnTo>
                  <a:pt x="572" y="360"/>
                </a:lnTo>
                <a:lnTo>
                  <a:pt x="579" y="353"/>
                </a:lnTo>
                <a:lnTo>
                  <a:pt x="586" y="344"/>
                </a:lnTo>
                <a:lnTo>
                  <a:pt x="592" y="333"/>
                </a:lnTo>
                <a:lnTo>
                  <a:pt x="597" y="324"/>
                </a:lnTo>
                <a:lnTo>
                  <a:pt x="599" y="313"/>
                </a:lnTo>
                <a:lnTo>
                  <a:pt x="599" y="313"/>
                </a:lnTo>
                <a:lnTo>
                  <a:pt x="608" y="316"/>
                </a:lnTo>
                <a:lnTo>
                  <a:pt x="614" y="316"/>
                </a:lnTo>
                <a:lnTo>
                  <a:pt x="618" y="316"/>
                </a:lnTo>
                <a:lnTo>
                  <a:pt x="618" y="316"/>
                </a:lnTo>
                <a:lnTo>
                  <a:pt x="619" y="303"/>
                </a:lnTo>
                <a:lnTo>
                  <a:pt x="619" y="289"/>
                </a:lnTo>
                <a:lnTo>
                  <a:pt x="619" y="289"/>
                </a:lnTo>
                <a:lnTo>
                  <a:pt x="610" y="287"/>
                </a:lnTo>
                <a:lnTo>
                  <a:pt x="607" y="285"/>
                </a:lnTo>
                <a:lnTo>
                  <a:pt x="603" y="28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pic>
        <p:nvPicPr>
          <p:cNvPr id="53" name="Picture 3">
            <a:extLst>
              <a:ext uri="{FF2B5EF4-FFF2-40B4-BE49-F238E27FC236}">
                <a16:creationId xmlns:a16="http://schemas.microsoft.com/office/drawing/2014/main" id="{F1689B57-8BAA-BF42-B648-10782572357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804249" y="4443959"/>
            <a:ext cx="2088034" cy="397877"/>
          </a:xfrm>
          <a:prstGeom prst="rect">
            <a:avLst/>
          </a:prstGeom>
        </p:spPr>
      </p:pic>
      <p:pic>
        <p:nvPicPr>
          <p:cNvPr id="55" name="Picture 5">
            <a:extLst>
              <a:ext uri="{FF2B5EF4-FFF2-40B4-BE49-F238E27FC236}">
                <a16:creationId xmlns:a16="http://schemas.microsoft.com/office/drawing/2014/main" id="{4F591584-9FCE-5A4F-A985-77C337C3AB8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04449" y="235341"/>
            <a:ext cx="305495" cy="419486"/>
          </a:xfrm>
          <a:prstGeom prst="rect">
            <a:avLst/>
          </a:prstGeom>
        </p:spPr>
      </p:pic>
    </p:spTree>
    <p:extLst>
      <p:ext uri="{BB962C8B-B14F-4D97-AF65-F5344CB8AC3E}">
        <p14:creationId xmlns:p14="http://schemas.microsoft.com/office/powerpoint/2010/main" val="7412605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Otsikko ja sisältö tyhjä">
    <p:spTree>
      <p:nvGrpSpPr>
        <p:cNvPr id="1" name=""/>
        <p:cNvGrpSpPr/>
        <p:nvPr/>
      </p:nvGrpSpPr>
      <p:grpSpPr>
        <a:xfrm>
          <a:off x="0" y="0"/>
          <a:ext cx="0" cy="0"/>
          <a:chOff x="0" y="0"/>
          <a:chExt cx="0" cy="0"/>
        </a:xfrm>
      </p:grpSpPr>
      <p:sp>
        <p:nvSpPr>
          <p:cNvPr id="8" name="Otsikko 7"/>
          <p:cNvSpPr>
            <a:spLocks noGrp="1"/>
          </p:cNvSpPr>
          <p:nvPr>
            <p:ph type="title"/>
          </p:nvPr>
        </p:nvSpPr>
        <p:spPr>
          <a:xfrm>
            <a:off x="432785" y="235340"/>
            <a:ext cx="8224354" cy="974270"/>
          </a:xfrm>
        </p:spPr>
        <p:txBody>
          <a:bodyPr/>
          <a:lstStyle>
            <a:lvl1pPr>
              <a:defRPr>
                <a:solidFill>
                  <a:srgbClr val="595965"/>
                </a:solidFill>
              </a:defRPr>
            </a:lvl1pPr>
          </a:lstStyle>
          <a:p>
            <a:r>
              <a:rPr lang="en-US" dirty="0"/>
              <a:t>Click to edit Master title style</a:t>
            </a:r>
            <a:endParaRPr lang="fi-FI" dirty="0"/>
          </a:p>
        </p:txBody>
      </p:sp>
      <p:sp>
        <p:nvSpPr>
          <p:cNvPr id="4" name="Sisällön paikkamerkki 2"/>
          <p:cNvSpPr>
            <a:spLocks noGrp="1"/>
          </p:cNvSpPr>
          <p:nvPr>
            <p:ph idx="1"/>
          </p:nvPr>
        </p:nvSpPr>
        <p:spPr>
          <a:xfrm>
            <a:off x="432785" y="1317625"/>
            <a:ext cx="7523591" cy="3486373"/>
          </a:xfrm>
        </p:spPr>
        <p:txBody>
          <a:bodyPr/>
          <a:lstStyle>
            <a:lvl1pPr>
              <a:defRPr>
                <a:solidFill>
                  <a:srgbClr val="595965"/>
                </a:solidFill>
              </a:defRPr>
            </a:lvl1pPr>
            <a:lvl2pPr>
              <a:defRPr>
                <a:solidFill>
                  <a:srgbClr val="595965"/>
                </a:solidFill>
              </a:defRPr>
            </a:lvl2pPr>
            <a:lvl3pPr>
              <a:defRPr>
                <a:solidFill>
                  <a:srgbClr val="595965"/>
                </a:solidFill>
              </a:defRPr>
            </a:lvl3pPr>
            <a:lvl4pPr>
              <a:defRPr>
                <a:solidFill>
                  <a:srgbClr val="595965"/>
                </a:solidFill>
              </a:defRPr>
            </a:lvl4pPr>
            <a:lvl5pPr>
              <a:defRPr>
                <a:solidFill>
                  <a:srgbClr val="595965"/>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Tree>
    <p:extLst>
      <p:ext uri="{BB962C8B-B14F-4D97-AF65-F5344CB8AC3E}">
        <p14:creationId xmlns:p14="http://schemas.microsoft.com/office/powerpoint/2010/main" val="412051828"/>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4_Väliotsikko">
    <p:spTree>
      <p:nvGrpSpPr>
        <p:cNvPr id="1" name=""/>
        <p:cNvGrpSpPr/>
        <p:nvPr/>
      </p:nvGrpSpPr>
      <p:grpSpPr>
        <a:xfrm>
          <a:off x="0" y="0"/>
          <a:ext cx="0" cy="0"/>
          <a:chOff x="0" y="0"/>
          <a:chExt cx="0" cy="0"/>
        </a:xfrm>
      </p:grpSpPr>
      <p:sp>
        <p:nvSpPr>
          <p:cNvPr id="58" name="Rectangle 57"/>
          <p:cNvSpPr/>
          <p:nvPr userDrawn="1"/>
        </p:nvSpPr>
        <p:spPr>
          <a:xfrm rot="10800000" flipV="1">
            <a:off x="4427983" y="-21804"/>
            <a:ext cx="4716017" cy="516530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a:p>
        </p:txBody>
      </p:sp>
      <p:sp>
        <p:nvSpPr>
          <p:cNvPr id="51" name="Rectangle 50"/>
          <p:cNvSpPr/>
          <p:nvPr userDrawn="1"/>
        </p:nvSpPr>
        <p:spPr>
          <a:xfrm rot="10800000" flipV="1">
            <a:off x="-10666" y="-21804"/>
            <a:ext cx="4582667" cy="5165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a:p>
        </p:txBody>
      </p:sp>
      <p:sp>
        <p:nvSpPr>
          <p:cNvPr id="54" name="Freeform 7"/>
          <p:cNvSpPr>
            <a:spLocks/>
          </p:cNvSpPr>
          <p:nvPr userDrawn="1"/>
        </p:nvSpPr>
        <p:spPr bwMode="auto">
          <a:xfrm rot="10800000" flipV="1">
            <a:off x="3392895" y="-21803"/>
            <a:ext cx="4279900" cy="5165302"/>
          </a:xfrm>
          <a:custGeom>
            <a:avLst/>
            <a:gdLst>
              <a:gd name="T0" fmla="*/ 2425 w 2696"/>
              <a:gd name="T1" fmla="*/ 3240 h 3240"/>
              <a:gd name="T2" fmla="*/ 2398 w 2696"/>
              <a:gd name="T3" fmla="*/ 3171 h 3240"/>
              <a:gd name="T4" fmla="*/ 2372 w 2696"/>
              <a:gd name="T5" fmla="*/ 3103 h 3240"/>
              <a:gd name="T6" fmla="*/ 2325 w 2696"/>
              <a:gd name="T7" fmla="*/ 2966 h 3240"/>
              <a:gd name="T8" fmla="*/ 2283 w 2696"/>
              <a:gd name="T9" fmla="*/ 2828 h 3240"/>
              <a:gd name="T10" fmla="*/ 2248 w 2696"/>
              <a:gd name="T11" fmla="*/ 2689 h 3240"/>
              <a:gd name="T12" fmla="*/ 2219 w 2696"/>
              <a:gd name="T13" fmla="*/ 2550 h 3240"/>
              <a:gd name="T14" fmla="*/ 2196 w 2696"/>
              <a:gd name="T15" fmla="*/ 2411 h 3240"/>
              <a:gd name="T16" fmla="*/ 2178 w 2696"/>
              <a:gd name="T17" fmla="*/ 2273 h 3240"/>
              <a:gd name="T18" fmla="*/ 2164 w 2696"/>
              <a:gd name="T19" fmla="*/ 2133 h 3240"/>
              <a:gd name="T20" fmla="*/ 2157 w 2696"/>
              <a:gd name="T21" fmla="*/ 1995 h 3240"/>
              <a:gd name="T22" fmla="*/ 2156 w 2696"/>
              <a:gd name="T23" fmla="*/ 1856 h 3240"/>
              <a:gd name="T24" fmla="*/ 2160 w 2696"/>
              <a:gd name="T25" fmla="*/ 1718 h 3240"/>
              <a:gd name="T26" fmla="*/ 2170 w 2696"/>
              <a:gd name="T27" fmla="*/ 1581 h 3240"/>
              <a:gd name="T28" fmla="*/ 2183 w 2696"/>
              <a:gd name="T29" fmla="*/ 1445 h 3240"/>
              <a:gd name="T30" fmla="*/ 2203 w 2696"/>
              <a:gd name="T31" fmla="*/ 1310 h 3240"/>
              <a:gd name="T32" fmla="*/ 2228 w 2696"/>
              <a:gd name="T33" fmla="*/ 1175 h 3240"/>
              <a:gd name="T34" fmla="*/ 2259 w 2696"/>
              <a:gd name="T35" fmla="*/ 1042 h 3240"/>
              <a:gd name="T36" fmla="*/ 2274 w 2696"/>
              <a:gd name="T37" fmla="*/ 977 h 3240"/>
              <a:gd name="T38" fmla="*/ 2313 w 2696"/>
              <a:gd name="T39" fmla="*/ 845 h 3240"/>
              <a:gd name="T40" fmla="*/ 2354 w 2696"/>
              <a:gd name="T41" fmla="*/ 716 h 3240"/>
              <a:gd name="T42" fmla="*/ 2400 w 2696"/>
              <a:gd name="T43" fmla="*/ 590 h 3240"/>
              <a:gd name="T44" fmla="*/ 2452 w 2696"/>
              <a:gd name="T45" fmla="*/ 466 h 3240"/>
              <a:gd name="T46" fmla="*/ 2507 w 2696"/>
              <a:gd name="T47" fmla="*/ 345 h 3240"/>
              <a:gd name="T48" fmla="*/ 2566 w 2696"/>
              <a:gd name="T49" fmla="*/ 227 h 3240"/>
              <a:gd name="T50" fmla="*/ 2630 w 2696"/>
              <a:gd name="T51" fmla="*/ 113 h 3240"/>
              <a:gd name="T52" fmla="*/ 2696 w 2696"/>
              <a:gd name="T53" fmla="*/ 0 h 3240"/>
              <a:gd name="T54" fmla="*/ 0 w 2696"/>
              <a:gd name="T55" fmla="*/ 0 h 3240"/>
              <a:gd name="T56" fmla="*/ 72 w 2696"/>
              <a:gd name="T57" fmla="*/ 207 h 3240"/>
              <a:gd name="T58" fmla="*/ 150 w 2696"/>
              <a:gd name="T59" fmla="*/ 414 h 3240"/>
              <a:gd name="T60" fmla="*/ 187 w 2696"/>
              <a:gd name="T61" fmla="*/ 510 h 3240"/>
              <a:gd name="T62" fmla="*/ 266 w 2696"/>
              <a:gd name="T63" fmla="*/ 701 h 3240"/>
              <a:gd name="T64" fmla="*/ 349 w 2696"/>
              <a:gd name="T65" fmla="*/ 890 h 3240"/>
              <a:gd name="T66" fmla="*/ 436 w 2696"/>
              <a:gd name="T67" fmla="*/ 1077 h 3240"/>
              <a:gd name="T68" fmla="*/ 527 w 2696"/>
              <a:gd name="T69" fmla="*/ 1262 h 3240"/>
              <a:gd name="T70" fmla="*/ 622 w 2696"/>
              <a:gd name="T71" fmla="*/ 1446 h 3240"/>
              <a:gd name="T72" fmla="*/ 722 w 2696"/>
              <a:gd name="T73" fmla="*/ 1627 h 3240"/>
              <a:gd name="T74" fmla="*/ 826 w 2696"/>
              <a:gd name="T75" fmla="*/ 1807 h 3240"/>
              <a:gd name="T76" fmla="*/ 934 w 2696"/>
              <a:gd name="T77" fmla="*/ 1983 h 3240"/>
              <a:gd name="T78" fmla="*/ 1046 w 2696"/>
              <a:gd name="T79" fmla="*/ 2159 h 3240"/>
              <a:gd name="T80" fmla="*/ 1162 w 2696"/>
              <a:gd name="T81" fmla="*/ 2332 h 3240"/>
              <a:gd name="T82" fmla="*/ 1282 w 2696"/>
              <a:gd name="T83" fmla="*/ 2503 h 3240"/>
              <a:gd name="T84" fmla="*/ 1406 w 2696"/>
              <a:gd name="T85" fmla="*/ 2671 h 3240"/>
              <a:gd name="T86" fmla="*/ 1535 w 2696"/>
              <a:gd name="T87" fmla="*/ 2837 h 3240"/>
              <a:gd name="T88" fmla="*/ 1667 w 2696"/>
              <a:gd name="T89" fmla="*/ 3000 h 3240"/>
              <a:gd name="T90" fmla="*/ 1804 w 2696"/>
              <a:gd name="T91" fmla="*/ 3160 h 3240"/>
              <a:gd name="T92" fmla="*/ 1874 w 2696"/>
              <a:gd name="T93" fmla="*/ 3240 h 3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96" h="3240">
                <a:moveTo>
                  <a:pt x="1874" y="3240"/>
                </a:moveTo>
                <a:lnTo>
                  <a:pt x="2425" y="3240"/>
                </a:lnTo>
                <a:lnTo>
                  <a:pt x="2425" y="3240"/>
                </a:lnTo>
                <a:lnTo>
                  <a:pt x="2398" y="3171"/>
                </a:lnTo>
                <a:lnTo>
                  <a:pt x="2398" y="3171"/>
                </a:lnTo>
                <a:lnTo>
                  <a:pt x="2372" y="3103"/>
                </a:lnTo>
                <a:lnTo>
                  <a:pt x="2347" y="3034"/>
                </a:lnTo>
                <a:lnTo>
                  <a:pt x="2325" y="2966"/>
                </a:lnTo>
                <a:lnTo>
                  <a:pt x="2304" y="2897"/>
                </a:lnTo>
                <a:lnTo>
                  <a:pt x="2283" y="2828"/>
                </a:lnTo>
                <a:lnTo>
                  <a:pt x="2265" y="2759"/>
                </a:lnTo>
                <a:lnTo>
                  <a:pt x="2248" y="2689"/>
                </a:lnTo>
                <a:lnTo>
                  <a:pt x="2233" y="2620"/>
                </a:lnTo>
                <a:lnTo>
                  <a:pt x="2219" y="2550"/>
                </a:lnTo>
                <a:lnTo>
                  <a:pt x="2207" y="2481"/>
                </a:lnTo>
                <a:lnTo>
                  <a:pt x="2196" y="2411"/>
                </a:lnTo>
                <a:lnTo>
                  <a:pt x="2185" y="2342"/>
                </a:lnTo>
                <a:lnTo>
                  <a:pt x="2178" y="2273"/>
                </a:lnTo>
                <a:lnTo>
                  <a:pt x="2170" y="2203"/>
                </a:lnTo>
                <a:lnTo>
                  <a:pt x="2164" y="2133"/>
                </a:lnTo>
                <a:lnTo>
                  <a:pt x="2161" y="2063"/>
                </a:lnTo>
                <a:lnTo>
                  <a:pt x="2157" y="1995"/>
                </a:lnTo>
                <a:lnTo>
                  <a:pt x="2156" y="1925"/>
                </a:lnTo>
                <a:lnTo>
                  <a:pt x="2156" y="1856"/>
                </a:lnTo>
                <a:lnTo>
                  <a:pt x="2157" y="1787"/>
                </a:lnTo>
                <a:lnTo>
                  <a:pt x="2160" y="1718"/>
                </a:lnTo>
                <a:lnTo>
                  <a:pt x="2164" y="1649"/>
                </a:lnTo>
                <a:lnTo>
                  <a:pt x="2170" y="1581"/>
                </a:lnTo>
                <a:lnTo>
                  <a:pt x="2175" y="1513"/>
                </a:lnTo>
                <a:lnTo>
                  <a:pt x="2183" y="1445"/>
                </a:lnTo>
                <a:lnTo>
                  <a:pt x="2193" y="1377"/>
                </a:lnTo>
                <a:lnTo>
                  <a:pt x="2203" y="1310"/>
                </a:lnTo>
                <a:lnTo>
                  <a:pt x="2215" y="1242"/>
                </a:lnTo>
                <a:lnTo>
                  <a:pt x="2228" y="1175"/>
                </a:lnTo>
                <a:lnTo>
                  <a:pt x="2243" y="1108"/>
                </a:lnTo>
                <a:lnTo>
                  <a:pt x="2259" y="1042"/>
                </a:lnTo>
                <a:lnTo>
                  <a:pt x="2274" y="977"/>
                </a:lnTo>
                <a:lnTo>
                  <a:pt x="2274" y="977"/>
                </a:lnTo>
                <a:lnTo>
                  <a:pt x="2293" y="910"/>
                </a:lnTo>
                <a:lnTo>
                  <a:pt x="2313" y="845"/>
                </a:lnTo>
                <a:lnTo>
                  <a:pt x="2333" y="780"/>
                </a:lnTo>
                <a:lnTo>
                  <a:pt x="2354" y="716"/>
                </a:lnTo>
                <a:lnTo>
                  <a:pt x="2377" y="653"/>
                </a:lnTo>
                <a:lnTo>
                  <a:pt x="2400" y="590"/>
                </a:lnTo>
                <a:lnTo>
                  <a:pt x="2426" y="528"/>
                </a:lnTo>
                <a:lnTo>
                  <a:pt x="2452" y="466"/>
                </a:lnTo>
                <a:lnTo>
                  <a:pt x="2479" y="405"/>
                </a:lnTo>
                <a:lnTo>
                  <a:pt x="2507" y="345"/>
                </a:lnTo>
                <a:lnTo>
                  <a:pt x="2536" y="286"/>
                </a:lnTo>
                <a:lnTo>
                  <a:pt x="2566" y="227"/>
                </a:lnTo>
                <a:lnTo>
                  <a:pt x="2597" y="169"/>
                </a:lnTo>
                <a:lnTo>
                  <a:pt x="2630" y="113"/>
                </a:lnTo>
                <a:lnTo>
                  <a:pt x="2662" y="55"/>
                </a:lnTo>
                <a:lnTo>
                  <a:pt x="2696" y="0"/>
                </a:lnTo>
                <a:lnTo>
                  <a:pt x="0" y="0"/>
                </a:lnTo>
                <a:lnTo>
                  <a:pt x="0" y="0"/>
                </a:lnTo>
                <a:lnTo>
                  <a:pt x="35" y="104"/>
                </a:lnTo>
                <a:lnTo>
                  <a:pt x="72" y="207"/>
                </a:lnTo>
                <a:lnTo>
                  <a:pt x="111" y="311"/>
                </a:lnTo>
                <a:lnTo>
                  <a:pt x="150" y="414"/>
                </a:lnTo>
                <a:lnTo>
                  <a:pt x="150" y="414"/>
                </a:lnTo>
                <a:lnTo>
                  <a:pt x="187" y="510"/>
                </a:lnTo>
                <a:lnTo>
                  <a:pt x="226" y="605"/>
                </a:lnTo>
                <a:lnTo>
                  <a:pt x="266" y="701"/>
                </a:lnTo>
                <a:lnTo>
                  <a:pt x="306" y="795"/>
                </a:lnTo>
                <a:lnTo>
                  <a:pt x="349" y="890"/>
                </a:lnTo>
                <a:lnTo>
                  <a:pt x="392" y="983"/>
                </a:lnTo>
                <a:lnTo>
                  <a:pt x="436" y="1077"/>
                </a:lnTo>
                <a:lnTo>
                  <a:pt x="481" y="1169"/>
                </a:lnTo>
                <a:lnTo>
                  <a:pt x="527" y="1262"/>
                </a:lnTo>
                <a:lnTo>
                  <a:pt x="574" y="1353"/>
                </a:lnTo>
                <a:lnTo>
                  <a:pt x="622" y="1446"/>
                </a:lnTo>
                <a:lnTo>
                  <a:pt x="672" y="1537"/>
                </a:lnTo>
                <a:lnTo>
                  <a:pt x="722" y="1627"/>
                </a:lnTo>
                <a:lnTo>
                  <a:pt x="773" y="1717"/>
                </a:lnTo>
                <a:lnTo>
                  <a:pt x="826" y="1807"/>
                </a:lnTo>
                <a:lnTo>
                  <a:pt x="879" y="1896"/>
                </a:lnTo>
                <a:lnTo>
                  <a:pt x="934" y="1983"/>
                </a:lnTo>
                <a:lnTo>
                  <a:pt x="989" y="2072"/>
                </a:lnTo>
                <a:lnTo>
                  <a:pt x="1046" y="2159"/>
                </a:lnTo>
                <a:lnTo>
                  <a:pt x="1104" y="2246"/>
                </a:lnTo>
                <a:lnTo>
                  <a:pt x="1162" y="2332"/>
                </a:lnTo>
                <a:lnTo>
                  <a:pt x="1222" y="2418"/>
                </a:lnTo>
                <a:lnTo>
                  <a:pt x="1282" y="2503"/>
                </a:lnTo>
                <a:lnTo>
                  <a:pt x="1344" y="2588"/>
                </a:lnTo>
                <a:lnTo>
                  <a:pt x="1406" y="2671"/>
                </a:lnTo>
                <a:lnTo>
                  <a:pt x="1470" y="2754"/>
                </a:lnTo>
                <a:lnTo>
                  <a:pt x="1535" y="2837"/>
                </a:lnTo>
                <a:lnTo>
                  <a:pt x="1601" y="2918"/>
                </a:lnTo>
                <a:lnTo>
                  <a:pt x="1667" y="3000"/>
                </a:lnTo>
                <a:lnTo>
                  <a:pt x="1736" y="3080"/>
                </a:lnTo>
                <a:lnTo>
                  <a:pt x="1804" y="3160"/>
                </a:lnTo>
                <a:lnTo>
                  <a:pt x="1874" y="3240"/>
                </a:lnTo>
                <a:lnTo>
                  <a:pt x="1874" y="3240"/>
                </a:lnTo>
                <a:close/>
              </a:path>
            </a:pathLst>
          </a:custGeom>
          <a:solidFill>
            <a:srgbClr val="EA006F"/>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10" name="Otsikko 1"/>
          <p:cNvSpPr>
            <a:spLocks noGrp="1"/>
          </p:cNvSpPr>
          <p:nvPr userDrawn="1">
            <p:ph type="ctrTitle"/>
          </p:nvPr>
        </p:nvSpPr>
        <p:spPr>
          <a:xfrm>
            <a:off x="366652" y="411510"/>
            <a:ext cx="3485269" cy="2967062"/>
          </a:xfrm>
        </p:spPr>
        <p:txBody>
          <a:bodyPr anchor="b" anchorCtr="0">
            <a:noAutofit/>
          </a:bodyPr>
          <a:lstStyle>
            <a:lvl1pPr algn="l">
              <a:defRPr sz="4000">
                <a:solidFill>
                  <a:schemeClr val="accent4"/>
                </a:solidFill>
              </a:defRPr>
            </a:lvl1pPr>
          </a:lstStyle>
          <a:p>
            <a:r>
              <a:rPr lang="en-US" dirty="0"/>
              <a:t>Click to edit Master title style</a:t>
            </a:r>
            <a:endParaRPr lang="fi-FI" dirty="0"/>
          </a:p>
        </p:txBody>
      </p:sp>
      <p:sp>
        <p:nvSpPr>
          <p:cNvPr id="11" name="Alaotsikko 2"/>
          <p:cNvSpPr>
            <a:spLocks noGrp="1"/>
          </p:cNvSpPr>
          <p:nvPr userDrawn="1">
            <p:ph type="subTitle" idx="1"/>
          </p:nvPr>
        </p:nvSpPr>
        <p:spPr>
          <a:xfrm>
            <a:off x="366652" y="3507854"/>
            <a:ext cx="3485270" cy="1512168"/>
          </a:xfrm>
        </p:spPr>
        <p:txBody>
          <a:bodyPr>
            <a:normAutofit/>
          </a:bodyPr>
          <a:lstStyle>
            <a:lvl1pPr marL="0" indent="0" algn="l">
              <a:spcBef>
                <a:spcPts val="0"/>
              </a:spcBef>
              <a:buNone/>
              <a:defRPr sz="1800">
                <a:solidFill>
                  <a:srgbClr val="595965"/>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endParaRPr lang="fi-FI" dirty="0"/>
          </a:p>
        </p:txBody>
      </p:sp>
      <p:sp>
        <p:nvSpPr>
          <p:cNvPr id="32" name="Freeform 30"/>
          <p:cNvSpPr>
            <a:spLocks/>
          </p:cNvSpPr>
          <p:nvPr userDrawn="1"/>
        </p:nvSpPr>
        <p:spPr bwMode="auto">
          <a:xfrm>
            <a:off x="7331075" y="1931691"/>
            <a:ext cx="371475" cy="98425"/>
          </a:xfrm>
          <a:custGeom>
            <a:avLst/>
            <a:gdLst>
              <a:gd name="T0" fmla="*/ 87 w 2807"/>
              <a:gd name="T1" fmla="*/ 343 h 743"/>
              <a:gd name="T2" fmla="*/ 203 w 2807"/>
              <a:gd name="T3" fmla="*/ 417 h 743"/>
              <a:gd name="T4" fmla="*/ 319 w 2807"/>
              <a:gd name="T5" fmla="*/ 479 h 743"/>
              <a:gd name="T6" fmla="*/ 430 w 2807"/>
              <a:gd name="T7" fmla="*/ 529 h 743"/>
              <a:gd name="T8" fmla="*/ 603 w 2807"/>
              <a:gd name="T9" fmla="*/ 595 h 743"/>
              <a:gd name="T10" fmla="*/ 724 w 2807"/>
              <a:gd name="T11" fmla="*/ 633 h 743"/>
              <a:gd name="T12" fmla="*/ 857 w 2807"/>
              <a:gd name="T13" fmla="*/ 666 h 743"/>
              <a:gd name="T14" fmla="*/ 1001 w 2807"/>
              <a:gd name="T15" fmla="*/ 696 h 743"/>
              <a:gd name="T16" fmla="*/ 1157 w 2807"/>
              <a:gd name="T17" fmla="*/ 719 h 743"/>
              <a:gd name="T18" fmla="*/ 1324 w 2807"/>
              <a:gd name="T19" fmla="*/ 736 h 743"/>
              <a:gd name="T20" fmla="*/ 1502 w 2807"/>
              <a:gd name="T21" fmla="*/ 743 h 743"/>
              <a:gd name="T22" fmla="*/ 1689 w 2807"/>
              <a:gd name="T23" fmla="*/ 738 h 743"/>
              <a:gd name="T24" fmla="*/ 1819 w 2807"/>
              <a:gd name="T25" fmla="*/ 729 h 743"/>
              <a:gd name="T26" fmla="*/ 1999 w 2807"/>
              <a:gd name="T27" fmla="*/ 706 h 743"/>
              <a:gd name="T28" fmla="*/ 2159 w 2807"/>
              <a:gd name="T29" fmla="*/ 678 h 743"/>
              <a:gd name="T30" fmla="*/ 2302 w 2807"/>
              <a:gd name="T31" fmla="*/ 643 h 743"/>
              <a:gd name="T32" fmla="*/ 2426 w 2807"/>
              <a:gd name="T33" fmla="*/ 605 h 743"/>
              <a:gd name="T34" fmla="*/ 2533 w 2807"/>
              <a:gd name="T35" fmla="*/ 566 h 743"/>
              <a:gd name="T36" fmla="*/ 2672 w 2807"/>
              <a:gd name="T37" fmla="*/ 505 h 743"/>
              <a:gd name="T38" fmla="*/ 2773 w 2807"/>
              <a:gd name="T39" fmla="*/ 449 h 743"/>
              <a:gd name="T40" fmla="*/ 2807 w 2807"/>
              <a:gd name="T41" fmla="*/ 426 h 743"/>
              <a:gd name="T42" fmla="*/ 2745 w 2807"/>
              <a:gd name="T43" fmla="*/ 402 h 743"/>
              <a:gd name="T44" fmla="*/ 2688 w 2807"/>
              <a:gd name="T45" fmla="*/ 372 h 743"/>
              <a:gd name="T46" fmla="*/ 2586 w 2807"/>
              <a:gd name="T47" fmla="*/ 303 h 743"/>
              <a:gd name="T48" fmla="*/ 2529 w 2807"/>
              <a:gd name="T49" fmla="*/ 256 h 743"/>
              <a:gd name="T50" fmla="*/ 2518 w 2807"/>
              <a:gd name="T51" fmla="*/ 294 h 743"/>
              <a:gd name="T52" fmla="*/ 2507 w 2807"/>
              <a:gd name="T53" fmla="*/ 381 h 743"/>
              <a:gd name="T54" fmla="*/ 2499 w 2807"/>
              <a:gd name="T55" fmla="*/ 413 h 743"/>
              <a:gd name="T56" fmla="*/ 2443 w 2807"/>
              <a:gd name="T57" fmla="*/ 391 h 743"/>
              <a:gd name="T58" fmla="*/ 2423 w 2807"/>
              <a:gd name="T59" fmla="*/ 381 h 743"/>
              <a:gd name="T60" fmla="*/ 2392 w 2807"/>
              <a:gd name="T61" fmla="*/ 357 h 743"/>
              <a:gd name="T62" fmla="*/ 2361 w 2807"/>
              <a:gd name="T63" fmla="*/ 324 h 743"/>
              <a:gd name="T64" fmla="*/ 2334 w 2807"/>
              <a:gd name="T65" fmla="*/ 283 h 743"/>
              <a:gd name="T66" fmla="*/ 2316 w 2807"/>
              <a:gd name="T67" fmla="*/ 235 h 743"/>
              <a:gd name="T68" fmla="*/ 2310 w 2807"/>
              <a:gd name="T69" fmla="*/ 199 h 743"/>
              <a:gd name="T70" fmla="*/ 2252 w 2807"/>
              <a:gd name="T71" fmla="*/ 195 h 743"/>
              <a:gd name="T72" fmla="*/ 2110 w 2807"/>
              <a:gd name="T73" fmla="*/ 243 h 743"/>
              <a:gd name="T74" fmla="*/ 1984 w 2807"/>
              <a:gd name="T75" fmla="*/ 277 h 743"/>
              <a:gd name="T76" fmla="*/ 1843 w 2807"/>
              <a:gd name="T77" fmla="*/ 303 h 743"/>
              <a:gd name="T78" fmla="*/ 1697 w 2807"/>
              <a:gd name="T79" fmla="*/ 319 h 743"/>
              <a:gd name="T80" fmla="*/ 1558 w 2807"/>
              <a:gd name="T81" fmla="*/ 322 h 743"/>
              <a:gd name="T82" fmla="*/ 1293 w 2807"/>
              <a:gd name="T83" fmla="*/ 312 h 743"/>
              <a:gd name="T84" fmla="*/ 1030 w 2807"/>
              <a:gd name="T85" fmla="*/ 282 h 743"/>
              <a:gd name="T86" fmla="*/ 855 w 2807"/>
              <a:gd name="T87" fmla="*/ 251 h 743"/>
              <a:gd name="T88" fmla="*/ 725 w 2807"/>
              <a:gd name="T89" fmla="*/ 221 h 743"/>
              <a:gd name="T90" fmla="*/ 594 w 2807"/>
              <a:gd name="T91" fmla="*/ 185 h 743"/>
              <a:gd name="T92" fmla="*/ 465 w 2807"/>
              <a:gd name="T93" fmla="*/ 143 h 743"/>
              <a:gd name="T94" fmla="*/ 336 w 2807"/>
              <a:gd name="T95" fmla="*/ 94 h 743"/>
              <a:gd name="T96" fmla="*/ 251 w 2807"/>
              <a:gd name="T97" fmla="*/ 58 h 743"/>
              <a:gd name="T98" fmla="*/ 122 w 2807"/>
              <a:gd name="T99" fmla="*/ 0 h 743"/>
              <a:gd name="T100" fmla="*/ 119 w 2807"/>
              <a:gd name="T101" fmla="*/ 19 h 743"/>
              <a:gd name="T102" fmla="*/ 121 w 2807"/>
              <a:gd name="T103" fmla="*/ 51 h 743"/>
              <a:gd name="T104" fmla="*/ 136 w 2807"/>
              <a:gd name="T105" fmla="*/ 96 h 743"/>
              <a:gd name="T106" fmla="*/ 171 w 2807"/>
              <a:gd name="T107" fmla="*/ 156 h 743"/>
              <a:gd name="T108" fmla="*/ 207 w 2807"/>
              <a:gd name="T109" fmla="*/ 204 h 743"/>
              <a:gd name="T110" fmla="*/ 151 w 2807"/>
              <a:gd name="T111" fmla="*/ 199 h 743"/>
              <a:gd name="T112" fmla="*/ 98 w 2807"/>
              <a:gd name="T113" fmla="*/ 204 h 743"/>
              <a:gd name="T114" fmla="*/ 69 w 2807"/>
              <a:gd name="T115" fmla="*/ 215 h 743"/>
              <a:gd name="T116" fmla="*/ 32 w 2807"/>
              <a:gd name="T117" fmla="*/ 244 h 743"/>
              <a:gd name="T118" fmla="*/ 7 w 2807"/>
              <a:gd name="T119" fmla="*/ 272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07" h="743">
                <a:moveTo>
                  <a:pt x="0" y="284"/>
                </a:moveTo>
                <a:lnTo>
                  <a:pt x="0" y="284"/>
                </a:lnTo>
                <a:lnTo>
                  <a:pt x="87" y="343"/>
                </a:lnTo>
                <a:lnTo>
                  <a:pt x="127" y="369"/>
                </a:lnTo>
                <a:lnTo>
                  <a:pt x="166" y="394"/>
                </a:lnTo>
                <a:lnTo>
                  <a:pt x="203" y="417"/>
                </a:lnTo>
                <a:lnTo>
                  <a:pt x="241" y="438"/>
                </a:lnTo>
                <a:lnTo>
                  <a:pt x="280" y="460"/>
                </a:lnTo>
                <a:lnTo>
                  <a:pt x="319" y="479"/>
                </a:lnTo>
                <a:lnTo>
                  <a:pt x="319" y="479"/>
                </a:lnTo>
                <a:lnTo>
                  <a:pt x="372" y="504"/>
                </a:lnTo>
                <a:lnTo>
                  <a:pt x="430" y="529"/>
                </a:lnTo>
                <a:lnTo>
                  <a:pt x="495" y="556"/>
                </a:lnTo>
                <a:lnTo>
                  <a:pt x="565" y="581"/>
                </a:lnTo>
                <a:lnTo>
                  <a:pt x="603" y="595"/>
                </a:lnTo>
                <a:lnTo>
                  <a:pt x="642" y="607"/>
                </a:lnTo>
                <a:lnTo>
                  <a:pt x="682" y="620"/>
                </a:lnTo>
                <a:lnTo>
                  <a:pt x="724" y="633"/>
                </a:lnTo>
                <a:lnTo>
                  <a:pt x="767" y="644"/>
                </a:lnTo>
                <a:lnTo>
                  <a:pt x="811" y="655"/>
                </a:lnTo>
                <a:lnTo>
                  <a:pt x="857" y="666"/>
                </a:lnTo>
                <a:lnTo>
                  <a:pt x="903" y="677"/>
                </a:lnTo>
                <a:lnTo>
                  <a:pt x="952" y="687"/>
                </a:lnTo>
                <a:lnTo>
                  <a:pt x="1001" y="696"/>
                </a:lnTo>
                <a:lnTo>
                  <a:pt x="1052" y="705"/>
                </a:lnTo>
                <a:lnTo>
                  <a:pt x="1104" y="713"/>
                </a:lnTo>
                <a:lnTo>
                  <a:pt x="1157" y="719"/>
                </a:lnTo>
                <a:lnTo>
                  <a:pt x="1212" y="727"/>
                </a:lnTo>
                <a:lnTo>
                  <a:pt x="1267" y="732"/>
                </a:lnTo>
                <a:lnTo>
                  <a:pt x="1324" y="736"/>
                </a:lnTo>
                <a:lnTo>
                  <a:pt x="1382" y="739"/>
                </a:lnTo>
                <a:lnTo>
                  <a:pt x="1442" y="741"/>
                </a:lnTo>
                <a:lnTo>
                  <a:pt x="1502" y="743"/>
                </a:lnTo>
                <a:lnTo>
                  <a:pt x="1563" y="742"/>
                </a:lnTo>
                <a:lnTo>
                  <a:pt x="1626" y="741"/>
                </a:lnTo>
                <a:lnTo>
                  <a:pt x="1689" y="738"/>
                </a:lnTo>
                <a:lnTo>
                  <a:pt x="1754" y="734"/>
                </a:lnTo>
                <a:lnTo>
                  <a:pt x="1819" y="729"/>
                </a:lnTo>
                <a:lnTo>
                  <a:pt x="1819" y="729"/>
                </a:lnTo>
                <a:lnTo>
                  <a:pt x="1881" y="723"/>
                </a:lnTo>
                <a:lnTo>
                  <a:pt x="1941" y="714"/>
                </a:lnTo>
                <a:lnTo>
                  <a:pt x="1999" y="706"/>
                </a:lnTo>
                <a:lnTo>
                  <a:pt x="2054" y="697"/>
                </a:lnTo>
                <a:lnTo>
                  <a:pt x="2108" y="688"/>
                </a:lnTo>
                <a:lnTo>
                  <a:pt x="2159" y="678"/>
                </a:lnTo>
                <a:lnTo>
                  <a:pt x="2209" y="666"/>
                </a:lnTo>
                <a:lnTo>
                  <a:pt x="2257" y="655"/>
                </a:lnTo>
                <a:lnTo>
                  <a:pt x="2302" y="643"/>
                </a:lnTo>
                <a:lnTo>
                  <a:pt x="2346" y="631"/>
                </a:lnTo>
                <a:lnTo>
                  <a:pt x="2387" y="618"/>
                </a:lnTo>
                <a:lnTo>
                  <a:pt x="2426" y="605"/>
                </a:lnTo>
                <a:lnTo>
                  <a:pt x="2464" y="593"/>
                </a:lnTo>
                <a:lnTo>
                  <a:pt x="2500" y="579"/>
                </a:lnTo>
                <a:lnTo>
                  <a:pt x="2533" y="566"/>
                </a:lnTo>
                <a:lnTo>
                  <a:pt x="2564" y="554"/>
                </a:lnTo>
                <a:lnTo>
                  <a:pt x="2622" y="528"/>
                </a:lnTo>
                <a:lnTo>
                  <a:pt x="2672" y="505"/>
                </a:lnTo>
                <a:lnTo>
                  <a:pt x="2713" y="483"/>
                </a:lnTo>
                <a:lnTo>
                  <a:pt x="2747" y="465"/>
                </a:lnTo>
                <a:lnTo>
                  <a:pt x="2773" y="449"/>
                </a:lnTo>
                <a:lnTo>
                  <a:pt x="2792" y="436"/>
                </a:lnTo>
                <a:lnTo>
                  <a:pt x="2807" y="426"/>
                </a:lnTo>
                <a:lnTo>
                  <a:pt x="2807" y="426"/>
                </a:lnTo>
                <a:lnTo>
                  <a:pt x="2786" y="419"/>
                </a:lnTo>
                <a:lnTo>
                  <a:pt x="2766" y="410"/>
                </a:lnTo>
                <a:lnTo>
                  <a:pt x="2745" y="402"/>
                </a:lnTo>
                <a:lnTo>
                  <a:pt x="2726" y="391"/>
                </a:lnTo>
                <a:lnTo>
                  <a:pt x="2706" y="382"/>
                </a:lnTo>
                <a:lnTo>
                  <a:pt x="2688" y="372"/>
                </a:lnTo>
                <a:lnTo>
                  <a:pt x="2651" y="349"/>
                </a:lnTo>
                <a:lnTo>
                  <a:pt x="2618" y="327"/>
                </a:lnTo>
                <a:lnTo>
                  <a:pt x="2586" y="303"/>
                </a:lnTo>
                <a:lnTo>
                  <a:pt x="2556" y="280"/>
                </a:lnTo>
                <a:lnTo>
                  <a:pt x="2529" y="256"/>
                </a:lnTo>
                <a:lnTo>
                  <a:pt x="2529" y="256"/>
                </a:lnTo>
                <a:lnTo>
                  <a:pt x="2524" y="266"/>
                </a:lnTo>
                <a:lnTo>
                  <a:pt x="2521" y="279"/>
                </a:lnTo>
                <a:lnTo>
                  <a:pt x="2518" y="294"/>
                </a:lnTo>
                <a:lnTo>
                  <a:pt x="2515" y="312"/>
                </a:lnTo>
                <a:lnTo>
                  <a:pt x="2515" y="312"/>
                </a:lnTo>
                <a:lnTo>
                  <a:pt x="2507" y="381"/>
                </a:lnTo>
                <a:lnTo>
                  <a:pt x="2503" y="414"/>
                </a:lnTo>
                <a:lnTo>
                  <a:pt x="2503" y="414"/>
                </a:lnTo>
                <a:lnTo>
                  <a:pt x="2499" y="413"/>
                </a:lnTo>
                <a:lnTo>
                  <a:pt x="2489" y="410"/>
                </a:lnTo>
                <a:lnTo>
                  <a:pt x="2470" y="403"/>
                </a:lnTo>
                <a:lnTo>
                  <a:pt x="2443" y="391"/>
                </a:lnTo>
                <a:lnTo>
                  <a:pt x="2443" y="391"/>
                </a:lnTo>
                <a:lnTo>
                  <a:pt x="2433" y="387"/>
                </a:lnTo>
                <a:lnTo>
                  <a:pt x="2423" y="381"/>
                </a:lnTo>
                <a:lnTo>
                  <a:pt x="2413" y="374"/>
                </a:lnTo>
                <a:lnTo>
                  <a:pt x="2403" y="366"/>
                </a:lnTo>
                <a:lnTo>
                  <a:pt x="2392" y="357"/>
                </a:lnTo>
                <a:lnTo>
                  <a:pt x="2381" y="347"/>
                </a:lnTo>
                <a:lnTo>
                  <a:pt x="2371" y="336"/>
                </a:lnTo>
                <a:lnTo>
                  <a:pt x="2361" y="324"/>
                </a:lnTo>
                <a:lnTo>
                  <a:pt x="2351" y="312"/>
                </a:lnTo>
                <a:lnTo>
                  <a:pt x="2342" y="297"/>
                </a:lnTo>
                <a:lnTo>
                  <a:pt x="2334" y="283"/>
                </a:lnTo>
                <a:lnTo>
                  <a:pt x="2326" y="268"/>
                </a:lnTo>
                <a:lnTo>
                  <a:pt x="2320" y="251"/>
                </a:lnTo>
                <a:lnTo>
                  <a:pt x="2316" y="235"/>
                </a:lnTo>
                <a:lnTo>
                  <a:pt x="2312" y="216"/>
                </a:lnTo>
                <a:lnTo>
                  <a:pt x="2310" y="199"/>
                </a:lnTo>
                <a:lnTo>
                  <a:pt x="2310" y="199"/>
                </a:lnTo>
                <a:lnTo>
                  <a:pt x="2309" y="174"/>
                </a:lnTo>
                <a:lnTo>
                  <a:pt x="2309" y="174"/>
                </a:lnTo>
                <a:lnTo>
                  <a:pt x="2252" y="195"/>
                </a:lnTo>
                <a:lnTo>
                  <a:pt x="2186" y="218"/>
                </a:lnTo>
                <a:lnTo>
                  <a:pt x="2149" y="231"/>
                </a:lnTo>
                <a:lnTo>
                  <a:pt x="2110" y="243"/>
                </a:lnTo>
                <a:lnTo>
                  <a:pt x="2069" y="254"/>
                </a:lnTo>
                <a:lnTo>
                  <a:pt x="2028" y="266"/>
                </a:lnTo>
                <a:lnTo>
                  <a:pt x="1984" y="277"/>
                </a:lnTo>
                <a:lnTo>
                  <a:pt x="1938" y="286"/>
                </a:lnTo>
                <a:lnTo>
                  <a:pt x="1892" y="295"/>
                </a:lnTo>
                <a:lnTo>
                  <a:pt x="1843" y="303"/>
                </a:lnTo>
                <a:lnTo>
                  <a:pt x="1795" y="311"/>
                </a:lnTo>
                <a:lnTo>
                  <a:pt x="1746" y="316"/>
                </a:lnTo>
                <a:lnTo>
                  <a:pt x="1697" y="319"/>
                </a:lnTo>
                <a:lnTo>
                  <a:pt x="1647" y="321"/>
                </a:lnTo>
                <a:lnTo>
                  <a:pt x="1647" y="321"/>
                </a:lnTo>
                <a:lnTo>
                  <a:pt x="1558" y="322"/>
                </a:lnTo>
                <a:lnTo>
                  <a:pt x="1470" y="321"/>
                </a:lnTo>
                <a:lnTo>
                  <a:pt x="1382" y="317"/>
                </a:lnTo>
                <a:lnTo>
                  <a:pt x="1293" y="312"/>
                </a:lnTo>
                <a:lnTo>
                  <a:pt x="1205" y="304"/>
                </a:lnTo>
                <a:lnTo>
                  <a:pt x="1118" y="294"/>
                </a:lnTo>
                <a:lnTo>
                  <a:pt x="1030" y="282"/>
                </a:lnTo>
                <a:lnTo>
                  <a:pt x="943" y="268"/>
                </a:lnTo>
                <a:lnTo>
                  <a:pt x="899" y="259"/>
                </a:lnTo>
                <a:lnTo>
                  <a:pt x="855" y="251"/>
                </a:lnTo>
                <a:lnTo>
                  <a:pt x="812" y="241"/>
                </a:lnTo>
                <a:lnTo>
                  <a:pt x="768" y="231"/>
                </a:lnTo>
                <a:lnTo>
                  <a:pt x="725" y="221"/>
                </a:lnTo>
                <a:lnTo>
                  <a:pt x="681" y="209"/>
                </a:lnTo>
                <a:lnTo>
                  <a:pt x="638" y="197"/>
                </a:lnTo>
                <a:lnTo>
                  <a:pt x="594" y="185"/>
                </a:lnTo>
                <a:lnTo>
                  <a:pt x="551" y="171"/>
                </a:lnTo>
                <a:lnTo>
                  <a:pt x="508" y="157"/>
                </a:lnTo>
                <a:lnTo>
                  <a:pt x="465" y="143"/>
                </a:lnTo>
                <a:lnTo>
                  <a:pt x="422" y="127"/>
                </a:lnTo>
                <a:lnTo>
                  <a:pt x="379" y="111"/>
                </a:lnTo>
                <a:lnTo>
                  <a:pt x="336" y="94"/>
                </a:lnTo>
                <a:lnTo>
                  <a:pt x="294" y="76"/>
                </a:lnTo>
                <a:lnTo>
                  <a:pt x="251" y="58"/>
                </a:lnTo>
                <a:lnTo>
                  <a:pt x="251" y="58"/>
                </a:lnTo>
                <a:lnTo>
                  <a:pt x="165" y="19"/>
                </a:lnTo>
                <a:lnTo>
                  <a:pt x="122" y="0"/>
                </a:lnTo>
                <a:lnTo>
                  <a:pt x="122" y="0"/>
                </a:lnTo>
                <a:lnTo>
                  <a:pt x="121" y="3"/>
                </a:lnTo>
                <a:lnTo>
                  <a:pt x="119" y="12"/>
                </a:lnTo>
                <a:lnTo>
                  <a:pt x="119" y="19"/>
                </a:lnTo>
                <a:lnTo>
                  <a:pt x="119" y="28"/>
                </a:lnTo>
                <a:lnTo>
                  <a:pt x="119" y="39"/>
                </a:lnTo>
                <a:lnTo>
                  <a:pt x="121" y="51"/>
                </a:lnTo>
                <a:lnTo>
                  <a:pt x="125" y="64"/>
                </a:lnTo>
                <a:lnTo>
                  <a:pt x="129" y="79"/>
                </a:lnTo>
                <a:lnTo>
                  <a:pt x="136" y="96"/>
                </a:lnTo>
                <a:lnTo>
                  <a:pt x="145" y="114"/>
                </a:lnTo>
                <a:lnTo>
                  <a:pt x="156" y="135"/>
                </a:lnTo>
                <a:lnTo>
                  <a:pt x="171" y="156"/>
                </a:lnTo>
                <a:lnTo>
                  <a:pt x="187" y="180"/>
                </a:lnTo>
                <a:lnTo>
                  <a:pt x="207" y="204"/>
                </a:lnTo>
                <a:lnTo>
                  <a:pt x="207" y="204"/>
                </a:lnTo>
                <a:lnTo>
                  <a:pt x="189" y="201"/>
                </a:lnTo>
                <a:lnTo>
                  <a:pt x="170" y="199"/>
                </a:lnTo>
                <a:lnTo>
                  <a:pt x="151" y="199"/>
                </a:lnTo>
                <a:lnTo>
                  <a:pt x="132" y="199"/>
                </a:lnTo>
                <a:lnTo>
                  <a:pt x="114" y="201"/>
                </a:lnTo>
                <a:lnTo>
                  <a:pt x="98" y="204"/>
                </a:lnTo>
                <a:lnTo>
                  <a:pt x="83" y="209"/>
                </a:lnTo>
                <a:lnTo>
                  <a:pt x="69" y="215"/>
                </a:lnTo>
                <a:lnTo>
                  <a:pt x="69" y="215"/>
                </a:lnTo>
                <a:lnTo>
                  <a:pt x="55" y="224"/>
                </a:lnTo>
                <a:lnTo>
                  <a:pt x="42" y="234"/>
                </a:lnTo>
                <a:lnTo>
                  <a:pt x="32" y="244"/>
                </a:lnTo>
                <a:lnTo>
                  <a:pt x="21" y="253"/>
                </a:lnTo>
                <a:lnTo>
                  <a:pt x="13" y="262"/>
                </a:lnTo>
                <a:lnTo>
                  <a:pt x="7" y="272"/>
                </a:lnTo>
                <a:lnTo>
                  <a:pt x="0" y="28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3" name="Freeform 31"/>
          <p:cNvSpPr>
            <a:spLocks/>
          </p:cNvSpPr>
          <p:nvPr userDrawn="1"/>
        </p:nvSpPr>
        <p:spPr bwMode="auto">
          <a:xfrm>
            <a:off x="7248526" y="1618954"/>
            <a:ext cx="377825" cy="271463"/>
          </a:xfrm>
          <a:custGeom>
            <a:avLst/>
            <a:gdLst>
              <a:gd name="T0" fmla="*/ 2491 w 2863"/>
              <a:gd name="T1" fmla="*/ 103 h 2054"/>
              <a:gd name="T2" fmla="*/ 2575 w 2863"/>
              <a:gd name="T3" fmla="*/ 23 h 2054"/>
              <a:gd name="T4" fmla="*/ 2196 w 2863"/>
              <a:gd name="T5" fmla="*/ 132 h 2054"/>
              <a:gd name="T6" fmla="*/ 1671 w 2863"/>
              <a:gd name="T7" fmla="*/ 429 h 2054"/>
              <a:gd name="T8" fmla="*/ 1528 w 2863"/>
              <a:gd name="T9" fmla="*/ 462 h 2054"/>
              <a:gd name="T10" fmla="*/ 1416 w 2863"/>
              <a:gd name="T11" fmla="*/ 568 h 2054"/>
              <a:gd name="T12" fmla="*/ 1409 w 2863"/>
              <a:gd name="T13" fmla="*/ 634 h 2054"/>
              <a:gd name="T14" fmla="*/ 1479 w 2863"/>
              <a:gd name="T15" fmla="*/ 748 h 2054"/>
              <a:gd name="T16" fmla="*/ 1586 w 2863"/>
              <a:gd name="T17" fmla="*/ 787 h 2054"/>
              <a:gd name="T18" fmla="*/ 1476 w 2863"/>
              <a:gd name="T19" fmla="*/ 974 h 2054"/>
              <a:gd name="T20" fmla="*/ 1133 w 2863"/>
              <a:gd name="T21" fmla="*/ 1199 h 2054"/>
              <a:gd name="T22" fmla="*/ 799 w 2863"/>
              <a:gd name="T23" fmla="*/ 1254 h 2054"/>
              <a:gd name="T24" fmla="*/ 634 w 2863"/>
              <a:gd name="T25" fmla="*/ 1102 h 2054"/>
              <a:gd name="T26" fmla="*/ 539 w 2863"/>
              <a:gd name="T27" fmla="*/ 1015 h 2054"/>
              <a:gd name="T28" fmla="*/ 406 w 2863"/>
              <a:gd name="T29" fmla="*/ 1023 h 2054"/>
              <a:gd name="T30" fmla="*/ 231 w 2863"/>
              <a:gd name="T31" fmla="*/ 1090 h 2054"/>
              <a:gd name="T32" fmla="*/ 382 w 2863"/>
              <a:gd name="T33" fmla="*/ 1121 h 2054"/>
              <a:gd name="T34" fmla="*/ 351 w 2863"/>
              <a:gd name="T35" fmla="*/ 1168 h 2054"/>
              <a:gd name="T36" fmla="*/ 418 w 2863"/>
              <a:gd name="T37" fmla="*/ 1270 h 2054"/>
              <a:gd name="T38" fmla="*/ 608 w 2863"/>
              <a:gd name="T39" fmla="*/ 1387 h 2054"/>
              <a:gd name="T40" fmla="*/ 314 w 2863"/>
              <a:gd name="T41" fmla="*/ 1296 h 2054"/>
              <a:gd name="T42" fmla="*/ 234 w 2863"/>
              <a:gd name="T43" fmla="*/ 1324 h 2054"/>
              <a:gd name="T44" fmla="*/ 77 w 2863"/>
              <a:gd name="T45" fmla="*/ 1367 h 2054"/>
              <a:gd name="T46" fmla="*/ 0 w 2863"/>
              <a:gd name="T47" fmla="*/ 1480 h 2054"/>
              <a:gd name="T48" fmla="*/ 63 w 2863"/>
              <a:gd name="T49" fmla="*/ 1501 h 2054"/>
              <a:gd name="T50" fmla="*/ 166 w 2863"/>
              <a:gd name="T51" fmla="*/ 1461 h 2054"/>
              <a:gd name="T52" fmla="*/ 187 w 2863"/>
              <a:gd name="T53" fmla="*/ 1573 h 2054"/>
              <a:gd name="T54" fmla="*/ 354 w 2863"/>
              <a:gd name="T55" fmla="*/ 1597 h 2054"/>
              <a:gd name="T56" fmla="*/ 616 w 2863"/>
              <a:gd name="T57" fmla="*/ 1588 h 2054"/>
              <a:gd name="T58" fmla="*/ 382 w 2863"/>
              <a:gd name="T59" fmla="*/ 1636 h 2054"/>
              <a:gd name="T60" fmla="*/ 295 w 2863"/>
              <a:gd name="T61" fmla="*/ 1696 h 2054"/>
              <a:gd name="T62" fmla="*/ 254 w 2863"/>
              <a:gd name="T63" fmla="*/ 1795 h 2054"/>
              <a:gd name="T64" fmla="*/ 239 w 2863"/>
              <a:gd name="T65" fmla="*/ 1953 h 2054"/>
              <a:gd name="T66" fmla="*/ 335 w 2863"/>
              <a:gd name="T67" fmla="*/ 2045 h 2054"/>
              <a:gd name="T68" fmla="*/ 341 w 2863"/>
              <a:gd name="T69" fmla="*/ 1906 h 2054"/>
              <a:gd name="T70" fmla="*/ 417 w 2863"/>
              <a:gd name="T71" fmla="*/ 1946 h 2054"/>
              <a:gd name="T72" fmla="*/ 509 w 2863"/>
              <a:gd name="T73" fmla="*/ 1935 h 2054"/>
              <a:gd name="T74" fmla="*/ 732 w 2863"/>
              <a:gd name="T75" fmla="*/ 1733 h 2054"/>
              <a:gd name="T76" fmla="*/ 874 w 2863"/>
              <a:gd name="T77" fmla="*/ 1691 h 2054"/>
              <a:gd name="T78" fmla="*/ 870 w 2863"/>
              <a:gd name="T79" fmla="*/ 1786 h 2054"/>
              <a:gd name="T80" fmla="*/ 945 w 2863"/>
              <a:gd name="T81" fmla="*/ 1834 h 2054"/>
              <a:gd name="T82" fmla="*/ 875 w 2863"/>
              <a:gd name="T83" fmla="*/ 1948 h 2054"/>
              <a:gd name="T84" fmla="*/ 1004 w 2863"/>
              <a:gd name="T85" fmla="*/ 1919 h 2054"/>
              <a:gd name="T86" fmla="*/ 1100 w 2863"/>
              <a:gd name="T87" fmla="*/ 1787 h 2054"/>
              <a:gd name="T88" fmla="*/ 1159 w 2863"/>
              <a:gd name="T89" fmla="*/ 1734 h 2054"/>
              <a:gd name="T90" fmla="*/ 1183 w 2863"/>
              <a:gd name="T91" fmla="*/ 1628 h 2054"/>
              <a:gd name="T92" fmla="*/ 1338 w 2863"/>
              <a:gd name="T93" fmla="*/ 1564 h 2054"/>
              <a:gd name="T94" fmla="*/ 1370 w 2863"/>
              <a:gd name="T95" fmla="*/ 1465 h 2054"/>
              <a:gd name="T96" fmla="*/ 1461 w 2863"/>
              <a:gd name="T97" fmla="*/ 1462 h 2054"/>
              <a:gd name="T98" fmla="*/ 1684 w 2863"/>
              <a:gd name="T99" fmla="*/ 1556 h 2054"/>
              <a:gd name="T100" fmla="*/ 1888 w 2863"/>
              <a:gd name="T101" fmla="*/ 1440 h 2054"/>
              <a:gd name="T102" fmla="*/ 1799 w 2863"/>
              <a:gd name="T103" fmla="*/ 1308 h 2054"/>
              <a:gd name="T104" fmla="*/ 1857 w 2863"/>
              <a:gd name="T105" fmla="*/ 1327 h 2054"/>
              <a:gd name="T106" fmla="*/ 2183 w 2863"/>
              <a:gd name="T107" fmla="*/ 1273 h 2054"/>
              <a:gd name="T108" fmla="*/ 2142 w 2863"/>
              <a:gd name="T109" fmla="*/ 1164 h 2054"/>
              <a:gd name="T110" fmla="*/ 2112 w 2863"/>
              <a:gd name="T111" fmla="*/ 1069 h 2054"/>
              <a:gd name="T112" fmla="*/ 2121 w 2863"/>
              <a:gd name="T113" fmla="*/ 977 h 2054"/>
              <a:gd name="T114" fmla="*/ 2085 w 2863"/>
              <a:gd name="T115" fmla="*/ 807 h 2054"/>
              <a:gd name="T116" fmla="*/ 2859 w 2863"/>
              <a:gd name="T117" fmla="*/ 408 h 2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63" h="2054">
                <a:moveTo>
                  <a:pt x="2759" y="252"/>
                </a:moveTo>
                <a:lnTo>
                  <a:pt x="2759" y="252"/>
                </a:lnTo>
                <a:lnTo>
                  <a:pt x="2742" y="239"/>
                </a:lnTo>
                <a:lnTo>
                  <a:pt x="2725" y="227"/>
                </a:lnTo>
                <a:lnTo>
                  <a:pt x="2708" y="214"/>
                </a:lnTo>
                <a:lnTo>
                  <a:pt x="2690" y="203"/>
                </a:lnTo>
                <a:lnTo>
                  <a:pt x="2655" y="184"/>
                </a:lnTo>
                <a:lnTo>
                  <a:pt x="2621" y="165"/>
                </a:lnTo>
                <a:lnTo>
                  <a:pt x="2586" y="148"/>
                </a:lnTo>
                <a:lnTo>
                  <a:pt x="2553" y="133"/>
                </a:lnTo>
                <a:lnTo>
                  <a:pt x="2522" y="118"/>
                </a:lnTo>
                <a:lnTo>
                  <a:pt x="2491" y="103"/>
                </a:lnTo>
                <a:lnTo>
                  <a:pt x="2491" y="103"/>
                </a:lnTo>
                <a:lnTo>
                  <a:pt x="2507" y="93"/>
                </a:lnTo>
                <a:lnTo>
                  <a:pt x="2523" y="82"/>
                </a:lnTo>
                <a:lnTo>
                  <a:pt x="2540" y="68"/>
                </a:lnTo>
                <a:lnTo>
                  <a:pt x="2556" y="54"/>
                </a:lnTo>
                <a:lnTo>
                  <a:pt x="2570" y="41"/>
                </a:lnTo>
                <a:lnTo>
                  <a:pt x="2574" y="35"/>
                </a:lnTo>
                <a:lnTo>
                  <a:pt x="2577" y="30"/>
                </a:lnTo>
                <a:lnTo>
                  <a:pt x="2577" y="26"/>
                </a:lnTo>
                <a:lnTo>
                  <a:pt x="2577" y="24"/>
                </a:lnTo>
                <a:lnTo>
                  <a:pt x="2575" y="23"/>
                </a:lnTo>
                <a:lnTo>
                  <a:pt x="2575" y="23"/>
                </a:lnTo>
                <a:lnTo>
                  <a:pt x="2562" y="16"/>
                </a:lnTo>
                <a:lnTo>
                  <a:pt x="2550" y="10"/>
                </a:lnTo>
                <a:lnTo>
                  <a:pt x="2538" y="6"/>
                </a:lnTo>
                <a:lnTo>
                  <a:pt x="2527" y="4"/>
                </a:lnTo>
                <a:lnTo>
                  <a:pt x="2508" y="1"/>
                </a:lnTo>
                <a:lnTo>
                  <a:pt x="2501" y="0"/>
                </a:lnTo>
                <a:lnTo>
                  <a:pt x="2501" y="0"/>
                </a:lnTo>
                <a:lnTo>
                  <a:pt x="2440" y="24"/>
                </a:lnTo>
                <a:lnTo>
                  <a:pt x="2377" y="50"/>
                </a:lnTo>
                <a:lnTo>
                  <a:pt x="2317" y="76"/>
                </a:lnTo>
                <a:lnTo>
                  <a:pt x="2256" y="103"/>
                </a:lnTo>
                <a:lnTo>
                  <a:pt x="2196" y="132"/>
                </a:lnTo>
                <a:lnTo>
                  <a:pt x="2138" y="160"/>
                </a:lnTo>
                <a:lnTo>
                  <a:pt x="2081" y="189"/>
                </a:lnTo>
                <a:lnTo>
                  <a:pt x="2026" y="219"/>
                </a:lnTo>
                <a:lnTo>
                  <a:pt x="1972" y="247"/>
                </a:lnTo>
                <a:lnTo>
                  <a:pt x="1921" y="276"/>
                </a:lnTo>
                <a:lnTo>
                  <a:pt x="1872" y="303"/>
                </a:lnTo>
                <a:lnTo>
                  <a:pt x="1825" y="331"/>
                </a:lnTo>
                <a:lnTo>
                  <a:pt x="1782" y="358"/>
                </a:lnTo>
                <a:lnTo>
                  <a:pt x="1741" y="383"/>
                </a:lnTo>
                <a:lnTo>
                  <a:pt x="1705" y="407"/>
                </a:lnTo>
                <a:lnTo>
                  <a:pt x="1671" y="429"/>
                </a:lnTo>
                <a:lnTo>
                  <a:pt x="1671" y="429"/>
                </a:lnTo>
                <a:lnTo>
                  <a:pt x="1666" y="432"/>
                </a:lnTo>
                <a:lnTo>
                  <a:pt x="1666" y="432"/>
                </a:lnTo>
                <a:lnTo>
                  <a:pt x="1654" y="439"/>
                </a:lnTo>
                <a:lnTo>
                  <a:pt x="1643" y="446"/>
                </a:lnTo>
                <a:lnTo>
                  <a:pt x="1632" y="451"/>
                </a:lnTo>
                <a:lnTo>
                  <a:pt x="1620" y="455"/>
                </a:lnTo>
                <a:lnTo>
                  <a:pt x="1608" y="458"/>
                </a:lnTo>
                <a:lnTo>
                  <a:pt x="1597" y="461"/>
                </a:lnTo>
                <a:lnTo>
                  <a:pt x="1585" y="462"/>
                </a:lnTo>
                <a:lnTo>
                  <a:pt x="1574" y="463"/>
                </a:lnTo>
                <a:lnTo>
                  <a:pt x="1550" y="464"/>
                </a:lnTo>
                <a:lnTo>
                  <a:pt x="1528" y="462"/>
                </a:lnTo>
                <a:lnTo>
                  <a:pt x="1505" y="459"/>
                </a:lnTo>
                <a:lnTo>
                  <a:pt x="1485" y="454"/>
                </a:lnTo>
                <a:lnTo>
                  <a:pt x="1465" y="449"/>
                </a:lnTo>
                <a:lnTo>
                  <a:pt x="1448" y="442"/>
                </a:lnTo>
                <a:lnTo>
                  <a:pt x="1433" y="436"/>
                </a:lnTo>
                <a:lnTo>
                  <a:pt x="1418" y="430"/>
                </a:lnTo>
                <a:lnTo>
                  <a:pt x="1399" y="420"/>
                </a:lnTo>
                <a:lnTo>
                  <a:pt x="1393" y="416"/>
                </a:lnTo>
                <a:lnTo>
                  <a:pt x="1372" y="544"/>
                </a:lnTo>
                <a:lnTo>
                  <a:pt x="1372" y="544"/>
                </a:lnTo>
                <a:lnTo>
                  <a:pt x="1395" y="557"/>
                </a:lnTo>
                <a:lnTo>
                  <a:pt x="1416" y="568"/>
                </a:lnTo>
                <a:lnTo>
                  <a:pt x="1437" y="577"/>
                </a:lnTo>
                <a:lnTo>
                  <a:pt x="1454" y="586"/>
                </a:lnTo>
                <a:lnTo>
                  <a:pt x="1470" y="592"/>
                </a:lnTo>
                <a:lnTo>
                  <a:pt x="1486" y="596"/>
                </a:lnTo>
                <a:lnTo>
                  <a:pt x="1499" y="600"/>
                </a:lnTo>
                <a:lnTo>
                  <a:pt x="1510" y="602"/>
                </a:lnTo>
                <a:lnTo>
                  <a:pt x="1510" y="602"/>
                </a:lnTo>
                <a:lnTo>
                  <a:pt x="1491" y="606"/>
                </a:lnTo>
                <a:lnTo>
                  <a:pt x="1470" y="611"/>
                </a:lnTo>
                <a:lnTo>
                  <a:pt x="1450" y="617"/>
                </a:lnTo>
                <a:lnTo>
                  <a:pt x="1428" y="625"/>
                </a:lnTo>
                <a:lnTo>
                  <a:pt x="1409" y="634"/>
                </a:lnTo>
                <a:lnTo>
                  <a:pt x="1391" y="645"/>
                </a:lnTo>
                <a:lnTo>
                  <a:pt x="1381" y="650"/>
                </a:lnTo>
                <a:lnTo>
                  <a:pt x="1373" y="656"/>
                </a:lnTo>
                <a:lnTo>
                  <a:pt x="1366" y="663"/>
                </a:lnTo>
                <a:lnTo>
                  <a:pt x="1360" y="670"/>
                </a:lnTo>
                <a:lnTo>
                  <a:pt x="1404" y="788"/>
                </a:lnTo>
                <a:lnTo>
                  <a:pt x="1404" y="788"/>
                </a:lnTo>
                <a:lnTo>
                  <a:pt x="1416" y="779"/>
                </a:lnTo>
                <a:lnTo>
                  <a:pt x="1432" y="770"/>
                </a:lnTo>
                <a:lnTo>
                  <a:pt x="1453" y="758"/>
                </a:lnTo>
                <a:lnTo>
                  <a:pt x="1465" y="753"/>
                </a:lnTo>
                <a:lnTo>
                  <a:pt x="1479" y="748"/>
                </a:lnTo>
                <a:lnTo>
                  <a:pt x="1494" y="743"/>
                </a:lnTo>
                <a:lnTo>
                  <a:pt x="1509" y="738"/>
                </a:lnTo>
                <a:lnTo>
                  <a:pt x="1527" y="734"/>
                </a:lnTo>
                <a:lnTo>
                  <a:pt x="1545" y="731"/>
                </a:lnTo>
                <a:lnTo>
                  <a:pt x="1564" y="729"/>
                </a:lnTo>
                <a:lnTo>
                  <a:pt x="1585" y="728"/>
                </a:lnTo>
                <a:lnTo>
                  <a:pt x="1585" y="728"/>
                </a:lnTo>
                <a:lnTo>
                  <a:pt x="1588" y="744"/>
                </a:lnTo>
                <a:lnTo>
                  <a:pt x="1588" y="744"/>
                </a:lnTo>
                <a:lnTo>
                  <a:pt x="1588" y="758"/>
                </a:lnTo>
                <a:lnTo>
                  <a:pt x="1588" y="773"/>
                </a:lnTo>
                <a:lnTo>
                  <a:pt x="1586" y="787"/>
                </a:lnTo>
                <a:lnTo>
                  <a:pt x="1583" y="802"/>
                </a:lnTo>
                <a:lnTo>
                  <a:pt x="1578" y="818"/>
                </a:lnTo>
                <a:lnTo>
                  <a:pt x="1573" y="833"/>
                </a:lnTo>
                <a:lnTo>
                  <a:pt x="1565" y="848"/>
                </a:lnTo>
                <a:lnTo>
                  <a:pt x="1557" y="864"/>
                </a:lnTo>
                <a:lnTo>
                  <a:pt x="1549" y="880"/>
                </a:lnTo>
                <a:lnTo>
                  <a:pt x="1539" y="895"/>
                </a:lnTo>
                <a:lnTo>
                  <a:pt x="1528" y="912"/>
                </a:lnTo>
                <a:lnTo>
                  <a:pt x="1516" y="927"/>
                </a:lnTo>
                <a:lnTo>
                  <a:pt x="1503" y="943"/>
                </a:lnTo>
                <a:lnTo>
                  <a:pt x="1490" y="959"/>
                </a:lnTo>
                <a:lnTo>
                  <a:pt x="1476" y="974"/>
                </a:lnTo>
                <a:lnTo>
                  <a:pt x="1461" y="989"/>
                </a:lnTo>
                <a:lnTo>
                  <a:pt x="1429" y="1020"/>
                </a:lnTo>
                <a:lnTo>
                  <a:pt x="1396" y="1049"/>
                </a:lnTo>
                <a:lnTo>
                  <a:pt x="1360" y="1076"/>
                </a:lnTo>
                <a:lnTo>
                  <a:pt x="1323" y="1102"/>
                </a:lnTo>
                <a:lnTo>
                  <a:pt x="1285" y="1126"/>
                </a:lnTo>
                <a:lnTo>
                  <a:pt x="1247" y="1148"/>
                </a:lnTo>
                <a:lnTo>
                  <a:pt x="1209" y="1167"/>
                </a:lnTo>
                <a:lnTo>
                  <a:pt x="1189" y="1177"/>
                </a:lnTo>
                <a:lnTo>
                  <a:pt x="1171" y="1185"/>
                </a:lnTo>
                <a:lnTo>
                  <a:pt x="1171" y="1185"/>
                </a:lnTo>
                <a:lnTo>
                  <a:pt x="1133" y="1199"/>
                </a:lnTo>
                <a:lnTo>
                  <a:pt x="1095" y="1211"/>
                </a:lnTo>
                <a:lnTo>
                  <a:pt x="1060" y="1223"/>
                </a:lnTo>
                <a:lnTo>
                  <a:pt x="1026" y="1232"/>
                </a:lnTo>
                <a:lnTo>
                  <a:pt x="993" y="1240"/>
                </a:lnTo>
                <a:lnTo>
                  <a:pt x="962" y="1246"/>
                </a:lnTo>
                <a:lnTo>
                  <a:pt x="933" y="1250"/>
                </a:lnTo>
                <a:lnTo>
                  <a:pt x="905" y="1254"/>
                </a:lnTo>
                <a:lnTo>
                  <a:pt x="879" y="1256"/>
                </a:lnTo>
                <a:lnTo>
                  <a:pt x="856" y="1257"/>
                </a:lnTo>
                <a:lnTo>
                  <a:pt x="834" y="1257"/>
                </a:lnTo>
                <a:lnTo>
                  <a:pt x="815" y="1256"/>
                </a:lnTo>
                <a:lnTo>
                  <a:pt x="799" y="1254"/>
                </a:lnTo>
                <a:lnTo>
                  <a:pt x="785" y="1251"/>
                </a:lnTo>
                <a:lnTo>
                  <a:pt x="774" y="1247"/>
                </a:lnTo>
                <a:lnTo>
                  <a:pt x="765" y="1243"/>
                </a:lnTo>
                <a:lnTo>
                  <a:pt x="765" y="1243"/>
                </a:lnTo>
                <a:lnTo>
                  <a:pt x="741" y="1227"/>
                </a:lnTo>
                <a:lnTo>
                  <a:pt x="720" y="1209"/>
                </a:lnTo>
                <a:lnTo>
                  <a:pt x="701" y="1191"/>
                </a:lnTo>
                <a:lnTo>
                  <a:pt x="685" y="1172"/>
                </a:lnTo>
                <a:lnTo>
                  <a:pt x="670" y="1155"/>
                </a:lnTo>
                <a:lnTo>
                  <a:pt x="656" y="1137"/>
                </a:lnTo>
                <a:lnTo>
                  <a:pt x="645" y="1119"/>
                </a:lnTo>
                <a:lnTo>
                  <a:pt x="634" y="1102"/>
                </a:lnTo>
                <a:lnTo>
                  <a:pt x="615" y="1071"/>
                </a:lnTo>
                <a:lnTo>
                  <a:pt x="605" y="1057"/>
                </a:lnTo>
                <a:lnTo>
                  <a:pt x="596" y="1045"/>
                </a:lnTo>
                <a:lnTo>
                  <a:pt x="587" y="1033"/>
                </a:lnTo>
                <a:lnTo>
                  <a:pt x="577" y="1025"/>
                </a:lnTo>
                <a:lnTo>
                  <a:pt x="565" y="1018"/>
                </a:lnTo>
                <a:lnTo>
                  <a:pt x="559" y="1015"/>
                </a:lnTo>
                <a:lnTo>
                  <a:pt x="553" y="1013"/>
                </a:lnTo>
                <a:lnTo>
                  <a:pt x="553" y="1013"/>
                </a:lnTo>
                <a:lnTo>
                  <a:pt x="549" y="1013"/>
                </a:lnTo>
                <a:lnTo>
                  <a:pt x="546" y="1013"/>
                </a:lnTo>
                <a:lnTo>
                  <a:pt x="539" y="1015"/>
                </a:lnTo>
                <a:lnTo>
                  <a:pt x="532" y="1018"/>
                </a:lnTo>
                <a:lnTo>
                  <a:pt x="524" y="1022"/>
                </a:lnTo>
                <a:lnTo>
                  <a:pt x="516" y="1026"/>
                </a:lnTo>
                <a:lnTo>
                  <a:pt x="507" y="1029"/>
                </a:lnTo>
                <a:lnTo>
                  <a:pt x="499" y="1031"/>
                </a:lnTo>
                <a:lnTo>
                  <a:pt x="494" y="1031"/>
                </a:lnTo>
                <a:lnTo>
                  <a:pt x="489" y="1031"/>
                </a:lnTo>
                <a:lnTo>
                  <a:pt x="489" y="1031"/>
                </a:lnTo>
                <a:lnTo>
                  <a:pt x="468" y="1028"/>
                </a:lnTo>
                <a:lnTo>
                  <a:pt x="448" y="1025"/>
                </a:lnTo>
                <a:lnTo>
                  <a:pt x="427" y="1024"/>
                </a:lnTo>
                <a:lnTo>
                  <a:pt x="406" y="1023"/>
                </a:lnTo>
                <a:lnTo>
                  <a:pt x="386" y="1023"/>
                </a:lnTo>
                <a:lnTo>
                  <a:pt x="366" y="1025"/>
                </a:lnTo>
                <a:lnTo>
                  <a:pt x="347" y="1027"/>
                </a:lnTo>
                <a:lnTo>
                  <a:pt x="327" y="1031"/>
                </a:lnTo>
                <a:lnTo>
                  <a:pt x="309" y="1035"/>
                </a:lnTo>
                <a:lnTo>
                  <a:pt x="292" y="1043"/>
                </a:lnTo>
                <a:lnTo>
                  <a:pt x="276" y="1050"/>
                </a:lnTo>
                <a:lnTo>
                  <a:pt x="262" y="1059"/>
                </a:lnTo>
                <a:lnTo>
                  <a:pt x="248" y="1070"/>
                </a:lnTo>
                <a:lnTo>
                  <a:pt x="242" y="1076"/>
                </a:lnTo>
                <a:lnTo>
                  <a:pt x="236" y="1082"/>
                </a:lnTo>
                <a:lnTo>
                  <a:pt x="231" y="1090"/>
                </a:lnTo>
                <a:lnTo>
                  <a:pt x="227" y="1098"/>
                </a:lnTo>
                <a:lnTo>
                  <a:pt x="223" y="1105"/>
                </a:lnTo>
                <a:lnTo>
                  <a:pt x="219" y="1114"/>
                </a:lnTo>
                <a:lnTo>
                  <a:pt x="219" y="1114"/>
                </a:lnTo>
                <a:lnTo>
                  <a:pt x="257" y="1112"/>
                </a:lnTo>
                <a:lnTo>
                  <a:pt x="292" y="1111"/>
                </a:lnTo>
                <a:lnTo>
                  <a:pt x="312" y="1111"/>
                </a:lnTo>
                <a:lnTo>
                  <a:pt x="331" y="1112"/>
                </a:lnTo>
                <a:lnTo>
                  <a:pt x="349" y="1113"/>
                </a:lnTo>
                <a:lnTo>
                  <a:pt x="364" y="1116"/>
                </a:lnTo>
                <a:lnTo>
                  <a:pt x="377" y="1119"/>
                </a:lnTo>
                <a:lnTo>
                  <a:pt x="382" y="1121"/>
                </a:lnTo>
                <a:lnTo>
                  <a:pt x="387" y="1123"/>
                </a:lnTo>
                <a:lnTo>
                  <a:pt x="389" y="1126"/>
                </a:lnTo>
                <a:lnTo>
                  <a:pt x="391" y="1130"/>
                </a:lnTo>
                <a:lnTo>
                  <a:pt x="391" y="1133"/>
                </a:lnTo>
                <a:lnTo>
                  <a:pt x="389" y="1137"/>
                </a:lnTo>
                <a:lnTo>
                  <a:pt x="386" y="1141"/>
                </a:lnTo>
                <a:lnTo>
                  <a:pt x="381" y="1146"/>
                </a:lnTo>
                <a:lnTo>
                  <a:pt x="374" y="1151"/>
                </a:lnTo>
                <a:lnTo>
                  <a:pt x="366" y="1156"/>
                </a:lnTo>
                <a:lnTo>
                  <a:pt x="366" y="1156"/>
                </a:lnTo>
                <a:lnTo>
                  <a:pt x="357" y="1162"/>
                </a:lnTo>
                <a:lnTo>
                  <a:pt x="351" y="1168"/>
                </a:lnTo>
                <a:lnTo>
                  <a:pt x="346" y="1175"/>
                </a:lnTo>
                <a:lnTo>
                  <a:pt x="344" y="1182"/>
                </a:lnTo>
                <a:lnTo>
                  <a:pt x="343" y="1189"/>
                </a:lnTo>
                <a:lnTo>
                  <a:pt x="344" y="1195"/>
                </a:lnTo>
                <a:lnTo>
                  <a:pt x="346" y="1202"/>
                </a:lnTo>
                <a:lnTo>
                  <a:pt x="349" y="1209"/>
                </a:lnTo>
                <a:lnTo>
                  <a:pt x="354" y="1217"/>
                </a:lnTo>
                <a:lnTo>
                  <a:pt x="360" y="1225"/>
                </a:lnTo>
                <a:lnTo>
                  <a:pt x="368" y="1232"/>
                </a:lnTo>
                <a:lnTo>
                  <a:pt x="376" y="1239"/>
                </a:lnTo>
                <a:lnTo>
                  <a:pt x="396" y="1254"/>
                </a:lnTo>
                <a:lnTo>
                  <a:pt x="418" y="1270"/>
                </a:lnTo>
                <a:lnTo>
                  <a:pt x="442" y="1285"/>
                </a:lnTo>
                <a:lnTo>
                  <a:pt x="467" y="1299"/>
                </a:lnTo>
                <a:lnTo>
                  <a:pt x="519" y="1327"/>
                </a:lnTo>
                <a:lnTo>
                  <a:pt x="565" y="1350"/>
                </a:lnTo>
                <a:lnTo>
                  <a:pt x="585" y="1361"/>
                </a:lnTo>
                <a:lnTo>
                  <a:pt x="601" y="1370"/>
                </a:lnTo>
                <a:lnTo>
                  <a:pt x="601" y="1370"/>
                </a:lnTo>
                <a:lnTo>
                  <a:pt x="608" y="1375"/>
                </a:lnTo>
                <a:lnTo>
                  <a:pt x="611" y="1379"/>
                </a:lnTo>
                <a:lnTo>
                  <a:pt x="613" y="1382"/>
                </a:lnTo>
                <a:lnTo>
                  <a:pt x="611" y="1385"/>
                </a:lnTo>
                <a:lnTo>
                  <a:pt x="608" y="1387"/>
                </a:lnTo>
                <a:lnTo>
                  <a:pt x="604" y="1389"/>
                </a:lnTo>
                <a:lnTo>
                  <a:pt x="598" y="1390"/>
                </a:lnTo>
                <a:lnTo>
                  <a:pt x="598" y="1390"/>
                </a:lnTo>
                <a:lnTo>
                  <a:pt x="588" y="1390"/>
                </a:lnTo>
                <a:lnTo>
                  <a:pt x="576" y="1388"/>
                </a:lnTo>
                <a:lnTo>
                  <a:pt x="561" y="1385"/>
                </a:lnTo>
                <a:lnTo>
                  <a:pt x="545" y="1380"/>
                </a:lnTo>
                <a:lnTo>
                  <a:pt x="509" y="1369"/>
                </a:lnTo>
                <a:lnTo>
                  <a:pt x="469" y="1354"/>
                </a:lnTo>
                <a:lnTo>
                  <a:pt x="387" y="1323"/>
                </a:lnTo>
                <a:lnTo>
                  <a:pt x="349" y="1307"/>
                </a:lnTo>
                <a:lnTo>
                  <a:pt x="314" y="1296"/>
                </a:lnTo>
                <a:lnTo>
                  <a:pt x="314" y="1296"/>
                </a:lnTo>
                <a:lnTo>
                  <a:pt x="303" y="1293"/>
                </a:lnTo>
                <a:lnTo>
                  <a:pt x="292" y="1291"/>
                </a:lnTo>
                <a:lnTo>
                  <a:pt x="283" y="1291"/>
                </a:lnTo>
                <a:lnTo>
                  <a:pt x="275" y="1292"/>
                </a:lnTo>
                <a:lnTo>
                  <a:pt x="268" y="1294"/>
                </a:lnTo>
                <a:lnTo>
                  <a:pt x="262" y="1297"/>
                </a:lnTo>
                <a:lnTo>
                  <a:pt x="257" y="1300"/>
                </a:lnTo>
                <a:lnTo>
                  <a:pt x="253" y="1303"/>
                </a:lnTo>
                <a:lnTo>
                  <a:pt x="244" y="1312"/>
                </a:lnTo>
                <a:lnTo>
                  <a:pt x="238" y="1319"/>
                </a:lnTo>
                <a:lnTo>
                  <a:pt x="234" y="1324"/>
                </a:lnTo>
                <a:lnTo>
                  <a:pt x="231" y="1325"/>
                </a:lnTo>
                <a:lnTo>
                  <a:pt x="229" y="1326"/>
                </a:lnTo>
                <a:lnTo>
                  <a:pt x="229" y="1326"/>
                </a:lnTo>
                <a:lnTo>
                  <a:pt x="220" y="1325"/>
                </a:lnTo>
                <a:lnTo>
                  <a:pt x="210" y="1324"/>
                </a:lnTo>
                <a:lnTo>
                  <a:pt x="198" y="1325"/>
                </a:lnTo>
                <a:lnTo>
                  <a:pt x="188" y="1325"/>
                </a:lnTo>
                <a:lnTo>
                  <a:pt x="166" y="1329"/>
                </a:lnTo>
                <a:lnTo>
                  <a:pt x="143" y="1335"/>
                </a:lnTo>
                <a:lnTo>
                  <a:pt x="121" y="1343"/>
                </a:lnTo>
                <a:lnTo>
                  <a:pt x="98" y="1353"/>
                </a:lnTo>
                <a:lnTo>
                  <a:pt x="77" y="1367"/>
                </a:lnTo>
                <a:lnTo>
                  <a:pt x="66" y="1374"/>
                </a:lnTo>
                <a:lnTo>
                  <a:pt x="57" y="1381"/>
                </a:lnTo>
                <a:lnTo>
                  <a:pt x="48" y="1389"/>
                </a:lnTo>
                <a:lnTo>
                  <a:pt x="40" y="1397"/>
                </a:lnTo>
                <a:lnTo>
                  <a:pt x="32" y="1407"/>
                </a:lnTo>
                <a:lnTo>
                  <a:pt x="25" y="1416"/>
                </a:lnTo>
                <a:lnTo>
                  <a:pt x="18" y="1426"/>
                </a:lnTo>
                <a:lnTo>
                  <a:pt x="12" y="1435"/>
                </a:lnTo>
                <a:lnTo>
                  <a:pt x="8" y="1446"/>
                </a:lnTo>
                <a:lnTo>
                  <a:pt x="4" y="1458"/>
                </a:lnTo>
                <a:lnTo>
                  <a:pt x="2" y="1469"/>
                </a:lnTo>
                <a:lnTo>
                  <a:pt x="0" y="1480"/>
                </a:lnTo>
                <a:lnTo>
                  <a:pt x="0" y="1492"/>
                </a:lnTo>
                <a:lnTo>
                  <a:pt x="0" y="1505"/>
                </a:lnTo>
                <a:lnTo>
                  <a:pt x="3" y="1518"/>
                </a:lnTo>
                <a:lnTo>
                  <a:pt x="6" y="1530"/>
                </a:lnTo>
                <a:lnTo>
                  <a:pt x="11" y="1544"/>
                </a:lnTo>
                <a:lnTo>
                  <a:pt x="17" y="1558"/>
                </a:lnTo>
                <a:lnTo>
                  <a:pt x="17" y="1558"/>
                </a:lnTo>
                <a:lnTo>
                  <a:pt x="20" y="1553"/>
                </a:lnTo>
                <a:lnTo>
                  <a:pt x="30" y="1540"/>
                </a:lnTo>
                <a:lnTo>
                  <a:pt x="45" y="1521"/>
                </a:lnTo>
                <a:lnTo>
                  <a:pt x="53" y="1511"/>
                </a:lnTo>
                <a:lnTo>
                  <a:pt x="63" y="1501"/>
                </a:lnTo>
                <a:lnTo>
                  <a:pt x="75" y="1490"/>
                </a:lnTo>
                <a:lnTo>
                  <a:pt x="86" y="1481"/>
                </a:lnTo>
                <a:lnTo>
                  <a:pt x="98" y="1473"/>
                </a:lnTo>
                <a:lnTo>
                  <a:pt x="111" y="1466"/>
                </a:lnTo>
                <a:lnTo>
                  <a:pt x="125" y="1461"/>
                </a:lnTo>
                <a:lnTo>
                  <a:pt x="131" y="1459"/>
                </a:lnTo>
                <a:lnTo>
                  <a:pt x="138" y="1458"/>
                </a:lnTo>
                <a:lnTo>
                  <a:pt x="145" y="1458"/>
                </a:lnTo>
                <a:lnTo>
                  <a:pt x="151" y="1458"/>
                </a:lnTo>
                <a:lnTo>
                  <a:pt x="159" y="1459"/>
                </a:lnTo>
                <a:lnTo>
                  <a:pt x="166" y="1461"/>
                </a:lnTo>
                <a:lnTo>
                  <a:pt x="166" y="1461"/>
                </a:lnTo>
                <a:lnTo>
                  <a:pt x="171" y="1463"/>
                </a:lnTo>
                <a:lnTo>
                  <a:pt x="174" y="1467"/>
                </a:lnTo>
                <a:lnTo>
                  <a:pt x="175" y="1473"/>
                </a:lnTo>
                <a:lnTo>
                  <a:pt x="176" y="1479"/>
                </a:lnTo>
                <a:lnTo>
                  <a:pt x="176" y="1496"/>
                </a:lnTo>
                <a:lnTo>
                  <a:pt x="174" y="1514"/>
                </a:lnTo>
                <a:lnTo>
                  <a:pt x="174" y="1524"/>
                </a:lnTo>
                <a:lnTo>
                  <a:pt x="174" y="1534"/>
                </a:lnTo>
                <a:lnTo>
                  <a:pt x="176" y="1545"/>
                </a:lnTo>
                <a:lnTo>
                  <a:pt x="178" y="1554"/>
                </a:lnTo>
                <a:lnTo>
                  <a:pt x="182" y="1564"/>
                </a:lnTo>
                <a:lnTo>
                  <a:pt x="187" y="1573"/>
                </a:lnTo>
                <a:lnTo>
                  <a:pt x="195" y="1581"/>
                </a:lnTo>
                <a:lnTo>
                  <a:pt x="205" y="1589"/>
                </a:lnTo>
                <a:lnTo>
                  <a:pt x="205" y="1589"/>
                </a:lnTo>
                <a:lnTo>
                  <a:pt x="213" y="1593"/>
                </a:lnTo>
                <a:lnTo>
                  <a:pt x="221" y="1596"/>
                </a:lnTo>
                <a:lnTo>
                  <a:pt x="231" y="1599"/>
                </a:lnTo>
                <a:lnTo>
                  <a:pt x="242" y="1600"/>
                </a:lnTo>
                <a:lnTo>
                  <a:pt x="254" y="1602"/>
                </a:lnTo>
                <a:lnTo>
                  <a:pt x="267" y="1602"/>
                </a:lnTo>
                <a:lnTo>
                  <a:pt x="293" y="1602"/>
                </a:lnTo>
                <a:lnTo>
                  <a:pt x="323" y="1600"/>
                </a:lnTo>
                <a:lnTo>
                  <a:pt x="354" y="1597"/>
                </a:lnTo>
                <a:lnTo>
                  <a:pt x="418" y="1589"/>
                </a:lnTo>
                <a:lnTo>
                  <a:pt x="481" y="1580"/>
                </a:lnTo>
                <a:lnTo>
                  <a:pt x="510" y="1576"/>
                </a:lnTo>
                <a:lnTo>
                  <a:pt x="538" y="1574"/>
                </a:lnTo>
                <a:lnTo>
                  <a:pt x="562" y="1573"/>
                </a:lnTo>
                <a:lnTo>
                  <a:pt x="583" y="1574"/>
                </a:lnTo>
                <a:lnTo>
                  <a:pt x="592" y="1575"/>
                </a:lnTo>
                <a:lnTo>
                  <a:pt x="600" y="1577"/>
                </a:lnTo>
                <a:lnTo>
                  <a:pt x="607" y="1580"/>
                </a:lnTo>
                <a:lnTo>
                  <a:pt x="613" y="1585"/>
                </a:lnTo>
                <a:lnTo>
                  <a:pt x="613" y="1585"/>
                </a:lnTo>
                <a:lnTo>
                  <a:pt x="616" y="1588"/>
                </a:lnTo>
                <a:lnTo>
                  <a:pt x="617" y="1591"/>
                </a:lnTo>
                <a:lnTo>
                  <a:pt x="616" y="1593"/>
                </a:lnTo>
                <a:lnTo>
                  <a:pt x="611" y="1596"/>
                </a:lnTo>
                <a:lnTo>
                  <a:pt x="607" y="1598"/>
                </a:lnTo>
                <a:lnTo>
                  <a:pt x="600" y="1601"/>
                </a:lnTo>
                <a:lnTo>
                  <a:pt x="583" y="1605"/>
                </a:lnTo>
                <a:lnTo>
                  <a:pt x="560" y="1609"/>
                </a:lnTo>
                <a:lnTo>
                  <a:pt x="535" y="1612"/>
                </a:lnTo>
                <a:lnTo>
                  <a:pt x="474" y="1620"/>
                </a:lnTo>
                <a:lnTo>
                  <a:pt x="443" y="1624"/>
                </a:lnTo>
                <a:lnTo>
                  <a:pt x="412" y="1629"/>
                </a:lnTo>
                <a:lnTo>
                  <a:pt x="382" y="1636"/>
                </a:lnTo>
                <a:lnTo>
                  <a:pt x="356" y="1642"/>
                </a:lnTo>
                <a:lnTo>
                  <a:pt x="344" y="1646"/>
                </a:lnTo>
                <a:lnTo>
                  <a:pt x="332" y="1650"/>
                </a:lnTo>
                <a:lnTo>
                  <a:pt x="322" y="1654"/>
                </a:lnTo>
                <a:lnTo>
                  <a:pt x="314" y="1659"/>
                </a:lnTo>
                <a:lnTo>
                  <a:pt x="307" y="1664"/>
                </a:lnTo>
                <a:lnTo>
                  <a:pt x="302" y="1669"/>
                </a:lnTo>
                <a:lnTo>
                  <a:pt x="298" y="1676"/>
                </a:lnTo>
                <a:lnTo>
                  <a:pt x="296" y="1682"/>
                </a:lnTo>
                <a:lnTo>
                  <a:pt x="296" y="1682"/>
                </a:lnTo>
                <a:lnTo>
                  <a:pt x="295" y="1687"/>
                </a:lnTo>
                <a:lnTo>
                  <a:pt x="295" y="1696"/>
                </a:lnTo>
                <a:lnTo>
                  <a:pt x="296" y="1707"/>
                </a:lnTo>
                <a:lnTo>
                  <a:pt x="298" y="1713"/>
                </a:lnTo>
                <a:lnTo>
                  <a:pt x="300" y="1718"/>
                </a:lnTo>
                <a:lnTo>
                  <a:pt x="300" y="1718"/>
                </a:lnTo>
                <a:lnTo>
                  <a:pt x="301" y="1725"/>
                </a:lnTo>
                <a:lnTo>
                  <a:pt x="301" y="1731"/>
                </a:lnTo>
                <a:lnTo>
                  <a:pt x="298" y="1737"/>
                </a:lnTo>
                <a:lnTo>
                  <a:pt x="293" y="1743"/>
                </a:lnTo>
                <a:lnTo>
                  <a:pt x="283" y="1757"/>
                </a:lnTo>
                <a:lnTo>
                  <a:pt x="269" y="1775"/>
                </a:lnTo>
                <a:lnTo>
                  <a:pt x="261" y="1785"/>
                </a:lnTo>
                <a:lnTo>
                  <a:pt x="254" y="1795"/>
                </a:lnTo>
                <a:lnTo>
                  <a:pt x="246" y="1807"/>
                </a:lnTo>
                <a:lnTo>
                  <a:pt x="240" y="1820"/>
                </a:lnTo>
                <a:lnTo>
                  <a:pt x="234" y="1834"/>
                </a:lnTo>
                <a:lnTo>
                  <a:pt x="230" y="1849"/>
                </a:lnTo>
                <a:lnTo>
                  <a:pt x="226" y="1866"/>
                </a:lnTo>
                <a:lnTo>
                  <a:pt x="225" y="1884"/>
                </a:lnTo>
                <a:lnTo>
                  <a:pt x="225" y="1884"/>
                </a:lnTo>
                <a:lnTo>
                  <a:pt x="225" y="1893"/>
                </a:lnTo>
                <a:lnTo>
                  <a:pt x="225" y="1902"/>
                </a:lnTo>
                <a:lnTo>
                  <a:pt x="228" y="1920"/>
                </a:lnTo>
                <a:lnTo>
                  <a:pt x="233" y="1937"/>
                </a:lnTo>
                <a:lnTo>
                  <a:pt x="239" y="1953"/>
                </a:lnTo>
                <a:lnTo>
                  <a:pt x="247" y="1968"/>
                </a:lnTo>
                <a:lnTo>
                  <a:pt x="257" y="1982"/>
                </a:lnTo>
                <a:lnTo>
                  <a:pt x="267" y="1995"/>
                </a:lnTo>
                <a:lnTo>
                  <a:pt x="277" y="2007"/>
                </a:lnTo>
                <a:lnTo>
                  <a:pt x="287" y="2017"/>
                </a:lnTo>
                <a:lnTo>
                  <a:pt x="298" y="2026"/>
                </a:lnTo>
                <a:lnTo>
                  <a:pt x="315" y="2042"/>
                </a:lnTo>
                <a:lnTo>
                  <a:pt x="327" y="2050"/>
                </a:lnTo>
                <a:lnTo>
                  <a:pt x="332" y="2054"/>
                </a:lnTo>
                <a:lnTo>
                  <a:pt x="332" y="2054"/>
                </a:lnTo>
                <a:lnTo>
                  <a:pt x="334" y="2050"/>
                </a:lnTo>
                <a:lnTo>
                  <a:pt x="335" y="2045"/>
                </a:lnTo>
                <a:lnTo>
                  <a:pt x="335" y="2036"/>
                </a:lnTo>
                <a:lnTo>
                  <a:pt x="334" y="2027"/>
                </a:lnTo>
                <a:lnTo>
                  <a:pt x="331" y="2006"/>
                </a:lnTo>
                <a:lnTo>
                  <a:pt x="328" y="1980"/>
                </a:lnTo>
                <a:lnTo>
                  <a:pt x="327" y="1968"/>
                </a:lnTo>
                <a:lnTo>
                  <a:pt x="326" y="1955"/>
                </a:lnTo>
                <a:lnTo>
                  <a:pt x="326" y="1943"/>
                </a:lnTo>
                <a:lnTo>
                  <a:pt x="328" y="1932"/>
                </a:lnTo>
                <a:lnTo>
                  <a:pt x="330" y="1922"/>
                </a:lnTo>
                <a:lnTo>
                  <a:pt x="334" y="1913"/>
                </a:lnTo>
                <a:lnTo>
                  <a:pt x="337" y="1910"/>
                </a:lnTo>
                <a:lnTo>
                  <a:pt x="341" y="1906"/>
                </a:lnTo>
                <a:lnTo>
                  <a:pt x="344" y="1904"/>
                </a:lnTo>
                <a:lnTo>
                  <a:pt x="348" y="1901"/>
                </a:lnTo>
                <a:lnTo>
                  <a:pt x="348" y="1901"/>
                </a:lnTo>
                <a:lnTo>
                  <a:pt x="353" y="1900"/>
                </a:lnTo>
                <a:lnTo>
                  <a:pt x="357" y="1900"/>
                </a:lnTo>
                <a:lnTo>
                  <a:pt x="362" y="1901"/>
                </a:lnTo>
                <a:lnTo>
                  <a:pt x="366" y="1905"/>
                </a:lnTo>
                <a:lnTo>
                  <a:pt x="375" y="1912"/>
                </a:lnTo>
                <a:lnTo>
                  <a:pt x="386" y="1921"/>
                </a:lnTo>
                <a:lnTo>
                  <a:pt x="397" y="1932"/>
                </a:lnTo>
                <a:lnTo>
                  <a:pt x="410" y="1941"/>
                </a:lnTo>
                <a:lnTo>
                  <a:pt x="417" y="1946"/>
                </a:lnTo>
                <a:lnTo>
                  <a:pt x="424" y="1950"/>
                </a:lnTo>
                <a:lnTo>
                  <a:pt x="434" y="1953"/>
                </a:lnTo>
                <a:lnTo>
                  <a:pt x="442" y="1955"/>
                </a:lnTo>
                <a:lnTo>
                  <a:pt x="442" y="1955"/>
                </a:lnTo>
                <a:lnTo>
                  <a:pt x="451" y="1955"/>
                </a:lnTo>
                <a:lnTo>
                  <a:pt x="460" y="1955"/>
                </a:lnTo>
                <a:lnTo>
                  <a:pt x="468" y="1954"/>
                </a:lnTo>
                <a:lnTo>
                  <a:pt x="478" y="1952"/>
                </a:lnTo>
                <a:lnTo>
                  <a:pt x="486" y="1948"/>
                </a:lnTo>
                <a:lnTo>
                  <a:pt x="494" y="1944"/>
                </a:lnTo>
                <a:lnTo>
                  <a:pt x="501" y="1940"/>
                </a:lnTo>
                <a:lnTo>
                  <a:pt x="509" y="1935"/>
                </a:lnTo>
                <a:lnTo>
                  <a:pt x="525" y="1923"/>
                </a:lnTo>
                <a:lnTo>
                  <a:pt x="539" y="1909"/>
                </a:lnTo>
                <a:lnTo>
                  <a:pt x="554" y="1892"/>
                </a:lnTo>
                <a:lnTo>
                  <a:pt x="571" y="1875"/>
                </a:lnTo>
                <a:lnTo>
                  <a:pt x="604" y="1836"/>
                </a:lnTo>
                <a:lnTo>
                  <a:pt x="624" y="1817"/>
                </a:lnTo>
                <a:lnTo>
                  <a:pt x="644" y="1797"/>
                </a:lnTo>
                <a:lnTo>
                  <a:pt x="667" y="1777"/>
                </a:lnTo>
                <a:lnTo>
                  <a:pt x="691" y="1758"/>
                </a:lnTo>
                <a:lnTo>
                  <a:pt x="705" y="1749"/>
                </a:lnTo>
                <a:lnTo>
                  <a:pt x="718" y="1741"/>
                </a:lnTo>
                <a:lnTo>
                  <a:pt x="732" y="1733"/>
                </a:lnTo>
                <a:lnTo>
                  <a:pt x="747" y="1725"/>
                </a:lnTo>
                <a:lnTo>
                  <a:pt x="747" y="1725"/>
                </a:lnTo>
                <a:lnTo>
                  <a:pt x="787" y="1706"/>
                </a:lnTo>
                <a:lnTo>
                  <a:pt x="819" y="1694"/>
                </a:lnTo>
                <a:lnTo>
                  <a:pt x="831" y="1689"/>
                </a:lnTo>
                <a:lnTo>
                  <a:pt x="843" y="1686"/>
                </a:lnTo>
                <a:lnTo>
                  <a:pt x="852" y="1685"/>
                </a:lnTo>
                <a:lnTo>
                  <a:pt x="859" y="1684"/>
                </a:lnTo>
                <a:lnTo>
                  <a:pt x="865" y="1684"/>
                </a:lnTo>
                <a:lnTo>
                  <a:pt x="869" y="1686"/>
                </a:lnTo>
                <a:lnTo>
                  <a:pt x="872" y="1688"/>
                </a:lnTo>
                <a:lnTo>
                  <a:pt x="874" y="1691"/>
                </a:lnTo>
                <a:lnTo>
                  <a:pt x="876" y="1694"/>
                </a:lnTo>
                <a:lnTo>
                  <a:pt x="876" y="1698"/>
                </a:lnTo>
                <a:lnTo>
                  <a:pt x="875" y="1708"/>
                </a:lnTo>
                <a:lnTo>
                  <a:pt x="872" y="1720"/>
                </a:lnTo>
                <a:lnTo>
                  <a:pt x="868" y="1734"/>
                </a:lnTo>
                <a:lnTo>
                  <a:pt x="865" y="1747"/>
                </a:lnTo>
                <a:lnTo>
                  <a:pt x="863" y="1759"/>
                </a:lnTo>
                <a:lnTo>
                  <a:pt x="863" y="1765"/>
                </a:lnTo>
                <a:lnTo>
                  <a:pt x="863" y="1772"/>
                </a:lnTo>
                <a:lnTo>
                  <a:pt x="865" y="1777"/>
                </a:lnTo>
                <a:lnTo>
                  <a:pt x="867" y="1782"/>
                </a:lnTo>
                <a:lnTo>
                  <a:pt x="870" y="1786"/>
                </a:lnTo>
                <a:lnTo>
                  <a:pt x="875" y="1790"/>
                </a:lnTo>
                <a:lnTo>
                  <a:pt x="881" y="1793"/>
                </a:lnTo>
                <a:lnTo>
                  <a:pt x="889" y="1795"/>
                </a:lnTo>
                <a:lnTo>
                  <a:pt x="889" y="1795"/>
                </a:lnTo>
                <a:lnTo>
                  <a:pt x="901" y="1799"/>
                </a:lnTo>
                <a:lnTo>
                  <a:pt x="912" y="1802"/>
                </a:lnTo>
                <a:lnTo>
                  <a:pt x="921" y="1807"/>
                </a:lnTo>
                <a:lnTo>
                  <a:pt x="928" y="1811"/>
                </a:lnTo>
                <a:lnTo>
                  <a:pt x="935" y="1817"/>
                </a:lnTo>
                <a:lnTo>
                  <a:pt x="940" y="1822"/>
                </a:lnTo>
                <a:lnTo>
                  <a:pt x="943" y="1828"/>
                </a:lnTo>
                <a:lnTo>
                  <a:pt x="945" y="1834"/>
                </a:lnTo>
                <a:lnTo>
                  <a:pt x="947" y="1840"/>
                </a:lnTo>
                <a:lnTo>
                  <a:pt x="947" y="1846"/>
                </a:lnTo>
                <a:lnTo>
                  <a:pt x="946" y="1853"/>
                </a:lnTo>
                <a:lnTo>
                  <a:pt x="945" y="1860"/>
                </a:lnTo>
                <a:lnTo>
                  <a:pt x="943" y="1867"/>
                </a:lnTo>
                <a:lnTo>
                  <a:pt x="940" y="1874"/>
                </a:lnTo>
                <a:lnTo>
                  <a:pt x="932" y="1887"/>
                </a:lnTo>
                <a:lnTo>
                  <a:pt x="922" y="1900"/>
                </a:lnTo>
                <a:lnTo>
                  <a:pt x="912" y="1913"/>
                </a:lnTo>
                <a:lnTo>
                  <a:pt x="902" y="1924"/>
                </a:lnTo>
                <a:lnTo>
                  <a:pt x="892" y="1934"/>
                </a:lnTo>
                <a:lnTo>
                  <a:pt x="875" y="1948"/>
                </a:lnTo>
                <a:lnTo>
                  <a:pt x="869" y="1955"/>
                </a:lnTo>
                <a:lnTo>
                  <a:pt x="869" y="1955"/>
                </a:lnTo>
                <a:lnTo>
                  <a:pt x="877" y="1959"/>
                </a:lnTo>
                <a:lnTo>
                  <a:pt x="888" y="1961"/>
                </a:lnTo>
                <a:lnTo>
                  <a:pt x="899" y="1962"/>
                </a:lnTo>
                <a:lnTo>
                  <a:pt x="912" y="1961"/>
                </a:lnTo>
                <a:lnTo>
                  <a:pt x="926" y="1958"/>
                </a:lnTo>
                <a:lnTo>
                  <a:pt x="941" y="1954"/>
                </a:lnTo>
                <a:lnTo>
                  <a:pt x="957" y="1947"/>
                </a:lnTo>
                <a:lnTo>
                  <a:pt x="972" y="1939"/>
                </a:lnTo>
                <a:lnTo>
                  <a:pt x="989" y="1930"/>
                </a:lnTo>
                <a:lnTo>
                  <a:pt x="1004" y="1919"/>
                </a:lnTo>
                <a:lnTo>
                  <a:pt x="1019" y="1906"/>
                </a:lnTo>
                <a:lnTo>
                  <a:pt x="1035" y="1891"/>
                </a:lnTo>
                <a:lnTo>
                  <a:pt x="1048" y="1874"/>
                </a:lnTo>
                <a:lnTo>
                  <a:pt x="1061" y="1855"/>
                </a:lnTo>
                <a:lnTo>
                  <a:pt x="1073" y="1835"/>
                </a:lnTo>
                <a:lnTo>
                  <a:pt x="1083" y="1814"/>
                </a:lnTo>
                <a:lnTo>
                  <a:pt x="1083" y="1814"/>
                </a:lnTo>
                <a:lnTo>
                  <a:pt x="1086" y="1805"/>
                </a:lnTo>
                <a:lnTo>
                  <a:pt x="1089" y="1799"/>
                </a:lnTo>
                <a:lnTo>
                  <a:pt x="1092" y="1794"/>
                </a:lnTo>
                <a:lnTo>
                  <a:pt x="1096" y="1790"/>
                </a:lnTo>
                <a:lnTo>
                  <a:pt x="1100" y="1787"/>
                </a:lnTo>
                <a:lnTo>
                  <a:pt x="1103" y="1784"/>
                </a:lnTo>
                <a:lnTo>
                  <a:pt x="1111" y="1781"/>
                </a:lnTo>
                <a:lnTo>
                  <a:pt x="1120" y="1778"/>
                </a:lnTo>
                <a:lnTo>
                  <a:pt x="1129" y="1774"/>
                </a:lnTo>
                <a:lnTo>
                  <a:pt x="1138" y="1768"/>
                </a:lnTo>
                <a:lnTo>
                  <a:pt x="1143" y="1763"/>
                </a:lnTo>
                <a:lnTo>
                  <a:pt x="1148" y="1758"/>
                </a:lnTo>
                <a:lnTo>
                  <a:pt x="1148" y="1758"/>
                </a:lnTo>
                <a:lnTo>
                  <a:pt x="1151" y="1752"/>
                </a:lnTo>
                <a:lnTo>
                  <a:pt x="1154" y="1746"/>
                </a:lnTo>
                <a:lnTo>
                  <a:pt x="1158" y="1740"/>
                </a:lnTo>
                <a:lnTo>
                  <a:pt x="1159" y="1734"/>
                </a:lnTo>
                <a:lnTo>
                  <a:pt x="1160" y="1719"/>
                </a:lnTo>
                <a:lnTo>
                  <a:pt x="1160" y="1705"/>
                </a:lnTo>
                <a:lnTo>
                  <a:pt x="1160" y="1690"/>
                </a:lnTo>
                <a:lnTo>
                  <a:pt x="1160" y="1676"/>
                </a:lnTo>
                <a:lnTo>
                  <a:pt x="1162" y="1661"/>
                </a:lnTo>
                <a:lnTo>
                  <a:pt x="1164" y="1655"/>
                </a:lnTo>
                <a:lnTo>
                  <a:pt x="1166" y="1649"/>
                </a:lnTo>
                <a:lnTo>
                  <a:pt x="1166" y="1649"/>
                </a:lnTo>
                <a:lnTo>
                  <a:pt x="1170" y="1643"/>
                </a:lnTo>
                <a:lnTo>
                  <a:pt x="1174" y="1638"/>
                </a:lnTo>
                <a:lnTo>
                  <a:pt x="1178" y="1633"/>
                </a:lnTo>
                <a:lnTo>
                  <a:pt x="1183" y="1628"/>
                </a:lnTo>
                <a:lnTo>
                  <a:pt x="1195" y="1620"/>
                </a:lnTo>
                <a:lnTo>
                  <a:pt x="1209" y="1614"/>
                </a:lnTo>
                <a:lnTo>
                  <a:pt x="1223" y="1609"/>
                </a:lnTo>
                <a:lnTo>
                  <a:pt x="1237" y="1605"/>
                </a:lnTo>
                <a:lnTo>
                  <a:pt x="1268" y="1597"/>
                </a:lnTo>
                <a:lnTo>
                  <a:pt x="1298" y="1591"/>
                </a:lnTo>
                <a:lnTo>
                  <a:pt x="1310" y="1587"/>
                </a:lnTo>
                <a:lnTo>
                  <a:pt x="1321" y="1581"/>
                </a:lnTo>
                <a:lnTo>
                  <a:pt x="1329" y="1575"/>
                </a:lnTo>
                <a:lnTo>
                  <a:pt x="1333" y="1572"/>
                </a:lnTo>
                <a:lnTo>
                  <a:pt x="1335" y="1568"/>
                </a:lnTo>
                <a:lnTo>
                  <a:pt x="1338" y="1564"/>
                </a:lnTo>
                <a:lnTo>
                  <a:pt x="1340" y="1559"/>
                </a:lnTo>
                <a:lnTo>
                  <a:pt x="1340" y="1554"/>
                </a:lnTo>
                <a:lnTo>
                  <a:pt x="1340" y="1549"/>
                </a:lnTo>
                <a:lnTo>
                  <a:pt x="1340" y="1549"/>
                </a:lnTo>
                <a:lnTo>
                  <a:pt x="1338" y="1534"/>
                </a:lnTo>
                <a:lnTo>
                  <a:pt x="1338" y="1521"/>
                </a:lnTo>
                <a:lnTo>
                  <a:pt x="1341" y="1509"/>
                </a:lnTo>
                <a:lnTo>
                  <a:pt x="1345" y="1499"/>
                </a:lnTo>
                <a:lnTo>
                  <a:pt x="1350" y="1488"/>
                </a:lnTo>
                <a:lnTo>
                  <a:pt x="1355" y="1480"/>
                </a:lnTo>
                <a:lnTo>
                  <a:pt x="1362" y="1472"/>
                </a:lnTo>
                <a:lnTo>
                  <a:pt x="1370" y="1465"/>
                </a:lnTo>
                <a:lnTo>
                  <a:pt x="1378" y="1459"/>
                </a:lnTo>
                <a:lnTo>
                  <a:pt x="1388" y="1453"/>
                </a:lnTo>
                <a:lnTo>
                  <a:pt x="1406" y="1443"/>
                </a:lnTo>
                <a:lnTo>
                  <a:pt x="1424" y="1435"/>
                </a:lnTo>
                <a:lnTo>
                  <a:pt x="1441" y="1428"/>
                </a:lnTo>
                <a:lnTo>
                  <a:pt x="1441" y="1428"/>
                </a:lnTo>
                <a:lnTo>
                  <a:pt x="1443" y="1428"/>
                </a:lnTo>
                <a:lnTo>
                  <a:pt x="1444" y="1429"/>
                </a:lnTo>
                <a:lnTo>
                  <a:pt x="1447" y="1431"/>
                </a:lnTo>
                <a:lnTo>
                  <a:pt x="1449" y="1436"/>
                </a:lnTo>
                <a:lnTo>
                  <a:pt x="1453" y="1443"/>
                </a:lnTo>
                <a:lnTo>
                  <a:pt x="1461" y="1462"/>
                </a:lnTo>
                <a:lnTo>
                  <a:pt x="1467" y="1473"/>
                </a:lnTo>
                <a:lnTo>
                  <a:pt x="1474" y="1485"/>
                </a:lnTo>
                <a:lnTo>
                  <a:pt x="1484" y="1498"/>
                </a:lnTo>
                <a:lnTo>
                  <a:pt x="1494" y="1511"/>
                </a:lnTo>
                <a:lnTo>
                  <a:pt x="1506" y="1525"/>
                </a:lnTo>
                <a:lnTo>
                  <a:pt x="1522" y="1539"/>
                </a:lnTo>
                <a:lnTo>
                  <a:pt x="1539" y="1552"/>
                </a:lnTo>
                <a:lnTo>
                  <a:pt x="1559" y="1564"/>
                </a:lnTo>
                <a:lnTo>
                  <a:pt x="1583" y="1576"/>
                </a:lnTo>
                <a:lnTo>
                  <a:pt x="1609" y="1587"/>
                </a:lnTo>
                <a:lnTo>
                  <a:pt x="1609" y="1587"/>
                </a:lnTo>
                <a:lnTo>
                  <a:pt x="1684" y="1556"/>
                </a:lnTo>
                <a:lnTo>
                  <a:pt x="1730" y="1534"/>
                </a:lnTo>
                <a:lnTo>
                  <a:pt x="1757" y="1521"/>
                </a:lnTo>
                <a:lnTo>
                  <a:pt x="1786" y="1506"/>
                </a:lnTo>
                <a:lnTo>
                  <a:pt x="1786" y="1506"/>
                </a:lnTo>
                <a:lnTo>
                  <a:pt x="1818" y="1489"/>
                </a:lnTo>
                <a:lnTo>
                  <a:pt x="1848" y="1472"/>
                </a:lnTo>
                <a:lnTo>
                  <a:pt x="1860" y="1464"/>
                </a:lnTo>
                <a:lnTo>
                  <a:pt x="1871" y="1457"/>
                </a:lnTo>
                <a:lnTo>
                  <a:pt x="1881" y="1449"/>
                </a:lnTo>
                <a:lnTo>
                  <a:pt x="1889" y="1442"/>
                </a:lnTo>
                <a:lnTo>
                  <a:pt x="1889" y="1442"/>
                </a:lnTo>
                <a:lnTo>
                  <a:pt x="1888" y="1440"/>
                </a:lnTo>
                <a:lnTo>
                  <a:pt x="1887" y="1438"/>
                </a:lnTo>
                <a:lnTo>
                  <a:pt x="1879" y="1431"/>
                </a:lnTo>
                <a:lnTo>
                  <a:pt x="1868" y="1420"/>
                </a:lnTo>
                <a:lnTo>
                  <a:pt x="1855" y="1406"/>
                </a:lnTo>
                <a:lnTo>
                  <a:pt x="1840" y="1388"/>
                </a:lnTo>
                <a:lnTo>
                  <a:pt x="1825" y="1369"/>
                </a:lnTo>
                <a:lnTo>
                  <a:pt x="1818" y="1358"/>
                </a:lnTo>
                <a:lnTo>
                  <a:pt x="1812" y="1345"/>
                </a:lnTo>
                <a:lnTo>
                  <a:pt x="1807" y="1334"/>
                </a:lnTo>
                <a:lnTo>
                  <a:pt x="1802" y="1321"/>
                </a:lnTo>
                <a:lnTo>
                  <a:pt x="1802" y="1321"/>
                </a:lnTo>
                <a:lnTo>
                  <a:pt x="1799" y="1308"/>
                </a:lnTo>
                <a:lnTo>
                  <a:pt x="1796" y="1297"/>
                </a:lnTo>
                <a:lnTo>
                  <a:pt x="1794" y="1288"/>
                </a:lnTo>
                <a:lnTo>
                  <a:pt x="1794" y="1279"/>
                </a:lnTo>
                <a:lnTo>
                  <a:pt x="1794" y="1272"/>
                </a:lnTo>
                <a:lnTo>
                  <a:pt x="1794" y="1267"/>
                </a:lnTo>
                <a:lnTo>
                  <a:pt x="1795" y="1263"/>
                </a:lnTo>
                <a:lnTo>
                  <a:pt x="1796" y="1261"/>
                </a:lnTo>
                <a:lnTo>
                  <a:pt x="1796" y="1261"/>
                </a:lnTo>
                <a:lnTo>
                  <a:pt x="1809" y="1278"/>
                </a:lnTo>
                <a:lnTo>
                  <a:pt x="1824" y="1295"/>
                </a:lnTo>
                <a:lnTo>
                  <a:pt x="1845" y="1316"/>
                </a:lnTo>
                <a:lnTo>
                  <a:pt x="1857" y="1327"/>
                </a:lnTo>
                <a:lnTo>
                  <a:pt x="1869" y="1338"/>
                </a:lnTo>
                <a:lnTo>
                  <a:pt x="1883" y="1349"/>
                </a:lnTo>
                <a:lnTo>
                  <a:pt x="1899" y="1361"/>
                </a:lnTo>
                <a:lnTo>
                  <a:pt x="1915" y="1372"/>
                </a:lnTo>
                <a:lnTo>
                  <a:pt x="1932" y="1381"/>
                </a:lnTo>
                <a:lnTo>
                  <a:pt x="1949" y="1390"/>
                </a:lnTo>
                <a:lnTo>
                  <a:pt x="1967" y="1398"/>
                </a:lnTo>
                <a:lnTo>
                  <a:pt x="1967" y="1398"/>
                </a:lnTo>
                <a:lnTo>
                  <a:pt x="2021" y="1370"/>
                </a:lnTo>
                <a:lnTo>
                  <a:pt x="2075" y="1340"/>
                </a:lnTo>
                <a:lnTo>
                  <a:pt x="2129" y="1307"/>
                </a:lnTo>
                <a:lnTo>
                  <a:pt x="2183" y="1273"/>
                </a:lnTo>
                <a:lnTo>
                  <a:pt x="2183" y="1273"/>
                </a:lnTo>
                <a:lnTo>
                  <a:pt x="2218" y="1249"/>
                </a:lnTo>
                <a:lnTo>
                  <a:pt x="2218" y="1249"/>
                </a:lnTo>
                <a:lnTo>
                  <a:pt x="2219" y="1248"/>
                </a:lnTo>
                <a:lnTo>
                  <a:pt x="2219" y="1248"/>
                </a:lnTo>
                <a:lnTo>
                  <a:pt x="2220" y="1246"/>
                </a:lnTo>
                <a:lnTo>
                  <a:pt x="2219" y="1244"/>
                </a:lnTo>
                <a:lnTo>
                  <a:pt x="2215" y="1237"/>
                </a:lnTo>
                <a:lnTo>
                  <a:pt x="2207" y="1228"/>
                </a:lnTo>
                <a:lnTo>
                  <a:pt x="2196" y="1217"/>
                </a:lnTo>
                <a:lnTo>
                  <a:pt x="2171" y="1193"/>
                </a:lnTo>
                <a:lnTo>
                  <a:pt x="2142" y="1164"/>
                </a:lnTo>
                <a:lnTo>
                  <a:pt x="2129" y="1150"/>
                </a:lnTo>
                <a:lnTo>
                  <a:pt x="2118" y="1136"/>
                </a:lnTo>
                <a:lnTo>
                  <a:pt x="2108" y="1121"/>
                </a:lnTo>
                <a:lnTo>
                  <a:pt x="2104" y="1114"/>
                </a:lnTo>
                <a:lnTo>
                  <a:pt x="2101" y="1108"/>
                </a:lnTo>
                <a:lnTo>
                  <a:pt x="2100" y="1101"/>
                </a:lnTo>
                <a:lnTo>
                  <a:pt x="2099" y="1095"/>
                </a:lnTo>
                <a:lnTo>
                  <a:pt x="2099" y="1089"/>
                </a:lnTo>
                <a:lnTo>
                  <a:pt x="2100" y="1084"/>
                </a:lnTo>
                <a:lnTo>
                  <a:pt x="2102" y="1078"/>
                </a:lnTo>
                <a:lnTo>
                  <a:pt x="2106" y="1073"/>
                </a:lnTo>
                <a:lnTo>
                  <a:pt x="2112" y="1069"/>
                </a:lnTo>
                <a:lnTo>
                  <a:pt x="2119" y="1065"/>
                </a:lnTo>
                <a:lnTo>
                  <a:pt x="2119" y="1065"/>
                </a:lnTo>
                <a:lnTo>
                  <a:pt x="2125" y="1061"/>
                </a:lnTo>
                <a:lnTo>
                  <a:pt x="2130" y="1056"/>
                </a:lnTo>
                <a:lnTo>
                  <a:pt x="2133" y="1051"/>
                </a:lnTo>
                <a:lnTo>
                  <a:pt x="2135" y="1045"/>
                </a:lnTo>
                <a:lnTo>
                  <a:pt x="2136" y="1039"/>
                </a:lnTo>
                <a:lnTo>
                  <a:pt x="2136" y="1030"/>
                </a:lnTo>
                <a:lnTo>
                  <a:pt x="2136" y="1023"/>
                </a:lnTo>
                <a:lnTo>
                  <a:pt x="2134" y="1014"/>
                </a:lnTo>
                <a:lnTo>
                  <a:pt x="2129" y="997"/>
                </a:lnTo>
                <a:lnTo>
                  <a:pt x="2121" y="977"/>
                </a:lnTo>
                <a:lnTo>
                  <a:pt x="2102" y="935"/>
                </a:lnTo>
                <a:lnTo>
                  <a:pt x="2093" y="914"/>
                </a:lnTo>
                <a:lnTo>
                  <a:pt x="2085" y="893"/>
                </a:lnTo>
                <a:lnTo>
                  <a:pt x="2078" y="873"/>
                </a:lnTo>
                <a:lnTo>
                  <a:pt x="2076" y="863"/>
                </a:lnTo>
                <a:lnTo>
                  <a:pt x="2074" y="853"/>
                </a:lnTo>
                <a:lnTo>
                  <a:pt x="2074" y="844"/>
                </a:lnTo>
                <a:lnTo>
                  <a:pt x="2074" y="836"/>
                </a:lnTo>
                <a:lnTo>
                  <a:pt x="2075" y="828"/>
                </a:lnTo>
                <a:lnTo>
                  <a:pt x="2077" y="821"/>
                </a:lnTo>
                <a:lnTo>
                  <a:pt x="2080" y="814"/>
                </a:lnTo>
                <a:lnTo>
                  <a:pt x="2085" y="807"/>
                </a:lnTo>
                <a:lnTo>
                  <a:pt x="2091" y="801"/>
                </a:lnTo>
                <a:lnTo>
                  <a:pt x="2099" y="797"/>
                </a:lnTo>
                <a:lnTo>
                  <a:pt x="2099" y="797"/>
                </a:lnTo>
                <a:lnTo>
                  <a:pt x="2200" y="744"/>
                </a:lnTo>
                <a:lnTo>
                  <a:pt x="2306" y="693"/>
                </a:lnTo>
                <a:lnTo>
                  <a:pt x="2410" y="642"/>
                </a:lnTo>
                <a:lnTo>
                  <a:pt x="2513" y="592"/>
                </a:lnTo>
                <a:lnTo>
                  <a:pt x="2705" y="501"/>
                </a:lnTo>
                <a:lnTo>
                  <a:pt x="2788" y="461"/>
                </a:lnTo>
                <a:lnTo>
                  <a:pt x="2863" y="424"/>
                </a:lnTo>
                <a:lnTo>
                  <a:pt x="2863" y="424"/>
                </a:lnTo>
                <a:lnTo>
                  <a:pt x="2859" y="408"/>
                </a:lnTo>
                <a:lnTo>
                  <a:pt x="2853" y="389"/>
                </a:lnTo>
                <a:lnTo>
                  <a:pt x="2843" y="366"/>
                </a:lnTo>
                <a:lnTo>
                  <a:pt x="2836" y="354"/>
                </a:lnTo>
                <a:lnTo>
                  <a:pt x="2829" y="339"/>
                </a:lnTo>
                <a:lnTo>
                  <a:pt x="2821" y="325"/>
                </a:lnTo>
                <a:lnTo>
                  <a:pt x="2812" y="311"/>
                </a:lnTo>
                <a:lnTo>
                  <a:pt x="2801" y="296"/>
                </a:lnTo>
                <a:lnTo>
                  <a:pt x="2788" y="281"/>
                </a:lnTo>
                <a:lnTo>
                  <a:pt x="2774" y="267"/>
                </a:lnTo>
                <a:lnTo>
                  <a:pt x="2759" y="25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5" name="Freeform 32"/>
          <p:cNvSpPr>
            <a:spLocks/>
          </p:cNvSpPr>
          <p:nvPr userDrawn="1"/>
        </p:nvSpPr>
        <p:spPr bwMode="auto">
          <a:xfrm>
            <a:off x="7194551" y="1861841"/>
            <a:ext cx="161925" cy="153988"/>
          </a:xfrm>
          <a:custGeom>
            <a:avLst/>
            <a:gdLst>
              <a:gd name="T0" fmla="*/ 2 w 1226"/>
              <a:gd name="T1" fmla="*/ 386 h 1168"/>
              <a:gd name="T2" fmla="*/ 22 w 1226"/>
              <a:gd name="T3" fmla="*/ 434 h 1168"/>
              <a:gd name="T4" fmla="*/ 61 w 1226"/>
              <a:gd name="T5" fmla="*/ 466 h 1168"/>
              <a:gd name="T6" fmla="*/ 120 w 1226"/>
              <a:gd name="T7" fmla="*/ 479 h 1168"/>
              <a:gd name="T8" fmla="*/ 142 w 1226"/>
              <a:gd name="T9" fmla="*/ 469 h 1168"/>
              <a:gd name="T10" fmla="*/ 160 w 1226"/>
              <a:gd name="T11" fmla="*/ 436 h 1168"/>
              <a:gd name="T12" fmla="*/ 164 w 1226"/>
              <a:gd name="T13" fmla="*/ 370 h 1168"/>
              <a:gd name="T14" fmla="*/ 174 w 1226"/>
              <a:gd name="T15" fmla="*/ 344 h 1168"/>
              <a:gd name="T16" fmla="*/ 198 w 1226"/>
              <a:gd name="T17" fmla="*/ 331 h 1168"/>
              <a:gd name="T18" fmla="*/ 223 w 1226"/>
              <a:gd name="T19" fmla="*/ 318 h 1168"/>
              <a:gd name="T20" fmla="*/ 427 w 1226"/>
              <a:gd name="T21" fmla="*/ 416 h 1168"/>
              <a:gd name="T22" fmla="*/ 628 w 1226"/>
              <a:gd name="T23" fmla="*/ 534 h 1168"/>
              <a:gd name="T24" fmla="*/ 876 w 1226"/>
              <a:gd name="T25" fmla="*/ 703 h 1168"/>
              <a:gd name="T26" fmla="*/ 868 w 1226"/>
              <a:gd name="T27" fmla="*/ 783 h 1168"/>
              <a:gd name="T28" fmla="*/ 779 w 1226"/>
              <a:gd name="T29" fmla="*/ 957 h 1168"/>
              <a:gd name="T30" fmla="*/ 753 w 1226"/>
              <a:gd name="T31" fmla="*/ 1040 h 1168"/>
              <a:gd name="T32" fmla="*/ 754 w 1226"/>
              <a:gd name="T33" fmla="*/ 1090 h 1168"/>
              <a:gd name="T34" fmla="*/ 771 w 1226"/>
              <a:gd name="T35" fmla="*/ 1130 h 1168"/>
              <a:gd name="T36" fmla="*/ 801 w 1226"/>
              <a:gd name="T37" fmla="*/ 1157 h 1168"/>
              <a:gd name="T38" fmla="*/ 842 w 1226"/>
              <a:gd name="T39" fmla="*/ 1168 h 1168"/>
              <a:gd name="T40" fmla="*/ 880 w 1226"/>
              <a:gd name="T41" fmla="*/ 1163 h 1168"/>
              <a:gd name="T42" fmla="*/ 919 w 1226"/>
              <a:gd name="T43" fmla="*/ 1140 h 1168"/>
              <a:gd name="T44" fmla="*/ 944 w 1226"/>
              <a:gd name="T45" fmla="*/ 1107 h 1168"/>
              <a:gd name="T46" fmla="*/ 952 w 1226"/>
              <a:gd name="T47" fmla="*/ 1060 h 1168"/>
              <a:gd name="T48" fmla="*/ 930 w 1226"/>
              <a:gd name="T49" fmla="*/ 1010 h 1168"/>
              <a:gd name="T50" fmla="*/ 885 w 1226"/>
              <a:gd name="T51" fmla="*/ 989 h 1168"/>
              <a:gd name="T52" fmla="*/ 919 w 1226"/>
              <a:gd name="T53" fmla="*/ 879 h 1168"/>
              <a:gd name="T54" fmla="*/ 954 w 1226"/>
              <a:gd name="T55" fmla="*/ 807 h 1168"/>
              <a:gd name="T56" fmla="*/ 1024 w 1226"/>
              <a:gd name="T57" fmla="*/ 715 h 1168"/>
              <a:gd name="T58" fmla="*/ 1095 w 1226"/>
              <a:gd name="T59" fmla="*/ 673 h 1168"/>
              <a:gd name="T60" fmla="*/ 1125 w 1226"/>
              <a:gd name="T61" fmla="*/ 670 h 1168"/>
              <a:gd name="T62" fmla="*/ 1099 w 1226"/>
              <a:gd name="T63" fmla="*/ 633 h 1168"/>
              <a:gd name="T64" fmla="*/ 1083 w 1226"/>
              <a:gd name="T65" fmla="*/ 543 h 1168"/>
              <a:gd name="T66" fmla="*/ 1096 w 1226"/>
              <a:gd name="T67" fmla="*/ 477 h 1168"/>
              <a:gd name="T68" fmla="*/ 1132 w 1226"/>
              <a:gd name="T69" fmla="*/ 395 h 1168"/>
              <a:gd name="T70" fmla="*/ 1195 w 1226"/>
              <a:gd name="T71" fmla="*/ 258 h 1168"/>
              <a:gd name="T72" fmla="*/ 1225 w 1226"/>
              <a:gd name="T73" fmla="*/ 141 h 1168"/>
              <a:gd name="T74" fmla="*/ 1217 w 1226"/>
              <a:gd name="T75" fmla="*/ 95 h 1168"/>
              <a:gd name="T76" fmla="*/ 1187 w 1226"/>
              <a:gd name="T77" fmla="*/ 55 h 1168"/>
              <a:gd name="T78" fmla="*/ 1144 w 1226"/>
              <a:gd name="T79" fmla="*/ 34 h 1168"/>
              <a:gd name="T80" fmla="*/ 1104 w 1226"/>
              <a:gd name="T81" fmla="*/ 35 h 1168"/>
              <a:gd name="T82" fmla="*/ 1061 w 1226"/>
              <a:gd name="T83" fmla="*/ 57 h 1168"/>
              <a:gd name="T84" fmla="*/ 1033 w 1226"/>
              <a:gd name="T85" fmla="*/ 94 h 1168"/>
              <a:gd name="T86" fmla="*/ 1025 w 1226"/>
              <a:gd name="T87" fmla="*/ 139 h 1168"/>
              <a:gd name="T88" fmla="*/ 1048 w 1226"/>
              <a:gd name="T89" fmla="*/ 205 h 1168"/>
              <a:gd name="T90" fmla="*/ 1095 w 1226"/>
              <a:gd name="T91" fmla="*/ 230 h 1168"/>
              <a:gd name="T92" fmla="*/ 1107 w 1226"/>
              <a:gd name="T93" fmla="*/ 240 h 1168"/>
              <a:gd name="T94" fmla="*/ 1044 w 1226"/>
              <a:gd name="T95" fmla="*/ 390 h 1168"/>
              <a:gd name="T96" fmla="*/ 975 w 1226"/>
              <a:gd name="T97" fmla="*/ 431 h 1168"/>
              <a:gd name="T98" fmla="*/ 717 w 1226"/>
              <a:gd name="T99" fmla="*/ 289 h 1168"/>
              <a:gd name="T100" fmla="*/ 529 w 1226"/>
              <a:gd name="T101" fmla="*/ 205 h 1168"/>
              <a:gd name="T102" fmla="*/ 317 w 1226"/>
              <a:gd name="T103" fmla="*/ 140 h 1168"/>
              <a:gd name="T104" fmla="*/ 378 w 1226"/>
              <a:gd name="T105" fmla="*/ 31 h 1168"/>
              <a:gd name="T106" fmla="*/ 389 w 1226"/>
              <a:gd name="T107" fmla="*/ 0 h 1168"/>
              <a:gd name="T108" fmla="*/ 367 w 1226"/>
              <a:gd name="T109" fmla="*/ 10 h 1168"/>
              <a:gd name="T110" fmla="*/ 285 w 1226"/>
              <a:gd name="T111" fmla="*/ 57 h 1168"/>
              <a:gd name="T112" fmla="*/ 211 w 1226"/>
              <a:gd name="T113" fmla="*/ 85 h 1168"/>
              <a:gd name="T114" fmla="*/ 147 w 1226"/>
              <a:gd name="T115" fmla="*/ 85 h 1168"/>
              <a:gd name="T116" fmla="*/ 114 w 1226"/>
              <a:gd name="T117" fmla="*/ 85 h 1168"/>
              <a:gd name="T118" fmla="*/ 87 w 1226"/>
              <a:gd name="T119" fmla="*/ 134 h 1168"/>
              <a:gd name="T120" fmla="*/ 42 w 1226"/>
              <a:gd name="T121" fmla="*/ 261 h 1168"/>
              <a:gd name="T122" fmla="*/ 6 w 1226"/>
              <a:gd name="T123" fmla="*/ 327 h 1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6" h="1168">
                <a:moveTo>
                  <a:pt x="1" y="345"/>
                </a:moveTo>
                <a:lnTo>
                  <a:pt x="1" y="345"/>
                </a:lnTo>
                <a:lnTo>
                  <a:pt x="0" y="359"/>
                </a:lnTo>
                <a:lnTo>
                  <a:pt x="0" y="370"/>
                </a:lnTo>
                <a:lnTo>
                  <a:pt x="2" y="386"/>
                </a:lnTo>
                <a:lnTo>
                  <a:pt x="5" y="401"/>
                </a:lnTo>
                <a:lnTo>
                  <a:pt x="8" y="409"/>
                </a:lnTo>
                <a:lnTo>
                  <a:pt x="11" y="417"/>
                </a:lnTo>
                <a:lnTo>
                  <a:pt x="16" y="425"/>
                </a:lnTo>
                <a:lnTo>
                  <a:pt x="22" y="434"/>
                </a:lnTo>
                <a:lnTo>
                  <a:pt x="28" y="442"/>
                </a:lnTo>
                <a:lnTo>
                  <a:pt x="36" y="449"/>
                </a:lnTo>
                <a:lnTo>
                  <a:pt x="36" y="449"/>
                </a:lnTo>
                <a:lnTo>
                  <a:pt x="48" y="458"/>
                </a:lnTo>
                <a:lnTo>
                  <a:pt x="61" y="466"/>
                </a:lnTo>
                <a:lnTo>
                  <a:pt x="76" y="473"/>
                </a:lnTo>
                <a:lnTo>
                  <a:pt x="91" y="478"/>
                </a:lnTo>
                <a:lnTo>
                  <a:pt x="105" y="480"/>
                </a:lnTo>
                <a:lnTo>
                  <a:pt x="113" y="480"/>
                </a:lnTo>
                <a:lnTo>
                  <a:pt x="120" y="479"/>
                </a:lnTo>
                <a:lnTo>
                  <a:pt x="126" y="478"/>
                </a:lnTo>
                <a:lnTo>
                  <a:pt x="132" y="476"/>
                </a:lnTo>
                <a:lnTo>
                  <a:pt x="137" y="473"/>
                </a:lnTo>
                <a:lnTo>
                  <a:pt x="142" y="469"/>
                </a:lnTo>
                <a:lnTo>
                  <a:pt x="142" y="469"/>
                </a:lnTo>
                <a:lnTo>
                  <a:pt x="147" y="464"/>
                </a:lnTo>
                <a:lnTo>
                  <a:pt x="152" y="457"/>
                </a:lnTo>
                <a:lnTo>
                  <a:pt x="155" y="451"/>
                </a:lnTo>
                <a:lnTo>
                  <a:pt x="158" y="444"/>
                </a:lnTo>
                <a:lnTo>
                  <a:pt x="160" y="436"/>
                </a:lnTo>
                <a:lnTo>
                  <a:pt x="161" y="428"/>
                </a:lnTo>
                <a:lnTo>
                  <a:pt x="162" y="411"/>
                </a:lnTo>
                <a:lnTo>
                  <a:pt x="162" y="395"/>
                </a:lnTo>
                <a:lnTo>
                  <a:pt x="163" y="378"/>
                </a:lnTo>
                <a:lnTo>
                  <a:pt x="164" y="370"/>
                </a:lnTo>
                <a:lnTo>
                  <a:pt x="166" y="362"/>
                </a:lnTo>
                <a:lnTo>
                  <a:pt x="168" y="355"/>
                </a:lnTo>
                <a:lnTo>
                  <a:pt x="172" y="347"/>
                </a:lnTo>
                <a:lnTo>
                  <a:pt x="172" y="347"/>
                </a:lnTo>
                <a:lnTo>
                  <a:pt x="174" y="344"/>
                </a:lnTo>
                <a:lnTo>
                  <a:pt x="178" y="341"/>
                </a:lnTo>
                <a:lnTo>
                  <a:pt x="187" y="335"/>
                </a:lnTo>
                <a:lnTo>
                  <a:pt x="195" y="332"/>
                </a:lnTo>
                <a:lnTo>
                  <a:pt x="198" y="331"/>
                </a:lnTo>
                <a:lnTo>
                  <a:pt x="198" y="331"/>
                </a:lnTo>
                <a:lnTo>
                  <a:pt x="205" y="329"/>
                </a:lnTo>
                <a:lnTo>
                  <a:pt x="211" y="326"/>
                </a:lnTo>
                <a:lnTo>
                  <a:pt x="217" y="323"/>
                </a:lnTo>
                <a:lnTo>
                  <a:pt x="223" y="318"/>
                </a:lnTo>
                <a:lnTo>
                  <a:pt x="223" y="318"/>
                </a:lnTo>
                <a:lnTo>
                  <a:pt x="264" y="337"/>
                </a:lnTo>
                <a:lnTo>
                  <a:pt x="305" y="355"/>
                </a:lnTo>
                <a:lnTo>
                  <a:pt x="347" y="374"/>
                </a:lnTo>
                <a:lnTo>
                  <a:pt x="388" y="395"/>
                </a:lnTo>
                <a:lnTo>
                  <a:pt x="427" y="416"/>
                </a:lnTo>
                <a:lnTo>
                  <a:pt x="468" y="439"/>
                </a:lnTo>
                <a:lnTo>
                  <a:pt x="509" y="461"/>
                </a:lnTo>
                <a:lnTo>
                  <a:pt x="549" y="485"/>
                </a:lnTo>
                <a:lnTo>
                  <a:pt x="589" y="509"/>
                </a:lnTo>
                <a:lnTo>
                  <a:pt x="628" y="534"/>
                </a:lnTo>
                <a:lnTo>
                  <a:pt x="706" y="584"/>
                </a:lnTo>
                <a:lnTo>
                  <a:pt x="782" y="636"/>
                </a:lnTo>
                <a:lnTo>
                  <a:pt x="857" y="689"/>
                </a:lnTo>
                <a:lnTo>
                  <a:pt x="857" y="689"/>
                </a:lnTo>
                <a:lnTo>
                  <a:pt x="876" y="703"/>
                </a:lnTo>
                <a:lnTo>
                  <a:pt x="894" y="714"/>
                </a:lnTo>
                <a:lnTo>
                  <a:pt x="894" y="714"/>
                </a:lnTo>
                <a:lnTo>
                  <a:pt x="887" y="736"/>
                </a:lnTo>
                <a:lnTo>
                  <a:pt x="878" y="759"/>
                </a:lnTo>
                <a:lnTo>
                  <a:pt x="868" y="783"/>
                </a:lnTo>
                <a:lnTo>
                  <a:pt x="856" y="809"/>
                </a:lnTo>
                <a:lnTo>
                  <a:pt x="856" y="809"/>
                </a:lnTo>
                <a:lnTo>
                  <a:pt x="816" y="885"/>
                </a:lnTo>
                <a:lnTo>
                  <a:pt x="797" y="921"/>
                </a:lnTo>
                <a:lnTo>
                  <a:pt x="779" y="957"/>
                </a:lnTo>
                <a:lnTo>
                  <a:pt x="772" y="975"/>
                </a:lnTo>
                <a:lnTo>
                  <a:pt x="766" y="992"/>
                </a:lnTo>
                <a:lnTo>
                  <a:pt x="760" y="1008"/>
                </a:lnTo>
                <a:lnTo>
                  <a:pt x="756" y="1025"/>
                </a:lnTo>
                <a:lnTo>
                  <a:pt x="753" y="1040"/>
                </a:lnTo>
                <a:lnTo>
                  <a:pt x="751" y="1054"/>
                </a:lnTo>
                <a:lnTo>
                  <a:pt x="751" y="1069"/>
                </a:lnTo>
                <a:lnTo>
                  <a:pt x="752" y="1081"/>
                </a:lnTo>
                <a:lnTo>
                  <a:pt x="752" y="1081"/>
                </a:lnTo>
                <a:lnTo>
                  <a:pt x="754" y="1090"/>
                </a:lnTo>
                <a:lnTo>
                  <a:pt x="756" y="1099"/>
                </a:lnTo>
                <a:lnTo>
                  <a:pt x="759" y="1107"/>
                </a:lnTo>
                <a:lnTo>
                  <a:pt x="762" y="1116"/>
                </a:lnTo>
                <a:lnTo>
                  <a:pt x="766" y="1123"/>
                </a:lnTo>
                <a:lnTo>
                  <a:pt x="771" y="1130"/>
                </a:lnTo>
                <a:lnTo>
                  <a:pt x="776" y="1136"/>
                </a:lnTo>
                <a:lnTo>
                  <a:pt x="781" y="1142"/>
                </a:lnTo>
                <a:lnTo>
                  <a:pt x="787" y="1147"/>
                </a:lnTo>
                <a:lnTo>
                  <a:pt x="794" y="1152"/>
                </a:lnTo>
                <a:lnTo>
                  <a:pt x="801" y="1157"/>
                </a:lnTo>
                <a:lnTo>
                  <a:pt x="808" y="1160"/>
                </a:lnTo>
                <a:lnTo>
                  <a:pt x="816" y="1163"/>
                </a:lnTo>
                <a:lnTo>
                  <a:pt x="824" y="1165"/>
                </a:lnTo>
                <a:lnTo>
                  <a:pt x="833" y="1167"/>
                </a:lnTo>
                <a:lnTo>
                  <a:pt x="842" y="1168"/>
                </a:lnTo>
                <a:lnTo>
                  <a:pt x="842" y="1168"/>
                </a:lnTo>
                <a:lnTo>
                  <a:pt x="852" y="1168"/>
                </a:lnTo>
                <a:lnTo>
                  <a:pt x="862" y="1167"/>
                </a:lnTo>
                <a:lnTo>
                  <a:pt x="871" y="1165"/>
                </a:lnTo>
                <a:lnTo>
                  <a:pt x="880" y="1163"/>
                </a:lnTo>
                <a:lnTo>
                  <a:pt x="889" y="1160"/>
                </a:lnTo>
                <a:lnTo>
                  <a:pt x="897" y="1155"/>
                </a:lnTo>
                <a:lnTo>
                  <a:pt x="905" y="1151"/>
                </a:lnTo>
                <a:lnTo>
                  <a:pt x="912" y="1146"/>
                </a:lnTo>
                <a:lnTo>
                  <a:pt x="919" y="1140"/>
                </a:lnTo>
                <a:lnTo>
                  <a:pt x="925" y="1135"/>
                </a:lnTo>
                <a:lnTo>
                  <a:pt x="931" y="1129"/>
                </a:lnTo>
                <a:lnTo>
                  <a:pt x="936" y="1122"/>
                </a:lnTo>
                <a:lnTo>
                  <a:pt x="940" y="1115"/>
                </a:lnTo>
                <a:lnTo>
                  <a:pt x="944" y="1107"/>
                </a:lnTo>
                <a:lnTo>
                  <a:pt x="947" y="1100"/>
                </a:lnTo>
                <a:lnTo>
                  <a:pt x="949" y="1092"/>
                </a:lnTo>
                <a:lnTo>
                  <a:pt x="949" y="1092"/>
                </a:lnTo>
                <a:lnTo>
                  <a:pt x="951" y="1076"/>
                </a:lnTo>
                <a:lnTo>
                  <a:pt x="952" y="1060"/>
                </a:lnTo>
                <a:lnTo>
                  <a:pt x="950" y="1048"/>
                </a:lnTo>
                <a:lnTo>
                  <a:pt x="947" y="1036"/>
                </a:lnTo>
                <a:lnTo>
                  <a:pt x="942" y="1027"/>
                </a:lnTo>
                <a:lnTo>
                  <a:pt x="937" y="1017"/>
                </a:lnTo>
                <a:lnTo>
                  <a:pt x="930" y="1010"/>
                </a:lnTo>
                <a:lnTo>
                  <a:pt x="922" y="1005"/>
                </a:lnTo>
                <a:lnTo>
                  <a:pt x="915" y="1000"/>
                </a:lnTo>
                <a:lnTo>
                  <a:pt x="908" y="996"/>
                </a:lnTo>
                <a:lnTo>
                  <a:pt x="894" y="991"/>
                </a:lnTo>
                <a:lnTo>
                  <a:pt x="885" y="989"/>
                </a:lnTo>
                <a:lnTo>
                  <a:pt x="880" y="989"/>
                </a:lnTo>
                <a:lnTo>
                  <a:pt x="880" y="989"/>
                </a:lnTo>
                <a:lnTo>
                  <a:pt x="896" y="944"/>
                </a:lnTo>
                <a:lnTo>
                  <a:pt x="908" y="908"/>
                </a:lnTo>
                <a:lnTo>
                  <a:pt x="919" y="879"/>
                </a:lnTo>
                <a:lnTo>
                  <a:pt x="919" y="879"/>
                </a:lnTo>
                <a:lnTo>
                  <a:pt x="927" y="859"/>
                </a:lnTo>
                <a:lnTo>
                  <a:pt x="937" y="841"/>
                </a:lnTo>
                <a:lnTo>
                  <a:pt x="945" y="823"/>
                </a:lnTo>
                <a:lnTo>
                  <a:pt x="954" y="807"/>
                </a:lnTo>
                <a:lnTo>
                  <a:pt x="962" y="792"/>
                </a:lnTo>
                <a:lnTo>
                  <a:pt x="971" y="777"/>
                </a:lnTo>
                <a:lnTo>
                  <a:pt x="989" y="753"/>
                </a:lnTo>
                <a:lnTo>
                  <a:pt x="1006" y="732"/>
                </a:lnTo>
                <a:lnTo>
                  <a:pt x="1024" y="715"/>
                </a:lnTo>
                <a:lnTo>
                  <a:pt x="1040" y="702"/>
                </a:lnTo>
                <a:lnTo>
                  <a:pt x="1055" y="690"/>
                </a:lnTo>
                <a:lnTo>
                  <a:pt x="1070" y="683"/>
                </a:lnTo>
                <a:lnTo>
                  <a:pt x="1083" y="677"/>
                </a:lnTo>
                <a:lnTo>
                  <a:pt x="1095" y="673"/>
                </a:lnTo>
                <a:lnTo>
                  <a:pt x="1105" y="671"/>
                </a:lnTo>
                <a:lnTo>
                  <a:pt x="1114" y="670"/>
                </a:lnTo>
                <a:lnTo>
                  <a:pt x="1120" y="670"/>
                </a:lnTo>
                <a:lnTo>
                  <a:pt x="1125" y="670"/>
                </a:lnTo>
                <a:lnTo>
                  <a:pt x="1125" y="670"/>
                </a:lnTo>
                <a:lnTo>
                  <a:pt x="1121" y="666"/>
                </a:lnTo>
                <a:lnTo>
                  <a:pt x="1116" y="661"/>
                </a:lnTo>
                <a:lnTo>
                  <a:pt x="1111" y="653"/>
                </a:lnTo>
                <a:lnTo>
                  <a:pt x="1104" y="644"/>
                </a:lnTo>
                <a:lnTo>
                  <a:pt x="1099" y="633"/>
                </a:lnTo>
                <a:lnTo>
                  <a:pt x="1093" y="620"/>
                </a:lnTo>
                <a:lnTo>
                  <a:pt x="1088" y="603"/>
                </a:lnTo>
                <a:lnTo>
                  <a:pt x="1085" y="586"/>
                </a:lnTo>
                <a:lnTo>
                  <a:pt x="1083" y="566"/>
                </a:lnTo>
                <a:lnTo>
                  <a:pt x="1083" y="543"/>
                </a:lnTo>
                <a:lnTo>
                  <a:pt x="1084" y="531"/>
                </a:lnTo>
                <a:lnTo>
                  <a:pt x="1086" y="519"/>
                </a:lnTo>
                <a:lnTo>
                  <a:pt x="1088" y="505"/>
                </a:lnTo>
                <a:lnTo>
                  <a:pt x="1092" y="491"/>
                </a:lnTo>
                <a:lnTo>
                  <a:pt x="1096" y="477"/>
                </a:lnTo>
                <a:lnTo>
                  <a:pt x="1101" y="461"/>
                </a:lnTo>
                <a:lnTo>
                  <a:pt x="1107" y="446"/>
                </a:lnTo>
                <a:lnTo>
                  <a:pt x="1115" y="430"/>
                </a:lnTo>
                <a:lnTo>
                  <a:pt x="1123" y="412"/>
                </a:lnTo>
                <a:lnTo>
                  <a:pt x="1132" y="395"/>
                </a:lnTo>
                <a:lnTo>
                  <a:pt x="1132" y="395"/>
                </a:lnTo>
                <a:lnTo>
                  <a:pt x="1152" y="358"/>
                </a:lnTo>
                <a:lnTo>
                  <a:pt x="1169" y="322"/>
                </a:lnTo>
                <a:lnTo>
                  <a:pt x="1184" y="289"/>
                </a:lnTo>
                <a:lnTo>
                  <a:pt x="1195" y="258"/>
                </a:lnTo>
                <a:lnTo>
                  <a:pt x="1206" y="227"/>
                </a:lnTo>
                <a:lnTo>
                  <a:pt x="1214" y="197"/>
                </a:lnTo>
                <a:lnTo>
                  <a:pt x="1220" y="169"/>
                </a:lnTo>
                <a:lnTo>
                  <a:pt x="1225" y="141"/>
                </a:lnTo>
                <a:lnTo>
                  <a:pt x="1225" y="141"/>
                </a:lnTo>
                <a:lnTo>
                  <a:pt x="1226" y="132"/>
                </a:lnTo>
                <a:lnTo>
                  <a:pt x="1225" y="123"/>
                </a:lnTo>
                <a:lnTo>
                  <a:pt x="1224" y="114"/>
                </a:lnTo>
                <a:lnTo>
                  <a:pt x="1221" y="104"/>
                </a:lnTo>
                <a:lnTo>
                  <a:pt x="1217" y="95"/>
                </a:lnTo>
                <a:lnTo>
                  <a:pt x="1213" y="87"/>
                </a:lnTo>
                <a:lnTo>
                  <a:pt x="1208" y="78"/>
                </a:lnTo>
                <a:lnTo>
                  <a:pt x="1202" y="70"/>
                </a:lnTo>
                <a:lnTo>
                  <a:pt x="1194" y="63"/>
                </a:lnTo>
                <a:lnTo>
                  <a:pt x="1187" y="55"/>
                </a:lnTo>
                <a:lnTo>
                  <a:pt x="1179" y="49"/>
                </a:lnTo>
                <a:lnTo>
                  <a:pt x="1171" y="44"/>
                </a:lnTo>
                <a:lnTo>
                  <a:pt x="1163" y="39"/>
                </a:lnTo>
                <a:lnTo>
                  <a:pt x="1153" y="36"/>
                </a:lnTo>
                <a:lnTo>
                  <a:pt x="1144" y="34"/>
                </a:lnTo>
                <a:lnTo>
                  <a:pt x="1134" y="32"/>
                </a:lnTo>
                <a:lnTo>
                  <a:pt x="1134" y="32"/>
                </a:lnTo>
                <a:lnTo>
                  <a:pt x="1124" y="32"/>
                </a:lnTo>
                <a:lnTo>
                  <a:pt x="1115" y="33"/>
                </a:lnTo>
                <a:lnTo>
                  <a:pt x="1104" y="35"/>
                </a:lnTo>
                <a:lnTo>
                  <a:pt x="1095" y="38"/>
                </a:lnTo>
                <a:lnTo>
                  <a:pt x="1086" y="42"/>
                </a:lnTo>
                <a:lnTo>
                  <a:pt x="1078" y="46"/>
                </a:lnTo>
                <a:lnTo>
                  <a:pt x="1070" y="52"/>
                </a:lnTo>
                <a:lnTo>
                  <a:pt x="1061" y="57"/>
                </a:lnTo>
                <a:lnTo>
                  <a:pt x="1054" y="65"/>
                </a:lnTo>
                <a:lnTo>
                  <a:pt x="1048" y="71"/>
                </a:lnTo>
                <a:lnTo>
                  <a:pt x="1042" y="78"/>
                </a:lnTo>
                <a:lnTo>
                  <a:pt x="1037" y="86"/>
                </a:lnTo>
                <a:lnTo>
                  <a:pt x="1033" y="94"/>
                </a:lnTo>
                <a:lnTo>
                  <a:pt x="1029" y="102"/>
                </a:lnTo>
                <a:lnTo>
                  <a:pt x="1027" y="111"/>
                </a:lnTo>
                <a:lnTo>
                  <a:pt x="1026" y="119"/>
                </a:lnTo>
                <a:lnTo>
                  <a:pt x="1026" y="119"/>
                </a:lnTo>
                <a:lnTo>
                  <a:pt x="1025" y="139"/>
                </a:lnTo>
                <a:lnTo>
                  <a:pt x="1026" y="158"/>
                </a:lnTo>
                <a:lnTo>
                  <a:pt x="1030" y="173"/>
                </a:lnTo>
                <a:lnTo>
                  <a:pt x="1035" y="185"/>
                </a:lnTo>
                <a:lnTo>
                  <a:pt x="1041" y="195"/>
                </a:lnTo>
                <a:lnTo>
                  <a:pt x="1048" y="205"/>
                </a:lnTo>
                <a:lnTo>
                  <a:pt x="1056" y="212"/>
                </a:lnTo>
                <a:lnTo>
                  <a:pt x="1065" y="217"/>
                </a:lnTo>
                <a:lnTo>
                  <a:pt x="1073" y="221"/>
                </a:lnTo>
                <a:lnTo>
                  <a:pt x="1081" y="225"/>
                </a:lnTo>
                <a:lnTo>
                  <a:pt x="1095" y="230"/>
                </a:lnTo>
                <a:lnTo>
                  <a:pt x="1101" y="232"/>
                </a:lnTo>
                <a:lnTo>
                  <a:pt x="1104" y="234"/>
                </a:lnTo>
                <a:lnTo>
                  <a:pt x="1107" y="237"/>
                </a:lnTo>
                <a:lnTo>
                  <a:pt x="1107" y="240"/>
                </a:lnTo>
                <a:lnTo>
                  <a:pt x="1107" y="240"/>
                </a:lnTo>
                <a:lnTo>
                  <a:pt x="1096" y="276"/>
                </a:lnTo>
                <a:lnTo>
                  <a:pt x="1084" y="309"/>
                </a:lnTo>
                <a:lnTo>
                  <a:pt x="1071" y="339"/>
                </a:lnTo>
                <a:lnTo>
                  <a:pt x="1057" y="365"/>
                </a:lnTo>
                <a:lnTo>
                  <a:pt x="1044" y="390"/>
                </a:lnTo>
                <a:lnTo>
                  <a:pt x="1031" y="411"/>
                </a:lnTo>
                <a:lnTo>
                  <a:pt x="1016" y="431"/>
                </a:lnTo>
                <a:lnTo>
                  <a:pt x="1002" y="447"/>
                </a:lnTo>
                <a:lnTo>
                  <a:pt x="1002" y="447"/>
                </a:lnTo>
                <a:lnTo>
                  <a:pt x="975" y="431"/>
                </a:lnTo>
                <a:lnTo>
                  <a:pt x="942" y="411"/>
                </a:lnTo>
                <a:lnTo>
                  <a:pt x="942" y="411"/>
                </a:lnTo>
                <a:lnTo>
                  <a:pt x="865" y="369"/>
                </a:lnTo>
                <a:lnTo>
                  <a:pt x="790" y="328"/>
                </a:lnTo>
                <a:lnTo>
                  <a:pt x="717" y="289"/>
                </a:lnTo>
                <a:lnTo>
                  <a:pt x="680" y="271"/>
                </a:lnTo>
                <a:lnTo>
                  <a:pt x="643" y="254"/>
                </a:lnTo>
                <a:lnTo>
                  <a:pt x="606" y="236"/>
                </a:lnTo>
                <a:lnTo>
                  <a:pt x="568" y="221"/>
                </a:lnTo>
                <a:lnTo>
                  <a:pt x="529" y="205"/>
                </a:lnTo>
                <a:lnTo>
                  <a:pt x="489" y="190"/>
                </a:lnTo>
                <a:lnTo>
                  <a:pt x="448" y="176"/>
                </a:lnTo>
                <a:lnTo>
                  <a:pt x="406" y="164"/>
                </a:lnTo>
                <a:lnTo>
                  <a:pt x="362" y="151"/>
                </a:lnTo>
                <a:lnTo>
                  <a:pt x="317" y="140"/>
                </a:lnTo>
                <a:lnTo>
                  <a:pt x="317" y="140"/>
                </a:lnTo>
                <a:lnTo>
                  <a:pt x="334" y="107"/>
                </a:lnTo>
                <a:lnTo>
                  <a:pt x="334" y="107"/>
                </a:lnTo>
                <a:lnTo>
                  <a:pt x="360" y="63"/>
                </a:lnTo>
                <a:lnTo>
                  <a:pt x="378" y="31"/>
                </a:lnTo>
                <a:lnTo>
                  <a:pt x="385" y="20"/>
                </a:lnTo>
                <a:lnTo>
                  <a:pt x="389" y="10"/>
                </a:lnTo>
                <a:lnTo>
                  <a:pt x="391" y="4"/>
                </a:lnTo>
                <a:lnTo>
                  <a:pt x="390" y="2"/>
                </a:lnTo>
                <a:lnTo>
                  <a:pt x="389" y="0"/>
                </a:lnTo>
                <a:lnTo>
                  <a:pt x="389" y="0"/>
                </a:lnTo>
                <a:lnTo>
                  <a:pt x="388" y="0"/>
                </a:lnTo>
                <a:lnTo>
                  <a:pt x="387" y="0"/>
                </a:lnTo>
                <a:lnTo>
                  <a:pt x="381" y="1"/>
                </a:lnTo>
                <a:lnTo>
                  <a:pt x="367" y="10"/>
                </a:lnTo>
                <a:lnTo>
                  <a:pt x="343" y="26"/>
                </a:lnTo>
                <a:lnTo>
                  <a:pt x="326" y="35"/>
                </a:lnTo>
                <a:lnTo>
                  <a:pt x="307" y="46"/>
                </a:lnTo>
                <a:lnTo>
                  <a:pt x="307" y="46"/>
                </a:lnTo>
                <a:lnTo>
                  <a:pt x="285" y="57"/>
                </a:lnTo>
                <a:lnTo>
                  <a:pt x="267" y="67"/>
                </a:lnTo>
                <a:lnTo>
                  <a:pt x="252" y="73"/>
                </a:lnTo>
                <a:lnTo>
                  <a:pt x="237" y="78"/>
                </a:lnTo>
                <a:lnTo>
                  <a:pt x="224" y="82"/>
                </a:lnTo>
                <a:lnTo>
                  <a:pt x="211" y="85"/>
                </a:lnTo>
                <a:lnTo>
                  <a:pt x="183" y="89"/>
                </a:lnTo>
                <a:lnTo>
                  <a:pt x="183" y="89"/>
                </a:lnTo>
                <a:lnTo>
                  <a:pt x="174" y="89"/>
                </a:lnTo>
                <a:lnTo>
                  <a:pt x="165" y="88"/>
                </a:lnTo>
                <a:lnTo>
                  <a:pt x="147" y="85"/>
                </a:lnTo>
                <a:lnTo>
                  <a:pt x="132" y="81"/>
                </a:lnTo>
                <a:lnTo>
                  <a:pt x="125" y="81"/>
                </a:lnTo>
                <a:lnTo>
                  <a:pt x="120" y="82"/>
                </a:lnTo>
                <a:lnTo>
                  <a:pt x="120" y="82"/>
                </a:lnTo>
                <a:lnTo>
                  <a:pt x="114" y="85"/>
                </a:lnTo>
                <a:lnTo>
                  <a:pt x="107" y="91"/>
                </a:lnTo>
                <a:lnTo>
                  <a:pt x="102" y="98"/>
                </a:lnTo>
                <a:lnTo>
                  <a:pt x="97" y="107"/>
                </a:lnTo>
                <a:lnTo>
                  <a:pt x="92" y="120"/>
                </a:lnTo>
                <a:lnTo>
                  <a:pt x="87" y="134"/>
                </a:lnTo>
                <a:lnTo>
                  <a:pt x="74" y="171"/>
                </a:lnTo>
                <a:lnTo>
                  <a:pt x="74" y="171"/>
                </a:lnTo>
                <a:lnTo>
                  <a:pt x="49" y="242"/>
                </a:lnTo>
                <a:lnTo>
                  <a:pt x="42" y="261"/>
                </a:lnTo>
                <a:lnTo>
                  <a:pt x="42" y="261"/>
                </a:lnTo>
                <a:lnTo>
                  <a:pt x="34" y="279"/>
                </a:lnTo>
                <a:lnTo>
                  <a:pt x="27" y="293"/>
                </a:lnTo>
                <a:lnTo>
                  <a:pt x="14" y="312"/>
                </a:lnTo>
                <a:lnTo>
                  <a:pt x="10" y="320"/>
                </a:lnTo>
                <a:lnTo>
                  <a:pt x="6" y="327"/>
                </a:lnTo>
                <a:lnTo>
                  <a:pt x="3" y="335"/>
                </a:lnTo>
                <a:lnTo>
                  <a:pt x="1" y="34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6" name="Freeform 33"/>
          <p:cNvSpPr>
            <a:spLocks/>
          </p:cNvSpPr>
          <p:nvPr userDrawn="1"/>
        </p:nvSpPr>
        <p:spPr bwMode="auto">
          <a:xfrm>
            <a:off x="7189787" y="1214140"/>
            <a:ext cx="39688" cy="46038"/>
          </a:xfrm>
          <a:custGeom>
            <a:avLst/>
            <a:gdLst>
              <a:gd name="T0" fmla="*/ 103 w 296"/>
              <a:gd name="T1" fmla="*/ 350 h 350"/>
              <a:gd name="T2" fmla="*/ 103 w 296"/>
              <a:gd name="T3" fmla="*/ 350 h 350"/>
              <a:gd name="T4" fmla="*/ 132 w 296"/>
              <a:gd name="T5" fmla="*/ 349 h 350"/>
              <a:gd name="T6" fmla="*/ 164 w 296"/>
              <a:gd name="T7" fmla="*/ 346 h 350"/>
              <a:gd name="T8" fmla="*/ 196 w 296"/>
              <a:gd name="T9" fmla="*/ 343 h 350"/>
              <a:gd name="T10" fmla="*/ 226 w 296"/>
              <a:gd name="T11" fmla="*/ 339 h 350"/>
              <a:gd name="T12" fmla="*/ 276 w 296"/>
              <a:gd name="T13" fmla="*/ 333 h 350"/>
              <a:gd name="T14" fmla="*/ 296 w 296"/>
              <a:gd name="T15" fmla="*/ 329 h 350"/>
              <a:gd name="T16" fmla="*/ 293 w 296"/>
              <a:gd name="T17" fmla="*/ 25 h 350"/>
              <a:gd name="T18" fmla="*/ 293 w 296"/>
              <a:gd name="T19" fmla="*/ 25 h 350"/>
              <a:gd name="T20" fmla="*/ 244 w 296"/>
              <a:gd name="T21" fmla="*/ 18 h 350"/>
              <a:gd name="T22" fmla="*/ 142 w 296"/>
              <a:gd name="T23" fmla="*/ 2 h 350"/>
              <a:gd name="T24" fmla="*/ 142 w 296"/>
              <a:gd name="T25" fmla="*/ 2 h 350"/>
              <a:gd name="T26" fmla="*/ 129 w 296"/>
              <a:gd name="T27" fmla="*/ 1 h 350"/>
              <a:gd name="T28" fmla="*/ 117 w 296"/>
              <a:gd name="T29" fmla="*/ 0 h 350"/>
              <a:gd name="T30" fmla="*/ 105 w 296"/>
              <a:gd name="T31" fmla="*/ 0 h 350"/>
              <a:gd name="T32" fmla="*/ 94 w 296"/>
              <a:gd name="T33" fmla="*/ 1 h 350"/>
              <a:gd name="T34" fmla="*/ 84 w 296"/>
              <a:gd name="T35" fmla="*/ 3 h 350"/>
              <a:gd name="T36" fmla="*/ 75 w 296"/>
              <a:gd name="T37" fmla="*/ 6 h 350"/>
              <a:gd name="T38" fmla="*/ 66 w 296"/>
              <a:gd name="T39" fmla="*/ 9 h 350"/>
              <a:gd name="T40" fmla="*/ 59 w 296"/>
              <a:gd name="T41" fmla="*/ 13 h 350"/>
              <a:gd name="T42" fmla="*/ 51 w 296"/>
              <a:gd name="T43" fmla="*/ 17 h 350"/>
              <a:gd name="T44" fmla="*/ 44 w 296"/>
              <a:gd name="T45" fmla="*/ 22 h 350"/>
              <a:gd name="T46" fmla="*/ 38 w 296"/>
              <a:gd name="T47" fmla="*/ 27 h 350"/>
              <a:gd name="T48" fmla="*/ 33 w 296"/>
              <a:gd name="T49" fmla="*/ 32 h 350"/>
              <a:gd name="T50" fmla="*/ 24 w 296"/>
              <a:gd name="T51" fmla="*/ 45 h 350"/>
              <a:gd name="T52" fmla="*/ 17 w 296"/>
              <a:gd name="T53" fmla="*/ 57 h 350"/>
              <a:gd name="T54" fmla="*/ 11 w 296"/>
              <a:gd name="T55" fmla="*/ 70 h 350"/>
              <a:gd name="T56" fmla="*/ 6 w 296"/>
              <a:gd name="T57" fmla="*/ 83 h 350"/>
              <a:gd name="T58" fmla="*/ 3 w 296"/>
              <a:gd name="T59" fmla="*/ 96 h 350"/>
              <a:gd name="T60" fmla="*/ 1 w 296"/>
              <a:gd name="T61" fmla="*/ 106 h 350"/>
              <a:gd name="T62" fmla="*/ 0 w 296"/>
              <a:gd name="T63" fmla="*/ 123 h 350"/>
              <a:gd name="T64" fmla="*/ 0 w 296"/>
              <a:gd name="T65" fmla="*/ 129 h 350"/>
              <a:gd name="T66" fmla="*/ 4 w 296"/>
              <a:gd name="T67" fmla="*/ 213 h 350"/>
              <a:gd name="T68" fmla="*/ 4 w 296"/>
              <a:gd name="T69" fmla="*/ 213 h 350"/>
              <a:gd name="T70" fmla="*/ 4 w 296"/>
              <a:gd name="T71" fmla="*/ 219 h 350"/>
              <a:gd name="T72" fmla="*/ 6 w 296"/>
              <a:gd name="T73" fmla="*/ 235 h 350"/>
              <a:gd name="T74" fmla="*/ 11 w 296"/>
              <a:gd name="T75" fmla="*/ 256 h 350"/>
              <a:gd name="T76" fmla="*/ 15 w 296"/>
              <a:gd name="T77" fmla="*/ 268 h 350"/>
              <a:gd name="T78" fmla="*/ 19 w 296"/>
              <a:gd name="T79" fmla="*/ 282 h 350"/>
              <a:gd name="T80" fmla="*/ 24 w 296"/>
              <a:gd name="T81" fmla="*/ 294 h 350"/>
              <a:gd name="T82" fmla="*/ 31 w 296"/>
              <a:gd name="T83" fmla="*/ 306 h 350"/>
              <a:gd name="T84" fmla="*/ 39 w 296"/>
              <a:gd name="T85" fmla="*/ 319 h 350"/>
              <a:gd name="T86" fmla="*/ 48 w 296"/>
              <a:gd name="T87" fmla="*/ 329 h 350"/>
              <a:gd name="T88" fmla="*/ 53 w 296"/>
              <a:gd name="T89" fmla="*/ 333 h 350"/>
              <a:gd name="T90" fmla="*/ 60 w 296"/>
              <a:gd name="T91" fmla="*/ 337 h 350"/>
              <a:gd name="T92" fmla="*/ 66 w 296"/>
              <a:gd name="T93" fmla="*/ 341 h 350"/>
              <a:gd name="T94" fmla="*/ 72 w 296"/>
              <a:gd name="T95" fmla="*/ 344 h 350"/>
              <a:gd name="T96" fmla="*/ 79 w 296"/>
              <a:gd name="T97" fmla="*/ 346 h 350"/>
              <a:gd name="T98" fmla="*/ 86 w 296"/>
              <a:gd name="T99" fmla="*/ 348 h 350"/>
              <a:gd name="T100" fmla="*/ 94 w 296"/>
              <a:gd name="T101" fmla="*/ 349 h 350"/>
              <a:gd name="T102" fmla="*/ 103 w 296"/>
              <a:gd name="T103" fmla="*/ 35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6" h="350">
                <a:moveTo>
                  <a:pt x="103" y="350"/>
                </a:moveTo>
                <a:lnTo>
                  <a:pt x="103" y="350"/>
                </a:lnTo>
                <a:lnTo>
                  <a:pt x="132" y="349"/>
                </a:lnTo>
                <a:lnTo>
                  <a:pt x="164" y="346"/>
                </a:lnTo>
                <a:lnTo>
                  <a:pt x="196" y="343"/>
                </a:lnTo>
                <a:lnTo>
                  <a:pt x="226" y="339"/>
                </a:lnTo>
                <a:lnTo>
                  <a:pt x="276" y="333"/>
                </a:lnTo>
                <a:lnTo>
                  <a:pt x="296" y="329"/>
                </a:lnTo>
                <a:lnTo>
                  <a:pt x="293" y="25"/>
                </a:lnTo>
                <a:lnTo>
                  <a:pt x="293" y="25"/>
                </a:lnTo>
                <a:lnTo>
                  <a:pt x="244" y="18"/>
                </a:lnTo>
                <a:lnTo>
                  <a:pt x="142" y="2"/>
                </a:lnTo>
                <a:lnTo>
                  <a:pt x="142" y="2"/>
                </a:lnTo>
                <a:lnTo>
                  <a:pt x="129" y="1"/>
                </a:lnTo>
                <a:lnTo>
                  <a:pt x="117" y="0"/>
                </a:lnTo>
                <a:lnTo>
                  <a:pt x="105" y="0"/>
                </a:lnTo>
                <a:lnTo>
                  <a:pt x="94" y="1"/>
                </a:lnTo>
                <a:lnTo>
                  <a:pt x="84" y="3"/>
                </a:lnTo>
                <a:lnTo>
                  <a:pt x="75" y="6"/>
                </a:lnTo>
                <a:lnTo>
                  <a:pt x="66" y="9"/>
                </a:lnTo>
                <a:lnTo>
                  <a:pt x="59" y="13"/>
                </a:lnTo>
                <a:lnTo>
                  <a:pt x="51" y="17"/>
                </a:lnTo>
                <a:lnTo>
                  <a:pt x="44" y="22"/>
                </a:lnTo>
                <a:lnTo>
                  <a:pt x="38" y="27"/>
                </a:lnTo>
                <a:lnTo>
                  <a:pt x="33" y="32"/>
                </a:lnTo>
                <a:lnTo>
                  <a:pt x="24" y="45"/>
                </a:lnTo>
                <a:lnTo>
                  <a:pt x="17" y="57"/>
                </a:lnTo>
                <a:lnTo>
                  <a:pt x="11" y="70"/>
                </a:lnTo>
                <a:lnTo>
                  <a:pt x="6" y="83"/>
                </a:lnTo>
                <a:lnTo>
                  <a:pt x="3" y="96"/>
                </a:lnTo>
                <a:lnTo>
                  <a:pt x="1" y="106"/>
                </a:lnTo>
                <a:lnTo>
                  <a:pt x="0" y="123"/>
                </a:lnTo>
                <a:lnTo>
                  <a:pt x="0" y="129"/>
                </a:lnTo>
                <a:lnTo>
                  <a:pt x="4" y="213"/>
                </a:lnTo>
                <a:lnTo>
                  <a:pt x="4" y="213"/>
                </a:lnTo>
                <a:lnTo>
                  <a:pt x="4" y="219"/>
                </a:lnTo>
                <a:lnTo>
                  <a:pt x="6" y="235"/>
                </a:lnTo>
                <a:lnTo>
                  <a:pt x="11" y="256"/>
                </a:lnTo>
                <a:lnTo>
                  <a:pt x="15" y="268"/>
                </a:lnTo>
                <a:lnTo>
                  <a:pt x="19" y="282"/>
                </a:lnTo>
                <a:lnTo>
                  <a:pt x="24" y="294"/>
                </a:lnTo>
                <a:lnTo>
                  <a:pt x="31" y="306"/>
                </a:lnTo>
                <a:lnTo>
                  <a:pt x="39" y="319"/>
                </a:lnTo>
                <a:lnTo>
                  <a:pt x="48" y="329"/>
                </a:lnTo>
                <a:lnTo>
                  <a:pt x="53" y="333"/>
                </a:lnTo>
                <a:lnTo>
                  <a:pt x="60" y="337"/>
                </a:lnTo>
                <a:lnTo>
                  <a:pt x="66" y="341"/>
                </a:lnTo>
                <a:lnTo>
                  <a:pt x="72" y="344"/>
                </a:lnTo>
                <a:lnTo>
                  <a:pt x="79" y="346"/>
                </a:lnTo>
                <a:lnTo>
                  <a:pt x="86" y="348"/>
                </a:lnTo>
                <a:lnTo>
                  <a:pt x="94" y="349"/>
                </a:lnTo>
                <a:lnTo>
                  <a:pt x="103" y="3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7" name="Freeform 34"/>
          <p:cNvSpPr>
            <a:spLocks/>
          </p:cNvSpPr>
          <p:nvPr userDrawn="1"/>
        </p:nvSpPr>
        <p:spPr bwMode="auto">
          <a:xfrm>
            <a:off x="7237413" y="1203028"/>
            <a:ext cx="60325" cy="57150"/>
          </a:xfrm>
          <a:custGeom>
            <a:avLst/>
            <a:gdLst>
              <a:gd name="T0" fmla="*/ 450 w 450"/>
              <a:gd name="T1" fmla="*/ 290 h 425"/>
              <a:gd name="T2" fmla="*/ 450 w 450"/>
              <a:gd name="T3" fmla="*/ 225 h 425"/>
              <a:gd name="T4" fmla="*/ 449 w 450"/>
              <a:gd name="T5" fmla="*/ 54 h 425"/>
              <a:gd name="T6" fmla="*/ 444 w 450"/>
              <a:gd name="T7" fmla="*/ 20 h 425"/>
              <a:gd name="T8" fmla="*/ 436 w 450"/>
              <a:gd name="T9" fmla="*/ 3 h 425"/>
              <a:gd name="T10" fmla="*/ 429 w 450"/>
              <a:gd name="T11" fmla="*/ 0 h 425"/>
              <a:gd name="T12" fmla="*/ 367 w 450"/>
              <a:gd name="T13" fmla="*/ 2 h 425"/>
              <a:gd name="T14" fmla="*/ 362 w 450"/>
              <a:gd name="T15" fmla="*/ 14 h 425"/>
              <a:gd name="T16" fmla="*/ 347 w 450"/>
              <a:gd name="T17" fmla="*/ 59 h 425"/>
              <a:gd name="T18" fmla="*/ 325 w 450"/>
              <a:gd name="T19" fmla="*/ 2 h 425"/>
              <a:gd name="T20" fmla="*/ 261 w 450"/>
              <a:gd name="T21" fmla="*/ 2 h 425"/>
              <a:gd name="T22" fmla="*/ 242 w 450"/>
              <a:gd name="T23" fmla="*/ 16 h 425"/>
              <a:gd name="T24" fmla="*/ 224 w 450"/>
              <a:gd name="T25" fmla="*/ 64 h 425"/>
              <a:gd name="T26" fmla="*/ 192 w 450"/>
              <a:gd name="T27" fmla="*/ 4 h 425"/>
              <a:gd name="T28" fmla="*/ 135 w 450"/>
              <a:gd name="T29" fmla="*/ 6 h 425"/>
              <a:gd name="T30" fmla="*/ 127 w 450"/>
              <a:gd name="T31" fmla="*/ 11 h 425"/>
              <a:gd name="T32" fmla="*/ 110 w 450"/>
              <a:gd name="T33" fmla="*/ 53 h 425"/>
              <a:gd name="T34" fmla="*/ 86 w 450"/>
              <a:gd name="T35" fmla="*/ 6 h 425"/>
              <a:gd name="T36" fmla="*/ 38 w 450"/>
              <a:gd name="T37" fmla="*/ 6 h 425"/>
              <a:gd name="T38" fmla="*/ 25 w 450"/>
              <a:gd name="T39" fmla="*/ 10 h 425"/>
              <a:gd name="T40" fmla="*/ 10 w 450"/>
              <a:gd name="T41" fmla="*/ 28 h 425"/>
              <a:gd name="T42" fmla="*/ 1 w 450"/>
              <a:gd name="T43" fmla="*/ 55 h 425"/>
              <a:gd name="T44" fmla="*/ 1 w 450"/>
              <a:gd name="T45" fmla="*/ 141 h 425"/>
              <a:gd name="T46" fmla="*/ 5 w 450"/>
              <a:gd name="T47" fmla="*/ 324 h 425"/>
              <a:gd name="T48" fmla="*/ 27 w 450"/>
              <a:gd name="T49" fmla="*/ 401 h 425"/>
              <a:gd name="T50" fmla="*/ 54 w 450"/>
              <a:gd name="T51" fmla="*/ 396 h 425"/>
              <a:gd name="T52" fmla="*/ 74 w 450"/>
              <a:gd name="T53" fmla="*/ 384 h 425"/>
              <a:gd name="T54" fmla="*/ 83 w 450"/>
              <a:gd name="T55" fmla="*/ 374 h 425"/>
              <a:gd name="T56" fmla="*/ 100 w 450"/>
              <a:gd name="T57" fmla="*/ 341 h 425"/>
              <a:gd name="T58" fmla="*/ 105 w 450"/>
              <a:gd name="T59" fmla="*/ 317 h 425"/>
              <a:gd name="T60" fmla="*/ 105 w 450"/>
              <a:gd name="T61" fmla="*/ 367 h 425"/>
              <a:gd name="T62" fmla="*/ 108 w 450"/>
              <a:gd name="T63" fmla="*/ 420 h 425"/>
              <a:gd name="T64" fmla="*/ 116 w 450"/>
              <a:gd name="T65" fmla="*/ 424 h 425"/>
              <a:gd name="T66" fmla="*/ 150 w 450"/>
              <a:gd name="T67" fmla="*/ 423 h 425"/>
              <a:gd name="T68" fmla="*/ 176 w 450"/>
              <a:gd name="T69" fmla="*/ 412 h 425"/>
              <a:gd name="T70" fmla="*/ 189 w 450"/>
              <a:gd name="T71" fmla="*/ 402 h 425"/>
              <a:gd name="T72" fmla="*/ 209 w 450"/>
              <a:gd name="T73" fmla="*/ 368 h 425"/>
              <a:gd name="T74" fmla="*/ 224 w 450"/>
              <a:gd name="T75" fmla="*/ 317 h 425"/>
              <a:gd name="T76" fmla="*/ 225 w 450"/>
              <a:gd name="T77" fmla="*/ 381 h 425"/>
              <a:gd name="T78" fmla="*/ 229 w 450"/>
              <a:gd name="T79" fmla="*/ 419 h 425"/>
              <a:gd name="T80" fmla="*/ 237 w 450"/>
              <a:gd name="T81" fmla="*/ 421 h 425"/>
              <a:gd name="T82" fmla="*/ 266 w 450"/>
              <a:gd name="T83" fmla="*/ 418 h 425"/>
              <a:gd name="T84" fmla="*/ 300 w 450"/>
              <a:gd name="T85" fmla="*/ 405 h 425"/>
              <a:gd name="T86" fmla="*/ 309 w 450"/>
              <a:gd name="T87" fmla="*/ 397 h 425"/>
              <a:gd name="T88" fmla="*/ 331 w 450"/>
              <a:gd name="T89" fmla="*/ 367 h 425"/>
              <a:gd name="T90" fmla="*/ 342 w 450"/>
              <a:gd name="T91" fmla="*/ 334 h 425"/>
              <a:gd name="T92" fmla="*/ 345 w 450"/>
              <a:gd name="T93" fmla="*/ 346 h 425"/>
              <a:gd name="T94" fmla="*/ 348 w 450"/>
              <a:gd name="T95" fmla="*/ 391 h 425"/>
              <a:gd name="T96" fmla="*/ 379 w 450"/>
              <a:gd name="T97" fmla="*/ 386 h 425"/>
              <a:gd name="T98" fmla="*/ 404 w 450"/>
              <a:gd name="T99" fmla="*/ 375 h 425"/>
              <a:gd name="T100" fmla="*/ 425 w 450"/>
              <a:gd name="T101" fmla="*/ 360 h 425"/>
              <a:gd name="T102" fmla="*/ 439 w 450"/>
              <a:gd name="T103" fmla="*/ 342 h 425"/>
              <a:gd name="T104" fmla="*/ 448 w 450"/>
              <a:gd name="T105" fmla="*/ 311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0" h="425">
                <a:moveTo>
                  <a:pt x="448" y="311"/>
                </a:moveTo>
                <a:lnTo>
                  <a:pt x="448" y="311"/>
                </a:lnTo>
                <a:lnTo>
                  <a:pt x="450" y="290"/>
                </a:lnTo>
                <a:lnTo>
                  <a:pt x="450" y="268"/>
                </a:lnTo>
                <a:lnTo>
                  <a:pt x="450" y="225"/>
                </a:lnTo>
                <a:lnTo>
                  <a:pt x="450" y="225"/>
                </a:lnTo>
                <a:lnTo>
                  <a:pt x="449" y="64"/>
                </a:lnTo>
                <a:lnTo>
                  <a:pt x="449" y="64"/>
                </a:lnTo>
                <a:lnTo>
                  <a:pt x="449" y="54"/>
                </a:lnTo>
                <a:lnTo>
                  <a:pt x="448" y="44"/>
                </a:lnTo>
                <a:lnTo>
                  <a:pt x="447" y="33"/>
                </a:lnTo>
                <a:lnTo>
                  <a:pt x="444" y="20"/>
                </a:lnTo>
                <a:lnTo>
                  <a:pt x="441" y="10"/>
                </a:lnTo>
                <a:lnTo>
                  <a:pt x="439" y="6"/>
                </a:lnTo>
                <a:lnTo>
                  <a:pt x="436" y="3"/>
                </a:lnTo>
                <a:lnTo>
                  <a:pt x="433" y="1"/>
                </a:lnTo>
                <a:lnTo>
                  <a:pt x="429" y="0"/>
                </a:lnTo>
                <a:lnTo>
                  <a:pt x="429" y="0"/>
                </a:lnTo>
                <a:lnTo>
                  <a:pt x="396" y="0"/>
                </a:lnTo>
                <a:lnTo>
                  <a:pt x="378" y="1"/>
                </a:lnTo>
                <a:lnTo>
                  <a:pt x="367" y="2"/>
                </a:lnTo>
                <a:lnTo>
                  <a:pt x="367" y="2"/>
                </a:lnTo>
                <a:lnTo>
                  <a:pt x="364" y="7"/>
                </a:lnTo>
                <a:lnTo>
                  <a:pt x="362" y="14"/>
                </a:lnTo>
                <a:lnTo>
                  <a:pt x="356" y="33"/>
                </a:lnTo>
                <a:lnTo>
                  <a:pt x="350" y="52"/>
                </a:lnTo>
                <a:lnTo>
                  <a:pt x="347" y="59"/>
                </a:lnTo>
                <a:lnTo>
                  <a:pt x="345" y="64"/>
                </a:lnTo>
                <a:lnTo>
                  <a:pt x="325" y="2"/>
                </a:lnTo>
                <a:lnTo>
                  <a:pt x="325" y="2"/>
                </a:lnTo>
                <a:lnTo>
                  <a:pt x="309" y="1"/>
                </a:lnTo>
                <a:lnTo>
                  <a:pt x="286" y="1"/>
                </a:lnTo>
                <a:lnTo>
                  <a:pt x="261" y="2"/>
                </a:lnTo>
                <a:lnTo>
                  <a:pt x="247" y="4"/>
                </a:lnTo>
                <a:lnTo>
                  <a:pt x="247" y="4"/>
                </a:lnTo>
                <a:lnTo>
                  <a:pt x="242" y="16"/>
                </a:lnTo>
                <a:lnTo>
                  <a:pt x="236" y="34"/>
                </a:lnTo>
                <a:lnTo>
                  <a:pt x="229" y="52"/>
                </a:lnTo>
                <a:lnTo>
                  <a:pt x="224" y="64"/>
                </a:lnTo>
                <a:lnTo>
                  <a:pt x="205" y="5"/>
                </a:lnTo>
                <a:lnTo>
                  <a:pt x="205" y="5"/>
                </a:lnTo>
                <a:lnTo>
                  <a:pt x="192" y="4"/>
                </a:lnTo>
                <a:lnTo>
                  <a:pt x="168" y="4"/>
                </a:lnTo>
                <a:lnTo>
                  <a:pt x="144" y="5"/>
                </a:lnTo>
                <a:lnTo>
                  <a:pt x="135" y="6"/>
                </a:lnTo>
                <a:lnTo>
                  <a:pt x="131" y="6"/>
                </a:lnTo>
                <a:lnTo>
                  <a:pt x="131" y="6"/>
                </a:lnTo>
                <a:lnTo>
                  <a:pt x="127" y="11"/>
                </a:lnTo>
                <a:lnTo>
                  <a:pt x="124" y="18"/>
                </a:lnTo>
                <a:lnTo>
                  <a:pt x="117" y="36"/>
                </a:lnTo>
                <a:lnTo>
                  <a:pt x="110" y="53"/>
                </a:lnTo>
                <a:lnTo>
                  <a:pt x="105" y="64"/>
                </a:lnTo>
                <a:lnTo>
                  <a:pt x="86" y="6"/>
                </a:lnTo>
                <a:lnTo>
                  <a:pt x="86" y="6"/>
                </a:lnTo>
                <a:lnTo>
                  <a:pt x="69" y="6"/>
                </a:lnTo>
                <a:lnTo>
                  <a:pt x="38" y="6"/>
                </a:lnTo>
                <a:lnTo>
                  <a:pt x="38" y="6"/>
                </a:lnTo>
                <a:lnTo>
                  <a:pt x="33" y="7"/>
                </a:lnTo>
                <a:lnTo>
                  <a:pt x="29" y="8"/>
                </a:lnTo>
                <a:lnTo>
                  <a:pt x="25" y="10"/>
                </a:lnTo>
                <a:lnTo>
                  <a:pt x="21" y="12"/>
                </a:lnTo>
                <a:lnTo>
                  <a:pt x="15" y="19"/>
                </a:lnTo>
                <a:lnTo>
                  <a:pt x="10" y="28"/>
                </a:lnTo>
                <a:lnTo>
                  <a:pt x="5" y="36"/>
                </a:lnTo>
                <a:lnTo>
                  <a:pt x="2" y="46"/>
                </a:lnTo>
                <a:lnTo>
                  <a:pt x="1" y="55"/>
                </a:lnTo>
                <a:lnTo>
                  <a:pt x="0" y="63"/>
                </a:lnTo>
                <a:lnTo>
                  <a:pt x="0" y="63"/>
                </a:lnTo>
                <a:lnTo>
                  <a:pt x="1" y="141"/>
                </a:lnTo>
                <a:lnTo>
                  <a:pt x="2" y="220"/>
                </a:lnTo>
                <a:lnTo>
                  <a:pt x="2" y="220"/>
                </a:lnTo>
                <a:lnTo>
                  <a:pt x="5" y="324"/>
                </a:lnTo>
                <a:lnTo>
                  <a:pt x="8" y="402"/>
                </a:lnTo>
                <a:lnTo>
                  <a:pt x="8" y="402"/>
                </a:lnTo>
                <a:lnTo>
                  <a:pt x="27" y="401"/>
                </a:lnTo>
                <a:lnTo>
                  <a:pt x="37" y="399"/>
                </a:lnTo>
                <a:lnTo>
                  <a:pt x="45" y="398"/>
                </a:lnTo>
                <a:lnTo>
                  <a:pt x="54" y="396"/>
                </a:lnTo>
                <a:lnTo>
                  <a:pt x="62" y="393"/>
                </a:lnTo>
                <a:lnTo>
                  <a:pt x="68" y="388"/>
                </a:lnTo>
                <a:lnTo>
                  <a:pt x="74" y="384"/>
                </a:lnTo>
                <a:lnTo>
                  <a:pt x="74" y="384"/>
                </a:lnTo>
                <a:lnTo>
                  <a:pt x="79" y="379"/>
                </a:lnTo>
                <a:lnTo>
                  <a:pt x="83" y="374"/>
                </a:lnTo>
                <a:lnTo>
                  <a:pt x="90" y="363"/>
                </a:lnTo>
                <a:lnTo>
                  <a:pt x="95" y="352"/>
                </a:lnTo>
                <a:lnTo>
                  <a:pt x="100" y="341"/>
                </a:lnTo>
                <a:lnTo>
                  <a:pt x="103" y="331"/>
                </a:lnTo>
                <a:lnTo>
                  <a:pt x="104" y="324"/>
                </a:lnTo>
                <a:lnTo>
                  <a:pt x="105" y="317"/>
                </a:lnTo>
                <a:lnTo>
                  <a:pt x="105" y="317"/>
                </a:lnTo>
                <a:lnTo>
                  <a:pt x="105" y="337"/>
                </a:lnTo>
                <a:lnTo>
                  <a:pt x="105" y="367"/>
                </a:lnTo>
                <a:lnTo>
                  <a:pt x="106" y="397"/>
                </a:lnTo>
                <a:lnTo>
                  <a:pt x="108" y="420"/>
                </a:lnTo>
                <a:lnTo>
                  <a:pt x="108" y="420"/>
                </a:lnTo>
                <a:lnTo>
                  <a:pt x="108" y="421"/>
                </a:lnTo>
                <a:lnTo>
                  <a:pt x="110" y="422"/>
                </a:lnTo>
                <a:lnTo>
                  <a:pt x="116" y="424"/>
                </a:lnTo>
                <a:lnTo>
                  <a:pt x="125" y="425"/>
                </a:lnTo>
                <a:lnTo>
                  <a:pt x="136" y="425"/>
                </a:lnTo>
                <a:lnTo>
                  <a:pt x="150" y="423"/>
                </a:lnTo>
                <a:lnTo>
                  <a:pt x="163" y="418"/>
                </a:lnTo>
                <a:lnTo>
                  <a:pt x="169" y="415"/>
                </a:lnTo>
                <a:lnTo>
                  <a:pt x="176" y="412"/>
                </a:lnTo>
                <a:lnTo>
                  <a:pt x="182" y="407"/>
                </a:lnTo>
                <a:lnTo>
                  <a:pt x="189" y="402"/>
                </a:lnTo>
                <a:lnTo>
                  <a:pt x="189" y="402"/>
                </a:lnTo>
                <a:lnTo>
                  <a:pt x="197" y="392"/>
                </a:lnTo>
                <a:lnTo>
                  <a:pt x="204" y="380"/>
                </a:lnTo>
                <a:lnTo>
                  <a:pt x="209" y="368"/>
                </a:lnTo>
                <a:lnTo>
                  <a:pt x="213" y="356"/>
                </a:lnTo>
                <a:lnTo>
                  <a:pt x="220" y="333"/>
                </a:lnTo>
                <a:lnTo>
                  <a:pt x="224" y="317"/>
                </a:lnTo>
                <a:lnTo>
                  <a:pt x="224" y="317"/>
                </a:lnTo>
                <a:lnTo>
                  <a:pt x="224" y="348"/>
                </a:lnTo>
                <a:lnTo>
                  <a:pt x="225" y="381"/>
                </a:lnTo>
                <a:lnTo>
                  <a:pt x="227" y="408"/>
                </a:lnTo>
                <a:lnTo>
                  <a:pt x="228" y="417"/>
                </a:lnTo>
                <a:lnTo>
                  <a:pt x="229" y="419"/>
                </a:lnTo>
                <a:lnTo>
                  <a:pt x="230" y="420"/>
                </a:lnTo>
                <a:lnTo>
                  <a:pt x="230" y="420"/>
                </a:lnTo>
                <a:lnTo>
                  <a:pt x="237" y="421"/>
                </a:lnTo>
                <a:lnTo>
                  <a:pt x="245" y="421"/>
                </a:lnTo>
                <a:lnTo>
                  <a:pt x="255" y="420"/>
                </a:lnTo>
                <a:lnTo>
                  <a:pt x="266" y="418"/>
                </a:lnTo>
                <a:lnTo>
                  <a:pt x="277" y="415"/>
                </a:lnTo>
                <a:lnTo>
                  <a:pt x="289" y="411"/>
                </a:lnTo>
                <a:lnTo>
                  <a:pt x="300" y="405"/>
                </a:lnTo>
                <a:lnTo>
                  <a:pt x="305" y="401"/>
                </a:lnTo>
                <a:lnTo>
                  <a:pt x="309" y="397"/>
                </a:lnTo>
                <a:lnTo>
                  <a:pt x="309" y="397"/>
                </a:lnTo>
                <a:lnTo>
                  <a:pt x="317" y="387"/>
                </a:lnTo>
                <a:lnTo>
                  <a:pt x="325" y="377"/>
                </a:lnTo>
                <a:lnTo>
                  <a:pt x="331" y="367"/>
                </a:lnTo>
                <a:lnTo>
                  <a:pt x="336" y="356"/>
                </a:lnTo>
                <a:lnTo>
                  <a:pt x="339" y="345"/>
                </a:lnTo>
                <a:lnTo>
                  <a:pt x="342" y="334"/>
                </a:lnTo>
                <a:lnTo>
                  <a:pt x="345" y="317"/>
                </a:lnTo>
                <a:lnTo>
                  <a:pt x="345" y="317"/>
                </a:lnTo>
                <a:lnTo>
                  <a:pt x="345" y="346"/>
                </a:lnTo>
                <a:lnTo>
                  <a:pt x="346" y="370"/>
                </a:lnTo>
                <a:lnTo>
                  <a:pt x="348" y="391"/>
                </a:lnTo>
                <a:lnTo>
                  <a:pt x="348" y="391"/>
                </a:lnTo>
                <a:lnTo>
                  <a:pt x="362" y="390"/>
                </a:lnTo>
                <a:lnTo>
                  <a:pt x="371" y="388"/>
                </a:lnTo>
                <a:lnTo>
                  <a:pt x="379" y="386"/>
                </a:lnTo>
                <a:lnTo>
                  <a:pt x="379" y="386"/>
                </a:lnTo>
                <a:lnTo>
                  <a:pt x="393" y="380"/>
                </a:lnTo>
                <a:lnTo>
                  <a:pt x="404" y="375"/>
                </a:lnTo>
                <a:lnTo>
                  <a:pt x="415" y="368"/>
                </a:lnTo>
                <a:lnTo>
                  <a:pt x="415" y="368"/>
                </a:lnTo>
                <a:lnTo>
                  <a:pt x="425" y="360"/>
                </a:lnTo>
                <a:lnTo>
                  <a:pt x="430" y="355"/>
                </a:lnTo>
                <a:lnTo>
                  <a:pt x="435" y="349"/>
                </a:lnTo>
                <a:lnTo>
                  <a:pt x="439" y="342"/>
                </a:lnTo>
                <a:lnTo>
                  <a:pt x="443" y="333"/>
                </a:lnTo>
                <a:lnTo>
                  <a:pt x="446" y="323"/>
                </a:lnTo>
                <a:lnTo>
                  <a:pt x="448" y="3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8" name="Freeform 35"/>
          <p:cNvSpPr>
            <a:spLocks/>
          </p:cNvSpPr>
          <p:nvPr userDrawn="1"/>
        </p:nvSpPr>
        <p:spPr bwMode="auto">
          <a:xfrm>
            <a:off x="7245351" y="1206204"/>
            <a:ext cx="73025" cy="80963"/>
          </a:xfrm>
          <a:custGeom>
            <a:avLst/>
            <a:gdLst>
              <a:gd name="T0" fmla="*/ 554 w 554"/>
              <a:gd name="T1" fmla="*/ 356 h 620"/>
              <a:gd name="T2" fmla="*/ 549 w 554"/>
              <a:gd name="T3" fmla="*/ 350 h 620"/>
              <a:gd name="T4" fmla="*/ 535 w 554"/>
              <a:gd name="T5" fmla="*/ 331 h 620"/>
              <a:gd name="T6" fmla="*/ 525 w 554"/>
              <a:gd name="T7" fmla="*/ 306 h 620"/>
              <a:gd name="T8" fmla="*/ 520 w 554"/>
              <a:gd name="T9" fmla="*/ 285 h 620"/>
              <a:gd name="T10" fmla="*/ 516 w 554"/>
              <a:gd name="T11" fmla="*/ 258 h 620"/>
              <a:gd name="T12" fmla="*/ 515 w 554"/>
              <a:gd name="T13" fmla="*/ 243 h 620"/>
              <a:gd name="T14" fmla="*/ 516 w 554"/>
              <a:gd name="T15" fmla="*/ 222 h 620"/>
              <a:gd name="T16" fmla="*/ 520 w 554"/>
              <a:gd name="T17" fmla="*/ 202 h 620"/>
              <a:gd name="T18" fmla="*/ 532 w 554"/>
              <a:gd name="T19" fmla="*/ 167 h 620"/>
              <a:gd name="T20" fmla="*/ 546 w 554"/>
              <a:gd name="T21" fmla="*/ 142 h 620"/>
              <a:gd name="T22" fmla="*/ 551 w 554"/>
              <a:gd name="T23" fmla="*/ 43 h 620"/>
              <a:gd name="T24" fmla="*/ 542 w 554"/>
              <a:gd name="T25" fmla="*/ 36 h 620"/>
              <a:gd name="T26" fmla="*/ 504 w 554"/>
              <a:gd name="T27" fmla="*/ 13 h 620"/>
              <a:gd name="T28" fmla="*/ 482 w 554"/>
              <a:gd name="T29" fmla="*/ 2 h 620"/>
              <a:gd name="T30" fmla="*/ 470 w 554"/>
              <a:gd name="T31" fmla="*/ 0 h 620"/>
              <a:gd name="T32" fmla="*/ 465 w 554"/>
              <a:gd name="T33" fmla="*/ 327 h 620"/>
              <a:gd name="T34" fmla="*/ 465 w 554"/>
              <a:gd name="T35" fmla="*/ 339 h 620"/>
              <a:gd name="T36" fmla="*/ 458 w 554"/>
              <a:gd name="T37" fmla="*/ 360 h 620"/>
              <a:gd name="T38" fmla="*/ 444 w 554"/>
              <a:gd name="T39" fmla="*/ 382 h 620"/>
              <a:gd name="T40" fmla="*/ 426 w 554"/>
              <a:gd name="T41" fmla="*/ 402 h 620"/>
              <a:gd name="T42" fmla="*/ 405 w 554"/>
              <a:gd name="T43" fmla="*/ 421 h 620"/>
              <a:gd name="T44" fmla="*/ 380 w 554"/>
              <a:gd name="T45" fmla="*/ 437 h 620"/>
              <a:gd name="T46" fmla="*/ 353 w 554"/>
              <a:gd name="T47" fmla="*/ 449 h 620"/>
              <a:gd name="T48" fmla="*/ 327 w 554"/>
              <a:gd name="T49" fmla="*/ 458 h 620"/>
              <a:gd name="T50" fmla="*/ 314 w 554"/>
              <a:gd name="T51" fmla="*/ 461 h 620"/>
              <a:gd name="T52" fmla="*/ 255 w 554"/>
              <a:gd name="T53" fmla="*/ 471 h 620"/>
              <a:gd name="T54" fmla="*/ 199 w 554"/>
              <a:gd name="T55" fmla="*/ 477 h 620"/>
              <a:gd name="T56" fmla="*/ 98 w 554"/>
              <a:gd name="T57" fmla="*/ 482 h 620"/>
              <a:gd name="T58" fmla="*/ 27 w 554"/>
              <a:gd name="T59" fmla="*/ 482 h 620"/>
              <a:gd name="T60" fmla="*/ 0 w 554"/>
              <a:gd name="T61" fmla="*/ 481 h 620"/>
              <a:gd name="T62" fmla="*/ 4 w 554"/>
              <a:gd name="T63" fmla="*/ 508 h 620"/>
              <a:gd name="T64" fmla="*/ 13 w 554"/>
              <a:gd name="T65" fmla="*/ 550 h 620"/>
              <a:gd name="T66" fmla="*/ 18 w 554"/>
              <a:gd name="T67" fmla="*/ 566 h 620"/>
              <a:gd name="T68" fmla="*/ 29 w 554"/>
              <a:gd name="T69" fmla="*/ 586 h 620"/>
              <a:gd name="T70" fmla="*/ 44 w 554"/>
              <a:gd name="T71" fmla="*/ 604 h 620"/>
              <a:gd name="T72" fmla="*/ 62 w 554"/>
              <a:gd name="T73" fmla="*/ 620 h 620"/>
              <a:gd name="T74" fmla="*/ 554 w 554"/>
              <a:gd name="T75" fmla="*/ 450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4" h="620">
                <a:moveTo>
                  <a:pt x="554" y="450"/>
                </a:moveTo>
                <a:lnTo>
                  <a:pt x="554" y="356"/>
                </a:lnTo>
                <a:lnTo>
                  <a:pt x="554" y="356"/>
                </a:lnTo>
                <a:lnTo>
                  <a:pt x="549" y="350"/>
                </a:lnTo>
                <a:lnTo>
                  <a:pt x="543" y="342"/>
                </a:lnTo>
                <a:lnTo>
                  <a:pt x="535" y="331"/>
                </a:lnTo>
                <a:lnTo>
                  <a:pt x="528" y="315"/>
                </a:lnTo>
                <a:lnTo>
                  <a:pt x="525" y="306"/>
                </a:lnTo>
                <a:lnTo>
                  <a:pt x="522" y="296"/>
                </a:lnTo>
                <a:lnTo>
                  <a:pt x="520" y="285"/>
                </a:lnTo>
                <a:lnTo>
                  <a:pt x="517" y="271"/>
                </a:lnTo>
                <a:lnTo>
                  <a:pt x="516" y="258"/>
                </a:lnTo>
                <a:lnTo>
                  <a:pt x="515" y="243"/>
                </a:lnTo>
                <a:lnTo>
                  <a:pt x="515" y="243"/>
                </a:lnTo>
                <a:lnTo>
                  <a:pt x="515" y="232"/>
                </a:lnTo>
                <a:lnTo>
                  <a:pt x="516" y="222"/>
                </a:lnTo>
                <a:lnTo>
                  <a:pt x="517" y="212"/>
                </a:lnTo>
                <a:lnTo>
                  <a:pt x="520" y="202"/>
                </a:lnTo>
                <a:lnTo>
                  <a:pt x="526" y="183"/>
                </a:lnTo>
                <a:lnTo>
                  <a:pt x="532" y="167"/>
                </a:lnTo>
                <a:lnTo>
                  <a:pt x="540" y="154"/>
                </a:lnTo>
                <a:lnTo>
                  <a:pt x="546" y="142"/>
                </a:lnTo>
                <a:lnTo>
                  <a:pt x="552" y="133"/>
                </a:lnTo>
                <a:lnTo>
                  <a:pt x="551" y="43"/>
                </a:lnTo>
                <a:lnTo>
                  <a:pt x="551" y="43"/>
                </a:lnTo>
                <a:lnTo>
                  <a:pt x="542" y="36"/>
                </a:lnTo>
                <a:lnTo>
                  <a:pt x="518" y="21"/>
                </a:lnTo>
                <a:lnTo>
                  <a:pt x="504" y="13"/>
                </a:lnTo>
                <a:lnTo>
                  <a:pt x="489" y="5"/>
                </a:lnTo>
                <a:lnTo>
                  <a:pt x="482" y="2"/>
                </a:lnTo>
                <a:lnTo>
                  <a:pt x="476" y="1"/>
                </a:lnTo>
                <a:lnTo>
                  <a:pt x="470" y="0"/>
                </a:lnTo>
                <a:lnTo>
                  <a:pt x="464" y="0"/>
                </a:lnTo>
                <a:lnTo>
                  <a:pt x="465" y="327"/>
                </a:lnTo>
                <a:lnTo>
                  <a:pt x="465" y="327"/>
                </a:lnTo>
                <a:lnTo>
                  <a:pt x="465" y="339"/>
                </a:lnTo>
                <a:lnTo>
                  <a:pt x="462" y="349"/>
                </a:lnTo>
                <a:lnTo>
                  <a:pt x="458" y="360"/>
                </a:lnTo>
                <a:lnTo>
                  <a:pt x="452" y="370"/>
                </a:lnTo>
                <a:lnTo>
                  <a:pt x="444" y="382"/>
                </a:lnTo>
                <a:lnTo>
                  <a:pt x="436" y="392"/>
                </a:lnTo>
                <a:lnTo>
                  <a:pt x="426" y="402"/>
                </a:lnTo>
                <a:lnTo>
                  <a:pt x="416" y="411"/>
                </a:lnTo>
                <a:lnTo>
                  <a:pt x="405" y="421"/>
                </a:lnTo>
                <a:lnTo>
                  <a:pt x="392" y="429"/>
                </a:lnTo>
                <a:lnTo>
                  <a:pt x="380" y="437"/>
                </a:lnTo>
                <a:lnTo>
                  <a:pt x="367" y="443"/>
                </a:lnTo>
                <a:lnTo>
                  <a:pt x="353" y="449"/>
                </a:lnTo>
                <a:lnTo>
                  <a:pt x="340" y="454"/>
                </a:lnTo>
                <a:lnTo>
                  <a:pt x="327" y="458"/>
                </a:lnTo>
                <a:lnTo>
                  <a:pt x="314" y="461"/>
                </a:lnTo>
                <a:lnTo>
                  <a:pt x="314" y="461"/>
                </a:lnTo>
                <a:lnTo>
                  <a:pt x="284" y="467"/>
                </a:lnTo>
                <a:lnTo>
                  <a:pt x="255" y="471"/>
                </a:lnTo>
                <a:lnTo>
                  <a:pt x="227" y="474"/>
                </a:lnTo>
                <a:lnTo>
                  <a:pt x="199" y="477"/>
                </a:lnTo>
                <a:lnTo>
                  <a:pt x="146" y="480"/>
                </a:lnTo>
                <a:lnTo>
                  <a:pt x="98" y="482"/>
                </a:lnTo>
                <a:lnTo>
                  <a:pt x="58" y="482"/>
                </a:lnTo>
                <a:lnTo>
                  <a:pt x="27" y="482"/>
                </a:lnTo>
                <a:lnTo>
                  <a:pt x="0" y="481"/>
                </a:lnTo>
                <a:lnTo>
                  <a:pt x="0" y="481"/>
                </a:lnTo>
                <a:lnTo>
                  <a:pt x="1" y="488"/>
                </a:lnTo>
                <a:lnTo>
                  <a:pt x="4" y="508"/>
                </a:lnTo>
                <a:lnTo>
                  <a:pt x="10" y="535"/>
                </a:lnTo>
                <a:lnTo>
                  <a:pt x="13" y="550"/>
                </a:lnTo>
                <a:lnTo>
                  <a:pt x="18" y="566"/>
                </a:lnTo>
                <a:lnTo>
                  <a:pt x="18" y="566"/>
                </a:lnTo>
                <a:lnTo>
                  <a:pt x="23" y="576"/>
                </a:lnTo>
                <a:lnTo>
                  <a:pt x="29" y="586"/>
                </a:lnTo>
                <a:lnTo>
                  <a:pt x="36" y="595"/>
                </a:lnTo>
                <a:lnTo>
                  <a:pt x="44" y="604"/>
                </a:lnTo>
                <a:lnTo>
                  <a:pt x="57" y="616"/>
                </a:lnTo>
                <a:lnTo>
                  <a:pt x="62" y="620"/>
                </a:lnTo>
                <a:lnTo>
                  <a:pt x="451" y="620"/>
                </a:lnTo>
                <a:lnTo>
                  <a:pt x="554" y="4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9" name="Freeform 36"/>
          <p:cNvSpPr>
            <a:spLocks/>
          </p:cNvSpPr>
          <p:nvPr userDrawn="1"/>
        </p:nvSpPr>
        <p:spPr bwMode="auto">
          <a:xfrm>
            <a:off x="7251700" y="1298279"/>
            <a:ext cx="57150" cy="17463"/>
          </a:xfrm>
          <a:custGeom>
            <a:avLst/>
            <a:gdLst>
              <a:gd name="T0" fmla="*/ 20 w 435"/>
              <a:gd name="T1" fmla="*/ 142 h 142"/>
              <a:gd name="T2" fmla="*/ 411 w 435"/>
              <a:gd name="T3" fmla="*/ 142 h 142"/>
              <a:gd name="T4" fmla="*/ 411 w 435"/>
              <a:gd name="T5" fmla="*/ 142 h 142"/>
              <a:gd name="T6" fmla="*/ 422 w 435"/>
              <a:gd name="T7" fmla="*/ 109 h 142"/>
              <a:gd name="T8" fmla="*/ 430 w 435"/>
              <a:gd name="T9" fmla="*/ 83 h 142"/>
              <a:gd name="T10" fmla="*/ 433 w 435"/>
              <a:gd name="T11" fmla="*/ 72 h 142"/>
              <a:gd name="T12" fmla="*/ 435 w 435"/>
              <a:gd name="T13" fmla="*/ 63 h 142"/>
              <a:gd name="T14" fmla="*/ 417 w 435"/>
              <a:gd name="T15" fmla="*/ 0 h 142"/>
              <a:gd name="T16" fmla="*/ 22 w 435"/>
              <a:gd name="T17" fmla="*/ 0 h 142"/>
              <a:gd name="T18" fmla="*/ 0 w 435"/>
              <a:gd name="T19" fmla="*/ 65 h 142"/>
              <a:gd name="T20" fmla="*/ 20 w 435"/>
              <a:gd name="T2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5" h="142">
                <a:moveTo>
                  <a:pt x="20" y="142"/>
                </a:moveTo>
                <a:lnTo>
                  <a:pt x="411" y="142"/>
                </a:lnTo>
                <a:lnTo>
                  <a:pt x="411" y="142"/>
                </a:lnTo>
                <a:lnTo>
                  <a:pt x="422" y="109"/>
                </a:lnTo>
                <a:lnTo>
                  <a:pt x="430" y="83"/>
                </a:lnTo>
                <a:lnTo>
                  <a:pt x="433" y="72"/>
                </a:lnTo>
                <a:lnTo>
                  <a:pt x="435" y="63"/>
                </a:lnTo>
                <a:lnTo>
                  <a:pt x="417" y="0"/>
                </a:lnTo>
                <a:lnTo>
                  <a:pt x="22" y="0"/>
                </a:lnTo>
                <a:lnTo>
                  <a:pt x="0" y="65"/>
                </a:lnTo>
                <a:lnTo>
                  <a:pt x="20" y="1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0" name="Freeform 37"/>
          <p:cNvSpPr>
            <a:spLocks/>
          </p:cNvSpPr>
          <p:nvPr userDrawn="1"/>
        </p:nvSpPr>
        <p:spPr bwMode="auto">
          <a:xfrm>
            <a:off x="7254875" y="1326854"/>
            <a:ext cx="57150" cy="66675"/>
          </a:xfrm>
          <a:custGeom>
            <a:avLst/>
            <a:gdLst>
              <a:gd name="T0" fmla="*/ 384 w 436"/>
              <a:gd name="T1" fmla="*/ 0 h 514"/>
              <a:gd name="T2" fmla="*/ 2 w 436"/>
              <a:gd name="T3" fmla="*/ 0 h 514"/>
              <a:gd name="T4" fmla="*/ 0 w 436"/>
              <a:gd name="T5" fmla="*/ 505 h 514"/>
              <a:gd name="T6" fmla="*/ 331 w 436"/>
              <a:gd name="T7" fmla="*/ 514 h 514"/>
              <a:gd name="T8" fmla="*/ 436 w 436"/>
              <a:gd name="T9" fmla="*/ 431 h 514"/>
              <a:gd name="T10" fmla="*/ 384 w 436"/>
              <a:gd name="T11" fmla="*/ 0 h 514"/>
            </a:gdLst>
            <a:ahLst/>
            <a:cxnLst>
              <a:cxn ang="0">
                <a:pos x="T0" y="T1"/>
              </a:cxn>
              <a:cxn ang="0">
                <a:pos x="T2" y="T3"/>
              </a:cxn>
              <a:cxn ang="0">
                <a:pos x="T4" y="T5"/>
              </a:cxn>
              <a:cxn ang="0">
                <a:pos x="T6" y="T7"/>
              </a:cxn>
              <a:cxn ang="0">
                <a:pos x="T8" y="T9"/>
              </a:cxn>
              <a:cxn ang="0">
                <a:pos x="T10" y="T11"/>
              </a:cxn>
            </a:cxnLst>
            <a:rect l="0" t="0" r="r" b="b"/>
            <a:pathLst>
              <a:path w="436" h="514">
                <a:moveTo>
                  <a:pt x="384" y="0"/>
                </a:moveTo>
                <a:lnTo>
                  <a:pt x="2" y="0"/>
                </a:lnTo>
                <a:lnTo>
                  <a:pt x="0" y="505"/>
                </a:lnTo>
                <a:lnTo>
                  <a:pt x="331" y="514"/>
                </a:lnTo>
                <a:lnTo>
                  <a:pt x="436" y="431"/>
                </a:lnTo>
                <a:lnTo>
                  <a:pt x="3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1" name="Freeform 38"/>
          <p:cNvSpPr>
            <a:spLocks/>
          </p:cNvSpPr>
          <p:nvPr userDrawn="1"/>
        </p:nvSpPr>
        <p:spPr bwMode="auto">
          <a:xfrm>
            <a:off x="7251701" y="1391941"/>
            <a:ext cx="77788" cy="68263"/>
          </a:xfrm>
          <a:custGeom>
            <a:avLst/>
            <a:gdLst>
              <a:gd name="T0" fmla="*/ 586 w 586"/>
              <a:gd name="T1" fmla="*/ 139 h 523"/>
              <a:gd name="T2" fmla="*/ 586 w 586"/>
              <a:gd name="T3" fmla="*/ 139 h 523"/>
              <a:gd name="T4" fmla="*/ 552 w 586"/>
              <a:gd name="T5" fmla="*/ 115 h 523"/>
              <a:gd name="T6" fmla="*/ 527 w 586"/>
              <a:gd name="T7" fmla="*/ 97 h 523"/>
              <a:gd name="T8" fmla="*/ 519 w 586"/>
              <a:gd name="T9" fmla="*/ 90 h 523"/>
              <a:gd name="T10" fmla="*/ 514 w 586"/>
              <a:gd name="T11" fmla="*/ 85 h 523"/>
              <a:gd name="T12" fmla="*/ 514 w 586"/>
              <a:gd name="T13" fmla="*/ 85 h 523"/>
              <a:gd name="T14" fmla="*/ 512 w 586"/>
              <a:gd name="T15" fmla="*/ 79 h 523"/>
              <a:gd name="T16" fmla="*/ 510 w 586"/>
              <a:gd name="T17" fmla="*/ 69 h 523"/>
              <a:gd name="T18" fmla="*/ 506 w 586"/>
              <a:gd name="T19" fmla="*/ 40 h 523"/>
              <a:gd name="T20" fmla="*/ 503 w 586"/>
              <a:gd name="T21" fmla="*/ 0 h 523"/>
              <a:gd name="T22" fmla="*/ 381 w 586"/>
              <a:gd name="T23" fmla="*/ 98 h 523"/>
              <a:gd name="T24" fmla="*/ 8 w 586"/>
              <a:gd name="T25" fmla="*/ 97 h 523"/>
              <a:gd name="T26" fmla="*/ 8 w 586"/>
              <a:gd name="T27" fmla="*/ 97 h 523"/>
              <a:gd name="T28" fmla="*/ 8 w 586"/>
              <a:gd name="T29" fmla="*/ 98 h 523"/>
              <a:gd name="T30" fmla="*/ 7 w 586"/>
              <a:gd name="T31" fmla="*/ 100 h 523"/>
              <a:gd name="T32" fmla="*/ 5 w 586"/>
              <a:gd name="T33" fmla="*/ 108 h 523"/>
              <a:gd name="T34" fmla="*/ 3 w 586"/>
              <a:gd name="T35" fmla="*/ 139 h 523"/>
              <a:gd name="T36" fmla="*/ 2 w 586"/>
              <a:gd name="T37" fmla="*/ 183 h 523"/>
              <a:gd name="T38" fmla="*/ 1 w 586"/>
              <a:gd name="T39" fmla="*/ 233 h 523"/>
              <a:gd name="T40" fmla="*/ 0 w 586"/>
              <a:gd name="T41" fmla="*/ 327 h 523"/>
              <a:gd name="T42" fmla="*/ 0 w 586"/>
              <a:gd name="T43" fmla="*/ 369 h 523"/>
              <a:gd name="T44" fmla="*/ 0 w 586"/>
              <a:gd name="T45" fmla="*/ 369 h 523"/>
              <a:gd name="T46" fmla="*/ 29 w 586"/>
              <a:gd name="T47" fmla="*/ 395 h 523"/>
              <a:gd name="T48" fmla="*/ 95 w 586"/>
              <a:gd name="T49" fmla="*/ 448 h 523"/>
              <a:gd name="T50" fmla="*/ 131 w 586"/>
              <a:gd name="T51" fmla="*/ 477 h 523"/>
              <a:gd name="T52" fmla="*/ 162 w 586"/>
              <a:gd name="T53" fmla="*/ 501 h 523"/>
              <a:gd name="T54" fmla="*/ 186 w 586"/>
              <a:gd name="T55" fmla="*/ 517 h 523"/>
              <a:gd name="T56" fmla="*/ 193 w 586"/>
              <a:gd name="T57" fmla="*/ 522 h 523"/>
              <a:gd name="T58" fmla="*/ 195 w 586"/>
              <a:gd name="T59" fmla="*/ 523 h 523"/>
              <a:gd name="T60" fmla="*/ 197 w 586"/>
              <a:gd name="T61" fmla="*/ 523 h 523"/>
              <a:gd name="T62" fmla="*/ 448 w 586"/>
              <a:gd name="T63" fmla="*/ 206 h 523"/>
              <a:gd name="T64" fmla="*/ 586 w 586"/>
              <a:gd name="T65" fmla="*/ 139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86" h="523">
                <a:moveTo>
                  <a:pt x="586" y="139"/>
                </a:moveTo>
                <a:lnTo>
                  <a:pt x="586" y="139"/>
                </a:lnTo>
                <a:lnTo>
                  <a:pt x="552" y="115"/>
                </a:lnTo>
                <a:lnTo>
                  <a:pt x="527" y="97"/>
                </a:lnTo>
                <a:lnTo>
                  <a:pt x="519" y="90"/>
                </a:lnTo>
                <a:lnTo>
                  <a:pt x="514" y="85"/>
                </a:lnTo>
                <a:lnTo>
                  <a:pt x="514" y="85"/>
                </a:lnTo>
                <a:lnTo>
                  <a:pt x="512" y="79"/>
                </a:lnTo>
                <a:lnTo>
                  <a:pt x="510" y="69"/>
                </a:lnTo>
                <a:lnTo>
                  <a:pt x="506" y="40"/>
                </a:lnTo>
                <a:lnTo>
                  <a:pt x="503" y="0"/>
                </a:lnTo>
                <a:lnTo>
                  <a:pt x="381" y="98"/>
                </a:lnTo>
                <a:lnTo>
                  <a:pt x="8" y="97"/>
                </a:lnTo>
                <a:lnTo>
                  <a:pt x="8" y="97"/>
                </a:lnTo>
                <a:lnTo>
                  <a:pt x="8" y="98"/>
                </a:lnTo>
                <a:lnTo>
                  <a:pt x="7" y="100"/>
                </a:lnTo>
                <a:lnTo>
                  <a:pt x="5" y="108"/>
                </a:lnTo>
                <a:lnTo>
                  <a:pt x="3" y="139"/>
                </a:lnTo>
                <a:lnTo>
                  <a:pt x="2" y="183"/>
                </a:lnTo>
                <a:lnTo>
                  <a:pt x="1" y="233"/>
                </a:lnTo>
                <a:lnTo>
                  <a:pt x="0" y="327"/>
                </a:lnTo>
                <a:lnTo>
                  <a:pt x="0" y="369"/>
                </a:lnTo>
                <a:lnTo>
                  <a:pt x="0" y="369"/>
                </a:lnTo>
                <a:lnTo>
                  <a:pt x="29" y="395"/>
                </a:lnTo>
                <a:lnTo>
                  <a:pt x="95" y="448"/>
                </a:lnTo>
                <a:lnTo>
                  <a:pt x="131" y="477"/>
                </a:lnTo>
                <a:lnTo>
                  <a:pt x="162" y="501"/>
                </a:lnTo>
                <a:lnTo>
                  <a:pt x="186" y="517"/>
                </a:lnTo>
                <a:lnTo>
                  <a:pt x="193" y="522"/>
                </a:lnTo>
                <a:lnTo>
                  <a:pt x="195" y="523"/>
                </a:lnTo>
                <a:lnTo>
                  <a:pt x="197" y="523"/>
                </a:lnTo>
                <a:lnTo>
                  <a:pt x="448" y="206"/>
                </a:lnTo>
                <a:lnTo>
                  <a:pt x="586" y="13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2" name="Freeform 39"/>
          <p:cNvSpPr>
            <a:spLocks/>
          </p:cNvSpPr>
          <p:nvPr userDrawn="1"/>
        </p:nvSpPr>
        <p:spPr bwMode="auto">
          <a:xfrm>
            <a:off x="7288212" y="1417340"/>
            <a:ext cx="115888" cy="66675"/>
          </a:xfrm>
          <a:custGeom>
            <a:avLst/>
            <a:gdLst>
              <a:gd name="T0" fmla="*/ 226 w 879"/>
              <a:gd name="T1" fmla="*/ 65 h 509"/>
              <a:gd name="T2" fmla="*/ 0 w 879"/>
              <a:gd name="T3" fmla="*/ 355 h 509"/>
              <a:gd name="T4" fmla="*/ 369 w 879"/>
              <a:gd name="T5" fmla="*/ 509 h 509"/>
              <a:gd name="T6" fmla="*/ 369 w 879"/>
              <a:gd name="T7" fmla="*/ 509 h 509"/>
              <a:gd name="T8" fmla="*/ 409 w 879"/>
              <a:gd name="T9" fmla="*/ 487 h 509"/>
              <a:gd name="T10" fmla="*/ 452 w 879"/>
              <a:gd name="T11" fmla="*/ 464 h 509"/>
              <a:gd name="T12" fmla="*/ 495 w 879"/>
              <a:gd name="T13" fmla="*/ 439 h 509"/>
              <a:gd name="T14" fmla="*/ 538 w 879"/>
              <a:gd name="T15" fmla="*/ 413 h 509"/>
              <a:gd name="T16" fmla="*/ 623 w 879"/>
              <a:gd name="T17" fmla="*/ 361 h 509"/>
              <a:gd name="T18" fmla="*/ 703 w 879"/>
              <a:gd name="T19" fmla="*/ 311 h 509"/>
              <a:gd name="T20" fmla="*/ 773 w 879"/>
              <a:gd name="T21" fmla="*/ 266 h 509"/>
              <a:gd name="T22" fmla="*/ 829 w 879"/>
              <a:gd name="T23" fmla="*/ 229 h 509"/>
              <a:gd name="T24" fmla="*/ 879 w 879"/>
              <a:gd name="T25" fmla="*/ 196 h 509"/>
              <a:gd name="T26" fmla="*/ 359 w 879"/>
              <a:gd name="T27" fmla="*/ 0 h 509"/>
              <a:gd name="T28" fmla="*/ 226 w 879"/>
              <a:gd name="T29" fmla="*/ 65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9" h="509">
                <a:moveTo>
                  <a:pt x="226" y="65"/>
                </a:moveTo>
                <a:lnTo>
                  <a:pt x="0" y="355"/>
                </a:lnTo>
                <a:lnTo>
                  <a:pt x="369" y="509"/>
                </a:lnTo>
                <a:lnTo>
                  <a:pt x="369" y="509"/>
                </a:lnTo>
                <a:lnTo>
                  <a:pt x="409" y="487"/>
                </a:lnTo>
                <a:lnTo>
                  <a:pt x="452" y="464"/>
                </a:lnTo>
                <a:lnTo>
                  <a:pt x="495" y="439"/>
                </a:lnTo>
                <a:lnTo>
                  <a:pt x="538" y="413"/>
                </a:lnTo>
                <a:lnTo>
                  <a:pt x="623" y="361"/>
                </a:lnTo>
                <a:lnTo>
                  <a:pt x="703" y="311"/>
                </a:lnTo>
                <a:lnTo>
                  <a:pt x="773" y="266"/>
                </a:lnTo>
                <a:lnTo>
                  <a:pt x="829" y="229"/>
                </a:lnTo>
                <a:lnTo>
                  <a:pt x="879" y="196"/>
                </a:lnTo>
                <a:lnTo>
                  <a:pt x="359" y="0"/>
                </a:lnTo>
                <a:lnTo>
                  <a:pt x="226" y="6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3" name="Freeform 40"/>
          <p:cNvSpPr>
            <a:spLocks/>
          </p:cNvSpPr>
          <p:nvPr userDrawn="1"/>
        </p:nvSpPr>
        <p:spPr bwMode="auto">
          <a:xfrm>
            <a:off x="7323137" y="1172866"/>
            <a:ext cx="26988" cy="123825"/>
          </a:xfrm>
          <a:custGeom>
            <a:avLst/>
            <a:gdLst>
              <a:gd name="T0" fmla="*/ 170 w 211"/>
              <a:gd name="T1" fmla="*/ 388 h 928"/>
              <a:gd name="T2" fmla="*/ 169 w 211"/>
              <a:gd name="T3" fmla="*/ 133 h 928"/>
              <a:gd name="T4" fmla="*/ 171 w 211"/>
              <a:gd name="T5" fmla="*/ 84 h 928"/>
              <a:gd name="T6" fmla="*/ 172 w 211"/>
              <a:gd name="T7" fmla="*/ 79 h 928"/>
              <a:gd name="T8" fmla="*/ 182 w 211"/>
              <a:gd name="T9" fmla="*/ 64 h 928"/>
              <a:gd name="T10" fmla="*/ 188 w 211"/>
              <a:gd name="T11" fmla="*/ 53 h 928"/>
              <a:gd name="T12" fmla="*/ 192 w 211"/>
              <a:gd name="T13" fmla="*/ 36 h 928"/>
              <a:gd name="T14" fmla="*/ 191 w 211"/>
              <a:gd name="T15" fmla="*/ 18 h 928"/>
              <a:gd name="T16" fmla="*/ 188 w 211"/>
              <a:gd name="T17" fmla="*/ 0 h 928"/>
              <a:gd name="T18" fmla="*/ 6 w 211"/>
              <a:gd name="T19" fmla="*/ 0 h 928"/>
              <a:gd name="T20" fmla="*/ 4 w 211"/>
              <a:gd name="T21" fmla="*/ 8 h 928"/>
              <a:gd name="T22" fmla="*/ 5 w 211"/>
              <a:gd name="T23" fmla="*/ 33 h 928"/>
              <a:gd name="T24" fmla="*/ 7 w 211"/>
              <a:gd name="T25" fmla="*/ 43 h 928"/>
              <a:gd name="T26" fmla="*/ 17 w 211"/>
              <a:gd name="T27" fmla="*/ 65 h 928"/>
              <a:gd name="T28" fmla="*/ 28 w 211"/>
              <a:gd name="T29" fmla="*/ 80 h 928"/>
              <a:gd name="T30" fmla="*/ 33 w 211"/>
              <a:gd name="T31" fmla="*/ 388 h 928"/>
              <a:gd name="T32" fmla="*/ 29 w 211"/>
              <a:gd name="T33" fmla="*/ 395 h 928"/>
              <a:gd name="T34" fmla="*/ 19 w 211"/>
              <a:gd name="T35" fmla="*/ 412 h 928"/>
              <a:gd name="T36" fmla="*/ 9 w 211"/>
              <a:gd name="T37" fmla="*/ 443 h 928"/>
              <a:gd name="T38" fmla="*/ 0 w 211"/>
              <a:gd name="T39" fmla="*/ 487 h 928"/>
              <a:gd name="T40" fmla="*/ 0 w 211"/>
              <a:gd name="T41" fmla="*/ 498 h 928"/>
              <a:gd name="T42" fmla="*/ 1 w 211"/>
              <a:gd name="T43" fmla="*/ 518 h 928"/>
              <a:gd name="T44" fmla="*/ 10 w 211"/>
              <a:gd name="T45" fmla="*/ 546 h 928"/>
              <a:gd name="T46" fmla="*/ 23 w 211"/>
              <a:gd name="T47" fmla="*/ 576 h 928"/>
              <a:gd name="T48" fmla="*/ 35 w 211"/>
              <a:gd name="T49" fmla="*/ 594 h 928"/>
              <a:gd name="T50" fmla="*/ 31 w 211"/>
              <a:gd name="T51" fmla="*/ 850 h 928"/>
              <a:gd name="T52" fmla="*/ 23 w 211"/>
              <a:gd name="T53" fmla="*/ 859 h 928"/>
              <a:gd name="T54" fmla="*/ 18 w 211"/>
              <a:gd name="T55" fmla="*/ 871 h 928"/>
              <a:gd name="T56" fmla="*/ 14 w 211"/>
              <a:gd name="T57" fmla="*/ 888 h 928"/>
              <a:gd name="T58" fmla="*/ 14 w 211"/>
              <a:gd name="T59" fmla="*/ 898 h 928"/>
              <a:gd name="T60" fmla="*/ 15 w 211"/>
              <a:gd name="T61" fmla="*/ 919 h 928"/>
              <a:gd name="T62" fmla="*/ 18 w 211"/>
              <a:gd name="T63" fmla="*/ 928 h 928"/>
              <a:gd name="T64" fmla="*/ 188 w 211"/>
              <a:gd name="T65" fmla="*/ 928 h 928"/>
              <a:gd name="T66" fmla="*/ 191 w 211"/>
              <a:gd name="T67" fmla="*/ 906 h 928"/>
              <a:gd name="T68" fmla="*/ 190 w 211"/>
              <a:gd name="T69" fmla="*/ 881 h 928"/>
              <a:gd name="T70" fmla="*/ 188 w 211"/>
              <a:gd name="T71" fmla="*/ 873 h 928"/>
              <a:gd name="T72" fmla="*/ 179 w 211"/>
              <a:gd name="T73" fmla="*/ 857 h 928"/>
              <a:gd name="T74" fmla="*/ 169 w 211"/>
              <a:gd name="T75" fmla="*/ 846 h 928"/>
              <a:gd name="T76" fmla="*/ 168 w 211"/>
              <a:gd name="T77" fmla="*/ 594 h 928"/>
              <a:gd name="T78" fmla="*/ 190 w 211"/>
              <a:gd name="T79" fmla="*/ 561 h 928"/>
              <a:gd name="T80" fmla="*/ 202 w 211"/>
              <a:gd name="T81" fmla="*/ 537 h 928"/>
              <a:gd name="T82" fmla="*/ 210 w 211"/>
              <a:gd name="T83" fmla="*/ 507 h 928"/>
              <a:gd name="T84" fmla="*/ 211 w 211"/>
              <a:gd name="T85" fmla="*/ 491 h 928"/>
              <a:gd name="T86" fmla="*/ 211 w 211"/>
              <a:gd name="T87" fmla="*/ 482 h 928"/>
              <a:gd name="T88" fmla="*/ 206 w 211"/>
              <a:gd name="T89" fmla="*/ 458 h 928"/>
              <a:gd name="T90" fmla="*/ 195 w 211"/>
              <a:gd name="T91" fmla="*/ 428 h 928"/>
              <a:gd name="T92" fmla="*/ 181 w 211"/>
              <a:gd name="T93" fmla="*/ 405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1" h="928">
                <a:moveTo>
                  <a:pt x="170" y="388"/>
                </a:moveTo>
                <a:lnTo>
                  <a:pt x="170" y="388"/>
                </a:lnTo>
                <a:lnTo>
                  <a:pt x="169" y="238"/>
                </a:lnTo>
                <a:lnTo>
                  <a:pt x="169" y="133"/>
                </a:lnTo>
                <a:lnTo>
                  <a:pt x="170" y="96"/>
                </a:lnTo>
                <a:lnTo>
                  <a:pt x="171" y="84"/>
                </a:lnTo>
                <a:lnTo>
                  <a:pt x="172" y="79"/>
                </a:lnTo>
                <a:lnTo>
                  <a:pt x="172" y="79"/>
                </a:lnTo>
                <a:lnTo>
                  <a:pt x="177" y="71"/>
                </a:lnTo>
                <a:lnTo>
                  <a:pt x="182" y="64"/>
                </a:lnTo>
                <a:lnTo>
                  <a:pt x="188" y="53"/>
                </a:lnTo>
                <a:lnTo>
                  <a:pt x="188" y="53"/>
                </a:lnTo>
                <a:lnTo>
                  <a:pt x="191" y="45"/>
                </a:lnTo>
                <a:lnTo>
                  <a:pt x="192" y="36"/>
                </a:lnTo>
                <a:lnTo>
                  <a:pt x="192" y="28"/>
                </a:lnTo>
                <a:lnTo>
                  <a:pt x="191" y="18"/>
                </a:lnTo>
                <a:lnTo>
                  <a:pt x="189" y="5"/>
                </a:lnTo>
                <a:lnTo>
                  <a:pt x="188" y="0"/>
                </a:lnTo>
                <a:lnTo>
                  <a:pt x="6" y="0"/>
                </a:lnTo>
                <a:lnTo>
                  <a:pt x="6" y="0"/>
                </a:lnTo>
                <a:lnTo>
                  <a:pt x="5" y="4"/>
                </a:lnTo>
                <a:lnTo>
                  <a:pt x="4" y="8"/>
                </a:lnTo>
                <a:lnTo>
                  <a:pt x="4" y="20"/>
                </a:lnTo>
                <a:lnTo>
                  <a:pt x="5" y="33"/>
                </a:lnTo>
                <a:lnTo>
                  <a:pt x="7" y="43"/>
                </a:lnTo>
                <a:lnTo>
                  <a:pt x="7" y="43"/>
                </a:lnTo>
                <a:lnTo>
                  <a:pt x="11" y="54"/>
                </a:lnTo>
                <a:lnTo>
                  <a:pt x="17" y="65"/>
                </a:lnTo>
                <a:lnTo>
                  <a:pt x="24" y="76"/>
                </a:lnTo>
                <a:lnTo>
                  <a:pt x="28" y="80"/>
                </a:lnTo>
                <a:lnTo>
                  <a:pt x="33" y="83"/>
                </a:lnTo>
                <a:lnTo>
                  <a:pt x="33" y="388"/>
                </a:lnTo>
                <a:lnTo>
                  <a:pt x="33" y="388"/>
                </a:lnTo>
                <a:lnTo>
                  <a:pt x="29" y="395"/>
                </a:lnTo>
                <a:lnTo>
                  <a:pt x="24" y="402"/>
                </a:lnTo>
                <a:lnTo>
                  <a:pt x="19" y="412"/>
                </a:lnTo>
                <a:lnTo>
                  <a:pt x="14" y="426"/>
                </a:lnTo>
                <a:lnTo>
                  <a:pt x="9" y="443"/>
                </a:lnTo>
                <a:lnTo>
                  <a:pt x="4" y="463"/>
                </a:lnTo>
                <a:lnTo>
                  <a:pt x="0" y="487"/>
                </a:lnTo>
                <a:lnTo>
                  <a:pt x="0" y="487"/>
                </a:lnTo>
                <a:lnTo>
                  <a:pt x="0" y="498"/>
                </a:lnTo>
                <a:lnTo>
                  <a:pt x="0" y="508"/>
                </a:lnTo>
                <a:lnTo>
                  <a:pt x="1" y="518"/>
                </a:lnTo>
                <a:lnTo>
                  <a:pt x="4" y="529"/>
                </a:lnTo>
                <a:lnTo>
                  <a:pt x="10" y="546"/>
                </a:lnTo>
                <a:lnTo>
                  <a:pt x="16" y="562"/>
                </a:lnTo>
                <a:lnTo>
                  <a:pt x="23" y="576"/>
                </a:lnTo>
                <a:lnTo>
                  <a:pt x="29" y="585"/>
                </a:lnTo>
                <a:lnTo>
                  <a:pt x="35" y="594"/>
                </a:lnTo>
                <a:lnTo>
                  <a:pt x="31" y="850"/>
                </a:lnTo>
                <a:lnTo>
                  <a:pt x="31" y="850"/>
                </a:lnTo>
                <a:lnTo>
                  <a:pt x="29" y="852"/>
                </a:lnTo>
                <a:lnTo>
                  <a:pt x="23" y="859"/>
                </a:lnTo>
                <a:lnTo>
                  <a:pt x="20" y="864"/>
                </a:lnTo>
                <a:lnTo>
                  <a:pt x="18" y="871"/>
                </a:lnTo>
                <a:lnTo>
                  <a:pt x="15" y="879"/>
                </a:lnTo>
                <a:lnTo>
                  <a:pt x="14" y="888"/>
                </a:lnTo>
                <a:lnTo>
                  <a:pt x="14" y="888"/>
                </a:lnTo>
                <a:lnTo>
                  <a:pt x="14" y="898"/>
                </a:lnTo>
                <a:lnTo>
                  <a:pt x="14" y="906"/>
                </a:lnTo>
                <a:lnTo>
                  <a:pt x="15" y="919"/>
                </a:lnTo>
                <a:lnTo>
                  <a:pt x="17" y="926"/>
                </a:lnTo>
                <a:lnTo>
                  <a:pt x="18" y="928"/>
                </a:lnTo>
                <a:lnTo>
                  <a:pt x="188" y="928"/>
                </a:lnTo>
                <a:lnTo>
                  <a:pt x="188" y="928"/>
                </a:lnTo>
                <a:lnTo>
                  <a:pt x="190" y="920"/>
                </a:lnTo>
                <a:lnTo>
                  <a:pt x="191" y="906"/>
                </a:lnTo>
                <a:lnTo>
                  <a:pt x="190" y="889"/>
                </a:lnTo>
                <a:lnTo>
                  <a:pt x="190" y="881"/>
                </a:lnTo>
                <a:lnTo>
                  <a:pt x="188" y="873"/>
                </a:lnTo>
                <a:lnTo>
                  <a:pt x="188" y="873"/>
                </a:lnTo>
                <a:lnTo>
                  <a:pt x="185" y="864"/>
                </a:lnTo>
                <a:lnTo>
                  <a:pt x="179" y="857"/>
                </a:lnTo>
                <a:lnTo>
                  <a:pt x="174" y="851"/>
                </a:lnTo>
                <a:lnTo>
                  <a:pt x="169" y="846"/>
                </a:lnTo>
                <a:lnTo>
                  <a:pt x="168" y="594"/>
                </a:lnTo>
                <a:lnTo>
                  <a:pt x="168" y="594"/>
                </a:lnTo>
                <a:lnTo>
                  <a:pt x="181" y="573"/>
                </a:lnTo>
                <a:lnTo>
                  <a:pt x="190" y="561"/>
                </a:lnTo>
                <a:lnTo>
                  <a:pt x="196" y="550"/>
                </a:lnTo>
                <a:lnTo>
                  <a:pt x="202" y="537"/>
                </a:lnTo>
                <a:lnTo>
                  <a:pt x="207" y="522"/>
                </a:lnTo>
                <a:lnTo>
                  <a:pt x="210" y="507"/>
                </a:lnTo>
                <a:lnTo>
                  <a:pt x="211" y="499"/>
                </a:lnTo>
                <a:lnTo>
                  <a:pt x="211" y="491"/>
                </a:lnTo>
                <a:lnTo>
                  <a:pt x="211" y="491"/>
                </a:lnTo>
                <a:lnTo>
                  <a:pt x="211" y="482"/>
                </a:lnTo>
                <a:lnTo>
                  <a:pt x="210" y="473"/>
                </a:lnTo>
                <a:lnTo>
                  <a:pt x="206" y="458"/>
                </a:lnTo>
                <a:lnTo>
                  <a:pt x="201" y="443"/>
                </a:lnTo>
                <a:lnTo>
                  <a:pt x="195" y="428"/>
                </a:lnTo>
                <a:lnTo>
                  <a:pt x="189" y="416"/>
                </a:lnTo>
                <a:lnTo>
                  <a:pt x="181" y="405"/>
                </a:lnTo>
                <a:lnTo>
                  <a:pt x="170" y="3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4" name="Freeform 41"/>
          <p:cNvSpPr>
            <a:spLocks/>
          </p:cNvSpPr>
          <p:nvPr userDrawn="1"/>
        </p:nvSpPr>
        <p:spPr bwMode="auto">
          <a:xfrm>
            <a:off x="7351713" y="1209378"/>
            <a:ext cx="80963" cy="58738"/>
          </a:xfrm>
          <a:custGeom>
            <a:avLst/>
            <a:gdLst>
              <a:gd name="T0" fmla="*/ 617 w 617"/>
              <a:gd name="T1" fmla="*/ 73 h 442"/>
              <a:gd name="T2" fmla="*/ 433 w 617"/>
              <a:gd name="T3" fmla="*/ 70 h 442"/>
              <a:gd name="T4" fmla="*/ 202 w 617"/>
              <a:gd name="T5" fmla="*/ 68 h 442"/>
              <a:gd name="T6" fmla="*/ 195 w 617"/>
              <a:gd name="T7" fmla="*/ 67 h 442"/>
              <a:gd name="T8" fmla="*/ 174 w 617"/>
              <a:gd name="T9" fmla="*/ 61 h 442"/>
              <a:gd name="T10" fmla="*/ 137 w 617"/>
              <a:gd name="T11" fmla="*/ 44 h 442"/>
              <a:gd name="T12" fmla="*/ 84 w 617"/>
              <a:gd name="T13" fmla="*/ 16 h 442"/>
              <a:gd name="T14" fmla="*/ 53 w 617"/>
              <a:gd name="T15" fmla="*/ 2 h 442"/>
              <a:gd name="T16" fmla="*/ 40 w 617"/>
              <a:gd name="T17" fmla="*/ 0 h 442"/>
              <a:gd name="T18" fmla="*/ 37 w 617"/>
              <a:gd name="T19" fmla="*/ 2 h 442"/>
              <a:gd name="T20" fmla="*/ 22 w 617"/>
              <a:gd name="T21" fmla="*/ 38 h 442"/>
              <a:gd name="T22" fmla="*/ 1 w 617"/>
              <a:gd name="T23" fmla="*/ 91 h 442"/>
              <a:gd name="T24" fmla="*/ 19 w 617"/>
              <a:gd name="T25" fmla="*/ 113 h 442"/>
              <a:gd name="T26" fmla="*/ 38 w 617"/>
              <a:gd name="T27" fmla="*/ 147 h 442"/>
              <a:gd name="T28" fmla="*/ 47 w 617"/>
              <a:gd name="T29" fmla="*/ 169 h 442"/>
              <a:gd name="T30" fmla="*/ 52 w 617"/>
              <a:gd name="T31" fmla="*/ 191 h 442"/>
              <a:gd name="T32" fmla="*/ 55 w 617"/>
              <a:gd name="T33" fmla="*/ 216 h 442"/>
              <a:gd name="T34" fmla="*/ 53 w 617"/>
              <a:gd name="T35" fmla="*/ 235 h 442"/>
              <a:gd name="T36" fmla="*/ 48 w 617"/>
              <a:gd name="T37" fmla="*/ 265 h 442"/>
              <a:gd name="T38" fmla="*/ 42 w 617"/>
              <a:gd name="T39" fmla="*/ 283 h 442"/>
              <a:gd name="T40" fmla="*/ 32 w 617"/>
              <a:gd name="T41" fmla="*/ 304 h 442"/>
              <a:gd name="T42" fmla="*/ 19 w 617"/>
              <a:gd name="T43" fmla="*/ 324 h 442"/>
              <a:gd name="T44" fmla="*/ 0 w 617"/>
              <a:gd name="T45" fmla="*/ 345 h 442"/>
              <a:gd name="T46" fmla="*/ 23 w 617"/>
              <a:gd name="T47" fmla="*/ 391 h 442"/>
              <a:gd name="T48" fmla="*/ 47 w 617"/>
              <a:gd name="T49" fmla="*/ 435 h 442"/>
              <a:gd name="T50" fmla="*/ 52 w 617"/>
              <a:gd name="T51" fmla="*/ 442 h 442"/>
              <a:gd name="T52" fmla="*/ 84 w 617"/>
              <a:gd name="T53" fmla="*/ 423 h 442"/>
              <a:gd name="T54" fmla="*/ 129 w 617"/>
              <a:gd name="T55" fmla="*/ 400 h 442"/>
              <a:gd name="T56" fmla="*/ 183 w 617"/>
              <a:gd name="T57" fmla="*/ 378 h 442"/>
              <a:gd name="T58" fmla="*/ 211 w 617"/>
              <a:gd name="T59" fmla="*/ 371 h 442"/>
              <a:gd name="T60" fmla="*/ 224 w 617"/>
              <a:gd name="T61" fmla="*/ 369 h 442"/>
              <a:gd name="T62" fmla="*/ 330 w 617"/>
              <a:gd name="T63" fmla="*/ 363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17" h="442">
                <a:moveTo>
                  <a:pt x="330" y="363"/>
                </a:moveTo>
                <a:lnTo>
                  <a:pt x="617" y="73"/>
                </a:lnTo>
                <a:lnTo>
                  <a:pt x="617" y="73"/>
                </a:lnTo>
                <a:lnTo>
                  <a:pt x="433" y="70"/>
                </a:lnTo>
                <a:lnTo>
                  <a:pt x="324" y="69"/>
                </a:lnTo>
                <a:lnTo>
                  <a:pt x="202" y="68"/>
                </a:lnTo>
                <a:lnTo>
                  <a:pt x="202" y="68"/>
                </a:lnTo>
                <a:lnTo>
                  <a:pt x="195" y="67"/>
                </a:lnTo>
                <a:lnTo>
                  <a:pt x="185" y="65"/>
                </a:lnTo>
                <a:lnTo>
                  <a:pt x="174" y="61"/>
                </a:lnTo>
                <a:lnTo>
                  <a:pt x="163" y="56"/>
                </a:lnTo>
                <a:lnTo>
                  <a:pt x="137" y="44"/>
                </a:lnTo>
                <a:lnTo>
                  <a:pt x="110" y="30"/>
                </a:lnTo>
                <a:lnTo>
                  <a:pt x="84" y="16"/>
                </a:lnTo>
                <a:lnTo>
                  <a:pt x="63" y="6"/>
                </a:lnTo>
                <a:lnTo>
                  <a:pt x="53" y="2"/>
                </a:lnTo>
                <a:lnTo>
                  <a:pt x="45" y="1"/>
                </a:lnTo>
                <a:lnTo>
                  <a:pt x="40" y="0"/>
                </a:lnTo>
                <a:lnTo>
                  <a:pt x="38" y="1"/>
                </a:lnTo>
                <a:lnTo>
                  <a:pt x="37" y="2"/>
                </a:lnTo>
                <a:lnTo>
                  <a:pt x="37" y="2"/>
                </a:lnTo>
                <a:lnTo>
                  <a:pt x="22" y="38"/>
                </a:lnTo>
                <a:lnTo>
                  <a:pt x="1" y="91"/>
                </a:lnTo>
                <a:lnTo>
                  <a:pt x="1" y="91"/>
                </a:lnTo>
                <a:lnTo>
                  <a:pt x="10" y="101"/>
                </a:lnTo>
                <a:lnTo>
                  <a:pt x="19" y="113"/>
                </a:lnTo>
                <a:lnTo>
                  <a:pt x="29" y="129"/>
                </a:lnTo>
                <a:lnTo>
                  <a:pt x="38" y="147"/>
                </a:lnTo>
                <a:lnTo>
                  <a:pt x="43" y="157"/>
                </a:lnTo>
                <a:lnTo>
                  <a:pt x="47" y="169"/>
                </a:lnTo>
                <a:lnTo>
                  <a:pt x="50" y="180"/>
                </a:lnTo>
                <a:lnTo>
                  <a:pt x="52" y="191"/>
                </a:lnTo>
                <a:lnTo>
                  <a:pt x="55" y="203"/>
                </a:lnTo>
                <a:lnTo>
                  <a:pt x="55" y="216"/>
                </a:lnTo>
                <a:lnTo>
                  <a:pt x="55" y="216"/>
                </a:lnTo>
                <a:lnTo>
                  <a:pt x="53" y="235"/>
                </a:lnTo>
                <a:lnTo>
                  <a:pt x="51" y="248"/>
                </a:lnTo>
                <a:lnTo>
                  <a:pt x="48" y="265"/>
                </a:lnTo>
                <a:lnTo>
                  <a:pt x="45" y="274"/>
                </a:lnTo>
                <a:lnTo>
                  <a:pt x="42" y="283"/>
                </a:lnTo>
                <a:lnTo>
                  <a:pt x="38" y="293"/>
                </a:lnTo>
                <a:lnTo>
                  <a:pt x="32" y="304"/>
                </a:lnTo>
                <a:lnTo>
                  <a:pt x="26" y="313"/>
                </a:lnTo>
                <a:lnTo>
                  <a:pt x="19" y="324"/>
                </a:lnTo>
                <a:lnTo>
                  <a:pt x="11" y="334"/>
                </a:lnTo>
                <a:lnTo>
                  <a:pt x="0" y="345"/>
                </a:lnTo>
                <a:lnTo>
                  <a:pt x="0" y="345"/>
                </a:lnTo>
                <a:lnTo>
                  <a:pt x="23" y="391"/>
                </a:lnTo>
                <a:lnTo>
                  <a:pt x="40" y="423"/>
                </a:lnTo>
                <a:lnTo>
                  <a:pt x="47" y="435"/>
                </a:lnTo>
                <a:lnTo>
                  <a:pt x="52" y="442"/>
                </a:lnTo>
                <a:lnTo>
                  <a:pt x="52" y="442"/>
                </a:lnTo>
                <a:lnTo>
                  <a:pt x="67" y="433"/>
                </a:lnTo>
                <a:lnTo>
                  <a:pt x="84" y="423"/>
                </a:lnTo>
                <a:lnTo>
                  <a:pt x="105" y="412"/>
                </a:lnTo>
                <a:lnTo>
                  <a:pt x="129" y="400"/>
                </a:lnTo>
                <a:lnTo>
                  <a:pt x="156" y="388"/>
                </a:lnTo>
                <a:lnTo>
                  <a:pt x="183" y="378"/>
                </a:lnTo>
                <a:lnTo>
                  <a:pt x="198" y="374"/>
                </a:lnTo>
                <a:lnTo>
                  <a:pt x="211" y="371"/>
                </a:lnTo>
                <a:lnTo>
                  <a:pt x="211" y="371"/>
                </a:lnTo>
                <a:lnTo>
                  <a:pt x="224" y="369"/>
                </a:lnTo>
                <a:lnTo>
                  <a:pt x="248" y="367"/>
                </a:lnTo>
                <a:lnTo>
                  <a:pt x="330" y="36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5" name="Freeform 42"/>
          <p:cNvSpPr>
            <a:spLocks/>
          </p:cNvSpPr>
          <p:nvPr userDrawn="1"/>
        </p:nvSpPr>
        <p:spPr bwMode="auto">
          <a:xfrm>
            <a:off x="7453312" y="1131591"/>
            <a:ext cx="158750" cy="127000"/>
          </a:xfrm>
          <a:custGeom>
            <a:avLst/>
            <a:gdLst>
              <a:gd name="T0" fmla="*/ 1179 w 1207"/>
              <a:gd name="T1" fmla="*/ 480 h 962"/>
              <a:gd name="T2" fmla="*/ 1115 w 1207"/>
              <a:gd name="T3" fmla="*/ 496 h 962"/>
              <a:gd name="T4" fmla="*/ 1079 w 1207"/>
              <a:gd name="T5" fmla="*/ 532 h 962"/>
              <a:gd name="T6" fmla="*/ 1057 w 1207"/>
              <a:gd name="T7" fmla="*/ 600 h 962"/>
              <a:gd name="T8" fmla="*/ 1046 w 1207"/>
              <a:gd name="T9" fmla="*/ 585 h 962"/>
              <a:gd name="T10" fmla="*/ 1007 w 1207"/>
              <a:gd name="T11" fmla="*/ 556 h 962"/>
              <a:gd name="T12" fmla="*/ 935 w 1207"/>
              <a:gd name="T13" fmla="*/ 562 h 962"/>
              <a:gd name="T14" fmla="*/ 930 w 1207"/>
              <a:gd name="T15" fmla="*/ 613 h 962"/>
              <a:gd name="T16" fmla="*/ 935 w 1207"/>
              <a:gd name="T17" fmla="*/ 696 h 962"/>
              <a:gd name="T18" fmla="*/ 890 w 1207"/>
              <a:gd name="T19" fmla="*/ 725 h 962"/>
              <a:gd name="T20" fmla="*/ 842 w 1207"/>
              <a:gd name="T21" fmla="*/ 709 h 962"/>
              <a:gd name="T22" fmla="*/ 816 w 1207"/>
              <a:gd name="T23" fmla="*/ 658 h 962"/>
              <a:gd name="T24" fmla="*/ 805 w 1207"/>
              <a:gd name="T25" fmla="*/ 643 h 962"/>
              <a:gd name="T26" fmla="*/ 749 w 1207"/>
              <a:gd name="T27" fmla="*/ 659 h 962"/>
              <a:gd name="T28" fmla="*/ 701 w 1207"/>
              <a:gd name="T29" fmla="*/ 634 h 962"/>
              <a:gd name="T30" fmla="*/ 694 w 1207"/>
              <a:gd name="T31" fmla="*/ 581 h 962"/>
              <a:gd name="T32" fmla="*/ 754 w 1207"/>
              <a:gd name="T33" fmla="*/ 540 h 962"/>
              <a:gd name="T34" fmla="*/ 824 w 1207"/>
              <a:gd name="T35" fmla="*/ 520 h 962"/>
              <a:gd name="T36" fmla="*/ 805 w 1207"/>
              <a:gd name="T37" fmla="*/ 460 h 962"/>
              <a:gd name="T38" fmla="*/ 764 w 1207"/>
              <a:gd name="T39" fmla="*/ 421 h 962"/>
              <a:gd name="T40" fmla="*/ 698 w 1207"/>
              <a:gd name="T41" fmla="*/ 414 h 962"/>
              <a:gd name="T42" fmla="*/ 672 w 1207"/>
              <a:gd name="T43" fmla="*/ 415 h 962"/>
              <a:gd name="T44" fmla="*/ 712 w 1207"/>
              <a:gd name="T45" fmla="*/ 360 h 962"/>
              <a:gd name="T46" fmla="*/ 709 w 1207"/>
              <a:gd name="T47" fmla="*/ 285 h 962"/>
              <a:gd name="T48" fmla="*/ 668 w 1207"/>
              <a:gd name="T49" fmla="*/ 214 h 962"/>
              <a:gd name="T50" fmla="*/ 606 w 1207"/>
              <a:gd name="T51" fmla="*/ 224 h 962"/>
              <a:gd name="T52" fmla="*/ 535 w 1207"/>
              <a:gd name="T53" fmla="*/ 272 h 962"/>
              <a:gd name="T54" fmla="*/ 516 w 1207"/>
              <a:gd name="T55" fmla="*/ 334 h 962"/>
              <a:gd name="T56" fmla="*/ 508 w 1207"/>
              <a:gd name="T57" fmla="*/ 341 h 962"/>
              <a:gd name="T58" fmla="*/ 458 w 1207"/>
              <a:gd name="T59" fmla="*/ 287 h 962"/>
              <a:gd name="T60" fmla="*/ 404 w 1207"/>
              <a:gd name="T61" fmla="*/ 278 h 962"/>
              <a:gd name="T62" fmla="*/ 345 w 1207"/>
              <a:gd name="T63" fmla="*/ 300 h 962"/>
              <a:gd name="T64" fmla="*/ 362 w 1207"/>
              <a:gd name="T65" fmla="*/ 357 h 962"/>
              <a:gd name="T66" fmla="*/ 382 w 1207"/>
              <a:gd name="T67" fmla="*/ 432 h 962"/>
              <a:gd name="T68" fmla="*/ 347 w 1207"/>
              <a:gd name="T69" fmla="*/ 472 h 962"/>
              <a:gd name="T70" fmla="*/ 292 w 1207"/>
              <a:gd name="T71" fmla="*/ 462 h 962"/>
              <a:gd name="T72" fmla="*/ 262 w 1207"/>
              <a:gd name="T73" fmla="*/ 417 h 962"/>
              <a:gd name="T74" fmla="*/ 249 w 1207"/>
              <a:gd name="T75" fmla="*/ 398 h 962"/>
              <a:gd name="T76" fmla="*/ 194 w 1207"/>
              <a:gd name="T77" fmla="*/ 421 h 962"/>
              <a:gd name="T78" fmla="*/ 147 w 1207"/>
              <a:gd name="T79" fmla="*/ 404 h 962"/>
              <a:gd name="T80" fmla="*/ 128 w 1207"/>
              <a:gd name="T81" fmla="*/ 354 h 962"/>
              <a:gd name="T82" fmla="*/ 178 w 1207"/>
              <a:gd name="T83" fmla="*/ 300 h 962"/>
              <a:gd name="T84" fmla="*/ 233 w 1207"/>
              <a:gd name="T85" fmla="*/ 262 h 962"/>
              <a:gd name="T86" fmla="*/ 195 w 1207"/>
              <a:gd name="T87" fmla="*/ 203 h 962"/>
              <a:gd name="T88" fmla="*/ 145 w 1207"/>
              <a:gd name="T89" fmla="*/ 185 h 962"/>
              <a:gd name="T90" fmla="*/ 115 w 1207"/>
              <a:gd name="T91" fmla="*/ 191 h 962"/>
              <a:gd name="T92" fmla="*/ 153 w 1207"/>
              <a:gd name="T93" fmla="*/ 136 h 962"/>
              <a:gd name="T94" fmla="*/ 157 w 1207"/>
              <a:gd name="T95" fmla="*/ 76 h 962"/>
              <a:gd name="T96" fmla="*/ 134 w 1207"/>
              <a:gd name="T97" fmla="*/ 28 h 962"/>
              <a:gd name="T98" fmla="*/ 269 w 1207"/>
              <a:gd name="T99" fmla="*/ 712 h 962"/>
              <a:gd name="T100" fmla="*/ 354 w 1207"/>
              <a:gd name="T101" fmla="*/ 656 h 962"/>
              <a:gd name="T102" fmla="*/ 437 w 1207"/>
              <a:gd name="T103" fmla="*/ 636 h 962"/>
              <a:gd name="T104" fmla="*/ 517 w 1207"/>
              <a:gd name="T105" fmla="*/ 643 h 962"/>
              <a:gd name="T106" fmla="*/ 610 w 1207"/>
              <a:gd name="T107" fmla="*/ 683 h 962"/>
              <a:gd name="T108" fmla="*/ 658 w 1207"/>
              <a:gd name="T109" fmla="*/ 735 h 962"/>
              <a:gd name="T110" fmla="*/ 673 w 1207"/>
              <a:gd name="T111" fmla="*/ 793 h 962"/>
              <a:gd name="T112" fmla="*/ 646 w 1207"/>
              <a:gd name="T113" fmla="*/ 877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07" h="962">
                <a:moveTo>
                  <a:pt x="841" y="962"/>
                </a:moveTo>
                <a:lnTo>
                  <a:pt x="1207" y="484"/>
                </a:lnTo>
                <a:lnTo>
                  <a:pt x="1207" y="484"/>
                </a:lnTo>
                <a:lnTo>
                  <a:pt x="1200" y="482"/>
                </a:lnTo>
                <a:lnTo>
                  <a:pt x="1190" y="481"/>
                </a:lnTo>
                <a:lnTo>
                  <a:pt x="1179" y="480"/>
                </a:lnTo>
                <a:lnTo>
                  <a:pt x="1166" y="480"/>
                </a:lnTo>
                <a:lnTo>
                  <a:pt x="1149" y="483"/>
                </a:lnTo>
                <a:lnTo>
                  <a:pt x="1141" y="485"/>
                </a:lnTo>
                <a:lnTo>
                  <a:pt x="1133" y="488"/>
                </a:lnTo>
                <a:lnTo>
                  <a:pt x="1124" y="492"/>
                </a:lnTo>
                <a:lnTo>
                  <a:pt x="1115" y="496"/>
                </a:lnTo>
                <a:lnTo>
                  <a:pt x="1115" y="496"/>
                </a:lnTo>
                <a:lnTo>
                  <a:pt x="1106" y="502"/>
                </a:lnTo>
                <a:lnTo>
                  <a:pt x="1097" y="508"/>
                </a:lnTo>
                <a:lnTo>
                  <a:pt x="1090" y="515"/>
                </a:lnTo>
                <a:lnTo>
                  <a:pt x="1084" y="523"/>
                </a:lnTo>
                <a:lnTo>
                  <a:pt x="1079" y="532"/>
                </a:lnTo>
                <a:lnTo>
                  <a:pt x="1074" y="540"/>
                </a:lnTo>
                <a:lnTo>
                  <a:pt x="1070" y="548"/>
                </a:lnTo>
                <a:lnTo>
                  <a:pt x="1067" y="557"/>
                </a:lnTo>
                <a:lnTo>
                  <a:pt x="1062" y="574"/>
                </a:lnTo>
                <a:lnTo>
                  <a:pt x="1058" y="589"/>
                </a:lnTo>
                <a:lnTo>
                  <a:pt x="1057" y="600"/>
                </a:lnTo>
                <a:lnTo>
                  <a:pt x="1058" y="605"/>
                </a:lnTo>
                <a:lnTo>
                  <a:pt x="1059" y="608"/>
                </a:lnTo>
                <a:lnTo>
                  <a:pt x="1059" y="608"/>
                </a:lnTo>
                <a:lnTo>
                  <a:pt x="1055" y="599"/>
                </a:lnTo>
                <a:lnTo>
                  <a:pt x="1051" y="592"/>
                </a:lnTo>
                <a:lnTo>
                  <a:pt x="1046" y="585"/>
                </a:lnTo>
                <a:lnTo>
                  <a:pt x="1041" y="579"/>
                </a:lnTo>
                <a:lnTo>
                  <a:pt x="1036" y="574"/>
                </a:lnTo>
                <a:lnTo>
                  <a:pt x="1031" y="568"/>
                </a:lnTo>
                <a:lnTo>
                  <a:pt x="1025" y="564"/>
                </a:lnTo>
                <a:lnTo>
                  <a:pt x="1020" y="561"/>
                </a:lnTo>
                <a:lnTo>
                  <a:pt x="1007" y="556"/>
                </a:lnTo>
                <a:lnTo>
                  <a:pt x="994" y="554"/>
                </a:lnTo>
                <a:lnTo>
                  <a:pt x="982" y="553"/>
                </a:lnTo>
                <a:lnTo>
                  <a:pt x="970" y="554"/>
                </a:lnTo>
                <a:lnTo>
                  <a:pt x="957" y="556"/>
                </a:lnTo>
                <a:lnTo>
                  <a:pt x="946" y="558"/>
                </a:lnTo>
                <a:lnTo>
                  <a:pt x="935" y="562"/>
                </a:lnTo>
                <a:lnTo>
                  <a:pt x="927" y="565"/>
                </a:lnTo>
                <a:lnTo>
                  <a:pt x="913" y="572"/>
                </a:lnTo>
                <a:lnTo>
                  <a:pt x="908" y="574"/>
                </a:lnTo>
                <a:lnTo>
                  <a:pt x="908" y="574"/>
                </a:lnTo>
                <a:lnTo>
                  <a:pt x="920" y="594"/>
                </a:lnTo>
                <a:lnTo>
                  <a:pt x="930" y="613"/>
                </a:lnTo>
                <a:lnTo>
                  <a:pt x="936" y="632"/>
                </a:lnTo>
                <a:lnTo>
                  <a:pt x="940" y="647"/>
                </a:lnTo>
                <a:lnTo>
                  <a:pt x="941" y="663"/>
                </a:lnTo>
                <a:lnTo>
                  <a:pt x="941" y="675"/>
                </a:lnTo>
                <a:lnTo>
                  <a:pt x="939" y="687"/>
                </a:lnTo>
                <a:lnTo>
                  <a:pt x="935" y="696"/>
                </a:lnTo>
                <a:lnTo>
                  <a:pt x="930" y="705"/>
                </a:lnTo>
                <a:lnTo>
                  <a:pt x="924" y="712"/>
                </a:lnTo>
                <a:lnTo>
                  <a:pt x="915" y="718"/>
                </a:lnTo>
                <a:lnTo>
                  <a:pt x="907" y="722"/>
                </a:lnTo>
                <a:lnTo>
                  <a:pt x="899" y="724"/>
                </a:lnTo>
                <a:lnTo>
                  <a:pt x="890" y="725"/>
                </a:lnTo>
                <a:lnTo>
                  <a:pt x="881" y="725"/>
                </a:lnTo>
                <a:lnTo>
                  <a:pt x="871" y="724"/>
                </a:lnTo>
                <a:lnTo>
                  <a:pt x="871" y="724"/>
                </a:lnTo>
                <a:lnTo>
                  <a:pt x="859" y="720"/>
                </a:lnTo>
                <a:lnTo>
                  <a:pt x="850" y="715"/>
                </a:lnTo>
                <a:lnTo>
                  <a:pt x="842" y="709"/>
                </a:lnTo>
                <a:lnTo>
                  <a:pt x="835" y="702"/>
                </a:lnTo>
                <a:lnTo>
                  <a:pt x="829" y="695"/>
                </a:lnTo>
                <a:lnTo>
                  <a:pt x="825" y="688"/>
                </a:lnTo>
                <a:lnTo>
                  <a:pt x="821" y="680"/>
                </a:lnTo>
                <a:lnTo>
                  <a:pt x="819" y="673"/>
                </a:lnTo>
                <a:lnTo>
                  <a:pt x="816" y="658"/>
                </a:lnTo>
                <a:lnTo>
                  <a:pt x="816" y="646"/>
                </a:lnTo>
                <a:lnTo>
                  <a:pt x="816" y="638"/>
                </a:lnTo>
                <a:lnTo>
                  <a:pt x="816" y="635"/>
                </a:lnTo>
                <a:lnTo>
                  <a:pt x="816" y="635"/>
                </a:lnTo>
                <a:lnTo>
                  <a:pt x="813" y="637"/>
                </a:lnTo>
                <a:lnTo>
                  <a:pt x="805" y="643"/>
                </a:lnTo>
                <a:lnTo>
                  <a:pt x="793" y="650"/>
                </a:lnTo>
                <a:lnTo>
                  <a:pt x="785" y="653"/>
                </a:lnTo>
                <a:lnTo>
                  <a:pt x="777" y="656"/>
                </a:lnTo>
                <a:lnTo>
                  <a:pt x="768" y="658"/>
                </a:lnTo>
                <a:lnTo>
                  <a:pt x="759" y="659"/>
                </a:lnTo>
                <a:lnTo>
                  <a:pt x="749" y="659"/>
                </a:lnTo>
                <a:lnTo>
                  <a:pt x="739" y="658"/>
                </a:lnTo>
                <a:lnTo>
                  <a:pt x="729" y="655"/>
                </a:lnTo>
                <a:lnTo>
                  <a:pt x="720" y="650"/>
                </a:lnTo>
                <a:lnTo>
                  <a:pt x="710" y="643"/>
                </a:lnTo>
                <a:lnTo>
                  <a:pt x="701" y="634"/>
                </a:lnTo>
                <a:lnTo>
                  <a:pt x="701" y="634"/>
                </a:lnTo>
                <a:lnTo>
                  <a:pt x="694" y="625"/>
                </a:lnTo>
                <a:lnTo>
                  <a:pt x="690" y="616"/>
                </a:lnTo>
                <a:lnTo>
                  <a:pt x="688" y="607"/>
                </a:lnTo>
                <a:lnTo>
                  <a:pt x="689" y="598"/>
                </a:lnTo>
                <a:lnTo>
                  <a:pt x="690" y="589"/>
                </a:lnTo>
                <a:lnTo>
                  <a:pt x="694" y="581"/>
                </a:lnTo>
                <a:lnTo>
                  <a:pt x="701" y="572"/>
                </a:lnTo>
                <a:lnTo>
                  <a:pt x="708" y="564"/>
                </a:lnTo>
                <a:lnTo>
                  <a:pt x="717" y="557"/>
                </a:lnTo>
                <a:lnTo>
                  <a:pt x="727" y="550"/>
                </a:lnTo>
                <a:lnTo>
                  <a:pt x="740" y="544"/>
                </a:lnTo>
                <a:lnTo>
                  <a:pt x="754" y="540"/>
                </a:lnTo>
                <a:lnTo>
                  <a:pt x="769" y="536"/>
                </a:lnTo>
                <a:lnTo>
                  <a:pt x="786" y="533"/>
                </a:lnTo>
                <a:lnTo>
                  <a:pt x="804" y="532"/>
                </a:lnTo>
                <a:lnTo>
                  <a:pt x="823" y="531"/>
                </a:lnTo>
                <a:lnTo>
                  <a:pt x="823" y="531"/>
                </a:lnTo>
                <a:lnTo>
                  <a:pt x="824" y="520"/>
                </a:lnTo>
                <a:lnTo>
                  <a:pt x="823" y="509"/>
                </a:lnTo>
                <a:lnTo>
                  <a:pt x="820" y="494"/>
                </a:lnTo>
                <a:lnTo>
                  <a:pt x="817" y="486"/>
                </a:lnTo>
                <a:lnTo>
                  <a:pt x="814" y="477"/>
                </a:lnTo>
                <a:lnTo>
                  <a:pt x="810" y="469"/>
                </a:lnTo>
                <a:lnTo>
                  <a:pt x="805" y="460"/>
                </a:lnTo>
                <a:lnTo>
                  <a:pt x="799" y="451"/>
                </a:lnTo>
                <a:lnTo>
                  <a:pt x="792" y="443"/>
                </a:lnTo>
                <a:lnTo>
                  <a:pt x="782" y="435"/>
                </a:lnTo>
                <a:lnTo>
                  <a:pt x="772" y="426"/>
                </a:lnTo>
                <a:lnTo>
                  <a:pt x="772" y="426"/>
                </a:lnTo>
                <a:lnTo>
                  <a:pt x="764" y="421"/>
                </a:lnTo>
                <a:lnTo>
                  <a:pt x="755" y="417"/>
                </a:lnTo>
                <a:lnTo>
                  <a:pt x="745" y="415"/>
                </a:lnTo>
                <a:lnTo>
                  <a:pt x="735" y="413"/>
                </a:lnTo>
                <a:lnTo>
                  <a:pt x="725" y="412"/>
                </a:lnTo>
                <a:lnTo>
                  <a:pt x="716" y="412"/>
                </a:lnTo>
                <a:lnTo>
                  <a:pt x="698" y="414"/>
                </a:lnTo>
                <a:lnTo>
                  <a:pt x="681" y="418"/>
                </a:lnTo>
                <a:lnTo>
                  <a:pt x="668" y="421"/>
                </a:lnTo>
                <a:lnTo>
                  <a:pt x="657" y="425"/>
                </a:lnTo>
                <a:lnTo>
                  <a:pt x="657" y="425"/>
                </a:lnTo>
                <a:lnTo>
                  <a:pt x="664" y="421"/>
                </a:lnTo>
                <a:lnTo>
                  <a:pt x="672" y="415"/>
                </a:lnTo>
                <a:lnTo>
                  <a:pt x="681" y="408"/>
                </a:lnTo>
                <a:lnTo>
                  <a:pt x="691" y="397"/>
                </a:lnTo>
                <a:lnTo>
                  <a:pt x="701" y="384"/>
                </a:lnTo>
                <a:lnTo>
                  <a:pt x="705" y="376"/>
                </a:lnTo>
                <a:lnTo>
                  <a:pt x="709" y="369"/>
                </a:lnTo>
                <a:lnTo>
                  <a:pt x="712" y="360"/>
                </a:lnTo>
                <a:lnTo>
                  <a:pt x="714" y="351"/>
                </a:lnTo>
                <a:lnTo>
                  <a:pt x="714" y="351"/>
                </a:lnTo>
                <a:lnTo>
                  <a:pt x="716" y="336"/>
                </a:lnTo>
                <a:lnTo>
                  <a:pt x="715" y="320"/>
                </a:lnTo>
                <a:lnTo>
                  <a:pt x="713" y="303"/>
                </a:lnTo>
                <a:lnTo>
                  <a:pt x="709" y="285"/>
                </a:lnTo>
                <a:lnTo>
                  <a:pt x="702" y="267"/>
                </a:lnTo>
                <a:lnTo>
                  <a:pt x="693" y="249"/>
                </a:lnTo>
                <a:lnTo>
                  <a:pt x="682" y="232"/>
                </a:lnTo>
                <a:lnTo>
                  <a:pt x="676" y="223"/>
                </a:lnTo>
                <a:lnTo>
                  <a:pt x="669" y="216"/>
                </a:lnTo>
                <a:lnTo>
                  <a:pt x="668" y="214"/>
                </a:lnTo>
                <a:lnTo>
                  <a:pt x="665" y="214"/>
                </a:lnTo>
                <a:lnTo>
                  <a:pt x="665" y="214"/>
                </a:lnTo>
                <a:lnTo>
                  <a:pt x="655" y="214"/>
                </a:lnTo>
                <a:lnTo>
                  <a:pt x="644" y="215"/>
                </a:lnTo>
                <a:lnTo>
                  <a:pt x="624" y="219"/>
                </a:lnTo>
                <a:lnTo>
                  <a:pt x="606" y="224"/>
                </a:lnTo>
                <a:lnTo>
                  <a:pt x="587" y="232"/>
                </a:lnTo>
                <a:lnTo>
                  <a:pt x="572" y="240"/>
                </a:lnTo>
                <a:lnTo>
                  <a:pt x="557" y="250"/>
                </a:lnTo>
                <a:lnTo>
                  <a:pt x="545" y="261"/>
                </a:lnTo>
                <a:lnTo>
                  <a:pt x="535" y="272"/>
                </a:lnTo>
                <a:lnTo>
                  <a:pt x="535" y="272"/>
                </a:lnTo>
                <a:lnTo>
                  <a:pt x="530" y="280"/>
                </a:lnTo>
                <a:lnTo>
                  <a:pt x="526" y="288"/>
                </a:lnTo>
                <a:lnTo>
                  <a:pt x="523" y="297"/>
                </a:lnTo>
                <a:lnTo>
                  <a:pt x="520" y="305"/>
                </a:lnTo>
                <a:lnTo>
                  <a:pt x="517" y="320"/>
                </a:lnTo>
                <a:lnTo>
                  <a:pt x="516" y="334"/>
                </a:lnTo>
                <a:lnTo>
                  <a:pt x="516" y="347"/>
                </a:lnTo>
                <a:lnTo>
                  <a:pt x="517" y="357"/>
                </a:lnTo>
                <a:lnTo>
                  <a:pt x="519" y="365"/>
                </a:lnTo>
                <a:lnTo>
                  <a:pt x="519" y="365"/>
                </a:lnTo>
                <a:lnTo>
                  <a:pt x="513" y="354"/>
                </a:lnTo>
                <a:lnTo>
                  <a:pt x="508" y="341"/>
                </a:lnTo>
                <a:lnTo>
                  <a:pt x="499" y="327"/>
                </a:lnTo>
                <a:lnTo>
                  <a:pt x="488" y="313"/>
                </a:lnTo>
                <a:lnTo>
                  <a:pt x="482" y="306"/>
                </a:lnTo>
                <a:lnTo>
                  <a:pt x="475" y="299"/>
                </a:lnTo>
                <a:lnTo>
                  <a:pt x="467" y="292"/>
                </a:lnTo>
                <a:lnTo>
                  <a:pt x="458" y="287"/>
                </a:lnTo>
                <a:lnTo>
                  <a:pt x="450" y="283"/>
                </a:lnTo>
                <a:lnTo>
                  <a:pt x="440" y="281"/>
                </a:lnTo>
                <a:lnTo>
                  <a:pt x="440" y="281"/>
                </a:lnTo>
                <a:lnTo>
                  <a:pt x="428" y="278"/>
                </a:lnTo>
                <a:lnTo>
                  <a:pt x="415" y="278"/>
                </a:lnTo>
                <a:lnTo>
                  <a:pt x="404" y="278"/>
                </a:lnTo>
                <a:lnTo>
                  <a:pt x="393" y="279"/>
                </a:lnTo>
                <a:lnTo>
                  <a:pt x="384" y="281"/>
                </a:lnTo>
                <a:lnTo>
                  <a:pt x="374" y="284"/>
                </a:lnTo>
                <a:lnTo>
                  <a:pt x="365" y="287"/>
                </a:lnTo>
                <a:lnTo>
                  <a:pt x="358" y="291"/>
                </a:lnTo>
                <a:lnTo>
                  <a:pt x="345" y="300"/>
                </a:lnTo>
                <a:lnTo>
                  <a:pt x="336" y="307"/>
                </a:lnTo>
                <a:lnTo>
                  <a:pt x="328" y="314"/>
                </a:lnTo>
                <a:lnTo>
                  <a:pt x="328" y="314"/>
                </a:lnTo>
                <a:lnTo>
                  <a:pt x="342" y="328"/>
                </a:lnTo>
                <a:lnTo>
                  <a:pt x="353" y="343"/>
                </a:lnTo>
                <a:lnTo>
                  <a:pt x="362" y="357"/>
                </a:lnTo>
                <a:lnTo>
                  <a:pt x="369" y="371"/>
                </a:lnTo>
                <a:lnTo>
                  <a:pt x="375" y="384"/>
                </a:lnTo>
                <a:lnTo>
                  <a:pt x="380" y="398"/>
                </a:lnTo>
                <a:lnTo>
                  <a:pt x="382" y="410"/>
                </a:lnTo>
                <a:lnTo>
                  <a:pt x="383" y="421"/>
                </a:lnTo>
                <a:lnTo>
                  <a:pt x="382" y="432"/>
                </a:lnTo>
                <a:lnTo>
                  <a:pt x="380" y="442"/>
                </a:lnTo>
                <a:lnTo>
                  <a:pt x="375" y="451"/>
                </a:lnTo>
                <a:lnTo>
                  <a:pt x="370" y="458"/>
                </a:lnTo>
                <a:lnTo>
                  <a:pt x="363" y="464"/>
                </a:lnTo>
                <a:lnTo>
                  <a:pt x="356" y="469"/>
                </a:lnTo>
                <a:lnTo>
                  <a:pt x="347" y="472"/>
                </a:lnTo>
                <a:lnTo>
                  <a:pt x="337" y="473"/>
                </a:lnTo>
                <a:lnTo>
                  <a:pt x="337" y="473"/>
                </a:lnTo>
                <a:lnTo>
                  <a:pt x="322" y="473"/>
                </a:lnTo>
                <a:lnTo>
                  <a:pt x="311" y="471"/>
                </a:lnTo>
                <a:lnTo>
                  <a:pt x="301" y="467"/>
                </a:lnTo>
                <a:lnTo>
                  <a:pt x="292" y="462"/>
                </a:lnTo>
                <a:lnTo>
                  <a:pt x="283" y="456"/>
                </a:lnTo>
                <a:lnTo>
                  <a:pt x="277" y="449"/>
                </a:lnTo>
                <a:lnTo>
                  <a:pt x="272" y="441"/>
                </a:lnTo>
                <a:lnTo>
                  <a:pt x="268" y="432"/>
                </a:lnTo>
                <a:lnTo>
                  <a:pt x="264" y="424"/>
                </a:lnTo>
                <a:lnTo>
                  <a:pt x="262" y="417"/>
                </a:lnTo>
                <a:lnTo>
                  <a:pt x="259" y="403"/>
                </a:lnTo>
                <a:lnTo>
                  <a:pt x="257" y="393"/>
                </a:lnTo>
                <a:lnTo>
                  <a:pt x="257" y="390"/>
                </a:lnTo>
                <a:lnTo>
                  <a:pt x="257" y="390"/>
                </a:lnTo>
                <a:lnTo>
                  <a:pt x="255" y="392"/>
                </a:lnTo>
                <a:lnTo>
                  <a:pt x="249" y="398"/>
                </a:lnTo>
                <a:lnTo>
                  <a:pt x="239" y="405"/>
                </a:lnTo>
                <a:lnTo>
                  <a:pt x="227" y="413"/>
                </a:lnTo>
                <a:lnTo>
                  <a:pt x="220" y="416"/>
                </a:lnTo>
                <a:lnTo>
                  <a:pt x="212" y="419"/>
                </a:lnTo>
                <a:lnTo>
                  <a:pt x="204" y="420"/>
                </a:lnTo>
                <a:lnTo>
                  <a:pt x="194" y="421"/>
                </a:lnTo>
                <a:lnTo>
                  <a:pt x="185" y="421"/>
                </a:lnTo>
                <a:lnTo>
                  <a:pt x="175" y="419"/>
                </a:lnTo>
                <a:lnTo>
                  <a:pt x="165" y="415"/>
                </a:lnTo>
                <a:lnTo>
                  <a:pt x="155" y="409"/>
                </a:lnTo>
                <a:lnTo>
                  <a:pt x="155" y="409"/>
                </a:lnTo>
                <a:lnTo>
                  <a:pt x="147" y="404"/>
                </a:lnTo>
                <a:lnTo>
                  <a:pt x="140" y="397"/>
                </a:lnTo>
                <a:lnTo>
                  <a:pt x="135" y="390"/>
                </a:lnTo>
                <a:lnTo>
                  <a:pt x="131" y="381"/>
                </a:lnTo>
                <a:lnTo>
                  <a:pt x="129" y="372"/>
                </a:lnTo>
                <a:lnTo>
                  <a:pt x="128" y="363"/>
                </a:lnTo>
                <a:lnTo>
                  <a:pt x="128" y="354"/>
                </a:lnTo>
                <a:lnTo>
                  <a:pt x="131" y="345"/>
                </a:lnTo>
                <a:lnTo>
                  <a:pt x="136" y="334"/>
                </a:lnTo>
                <a:lnTo>
                  <a:pt x="142" y="325"/>
                </a:lnTo>
                <a:lnTo>
                  <a:pt x="153" y="316"/>
                </a:lnTo>
                <a:lnTo>
                  <a:pt x="164" y="308"/>
                </a:lnTo>
                <a:lnTo>
                  <a:pt x="178" y="300"/>
                </a:lnTo>
                <a:lnTo>
                  <a:pt x="195" y="292"/>
                </a:lnTo>
                <a:lnTo>
                  <a:pt x="216" y="286"/>
                </a:lnTo>
                <a:lnTo>
                  <a:pt x="239" y="280"/>
                </a:lnTo>
                <a:lnTo>
                  <a:pt x="239" y="280"/>
                </a:lnTo>
                <a:lnTo>
                  <a:pt x="238" y="275"/>
                </a:lnTo>
                <a:lnTo>
                  <a:pt x="233" y="262"/>
                </a:lnTo>
                <a:lnTo>
                  <a:pt x="230" y="253"/>
                </a:lnTo>
                <a:lnTo>
                  <a:pt x="225" y="242"/>
                </a:lnTo>
                <a:lnTo>
                  <a:pt x="220" y="232"/>
                </a:lnTo>
                <a:lnTo>
                  <a:pt x="213" y="222"/>
                </a:lnTo>
                <a:lnTo>
                  <a:pt x="205" y="213"/>
                </a:lnTo>
                <a:lnTo>
                  <a:pt x="195" y="203"/>
                </a:lnTo>
                <a:lnTo>
                  <a:pt x="185" y="196"/>
                </a:lnTo>
                <a:lnTo>
                  <a:pt x="173" y="190"/>
                </a:lnTo>
                <a:lnTo>
                  <a:pt x="167" y="188"/>
                </a:lnTo>
                <a:lnTo>
                  <a:pt x="161" y="187"/>
                </a:lnTo>
                <a:lnTo>
                  <a:pt x="154" y="186"/>
                </a:lnTo>
                <a:lnTo>
                  <a:pt x="145" y="185"/>
                </a:lnTo>
                <a:lnTo>
                  <a:pt x="138" y="186"/>
                </a:lnTo>
                <a:lnTo>
                  <a:pt x="129" y="187"/>
                </a:lnTo>
                <a:lnTo>
                  <a:pt x="121" y="190"/>
                </a:lnTo>
                <a:lnTo>
                  <a:pt x="112" y="193"/>
                </a:lnTo>
                <a:lnTo>
                  <a:pt x="112" y="193"/>
                </a:lnTo>
                <a:lnTo>
                  <a:pt x="115" y="191"/>
                </a:lnTo>
                <a:lnTo>
                  <a:pt x="119" y="188"/>
                </a:lnTo>
                <a:lnTo>
                  <a:pt x="127" y="180"/>
                </a:lnTo>
                <a:lnTo>
                  <a:pt x="136" y="168"/>
                </a:lnTo>
                <a:lnTo>
                  <a:pt x="144" y="153"/>
                </a:lnTo>
                <a:lnTo>
                  <a:pt x="148" y="144"/>
                </a:lnTo>
                <a:lnTo>
                  <a:pt x="153" y="136"/>
                </a:lnTo>
                <a:lnTo>
                  <a:pt x="156" y="127"/>
                </a:lnTo>
                <a:lnTo>
                  <a:pt x="158" y="117"/>
                </a:lnTo>
                <a:lnTo>
                  <a:pt x="159" y="106"/>
                </a:lnTo>
                <a:lnTo>
                  <a:pt x="160" y="97"/>
                </a:lnTo>
                <a:lnTo>
                  <a:pt x="159" y="86"/>
                </a:lnTo>
                <a:lnTo>
                  <a:pt x="157" y="76"/>
                </a:lnTo>
                <a:lnTo>
                  <a:pt x="157" y="76"/>
                </a:lnTo>
                <a:lnTo>
                  <a:pt x="155" y="66"/>
                </a:lnTo>
                <a:lnTo>
                  <a:pt x="150" y="57"/>
                </a:lnTo>
                <a:lnTo>
                  <a:pt x="147" y="49"/>
                </a:lnTo>
                <a:lnTo>
                  <a:pt x="143" y="41"/>
                </a:lnTo>
                <a:lnTo>
                  <a:pt x="134" y="28"/>
                </a:lnTo>
                <a:lnTo>
                  <a:pt x="125" y="17"/>
                </a:lnTo>
                <a:lnTo>
                  <a:pt x="117" y="9"/>
                </a:lnTo>
                <a:lnTo>
                  <a:pt x="110" y="4"/>
                </a:lnTo>
                <a:lnTo>
                  <a:pt x="103" y="0"/>
                </a:lnTo>
                <a:lnTo>
                  <a:pt x="0" y="593"/>
                </a:lnTo>
                <a:lnTo>
                  <a:pt x="269" y="712"/>
                </a:lnTo>
                <a:lnTo>
                  <a:pt x="269" y="712"/>
                </a:lnTo>
                <a:lnTo>
                  <a:pt x="293" y="693"/>
                </a:lnTo>
                <a:lnTo>
                  <a:pt x="315" y="677"/>
                </a:lnTo>
                <a:lnTo>
                  <a:pt x="336" y="665"/>
                </a:lnTo>
                <a:lnTo>
                  <a:pt x="354" y="656"/>
                </a:lnTo>
                <a:lnTo>
                  <a:pt x="354" y="656"/>
                </a:lnTo>
                <a:lnTo>
                  <a:pt x="367" y="650"/>
                </a:lnTo>
                <a:lnTo>
                  <a:pt x="382" y="646"/>
                </a:lnTo>
                <a:lnTo>
                  <a:pt x="396" y="642"/>
                </a:lnTo>
                <a:lnTo>
                  <a:pt x="409" y="639"/>
                </a:lnTo>
                <a:lnTo>
                  <a:pt x="423" y="637"/>
                </a:lnTo>
                <a:lnTo>
                  <a:pt x="437" y="636"/>
                </a:lnTo>
                <a:lnTo>
                  <a:pt x="450" y="635"/>
                </a:lnTo>
                <a:lnTo>
                  <a:pt x="464" y="635"/>
                </a:lnTo>
                <a:lnTo>
                  <a:pt x="478" y="636"/>
                </a:lnTo>
                <a:lnTo>
                  <a:pt x="491" y="638"/>
                </a:lnTo>
                <a:lnTo>
                  <a:pt x="504" y="640"/>
                </a:lnTo>
                <a:lnTo>
                  <a:pt x="517" y="643"/>
                </a:lnTo>
                <a:lnTo>
                  <a:pt x="542" y="650"/>
                </a:lnTo>
                <a:lnTo>
                  <a:pt x="566" y="658"/>
                </a:lnTo>
                <a:lnTo>
                  <a:pt x="566" y="658"/>
                </a:lnTo>
                <a:lnTo>
                  <a:pt x="582" y="667"/>
                </a:lnTo>
                <a:lnTo>
                  <a:pt x="596" y="675"/>
                </a:lnTo>
                <a:lnTo>
                  <a:pt x="610" y="683"/>
                </a:lnTo>
                <a:lnTo>
                  <a:pt x="621" y="691"/>
                </a:lnTo>
                <a:lnTo>
                  <a:pt x="631" y="699"/>
                </a:lnTo>
                <a:lnTo>
                  <a:pt x="639" y="709"/>
                </a:lnTo>
                <a:lnTo>
                  <a:pt x="646" y="717"/>
                </a:lnTo>
                <a:lnTo>
                  <a:pt x="653" y="726"/>
                </a:lnTo>
                <a:lnTo>
                  <a:pt x="658" y="735"/>
                </a:lnTo>
                <a:lnTo>
                  <a:pt x="662" y="743"/>
                </a:lnTo>
                <a:lnTo>
                  <a:pt x="665" y="753"/>
                </a:lnTo>
                <a:lnTo>
                  <a:pt x="668" y="761"/>
                </a:lnTo>
                <a:lnTo>
                  <a:pt x="671" y="778"/>
                </a:lnTo>
                <a:lnTo>
                  <a:pt x="673" y="793"/>
                </a:lnTo>
                <a:lnTo>
                  <a:pt x="673" y="793"/>
                </a:lnTo>
                <a:lnTo>
                  <a:pt x="672" y="804"/>
                </a:lnTo>
                <a:lnTo>
                  <a:pt x="670" y="815"/>
                </a:lnTo>
                <a:lnTo>
                  <a:pt x="667" y="827"/>
                </a:lnTo>
                <a:lnTo>
                  <a:pt x="663" y="839"/>
                </a:lnTo>
                <a:lnTo>
                  <a:pt x="654" y="863"/>
                </a:lnTo>
                <a:lnTo>
                  <a:pt x="646" y="877"/>
                </a:lnTo>
                <a:lnTo>
                  <a:pt x="841" y="96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6" name="Freeform 43"/>
          <p:cNvSpPr>
            <a:spLocks/>
          </p:cNvSpPr>
          <p:nvPr userDrawn="1"/>
        </p:nvSpPr>
        <p:spPr bwMode="auto">
          <a:xfrm>
            <a:off x="7581901" y="1218904"/>
            <a:ext cx="193675" cy="33338"/>
          </a:xfrm>
          <a:custGeom>
            <a:avLst/>
            <a:gdLst>
              <a:gd name="T0" fmla="*/ 1228 w 1463"/>
              <a:gd name="T1" fmla="*/ 227 h 256"/>
              <a:gd name="T2" fmla="*/ 1463 w 1463"/>
              <a:gd name="T3" fmla="*/ 113 h 256"/>
              <a:gd name="T4" fmla="*/ 1225 w 1463"/>
              <a:gd name="T5" fmla="*/ 14 h 256"/>
              <a:gd name="T6" fmla="*/ 1225 w 1463"/>
              <a:gd name="T7" fmla="*/ 14 h 256"/>
              <a:gd name="T8" fmla="*/ 1152 w 1463"/>
              <a:gd name="T9" fmla="*/ 15 h 256"/>
              <a:gd name="T10" fmla="*/ 1060 w 1463"/>
              <a:gd name="T11" fmla="*/ 16 h 256"/>
              <a:gd name="T12" fmla="*/ 949 w 1463"/>
              <a:gd name="T13" fmla="*/ 15 h 256"/>
              <a:gd name="T14" fmla="*/ 824 w 1463"/>
              <a:gd name="T15" fmla="*/ 13 h 256"/>
              <a:gd name="T16" fmla="*/ 531 w 1463"/>
              <a:gd name="T17" fmla="*/ 7 h 256"/>
              <a:gd name="T18" fmla="*/ 197 w 1463"/>
              <a:gd name="T19" fmla="*/ 0 h 256"/>
              <a:gd name="T20" fmla="*/ 0 w 1463"/>
              <a:gd name="T21" fmla="*/ 256 h 256"/>
              <a:gd name="T22" fmla="*/ 0 w 1463"/>
              <a:gd name="T23" fmla="*/ 256 h 256"/>
              <a:gd name="T24" fmla="*/ 734 w 1463"/>
              <a:gd name="T25" fmla="*/ 240 h 256"/>
              <a:gd name="T26" fmla="*/ 1024 w 1463"/>
              <a:gd name="T27" fmla="*/ 234 h 256"/>
              <a:gd name="T28" fmla="*/ 1228 w 1463"/>
              <a:gd name="T29" fmla="*/ 22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3" h="256">
                <a:moveTo>
                  <a:pt x="1228" y="227"/>
                </a:moveTo>
                <a:lnTo>
                  <a:pt x="1463" y="113"/>
                </a:lnTo>
                <a:lnTo>
                  <a:pt x="1225" y="14"/>
                </a:lnTo>
                <a:lnTo>
                  <a:pt x="1225" y="14"/>
                </a:lnTo>
                <a:lnTo>
                  <a:pt x="1152" y="15"/>
                </a:lnTo>
                <a:lnTo>
                  <a:pt x="1060" y="16"/>
                </a:lnTo>
                <a:lnTo>
                  <a:pt x="949" y="15"/>
                </a:lnTo>
                <a:lnTo>
                  <a:pt x="824" y="13"/>
                </a:lnTo>
                <a:lnTo>
                  <a:pt x="531" y="7"/>
                </a:lnTo>
                <a:lnTo>
                  <a:pt x="197" y="0"/>
                </a:lnTo>
                <a:lnTo>
                  <a:pt x="0" y="256"/>
                </a:lnTo>
                <a:lnTo>
                  <a:pt x="0" y="256"/>
                </a:lnTo>
                <a:lnTo>
                  <a:pt x="734" y="240"/>
                </a:lnTo>
                <a:lnTo>
                  <a:pt x="1024" y="234"/>
                </a:lnTo>
                <a:lnTo>
                  <a:pt x="1228" y="22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7" name="Freeform 44"/>
          <p:cNvSpPr>
            <a:spLocks/>
          </p:cNvSpPr>
          <p:nvPr userDrawn="1"/>
        </p:nvSpPr>
        <p:spPr bwMode="auto">
          <a:xfrm>
            <a:off x="7643812" y="1301453"/>
            <a:ext cx="114300" cy="112713"/>
          </a:xfrm>
          <a:custGeom>
            <a:avLst/>
            <a:gdLst>
              <a:gd name="T0" fmla="*/ 386 w 869"/>
              <a:gd name="T1" fmla="*/ 818 h 851"/>
              <a:gd name="T2" fmla="*/ 235 w 869"/>
              <a:gd name="T3" fmla="*/ 737 h 851"/>
              <a:gd name="T4" fmla="*/ 156 w 869"/>
              <a:gd name="T5" fmla="*/ 685 h 851"/>
              <a:gd name="T6" fmla="*/ 90 w 869"/>
              <a:gd name="T7" fmla="*/ 626 h 851"/>
              <a:gd name="T8" fmla="*/ 37 w 869"/>
              <a:gd name="T9" fmla="*/ 557 h 851"/>
              <a:gd name="T10" fmla="*/ 24 w 869"/>
              <a:gd name="T11" fmla="*/ 531 h 851"/>
              <a:gd name="T12" fmla="*/ 10 w 869"/>
              <a:gd name="T13" fmla="*/ 487 h 851"/>
              <a:gd name="T14" fmla="*/ 2 w 869"/>
              <a:gd name="T15" fmla="*/ 439 h 851"/>
              <a:gd name="T16" fmla="*/ 0 w 869"/>
              <a:gd name="T17" fmla="*/ 389 h 851"/>
              <a:gd name="T18" fmla="*/ 5 w 869"/>
              <a:gd name="T19" fmla="*/ 336 h 851"/>
              <a:gd name="T20" fmla="*/ 15 w 869"/>
              <a:gd name="T21" fmla="*/ 283 h 851"/>
              <a:gd name="T22" fmla="*/ 34 w 869"/>
              <a:gd name="T23" fmla="*/ 231 h 851"/>
              <a:gd name="T24" fmla="*/ 59 w 869"/>
              <a:gd name="T25" fmla="*/ 182 h 851"/>
              <a:gd name="T26" fmla="*/ 93 w 869"/>
              <a:gd name="T27" fmla="*/ 136 h 851"/>
              <a:gd name="T28" fmla="*/ 134 w 869"/>
              <a:gd name="T29" fmla="*/ 94 h 851"/>
              <a:gd name="T30" fmla="*/ 183 w 869"/>
              <a:gd name="T31" fmla="*/ 59 h 851"/>
              <a:gd name="T32" fmla="*/ 198 w 869"/>
              <a:gd name="T33" fmla="*/ 75 h 851"/>
              <a:gd name="T34" fmla="*/ 217 w 869"/>
              <a:gd name="T35" fmla="*/ 106 h 851"/>
              <a:gd name="T36" fmla="*/ 227 w 869"/>
              <a:gd name="T37" fmla="*/ 141 h 851"/>
              <a:gd name="T38" fmla="*/ 247 w 869"/>
              <a:gd name="T39" fmla="*/ 150 h 851"/>
              <a:gd name="T40" fmla="*/ 379 w 869"/>
              <a:gd name="T41" fmla="*/ 144 h 851"/>
              <a:gd name="T42" fmla="*/ 424 w 869"/>
              <a:gd name="T43" fmla="*/ 143 h 851"/>
              <a:gd name="T44" fmla="*/ 424 w 869"/>
              <a:gd name="T45" fmla="*/ 94 h 851"/>
              <a:gd name="T46" fmla="*/ 414 w 869"/>
              <a:gd name="T47" fmla="*/ 37 h 851"/>
              <a:gd name="T48" fmla="*/ 397 w 869"/>
              <a:gd name="T49" fmla="*/ 0 h 851"/>
              <a:gd name="T50" fmla="*/ 431 w 869"/>
              <a:gd name="T51" fmla="*/ 27 h 851"/>
              <a:gd name="T52" fmla="*/ 459 w 869"/>
              <a:gd name="T53" fmla="*/ 55 h 851"/>
              <a:gd name="T54" fmla="*/ 475 w 869"/>
              <a:gd name="T55" fmla="*/ 82 h 851"/>
              <a:gd name="T56" fmla="*/ 487 w 869"/>
              <a:gd name="T57" fmla="*/ 116 h 851"/>
              <a:gd name="T58" fmla="*/ 493 w 869"/>
              <a:gd name="T59" fmla="*/ 143 h 851"/>
              <a:gd name="T60" fmla="*/ 671 w 869"/>
              <a:gd name="T61" fmla="*/ 133 h 851"/>
              <a:gd name="T62" fmla="*/ 662 w 869"/>
              <a:gd name="T63" fmla="*/ 88 h 851"/>
              <a:gd name="T64" fmla="*/ 643 w 869"/>
              <a:gd name="T65" fmla="*/ 50 h 851"/>
              <a:gd name="T66" fmla="*/ 651 w 869"/>
              <a:gd name="T67" fmla="*/ 46 h 851"/>
              <a:gd name="T68" fmla="*/ 699 w 869"/>
              <a:gd name="T69" fmla="*/ 73 h 851"/>
              <a:gd name="T70" fmla="*/ 740 w 869"/>
              <a:gd name="T71" fmla="*/ 104 h 851"/>
              <a:gd name="T72" fmla="*/ 775 w 869"/>
              <a:gd name="T73" fmla="*/ 138 h 851"/>
              <a:gd name="T74" fmla="*/ 803 w 869"/>
              <a:gd name="T75" fmla="*/ 175 h 851"/>
              <a:gd name="T76" fmla="*/ 837 w 869"/>
              <a:gd name="T77" fmla="*/ 238 h 851"/>
              <a:gd name="T78" fmla="*/ 861 w 869"/>
              <a:gd name="T79" fmla="*/ 312 h 851"/>
              <a:gd name="T80" fmla="*/ 869 w 869"/>
              <a:gd name="T81" fmla="*/ 379 h 851"/>
              <a:gd name="T82" fmla="*/ 869 w 869"/>
              <a:gd name="T83" fmla="*/ 423 h 851"/>
              <a:gd name="T84" fmla="*/ 859 w 869"/>
              <a:gd name="T85" fmla="*/ 499 h 851"/>
              <a:gd name="T86" fmla="*/ 834 w 869"/>
              <a:gd name="T87" fmla="*/ 569 h 851"/>
              <a:gd name="T88" fmla="*/ 796 w 869"/>
              <a:gd name="T89" fmla="*/ 631 h 851"/>
              <a:gd name="T90" fmla="*/ 749 w 869"/>
              <a:gd name="T91" fmla="*/ 684 h 851"/>
              <a:gd name="T92" fmla="*/ 693 w 869"/>
              <a:gd name="T93" fmla="*/ 727 h 851"/>
              <a:gd name="T94" fmla="*/ 626 w 869"/>
              <a:gd name="T95" fmla="*/ 766 h 851"/>
              <a:gd name="T96" fmla="*/ 506 w 869"/>
              <a:gd name="T97" fmla="*/ 826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9" h="851">
                <a:moveTo>
                  <a:pt x="452" y="851"/>
                </a:moveTo>
                <a:lnTo>
                  <a:pt x="452" y="851"/>
                </a:lnTo>
                <a:lnTo>
                  <a:pt x="386" y="818"/>
                </a:lnTo>
                <a:lnTo>
                  <a:pt x="323" y="785"/>
                </a:lnTo>
                <a:lnTo>
                  <a:pt x="264" y="754"/>
                </a:lnTo>
                <a:lnTo>
                  <a:pt x="235" y="737"/>
                </a:lnTo>
                <a:lnTo>
                  <a:pt x="207" y="720"/>
                </a:lnTo>
                <a:lnTo>
                  <a:pt x="181" y="703"/>
                </a:lnTo>
                <a:lnTo>
                  <a:pt x="156" y="685"/>
                </a:lnTo>
                <a:lnTo>
                  <a:pt x="133" y="666"/>
                </a:lnTo>
                <a:lnTo>
                  <a:pt x="110" y="646"/>
                </a:lnTo>
                <a:lnTo>
                  <a:pt x="90" y="626"/>
                </a:lnTo>
                <a:lnTo>
                  <a:pt x="70" y="605"/>
                </a:lnTo>
                <a:lnTo>
                  <a:pt x="53" y="581"/>
                </a:lnTo>
                <a:lnTo>
                  <a:pt x="37" y="557"/>
                </a:lnTo>
                <a:lnTo>
                  <a:pt x="37" y="557"/>
                </a:lnTo>
                <a:lnTo>
                  <a:pt x="31" y="544"/>
                </a:lnTo>
                <a:lnTo>
                  <a:pt x="24" y="531"/>
                </a:lnTo>
                <a:lnTo>
                  <a:pt x="19" y="517"/>
                </a:lnTo>
                <a:lnTo>
                  <a:pt x="14" y="502"/>
                </a:lnTo>
                <a:lnTo>
                  <a:pt x="10" y="487"/>
                </a:lnTo>
                <a:lnTo>
                  <a:pt x="7" y="472"/>
                </a:lnTo>
                <a:lnTo>
                  <a:pt x="4" y="455"/>
                </a:lnTo>
                <a:lnTo>
                  <a:pt x="2" y="439"/>
                </a:lnTo>
                <a:lnTo>
                  <a:pt x="1" y="423"/>
                </a:lnTo>
                <a:lnTo>
                  <a:pt x="0" y="405"/>
                </a:lnTo>
                <a:lnTo>
                  <a:pt x="0" y="389"/>
                </a:lnTo>
                <a:lnTo>
                  <a:pt x="1" y="371"/>
                </a:lnTo>
                <a:lnTo>
                  <a:pt x="2" y="353"/>
                </a:lnTo>
                <a:lnTo>
                  <a:pt x="5" y="336"/>
                </a:lnTo>
                <a:lnTo>
                  <a:pt x="7" y="318"/>
                </a:lnTo>
                <a:lnTo>
                  <a:pt x="11" y="301"/>
                </a:lnTo>
                <a:lnTo>
                  <a:pt x="15" y="283"/>
                </a:lnTo>
                <a:lnTo>
                  <a:pt x="21" y="266"/>
                </a:lnTo>
                <a:lnTo>
                  <a:pt x="26" y="249"/>
                </a:lnTo>
                <a:lnTo>
                  <a:pt x="34" y="231"/>
                </a:lnTo>
                <a:lnTo>
                  <a:pt x="42" y="215"/>
                </a:lnTo>
                <a:lnTo>
                  <a:pt x="50" y="199"/>
                </a:lnTo>
                <a:lnTo>
                  <a:pt x="59" y="182"/>
                </a:lnTo>
                <a:lnTo>
                  <a:pt x="69" y="166"/>
                </a:lnTo>
                <a:lnTo>
                  <a:pt x="81" y="151"/>
                </a:lnTo>
                <a:lnTo>
                  <a:pt x="93" y="136"/>
                </a:lnTo>
                <a:lnTo>
                  <a:pt x="105" y="122"/>
                </a:lnTo>
                <a:lnTo>
                  <a:pt x="120" y="108"/>
                </a:lnTo>
                <a:lnTo>
                  <a:pt x="134" y="94"/>
                </a:lnTo>
                <a:lnTo>
                  <a:pt x="149" y="82"/>
                </a:lnTo>
                <a:lnTo>
                  <a:pt x="166" y="70"/>
                </a:lnTo>
                <a:lnTo>
                  <a:pt x="183" y="59"/>
                </a:lnTo>
                <a:lnTo>
                  <a:pt x="183" y="59"/>
                </a:lnTo>
                <a:lnTo>
                  <a:pt x="191" y="67"/>
                </a:lnTo>
                <a:lnTo>
                  <a:pt x="198" y="75"/>
                </a:lnTo>
                <a:lnTo>
                  <a:pt x="203" y="82"/>
                </a:lnTo>
                <a:lnTo>
                  <a:pt x="208" y="90"/>
                </a:lnTo>
                <a:lnTo>
                  <a:pt x="217" y="106"/>
                </a:lnTo>
                <a:lnTo>
                  <a:pt x="222" y="120"/>
                </a:lnTo>
                <a:lnTo>
                  <a:pt x="225" y="132"/>
                </a:lnTo>
                <a:lnTo>
                  <a:pt x="227" y="141"/>
                </a:lnTo>
                <a:lnTo>
                  <a:pt x="227" y="150"/>
                </a:lnTo>
                <a:lnTo>
                  <a:pt x="227" y="150"/>
                </a:lnTo>
                <a:lnTo>
                  <a:pt x="247" y="150"/>
                </a:lnTo>
                <a:lnTo>
                  <a:pt x="272" y="150"/>
                </a:lnTo>
                <a:lnTo>
                  <a:pt x="325" y="146"/>
                </a:lnTo>
                <a:lnTo>
                  <a:pt x="379" y="144"/>
                </a:lnTo>
                <a:lnTo>
                  <a:pt x="404" y="143"/>
                </a:lnTo>
                <a:lnTo>
                  <a:pt x="424" y="143"/>
                </a:lnTo>
                <a:lnTo>
                  <a:pt x="424" y="143"/>
                </a:lnTo>
                <a:lnTo>
                  <a:pt x="425" y="129"/>
                </a:lnTo>
                <a:lnTo>
                  <a:pt x="425" y="112"/>
                </a:lnTo>
                <a:lnTo>
                  <a:pt x="424" y="94"/>
                </a:lnTo>
                <a:lnTo>
                  <a:pt x="422" y="76"/>
                </a:lnTo>
                <a:lnTo>
                  <a:pt x="419" y="56"/>
                </a:lnTo>
                <a:lnTo>
                  <a:pt x="414" y="37"/>
                </a:lnTo>
                <a:lnTo>
                  <a:pt x="407" y="19"/>
                </a:lnTo>
                <a:lnTo>
                  <a:pt x="402" y="9"/>
                </a:lnTo>
                <a:lnTo>
                  <a:pt x="397" y="0"/>
                </a:lnTo>
                <a:lnTo>
                  <a:pt x="397" y="0"/>
                </a:lnTo>
                <a:lnTo>
                  <a:pt x="415" y="14"/>
                </a:lnTo>
                <a:lnTo>
                  <a:pt x="431" y="27"/>
                </a:lnTo>
                <a:lnTo>
                  <a:pt x="446" y="40"/>
                </a:lnTo>
                <a:lnTo>
                  <a:pt x="453" y="47"/>
                </a:lnTo>
                <a:lnTo>
                  <a:pt x="459" y="55"/>
                </a:lnTo>
                <a:lnTo>
                  <a:pt x="465" y="64"/>
                </a:lnTo>
                <a:lnTo>
                  <a:pt x="470" y="73"/>
                </a:lnTo>
                <a:lnTo>
                  <a:pt x="475" y="82"/>
                </a:lnTo>
                <a:lnTo>
                  <a:pt x="479" y="92"/>
                </a:lnTo>
                <a:lnTo>
                  <a:pt x="484" y="104"/>
                </a:lnTo>
                <a:lnTo>
                  <a:pt x="487" y="116"/>
                </a:lnTo>
                <a:lnTo>
                  <a:pt x="490" y="129"/>
                </a:lnTo>
                <a:lnTo>
                  <a:pt x="493" y="143"/>
                </a:lnTo>
                <a:lnTo>
                  <a:pt x="493" y="143"/>
                </a:lnTo>
                <a:lnTo>
                  <a:pt x="671" y="150"/>
                </a:lnTo>
                <a:lnTo>
                  <a:pt x="671" y="150"/>
                </a:lnTo>
                <a:lnTo>
                  <a:pt x="671" y="133"/>
                </a:lnTo>
                <a:lnTo>
                  <a:pt x="670" y="118"/>
                </a:lnTo>
                <a:lnTo>
                  <a:pt x="667" y="103"/>
                </a:lnTo>
                <a:lnTo>
                  <a:pt x="662" y="88"/>
                </a:lnTo>
                <a:lnTo>
                  <a:pt x="657" y="75"/>
                </a:lnTo>
                <a:lnTo>
                  <a:pt x="651" y="62"/>
                </a:lnTo>
                <a:lnTo>
                  <a:pt x="643" y="50"/>
                </a:lnTo>
                <a:lnTo>
                  <a:pt x="634" y="38"/>
                </a:lnTo>
                <a:lnTo>
                  <a:pt x="634" y="38"/>
                </a:lnTo>
                <a:lnTo>
                  <a:pt x="651" y="46"/>
                </a:lnTo>
                <a:lnTo>
                  <a:pt x="669" y="54"/>
                </a:lnTo>
                <a:lnTo>
                  <a:pt x="684" y="64"/>
                </a:lnTo>
                <a:lnTo>
                  <a:pt x="699" y="73"/>
                </a:lnTo>
                <a:lnTo>
                  <a:pt x="714" y="83"/>
                </a:lnTo>
                <a:lnTo>
                  <a:pt x="728" y="93"/>
                </a:lnTo>
                <a:lnTo>
                  <a:pt x="740" y="104"/>
                </a:lnTo>
                <a:lnTo>
                  <a:pt x="752" y="115"/>
                </a:lnTo>
                <a:lnTo>
                  <a:pt x="764" y="126"/>
                </a:lnTo>
                <a:lnTo>
                  <a:pt x="775" y="138"/>
                </a:lnTo>
                <a:lnTo>
                  <a:pt x="785" y="151"/>
                </a:lnTo>
                <a:lnTo>
                  <a:pt x="794" y="163"/>
                </a:lnTo>
                <a:lnTo>
                  <a:pt x="803" y="175"/>
                </a:lnTo>
                <a:lnTo>
                  <a:pt x="811" y="187"/>
                </a:lnTo>
                <a:lnTo>
                  <a:pt x="825" y="213"/>
                </a:lnTo>
                <a:lnTo>
                  <a:pt x="837" y="238"/>
                </a:lnTo>
                <a:lnTo>
                  <a:pt x="848" y="263"/>
                </a:lnTo>
                <a:lnTo>
                  <a:pt x="855" y="289"/>
                </a:lnTo>
                <a:lnTo>
                  <a:pt x="861" y="312"/>
                </a:lnTo>
                <a:lnTo>
                  <a:pt x="865" y="336"/>
                </a:lnTo>
                <a:lnTo>
                  <a:pt x="868" y="358"/>
                </a:lnTo>
                <a:lnTo>
                  <a:pt x="869" y="379"/>
                </a:lnTo>
                <a:lnTo>
                  <a:pt x="869" y="397"/>
                </a:lnTo>
                <a:lnTo>
                  <a:pt x="869" y="397"/>
                </a:lnTo>
                <a:lnTo>
                  <a:pt x="869" y="423"/>
                </a:lnTo>
                <a:lnTo>
                  <a:pt x="868" y="449"/>
                </a:lnTo>
                <a:lnTo>
                  <a:pt x="864" y="474"/>
                </a:lnTo>
                <a:lnTo>
                  <a:pt x="859" y="499"/>
                </a:lnTo>
                <a:lnTo>
                  <a:pt x="852" y="523"/>
                </a:lnTo>
                <a:lnTo>
                  <a:pt x="843" y="546"/>
                </a:lnTo>
                <a:lnTo>
                  <a:pt x="834" y="569"/>
                </a:lnTo>
                <a:lnTo>
                  <a:pt x="823" y="590"/>
                </a:lnTo>
                <a:lnTo>
                  <a:pt x="811" y="612"/>
                </a:lnTo>
                <a:lnTo>
                  <a:pt x="796" y="631"/>
                </a:lnTo>
                <a:lnTo>
                  <a:pt x="782" y="651"/>
                </a:lnTo>
                <a:lnTo>
                  <a:pt x="766" y="668"/>
                </a:lnTo>
                <a:lnTo>
                  <a:pt x="749" y="684"/>
                </a:lnTo>
                <a:lnTo>
                  <a:pt x="731" y="700"/>
                </a:lnTo>
                <a:lnTo>
                  <a:pt x="713" y="714"/>
                </a:lnTo>
                <a:lnTo>
                  <a:pt x="693" y="727"/>
                </a:lnTo>
                <a:lnTo>
                  <a:pt x="693" y="727"/>
                </a:lnTo>
                <a:lnTo>
                  <a:pt x="658" y="748"/>
                </a:lnTo>
                <a:lnTo>
                  <a:pt x="626" y="766"/>
                </a:lnTo>
                <a:lnTo>
                  <a:pt x="594" y="783"/>
                </a:lnTo>
                <a:lnTo>
                  <a:pt x="563" y="799"/>
                </a:lnTo>
                <a:lnTo>
                  <a:pt x="506" y="826"/>
                </a:lnTo>
                <a:lnTo>
                  <a:pt x="452" y="85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8" name="Freeform 45"/>
          <p:cNvSpPr>
            <a:spLocks/>
          </p:cNvSpPr>
          <p:nvPr userDrawn="1"/>
        </p:nvSpPr>
        <p:spPr bwMode="auto">
          <a:xfrm>
            <a:off x="7677150" y="1579265"/>
            <a:ext cx="1588" cy="0"/>
          </a:xfrm>
          <a:custGeom>
            <a:avLst/>
            <a:gdLst>
              <a:gd name="T0" fmla="*/ 22 w 22"/>
              <a:gd name="T1" fmla="*/ 9 h 9"/>
              <a:gd name="T2" fmla="*/ 22 w 22"/>
              <a:gd name="T3" fmla="*/ 9 h 9"/>
              <a:gd name="T4" fmla="*/ 3 w 22"/>
              <a:gd name="T5" fmla="*/ 2 h 9"/>
              <a:gd name="T6" fmla="*/ 3 w 22"/>
              <a:gd name="T7" fmla="*/ 2 h 9"/>
              <a:gd name="T8" fmla="*/ 0 w 22"/>
              <a:gd name="T9" fmla="*/ 0 h 9"/>
              <a:gd name="T10" fmla="*/ 0 w 22"/>
              <a:gd name="T11" fmla="*/ 0 h 9"/>
              <a:gd name="T12" fmla="*/ 22 w 22"/>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22" h="9">
                <a:moveTo>
                  <a:pt x="22" y="9"/>
                </a:moveTo>
                <a:lnTo>
                  <a:pt x="22" y="9"/>
                </a:lnTo>
                <a:lnTo>
                  <a:pt x="3" y="2"/>
                </a:lnTo>
                <a:lnTo>
                  <a:pt x="3" y="2"/>
                </a:lnTo>
                <a:lnTo>
                  <a:pt x="0" y="0"/>
                </a:lnTo>
                <a:lnTo>
                  <a:pt x="0" y="0"/>
                </a:lnTo>
                <a:lnTo>
                  <a:pt x="22"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9" name="Freeform 46"/>
          <p:cNvSpPr>
            <a:spLocks/>
          </p:cNvSpPr>
          <p:nvPr userDrawn="1"/>
        </p:nvSpPr>
        <p:spPr bwMode="auto">
          <a:xfrm>
            <a:off x="7429500" y="1261766"/>
            <a:ext cx="20638" cy="12700"/>
          </a:xfrm>
          <a:custGeom>
            <a:avLst/>
            <a:gdLst>
              <a:gd name="T0" fmla="*/ 166 w 166"/>
              <a:gd name="T1" fmla="*/ 69 h 96"/>
              <a:gd name="T2" fmla="*/ 166 w 166"/>
              <a:gd name="T3" fmla="*/ 69 h 96"/>
              <a:gd name="T4" fmla="*/ 166 w 166"/>
              <a:gd name="T5" fmla="*/ 70 h 96"/>
              <a:gd name="T6" fmla="*/ 165 w 166"/>
              <a:gd name="T7" fmla="*/ 72 h 96"/>
              <a:gd name="T8" fmla="*/ 161 w 166"/>
              <a:gd name="T9" fmla="*/ 74 h 96"/>
              <a:gd name="T10" fmla="*/ 155 w 166"/>
              <a:gd name="T11" fmla="*/ 77 h 96"/>
              <a:gd name="T12" fmla="*/ 145 w 166"/>
              <a:gd name="T13" fmla="*/ 79 h 96"/>
              <a:gd name="T14" fmla="*/ 123 w 166"/>
              <a:gd name="T15" fmla="*/ 85 h 96"/>
              <a:gd name="T16" fmla="*/ 95 w 166"/>
              <a:gd name="T17" fmla="*/ 90 h 96"/>
              <a:gd name="T18" fmla="*/ 68 w 166"/>
              <a:gd name="T19" fmla="*/ 94 h 96"/>
              <a:gd name="T20" fmla="*/ 42 w 166"/>
              <a:gd name="T21" fmla="*/ 96 h 96"/>
              <a:gd name="T22" fmla="*/ 24 w 166"/>
              <a:gd name="T23" fmla="*/ 96 h 96"/>
              <a:gd name="T24" fmla="*/ 17 w 166"/>
              <a:gd name="T25" fmla="*/ 95 h 96"/>
              <a:gd name="T26" fmla="*/ 13 w 166"/>
              <a:gd name="T27" fmla="*/ 94 h 96"/>
              <a:gd name="T28" fmla="*/ 13 w 166"/>
              <a:gd name="T29" fmla="*/ 94 h 96"/>
              <a:gd name="T30" fmla="*/ 10 w 166"/>
              <a:gd name="T31" fmla="*/ 92 h 96"/>
              <a:gd name="T32" fmla="*/ 8 w 166"/>
              <a:gd name="T33" fmla="*/ 88 h 96"/>
              <a:gd name="T34" fmla="*/ 5 w 166"/>
              <a:gd name="T35" fmla="*/ 77 h 96"/>
              <a:gd name="T36" fmla="*/ 2 w 166"/>
              <a:gd name="T37" fmla="*/ 65 h 96"/>
              <a:gd name="T38" fmla="*/ 0 w 166"/>
              <a:gd name="T39" fmla="*/ 51 h 96"/>
              <a:gd name="T40" fmla="*/ 0 w 166"/>
              <a:gd name="T41" fmla="*/ 36 h 96"/>
              <a:gd name="T42" fmla="*/ 0 w 166"/>
              <a:gd name="T43" fmla="*/ 23 h 96"/>
              <a:gd name="T44" fmla="*/ 1 w 166"/>
              <a:gd name="T45" fmla="*/ 13 h 96"/>
              <a:gd name="T46" fmla="*/ 2 w 166"/>
              <a:gd name="T47" fmla="*/ 8 h 96"/>
              <a:gd name="T48" fmla="*/ 4 w 166"/>
              <a:gd name="T49" fmla="*/ 5 h 96"/>
              <a:gd name="T50" fmla="*/ 4 w 166"/>
              <a:gd name="T51" fmla="*/ 5 h 96"/>
              <a:gd name="T52" fmla="*/ 5 w 166"/>
              <a:gd name="T53" fmla="*/ 4 h 96"/>
              <a:gd name="T54" fmla="*/ 7 w 166"/>
              <a:gd name="T55" fmla="*/ 2 h 96"/>
              <a:gd name="T56" fmla="*/ 13 w 166"/>
              <a:gd name="T57" fmla="*/ 1 h 96"/>
              <a:gd name="T58" fmla="*/ 22 w 166"/>
              <a:gd name="T59" fmla="*/ 0 h 96"/>
              <a:gd name="T60" fmla="*/ 32 w 166"/>
              <a:gd name="T61" fmla="*/ 0 h 96"/>
              <a:gd name="T62" fmla="*/ 43 w 166"/>
              <a:gd name="T63" fmla="*/ 1 h 96"/>
              <a:gd name="T64" fmla="*/ 55 w 166"/>
              <a:gd name="T65" fmla="*/ 3 h 96"/>
              <a:gd name="T66" fmla="*/ 69 w 166"/>
              <a:gd name="T67" fmla="*/ 6 h 96"/>
              <a:gd name="T68" fmla="*/ 83 w 166"/>
              <a:gd name="T69" fmla="*/ 10 h 96"/>
              <a:gd name="T70" fmla="*/ 96 w 166"/>
              <a:gd name="T71" fmla="*/ 15 h 96"/>
              <a:gd name="T72" fmla="*/ 110 w 166"/>
              <a:gd name="T73" fmla="*/ 20 h 96"/>
              <a:gd name="T74" fmla="*/ 123 w 166"/>
              <a:gd name="T75" fmla="*/ 27 h 96"/>
              <a:gd name="T76" fmla="*/ 135 w 166"/>
              <a:gd name="T77" fmla="*/ 34 h 96"/>
              <a:gd name="T78" fmla="*/ 145 w 166"/>
              <a:gd name="T79" fmla="*/ 42 h 96"/>
              <a:gd name="T80" fmla="*/ 155 w 166"/>
              <a:gd name="T81" fmla="*/ 51 h 96"/>
              <a:gd name="T82" fmla="*/ 162 w 166"/>
              <a:gd name="T83" fmla="*/ 60 h 96"/>
              <a:gd name="T84" fmla="*/ 164 w 166"/>
              <a:gd name="T85" fmla="*/ 64 h 96"/>
              <a:gd name="T86" fmla="*/ 166 w 166"/>
              <a:gd name="T87" fmla="*/ 6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6" h="96">
                <a:moveTo>
                  <a:pt x="166" y="69"/>
                </a:moveTo>
                <a:lnTo>
                  <a:pt x="166" y="69"/>
                </a:lnTo>
                <a:lnTo>
                  <a:pt x="166" y="70"/>
                </a:lnTo>
                <a:lnTo>
                  <a:pt x="165" y="72"/>
                </a:lnTo>
                <a:lnTo>
                  <a:pt x="161" y="74"/>
                </a:lnTo>
                <a:lnTo>
                  <a:pt x="155" y="77"/>
                </a:lnTo>
                <a:lnTo>
                  <a:pt x="145" y="79"/>
                </a:lnTo>
                <a:lnTo>
                  <a:pt x="123" y="85"/>
                </a:lnTo>
                <a:lnTo>
                  <a:pt x="95" y="90"/>
                </a:lnTo>
                <a:lnTo>
                  <a:pt x="68" y="94"/>
                </a:lnTo>
                <a:lnTo>
                  <a:pt x="42" y="96"/>
                </a:lnTo>
                <a:lnTo>
                  <a:pt x="24" y="96"/>
                </a:lnTo>
                <a:lnTo>
                  <a:pt x="17" y="95"/>
                </a:lnTo>
                <a:lnTo>
                  <a:pt x="13" y="94"/>
                </a:lnTo>
                <a:lnTo>
                  <a:pt x="13" y="94"/>
                </a:lnTo>
                <a:lnTo>
                  <a:pt x="10" y="92"/>
                </a:lnTo>
                <a:lnTo>
                  <a:pt x="8" y="88"/>
                </a:lnTo>
                <a:lnTo>
                  <a:pt x="5" y="77"/>
                </a:lnTo>
                <a:lnTo>
                  <a:pt x="2" y="65"/>
                </a:lnTo>
                <a:lnTo>
                  <a:pt x="0" y="51"/>
                </a:lnTo>
                <a:lnTo>
                  <a:pt x="0" y="36"/>
                </a:lnTo>
                <a:lnTo>
                  <a:pt x="0" y="23"/>
                </a:lnTo>
                <a:lnTo>
                  <a:pt x="1" y="13"/>
                </a:lnTo>
                <a:lnTo>
                  <a:pt x="2" y="8"/>
                </a:lnTo>
                <a:lnTo>
                  <a:pt x="4" y="5"/>
                </a:lnTo>
                <a:lnTo>
                  <a:pt x="4" y="5"/>
                </a:lnTo>
                <a:lnTo>
                  <a:pt x="5" y="4"/>
                </a:lnTo>
                <a:lnTo>
                  <a:pt x="7" y="2"/>
                </a:lnTo>
                <a:lnTo>
                  <a:pt x="13" y="1"/>
                </a:lnTo>
                <a:lnTo>
                  <a:pt x="22" y="0"/>
                </a:lnTo>
                <a:lnTo>
                  <a:pt x="32" y="0"/>
                </a:lnTo>
                <a:lnTo>
                  <a:pt x="43" y="1"/>
                </a:lnTo>
                <a:lnTo>
                  <a:pt x="55" y="3"/>
                </a:lnTo>
                <a:lnTo>
                  <a:pt x="69" y="6"/>
                </a:lnTo>
                <a:lnTo>
                  <a:pt x="83" y="10"/>
                </a:lnTo>
                <a:lnTo>
                  <a:pt x="96" y="15"/>
                </a:lnTo>
                <a:lnTo>
                  <a:pt x="110" y="20"/>
                </a:lnTo>
                <a:lnTo>
                  <a:pt x="123" y="27"/>
                </a:lnTo>
                <a:lnTo>
                  <a:pt x="135" y="34"/>
                </a:lnTo>
                <a:lnTo>
                  <a:pt x="145" y="42"/>
                </a:lnTo>
                <a:lnTo>
                  <a:pt x="155" y="51"/>
                </a:lnTo>
                <a:lnTo>
                  <a:pt x="162" y="60"/>
                </a:lnTo>
                <a:lnTo>
                  <a:pt x="164" y="64"/>
                </a:lnTo>
                <a:lnTo>
                  <a:pt x="166" y="6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50" name="Freeform 47"/>
          <p:cNvSpPr>
            <a:spLocks/>
          </p:cNvSpPr>
          <p:nvPr userDrawn="1"/>
        </p:nvSpPr>
        <p:spPr bwMode="auto">
          <a:xfrm>
            <a:off x="7151687" y="1218904"/>
            <a:ext cx="657225" cy="776288"/>
          </a:xfrm>
          <a:custGeom>
            <a:avLst/>
            <a:gdLst>
              <a:gd name="T0" fmla="*/ 4703 w 4973"/>
              <a:gd name="T1" fmla="*/ 1877 h 5865"/>
              <a:gd name="T2" fmla="*/ 4733 w 4973"/>
              <a:gd name="T3" fmla="*/ 1183 h 5865"/>
              <a:gd name="T4" fmla="*/ 4302 w 4973"/>
              <a:gd name="T5" fmla="*/ 476 h 5865"/>
              <a:gd name="T6" fmla="*/ 3581 w 4973"/>
              <a:gd name="T7" fmla="*/ 813 h 5865"/>
              <a:gd name="T8" fmla="*/ 3899 w 4973"/>
              <a:gd name="T9" fmla="*/ 1529 h 5865"/>
              <a:gd name="T10" fmla="*/ 3757 w 4973"/>
              <a:gd name="T11" fmla="*/ 2227 h 5865"/>
              <a:gd name="T12" fmla="*/ 3939 w 4973"/>
              <a:gd name="T13" fmla="*/ 2068 h 5865"/>
              <a:gd name="T14" fmla="*/ 4069 w 4973"/>
              <a:gd name="T15" fmla="*/ 1928 h 5865"/>
              <a:gd name="T16" fmla="*/ 4545 w 4973"/>
              <a:gd name="T17" fmla="*/ 1985 h 5865"/>
              <a:gd name="T18" fmla="*/ 4487 w 4973"/>
              <a:gd name="T19" fmla="*/ 2697 h 5865"/>
              <a:gd name="T20" fmla="*/ 3601 w 4973"/>
              <a:gd name="T21" fmla="*/ 2477 h 5865"/>
              <a:gd name="T22" fmla="*/ 3285 w 4973"/>
              <a:gd name="T23" fmla="*/ 1581 h 5865"/>
              <a:gd name="T24" fmla="*/ 3364 w 4973"/>
              <a:gd name="T25" fmla="*/ 1421 h 5865"/>
              <a:gd name="T26" fmla="*/ 3101 w 4973"/>
              <a:gd name="T27" fmla="*/ 996 h 5865"/>
              <a:gd name="T28" fmla="*/ 3251 w 4973"/>
              <a:gd name="T29" fmla="*/ 599 h 5865"/>
              <a:gd name="T30" fmla="*/ 2863 w 4973"/>
              <a:gd name="T31" fmla="*/ 144 h 5865"/>
              <a:gd name="T32" fmla="*/ 1960 w 4973"/>
              <a:gd name="T33" fmla="*/ 304 h 5865"/>
              <a:gd name="T34" fmla="*/ 1819 w 4973"/>
              <a:gd name="T35" fmla="*/ 748 h 5865"/>
              <a:gd name="T36" fmla="*/ 2202 w 4973"/>
              <a:gd name="T37" fmla="*/ 626 h 5865"/>
              <a:gd name="T38" fmla="*/ 2215 w 4973"/>
              <a:gd name="T39" fmla="*/ 803 h 5865"/>
              <a:gd name="T40" fmla="*/ 1623 w 4973"/>
              <a:gd name="T41" fmla="*/ 851 h 5865"/>
              <a:gd name="T42" fmla="*/ 1602 w 4973"/>
              <a:gd name="T43" fmla="*/ 1055 h 5865"/>
              <a:gd name="T44" fmla="*/ 2246 w 4973"/>
              <a:gd name="T45" fmla="*/ 924 h 5865"/>
              <a:gd name="T46" fmla="*/ 2036 w 4973"/>
              <a:gd name="T47" fmla="*/ 981 h 5865"/>
              <a:gd name="T48" fmla="*/ 1754 w 4973"/>
              <a:gd name="T49" fmla="*/ 1278 h 5865"/>
              <a:gd name="T50" fmla="*/ 2105 w 4973"/>
              <a:gd name="T51" fmla="*/ 1619 h 5865"/>
              <a:gd name="T52" fmla="*/ 863 w 4973"/>
              <a:gd name="T53" fmla="*/ 2239 h 5865"/>
              <a:gd name="T54" fmla="*/ 310 w 4973"/>
              <a:gd name="T55" fmla="*/ 2027 h 5865"/>
              <a:gd name="T56" fmla="*/ 319 w 4973"/>
              <a:gd name="T57" fmla="*/ 2172 h 5865"/>
              <a:gd name="T58" fmla="*/ 380 w 4973"/>
              <a:gd name="T59" fmla="*/ 2295 h 5865"/>
              <a:gd name="T60" fmla="*/ 39 w 4973"/>
              <a:gd name="T61" fmla="*/ 2396 h 5865"/>
              <a:gd name="T62" fmla="*/ 189 w 4973"/>
              <a:gd name="T63" fmla="*/ 2511 h 5865"/>
              <a:gd name="T64" fmla="*/ 322 w 4973"/>
              <a:gd name="T65" fmla="*/ 2588 h 5865"/>
              <a:gd name="T66" fmla="*/ 272 w 4973"/>
              <a:gd name="T67" fmla="*/ 2893 h 5865"/>
              <a:gd name="T68" fmla="*/ 630 w 4973"/>
              <a:gd name="T69" fmla="*/ 2730 h 5865"/>
              <a:gd name="T70" fmla="*/ 811 w 4973"/>
              <a:gd name="T71" fmla="*/ 2843 h 5865"/>
              <a:gd name="T72" fmla="*/ 1024 w 4973"/>
              <a:gd name="T73" fmla="*/ 2773 h 5865"/>
              <a:gd name="T74" fmla="*/ 1290 w 4973"/>
              <a:gd name="T75" fmla="*/ 2556 h 5865"/>
              <a:gd name="T76" fmla="*/ 1713 w 4973"/>
              <a:gd name="T77" fmla="*/ 2519 h 5865"/>
              <a:gd name="T78" fmla="*/ 2306 w 4973"/>
              <a:gd name="T79" fmla="*/ 2641 h 5865"/>
              <a:gd name="T80" fmla="*/ 3357 w 4973"/>
              <a:gd name="T81" fmla="*/ 3092 h 5865"/>
              <a:gd name="T82" fmla="*/ 3742 w 4973"/>
              <a:gd name="T83" fmla="*/ 3928 h 5865"/>
              <a:gd name="T84" fmla="*/ 3685 w 4973"/>
              <a:gd name="T85" fmla="*/ 4224 h 5865"/>
              <a:gd name="T86" fmla="*/ 4224 w 4973"/>
              <a:gd name="T87" fmla="*/ 4337 h 5865"/>
              <a:gd name="T88" fmla="*/ 4264 w 4973"/>
              <a:gd name="T89" fmla="*/ 5017 h 5865"/>
              <a:gd name="T90" fmla="*/ 3761 w 4973"/>
              <a:gd name="T91" fmla="*/ 5058 h 5865"/>
              <a:gd name="T92" fmla="*/ 3894 w 4973"/>
              <a:gd name="T93" fmla="*/ 5210 h 5865"/>
              <a:gd name="T94" fmla="*/ 3894 w 4973"/>
              <a:gd name="T95" fmla="*/ 5294 h 5865"/>
              <a:gd name="T96" fmla="*/ 3751 w 4973"/>
              <a:gd name="T97" fmla="*/ 5644 h 5865"/>
              <a:gd name="T98" fmla="*/ 3926 w 4973"/>
              <a:gd name="T99" fmla="*/ 5586 h 5865"/>
              <a:gd name="T100" fmla="*/ 4212 w 4973"/>
              <a:gd name="T101" fmla="*/ 5447 h 5865"/>
              <a:gd name="T102" fmla="*/ 4257 w 4973"/>
              <a:gd name="T103" fmla="*/ 5812 h 5865"/>
              <a:gd name="T104" fmla="*/ 4352 w 4973"/>
              <a:gd name="T105" fmla="*/ 5675 h 5865"/>
              <a:gd name="T106" fmla="*/ 4557 w 4973"/>
              <a:gd name="T107" fmla="*/ 5328 h 5865"/>
              <a:gd name="T108" fmla="*/ 4736 w 4973"/>
              <a:gd name="T109" fmla="*/ 5505 h 5865"/>
              <a:gd name="T110" fmla="*/ 4753 w 4973"/>
              <a:gd name="T111" fmla="*/ 5108 h 5865"/>
              <a:gd name="T112" fmla="*/ 4693 w 4973"/>
              <a:gd name="T113" fmla="*/ 4810 h 5865"/>
              <a:gd name="T114" fmla="*/ 4677 w 4973"/>
              <a:gd name="T115" fmla="*/ 4437 h 5865"/>
              <a:gd name="T116" fmla="*/ 4640 w 4973"/>
              <a:gd name="T117" fmla="*/ 4108 h 5865"/>
              <a:gd name="T118" fmla="*/ 4297 w 4973"/>
              <a:gd name="T119" fmla="*/ 3793 h 5865"/>
              <a:gd name="T120" fmla="*/ 4267 w 4973"/>
              <a:gd name="T121" fmla="*/ 3366 h 5865"/>
              <a:gd name="T122" fmla="*/ 4428 w 4973"/>
              <a:gd name="T123" fmla="*/ 2994 h 5865"/>
              <a:gd name="T124" fmla="*/ 4923 w 4973"/>
              <a:gd name="T125" fmla="*/ 2543 h 5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973" h="5865">
                <a:moveTo>
                  <a:pt x="4842" y="2253"/>
                </a:moveTo>
                <a:lnTo>
                  <a:pt x="4842" y="2253"/>
                </a:lnTo>
                <a:lnTo>
                  <a:pt x="4862" y="2257"/>
                </a:lnTo>
                <a:lnTo>
                  <a:pt x="4881" y="2259"/>
                </a:lnTo>
                <a:lnTo>
                  <a:pt x="4900" y="2260"/>
                </a:lnTo>
                <a:lnTo>
                  <a:pt x="4916" y="2259"/>
                </a:lnTo>
                <a:lnTo>
                  <a:pt x="4932" y="2257"/>
                </a:lnTo>
                <a:lnTo>
                  <a:pt x="4946" y="2254"/>
                </a:lnTo>
                <a:lnTo>
                  <a:pt x="4958" y="2249"/>
                </a:lnTo>
                <a:lnTo>
                  <a:pt x="4969" y="2243"/>
                </a:lnTo>
                <a:lnTo>
                  <a:pt x="4969" y="2243"/>
                </a:lnTo>
                <a:lnTo>
                  <a:pt x="4967" y="2217"/>
                </a:lnTo>
                <a:lnTo>
                  <a:pt x="4960" y="2157"/>
                </a:lnTo>
                <a:lnTo>
                  <a:pt x="4951" y="2084"/>
                </a:lnTo>
                <a:lnTo>
                  <a:pt x="4946" y="2052"/>
                </a:lnTo>
                <a:lnTo>
                  <a:pt x="4940" y="2024"/>
                </a:lnTo>
                <a:lnTo>
                  <a:pt x="4940" y="2024"/>
                </a:lnTo>
                <a:lnTo>
                  <a:pt x="4922" y="2027"/>
                </a:lnTo>
                <a:lnTo>
                  <a:pt x="4902" y="2030"/>
                </a:lnTo>
                <a:lnTo>
                  <a:pt x="4891" y="2030"/>
                </a:lnTo>
                <a:lnTo>
                  <a:pt x="4879" y="2030"/>
                </a:lnTo>
                <a:lnTo>
                  <a:pt x="4867" y="2029"/>
                </a:lnTo>
                <a:lnTo>
                  <a:pt x="4855" y="2027"/>
                </a:lnTo>
                <a:lnTo>
                  <a:pt x="4843" y="2024"/>
                </a:lnTo>
                <a:lnTo>
                  <a:pt x="4830" y="2020"/>
                </a:lnTo>
                <a:lnTo>
                  <a:pt x="4818" y="2015"/>
                </a:lnTo>
                <a:lnTo>
                  <a:pt x="4806" y="2008"/>
                </a:lnTo>
                <a:lnTo>
                  <a:pt x="4794" y="1998"/>
                </a:lnTo>
                <a:lnTo>
                  <a:pt x="4782" y="1988"/>
                </a:lnTo>
                <a:lnTo>
                  <a:pt x="4771" y="1976"/>
                </a:lnTo>
                <a:lnTo>
                  <a:pt x="4761" y="1962"/>
                </a:lnTo>
                <a:lnTo>
                  <a:pt x="4761" y="1962"/>
                </a:lnTo>
                <a:lnTo>
                  <a:pt x="4743" y="1933"/>
                </a:lnTo>
                <a:lnTo>
                  <a:pt x="4724" y="1905"/>
                </a:lnTo>
                <a:lnTo>
                  <a:pt x="4724" y="1905"/>
                </a:lnTo>
                <a:lnTo>
                  <a:pt x="4703" y="1877"/>
                </a:lnTo>
                <a:lnTo>
                  <a:pt x="4680" y="1849"/>
                </a:lnTo>
                <a:lnTo>
                  <a:pt x="4658" y="1823"/>
                </a:lnTo>
                <a:lnTo>
                  <a:pt x="4634" y="1797"/>
                </a:lnTo>
                <a:lnTo>
                  <a:pt x="4611" y="1773"/>
                </a:lnTo>
                <a:lnTo>
                  <a:pt x="4586" y="1750"/>
                </a:lnTo>
                <a:lnTo>
                  <a:pt x="4562" y="1727"/>
                </a:lnTo>
                <a:lnTo>
                  <a:pt x="4538" y="1707"/>
                </a:lnTo>
                <a:lnTo>
                  <a:pt x="4513" y="1687"/>
                </a:lnTo>
                <a:lnTo>
                  <a:pt x="4489" y="1667"/>
                </a:lnTo>
                <a:lnTo>
                  <a:pt x="4463" y="1649"/>
                </a:lnTo>
                <a:lnTo>
                  <a:pt x="4439" y="1630"/>
                </a:lnTo>
                <a:lnTo>
                  <a:pt x="4413" y="1614"/>
                </a:lnTo>
                <a:lnTo>
                  <a:pt x="4389" y="1598"/>
                </a:lnTo>
                <a:lnTo>
                  <a:pt x="4337" y="1566"/>
                </a:lnTo>
                <a:lnTo>
                  <a:pt x="4337" y="1566"/>
                </a:lnTo>
                <a:lnTo>
                  <a:pt x="4381" y="1543"/>
                </a:lnTo>
                <a:lnTo>
                  <a:pt x="4422" y="1521"/>
                </a:lnTo>
                <a:lnTo>
                  <a:pt x="4459" y="1498"/>
                </a:lnTo>
                <a:lnTo>
                  <a:pt x="4492" y="1477"/>
                </a:lnTo>
                <a:lnTo>
                  <a:pt x="4523" y="1455"/>
                </a:lnTo>
                <a:lnTo>
                  <a:pt x="4549" y="1434"/>
                </a:lnTo>
                <a:lnTo>
                  <a:pt x="4574" y="1414"/>
                </a:lnTo>
                <a:lnTo>
                  <a:pt x="4595" y="1393"/>
                </a:lnTo>
                <a:lnTo>
                  <a:pt x="4615" y="1374"/>
                </a:lnTo>
                <a:lnTo>
                  <a:pt x="4632" y="1355"/>
                </a:lnTo>
                <a:lnTo>
                  <a:pt x="4647" y="1337"/>
                </a:lnTo>
                <a:lnTo>
                  <a:pt x="4661" y="1319"/>
                </a:lnTo>
                <a:lnTo>
                  <a:pt x="4673" y="1303"/>
                </a:lnTo>
                <a:lnTo>
                  <a:pt x="4683" y="1288"/>
                </a:lnTo>
                <a:lnTo>
                  <a:pt x="4700" y="1260"/>
                </a:lnTo>
                <a:lnTo>
                  <a:pt x="4700" y="1260"/>
                </a:lnTo>
                <a:lnTo>
                  <a:pt x="4708" y="1248"/>
                </a:lnTo>
                <a:lnTo>
                  <a:pt x="4714" y="1234"/>
                </a:lnTo>
                <a:lnTo>
                  <a:pt x="4721" y="1218"/>
                </a:lnTo>
                <a:lnTo>
                  <a:pt x="4727" y="1202"/>
                </a:lnTo>
                <a:lnTo>
                  <a:pt x="4733" y="1183"/>
                </a:lnTo>
                <a:lnTo>
                  <a:pt x="4739" y="1164"/>
                </a:lnTo>
                <a:lnTo>
                  <a:pt x="4743" y="1144"/>
                </a:lnTo>
                <a:lnTo>
                  <a:pt x="4749" y="1123"/>
                </a:lnTo>
                <a:lnTo>
                  <a:pt x="4753" y="1101"/>
                </a:lnTo>
                <a:lnTo>
                  <a:pt x="4756" y="1078"/>
                </a:lnTo>
                <a:lnTo>
                  <a:pt x="4758" y="1054"/>
                </a:lnTo>
                <a:lnTo>
                  <a:pt x="4759" y="1030"/>
                </a:lnTo>
                <a:lnTo>
                  <a:pt x="4760" y="1005"/>
                </a:lnTo>
                <a:lnTo>
                  <a:pt x="4759" y="980"/>
                </a:lnTo>
                <a:lnTo>
                  <a:pt x="4758" y="954"/>
                </a:lnTo>
                <a:lnTo>
                  <a:pt x="4755" y="928"/>
                </a:lnTo>
                <a:lnTo>
                  <a:pt x="4751" y="902"/>
                </a:lnTo>
                <a:lnTo>
                  <a:pt x="4745" y="876"/>
                </a:lnTo>
                <a:lnTo>
                  <a:pt x="4738" y="849"/>
                </a:lnTo>
                <a:lnTo>
                  <a:pt x="4730" y="824"/>
                </a:lnTo>
                <a:lnTo>
                  <a:pt x="4720" y="797"/>
                </a:lnTo>
                <a:lnTo>
                  <a:pt x="4709" y="771"/>
                </a:lnTo>
                <a:lnTo>
                  <a:pt x="4695" y="746"/>
                </a:lnTo>
                <a:lnTo>
                  <a:pt x="4681" y="721"/>
                </a:lnTo>
                <a:lnTo>
                  <a:pt x="4665" y="697"/>
                </a:lnTo>
                <a:lnTo>
                  <a:pt x="4646" y="672"/>
                </a:lnTo>
                <a:lnTo>
                  <a:pt x="4625" y="649"/>
                </a:lnTo>
                <a:lnTo>
                  <a:pt x="4602" y="626"/>
                </a:lnTo>
                <a:lnTo>
                  <a:pt x="4578" y="605"/>
                </a:lnTo>
                <a:lnTo>
                  <a:pt x="4551" y="584"/>
                </a:lnTo>
                <a:lnTo>
                  <a:pt x="4522" y="565"/>
                </a:lnTo>
                <a:lnTo>
                  <a:pt x="4490" y="545"/>
                </a:lnTo>
                <a:lnTo>
                  <a:pt x="4490" y="545"/>
                </a:lnTo>
                <a:lnTo>
                  <a:pt x="4466" y="533"/>
                </a:lnTo>
                <a:lnTo>
                  <a:pt x="4443" y="522"/>
                </a:lnTo>
                <a:lnTo>
                  <a:pt x="4419" y="512"/>
                </a:lnTo>
                <a:lnTo>
                  <a:pt x="4396" y="503"/>
                </a:lnTo>
                <a:lnTo>
                  <a:pt x="4372" y="494"/>
                </a:lnTo>
                <a:lnTo>
                  <a:pt x="4348" y="487"/>
                </a:lnTo>
                <a:lnTo>
                  <a:pt x="4325" y="481"/>
                </a:lnTo>
                <a:lnTo>
                  <a:pt x="4302" y="476"/>
                </a:lnTo>
                <a:lnTo>
                  <a:pt x="4278" y="471"/>
                </a:lnTo>
                <a:lnTo>
                  <a:pt x="4256" y="468"/>
                </a:lnTo>
                <a:lnTo>
                  <a:pt x="4233" y="465"/>
                </a:lnTo>
                <a:lnTo>
                  <a:pt x="4211" y="463"/>
                </a:lnTo>
                <a:lnTo>
                  <a:pt x="4188" y="461"/>
                </a:lnTo>
                <a:lnTo>
                  <a:pt x="4167" y="461"/>
                </a:lnTo>
                <a:lnTo>
                  <a:pt x="4145" y="461"/>
                </a:lnTo>
                <a:lnTo>
                  <a:pt x="4124" y="461"/>
                </a:lnTo>
                <a:lnTo>
                  <a:pt x="4083" y="464"/>
                </a:lnTo>
                <a:lnTo>
                  <a:pt x="4044" y="468"/>
                </a:lnTo>
                <a:lnTo>
                  <a:pt x="4007" y="474"/>
                </a:lnTo>
                <a:lnTo>
                  <a:pt x="3973" y="482"/>
                </a:lnTo>
                <a:lnTo>
                  <a:pt x="3941" y="490"/>
                </a:lnTo>
                <a:lnTo>
                  <a:pt x="3912" y="499"/>
                </a:lnTo>
                <a:lnTo>
                  <a:pt x="3887" y="510"/>
                </a:lnTo>
                <a:lnTo>
                  <a:pt x="3864" y="519"/>
                </a:lnTo>
                <a:lnTo>
                  <a:pt x="3864" y="519"/>
                </a:lnTo>
                <a:lnTo>
                  <a:pt x="3844" y="529"/>
                </a:lnTo>
                <a:lnTo>
                  <a:pt x="3824" y="539"/>
                </a:lnTo>
                <a:lnTo>
                  <a:pt x="3806" y="551"/>
                </a:lnTo>
                <a:lnTo>
                  <a:pt x="3787" y="562"/>
                </a:lnTo>
                <a:lnTo>
                  <a:pt x="3769" y="575"/>
                </a:lnTo>
                <a:lnTo>
                  <a:pt x="3752" y="587"/>
                </a:lnTo>
                <a:lnTo>
                  <a:pt x="3735" y="602"/>
                </a:lnTo>
                <a:lnTo>
                  <a:pt x="3719" y="616"/>
                </a:lnTo>
                <a:lnTo>
                  <a:pt x="3703" y="631"/>
                </a:lnTo>
                <a:lnTo>
                  <a:pt x="3687" y="647"/>
                </a:lnTo>
                <a:lnTo>
                  <a:pt x="3673" y="663"/>
                </a:lnTo>
                <a:lnTo>
                  <a:pt x="3659" y="679"/>
                </a:lnTo>
                <a:lnTo>
                  <a:pt x="3645" y="697"/>
                </a:lnTo>
                <a:lnTo>
                  <a:pt x="3633" y="715"/>
                </a:lnTo>
                <a:lnTo>
                  <a:pt x="3621" y="734"/>
                </a:lnTo>
                <a:lnTo>
                  <a:pt x="3609" y="753"/>
                </a:lnTo>
                <a:lnTo>
                  <a:pt x="3599" y="772"/>
                </a:lnTo>
                <a:lnTo>
                  <a:pt x="3589" y="793"/>
                </a:lnTo>
                <a:lnTo>
                  <a:pt x="3581" y="813"/>
                </a:lnTo>
                <a:lnTo>
                  <a:pt x="3573" y="835"/>
                </a:lnTo>
                <a:lnTo>
                  <a:pt x="3565" y="856"/>
                </a:lnTo>
                <a:lnTo>
                  <a:pt x="3559" y="879"/>
                </a:lnTo>
                <a:lnTo>
                  <a:pt x="3554" y="901"/>
                </a:lnTo>
                <a:lnTo>
                  <a:pt x="3550" y="924"/>
                </a:lnTo>
                <a:lnTo>
                  <a:pt x="3547" y="947"/>
                </a:lnTo>
                <a:lnTo>
                  <a:pt x="3545" y="972"/>
                </a:lnTo>
                <a:lnTo>
                  <a:pt x="3544" y="996"/>
                </a:lnTo>
                <a:lnTo>
                  <a:pt x="3543" y="1021"/>
                </a:lnTo>
                <a:lnTo>
                  <a:pt x="3544" y="1046"/>
                </a:lnTo>
                <a:lnTo>
                  <a:pt x="3546" y="1072"/>
                </a:lnTo>
                <a:lnTo>
                  <a:pt x="3550" y="1098"/>
                </a:lnTo>
                <a:lnTo>
                  <a:pt x="3554" y="1124"/>
                </a:lnTo>
                <a:lnTo>
                  <a:pt x="3554" y="1124"/>
                </a:lnTo>
                <a:lnTo>
                  <a:pt x="3559" y="1148"/>
                </a:lnTo>
                <a:lnTo>
                  <a:pt x="3564" y="1169"/>
                </a:lnTo>
                <a:lnTo>
                  <a:pt x="3571" y="1191"/>
                </a:lnTo>
                <a:lnTo>
                  <a:pt x="3577" y="1211"/>
                </a:lnTo>
                <a:lnTo>
                  <a:pt x="3585" y="1231"/>
                </a:lnTo>
                <a:lnTo>
                  <a:pt x="3592" y="1249"/>
                </a:lnTo>
                <a:lnTo>
                  <a:pt x="3601" y="1267"/>
                </a:lnTo>
                <a:lnTo>
                  <a:pt x="3610" y="1285"/>
                </a:lnTo>
                <a:lnTo>
                  <a:pt x="3620" y="1301"/>
                </a:lnTo>
                <a:lnTo>
                  <a:pt x="3631" y="1316"/>
                </a:lnTo>
                <a:lnTo>
                  <a:pt x="3641" y="1332"/>
                </a:lnTo>
                <a:lnTo>
                  <a:pt x="3652" y="1347"/>
                </a:lnTo>
                <a:lnTo>
                  <a:pt x="3665" y="1361"/>
                </a:lnTo>
                <a:lnTo>
                  <a:pt x="3677" y="1375"/>
                </a:lnTo>
                <a:lnTo>
                  <a:pt x="3690" y="1388"/>
                </a:lnTo>
                <a:lnTo>
                  <a:pt x="3704" y="1400"/>
                </a:lnTo>
                <a:lnTo>
                  <a:pt x="3732" y="1425"/>
                </a:lnTo>
                <a:lnTo>
                  <a:pt x="3763" y="1447"/>
                </a:lnTo>
                <a:lnTo>
                  <a:pt x="3795" y="1469"/>
                </a:lnTo>
                <a:lnTo>
                  <a:pt x="3828" y="1489"/>
                </a:lnTo>
                <a:lnTo>
                  <a:pt x="3863" y="1510"/>
                </a:lnTo>
                <a:lnTo>
                  <a:pt x="3899" y="1529"/>
                </a:lnTo>
                <a:lnTo>
                  <a:pt x="3976" y="1567"/>
                </a:lnTo>
                <a:lnTo>
                  <a:pt x="3976" y="1567"/>
                </a:lnTo>
                <a:lnTo>
                  <a:pt x="3945" y="1584"/>
                </a:lnTo>
                <a:lnTo>
                  <a:pt x="3916" y="1601"/>
                </a:lnTo>
                <a:lnTo>
                  <a:pt x="3890" y="1618"/>
                </a:lnTo>
                <a:lnTo>
                  <a:pt x="3864" y="1636"/>
                </a:lnTo>
                <a:lnTo>
                  <a:pt x="3840" y="1656"/>
                </a:lnTo>
                <a:lnTo>
                  <a:pt x="3817" y="1675"/>
                </a:lnTo>
                <a:lnTo>
                  <a:pt x="3797" y="1696"/>
                </a:lnTo>
                <a:lnTo>
                  <a:pt x="3778" y="1717"/>
                </a:lnTo>
                <a:lnTo>
                  <a:pt x="3761" y="1741"/>
                </a:lnTo>
                <a:lnTo>
                  <a:pt x="3754" y="1753"/>
                </a:lnTo>
                <a:lnTo>
                  <a:pt x="3746" y="1765"/>
                </a:lnTo>
                <a:lnTo>
                  <a:pt x="3739" y="1778"/>
                </a:lnTo>
                <a:lnTo>
                  <a:pt x="3733" y="1791"/>
                </a:lnTo>
                <a:lnTo>
                  <a:pt x="3728" y="1804"/>
                </a:lnTo>
                <a:lnTo>
                  <a:pt x="3723" y="1818"/>
                </a:lnTo>
                <a:lnTo>
                  <a:pt x="3718" y="1833"/>
                </a:lnTo>
                <a:lnTo>
                  <a:pt x="3714" y="1848"/>
                </a:lnTo>
                <a:lnTo>
                  <a:pt x="3711" y="1863"/>
                </a:lnTo>
                <a:lnTo>
                  <a:pt x="3708" y="1879"/>
                </a:lnTo>
                <a:lnTo>
                  <a:pt x="3706" y="1895"/>
                </a:lnTo>
                <a:lnTo>
                  <a:pt x="3705" y="1912"/>
                </a:lnTo>
                <a:lnTo>
                  <a:pt x="3704" y="1930"/>
                </a:lnTo>
                <a:lnTo>
                  <a:pt x="3703" y="1947"/>
                </a:lnTo>
                <a:lnTo>
                  <a:pt x="3703" y="1947"/>
                </a:lnTo>
                <a:lnTo>
                  <a:pt x="3704" y="1970"/>
                </a:lnTo>
                <a:lnTo>
                  <a:pt x="3707" y="1993"/>
                </a:lnTo>
                <a:lnTo>
                  <a:pt x="3711" y="2016"/>
                </a:lnTo>
                <a:lnTo>
                  <a:pt x="3716" y="2039"/>
                </a:lnTo>
                <a:lnTo>
                  <a:pt x="3729" y="2087"/>
                </a:lnTo>
                <a:lnTo>
                  <a:pt x="3736" y="2113"/>
                </a:lnTo>
                <a:lnTo>
                  <a:pt x="3742" y="2139"/>
                </a:lnTo>
                <a:lnTo>
                  <a:pt x="3749" y="2168"/>
                </a:lnTo>
                <a:lnTo>
                  <a:pt x="3753" y="2197"/>
                </a:lnTo>
                <a:lnTo>
                  <a:pt x="3757" y="2227"/>
                </a:lnTo>
                <a:lnTo>
                  <a:pt x="3758" y="2260"/>
                </a:lnTo>
                <a:lnTo>
                  <a:pt x="3758" y="2295"/>
                </a:lnTo>
                <a:lnTo>
                  <a:pt x="3757" y="2313"/>
                </a:lnTo>
                <a:lnTo>
                  <a:pt x="3755" y="2332"/>
                </a:lnTo>
                <a:lnTo>
                  <a:pt x="3753" y="2350"/>
                </a:lnTo>
                <a:lnTo>
                  <a:pt x="3750" y="2371"/>
                </a:lnTo>
                <a:lnTo>
                  <a:pt x="3745" y="2391"/>
                </a:lnTo>
                <a:lnTo>
                  <a:pt x="3741" y="2411"/>
                </a:lnTo>
                <a:lnTo>
                  <a:pt x="3741" y="2411"/>
                </a:lnTo>
                <a:lnTo>
                  <a:pt x="3741" y="2413"/>
                </a:lnTo>
                <a:lnTo>
                  <a:pt x="3741" y="2414"/>
                </a:lnTo>
                <a:lnTo>
                  <a:pt x="3743" y="2414"/>
                </a:lnTo>
                <a:lnTo>
                  <a:pt x="3745" y="2416"/>
                </a:lnTo>
                <a:lnTo>
                  <a:pt x="3753" y="2413"/>
                </a:lnTo>
                <a:lnTo>
                  <a:pt x="3762" y="2411"/>
                </a:lnTo>
                <a:lnTo>
                  <a:pt x="3785" y="2401"/>
                </a:lnTo>
                <a:lnTo>
                  <a:pt x="3814" y="2389"/>
                </a:lnTo>
                <a:lnTo>
                  <a:pt x="3842" y="2374"/>
                </a:lnTo>
                <a:lnTo>
                  <a:pt x="3867" y="2360"/>
                </a:lnTo>
                <a:lnTo>
                  <a:pt x="3886" y="2349"/>
                </a:lnTo>
                <a:lnTo>
                  <a:pt x="3891" y="2345"/>
                </a:lnTo>
                <a:lnTo>
                  <a:pt x="3894" y="2343"/>
                </a:lnTo>
                <a:lnTo>
                  <a:pt x="3894" y="2343"/>
                </a:lnTo>
                <a:lnTo>
                  <a:pt x="3903" y="2319"/>
                </a:lnTo>
                <a:lnTo>
                  <a:pt x="3910" y="2296"/>
                </a:lnTo>
                <a:lnTo>
                  <a:pt x="3916" y="2272"/>
                </a:lnTo>
                <a:lnTo>
                  <a:pt x="3921" y="2248"/>
                </a:lnTo>
                <a:lnTo>
                  <a:pt x="3925" y="2224"/>
                </a:lnTo>
                <a:lnTo>
                  <a:pt x="3928" y="2201"/>
                </a:lnTo>
                <a:lnTo>
                  <a:pt x="3930" y="2178"/>
                </a:lnTo>
                <a:lnTo>
                  <a:pt x="3932" y="2156"/>
                </a:lnTo>
                <a:lnTo>
                  <a:pt x="3932" y="2117"/>
                </a:lnTo>
                <a:lnTo>
                  <a:pt x="3931" y="2086"/>
                </a:lnTo>
                <a:lnTo>
                  <a:pt x="3928" y="2059"/>
                </a:lnTo>
                <a:lnTo>
                  <a:pt x="3928" y="2059"/>
                </a:lnTo>
                <a:lnTo>
                  <a:pt x="3939" y="2068"/>
                </a:lnTo>
                <a:lnTo>
                  <a:pt x="3947" y="2079"/>
                </a:lnTo>
                <a:lnTo>
                  <a:pt x="3954" y="2091"/>
                </a:lnTo>
                <a:lnTo>
                  <a:pt x="3960" y="2105"/>
                </a:lnTo>
                <a:lnTo>
                  <a:pt x="3964" y="2120"/>
                </a:lnTo>
                <a:lnTo>
                  <a:pt x="3968" y="2135"/>
                </a:lnTo>
                <a:lnTo>
                  <a:pt x="3971" y="2152"/>
                </a:lnTo>
                <a:lnTo>
                  <a:pt x="3973" y="2168"/>
                </a:lnTo>
                <a:lnTo>
                  <a:pt x="3975" y="2185"/>
                </a:lnTo>
                <a:lnTo>
                  <a:pt x="3976" y="2203"/>
                </a:lnTo>
                <a:lnTo>
                  <a:pt x="3976" y="2219"/>
                </a:lnTo>
                <a:lnTo>
                  <a:pt x="3975" y="2237"/>
                </a:lnTo>
                <a:lnTo>
                  <a:pt x="3971" y="2268"/>
                </a:lnTo>
                <a:lnTo>
                  <a:pt x="3965" y="2297"/>
                </a:lnTo>
                <a:lnTo>
                  <a:pt x="3965" y="2297"/>
                </a:lnTo>
                <a:lnTo>
                  <a:pt x="3982" y="2288"/>
                </a:lnTo>
                <a:lnTo>
                  <a:pt x="3998" y="2276"/>
                </a:lnTo>
                <a:lnTo>
                  <a:pt x="4016" y="2263"/>
                </a:lnTo>
                <a:lnTo>
                  <a:pt x="4036" y="2249"/>
                </a:lnTo>
                <a:lnTo>
                  <a:pt x="4053" y="2234"/>
                </a:lnTo>
                <a:lnTo>
                  <a:pt x="4061" y="2226"/>
                </a:lnTo>
                <a:lnTo>
                  <a:pt x="4068" y="2219"/>
                </a:lnTo>
                <a:lnTo>
                  <a:pt x="4072" y="2212"/>
                </a:lnTo>
                <a:lnTo>
                  <a:pt x="4075" y="2206"/>
                </a:lnTo>
                <a:lnTo>
                  <a:pt x="4075" y="2206"/>
                </a:lnTo>
                <a:lnTo>
                  <a:pt x="4083" y="2176"/>
                </a:lnTo>
                <a:lnTo>
                  <a:pt x="4090" y="2148"/>
                </a:lnTo>
                <a:lnTo>
                  <a:pt x="4094" y="2121"/>
                </a:lnTo>
                <a:lnTo>
                  <a:pt x="4096" y="2095"/>
                </a:lnTo>
                <a:lnTo>
                  <a:pt x="4096" y="2071"/>
                </a:lnTo>
                <a:lnTo>
                  <a:pt x="4095" y="2047"/>
                </a:lnTo>
                <a:lnTo>
                  <a:pt x="4093" y="2025"/>
                </a:lnTo>
                <a:lnTo>
                  <a:pt x="4090" y="2003"/>
                </a:lnTo>
                <a:lnTo>
                  <a:pt x="4085" y="1983"/>
                </a:lnTo>
                <a:lnTo>
                  <a:pt x="4080" y="1964"/>
                </a:lnTo>
                <a:lnTo>
                  <a:pt x="4075" y="1945"/>
                </a:lnTo>
                <a:lnTo>
                  <a:pt x="4069" y="1928"/>
                </a:lnTo>
                <a:lnTo>
                  <a:pt x="4055" y="1894"/>
                </a:lnTo>
                <a:lnTo>
                  <a:pt x="4043" y="1862"/>
                </a:lnTo>
                <a:lnTo>
                  <a:pt x="4043" y="1862"/>
                </a:lnTo>
                <a:lnTo>
                  <a:pt x="4038" y="1847"/>
                </a:lnTo>
                <a:lnTo>
                  <a:pt x="4035" y="1832"/>
                </a:lnTo>
                <a:lnTo>
                  <a:pt x="4034" y="1817"/>
                </a:lnTo>
                <a:lnTo>
                  <a:pt x="4035" y="1802"/>
                </a:lnTo>
                <a:lnTo>
                  <a:pt x="4037" y="1788"/>
                </a:lnTo>
                <a:lnTo>
                  <a:pt x="4041" y="1773"/>
                </a:lnTo>
                <a:lnTo>
                  <a:pt x="4046" y="1759"/>
                </a:lnTo>
                <a:lnTo>
                  <a:pt x="4053" y="1746"/>
                </a:lnTo>
                <a:lnTo>
                  <a:pt x="4061" y="1733"/>
                </a:lnTo>
                <a:lnTo>
                  <a:pt x="4071" y="1719"/>
                </a:lnTo>
                <a:lnTo>
                  <a:pt x="4081" y="1707"/>
                </a:lnTo>
                <a:lnTo>
                  <a:pt x="4092" y="1696"/>
                </a:lnTo>
                <a:lnTo>
                  <a:pt x="4103" y="1684"/>
                </a:lnTo>
                <a:lnTo>
                  <a:pt x="4117" y="1673"/>
                </a:lnTo>
                <a:lnTo>
                  <a:pt x="4130" y="1664"/>
                </a:lnTo>
                <a:lnTo>
                  <a:pt x="4145" y="1655"/>
                </a:lnTo>
                <a:lnTo>
                  <a:pt x="4145" y="1655"/>
                </a:lnTo>
                <a:lnTo>
                  <a:pt x="4180" y="1674"/>
                </a:lnTo>
                <a:lnTo>
                  <a:pt x="4215" y="1695"/>
                </a:lnTo>
                <a:lnTo>
                  <a:pt x="4251" y="1716"/>
                </a:lnTo>
                <a:lnTo>
                  <a:pt x="4286" y="1740"/>
                </a:lnTo>
                <a:lnTo>
                  <a:pt x="4286" y="1740"/>
                </a:lnTo>
                <a:lnTo>
                  <a:pt x="4307" y="1754"/>
                </a:lnTo>
                <a:lnTo>
                  <a:pt x="4341" y="1779"/>
                </a:lnTo>
                <a:lnTo>
                  <a:pt x="4361" y="1794"/>
                </a:lnTo>
                <a:lnTo>
                  <a:pt x="4382" y="1812"/>
                </a:lnTo>
                <a:lnTo>
                  <a:pt x="4405" y="1832"/>
                </a:lnTo>
                <a:lnTo>
                  <a:pt x="4430" y="1853"/>
                </a:lnTo>
                <a:lnTo>
                  <a:pt x="4453" y="1877"/>
                </a:lnTo>
                <a:lnTo>
                  <a:pt x="4478" y="1901"/>
                </a:lnTo>
                <a:lnTo>
                  <a:pt x="4501" y="1928"/>
                </a:lnTo>
                <a:lnTo>
                  <a:pt x="4524" y="1956"/>
                </a:lnTo>
                <a:lnTo>
                  <a:pt x="4545" y="1985"/>
                </a:lnTo>
                <a:lnTo>
                  <a:pt x="4564" y="2016"/>
                </a:lnTo>
                <a:lnTo>
                  <a:pt x="4574" y="2031"/>
                </a:lnTo>
                <a:lnTo>
                  <a:pt x="4582" y="2047"/>
                </a:lnTo>
                <a:lnTo>
                  <a:pt x="4590" y="2064"/>
                </a:lnTo>
                <a:lnTo>
                  <a:pt x="4596" y="2080"/>
                </a:lnTo>
                <a:lnTo>
                  <a:pt x="4596" y="2080"/>
                </a:lnTo>
                <a:lnTo>
                  <a:pt x="4606" y="2106"/>
                </a:lnTo>
                <a:lnTo>
                  <a:pt x="4616" y="2130"/>
                </a:lnTo>
                <a:lnTo>
                  <a:pt x="4624" y="2155"/>
                </a:lnTo>
                <a:lnTo>
                  <a:pt x="4630" y="2178"/>
                </a:lnTo>
                <a:lnTo>
                  <a:pt x="4636" y="2202"/>
                </a:lnTo>
                <a:lnTo>
                  <a:pt x="4641" y="2224"/>
                </a:lnTo>
                <a:lnTo>
                  <a:pt x="4645" y="2246"/>
                </a:lnTo>
                <a:lnTo>
                  <a:pt x="4649" y="2266"/>
                </a:lnTo>
                <a:lnTo>
                  <a:pt x="4651" y="2287"/>
                </a:lnTo>
                <a:lnTo>
                  <a:pt x="4653" y="2306"/>
                </a:lnTo>
                <a:lnTo>
                  <a:pt x="4654" y="2325"/>
                </a:lnTo>
                <a:lnTo>
                  <a:pt x="4655" y="2343"/>
                </a:lnTo>
                <a:lnTo>
                  <a:pt x="4654" y="2377"/>
                </a:lnTo>
                <a:lnTo>
                  <a:pt x="4652" y="2408"/>
                </a:lnTo>
                <a:lnTo>
                  <a:pt x="4648" y="2437"/>
                </a:lnTo>
                <a:lnTo>
                  <a:pt x="4642" y="2464"/>
                </a:lnTo>
                <a:lnTo>
                  <a:pt x="4635" y="2487"/>
                </a:lnTo>
                <a:lnTo>
                  <a:pt x="4628" y="2509"/>
                </a:lnTo>
                <a:lnTo>
                  <a:pt x="4620" y="2527"/>
                </a:lnTo>
                <a:lnTo>
                  <a:pt x="4612" y="2544"/>
                </a:lnTo>
                <a:lnTo>
                  <a:pt x="4603" y="2559"/>
                </a:lnTo>
                <a:lnTo>
                  <a:pt x="4596" y="2570"/>
                </a:lnTo>
                <a:lnTo>
                  <a:pt x="4596" y="2570"/>
                </a:lnTo>
                <a:lnTo>
                  <a:pt x="4582" y="2590"/>
                </a:lnTo>
                <a:lnTo>
                  <a:pt x="4568" y="2611"/>
                </a:lnTo>
                <a:lnTo>
                  <a:pt x="4553" y="2629"/>
                </a:lnTo>
                <a:lnTo>
                  <a:pt x="4538" y="2648"/>
                </a:lnTo>
                <a:lnTo>
                  <a:pt x="4522" y="2665"/>
                </a:lnTo>
                <a:lnTo>
                  <a:pt x="4505" y="2681"/>
                </a:lnTo>
                <a:lnTo>
                  <a:pt x="4487" y="2697"/>
                </a:lnTo>
                <a:lnTo>
                  <a:pt x="4469" y="2711"/>
                </a:lnTo>
                <a:lnTo>
                  <a:pt x="4450" y="2724"/>
                </a:lnTo>
                <a:lnTo>
                  <a:pt x="4430" y="2736"/>
                </a:lnTo>
                <a:lnTo>
                  <a:pt x="4409" y="2747"/>
                </a:lnTo>
                <a:lnTo>
                  <a:pt x="4388" y="2756"/>
                </a:lnTo>
                <a:lnTo>
                  <a:pt x="4364" y="2764"/>
                </a:lnTo>
                <a:lnTo>
                  <a:pt x="4341" y="2771"/>
                </a:lnTo>
                <a:lnTo>
                  <a:pt x="4316" y="2776"/>
                </a:lnTo>
                <a:lnTo>
                  <a:pt x="4290" y="2779"/>
                </a:lnTo>
                <a:lnTo>
                  <a:pt x="4290" y="2779"/>
                </a:lnTo>
                <a:lnTo>
                  <a:pt x="4283" y="2778"/>
                </a:lnTo>
                <a:lnTo>
                  <a:pt x="4275" y="2778"/>
                </a:lnTo>
                <a:lnTo>
                  <a:pt x="4275" y="2778"/>
                </a:lnTo>
                <a:lnTo>
                  <a:pt x="4242" y="2779"/>
                </a:lnTo>
                <a:lnTo>
                  <a:pt x="4213" y="2779"/>
                </a:lnTo>
                <a:lnTo>
                  <a:pt x="4185" y="2778"/>
                </a:lnTo>
                <a:lnTo>
                  <a:pt x="4159" y="2775"/>
                </a:lnTo>
                <a:lnTo>
                  <a:pt x="4159" y="2775"/>
                </a:lnTo>
                <a:lnTo>
                  <a:pt x="4131" y="2770"/>
                </a:lnTo>
                <a:lnTo>
                  <a:pt x="4103" y="2765"/>
                </a:lnTo>
                <a:lnTo>
                  <a:pt x="4077" y="2758"/>
                </a:lnTo>
                <a:lnTo>
                  <a:pt x="4052" y="2751"/>
                </a:lnTo>
                <a:lnTo>
                  <a:pt x="4052" y="2751"/>
                </a:lnTo>
                <a:lnTo>
                  <a:pt x="4009" y="2736"/>
                </a:lnTo>
                <a:lnTo>
                  <a:pt x="3965" y="2717"/>
                </a:lnTo>
                <a:lnTo>
                  <a:pt x="3965" y="2717"/>
                </a:lnTo>
                <a:lnTo>
                  <a:pt x="3925" y="2697"/>
                </a:lnTo>
                <a:lnTo>
                  <a:pt x="3874" y="2669"/>
                </a:lnTo>
                <a:lnTo>
                  <a:pt x="3846" y="2652"/>
                </a:lnTo>
                <a:lnTo>
                  <a:pt x="3815" y="2632"/>
                </a:lnTo>
                <a:lnTo>
                  <a:pt x="3782" y="2612"/>
                </a:lnTo>
                <a:lnTo>
                  <a:pt x="3748" y="2588"/>
                </a:lnTo>
                <a:lnTo>
                  <a:pt x="3712" y="2564"/>
                </a:lnTo>
                <a:lnTo>
                  <a:pt x="3676" y="2536"/>
                </a:lnTo>
                <a:lnTo>
                  <a:pt x="3638" y="2508"/>
                </a:lnTo>
                <a:lnTo>
                  <a:pt x="3601" y="2477"/>
                </a:lnTo>
                <a:lnTo>
                  <a:pt x="3563" y="2444"/>
                </a:lnTo>
                <a:lnTo>
                  <a:pt x="3526" y="2409"/>
                </a:lnTo>
                <a:lnTo>
                  <a:pt x="3488" y="2373"/>
                </a:lnTo>
                <a:lnTo>
                  <a:pt x="3451" y="2335"/>
                </a:lnTo>
                <a:lnTo>
                  <a:pt x="3451" y="2335"/>
                </a:lnTo>
                <a:lnTo>
                  <a:pt x="3394" y="2271"/>
                </a:lnTo>
                <a:lnTo>
                  <a:pt x="3342" y="2212"/>
                </a:lnTo>
                <a:lnTo>
                  <a:pt x="3295" y="2157"/>
                </a:lnTo>
                <a:lnTo>
                  <a:pt x="3253" y="2107"/>
                </a:lnTo>
                <a:lnTo>
                  <a:pt x="3215" y="2060"/>
                </a:lnTo>
                <a:lnTo>
                  <a:pt x="3180" y="2017"/>
                </a:lnTo>
                <a:lnTo>
                  <a:pt x="3120" y="1940"/>
                </a:lnTo>
                <a:lnTo>
                  <a:pt x="3120" y="1940"/>
                </a:lnTo>
                <a:lnTo>
                  <a:pt x="3138" y="1947"/>
                </a:lnTo>
                <a:lnTo>
                  <a:pt x="3156" y="1953"/>
                </a:lnTo>
                <a:lnTo>
                  <a:pt x="3175" y="1958"/>
                </a:lnTo>
                <a:lnTo>
                  <a:pt x="3193" y="1963"/>
                </a:lnTo>
                <a:lnTo>
                  <a:pt x="3211" y="1966"/>
                </a:lnTo>
                <a:lnTo>
                  <a:pt x="3229" y="1968"/>
                </a:lnTo>
                <a:lnTo>
                  <a:pt x="3262" y="1971"/>
                </a:lnTo>
                <a:lnTo>
                  <a:pt x="3289" y="1971"/>
                </a:lnTo>
                <a:lnTo>
                  <a:pt x="3312" y="1970"/>
                </a:lnTo>
                <a:lnTo>
                  <a:pt x="3332" y="1968"/>
                </a:lnTo>
                <a:lnTo>
                  <a:pt x="3332" y="1968"/>
                </a:lnTo>
                <a:lnTo>
                  <a:pt x="3336" y="1918"/>
                </a:lnTo>
                <a:lnTo>
                  <a:pt x="3338" y="1873"/>
                </a:lnTo>
                <a:lnTo>
                  <a:pt x="3340" y="1833"/>
                </a:lnTo>
                <a:lnTo>
                  <a:pt x="3346" y="1698"/>
                </a:lnTo>
                <a:lnTo>
                  <a:pt x="3346" y="1698"/>
                </a:lnTo>
                <a:lnTo>
                  <a:pt x="3349" y="1661"/>
                </a:lnTo>
                <a:lnTo>
                  <a:pt x="3351" y="1626"/>
                </a:lnTo>
                <a:lnTo>
                  <a:pt x="3352" y="1589"/>
                </a:lnTo>
                <a:lnTo>
                  <a:pt x="3352" y="1589"/>
                </a:lnTo>
                <a:lnTo>
                  <a:pt x="3340" y="1588"/>
                </a:lnTo>
                <a:lnTo>
                  <a:pt x="3307" y="1584"/>
                </a:lnTo>
                <a:lnTo>
                  <a:pt x="3285" y="1581"/>
                </a:lnTo>
                <a:lnTo>
                  <a:pt x="3260" y="1576"/>
                </a:lnTo>
                <a:lnTo>
                  <a:pt x="3233" y="1571"/>
                </a:lnTo>
                <a:lnTo>
                  <a:pt x="3206" y="1564"/>
                </a:lnTo>
                <a:lnTo>
                  <a:pt x="3176" y="1555"/>
                </a:lnTo>
                <a:lnTo>
                  <a:pt x="3147" y="1544"/>
                </a:lnTo>
                <a:lnTo>
                  <a:pt x="3120" y="1532"/>
                </a:lnTo>
                <a:lnTo>
                  <a:pt x="3106" y="1526"/>
                </a:lnTo>
                <a:lnTo>
                  <a:pt x="3093" y="1519"/>
                </a:lnTo>
                <a:lnTo>
                  <a:pt x="3081" y="1511"/>
                </a:lnTo>
                <a:lnTo>
                  <a:pt x="3070" y="1502"/>
                </a:lnTo>
                <a:lnTo>
                  <a:pt x="3058" y="1493"/>
                </a:lnTo>
                <a:lnTo>
                  <a:pt x="3049" y="1484"/>
                </a:lnTo>
                <a:lnTo>
                  <a:pt x="3040" y="1474"/>
                </a:lnTo>
                <a:lnTo>
                  <a:pt x="3032" y="1463"/>
                </a:lnTo>
                <a:lnTo>
                  <a:pt x="3025" y="1451"/>
                </a:lnTo>
                <a:lnTo>
                  <a:pt x="3019" y="1439"/>
                </a:lnTo>
                <a:lnTo>
                  <a:pt x="3019" y="1439"/>
                </a:lnTo>
                <a:lnTo>
                  <a:pt x="3030" y="1445"/>
                </a:lnTo>
                <a:lnTo>
                  <a:pt x="3042" y="1450"/>
                </a:lnTo>
                <a:lnTo>
                  <a:pt x="3059" y="1457"/>
                </a:lnTo>
                <a:lnTo>
                  <a:pt x="3081" y="1465"/>
                </a:lnTo>
                <a:lnTo>
                  <a:pt x="3106" y="1472"/>
                </a:lnTo>
                <a:lnTo>
                  <a:pt x="3136" y="1477"/>
                </a:lnTo>
                <a:lnTo>
                  <a:pt x="3152" y="1479"/>
                </a:lnTo>
                <a:lnTo>
                  <a:pt x="3169" y="1480"/>
                </a:lnTo>
                <a:lnTo>
                  <a:pt x="3169" y="1480"/>
                </a:lnTo>
                <a:lnTo>
                  <a:pt x="3201" y="1481"/>
                </a:lnTo>
                <a:lnTo>
                  <a:pt x="3234" y="1481"/>
                </a:lnTo>
                <a:lnTo>
                  <a:pt x="3266" y="1479"/>
                </a:lnTo>
                <a:lnTo>
                  <a:pt x="3295" y="1477"/>
                </a:lnTo>
                <a:lnTo>
                  <a:pt x="3340" y="1471"/>
                </a:lnTo>
                <a:lnTo>
                  <a:pt x="3357" y="1469"/>
                </a:lnTo>
                <a:lnTo>
                  <a:pt x="3357" y="1469"/>
                </a:lnTo>
                <a:lnTo>
                  <a:pt x="3359" y="1463"/>
                </a:lnTo>
                <a:lnTo>
                  <a:pt x="3361" y="1451"/>
                </a:lnTo>
                <a:lnTo>
                  <a:pt x="3364" y="1421"/>
                </a:lnTo>
                <a:lnTo>
                  <a:pt x="3367" y="1381"/>
                </a:lnTo>
                <a:lnTo>
                  <a:pt x="3369" y="1337"/>
                </a:lnTo>
                <a:lnTo>
                  <a:pt x="3373" y="1257"/>
                </a:lnTo>
                <a:lnTo>
                  <a:pt x="3375" y="1222"/>
                </a:lnTo>
                <a:lnTo>
                  <a:pt x="3375" y="1222"/>
                </a:lnTo>
                <a:lnTo>
                  <a:pt x="3376" y="1194"/>
                </a:lnTo>
                <a:lnTo>
                  <a:pt x="3377" y="1154"/>
                </a:lnTo>
                <a:lnTo>
                  <a:pt x="3377" y="1105"/>
                </a:lnTo>
                <a:lnTo>
                  <a:pt x="3377" y="1105"/>
                </a:lnTo>
                <a:lnTo>
                  <a:pt x="3369" y="1107"/>
                </a:lnTo>
                <a:lnTo>
                  <a:pt x="3359" y="1108"/>
                </a:lnTo>
                <a:lnTo>
                  <a:pt x="3338" y="1110"/>
                </a:lnTo>
                <a:lnTo>
                  <a:pt x="3315" y="1109"/>
                </a:lnTo>
                <a:lnTo>
                  <a:pt x="3290" y="1107"/>
                </a:lnTo>
                <a:lnTo>
                  <a:pt x="3264" y="1104"/>
                </a:lnTo>
                <a:lnTo>
                  <a:pt x="3236" y="1100"/>
                </a:lnTo>
                <a:lnTo>
                  <a:pt x="3208" y="1094"/>
                </a:lnTo>
                <a:lnTo>
                  <a:pt x="3178" y="1086"/>
                </a:lnTo>
                <a:lnTo>
                  <a:pt x="3178" y="1086"/>
                </a:lnTo>
                <a:lnTo>
                  <a:pt x="3158" y="1080"/>
                </a:lnTo>
                <a:lnTo>
                  <a:pt x="3135" y="1071"/>
                </a:lnTo>
                <a:lnTo>
                  <a:pt x="3112" y="1059"/>
                </a:lnTo>
                <a:lnTo>
                  <a:pt x="3088" y="1044"/>
                </a:lnTo>
                <a:lnTo>
                  <a:pt x="3064" y="1028"/>
                </a:lnTo>
                <a:lnTo>
                  <a:pt x="3053" y="1019"/>
                </a:lnTo>
                <a:lnTo>
                  <a:pt x="3043" y="1010"/>
                </a:lnTo>
                <a:lnTo>
                  <a:pt x="3034" y="999"/>
                </a:lnTo>
                <a:lnTo>
                  <a:pt x="3025" y="990"/>
                </a:lnTo>
                <a:lnTo>
                  <a:pt x="3017" y="980"/>
                </a:lnTo>
                <a:lnTo>
                  <a:pt x="3010" y="969"/>
                </a:lnTo>
                <a:lnTo>
                  <a:pt x="3010" y="969"/>
                </a:lnTo>
                <a:lnTo>
                  <a:pt x="3022" y="974"/>
                </a:lnTo>
                <a:lnTo>
                  <a:pt x="3035" y="978"/>
                </a:lnTo>
                <a:lnTo>
                  <a:pt x="3052" y="984"/>
                </a:lnTo>
                <a:lnTo>
                  <a:pt x="3075" y="990"/>
                </a:lnTo>
                <a:lnTo>
                  <a:pt x="3101" y="996"/>
                </a:lnTo>
                <a:lnTo>
                  <a:pt x="3132" y="1003"/>
                </a:lnTo>
                <a:lnTo>
                  <a:pt x="3167" y="1008"/>
                </a:lnTo>
                <a:lnTo>
                  <a:pt x="3167" y="1008"/>
                </a:lnTo>
                <a:lnTo>
                  <a:pt x="3187" y="1010"/>
                </a:lnTo>
                <a:lnTo>
                  <a:pt x="3207" y="1011"/>
                </a:lnTo>
                <a:lnTo>
                  <a:pt x="3226" y="1012"/>
                </a:lnTo>
                <a:lnTo>
                  <a:pt x="3245" y="1012"/>
                </a:lnTo>
                <a:lnTo>
                  <a:pt x="3283" y="1010"/>
                </a:lnTo>
                <a:lnTo>
                  <a:pt x="3317" y="1007"/>
                </a:lnTo>
                <a:lnTo>
                  <a:pt x="3346" y="1001"/>
                </a:lnTo>
                <a:lnTo>
                  <a:pt x="3369" y="996"/>
                </a:lnTo>
                <a:lnTo>
                  <a:pt x="3377" y="993"/>
                </a:lnTo>
                <a:lnTo>
                  <a:pt x="3383" y="991"/>
                </a:lnTo>
                <a:lnTo>
                  <a:pt x="3388" y="988"/>
                </a:lnTo>
                <a:lnTo>
                  <a:pt x="3390" y="985"/>
                </a:lnTo>
                <a:lnTo>
                  <a:pt x="3390" y="985"/>
                </a:lnTo>
                <a:lnTo>
                  <a:pt x="3392" y="959"/>
                </a:lnTo>
                <a:lnTo>
                  <a:pt x="3393" y="925"/>
                </a:lnTo>
                <a:lnTo>
                  <a:pt x="3394" y="848"/>
                </a:lnTo>
                <a:lnTo>
                  <a:pt x="3394" y="750"/>
                </a:lnTo>
                <a:lnTo>
                  <a:pt x="3394" y="750"/>
                </a:lnTo>
                <a:lnTo>
                  <a:pt x="3399" y="686"/>
                </a:lnTo>
                <a:lnTo>
                  <a:pt x="3400" y="642"/>
                </a:lnTo>
                <a:lnTo>
                  <a:pt x="3400" y="627"/>
                </a:lnTo>
                <a:lnTo>
                  <a:pt x="3399" y="623"/>
                </a:lnTo>
                <a:lnTo>
                  <a:pt x="3398" y="622"/>
                </a:lnTo>
                <a:lnTo>
                  <a:pt x="3398" y="622"/>
                </a:lnTo>
                <a:lnTo>
                  <a:pt x="3392" y="622"/>
                </a:lnTo>
                <a:lnTo>
                  <a:pt x="3381" y="623"/>
                </a:lnTo>
                <a:lnTo>
                  <a:pt x="3368" y="623"/>
                </a:lnTo>
                <a:lnTo>
                  <a:pt x="3354" y="622"/>
                </a:lnTo>
                <a:lnTo>
                  <a:pt x="3336" y="620"/>
                </a:lnTo>
                <a:lnTo>
                  <a:pt x="3317" y="617"/>
                </a:lnTo>
                <a:lnTo>
                  <a:pt x="3297" y="612"/>
                </a:lnTo>
                <a:lnTo>
                  <a:pt x="3274" y="607"/>
                </a:lnTo>
                <a:lnTo>
                  <a:pt x="3251" y="599"/>
                </a:lnTo>
                <a:lnTo>
                  <a:pt x="3226" y="589"/>
                </a:lnTo>
                <a:lnTo>
                  <a:pt x="3200" y="578"/>
                </a:lnTo>
                <a:lnTo>
                  <a:pt x="3175" y="564"/>
                </a:lnTo>
                <a:lnTo>
                  <a:pt x="3149" y="548"/>
                </a:lnTo>
                <a:lnTo>
                  <a:pt x="3123" y="529"/>
                </a:lnTo>
                <a:lnTo>
                  <a:pt x="3110" y="519"/>
                </a:lnTo>
                <a:lnTo>
                  <a:pt x="3097" y="508"/>
                </a:lnTo>
                <a:lnTo>
                  <a:pt x="3085" y="495"/>
                </a:lnTo>
                <a:lnTo>
                  <a:pt x="3073" y="483"/>
                </a:lnTo>
                <a:lnTo>
                  <a:pt x="3073" y="483"/>
                </a:lnTo>
                <a:lnTo>
                  <a:pt x="3071" y="481"/>
                </a:lnTo>
                <a:lnTo>
                  <a:pt x="3065" y="476"/>
                </a:lnTo>
                <a:lnTo>
                  <a:pt x="3059" y="467"/>
                </a:lnTo>
                <a:lnTo>
                  <a:pt x="3056" y="461"/>
                </a:lnTo>
                <a:lnTo>
                  <a:pt x="3053" y="454"/>
                </a:lnTo>
                <a:lnTo>
                  <a:pt x="3051" y="447"/>
                </a:lnTo>
                <a:lnTo>
                  <a:pt x="3050" y="439"/>
                </a:lnTo>
                <a:lnTo>
                  <a:pt x="3049" y="430"/>
                </a:lnTo>
                <a:lnTo>
                  <a:pt x="3050" y="420"/>
                </a:lnTo>
                <a:lnTo>
                  <a:pt x="3053" y="410"/>
                </a:lnTo>
                <a:lnTo>
                  <a:pt x="3056" y="398"/>
                </a:lnTo>
                <a:lnTo>
                  <a:pt x="3062" y="386"/>
                </a:lnTo>
                <a:lnTo>
                  <a:pt x="3071" y="373"/>
                </a:lnTo>
                <a:lnTo>
                  <a:pt x="3071" y="373"/>
                </a:lnTo>
                <a:lnTo>
                  <a:pt x="2806" y="254"/>
                </a:lnTo>
                <a:lnTo>
                  <a:pt x="2806" y="254"/>
                </a:lnTo>
                <a:lnTo>
                  <a:pt x="2815" y="245"/>
                </a:lnTo>
                <a:lnTo>
                  <a:pt x="2824" y="234"/>
                </a:lnTo>
                <a:lnTo>
                  <a:pt x="2834" y="219"/>
                </a:lnTo>
                <a:lnTo>
                  <a:pt x="2845" y="203"/>
                </a:lnTo>
                <a:lnTo>
                  <a:pt x="2850" y="194"/>
                </a:lnTo>
                <a:lnTo>
                  <a:pt x="2854" y="185"/>
                </a:lnTo>
                <a:lnTo>
                  <a:pt x="2858" y="174"/>
                </a:lnTo>
                <a:lnTo>
                  <a:pt x="2861" y="164"/>
                </a:lnTo>
                <a:lnTo>
                  <a:pt x="2863" y="154"/>
                </a:lnTo>
                <a:lnTo>
                  <a:pt x="2863" y="144"/>
                </a:lnTo>
                <a:lnTo>
                  <a:pt x="2863" y="144"/>
                </a:lnTo>
                <a:lnTo>
                  <a:pt x="2863" y="132"/>
                </a:lnTo>
                <a:lnTo>
                  <a:pt x="2860" y="122"/>
                </a:lnTo>
                <a:lnTo>
                  <a:pt x="2855" y="112"/>
                </a:lnTo>
                <a:lnTo>
                  <a:pt x="2849" y="103"/>
                </a:lnTo>
                <a:lnTo>
                  <a:pt x="2841" y="94"/>
                </a:lnTo>
                <a:lnTo>
                  <a:pt x="2830" y="86"/>
                </a:lnTo>
                <a:lnTo>
                  <a:pt x="2820" y="79"/>
                </a:lnTo>
                <a:lnTo>
                  <a:pt x="2808" y="73"/>
                </a:lnTo>
                <a:lnTo>
                  <a:pt x="2795" y="68"/>
                </a:lnTo>
                <a:lnTo>
                  <a:pt x="2781" y="64"/>
                </a:lnTo>
                <a:lnTo>
                  <a:pt x="2767" y="60"/>
                </a:lnTo>
                <a:lnTo>
                  <a:pt x="2753" y="58"/>
                </a:lnTo>
                <a:lnTo>
                  <a:pt x="2738" y="56"/>
                </a:lnTo>
                <a:lnTo>
                  <a:pt x="2723" y="56"/>
                </a:lnTo>
                <a:lnTo>
                  <a:pt x="2709" y="57"/>
                </a:lnTo>
                <a:lnTo>
                  <a:pt x="2694" y="59"/>
                </a:lnTo>
                <a:lnTo>
                  <a:pt x="2694" y="59"/>
                </a:lnTo>
                <a:lnTo>
                  <a:pt x="2681" y="62"/>
                </a:lnTo>
                <a:lnTo>
                  <a:pt x="2669" y="66"/>
                </a:lnTo>
                <a:lnTo>
                  <a:pt x="2656" y="71"/>
                </a:lnTo>
                <a:lnTo>
                  <a:pt x="2644" y="77"/>
                </a:lnTo>
                <a:lnTo>
                  <a:pt x="2634" y="84"/>
                </a:lnTo>
                <a:lnTo>
                  <a:pt x="2623" y="92"/>
                </a:lnTo>
                <a:lnTo>
                  <a:pt x="2604" y="107"/>
                </a:lnTo>
                <a:lnTo>
                  <a:pt x="2589" y="122"/>
                </a:lnTo>
                <a:lnTo>
                  <a:pt x="2578" y="134"/>
                </a:lnTo>
                <a:lnTo>
                  <a:pt x="2569" y="147"/>
                </a:lnTo>
                <a:lnTo>
                  <a:pt x="2238" y="0"/>
                </a:lnTo>
                <a:lnTo>
                  <a:pt x="1977" y="263"/>
                </a:lnTo>
                <a:lnTo>
                  <a:pt x="1977" y="263"/>
                </a:lnTo>
                <a:lnTo>
                  <a:pt x="1972" y="268"/>
                </a:lnTo>
                <a:lnTo>
                  <a:pt x="1966" y="280"/>
                </a:lnTo>
                <a:lnTo>
                  <a:pt x="1963" y="287"/>
                </a:lnTo>
                <a:lnTo>
                  <a:pt x="1961" y="295"/>
                </a:lnTo>
                <a:lnTo>
                  <a:pt x="1960" y="304"/>
                </a:lnTo>
                <a:lnTo>
                  <a:pt x="1960" y="313"/>
                </a:lnTo>
                <a:lnTo>
                  <a:pt x="1964" y="337"/>
                </a:lnTo>
                <a:lnTo>
                  <a:pt x="1964" y="337"/>
                </a:lnTo>
                <a:lnTo>
                  <a:pt x="1964" y="343"/>
                </a:lnTo>
                <a:lnTo>
                  <a:pt x="1963" y="349"/>
                </a:lnTo>
                <a:lnTo>
                  <a:pt x="1962" y="354"/>
                </a:lnTo>
                <a:lnTo>
                  <a:pt x="1961" y="358"/>
                </a:lnTo>
                <a:lnTo>
                  <a:pt x="1957" y="366"/>
                </a:lnTo>
                <a:lnTo>
                  <a:pt x="1955" y="370"/>
                </a:lnTo>
                <a:lnTo>
                  <a:pt x="1955" y="370"/>
                </a:lnTo>
                <a:lnTo>
                  <a:pt x="1936" y="392"/>
                </a:lnTo>
                <a:lnTo>
                  <a:pt x="1916" y="416"/>
                </a:lnTo>
                <a:lnTo>
                  <a:pt x="1896" y="438"/>
                </a:lnTo>
                <a:lnTo>
                  <a:pt x="1876" y="461"/>
                </a:lnTo>
                <a:lnTo>
                  <a:pt x="1876" y="461"/>
                </a:lnTo>
                <a:lnTo>
                  <a:pt x="1847" y="499"/>
                </a:lnTo>
                <a:lnTo>
                  <a:pt x="1836" y="515"/>
                </a:lnTo>
                <a:lnTo>
                  <a:pt x="1828" y="527"/>
                </a:lnTo>
                <a:lnTo>
                  <a:pt x="1828" y="527"/>
                </a:lnTo>
                <a:lnTo>
                  <a:pt x="1819" y="542"/>
                </a:lnTo>
                <a:lnTo>
                  <a:pt x="1811" y="558"/>
                </a:lnTo>
                <a:lnTo>
                  <a:pt x="1799" y="583"/>
                </a:lnTo>
                <a:lnTo>
                  <a:pt x="1789" y="607"/>
                </a:lnTo>
                <a:lnTo>
                  <a:pt x="1781" y="628"/>
                </a:lnTo>
                <a:lnTo>
                  <a:pt x="1781" y="628"/>
                </a:lnTo>
                <a:lnTo>
                  <a:pt x="1780" y="631"/>
                </a:lnTo>
                <a:lnTo>
                  <a:pt x="1778" y="642"/>
                </a:lnTo>
                <a:lnTo>
                  <a:pt x="1778" y="649"/>
                </a:lnTo>
                <a:lnTo>
                  <a:pt x="1777" y="657"/>
                </a:lnTo>
                <a:lnTo>
                  <a:pt x="1778" y="666"/>
                </a:lnTo>
                <a:lnTo>
                  <a:pt x="1780" y="677"/>
                </a:lnTo>
                <a:lnTo>
                  <a:pt x="1784" y="690"/>
                </a:lnTo>
                <a:lnTo>
                  <a:pt x="1789" y="703"/>
                </a:lnTo>
                <a:lnTo>
                  <a:pt x="1797" y="716"/>
                </a:lnTo>
                <a:lnTo>
                  <a:pt x="1807" y="732"/>
                </a:lnTo>
                <a:lnTo>
                  <a:pt x="1819" y="748"/>
                </a:lnTo>
                <a:lnTo>
                  <a:pt x="1833" y="764"/>
                </a:lnTo>
                <a:lnTo>
                  <a:pt x="1852" y="782"/>
                </a:lnTo>
                <a:lnTo>
                  <a:pt x="1874" y="800"/>
                </a:lnTo>
                <a:lnTo>
                  <a:pt x="1881" y="806"/>
                </a:lnTo>
                <a:lnTo>
                  <a:pt x="1881" y="806"/>
                </a:lnTo>
                <a:lnTo>
                  <a:pt x="1894" y="789"/>
                </a:lnTo>
                <a:lnTo>
                  <a:pt x="1905" y="800"/>
                </a:lnTo>
                <a:lnTo>
                  <a:pt x="1905" y="800"/>
                </a:lnTo>
                <a:lnTo>
                  <a:pt x="1914" y="809"/>
                </a:lnTo>
                <a:lnTo>
                  <a:pt x="1926" y="820"/>
                </a:lnTo>
                <a:lnTo>
                  <a:pt x="1941" y="832"/>
                </a:lnTo>
                <a:lnTo>
                  <a:pt x="1957" y="842"/>
                </a:lnTo>
                <a:lnTo>
                  <a:pt x="1957" y="842"/>
                </a:lnTo>
                <a:lnTo>
                  <a:pt x="1959" y="835"/>
                </a:lnTo>
                <a:lnTo>
                  <a:pt x="1964" y="815"/>
                </a:lnTo>
                <a:lnTo>
                  <a:pt x="1969" y="802"/>
                </a:lnTo>
                <a:lnTo>
                  <a:pt x="1975" y="789"/>
                </a:lnTo>
                <a:lnTo>
                  <a:pt x="1983" y="775"/>
                </a:lnTo>
                <a:lnTo>
                  <a:pt x="1991" y="760"/>
                </a:lnTo>
                <a:lnTo>
                  <a:pt x="1991" y="760"/>
                </a:lnTo>
                <a:lnTo>
                  <a:pt x="2000" y="748"/>
                </a:lnTo>
                <a:lnTo>
                  <a:pt x="2011" y="736"/>
                </a:lnTo>
                <a:lnTo>
                  <a:pt x="2025" y="722"/>
                </a:lnTo>
                <a:lnTo>
                  <a:pt x="2038" y="709"/>
                </a:lnTo>
                <a:lnTo>
                  <a:pt x="2052" y="697"/>
                </a:lnTo>
                <a:lnTo>
                  <a:pt x="2065" y="686"/>
                </a:lnTo>
                <a:lnTo>
                  <a:pt x="2080" y="675"/>
                </a:lnTo>
                <a:lnTo>
                  <a:pt x="2092" y="667"/>
                </a:lnTo>
                <a:lnTo>
                  <a:pt x="2092" y="667"/>
                </a:lnTo>
                <a:lnTo>
                  <a:pt x="2107" y="658"/>
                </a:lnTo>
                <a:lnTo>
                  <a:pt x="2123" y="650"/>
                </a:lnTo>
                <a:lnTo>
                  <a:pt x="2138" y="643"/>
                </a:lnTo>
                <a:lnTo>
                  <a:pt x="2154" y="636"/>
                </a:lnTo>
                <a:lnTo>
                  <a:pt x="2170" y="632"/>
                </a:lnTo>
                <a:lnTo>
                  <a:pt x="2186" y="629"/>
                </a:lnTo>
                <a:lnTo>
                  <a:pt x="2202" y="626"/>
                </a:lnTo>
                <a:lnTo>
                  <a:pt x="2220" y="625"/>
                </a:lnTo>
                <a:lnTo>
                  <a:pt x="2220" y="625"/>
                </a:lnTo>
                <a:lnTo>
                  <a:pt x="2234" y="626"/>
                </a:lnTo>
                <a:lnTo>
                  <a:pt x="2247" y="627"/>
                </a:lnTo>
                <a:lnTo>
                  <a:pt x="2261" y="630"/>
                </a:lnTo>
                <a:lnTo>
                  <a:pt x="2272" y="635"/>
                </a:lnTo>
                <a:lnTo>
                  <a:pt x="2283" y="642"/>
                </a:lnTo>
                <a:lnTo>
                  <a:pt x="2295" y="649"/>
                </a:lnTo>
                <a:lnTo>
                  <a:pt x="2305" y="658"/>
                </a:lnTo>
                <a:lnTo>
                  <a:pt x="2316" y="668"/>
                </a:lnTo>
                <a:lnTo>
                  <a:pt x="2316" y="668"/>
                </a:lnTo>
                <a:lnTo>
                  <a:pt x="2323" y="676"/>
                </a:lnTo>
                <a:lnTo>
                  <a:pt x="2330" y="687"/>
                </a:lnTo>
                <a:lnTo>
                  <a:pt x="2336" y="698"/>
                </a:lnTo>
                <a:lnTo>
                  <a:pt x="2342" y="710"/>
                </a:lnTo>
                <a:lnTo>
                  <a:pt x="2347" y="722"/>
                </a:lnTo>
                <a:lnTo>
                  <a:pt x="2351" y="736"/>
                </a:lnTo>
                <a:lnTo>
                  <a:pt x="2355" y="750"/>
                </a:lnTo>
                <a:lnTo>
                  <a:pt x="2358" y="764"/>
                </a:lnTo>
                <a:lnTo>
                  <a:pt x="2360" y="778"/>
                </a:lnTo>
                <a:lnTo>
                  <a:pt x="2362" y="792"/>
                </a:lnTo>
                <a:lnTo>
                  <a:pt x="2363" y="805"/>
                </a:lnTo>
                <a:lnTo>
                  <a:pt x="2364" y="818"/>
                </a:lnTo>
                <a:lnTo>
                  <a:pt x="2364" y="831"/>
                </a:lnTo>
                <a:lnTo>
                  <a:pt x="2363" y="842"/>
                </a:lnTo>
                <a:lnTo>
                  <a:pt x="2361" y="852"/>
                </a:lnTo>
                <a:lnTo>
                  <a:pt x="2359" y="861"/>
                </a:lnTo>
                <a:lnTo>
                  <a:pt x="2359" y="861"/>
                </a:lnTo>
                <a:lnTo>
                  <a:pt x="2330" y="843"/>
                </a:lnTo>
                <a:lnTo>
                  <a:pt x="2330" y="843"/>
                </a:lnTo>
                <a:lnTo>
                  <a:pt x="2309" y="832"/>
                </a:lnTo>
                <a:lnTo>
                  <a:pt x="2281" y="822"/>
                </a:lnTo>
                <a:lnTo>
                  <a:pt x="2266" y="815"/>
                </a:lnTo>
                <a:lnTo>
                  <a:pt x="2251" y="811"/>
                </a:lnTo>
                <a:lnTo>
                  <a:pt x="2233" y="807"/>
                </a:lnTo>
                <a:lnTo>
                  <a:pt x="2215" y="803"/>
                </a:lnTo>
                <a:lnTo>
                  <a:pt x="2195" y="801"/>
                </a:lnTo>
                <a:lnTo>
                  <a:pt x="2175" y="800"/>
                </a:lnTo>
                <a:lnTo>
                  <a:pt x="2154" y="800"/>
                </a:lnTo>
                <a:lnTo>
                  <a:pt x="2132" y="802"/>
                </a:lnTo>
                <a:lnTo>
                  <a:pt x="2109" y="805"/>
                </a:lnTo>
                <a:lnTo>
                  <a:pt x="2086" y="810"/>
                </a:lnTo>
                <a:lnTo>
                  <a:pt x="2062" y="818"/>
                </a:lnTo>
                <a:lnTo>
                  <a:pt x="2037" y="829"/>
                </a:lnTo>
                <a:lnTo>
                  <a:pt x="2037" y="829"/>
                </a:lnTo>
                <a:lnTo>
                  <a:pt x="1995" y="847"/>
                </a:lnTo>
                <a:lnTo>
                  <a:pt x="1967" y="859"/>
                </a:lnTo>
                <a:lnTo>
                  <a:pt x="1936" y="872"/>
                </a:lnTo>
                <a:lnTo>
                  <a:pt x="1900" y="886"/>
                </a:lnTo>
                <a:lnTo>
                  <a:pt x="1860" y="900"/>
                </a:lnTo>
                <a:lnTo>
                  <a:pt x="1814" y="916"/>
                </a:lnTo>
                <a:lnTo>
                  <a:pt x="1764" y="931"/>
                </a:lnTo>
                <a:lnTo>
                  <a:pt x="1764" y="931"/>
                </a:lnTo>
                <a:lnTo>
                  <a:pt x="1737" y="938"/>
                </a:lnTo>
                <a:lnTo>
                  <a:pt x="1725" y="940"/>
                </a:lnTo>
                <a:lnTo>
                  <a:pt x="1713" y="941"/>
                </a:lnTo>
                <a:lnTo>
                  <a:pt x="1701" y="941"/>
                </a:lnTo>
                <a:lnTo>
                  <a:pt x="1691" y="941"/>
                </a:lnTo>
                <a:lnTo>
                  <a:pt x="1681" y="940"/>
                </a:lnTo>
                <a:lnTo>
                  <a:pt x="1672" y="938"/>
                </a:lnTo>
                <a:lnTo>
                  <a:pt x="1664" y="935"/>
                </a:lnTo>
                <a:lnTo>
                  <a:pt x="1655" y="930"/>
                </a:lnTo>
                <a:lnTo>
                  <a:pt x="1649" y="925"/>
                </a:lnTo>
                <a:lnTo>
                  <a:pt x="1642" y="919"/>
                </a:lnTo>
                <a:lnTo>
                  <a:pt x="1637" y="912"/>
                </a:lnTo>
                <a:lnTo>
                  <a:pt x="1633" y="902"/>
                </a:lnTo>
                <a:lnTo>
                  <a:pt x="1629" y="892"/>
                </a:lnTo>
                <a:lnTo>
                  <a:pt x="1626" y="881"/>
                </a:lnTo>
                <a:lnTo>
                  <a:pt x="1626" y="881"/>
                </a:lnTo>
                <a:lnTo>
                  <a:pt x="1624" y="871"/>
                </a:lnTo>
                <a:lnTo>
                  <a:pt x="1623" y="860"/>
                </a:lnTo>
                <a:lnTo>
                  <a:pt x="1623" y="851"/>
                </a:lnTo>
                <a:lnTo>
                  <a:pt x="1623" y="842"/>
                </a:lnTo>
                <a:lnTo>
                  <a:pt x="1625" y="826"/>
                </a:lnTo>
                <a:lnTo>
                  <a:pt x="1629" y="811"/>
                </a:lnTo>
                <a:lnTo>
                  <a:pt x="1633" y="800"/>
                </a:lnTo>
                <a:lnTo>
                  <a:pt x="1636" y="792"/>
                </a:lnTo>
                <a:lnTo>
                  <a:pt x="1640" y="784"/>
                </a:lnTo>
                <a:lnTo>
                  <a:pt x="1640" y="784"/>
                </a:lnTo>
                <a:lnTo>
                  <a:pt x="1636" y="785"/>
                </a:lnTo>
                <a:lnTo>
                  <a:pt x="1626" y="788"/>
                </a:lnTo>
                <a:lnTo>
                  <a:pt x="1610" y="794"/>
                </a:lnTo>
                <a:lnTo>
                  <a:pt x="1601" y="797"/>
                </a:lnTo>
                <a:lnTo>
                  <a:pt x="1592" y="802"/>
                </a:lnTo>
                <a:lnTo>
                  <a:pt x="1582" y="808"/>
                </a:lnTo>
                <a:lnTo>
                  <a:pt x="1573" y="814"/>
                </a:lnTo>
                <a:lnTo>
                  <a:pt x="1563" y="823"/>
                </a:lnTo>
                <a:lnTo>
                  <a:pt x="1554" y="832"/>
                </a:lnTo>
                <a:lnTo>
                  <a:pt x="1546" y="842"/>
                </a:lnTo>
                <a:lnTo>
                  <a:pt x="1539" y="853"/>
                </a:lnTo>
                <a:lnTo>
                  <a:pt x="1533" y="867"/>
                </a:lnTo>
                <a:lnTo>
                  <a:pt x="1528" y="881"/>
                </a:lnTo>
                <a:lnTo>
                  <a:pt x="1528" y="881"/>
                </a:lnTo>
                <a:lnTo>
                  <a:pt x="1525" y="896"/>
                </a:lnTo>
                <a:lnTo>
                  <a:pt x="1523" y="912"/>
                </a:lnTo>
                <a:lnTo>
                  <a:pt x="1523" y="927"/>
                </a:lnTo>
                <a:lnTo>
                  <a:pt x="1523" y="941"/>
                </a:lnTo>
                <a:lnTo>
                  <a:pt x="1524" y="954"/>
                </a:lnTo>
                <a:lnTo>
                  <a:pt x="1527" y="969"/>
                </a:lnTo>
                <a:lnTo>
                  <a:pt x="1531" y="981"/>
                </a:lnTo>
                <a:lnTo>
                  <a:pt x="1536" y="993"/>
                </a:lnTo>
                <a:lnTo>
                  <a:pt x="1542" y="1006"/>
                </a:lnTo>
                <a:lnTo>
                  <a:pt x="1549" y="1016"/>
                </a:lnTo>
                <a:lnTo>
                  <a:pt x="1557" y="1026"/>
                </a:lnTo>
                <a:lnTo>
                  <a:pt x="1568" y="1034"/>
                </a:lnTo>
                <a:lnTo>
                  <a:pt x="1578" y="1042"/>
                </a:lnTo>
                <a:lnTo>
                  <a:pt x="1590" y="1049"/>
                </a:lnTo>
                <a:lnTo>
                  <a:pt x="1602" y="1055"/>
                </a:lnTo>
                <a:lnTo>
                  <a:pt x="1617" y="1059"/>
                </a:lnTo>
                <a:lnTo>
                  <a:pt x="1617" y="1059"/>
                </a:lnTo>
                <a:lnTo>
                  <a:pt x="1630" y="1062"/>
                </a:lnTo>
                <a:lnTo>
                  <a:pt x="1644" y="1063"/>
                </a:lnTo>
                <a:lnTo>
                  <a:pt x="1660" y="1062"/>
                </a:lnTo>
                <a:lnTo>
                  <a:pt x="1676" y="1060"/>
                </a:lnTo>
                <a:lnTo>
                  <a:pt x="1692" y="1058"/>
                </a:lnTo>
                <a:lnTo>
                  <a:pt x="1710" y="1054"/>
                </a:lnTo>
                <a:lnTo>
                  <a:pt x="1727" y="1049"/>
                </a:lnTo>
                <a:lnTo>
                  <a:pt x="1744" y="1043"/>
                </a:lnTo>
                <a:lnTo>
                  <a:pt x="1779" y="1029"/>
                </a:lnTo>
                <a:lnTo>
                  <a:pt x="1815" y="1014"/>
                </a:lnTo>
                <a:lnTo>
                  <a:pt x="1849" y="997"/>
                </a:lnTo>
                <a:lnTo>
                  <a:pt x="1880" y="981"/>
                </a:lnTo>
                <a:lnTo>
                  <a:pt x="1880" y="981"/>
                </a:lnTo>
                <a:lnTo>
                  <a:pt x="1942" y="949"/>
                </a:lnTo>
                <a:lnTo>
                  <a:pt x="1979" y="931"/>
                </a:lnTo>
                <a:lnTo>
                  <a:pt x="2013" y="915"/>
                </a:lnTo>
                <a:lnTo>
                  <a:pt x="2013" y="915"/>
                </a:lnTo>
                <a:lnTo>
                  <a:pt x="2041" y="903"/>
                </a:lnTo>
                <a:lnTo>
                  <a:pt x="2054" y="899"/>
                </a:lnTo>
                <a:lnTo>
                  <a:pt x="2068" y="895"/>
                </a:lnTo>
                <a:lnTo>
                  <a:pt x="2081" y="892"/>
                </a:lnTo>
                <a:lnTo>
                  <a:pt x="2093" y="890"/>
                </a:lnTo>
                <a:lnTo>
                  <a:pt x="2105" y="888"/>
                </a:lnTo>
                <a:lnTo>
                  <a:pt x="2119" y="888"/>
                </a:lnTo>
                <a:lnTo>
                  <a:pt x="2131" y="888"/>
                </a:lnTo>
                <a:lnTo>
                  <a:pt x="2143" y="889"/>
                </a:lnTo>
                <a:lnTo>
                  <a:pt x="2156" y="891"/>
                </a:lnTo>
                <a:lnTo>
                  <a:pt x="2170" y="893"/>
                </a:lnTo>
                <a:lnTo>
                  <a:pt x="2183" y="897"/>
                </a:lnTo>
                <a:lnTo>
                  <a:pt x="2196" y="901"/>
                </a:lnTo>
                <a:lnTo>
                  <a:pt x="2211" y="907"/>
                </a:lnTo>
                <a:lnTo>
                  <a:pt x="2226" y="914"/>
                </a:lnTo>
                <a:lnTo>
                  <a:pt x="2226" y="914"/>
                </a:lnTo>
                <a:lnTo>
                  <a:pt x="2246" y="924"/>
                </a:lnTo>
                <a:lnTo>
                  <a:pt x="2265" y="934"/>
                </a:lnTo>
                <a:lnTo>
                  <a:pt x="2281" y="945"/>
                </a:lnTo>
                <a:lnTo>
                  <a:pt x="2295" y="954"/>
                </a:lnTo>
                <a:lnTo>
                  <a:pt x="2305" y="964"/>
                </a:lnTo>
                <a:lnTo>
                  <a:pt x="2312" y="971"/>
                </a:lnTo>
                <a:lnTo>
                  <a:pt x="2319" y="977"/>
                </a:lnTo>
                <a:lnTo>
                  <a:pt x="2319" y="977"/>
                </a:lnTo>
                <a:lnTo>
                  <a:pt x="2317" y="980"/>
                </a:lnTo>
                <a:lnTo>
                  <a:pt x="2313" y="987"/>
                </a:lnTo>
                <a:lnTo>
                  <a:pt x="2305" y="998"/>
                </a:lnTo>
                <a:lnTo>
                  <a:pt x="2300" y="1005"/>
                </a:lnTo>
                <a:lnTo>
                  <a:pt x="2293" y="1012"/>
                </a:lnTo>
                <a:lnTo>
                  <a:pt x="2285" y="1018"/>
                </a:lnTo>
                <a:lnTo>
                  <a:pt x="2276" y="1025"/>
                </a:lnTo>
                <a:lnTo>
                  <a:pt x="2267" y="1031"/>
                </a:lnTo>
                <a:lnTo>
                  <a:pt x="2255" y="1036"/>
                </a:lnTo>
                <a:lnTo>
                  <a:pt x="2242" y="1041"/>
                </a:lnTo>
                <a:lnTo>
                  <a:pt x="2228" y="1045"/>
                </a:lnTo>
                <a:lnTo>
                  <a:pt x="2212" y="1049"/>
                </a:lnTo>
                <a:lnTo>
                  <a:pt x="2194" y="1050"/>
                </a:lnTo>
                <a:lnTo>
                  <a:pt x="2194" y="1050"/>
                </a:lnTo>
                <a:lnTo>
                  <a:pt x="2180" y="1051"/>
                </a:lnTo>
                <a:lnTo>
                  <a:pt x="2166" y="1050"/>
                </a:lnTo>
                <a:lnTo>
                  <a:pt x="2152" y="1048"/>
                </a:lnTo>
                <a:lnTo>
                  <a:pt x="2139" y="1044"/>
                </a:lnTo>
                <a:lnTo>
                  <a:pt x="2127" y="1041"/>
                </a:lnTo>
                <a:lnTo>
                  <a:pt x="2115" y="1037"/>
                </a:lnTo>
                <a:lnTo>
                  <a:pt x="2103" y="1033"/>
                </a:lnTo>
                <a:lnTo>
                  <a:pt x="2092" y="1027"/>
                </a:lnTo>
                <a:lnTo>
                  <a:pt x="2082" y="1022"/>
                </a:lnTo>
                <a:lnTo>
                  <a:pt x="2073" y="1016"/>
                </a:lnTo>
                <a:lnTo>
                  <a:pt x="2064" y="1010"/>
                </a:lnTo>
                <a:lnTo>
                  <a:pt x="2056" y="1003"/>
                </a:lnTo>
                <a:lnTo>
                  <a:pt x="2048" y="995"/>
                </a:lnTo>
                <a:lnTo>
                  <a:pt x="2042" y="988"/>
                </a:lnTo>
                <a:lnTo>
                  <a:pt x="2036" y="981"/>
                </a:lnTo>
                <a:lnTo>
                  <a:pt x="2031" y="974"/>
                </a:lnTo>
                <a:lnTo>
                  <a:pt x="2031" y="974"/>
                </a:lnTo>
                <a:lnTo>
                  <a:pt x="2022" y="996"/>
                </a:lnTo>
                <a:lnTo>
                  <a:pt x="2013" y="1014"/>
                </a:lnTo>
                <a:lnTo>
                  <a:pt x="2007" y="1027"/>
                </a:lnTo>
                <a:lnTo>
                  <a:pt x="2007" y="1027"/>
                </a:lnTo>
                <a:lnTo>
                  <a:pt x="2003" y="1035"/>
                </a:lnTo>
                <a:lnTo>
                  <a:pt x="2000" y="1042"/>
                </a:lnTo>
                <a:lnTo>
                  <a:pt x="1998" y="1051"/>
                </a:lnTo>
                <a:lnTo>
                  <a:pt x="1997" y="1057"/>
                </a:lnTo>
                <a:lnTo>
                  <a:pt x="1997" y="1064"/>
                </a:lnTo>
                <a:lnTo>
                  <a:pt x="1997" y="1070"/>
                </a:lnTo>
                <a:lnTo>
                  <a:pt x="1999" y="1082"/>
                </a:lnTo>
                <a:lnTo>
                  <a:pt x="2001" y="1094"/>
                </a:lnTo>
                <a:lnTo>
                  <a:pt x="2003" y="1104"/>
                </a:lnTo>
                <a:lnTo>
                  <a:pt x="2004" y="1115"/>
                </a:lnTo>
                <a:lnTo>
                  <a:pt x="2003" y="1121"/>
                </a:lnTo>
                <a:lnTo>
                  <a:pt x="2001" y="1126"/>
                </a:lnTo>
                <a:lnTo>
                  <a:pt x="2001" y="1126"/>
                </a:lnTo>
                <a:lnTo>
                  <a:pt x="1999" y="1132"/>
                </a:lnTo>
                <a:lnTo>
                  <a:pt x="1995" y="1138"/>
                </a:lnTo>
                <a:lnTo>
                  <a:pt x="1986" y="1151"/>
                </a:lnTo>
                <a:lnTo>
                  <a:pt x="1973" y="1163"/>
                </a:lnTo>
                <a:lnTo>
                  <a:pt x="1960" y="1175"/>
                </a:lnTo>
                <a:lnTo>
                  <a:pt x="1945" y="1187"/>
                </a:lnTo>
                <a:lnTo>
                  <a:pt x="1931" y="1198"/>
                </a:lnTo>
                <a:lnTo>
                  <a:pt x="1904" y="1216"/>
                </a:lnTo>
                <a:lnTo>
                  <a:pt x="1904" y="1216"/>
                </a:lnTo>
                <a:lnTo>
                  <a:pt x="1886" y="1227"/>
                </a:lnTo>
                <a:lnTo>
                  <a:pt x="1864" y="1239"/>
                </a:lnTo>
                <a:lnTo>
                  <a:pt x="1842" y="1249"/>
                </a:lnTo>
                <a:lnTo>
                  <a:pt x="1819" y="1257"/>
                </a:lnTo>
                <a:lnTo>
                  <a:pt x="1798" y="1264"/>
                </a:lnTo>
                <a:lnTo>
                  <a:pt x="1779" y="1270"/>
                </a:lnTo>
                <a:lnTo>
                  <a:pt x="1754" y="1278"/>
                </a:lnTo>
                <a:lnTo>
                  <a:pt x="1754" y="1278"/>
                </a:lnTo>
                <a:lnTo>
                  <a:pt x="1779" y="1336"/>
                </a:lnTo>
                <a:lnTo>
                  <a:pt x="1811" y="1404"/>
                </a:lnTo>
                <a:lnTo>
                  <a:pt x="1811" y="1404"/>
                </a:lnTo>
                <a:lnTo>
                  <a:pt x="1833" y="1449"/>
                </a:lnTo>
                <a:lnTo>
                  <a:pt x="1862" y="1504"/>
                </a:lnTo>
                <a:lnTo>
                  <a:pt x="1877" y="1531"/>
                </a:lnTo>
                <a:lnTo>
                  <a:pt x="1893" y="1557"/>
                </a:lnTo>
                <a:lnTo>
                  <a:pt x="1909" y="1578"/>
                </a:lnTo>
                <a:lnTo>
                  <a:pt x="1916" y="1588"/>
                </a:lnTo>
                <a:lnTo>
                  <a:pt x="1924" y="1597"/>
                </a:lnTo>
                <a:lnTo>
                  <a:pt x="1924" y="1597"/>
                </a:lnTo>
                <a:lnTo>
                  <a:pt x="1940" y="1592"/>
                </a:lnTo>
                <a:lnTo>
                  <a:pt x="1957" y="1587"/>
                </a:lnTo>
                <a:lnTo>
                  <a:pt x="1980" y="1581"/>
                </a:lnTo>
                <a:lnTo>
                  <a:pt x="2004" y="1573"/>
                </a:lnTo>
                <a:lnTo>
                  <a:pt x="2031" y="1563"/>
                </a:lnTo>
                <a:lnTo>
                  <a:pt x="2057" y="1551"/>
                </a:lnTo>
                <a:lnTo>
                  <a:pt x="2071" y="1544"/>
                </a:lnTo>
                <a:lnTo>
                  <a:pt x="2083" y="1537"/>
                </a:lnTo>
                <a:lnTo>
                  <a:pt x="2083" y="1537"/>
                </a:lnTo>
                <a:lnTo>
                  <a:pt x="2105" y="1524"/>
                </a:lnTo>
                <a:lnTo>
                  <a:pt x="2126" y="1510"/>
                </a:lnTo>
                <a:lnTo>
                  <a:pt x="2145" y="1495"/>
                </a:lnTo>
                <a:lnTo>
                  <a:pt x="2162" y="1480"/>
                </a:lnTo>
                <a:lnTo>
                  <a:pt x="2177" y="1466"/>
                </a:lnTo>
                <a:lnTo>
                  <a:pt x="2189" y="1451"/>
                </a:lnTo>
                <a:lnTo>
                  <a:pt x="2199" y="1437"/>
                </a:lnTo>
                <a:lnTo>
                  <a:pt x="2207" y="1424"/>
                </a:lnTo>
                <a:lnTo>
                  <a:pt x="2207" y="1424"/>
                </a:lnTo>
                <a:lnTo>
                  <a:pt x="2190" y="1460"/>
                </a:lnTo>
                <a:lnTo>
                  <a:pt x="2175" y="1493"/>
                </a:lnTo>
                <a:lnTo>
                  <a:pt x="2161" y="1523"/>
                </a:lnTo>
                <a:lnTo>
                  <a:pt x="2146" y="1551"/>
                </a:lnTo>
                <a:lnTo>
                  <a:pt x="2132" y="1576"/>
                </a:lnTo>
                <a:lnTo>
                  <a:pt x="2119" y="1599"/>
                </a:lnTo>
                <a:lnTo>
                  <a:pt x="2105" y="1619"/>
                </a:lnTo>
                <a:lnTo>
                  <a:pt x="2092" y="1637"/>
                </a:lnTo>
                <a:lnTo>
                  <a:pt x="2080" y="1655"/>
                </a:lnTo>
                <a:lnTo>
                  <a:pt x="2068" y="1669"/>
                </a:lnTo>
                <a:lnTo>
                  <a:pt x="2055" y="1682"/>
                </a:lnTo>
                <a:lnTo>
                  <a:pt x="2044" y="1694"/>
                </a:lnTo>
                <a:lnTo>
                  <a:pt x="2033" y="1705"/>
                </a:lnTo>
                <a:lnTo>
                  <a:pt x="2022" y="1714"/>
                </a:lnTo>
                <a:lnTo>
                  <a:pt x="2011" y="1721"/>
                </a:lnTo>
                <a:lnTo>
                  <a:pt x="2000" y="1729"/>
                </a:lnTo>
                <a:lnTo>
                  <a:pt x="2000" y="1729"/>
                </a:lnTo>
                <a:lnTo>
                  <a:pt x="1907" y="1790"/>
                </a:lnTo>
                <a:lnTo>
                  <a:pt x="1797" y="1862"/>
                </a:lnTo>
                <a:lnTo>
                  <a:pt x="1735" y="1901"/>
                </a:lnTo>
                <a:lnTo>
                  <a:pt x="1671" y="1940"/>
                </a:lnTo>
                <a:lnTo>
                  <a:pt x="1602" y="1980"/>
                </a:lnTo>
                <a:lnTo>
                  <a:pt x="1532" y="2020"/>
                </a:lnTo>
                <a:lnTo>
                  <a:pt x="1459" y="2058"/>
                </a:lnTo>
                <a:lnTo>
                  <a:pt x="1422" y="2077"/>
                </a:lnTo>
                <a:lnTo>
                  <a:pt x="1384" y="2094"/>
                </a:lnTo>
                <a:lnTo>
                  <a:pt x="1347" y="2112"/>
                </a:lnTo>
                <a:lnTo>
                  <a:pt x="1308" y="2129"/>
                </a:lnTo>
                <a:lnTo>
                  <a:pt x="1269" y="2146"/>
                </a:lnTo>
                <a:lnTo>
                  <a:pt x="1230" y="2161"/>
                </a:lnTo>
                <a:lnTo>
                  <a:pt x="1190" y="2175"/>
                </a:lnTo>
                <a:lnTo>
                  <a:pt x="1151" y="2189"/>
                </a:lnTo>
                <a:lnTo>
                  <a:pt x="1111" y="2202"/>
                </a:lnTo>
                <a:lnTo>
                  <a:pt x="1072" y="2213"/>
                </a:lnTo>
                <a:lnTo>
                  <a:pt x="1032" y="2223"/>
                </a:lnTo>
                <a:lnTo>
                  <a:pt x="992" y="2231"/>
                </a:lnTo>
                <a:lnTo>
                  <a:pt x="952" y="2240"/>
                </a:lnTo>
                <a:lnTo>
                  <a:pt x="913" y="2246"/>
                </a:lnTo>
                <a:lnTo>
                  <a:pt x="913" y="2246"/>
                </a:lnTo>
                <a:lnTo>
                  <a:pt x="901" y="2246"/>
                </a:lnTo>
                <a:lnTo>
                  <a:pt x="889" y="2245"/>
                </a:lnTo>
                <a:lnTo>
                  <a:pt x="876" y="2242"/>
                </a:lnTo>
                <a:lnTo>
                  <a:pt x="863" y="2239"/>
                </a:lnTo>
                <a:lnTo>
                  <a:pt x="850" y="2236"/>
                </a:lnTo>
                <a:lnTo>
                  <a:pt x="836" y="2230"/>
                </a:lnTo>
                <a:lnTo>
                  <a:pt x="809" y="2218"/>
                </a:lnTo>
                <a:lnTo>
                  <a:pt x="781" y="2204"/>
                </a:lnTo>
                <a:lnTo>
                  <a:pt x="754" y="2188"/>
                </a:lnTo>
                <a:lnTo>
                  <a:pt x="726" y="2170"/>
                </a:lnTo>
                <a:lnTo>
                  <a:pt x="698" y="2151"/>
                </a:lnTo>
                <a:lnTo>
                  <a:pt x="672" y="2130"/>
                </a:lnTo>
                <a:lnTo>
                  <a:pt x="646" y="2110"/>
                </a:lnTo>
                <a:lnTo>
                  <a:pt x="623" y="2089"/>
                </a:lnTo>
                <a:lnTo>
                  <a:pt x="600" y="2069"/>
                </a:lnTo>
                <a:lnTo>
                  <a:pt x="581" y="2049"/>
                </a:lnTo>
                <a:lnTo>
                  <a:pt x="563" y="2032"/>
                </a:lnTo>
                <a:lnTo>
                  <a:pt x="548" y="2017"/>
                </a:lnTo>
                <a:lnTo>
                  <a:pt x="537" y="2003"/>
                </a:lnTo>
                <a:lnTo>
                  <a:pt x="537" y="2003"/>
                </a:lnTo>
                <a:lnTo>
                  <a:pt x="533" y="1999"/>
                </a:lnTo>
                <a:lnTo>
                  <a:pt x="530" y="1995"/>
                </a:lnTo>
                <a:lnTo>
                  <a:pt x="520" y="1990"/>
                </a:lnTo>
                <a:lnTo>
                  <a:pt x="512" y="1988"/>
                </a:lnTo>
                <a:lnTo>
                  <a:pt x="502" y="1987"/>
                </a:lnTo>
                <a:lnTo>
                  <a:pt x="493" y="1987"/>
                </a:lnTo>
                <a:lnTo>
                  <a:pt x="483" y="1989"/>
                </a:lnTo>
                <a:lnTo>
                  <a:pt x="473" y="1992"/>
                </a:lnTo>
                <a:lnTo>
                  <a:pt x="464" y="1996"/>
                </a:lnTo>
                <a:lnTo>
                  <a:pt x="447" y="2004"/>
                </a:lnTo>
                <a:lnTo>
                  <a:pt x="433" y="2014"/>
                </a:lnTo>
                <a:lnTo>
                  <a:pt x="419" y="2024"/>
                </a:lnTo>
                <a:lnTo>
                  <a:pt x="419" y="2024"/>
                </a:lnTo>
                <a:lnTo>
                  <a:pt x="412" y="2023"/>
                </a:lnTo>
                <a:lnTo>
                  <a:pt x="393" y="2021"/>
                </a:lnTo>
                <a:lnTo>
                  <a:pt x="379" y="2021"/>
                </a:lnTo>
                <a:lnTo>
                  <a:pt x="364" y="2021"/>
                </a:lnTo>
                <a:lnTo>
                  <a:pt x="348" y="2022"/>
                </a:lnTo>
                <a:lnTo>
                  <a:pt x="329" y="2024"/>
                </a:lnTo>
                <a:lnTo>
                  <a:pt x="310" y="2027"/>
                </a:lnTo>
                <a:lnTo>
                  <a:pt x="290" y="2032"/>
                </a:lnTo>
                <a:lnTo>
                  <a:pt x="271" y="2038"/>
                </a:lnTo>
                <a:lnTo>
                  <a:pt x="252" y="2047"/>
                </a:lnTo>
                <a:lnTo>
                  <a:pt x="242" y="2053"/>
                </a:lnTo>
                <a:lnTo>
                  <a:pt x="233" y="2058"/>
                </a:lnTo>
                <a:lnTo>
                  <a:pt x="224" y="2064"/>
                </a:lnTo>
                <a:lnTo>
                  <a:pt x="216" y="2071"/>
                </a:lnTo>
                <a:lnTo>
                  <a:pt x="207" y="2079"/>
                </a:lnTo>
                <a:lnTo>
                  <a:pt x="199" y="2087"/>
                </a:lnTo>
                <a:lnTo>
                  <a:pt x="191" y="2097"/>
                </a:lnTo>
                <a:lnTo>
                  <a:pt x="184" y="2106"/>
                </a:lnTo>
                <a:lnTo>
                  <a:pt x="184" y="2106"/>
                </a:lnTo>
                <a:lnTo>
                  <a:pt x="183" y="2109"/>
                </a:lnTo>
                <a:lnTo>
                  <a:pt x="185" y="2111"/>
                </a:lnTo>
                <a:lnTo>
                  <a:pt x="188" y="2112"/>
                </a:lnTo>
                <a:lnTo>
                  <a:pt x="193" y="2112"/>
                </a:lnTo>
                <a:lnTo>
                  <a:pt x="210" y="2110"/>
                </a:lnTo>
                <a:lnTo>
                  <a:pt x="230" y="2108"/>
                </a:lnTo>
                <a:lnTo>
                  <a:pt x="255" y="2106"/>
                </a:lnTo>
                <a:lnTo>
                  <a:pt x="280" y="2105"/>
                </a:lnTo>
                <a:lnTo>
                  <a:pt x="293" y="2106"/>
                </a:lnTo>
                <a:lnTo>
                  <a:pt x="307" y="2107"/>
                </a:lnTo>
                <a:lnTo>
                  <a:pt x="319" y="2109"/>
                </a:lnTo>
                <a:lnTo>
                  <a:pt x="331" y="2112"/>
                </a:lnTo>
                <a:lnTo>
                  <a:pt x="331" y="2112"/>
                </a:lnTo>
                <a:lnTo>
                  <a:pt x="338" y="2115"/>
                </a:lnTo>
                <a:lnTo>
                  <a:pt x="343" y="2118"/>
                </a:lnTo>
                <a:lnTo>
                  <a:pt x="346" y="2121"/>
                </a:lnTo>
                <a:lnTo>
                  <a:pt x="347" y="2124"/>
                </a:lnTo>
                <a:lnTo>
                  <a:pt x="347" y="2127"/>
                </a:lnTo>
                <a:lnTo>
                  <a:pt x="345" y="2131"/>
                </a:lnTo>
                <a:lnTo>
                  <a:pt x="339" y="2139"/>
                </a:lnTo>
                <a:lnTo>
                  <a:pt x="332" y="2149"/>
                </a:lnTo>
                <a:lnTo>
                  <a:pt x="325" y="2160"/>
                </a:lnTo>
                <a:lnTo>
                  <a:pt x="321" y="2166"/>
                </a:lnTo>
                <a:lnTo>
                  <a:pt x="319" y="2172"/>
                </a:lnTo>
                <a:lnTo>
                  <a:pt x="317" y="2178"/>
                </a:lnTo>
                <a:lnTo>
                  <a:pt x="317" y="2185"/>
                </a:lnTo>
                <a:lnTo>
                  <a:pt x="317" y="2185"/>
                </a:lnTo>
                <a:lnTo>
                  <a:pt x="317" y="2191"/>
                </a:lnTo>
                <a:lnTo>
                  <a:pt x="319" y="2197"/>
                </a:lnTo>
                <a:lnTo>
                  <a:pt x="321" y="2202"/>
                </a:lnTo>
                <a:lnTo>
                  <a:pt x="324" y="2207"/>
                </a:lnTo>
                <a:lnTo>
                  <a:pt x="328" y="2212"/>
                </a:lnTo>
                <a:lnTo>
                  <a:pt x="333" y="2217"/>
                </a:lnTo>
                <a:lnTo>
                  <a:pt x="346" y="2227"/>
                </a:lnTo>
                <a:lnTo>
                  <a:pt x="361" y="2237"/>
                </a:lnTo>
                <a:lnTo>
                  <a:pt x="377" y="2246"/>
                </a:lnTo>
                <a:lnTo>
                  <a:pt x="397" y="2255"/>
                </a:lnTo>
                <a:lnTo>
                  <a:pt x="416" y="2263"/>
                </a:lnTo>
                <a:lnTo>
                  <a:pt x="458" y="2279"/>
                </a:lnTo>
                <a:lnTo>
                  <a:pt x="500" y="2293"/>
                </a:lnTo>
                <a:lnTo>
                  <a:pt x="571" y="2314"/>
                </a:lnTo>
                <a:lnTo>
                  <a:pt x="571" y="2314"/>
                </a:lnTo>
                <a:lnTo>
                  <a:pt x="579" y="2318"/>
                </a:lnTo>
                <a:lnTo>
                  <a:pt x="585" y="2322"/>
                </a:lnTo>
                <a:lnTo>
                  <a:pt x="588" y="2328"/>
                </a:lnTo>
                <a:lnTo>
                  <a:pt x="590" y="2333"/>
                </a:lnTo>
                <a:lnTo>
                  <a:pt x="590" y="2337"/>
                </a:lnTo>
                <a:lnTo>
                  <a:pt x="588" y="2341"/>
                </a:lnTo>
                <a:lnTo>
                  <a:pt x="585" y="2343"/>
                </a:lnTo>
                <a:lnTo>
                  <a:pt x="581" y="2344"/>
                </a:lnTo>
                <a:lnTo>
                  <a:pt x="581" y="2344"/>
                </a:lnTo>
                <a:lnTo>
                  <a:pt x="556" y="2343"/>
                </a:lnTo>
                <a:lnTo>
                  <a:pt x="532" y="2340"/>
                </a:lnTo>
                <a:lnTo>
                  <a:pt x="509" y="2337"/>
                </a:lnTo>
                <a:lnTo>
                  <a:pt x="488" y="2332"/>
                </a:lnTo>
                <a:lnTo>
                  <a:pt x="467" y="2327"/>
                </a:lnTo>
                <a:lnTo>
                  <a:pt x="448" y="2320"/>
                </a:lnTo>
                <a:lnTo>
                  <a:pt x="429" y="2314"/>
                </a:lnTo>
                <a:lnTo>
                  <a:pt x="412" y="2308"/>
                </a:lnTo>
                <a:lnTo>
                  <a:pt x="380" y="2295"/>
                </a:lnTo>
                <a:lnTo>
                  <a:pt x="352" y="2283"/>
                </a:lnTo>
                <a:lnTo>
                  <a:pt x="327" y="2271"/>
                </a:lnTo>
                <a:lnTo>
                  <a:pt x="316" y="2267"/>
                </a:lnTo>
                <a:lnTo>
                  <a:pt x="305" y="2263"/>
                </a:lnTo>
                <a:lnTo>
                  <a:pt x="305" y="2263"/>
                </a:lnTo>
                <a:lnTo>
                  <a:pt x="286" y="2258"/>
                </a:lnTo>
                <a:lnTo>
                  <a:pt x="268" y="2254"/>
                </a:lnTo>
                <a:lnTo>
                  <a:pt x="253" y="2251"/>
                </a:lnTo>
                <a:lnTo>
                  <a:pt x="237" y="2249"/>
                </a:lnTo>
                <a:lnTo>
                  <a:pt x="224" y="2248"/>
                </a:lnTo>
                <a:lnTo>
                  <a:pt x="213" y="2249"/>
                </a:lnTo>
                <a:lnTo>
                  <a:pt x="202" y="2250"/>
                </a:lnTo>
                <a:lnTo>
                  <a:pt x="192" y="2252"/>
                </a:lnTo>
                <a:lnTo>
                  <a:pt x="185" y="2256"/>
                </a:lnTo>
                <a:lnTo>
                  <a:pt x="178" y="2260"/>
                </a:lnTo>
                <a:lnTo>
                  <a:pt x="172" y="2265"/>
                </a:lnTo>
                <a:lnTo>
                  <a:pt x="167" y="2271"/>
                </a:lnTo>
                <a:lnTo>
                  <a:pt x="163" y="2277"/>
                </a:lnTo>
                <a:lnTo>
                  <a:pt x="160" y="2286"/>
                </a:lnTo>
                <a:lnTo>
                  <a:pt x="156" y="2294"/>
                </a:lnTo>
                <a:lnTo>
                  <a:pt x="155" y="2303"/>
                </a:lnTo>
                <a:lnTo>
                  <a:pt x="155" y="2303"/>
                </a:lnTo>
                <a:lnTo>
                  <a:pt x="154" y="2306"/>
                </a:lnTo>
                <a:lnTo>
                  <a:pt x="152" y="2309"/>
                </a:lnTo>
                <a:lnTo>
                  <a:pt x="150" y="2312"/>
                </a:lnTo>
                <a:lnTo>
                  <a:pt x="147" y="2314"/>
                </a:lnTo>
                <a:lnTo>
                  <a:pt x="140" y="2318"/>
                </a:lnTo>
                <a:lnTo>
                  <a:pt x="132" y="2323"/>
                </a:lnTo>
                <a:lnTo>
                  <a:pt x="109" y="2333"/>
                </a:lnTo>
                <a:lnTo>
                  <a:pt x="97" y="2339"/>
                </a:lnTo>
                <a:lnTo>
                  <a:pt x="84" y="2347"/>
                </a:lnTo>
                <a:lnTo>
                  <a:pt x="71" y="2357"/>
                </a:lnTo>
                <a:lnTo>
                  <a:pt x="57" y="2371"/>
                </a:lnTo>
                <a:lnTo>
                  <a:pt x="51" y="2378"/>
                </a:lnTo>
                <a:lnTo>
                  <a:pt x="45" y="2386"/>
                </a:lnTo>
                <a:lnTo>
                  <a:pt x="39" y="2396"/>
                </a:lnTo>
                <a:lnTo>
                  <a:pt x="33" y="2406"/>
                </a:lnTo>
                <a:lnTo>
                  <a:pt x="28" y="2418"/>
                </a:lnTo>
                <a:lnTo>
                  <a:pt x="22" y="2430"/>
                </a:lnTo>
                <a:lnTo>
                  <a:pt x="17" y="2444"/>
                </a:lnTo>
                <a:lnTo>
                  <a:pt x="13" y="2458"/>
                </a:lnTo>
                <a:lnTo>
                  <a:pt x="9" y="2475"/>
                </a:lnTo>
                <a:lnTo>
                  <a:pt x="6" y="2492"/>
                </a:lnTo>
                <a:lnTo>
                  <a:pt x="3" y="2512"/>
                </a:lnTo>
                <a:lnTo>
                  <a:pt x="0" y="2532"/>
                </a:lnTo>
                <a:lnTo>
                  <a:pt x="0" y="2532"/>
                </a:lnTo>
                <a:lnTo>
                  <a:pt x="1" y="2533"/>
                </a:lnTo>
                <a:lnTo>
                  <a:pt x="2" y="2534"/>
                </a:lnTo>
                <a:lnTo>
                  <a:pt x="6" y="2532"/>
                </a:lnTo>
                <a:lnTo>
                  <a:pt x="12" y="2527"/>
                </a:lnTo>
                <a:lnTo>
                  <a:pt x="20" y="2519"/>
                </a:lnTo>
                <a:lnTo>
                  <a:pt x="43" y="2496"/>
                </a:lnTo>
                <a:lnTo>
                  <a:pt x="69" y="2472"/>
                </a:lnTo>
                <a:lnTo>
                  <a:pt x="82" y="2459"/>
                </a:lnTo>
                <a:lnTo>
                  <a:pt x="95" y="2448"/>
                </a:lnTo>
                <a:lnTo>
                  <a:pt x="107" y="2439"/>
                </a:lnTo>
                <a:lnTo>
                  <a:pt x="119" y="2432"/>
                </a:lnTo>
                <a:lnTo>
                  <a:pt x="124" y="2429"/>
                </a:lnTo>
                <a:lnTo>
                  <a:pt x="129" y="2428"/>
                </a:lnTo>
                <a:lnTo>
                  <a:pt x="133" y="2427"/>
                </a:lnTo>
                <a:lnTo>
                  <a:pt x="137" y="2427"/>
                </a:lnTo>
                <a:lnTo>
                  <a:pt x="140" y="2429"/>
                </a:lnTo>
                <a:lnTo>
                  <a:pt x="143" y="2431"/>
                </a:lnTo>
                <a:lnTo>
                  <a:pt x="144" y="2435"/>
                </a:lnTo>
                <a:lnTo>
                  <a:pt x="146" y="2439"/>
                </a:lnTo>
                <a:lnTo>
                  <a:pt x="146" y="2439"/>
                </a:lnTo>
                <a:lnTo>
                  <a:pt x="149" y="2455"/>
                </a:lnTo>
                <a:lnTo>
                  <a:pt x="154" y="2470"/>
                </a:lnTo>
                <a:lnTo>
                  <a:pt x="162" y="2483"/>
                </a:lnTo>
                <a:lnTo>
                  <a:pt x="170" y="2493"/>
                </a:lnTo>
                <a:lnTo>
                  <a:pt x="179" y="2503"/>
                </a:lnTo>
                <a:lnTo>
                  <a:pt x="189" y="2511"/>
                </a:lnTo>
                <a:lnTo>
                  <a:pt x="200" y="2518"/>
                </a:lnTo>
                <a:lnTo>
                  <a:pt x="214" y="2523"/>
                </a:lnTo>
                <a:lnTo>
                  <a:pt x="227" y="2527"/>
                </a:lnTo>
                <a:lnTo>
                  <a:pt x="241" y="2529"/>
                </a:lnTo>
                <a:lnTo>
                  <a:pt x="256" y="2531"/>
                </a:lnTo>
                <a:lnTo>
                  <a:pt x="271" y="2532"/>
                </a:lnTo>
                <a:lnTo>
                  <a:pt x="287" y="2533"/>
                </a:lnTo>
                <a:lnTo>
                  <a:pt x="304" y="2532"/>
                </a:lnTo>
                <a:lnTo>
                  <a:pt x="337" y="2530"/>
                </a:lnTo>
                <a:lnTo>
                  <a:pt x="371" y="2526"/>
                </a:lnTo>
                <a:lnTo>
                  <a:pt x="405" y="2521"/>
                </a:lnTo>
                <a:lnTo>
                  <a:pt x="438" y="2516"/>
                </a:lnTo>
                <a:lnTo>
                  <a:pt x="468" y="2512"/>
                </a:lnTo>
                <a:lnTo>
                  <a:pt x="496" y="2510"/>
                </a:lnTo>
                <a:lnTo>
                  <a:pt x="509" y="2509"/>
                </a:lnTo>
                <a:lnTo>
                  <a:pt x="520" y="2509"/>
                </a:lnTo>
                <a:lnTo>
                  <a:pt x="531" y="2510"/>
                </a:lnTo>
                <a:lnTo>
                  <a:pt x="541" y="2512"/>
                </a:lnTo>
                <a:lnTo>
                  <a:pt x="549" y="2515"/>
                </a:lnTo>
                <a:lnTo>
                  <a:pt x="555" y="2519"/>
                </a:lnTo>
                <a:lnTo>
                  <a:pt x="555" y="2519"/>
                </a:lnTo>
                <a:lnTo>
                  <a:pt x="558" y="2522"/>
                </a:lnTo>
                <a:lnTo>
                  <a:pt x="559" y="2524"/>
                </a:lnTo>
                <a:lnTo>
                  <a:pt x="557" y="2527"/>
                </a:lnTo>
                <a:lnTo>
                  <a:pt x="554" y="2529"/>
                </a:lnTo>
                <a:lnTo>
                  <a:pt x="549" y="2532"/>
                </a:lnTo>
                <a:lnTo>
                  <a:pt x="542" y="2534"/>
                </a:lnTo>
                <a:lnTo>
                  <a:pt x="525" y="2538"/>
                </a:lnTo>
                <a:lnTo>
                  <a:pt x="475" y="2547"/>
                </a:lnTo>
                <a:lnTo>
                  <a:pt x="447" y="2553"/>
                </a:lnTo>
                <a:lnTo>
                  <a:pt x="417" y="2559"/>
                </a:lnTo>
                <a:lnTo>
                  <a:pt x="388" y="2566"/>
                </a:lnTo>
                <a:lnTo>
                  <a:pt x="359" y="2574"/>
                </a:lnTo>
                <a:lnTo>
                  <a:pt x="346" y="2578"/>
                </a:lnTo>
                <a:lnTo>
                  <a:pt x="333" y="2583"/>
                </a:lnTo>
                <a:lnTo>
                  <a:pt x="322" y="2588"/>
                </a:lnTo>
                <a:lnTo>
                  <a:pt x="312" y="2594"/>
                </a:lnTo>
                <a:lnTo>
                  <a:pt x="303" y="2601"/>
                </a:lnTo>
                <a:lnTo>
                  <a:pt x="294" y="2607"/>
                </a:lnTo>
                <a:lnTo>
                  <a:pt x="288" y="2614"/>
                </a:lnTo>
                <a:lnTo>
                  <a:pt x="284" y="2622"/>
                </a:lnTo>
                <a:lnTo>
                  <a:pt x="282" y="2630"/>
                </a:lnTo>
                <a:lnTo>
                  <a:pt x="281" y="2638"/>
                </a:lnTo>
                <a:lnTo>
                  <a:pt x="283" y="2649"/>
                </a:lnTo>
                <a:lnTo>
                  <a:pt x="287" y="2659"/>
                </a:lnTo>
                <a:lnTo>
                  <a:pt x="287" y="2659"/>
                </a:lnTo>
                <a:lnTo>
                  <a:pt x="287" y="2660"/>
                </a:lnTo>
                <a:lnTo>
                  <a:pt x="286" y="2663"/>
                </a:lnTo>
                <a:lnTo>
                  <a:pt x="283" y="2669"/>
                </a:lnTo>
                <a:lnTo>
                  <a:pt x="268" y="2686"/>
                </a:lnTo>
                <a:lnTo>
                  <a:pt x="258" y="2699"/>
                </a:lnTo>
                <a:lnTo>
                  <a:pt x="247" y="2712"/>
                </a:lnTo>
                <a:lnTo>
                  <a:pt x="237" y="2727"/>
                </a:lnTo>
                <a:lnTo>
                  <a:pt x="228" y="2744"/>
                </a:lnTo>
                <a:lnTo>
                  <a:pt x="220" y="2761"/>
                </a:lnTo>
                <a:lnTo>
                  <a:pt x="217" y="2770"/>
                </a:lnTo>
                <a:lnTo>
                  <a:pt x="214" y="2781"/>
                </a:lnTo>
                <a:lnTo>
                  <a:pt x="213" y="2790"/>
                </a:lnTo>
                <a:lnTo>
                  <a:pt x="212" y="2801"/>
                </a:lnTo>
                <a:lnTo>
                  <a:pt x="212" y="2811"/>
                </a:lnTo>
                <a:lnTo>
                  <a:pt x="213" y="2821"/>
                </a:lnTo>
                <a:lnTo>
                  <a:pt x="215" y="2833"/>
                </a:lnTo>
                <a:lnTo>
                  <a:pt x="219" y="2844"/>
                </a:lnTo>
                <a:lnTo>
                  <a:pt x="223" y="2856"/>
                </a:lnTo>
                <a:lnTo>
                  <a:pt x="229" y="2867"/>
                </a:lnTo>
                <a:lnTo>
                  <a:pt x="237" y="2880"/>
                </a:lnTo>
                <a:lnTo>
                  <a:pt x="246" y="2892"/>
                </a:lnTo>
                <a:lnTo>
                  <a:pt x="257" y="2904"/>
                </a:lnTo>
                <a:lnTo>
                  <a:pt x="270" y="2917"/>
                </a:lnTo>
                <a:lnTo>
                  <a:pt x="270" y="2917"/>
                </a:lnTo>
                <a:lnTo>
                  <a:pt x="270" y="2910"/>
                </a:lnTo>
                <a:lnTo>
                  <a:pt x="272" y="2893"/>
                </a:lnTo>
                <a:lnTo>
                  <a:pt x="277" y="2868"/>
                </a:lnTo>
                <a:lnTo>
                  <a:pt x="281" y="2855"/>
                </a:lnTo>
                <a:lnTo>
                  <a:pt x="285" y="2841"/>
                </a:lnTo>
                <a:lnTo>
                  <a:pt x="291" y="2828"/>
                </a:lnTo>
                <a:lnTo>
                  <a:pt x="298" y="2814"/>
                </a:lnTo>
                <a:lnTo>
                  <a:pt x="306" y="2801"/>
                </a:lnTo>
                <a:lnTo>
                  <a:pt x="315" y="2791"/>
                </a:lnTo>
                <a:lnTo>
                  <a:pt x="321" y="2786"/>
                </a:lnTo>
                <a:lnTo>
                  <a:pt x="326" y="2782"/>
                </a:lnTo>
                <a:lnTo>
                  <a:pt x="332" y="2777"/>
                </a:lnTo>
                <a:lnTo>
                  <a:pt x="339" y="2774"/>
                </a:lnTo>
                <a:lnTo>
                  <a:pt x="346" y="2772"/>
                </a:lnTo>
                <a:lnTo>
                  <a:pt x="354" y="2770"/>
                </a:lnTo>
                <a:lnTo>
                  <a:pt x="361" y="2770"/>
                </a:lnTo>
                <a:lnTo>
                  <a:pt x="369" y="2770"/>
                </a:lnTo>
                <a:lnTo>
                  <a:pt x="369" y="2770"/>
                </a:lnTo>
                <a:lnTo>
                  <a:pt x="383" y="2771"/>
                </a:lnTo>
                <a:lnTo>
                  <a:pt x="396" y="2774"/>
                </a:lnTo>
                <a:lnTo>
                  <a:pt x="408" y="2778"/>
                </a:lnTo>
                <a:lnTo>
                  <a:pt x="420" y="2783"/>
                </a:lnTo>
                <a:lnTo>
                  <a:pt x="443" y="2793"/>
                </a:lnTo>
                <a:lnTo>
                  <a:pt x="454" y="2797"/>
                </a:lnTo>
                <a:lnTo>
                  <a:pt x="465" y="2801"/>
                </a:lnTo>
                <a:lnTo>
                  <a:pt x="476" y="2804"/>
                </a:lnTo>
                <a:lnTo>
                  <a:pt x="489" y="2806"/>
                </a:lnTo>
                <a:lnTo>
                  <a:pt x="501" y="2807"/>
                </a:lnTo>
                <a:lnTo>
                  <a:pt x="514" y="2805"/>
                </a:lnTo>
                <a:lnTo>
                  <a:pt x="528" y="2802"/>
                </a:lnTo>
                <a:lnTo>
                  <a:pt x="542" y="2796"/>
                </a:lnTo>
                <a:lnTo>
                  <a:pt x="558" y="2788"/>
                </a:lnTo>
                <a:lnTo>
                  <a:pt x="575" y="2775"/>
                </a:lnTo>
                <a:lnTo>
                  <a:pt x="575" y="2775"/>
                </a:lnTo>
                <a:lnTo>
                  <a:pt x="588" y="2766"/>
                </a:lnTo>
                <a:lnTo>
                  <a:pt x="600" y="2755"/>
                </a:lnTo>
                <a:lnTo>
                  <a:pt x="614" y="2743"/>
                </a:lnTo>
                <a:lnTo>
                  <a:pt x="630" y="2730"/>
                </a:lnTo>
                <a:lnTo>
                  <a:pt x="651" y="2718"/>
                </a:lnTo>
                <a:lnTo>
                  <a:pt x="664" y="2711"/>
                </a:lnTo>
                <a:lnTo>
                  <a:pt x="678" y="2705"/>
                </a:lnTo>
                <a:lnTo>
                  <a:pt x="693" y="2698"/>
                </a:lnTo>
                <a:lnTo>
                  <a:pt x="712" y="2692"/>
                </a:lnTo>
                <a:lnTo>
                  <a:pt x="732" y="2684"/>
                </a:lnTo>
                <a:lnTo>
                  <a:pt x="754" y="2677"/>
                </a:lnTo>
                <a:lnTo>
                  <a:pt x="754" y="2677"/>
                </a:lnTo>
                <a:lnTo>
                  <a:pt x="756" y="2677"/>
                </a:lnTo>
                <a:lnTo>
                  <a:pt x="757" y="2678"/>
                </a:lnTo>
                <a:lnTo>
                  <a:pt x="760" y="2683"/>
                </a:lnTo>
                <a:lnTo>
                  <a:pt x="762" y="2692"/>
                </a:lnTo>
                <a:lnTo>
                  <a:pt x="765" y="2701"/>
                </a:lnTo>
                <a:lnTo>
                  <a:pt x="768" y="2713"/>
                </a:lnTo>
                <a:lnTo>
                  <a:pt x="772" y="2725"/>
                </a:lnTo>
                <a:lnTo>
                  <a:pt x="777" y="2738"/>
                </a:lnTo>
                <a:lnTo>
                  <a:pt x="783" y="2750"/>
                </a:lnTo>
                <a:lnTo>
                  <a:pt x="783" y="2750"/>
                </a:lnTo>
                <a:lnTo>
                  <a:pt x="786" y="2753"/>
                </a:lnTo>
                <a:lnTo>
                  <a:pt x="789" y="2755"/>
                </a:lnTo>
                <a:lnTo>
                  <a:pt x="797" y="2760"/>
                </a:lnTo>
                <a:lnTo>
                  <a:pt x="805" y="2763"/>
                </a:lnTo>
                <a:lnTo>
                  <a:pt x="813" y="2767"/>
                </a:lnTo>
                <a:lnTo>
                  <a:pt x="821" y="2770"/>
                </a:lnTo>
                <a:lnTo>
                  <a:pt x="827" y="2773"/>
                </a:lnTo>
                <a:lnTo>
                  <a:pt x="830" y="2775"/>
                </a:lnTo>
                <a:lnTo>
                  <a:pt x="831" y="2777"/>
                </a:lnTo>
                <a:lnTo>
                  <a:pt x="833" y="2781"/>
                </a:lnTo>
                <a:lnTo>
                  <a:pt x="833" y="2784"/>
                </a:lnTo>
                <a:lnTo>
                  <a:pt x="833" y="2784"/>
                </a:lnTo>
                <a:lnTo>
                  <a:pt x="832" y="2794"/>
                </a:lnTo>
                <a:lnTo>
                  <a:pt x="830" y="2805"/>
                </a:lnTo>
                <a:lnTo>
                  <a:pt x="826" y="2815"/>
                </a:lnTo>
                <a:lnTo>
                  <a:pt x="822" y="2824"/>
                </a:lnTo>
                <a:lnTo>
                  <a:pt x="817" y="2834"/>
                </a:lnTo>
                <a:lnTo>
                  <a:pt x="811" y="2843"/>
                </a:lnTo>
                <a:lnTo>
                  <a:pt x="798" y="2859"/>
                </a:lnTo>
                <a:lnTo>
                  <a:pt x="784" y="2873"/>
                </a:lnTo>
                <a:lnTo>
                  <a:pt x="773" y="2884"/>
                </a:lnTo>
                <a:lnTo>
                  <a:pt x="765" y="2890"/>
                </a:lnTo>
                <a:lnTo>
                  <a:pt x="763" y="2893"/>
                </a:lnTo>
                <a:lnTo>
                  <a:pt x="763" y="2893"/>
                </a:lnTo>
                <a:lnTo>
                  <a:pt x="767" y="2896"/>
                </a:lnTo>
                <a:lnTo>
                  <a:pt x="778" y="2899"/>
                </a:lnTo>
                <a:lnTo>
                  <a:pt x="785" y="2900"/>
                </a:lnTo>
                <a:lnTo>
                  <a:pt x="794" y="2901"/>
                </a:lnTo>
                <a:lnTo>
                  <a:pt x="804" y="2901"/>
                </a:lnTo>
                <a:lnTo>
                  <a:pt x="815" y="2899"/>
                </a:lnTo>
                <a:lnTo>
                  <a:pt x="826" y="2896"/>
                </a:lnTo>
                <a:lnTo>
                  <a:pt x="839" y="2891"/>
                </a:lnTo>
                <a:lnTo>
                  <a:pt x="852" y="2884"/>
                </a:lnTo>
                <a:lnTo>
                  <a:pt x="865" y="2874"/>
                </a:lnTo>
                <a:lnTo>
                  <a:pt x="879" y="2860"/>
                </a:lnTo>
                <a:lnTo>
                  <a:pt x="894" y="2844"/>
                </a:lnTo>
                <a:lnTo>
                  <a:pt x="907" y="2824"/>
                </a:lnTo>
                <a:lnTo>
                  <a:pt x="921" y="2801"/>
                </a:lnTo>
                <a:lnTo>
                  <a:pt x="921" y="2801"/>
                </a:lnTo>
                <a:lnTo>
                  <a:pt x="924" y="2797"/>
                </a:lnTo>
                <a:lnTo>
                  <a:pt x="927" y="2793"/>
                </a:lnTo>
                <a:lnTo>
                  <a:pt x="930" y="2791"/>
                </a:lnTo>
                <a:lnTo>
                  <a:pt x="935" y="2789"/>
                </a:lnTo>
                <a:lnTo>
                  <a:pt x="939" y="2788"/>
                </a:lnTo>
                <a:lnTo>
                  <a:pt x="943" y="2788"/>
                </a:lnTo>
                <a:lnTo>
                  <a:pt x="951" y="2788"/>
                </a:lnTo>
                <a:lnTo>
                  <a:pt x="970" y="2790"/>
                </a:lnTo>
                <a:lnTo>
                  <a:pt x="982" y="2790"/>
                </a:lnTo>
                <a:lnTo>
                  <a:pt x="987" y="2789"/>
                </a:lnTo>
                <a:lnTo>
                  <a:pt x="992" y="2788"/>
                </a:lnTo>
                <a:lnTo>
                  <a:pt x="992" y="2788"/>
                </a:lnTo>
                <a:lnTo>
                  <a:pt x="1010" y="2782"/>
                </a:lnTo>
                <a:lnTo>
                  <a:pt x="1017" y="2777"/>
                </a:lnTo>
                <a:lnTo>
                  <a:pt x="1024" y="2773"/>
                </a:lnTo>
                <a:lnTo>
                  <a:pt x="1029" y="2770"/>
                </a:lnTo>
                <a:lnTo>
                  <a:pt x="1033" y="2766"/>
                </a:lnTo>
                <a:lnTo>
                  <a:pt x="1036" y="2762"/>
                </a:lnTo>
                <a:lnTo>
                  <a:pt x="1039" y="2757"/>
                </a:lnTo>
                <a:lnTo>
                  <a:pt x="1041" y="2753"/>
                </a:lnTo>
                <a:lnTo>
                  <a:pt x="1042" y="2748"/>
                </a:lnTo>
                <a:lnTo>
                  <a:pt x="1043" y="2739"/>
                </a:lnTo>
                <a:lnTo>
                  <a:pt x="1042" y="2728"/>
                </a:lnTo>
                <a:lnTo>
                  <a:pt x="1040" y="2718"/>
                </a:lnTo>
                <a:lnTo>
                  <a:pt x="1035" y="2696"/>
                </a:lnTo>
                <a:lnTo>
                  <a:pt x="1034" y="2685"/>
                </a:lnTo>
                <a:lnTo>
                  <a:pt x="1033" y="2673"/>
                </a:lnTo>
                <a:lnTo>
                  <a:pt x="1034" y="2662"/>
                </a:lnTo>
                <a:lnTo>
                  <a:pt x="1036" y="2657"/>
                </a:lnTo>
                <a:lnTo>
                  <a:pt x="1038" y="2651"/>
                </a:lnTo>
                <a:lnTo>
                  <a:pt x="1040" y="2646"/>
                </a:lnTo>
                <a:lnTo>
                  <a:pt x="1044" y="2640"/>
                </a:lnTo>
                <a:lnTo>
                  <a:pt x="1048" y="2634"/>
                </a:lnTo>
                <a:lnTo>
                  <a:pt x="1054" y="2629"/>
                </a:lnTo>
                <a:lnTo>
                  <a:pt x="1054" y="2629"/>
                </a:lnTo>
                <a:lnTo>
                  <a:pt x="1069" y="2616"/>
                </a:lnTo>
                <a:lnTo>
                  <a:pt x="1084" y="2603"/>
                </a:lnTo>
                <a:lnTo>
                  <a:pt x="1099" y="2591"/>
                </a:lnTo>
                <a:lnTo>
                  <a:pt x="1115" y="2579"/>
                </a:lnTo>
                <a:lnTo>
                  <a:pt x="1146" y="2559"/>
                </a:lnTo>
                <a:lnTo>
                  <a:pt x="1178" y="2540"/>
                </a:lnTo>
                <a:lnTo>
                  <a:pt x="1210" y="2524"/>
                </a:lnTo>
                <a:lnTo>
                  <a:pt x="1241" y="2509"/>
                </a:lnTo>
                <a:lnTo>
                  <a:pt x="1273" y="2494"/>
                </a:lnTo>
                <a:lnTo>
                  <a:pt x="1304" y="2482"/>
                </a:lnTo>
                <a:lnTo>
                  <a:pt x="1304" y="2482"/>
                </a:lnTo>
                <a:lnTo>
                  <a:pt x="1303" y="2486"/>
                </a:lnTo>
                <a:lnTo>
                  <a:pt x="1299" y="2498"/>
                </a:lnTo>
                <a:lnTo>
                  <a:pt x="1294" y="2518"/>
                </a:lnTo>
                <a:lnTo>
                  <a:pt x="1291" y="2541"/>
                </a:lnTo>
                <a:lnTo>
                  <a:pt x="1290" y="2556"/>
                </a:lnTo>
                <a:lnTo>
                  <a:pt x="1290" y="2570"/>
                </a:lnTo>
                <a:lnTo>
                  <a:pt x="1291" y="2585"/>
                </a:lnTo>
                <a:lnTo>
                  <a:pt x="1292" y="2602"/>
                </a:lnTo>
                <a:lnTo>
                  <a:pt x="1296" y="2618"/>
                </a:lnTo>
                <a:lnTo>
                  <a:pt x="1301" y="2634"/>
                </a:lnTo>
                <a:lnTo>
                  <a:pt x="1306" y="2652"/>
                </a:lnTo>
                <a:lnTo>
                  <a:pt x="1314" y="2669"/>
                </a:lnTo>
                <a:lnTo>
                  <a:pt x="1640" y="2585"/>
                </a:lnTo>
                <a:lnTo>
                  <a:pt x="1640" y="2585"/>
                </a:lnTo>
                <a:lnTo>
                  <a:pt x="1634" y="2569"/>
                </a:lnTo>
                <a:lnTo>
                  <a:pt x="1631" y="2553"/>
                </a:lnTo>
                <a:lnTo>
                  <a:pt x="1629" y="2535"/>
                </a:lnTo>
                <a:lnTo>
                  <a:pt x="1629" y="2518"/>
                </a:lnTo>
                <a:lnTo>
                  <a:pt x="1631" y="2500"/>
                </a:lnTo>
                <a:lnTo>
                  <a:pt x="1634" y="2483"/>
                </a:lnTo>
                <a:lnTo>
                  <a:pt x="1638" y="2466"/>
                </a:lnTo>
                <a:lnTo>
                  <a:pt x="1644" y="2447"/>
                </a:lnTo>
                <a:lnTo>
                  <a:pt x="1651" y="2430"/>
                </a:lnTo>
                <a:lnTo>
                  <a:pt x="1660" y="2411"/>
                </a:lnTo>
                <a:lnTo>
                  <a:pt x="1669" y="2394"/>
                </a:lnTo>
                <a:lnTo>
                  <a:pt x="1679" y="2377"/>
                </a:lnTo>
                <a:lnTo>
                  <a:pt x="1689" y="2359"/>
                </a:lnTo>
                <a:lnTo>
                  <a:pt x="1701" y="2342"/>
                </a:lnTo>
                <a:lnTo>
                  <a:pt x="1725" y="2310"/>
                </a:lnTo>
                <a:lnTo>
                  <a:pt x="1725" y="2310"/>
                </a:lnTo>
                <a:lnTo>
                  <a:pt x="1726" y="2309"/>
                </a:lnTo>
                <a:lnTo>
                  <a:pt x="1727" y="2309"/>
                </a:lnTo>
                <a:lnTo>
                  <a:pt x="1728" y="2313"/>
                </a:lnTo>
                <a:lnTo>
                  <a:pt x="1725" y="2335"/>
                </a:lnTo>
                <a:lnTo>
                  <a:pt x="1721" y="2368"/>
                </a:lnTo>
                <a:lnTo>
                  <a:pt x="1715" y="2410"/>
                </a:lnTo>
                <a:lnTo>
                  <a:pt x="1713" y="2433"/>
                </a:lnTo>
                <a:lnTo>
                  <a:pt x="1711" y="2456"/>
                </a:lnTo>
                <a:lnTo>
                  <a:pt x="1711" y="2478"/>
                </a:lnTo>
                <a:lnTo>
                  <a:pt x="1711" y="2499"/>
                </a:lnTo>
                <a:lnTo>
                  <a:pt x="1713" y="2519"/>
                </a:lnTo>
                <a:lnTo>
                  <a:pt x="1716" y="2536"/>
                </a:lnTo>
                <a:lnTo>
                  <a:pt x="1719" y="2544"/>
                </a:lnTo>
                <a:lnTo>
                  <a:pt x="1722" y="2551"/>
                </a:lnTo>
                <a:lnTo>
                  <a:pt x="1726" y="2557"/>
                </a:lnTo>
                <a:lnTo>
                  <a:pt x="1730" y="2562"/>
                </a:lnTo>
                <a:lnTo>
                  <a:pt x="2050" y="2479"/>
                </a:lnTo>
                <a:lnTo>
                  <a:pt x="2050" y="2479"/>
                </a:lnTo>
                <a:lnTo>
                  <a:pt x="2046" y="2469"/>
                </a:lnTo>
                <a:lnTo>
                  <a:pt x="2043" y="2457"/>
                </a:lnTo>
                <a:lnTo>
                  <a:pt x="2041" y="2446"/>
                </a:lnTo>
                <a:lnTo>
                  <a:pt x="2039" y="2434"/>
                </a:lnTo>
                <a:lnTo>
                  <a:pt x="2038" y="2422"/>
                </a:lnTo>
                <a:lnTo>
                  <a:pt x="2038" y="2409"/>
                </a:lnTo>
                <a:lnTo>
                  <a:pt x="2039" y="2383"/>
                </a:lnTo>
                <a:lnTo>
                  <a:pt x="2043" y="2356"/>
                </a:lnTo>
                <a:lnTo>
                  <a:pt x="2048" y="2330"/>
                </a:lnTo>
                <a:lnTo>
                  <a:pt x="2055" y="2303"/>
                </a:lnTo>
                <a:lnTo>
                  <a:pt x="2064" y="2279"/>
                </a:lnTo>
                <a:lnTo>
                  <a:pt x="2064" y="2279"/>
                </a:lnTo>
                <a:lnTo>
                  <a:pt x="2072" y="2306"/>
                </a:lnTo>
                <a:lnTo>
                  <a:pt x="2079" y="2335"/>
                </a:lnTo>
                <a:lnTo>
                  <a:pt x="2088" y="2362"/>
                </a:lnTo>
                <a:lnTo>
                  <a:pt x="2098" y="2390"/>
                </a:lnTo>
                <a:lnTo>
                  <a:pt x="2108" y="2417"/>
                </a:lnTo>
                <a:lnTo>
                  <a:pt x="2121" y="2443"/>
                </a:lnTo>
                <a:lnTo>
                  <a:pt x="2135" y="2469"/>
                </a:lnTo>
                <a:lnTo>
                  <a:pt x="2149" y="2494"/>
                </a:lnTo>
                <a:lnTo>
                  <a:pt x="2166" y="2519"/>
                </a:lnTo>
                <a:lnTo>
                  <a:pt x="2183" y="2541"/>
                </a:lnTo>
                <a:lnTo>
                  <a:pt x="2201" y="2563"/>
                </a:lnTo>
                <a:lnTo>
                  <a:pt x="2222" y="2583"/>
                </a:lnTo>
                <a:lnTo>
                  <a:pt x="2244" y="2603"/>
                </a:lnTo>
                <a:lnTo>
                  <a:pt x="2268" y="2619"/>
                </a:lnTo>
                <a:lnTo>
                  <a:pt x="2280" y="2627"/>
                </a:lnTo>
                <a:lnTo>
                  <a:pt x="2292" y="2634"/>
                </a:lnTo>
                <a:lnTo>
                  <a:pt x="2306" y="2641"/>
                </a:lnTo>
                <a:lnTo>
                  <a:pt x="2320" y="2648"/>
                </a:lnTo>
                <a:lnTo>
                  <a:pt x="2320" y="2648"/>
                </a:lnTo>
                <a:lnTo>
                  <a:pt x="2365" y="2667"/>
                </a:lnTo>
                <a:lnTo>
                  <a:pt x="2410" y="2685"/>
                </a:lnTo>
                <a:lnTo>
                  <a:pt x="2454" y="2702"/>
                </a:lnTo>
                <a:lnTo>
                  <a:pt x="2499" y="2718"/>
                </a:lnTo>
                <a:lnTo>
                  <a:pt x="2544" y="2733"/>
                </a:lnTo>
                <a:lnTo>
                  <a:pt x="2589" y="2749"/>
                </a:lnTo>
                <a:lnTo>
                  <a:pt x="2683" y="2778"/>
                </a:lnTo>
                <a:lnTo>
                  <a:pt x="2782" y="2807"/>
                </a:lnTo>
                <a:lnTo>
                  <a:pt x="2889" y="2838"/>
                </a:lnTo>
                <a:lnTo>
                  <a:pt x="3005" y="2872"/>
                </a:lnTo>
                <a:lnTo>
                  <a:pt x="3133" y="2908"/>
                </a:lnTo>
                <a:lnTo>
                  <a:pt x="3133" y="2908"/>
                </a:lnTo>
                <a:lnTo>
                  <a:pt x="3205" y="2931"/>
                </a:lnTo>
                <a:lnTo>
                  <a:pt x="3273" y="2954"/>
                </a:lnTo>
                <a:lnTo>
                  <a:pt x="3305" y="2966"/>
                </a:lnTo>
                <a:lnTo>
                  <a:pt x="3333" y="2977"/>
                </a:lnTo>
                <a:lnTo>
                  <a:pt x="3358" y="2987"/>
                </a:lnTo>
                <a:lnTo>
                  <a:pt x="3377" y="2996"/>
                </a:lnTo>
                <a:lnTo>
                  <a:pt x="3377" y="2996"/>
                </a:lnTo>
                <a:lnTo>
                  <a:pt x="3383" y="2999"/>
                </a:lnTo>
                <a:lnTo>
                  <a:pt x="3389" y="3003"/>
                </a:lnTo>
                <a:lnTo>
                  <a:pt x="3393" y="3006"/>
                </a:lnTo>
                <a:lnTo>
                  <a:pt x="3397" y="3011"/>
                </a:lnTo>
                <a:lnTo>
                  <a:pt x="3399" y="3015"/>
                </a:lnTo>
                <a:lnTo>
                  <a:pt x="3401" y="3020"/>
                </a:lnTo>
                <a:lnTo>
                  <a:pt x="3402" y="3024"/>
                </a:lnTo>
                <a:lnTo>
                  <a:pt x="3402" y="3028"/>
                </a:lnTo>
                <a:lnTo>
                  <a:pt x="3401" y="3037"/>
                </a:lnTo>
                <a:lnTo>
                  <a:pt x="3397" y="3046"/>
                </a:lnTo>
                <a:lnTo>
                  <a:pt x="3392" y="3055"/>
                </a:lnTo>
                <a:lnTo>
                  <a:pt x="3386" y="3064"/>
                </a:lnTo>
                <a:lnTo>
                  <a:pt x="3378" y="3072"/>
                </a:lnTo>
                <a:lnTo>
                  <a:pt x="3371" y="3080"/>
                </a:lnTo>
                <a:lnTo>
                  <a:pt x="3357" y="3092"/>
                </a:lnTo>
                <a:lnTo>
                  <a:pt x="3346" y="3102"/>
                </a:lnTo>
                <a:lnTo>
                  <a:pt x="3341" y="3105"/>
                </a:lnTo>
                <a:lnTo>
                  <a:pt x="3341" y="3105"/>
                </a:lnTo>
                <a:lnTo>
                  <a:pt x="3355" y="3113"/>
                </a:lnTo>
                <a:lnTo>
                  <a:pt x="3371" y="3121"/>
                </a:lnTo>
                <a:lnTo>
                  <a:pt x="3411" y="3139"/>
                </a:lnTo>
                <a:lnTo>
                  <a:pt x="3435" y="3152"/>
                </a:lnTo>
                <a:lnTo>
                  <a:pt x="3461" y="3167"/>
                </a:lnTo>
                <a:lnTo>
                  <a:pt x="3492" y="3186"/>
                </a:lnTo>
                <a:lnTo>
                  <a:pt x="3527" y="3211"/>
                </a:lnTo>
                <a:lnTo>
                  <a:pt x="3527" y="3211"/>
                </a:lnTo>
                <a:lnTo>
                  <a:pt x="3545" y="3226"/>
                </a:lnTo>
                <a:lnTo>
                  <a:pt x="3563" y="3244"/>
                </a:lnTo>
                <a:lnTo>
                  <a:pt x="3580" y="3263"/>
                </a:lnTo>
                <a:lnTo>
                  <a:pt x="3595" y="3284"/>
                </a:lnTo>
                <a:lnTo>
                  <a:pt x="3608" y="3305"/>
                </a:lnTo>
                <a:lnTo>
                  <a:pt x="3622" y="3329"/>
                </a:lnTo>
                <a:lnTo>
                  <a:pt x="3634" y="3352"/>
                </a:lnTo>
                <a:lnTo>
                  <a:pt x="3645" y="3378"/>
                </a:lnTo>
                <a:lnTo>
                  <a:pt x="3655" y="3404"/>
                </a:lnTo>
                <a:lnTo>
                  <a:pt x="3665" y="3432"/>
                </a:lnTo>
                <a:lnTo>
                  <a:pt x="3674" y="3460"/>
                </a:lnTo>
                <a:lnTo>
                  <a:pt x="3682" y="3489"/>
                </a:lnTo>
                <a:lnTo>
                  <a:pt x="3698" y="3549"/>
                </a:lnTo>
                <a:lnTo>
                  <a:pt x="3714" y="3612"/>
                </a:lnTo>
                <a:lnTo>
                  <a:pt x="3714" y="3612"/>
                </a:lnTo>
                <a:lnTo>
                  <a:pt x="3725" y="3662"/>
                </a:lnTo>
                <a:lnTo>
                  <a:pt x="3734" y="3715"/>
                </a:lnTo>
                <a:lnTo>
                  <a:pt x="3742" y="3768"/>
                </a:lnTo>
                <a:lnTo>
                  <a:pt x="3744" y="3795"/>
                </a:lnTo>
                <a:lnTo>
                  <a:pt x="3746" y="3819"/>
                </a:lnTo>
                <a:lnTo>
                  <a:pt x="3748" y="3844"/>
                </a:lnTo>
                <a:lnTo>
                  <a:pt x="3749" y="3867"/>
                </a:lnTo>
                <a:lnTo>
                  <a:pt x="3748" y="3889"/>
                </a:lnTo>
                <a:lnTo>
                  <a:pt x="3745" y="3909"/>
                </a:lnTo>
                <a:lnTo>
                  <a:pt x="3742" y="3928"/>
                </a:lnTo>
                <a:lnTo>
                  <a:pt x="3737" y="3944"/>
                </a:lnTo>
                <a:lnTo>
                  <a:pt x="3731" y="3957"/>
                </a:lnTo>
                <a:lnTo>
                  <a:pt x="3728" y="3963"/>
                </a:lnTo>
                <a:lnTo>
                  <a:pt x="3724" y="3969"/>
                </a:lnTo>
                <a:lnTo>
                  <a:pt x="3724" y="3969"/>
                </a:lnTo>
                <a:lnTo>
                  <a:pt x="3715" y="3979"/>
                </a:lnTo>
                <a:lnTo>
                  <a:pt x="3705" y="3989"/>
                </a:lnTo>
                <a:lnTo>
                  <a:pt x="3691" y="3998"/>
                </a:lnTo>
                <a:lnTo>
                  <a:pt x="3683" y="4003"/>
                </a:lnTo>
                <a:lnTo>
                  <a:pt x="3673" y="4008"/>
                </a:lnTo>
                <a:lnTo>
                  <a:pt x="3663" y="4014"/>
                </a:lnTo>
                <a:lnTo>
                  <a:pt x="3650" y="4019"/>
                </a:lnTo>
                <a:lnTo>
                  <a:pt x="3621" y="4028"/>
                </a:lnTo>
                <a:lnTo>
                  <a:pt x="3582" y="4038"/>
                </a:lnTo>
                <a:lnTo>
                  <a:pt x="3535" y="4048"/>
                </a:lnTo>
                <a:lnTo>
                  <a:pt x="3560" y="4171"/>
                </a:lnTo>
                <a:lnTo>
                  <a:pt x="3560" y="4171"/>
                </a:lnTo>
                <a:lnTo>
                  <a:pt x="3579" y="4172"/>
                </a:lnTo>
                <a:lnTo>
                  <a:pt x="3597" y="4172"/>
                </a:lnTo>
                <a:lnTo>
                  <a:pt x="3615" y="4171"/>
                </a:lnTo>
                <a:lnTo>
                  <a:pt x="3631" y="4169"/>
                </a:lnTo>
                <a:lnTo>
                  <a:pt x="3646" y="4167"/>
                </a:lnTo>
                <a:lnTo>
                  <a:pt x="3662" y="4164"/>
                </a:lnTo>
                <a:lnTo>
                  <a:pt x="3688" y="4157"/>
                </a:lnTo>
                <a:lnTo>
                  <a:pt x="3711" y="4150"/>
                </a:lnTo>
                <a:lnTo>
                  <a:pt x="3728" y="4143"/>
                </a:lnTo>
                <a:lnTo>
                  <a:pt x="3742" y="4137"/>
                </a:lnTo>
                <a:lnTo>
                  <a:pt x="3742" y="4137"/>
                </a:lnTo>
                <a:lnTo>
                  <a:pt x="3736" y="4143"/>
                </a:lnTo>
                <a:lnTo>
                  <a:pt x="3730" y="4151"/>
                </a:lnTo>
                <a:lnTo>
                  <a:pt x="3722" y="4161"/>
                </a:lnTo>
                <a:lnTo>
                  <a:pt x="3722" y="4161"/>
                </a:lnTo>
                <a:lnTo>
                  <a:pt x="3711" y="4177"/>
                </a:lnTo>
                <a:lnTo>
                  <a:pt x="3700" y="4194"/>
                </a:lnTo>
                <a:lnTo>
                  <a:pt x="3692" y="4209"/>
                </a:lnTo>
                <a:lnTo>
                  <a:pt x="3685" y="4224"/>
                </a:lnTo>
                <a:lnTo>
                  <a:pt x="3680" y="4240"/>
                </a:lnTo>
                <a:lnTo>
                  <a:pt x="3675" y="4257"/>
                </a:lnTo>
                <a:lnTo>
                  <a:pt x="3672" y="4274"/>
                </a:lnTo>
                <a:lnTo>
                  <a:pt x="3669" y="4295"/>
                </a:lnTo>
                <a:lnTo>
                  <a:pt x="3799" y="4379"/>
                </a:lnTo>
                <a:lnTo>
                  <a:pt x="3799" y="4379"/>
                </a:lnTo>
                <a:lnTo>
                  <a:pt x="3812" y="4338"/>
                </a:lnTo>
                <a:lnTo>
                  <a:pt x="3826" y="4298"/>
                </a:lnTo>
                <a:lnTo>
                  <a:pt x="3841" y="4262"/>
                </a:lnTo>
                <a:lnTo>
                  <a:pt x="3855" y="4229"/>
                </a:lnTo>
                <a:lnTo>
                  <a:pt x="3870" y="4202"/>
                </a:lnTo>
                <a:lnTo>
                  <a:pt x="3877" y="4189"/>
                </a:lnTo>
                <a:lnTo>
                  <a:pt x="3885" y="4179"/>
                </a:lnTo>
                <a:lnTo>
                  <a:pt x="3892" y="4170"/>
                </a:lnTo>
                <a:lnTo>
                  <a:pt x="3899" y="4163"/>
                </a:lnTo>
                <a:lnTo>
                  <a:pt x="3906" y="4158"/>
                </a:lnTo>
                <a:lnTo>
                  <a:pt x="3913" y="4154"/>
                </a:lnTo>
                <a:lnTo>
                  <a:pt x="3913" y="4154"/>
                </a:lnTo>
                <a:lnTo>
                  <a:pt x="3919" y="4152"/>
                </a:lnTo>
                <a:lnTo>
                  <a:pt x="3926" y="4152"/>
                </a:lnTo>
                <a:lnTo>
                  <a:pt x="3935" y="4152"/>
                </a:lnTo>
                <a:lnTo>
                  <a:pt x="3944" y="4153"/>
                </a:lnTo>
                <a:lnTo>
                  <a:pt x="3954" y="4155"/>
                </a:lnTo>
                <a:lnTo>
                  <a:pt x="3965" y="4157"/>
                </a:lnTo>
                <a:lnTo>
                  <a:pt x="3990" y="4166"/>
                </a:lnTo>
                <a:lnTo>
                  <a:pt x="4017" y="4177"/>
                </a:lnTo>
                <a:lnTo>
                  <a:pt x="4047" y="4192"/>
                </a:lnTo>
                <a:lnTo>
                  <a:pt x="4078" y="4212"/>
                </a:lnTo>
                <a:lnTo>
                  <a:pt x="4110" y="4233"/>
                </a:lnTo>
                <a:lnTo>
                  <a:pt x="4127" y="4246"/>
                </a:lnTo>
                <a:lnTo>
                  <a:pt x="4143" y="4259"/>
                </a:lnTo>
                <a:lnTo>
                  <a:pt x="4160" y="4273"/>
                </a:lnTo>
                <a:lnTo>
                  <a:pt x="4176" y="4288"/>
                </a:lnTo>
                <a:lnTo>
                  <a:pt x="4192" y="4303"/>
                </a:lnTo>
                <a:lnTo>
                  <a:pt x="4208" y="4319"/>
                </a:lnTo>
                <a:lnTo>
                  <a:pt x="4224" y="4337"/>
                </a:lnTo>
                <a:lnTo>
                  <a:pt x="4239" y="4355"/>
                </a:lnTo>
                <a:lnTo>
                  <a:pt x="4254" y="4373"/>
                </a:lnTo>
                <a:lnTo>
                  <a:pt x="4268" y="4393"/>
                </a:lnTo>
                <a:lnTo>
                  <a:pt x="4282" y="4413"/>
                </a:lnTo>
                <a:lnTo>
                  <a:pt x="4296" y="4435"/>
                </a:lnTo>
                <a:lnTo>
                  <a:pt x="4308" y="4456"/>
                </a:lnTo>
                <a:lnTo>
                  <a:pt x="4320" y="4479"/>
                </a:lnTo>
                <a:lnTo>
                  <a:pt x="4331" y="4502"/>
                </a:lnTo>
                <a:lnTo>
                  <a:pt x="4342" y="4527"/>
                </a:lnTo>
                <a:lnTo>
                  <a:pt x="4342" y="4527"/>
                </a:lnTo>
                <a:lnTo>
                  <a:pt x="4347" y="4541"/>
                </a:lnTo>
                <a:lnTo>
                  <a:pt x="4352" y="4558"/>
                </a:lnTo>
                <a:lnTo>
                  <a:pt x="4356" y="4574"/>
                </a:lnTo>
                <a:lnTo>
                  <a:pt x="4360" y="4591"/>
                </a:lnTo>
                <a:lnTo>
                  <a:pt x="4363" y="4610"/>
                </a:lnTo>
                <a:lnTo>
                  <a:pt x="4366" y="4628"/>
                </a:lnTo>
                <a:lnTo>
                  <a:pt x="4370" y="4667"/>
                </a:lnTo>
                <a:lnTo>
                  <a:pt x="4372" y="4706"/>
                </a:lnTo>
                <a:lnTo>
                  <a:pt x="4371" y="4747"/>
                </a:lnTo>
                <a:lnTo>
                  <a:pt x="4370" y="4767"/>
                </a:lnTo>
                <a:lnTo>
                  <a:pt x="4369" y="4787"/>
                </a:lnTo>
                <a:lnTo>
                  <a:pt x="4366" y="4807"/>
                </a:lnTo>
                <a:lnTo>
                  <a:pt x="4363" y="4826"/>
                </a:lnTo>
                <a:lnTo>
                  <a:pt x="4360" y="4846"/>
                </a:lnTo>
                <a:lnTo>
                  <a:pt x="4356" y="4864"/>
                </a:lnTo>
                <a:lnTo>
                  <a:pt x="4351" y="4883"/>
                </a:lnTo>
                <a:lnTo>
                  <a:pt x="4345" y="4900"/>
                </a:lnTo>
                <a:lnTo>
                  <a:pt x="4339" y="4917"/>
                </a:lnTo>
                <a:lnTo>
                  <a:pt x="4332" y="4933"/>
                </a:lnTo>
                <a:lnTo>
                  <a:pt x="4324" y="4948"/>
                </a:lnTo>
                <a:lnTo>
                  <a:pt x="4316" y="4962"/>
                </a:lnTo>
                <a:lnTo>
                  <a:pt x="4307" y="4976"/>
                </a:lnTo>
                <a:lnTo>
                  <a:pt x="4298" y="4988"/>
                </a:lnTo>
                <a:lnTo>
                  <a:pt x="4287" y="4999"/>
                </a:lnTo>
                <a:lnTo>
                  <a:pt x="4276" y="5008"/>
                </a:lnTo>
                <a:lnTo>
                  <a:pt x="4264" y="5017"/>
                </a:lnTo>
                <a:lnTo>
                  <a:pt x="4252" y="5024"/>
                </a:lnTo>
                <a:lnTo>
                  <a:pt x="4238" y="5029"/>
                </a:lnTo>
                <a:lnTo>
                  <a:pt x="4224" y="5032"/>
                </a:lnTo>
                <a:lnTo>
                  <a:pt x="4224" y="5032"/>
                </a:lnTo>
                <a:lnTo>
                  <a:pt x="4216" y="5033"/>
                </a:lnTo>
                <a:lnTo>
                  <a:pt x="4208" y="5033"/>
                </a:lnTo>
                <a:lnTo>
                  <a:pt x="4198" y="5032"/>
                </a:lnTo>
                <a:lnTo>
                  <a:pt x="4188" y="5030"/>
                </a:lnTo>
                <a:lnTo>
                  <a:pt x="4168" y="5025"/>
                </a:lnTo>
                <a:lnTo>
                  <a:pt x="4145" y="5017"/>
                </a:lnTo>
                <a:lnTo>
                  <a:pt x="4123" y="5006"/>
                </a:lnTo>
                <a:lnTo>
                  <a:pt x="4099" y="4995"/>
                </a:lnTo>
                <a:lnTo>
                  <a:pt x="4051" y="4973"/>
                </a:lnTo>
                <a:lnTo>
                  <a:pt x="4028" y="4961"/>
                </a:lnTo>
                <a:lnTo>
                  <a:pt x="4005" y="4952"/>
                </a:lnTo>
                <a:lnTo>
                  <a:pt x="3984" y="4945"/>
                </a:lnTo>
                <a:lnTo>
                  <a:pt x="3964" y="4940"/>
                </a:lnTo>
                <a:lnTo>
                  <a:pt x="3955" y="4939"/>
                </a:lnTo>
                <a:lnTo>
                  <a:pt x="3947" y="4938"/>
                </a:lnTo>
                <a:lnTo>
                  <a:pt x="3939" y="4939"/>
                </a:lnTo>
                <a:lnTo>
                  <a:pt x="3932" y="4940"/>
                </a:lnTo>
                <a:lnTo>
                  <a:pt x="3924" y="4943"/>
                </a:lnTo>
                <a:lnTo>
                  <a:pt x="3919" y="4947"/>
                </a:lnTo>
                <a:lnTo>
                  <a:pt x="3914" y="4952"/>
                </a:lnTo>
                <a:lnTo>
                  <a:pt x="3909" y="4958"/>
                </a:lnTo>
                <a:lnTo>
                  <a:pt x="3909" y="4958"/>
                </a:lnTo>
                <a:lnTo>
                  <a:pt x="3905" y="4965"/>
                </a:lnTo>
                <a:lnTo>
                  <a:pt x="3900" y="4973"/>
                </a:lnTo>
                <a:lnTo>
                  <a:pt x="3893" y="4979"/>
                </a:lnTo>
                <a:lnTo>
                  <a:pt x="3886" y="4985"/>
                </a:lnTo>
                <a:lnTo>
                  <a:pt x="3869" y="4996"/>
                </a:lnTo>
                <a:lnTo>
                  <a:pt x="3851" y="5006"/>
                </a:lnTo>
                <a:lnTo>
                  <a:pt x="3810" y="5028"/>
                </a:lnTo>
                <a:lnTo>
                  <a:pt x="3789" y="5039"/>
                </a:lnTo>
                <a:lnTo>
                  <a:pt x="3770" y="5052"/>
                </a:lnTo>
                <a:lnTo>
                  <a:pt x="3761" y="5058"/>
                </a:lnTo>
                <a:lnTo>
                  <a:pt x="3752" y="5067"/>
                </a:lnTo>
                <a:lnTo>
                  <a:pt x="3743" y="5074"/>
                </a:lnTo>
                <a:lnTo>
                  <a:pt x="3735" y="5083"/>
                </a:lnTo>
                <a:lnTo>
                  <a:pt x="3728" y="5092"/>
                </a:lnTo>
                <a:lnTo>
                  <a:pt x="3722" y="5102"/>
                </a:lnTo>
                <a:lnTo>
                  <a:pt x="3717" y="5113"/>
                </a:lnTo>
                <a:lnTo>
                  <a:pt x="3713" y="5125"/>
                </a:lnTo>
                <a:lnTo>
                  <a:pt x="3710" y="5137"/>
                </a:lnTo>
                <a:lnTo>
                  <a:pt x="3708" y="5151"/>
                </a:lnTo>
                <a:lnTo>
                  <a:pt x="3707" y="5165"/>
                </a:lnTo>
                <a:lnTo>
                  <a:pt x="3707" y="5181"/>
                </a:lnTo>
                <a:lnTo>
                  <a:pt x="3709" y="5198"/>
                </a:lnTo>
                <a:lnTo>
                  <a:pt x="3713" y="5215"/>
                </a:lnTo>
                <a:lnTo>
                  <a:pt x="3718" y="5234"/>
                </a:lnTo>
                <a:lnTo>
                  <a:pt x="3724" y="5255"/>
                </a:lnTo>
                <a:lnTo>
                  <a:pt x="3724" y="5255"/>
                </a:lnTo>
                <a:lnTo>
                  <a:pt x="3741" y="5234"/>
                </a:lnTo>
                <a:lnTo>
                  <a:pt x="3759" y="5213"/>
                </a:lnTo>
                <a:lnTo>
                  <a:pt x="3776" y="5194"/>
                </a:lnTo>
                <a:lnTo>
                  <a:pt x="3794" y="5178"/>
                </a:lnTo>
                <a:lnTo>
                  <a:pt x="3802" y="5171"/>
                </a:lnTo>
                <a:lnTo>
                  <a:pt x="3811" y="5165"/>
                </a:lnTo>
                <a:lnTo>
                  <a:pt x="3819" y="5159"/>
                </a:lnTo>
                <a:lnTo>
                  <a:pt x="3827" y="5155"/>
                </a:lnTo>
                <a:lnTo>
                  <a:pt x="3835" y="5153"/>
                </a:lnTo>
                <a:lnTo>
                  <a:pt x="3843" y="5151"/>
                </a:lnTo>
                <a:lnTo>
                  <a:pt x="3850" y="5151"/>
                </a:lnTo>
                <a:lnTo>
                  <a:pt x="3857" y="5153"/>
                </a:lnTo>
                <a:lnTo>
                  <a:pt x="3857" y="5153"/>
                </a:lnTo>
                <a:lnTo>
                  <a:pt x="3861" y="5155"/>
                </a:lnTo>
                <a:lnTo>
                  <a:pt x="3864" y="5157"/>
                </a:lnTo>
                <a:lnTo>
                  <a:pt x="3870" y="5163"/>
                </a:lnTo>
                <a:lnTo>
                  <a:pt x="3875" y="5171"/>
                </a:lnTo>
                <a:lnTo>
                  <a:pt x="3879" y="5179"/>
                </a:lnTo>
                <a:lnTo>
                  <a:pt x="3888" y="5200"/>
                </a:lnTo>
                <a:lnTo>
                  <a:pt x="3894" y="5210"/>
                </a:lnTo>
                <a:lnTo>
                  <a:pt x="3901" y="5220"/>
                </a:lnTo>
                <a:lnTo>
                  <a:pt x="3901" y="5220"/>
                </a:lnTo>
                <a:lnTo>
                  <a:pt x="3904" y="5223"/>
                </a:lnTo>
                <a:lnTo>
                  <a:pt x="3908" y="5225"/>
                </a:lnTo>
                <a:lnTo>
                  <a:pt x="3913" y="5227"/>
                </a:lnTo>
                <a:lnTo>
                  <a:pt x="3919" y="5228"/>
                </a:lnTo>
                <a:lnTo>
                  <a:pt x="3934" y="5230"/>
                </a:lnTo>
                <a:lnTo>
                  <a:pt x="3950" y="5230"/>
                </a:lnTo>
                <a:lnTo>
                  <a:pt x="3968" y="5229"/>
                </a:lnTo>
                <a:lnTo>
                  <a:pt x="3989" y="5227"/>
                </a:lnTo>
                <a:lnTo>
                  <a:pt x="4032" y="5223"/>
                </a:lnTo>
                <a:lnTo>
                  <a:pt x="4074" y="5219"/>
                </a:lnTo>
                <a:lnTo>
                  <a:pt x="4093" y="5217"/>
                </a:lnTo>
                <a:lnTo>
                  <a:pt x="4110" y="5217"/>
                </a:lnTo>
                <a:lnTo>
                  <a:pt x="4126" y="5217"/>
                </a:lnTo>
                <a:lnTo>
                  <a:pt x="4137" y="5219"/>
                </a:lnTo>
                <a:lnTo>
                  <a:pt x="4142" y="5221"/>
                </a:lnTo>
                <a:lnTo>
                  <a:pt x="4146" y="5223"/>
                </a:lnTo>
                <a:lnTo>
                  <a:pt x="4148" y="5225"/>
                </a:lnTo>
                <a:lnTo>
                  <a:pt x="4150" y="5228"/>
                </a:lnTo>
                <a:lnTo>
                  <a:pt x="4150" y="5228"/>
                </a:lnTo>
                <a:lnTo>
                  <a:pt x="4151" y="5231"/>
                </a:lnTo>
                <a:lnTo>
                  <a:pt x="4150" y="5234"/>
                </a:lnTo>
                <a:lnTo>
                  <a:pt x="4149" y="5236"/>
                </a:lnTo>
                <a:lnTo>
                  <a:pt x="4148" y="5238"/>
                </a:lnTo>
                <a:lnTo>
                  <a:pt x="4143" y="5242"/>
                </a:lnTo>
                <a:lnTo>
                  <a:pt x="4136" y="5243"/>
                </a:lnTo>
                <a:lnTo>
                  <a:pt x="4118" y="5246"/>
                </a:lnTo>
                <a:lnTo>
                  <a:pt x="4100" y="5248"/>
                </a:lnTo>
                <a:lnTo>
                  <a:pt x="4100" y="5248"/>
                </a:lnTo>
                <a:lnTo>
                  <a:pt x="4021" y="5262"/>
                </a:lnTo>
                <a:lnTo>
                  <a:pt x="3981" y="5269"/>
                </a:lnTo>
                <a:lnTo>
                  <a:pt x="3943" y="5277"/>
                </a:lnTo>
                <a:lnTo>
                  <a:pt x="3925" y="5282"/>
                </a:lnTo>
                <a:lnTo>
                  <a:pt x="3909" y="5288"/>
                </a:lnTo>
                <a:lnTo>
                  <a:pt x="3894" y="5294"/>
                </a:lnTo>
                <a:lnTo>
                  <a:pt x="3881" y="5300"/>
                </a:lnTo>
                <a:lnTo>
                  <a:pt x="3869" y="5306"/>
                </a:lnTo>
                <a:lnTo>
                  <a:pt x="3860" y="5314"/>
                </a:lnTo>
                <a:lnTo>
                  <a:pt x="3853" y="5322"/>
                </a:lnTo>
                <a:lnTo>
                  <a:pt x="3850" y="5326"/>
                </a:lnTo>
                <a:lnTo>
                  <a:pt x="3848" y="5331"/>
                </a:lnTo>
                <a:lnTo>
                  <a:pt x="3848" y="5331"/>
                </a:lnTo>
                <a:lnTo>
                  <a:pt x="3846" y="5338"/>
                </a:lnTo>
                <a:lnTo>
                  <a:pt x="3846" y="5342"/>
                </a:lnTo>
                <a:lnTo>
                  <a:pt x="3847" y="5352"/>
                </a:lnTo>
                <a:lnTo>
                  <a:pt x="3847" y="5357"/>
                </a:lnTo>
                <a:lnTo>
                  <a:pt x="3846" y="5363"/>
                </a:lnTo>
                <a:lnTo>
                  <a:pt x="3845" y="5371"/>
                </a:lnTo>
                <a:lnTo>
                  <a:pt x="3842" y="5382"/>
                </a:lnTo>
                <a:lnTo>
                  <a:pt x="3842" y="5382"/>
                </a:lnTo>
                <a:lnTo>
                  <a:pt x="3837" y="5393"/>
                </a:lnTo>
                <a:lnTo>
                  <a:pt x="3831" y="5402"/>
                </a:lnTo>
                <a:lnTo>
                  <a:pt x="3823" y="5410"/>
                </a:lnTo>
                <a:lnTo>
                  <a:pt x="3815" y="5418"/>
                </a:lnTo>
                <a:lnTo>
                  <a:pt x="3796" y="5434"/>
                </a:lnTo>
                <a:lnTo>
                  <a:pt x="3786" y="5442"/>
                </a:lnTo>
                <a:lnTo>
                  <a:pt x="3776" y="5451"/>
                </a:lnTo>
                <a:lnTo>
                  <a:pt x="3767" y="5460"/>
                </a:lnTo>
                <a:lnTo>
                  <a:pt x="3758" y="5472"/>
                </a:lnTo>
                <a:lnTo>
                  <a:pt x="3750" y="5485"/>
                </a:lnTo>
                <a:lnTo>
                  <a:pt x="3742" y="5499"/>
                </a:lnTo>
                <a:lnTo>
                  <a:pt x="3736" y="5517"/>
                </a:lnTo>
                <a:lnTo>
                  <a:pt x="3732" y="5536"/>
                </a:lnTo>
                <a:lnTo>
                  <a:pt x="3730" y="5558"/>
                </a:lnTo>
                <a:lnTo>
                  <a:pt x="3730" y="5584"/>
                </a:lnTo>
                <a:lnTo>
                  <a:pt x="3730" y="5584"/>
                </a:lnTo>
                <a:lnTo>
                  <a:pt x="3732" y="5597"/>
                </a:lnTo>
                <a:lnTo>
                  <a:pt x="3735" y="5610"/>
                </a:lnTo>
                <a:lnTo>
                  <a:pt x="3739" y="5622"/>
                </a:lnTo>
                <a:lnTo>
                  <a:pt x="3744" y="5634"/>
                </a:lnTo>
                <a:lnTo>
                  <a:pt x="3751" y="5644"/>
                </a:lnTo>
                <a:lnTo>
                  <a:pt x="3757" y="5656"/>
                </a:lnTo>
                <a:lnTo>
                  <a:pt x="3763" y="5665"/>
                </a:lnTo>
                <a:lnTo>
                  <a:pt x="3770" y="5674"/>
                </a:lnTo>
                <a:lnTo>
                  <a:pt x="3784" y="5689"/>
                </a:lnTo>
                <a:lnTo>
                  <a:pt x="3797" y="5701"/>
                </a:lnTo>
                <a:lnTo>
                  <a:pt x="3807" y="5708"/>
                </a:lnTo>
                <a:lnTo>
                  <a:pt x="3810" y="5710"/>
                </a:lnTo>
                <a:lnTo>
                  <a:pt x="3813" y="5711"/>
                </a:lnTo>
                <a:lnTo>
                  <a:pt x="3813" y="5711"/>
                </a:lnTo>
                <a:lnTo>
                  <a:pt x="3814" y="5710"/>
                </a:lnTo>
                <a:lnTo>
                  <a:pt x="3815" y="5709"/>
                </a:lnTo>
                <a:lnTo>
                  <a:pt x="3816" y="5704"/>
                </a:lnTo>
                <a:lnTo>
                  <a:pt x="3818" y="5696"/>
                </a:lnTo>
                <a:lnTo>
                  <a:pt x="3818" y="5686"/>
                </a:lnTo>
                <a:lnTo>
                  <a:pt x="3820" y="5662"/>
                </a:lnTo>
                <a:lnTo>
                  <a:pt x="3823" y="5633"/>
                </a:lnTo>
                <a:lnTo>
                  <a:pt x="3825" y="5619"/>
                </a:lnTo>
                <a:lnTo>
                  <a:pt x="3828" y="5603"/>
                </a:lnTo>
                <a:lnTo>
                  <a:pt x="3831" y="5590"/>
                </a:lnTo>
                <a:lnTo>
                  <a:pt x="3836" y="5577"/>
                </a:lnTo>
                <a:lnTo>
                  <a:pt x="3843" y="5566"/>
                </a:lnTo>
                <a:lnTo>
                  <a:pt x="3847" y="5562"/>
                </a:lnTo>
                <a:lnTo>
                  <a:pt x="3851" y="5556"/>
                </a:lnTo>
                <a:lnTo>
                  <a:pt x="3855" y="5553"/>
                </a:lnTo>
                <a:lnTo>
                  <a:pt x="3860" y="5550"/>
                </a:lnTo>
                <a:lnTo>
                  <a:pt x="3865" y="5547"/>
                </a:lnTo>
                <a:lnTo>
                  <a:pt x="3871" y="5546"/>
                </a:lnTo>
                <a:lnTo>
                  <a:pt x="3871" y="5546"/>
                </a:lnTo>
                <a:lnTo>
                  <a:pt x="3877" y="5545"/>
                </a:lnTo>
                <a:lnTo>
                  <a:pt x="3882" y="5546"/>
                </a:lnTo>
                <a:lnTo>
                  <a:pt x="3888" y="5548"/>
                </a:lnTo>
                <a:lnTo>
                  <a:pt x="3892" y="5552"/>
                </a:lnTo>
                <a:lnTo>
                  <a:pt x="3902" y="5561"/>
                </a:lnTo>
                <a:lnTo>
                  <a:pt x="3911" y="5571"/>
                </a:lnTo>
                <a:lnTo>
                  <a:pt x="3921" y="5581"/>
                </a:lnTo>
                <a:lnTo>
                  <a:pt x="3926" y="5586"/>
                </a:lnTo>
                <a:lnTo>
                  <a:pt x="3933" y="5590"/>
                </a:lnTo>
                <a:lnTo>
                  <a:pt x="3940" y="5594"/>
                </a:lnTo>
                <a:lnTo>
                  <a:pt x="3946" y="5597"/>
                </a:lnTo>
                <a:lnTo>
                  <a:pt x="3954" y="5598"/>
                </a:lnTo>
                <a:lnTo>
                  <a:pt x="3962" y="5599"/>
                </a:lnTo>
                <a:lnTo>
                  <a:pt x="3962" y="5599"/>
                </a:lnTo>
                <a:lnTo>
                  <a:pt x="3970" y="5598"/>
                </a:lnTo>
                <a:lnTo>
                  <a:pt x="3979" y="5595"/>
                </a:lnTo>
                <a:lnTo>
                  <a:pt x="3987" y="5592"/>
                </a:lnTo>
                <a:lnTo>
                  <a:pt x="3996" y="5588"/>
                </a:lnTo>
                <a:lnTo>
                  <a:pt x="4005" y="5582"/>
                </a:lnTo>
                <a:lnTo>
                  <a:pt x="4014" y="5576"/>
                </a:lnTo>
                <a:lnTo>
                  <a:pt x="4035" y="5559"/>
                </a:lnTo>
                <a:lnTo>
                  <a:pt x="4055" y="5542"/>
                </a:lnTo>
                <a:lnTo>
                  <a:pt x="4077" y="5522"/>
                </a:lnTo>
                <a:lnTo>
                  <a:pt x="4122" y="5479"/>
                </a:lnTo>
                <a:lnTo>
                  <a:pt x="4144" y="5457"/>
                </a:lnTo>
                <a:lnTo>
                  <a:pt x="4166" y="5437"/>
                </a:lnTo>
                <a:lnTo>
                  <a:pt x="4187" y="5417"/>
                </a:lnTo>
                <a:lnTo>
                  <a:pt x="4208" y="5402"/>
                </a:lnTo>
                <a:lnTo>
                  <a:pt x="4227" y="5389"/>
                </a:lnTo>
                <a:lnTo>
                  <a:pt x="4236" y="5384"/>
                </a:lnTo>
                <a:lnTo>
                  <a:pt x="4245" y="5380"/>
                </a:lnTo>
                <a:lnTo>
                  <a:pt x="4254" y="5376"/>
                </a:lnTo>
                <a:lnTo>
                  <a:pt x="4262" y="5374"/>
                </a:lnTo>
                <a:lnTo>
                  <a:pt x="4270" y="5374"/>
                </a:lnTo>
                <a:lnTo>
                  <a:pt x="4277" y="5375"/>
                </a:lnTo>
                <a:lnTo>
                  <a:pt x="4277" y="5375"/>
                </a:lnTo>
                <a:lnTo>
                  <a:pt x="4278" y="5376"/>
                </a:lnTo>
                <a:lnTo>
                  <a:pt x="4279" y="5379"/>
                </a:lnTo>
                <a:lnTo>
                  <a:pt x="4278" y="5382"/>
                </a:lnTo>
                <a:lnTo>
                  <a:pt x="4277" y="5384"/>
                </a:lnTo>
                <a:lnTo>
                  <a:pt x="4272" y="5391"/>
                </a:lnTo>
                <a:lnTo>
                  <a:pt x="4264" y="5399"/>
                </a:lnTo>
                <a:lnTo>
                  <a:pt x="4241" y="5420"/>
                </a:lnTo>
                <a:lnTo>
                  <a:pt x="4212" y="5447"/>
                </a:lnTo>
                <a:lnTo>
                  <a:pt x="4181" y="5477"/>
                </a:lnTo>
                <a:lnTo>
                  <a:pt x="4167" y="5492"/>
                </a:lnTo>
                <a:lnTo>
                  <a:pt x="4152" y="5508"/>
                </a:lnTo>
                <a:lnTo>
                  <a:pt x="4140" y="5525"/>
                </a:lnTo>
                <a:lnTo>
                  <a:pt x="4129" y="5542"/>
                </a:lnTo>
                <a:lnTo>
                  <a:pt x="4121" y="5558"/>
                </a:lnTo>
                <a:lnTo>
                  <a:pt x="4118" y="5567"/>
                </a:lnTo>
                <a:lnTo>
                  <a:pt x="4116" y="5576"/>
                </a:lnTo>
                <a:lnTo>
                  <a:pt x="4116" y="5576"/>
                </a:lnTo>
                <a:lnTo>
                  <a:pt x="4114" y="5588"/>
                </a:lnTo>
                <a:lnTo>
                  <a:pt x="4114" y="5599"/>
                </a:lnTo>
                <a:lnTo>
                  <a:pt x="4115" y="5611"/>
                </a:lnTo>
                <a:lnTo>
                  <a:pt x="4119" y="5620"/>
                </a:lnTo>
                <a:lnTo>
                  <a:pt x="4123" y="5628"/>
                </a:lnTo>
                <a:lnTo>
                  <a:pt x="4129" y="5636"/>
                </a:lnTo>
                <a:lnTo>
                  <a:pt x="4135" y="5643"/>
                </a:lnTo>
                <a:lnTo>
                  <a:pt x="4142" y="5649"/>
                </a:lnTo>
                <a:lnTo>
                  <a:pt x="4157" y="5663"/>
                </a:lnTo>
                <a:lnTo>
                  <a:pt x="4163" y="5669"/>
                </a:lnTo>
                <a:lnTo>
                  <a:pt x="4169" y="5676"/>
                </a:lnTo>
                <a:lnTo>
                  <a:pt x="4175" y="5683"/>
                </a:lnTo>
                <a:lnTo>
                  <a:pt x="4179" y="5690"/>
                </a:lnTo>
                <a:lnTo>
                  <a:pt x="4182" y="5699"/>
                </a:lnTo>
                <a:lnTo>
                  <a:pt x="4183" y="5708"/>
                </a:lnTo>
                <a:lnTo>
                  <a:pt x="4183" y="5708"/>
                </a:lnTo>
                <a:lnTo>
                  <a:pt x="4184" y="5718"/>
                </a:lnTo>
                <a:lnTo>
                  <a:pt x="4186" y="5729"/>
                </a:lnTo>
                <a:lnTo>
                  <a:pt x="4189" y="5738"/>
                </a:lnTo>
                <a:lnTo>
                  <a:pt x="4193" y="5749"/>
                </a:lnTo>
                <a:lnTo>
                  <a:pt x="4198" y="5758"/>
                </a:lnTo>
                <a:lnTo>
                  <a:pt x="4205" y="5767"/>
                </a:lnTo>
                <a:lnTo>
                  <a:pt x="4212" y="5775"/>
                </a:lnTo>
                <a:lnTo>
                  <a:pt x="4220" y="5783"/>
                </a:lnTo>
                <a:lnTo>
                  <a:pt x="4228" y="5792"/>
                </a:lnTo>
                <a:lnTo>
                  <a:pt x="4237" y="5799"/>
                </a:lnTo>
                <a:lnTo>
                  <a:pt x="4257" y="5812"/>
                </a:lnTo>
                <a:lnTo>
                  <a:pt x="4278" y="5824"/>
                </a:lnTo>
                <a:lnTo>
                  <a:pt x="4300" y="5835"/>
                </a:lnTo>
                <a:lnTo>
                  <a:pt x="4322" y="5844"/>
                </a:lnTo>
                <a:lnTo>
                  <a:pt x="4344" y="5852"/>
                </a:lnTo>
                <a:lnTo>
                  <a:pt x="4364" y="5857"/>
                </a:lnTo>
                <a:lnTo>
                  <a:pt x="4382" y="5862"/>
                </a:lnTo>
                <a:lnTo>
                  <a:pt x="4399" y="5864"/>
                </a:lnTo>
                <a:lnTo>
                  <a:pt x="4412" y="5865"/>
                </a:lnTo>
                <a:lnTo>
                  <a:pt x="4421" y="5865"/>
                </a:lnTo>
                <a:lnTo>
                  <a:pt x="4424" y="5864"/>
                </a:lnTo>
                <a:lnTo>
                  <a:pt x="4426" y="5863"/>
                </a:lnTo>
                <a:lnTo>
                  <a:pt x="4426" y="5863"/>
                </a:lnTo>
                <a:lnTo>
                  <a:pt x="4427" y="5861"/>
                </a:lnTo>
                <a:lnTo>
                  <a:pt x="4427" y="5859"/>
                </a:lnTo>
                <a:lnTo>
                  <a:pt x="4425" y="5853"/>
                </a:lnTo>
                <a:lnTo>
                  <a:pt x="4420" y="5846"/>
                </a:lnTo>
                <a:lnTo>
                  <a:pt x="4412" y="5836"/>
                </a:lnTo>
                <a:lnTo>
                  <a:pt x="4393" y="5813"/>
                </a:lnTo>
                <a:lnTo>
                  <a:pt x="4369" y="5786"/>
                </a:lnTo>
                <a:lnTo>
                  <a:pt x="4358" y="5773"/>
                </a:lnTo>
                <a:lnTo>
                  <a:pt x="4348" y="5759"/>
                </a:lnTo>
                <a:lnTo>
                  <a:pt x="4339" y="5745"/>
                </a:lnTo>
                <a:lnTo>
                  <a:pt x="4330" y="5731"/>
                </a:lnTo>
                <a:lnTo>
                  <a:pt x="4325" y="5718"/>
                </a:lnTo>
                <a:lnTo>
                  <a:pt x="4324" y="5712"/>
                </a:lnTo>
                <a:lnTo>
                  <a:pt x="4323" y="5706"/>
                </a:lnTo>
                <a:lnTo>
                  <a:pt x="4323" y="5700"/>
                </a:lnTo>
                <a:lnTo>
                  <a:pt x="4324" y="5694"/>
                </a:lnTo>
                <a:lnTo>
                  <a:pt x="4326" y="5689"/>
                </a:lnTo>
                <a:lnTo>
                  <a:pt x="4329" y="5684"/>
                </a:lnTo>
                <a:lnTo>
                  <a:pt x="4329" y="5684"/>
                </a:lnTo>
                <a:lnTo>
                  <a:pt x="4333" y="5680"/>
                </a:lnTo>
                <a:lnTo>
                  <a:pt x="4337" y="5677"/>
                </a:lnTo>
                <a:lnTo>
                  <a:pt x="4343" y="5676"/>
                </a:lnTo>
                <a:lnTo>
                  <a:pt x="4347" y="5675"/>
                </a:lnTo>
                <a:lnTo>
                  <a:pt x="4352" y="5675"/>
                </a:lnTo>
                <a:lnTo>
                  <a:pt x="4358" y="5676"/>
                </a:lnTo>
                <a:lnTo>
                  <a:pt x="4370" y="5678"/>
                </a:lnTo>
                <a:lnTo>
                  <a:pt x="4384" y="5681"/>
                </a:lnTo>
                <a:lnTo>
                  <a:pt x="4392" y="5682"/>
                </a:lnTo>
                <a:lnTo>
                  <a:pt x="4399" y="5682"/>
                </a:lnTo>
                <a:lnTo>
                  <a:pt x="4408" y="5682"/>
                </a:lnTo>
                <a:lnTo>
                  <a:pt x="4416" y="5681"/>
                </a:lnTo>
                <a:lnTo>
                  <a:pt x="4425" y="5679"/>
                </a:lnTo>
                <a:lnTo>
                  <a:pt x="4436" y="5675"/>
                </a:lnTo>
                <a:lnTo>
                  <a:pt x="4436" y="5675"/>
                </a:lnTo>
                <a:lnTo>
                  <a:pt x="4437" y="5673"/>
                </a:lnTo>
                <a:lnTo>
                  <a:pt x="4438" y="5670"/>
                </a:lnTo>
                <a:lnTo>
                  <a:pt x="4438" y="5663"/>
                </a:lnTo>
                <a:lnTo>
                  <a:pt x="4436" y="5652"/>
                </a:lnTo>
                <a:lnTo>
                  <a:pt x="4434" y="5637"/>
                </a:lnTo>
                <a:lnTo>
                  <a:pt x="4431" y="5621"/>
                </a:lnTo>
                <a:lnTo>
                  <a:pt x="4428" y="5602"/>
                </a:lnTo>
                <a:lnTo>
                  <a:pt x="4426" y="5581"/>
                </a:lnTo>
                <a:lnTo>
                  <a:pt x="4426" y="5557"/>
                </a:lnTo>
                <a:lnTo>
                  <a:pt x="4428" y="5533"/>
                </a:lnTo>
                <a:lnTo>
                  <a:pt x="4431" y="5520"/>
                </a:lnTo>
                <a:lnTo>
                  <a:pt x="4434" y="5505"/>
                </a:lnTo>
                <a:lnTo>
                  <a:pt x="4437" y="5492"/>
                </a:lnTo>
                <a:lnTo>
                  <a:pt x="4441" y="5477"/>
                </a:lnTo>
                <a:lnTo>
                  <a:pt x="4446" y="5462"/>
                </a:lnTo>
                <a:lnTo>
                  <a:pt x="4453" y="5447"/>
                </a:lnTo>
                <a:lnTo>
                  <a:pt x="4460" y="5432"/>
                </a:lnTo>
                <a:lnTo>
                  <a:pt x="4469" y="5416"/>
                </a:lnTo>
                <a:lnTo>
                  <a:pt x="4479" y="5400"/>
                </a:lnTo>
                <a:lnTo>
                  <a:pt x="4490" y="5384"/>
                </a:lnTo>
                <a:lnTo>
                  <a:pt x="4503" y="5367"/>
                </a:lnTo>
                <a:lnTo>
                  <a:pt x="4516" y="5351"/>
                </a:lnTo>
                <a:lnTo>
                  <a:pt x="4533" y="5334"/>
                </a:lnTo>
                <a:lnTo>
                  <a:pt x="4550" y="5317"/>
                </a:lnTo>
                <a:lnTo>
                  <a:pt x="4550" y="5317"/>
                </a:lnTo>
                <a:lnTo>
                  <a:pt x="4557" y="5328"/>
                </a:lnTo>
                <a:lnTo>
                  <a:pt x="4566" y="5340"/>
                </a:lnTo>
                <a:lnTo>
                  <a:pt x="4578" y="5353"/>
                </a:lnTo>
                <a:lnTo>
                  <a:pt x="4586" y="5360"/>
                </a:lnTo>
                <a:lnTo>
                  <a:pt x="4594" y="5367"/>
                </a:lnTo>
                <a:lnTo>
                  <a:pt x="4603" y="5373"/>
                </a:lnTo>
                <a:lnTo>
                  <a:pt x="4614" y="5381"/>
                </a:lnTo>
                <a:lnTo>
                  <a:pt x="4624" y="5386"/>
                </a:lnTo>
                <a:lnTo>
                  <a:pt x="4636" y="5390"/>
                </a:lnTo>
                <a:lnTo>
                  <a:pt x="4648" y="5394"/>
                </a:lnTo>
                <a:lnTo>
                  <a:pt x="4662" y="5396"/>
                </a:lnTo>
                <a:lnTo>
                  <a:pt x="4662" y="5396"/>
                </a:lnTo>
                <a:lnTo>
                  <a:pt x="4668" y="5397"/>
                </a:lnTo>
                <a:lnTo>
                  <a:pt x="4673" y="5399"/>
                </a:lnTo>
                <a:lnTo>
                  <a:pt x="4677" y="5402"/>
                </a:lnTo>
                <a:lnTo>
                  <a:pt x="4681" y="5405"/>
                </a:lnTo>
                <a:lnTo>
                  <a:pt x="4685" y="5409"/>
                </a:lnTo>
                <a:lnTo>
                  <a:pt x="4688" y="5413"/>
                </a:lnTo>
                <a:lnTo>
                  <a:pt x="4692" y="5425"/>
                </a:lnTo>
                <a:lnTo>
                  <a:pt x="4696" y="5437"/>
                </a:lnTo>
                <a:lnTo>
                  <a:pt x="4698" y="5450"/>
                </a:lnTo>
                <a:lnTo>
                  <a:pt x="4698" y="5463"/>
                </a:lnTo>
                <a:lnTo>
                  <a:pt x="4698" y="5478"/>
                </a:lnTo>
                <a:lnTo>
                  <a:pt x="4696" y="5506"/>
                </a:lnTo>
                <a:lnTo>
                  <a:pt x="4694" y="5531"/>
                </a:lnTo>
                <a:lnTo>
                  <a:pt x="4692" y="5548"/>
                </a:lnTo>
                <a:lnTo>
                  <a:pt x="4692" y="5553"/>
                </a:lnTo>
                <a:lnTo>
                  <a:pt x="4693" y="5554"/>
                </a:lnTo>
                <a:lnTo>
                  <a:pt x="4694" y="5554"/>
                </a:lnTo>
                <a:lnTo>
                  <a:pt x="4694" y="5554"/>
                </a:lnTo>
                <a:lnTo>
                  <a:pt x="4697" y="5553"/>
                </a:lnTo>
                <a:lnTo>
                  <a:pt x="4702" y="5550"/>
                </a:lnTo>
                <a:lnTo>
                  <a:pt x="4708" y="5545"/>
                </a:lnTo>
                <a:lnTo>
                  <a:pt x="4714" y="5538"/>
                </a:lnTo>
                <a:lnTo>
                  <a:pt x="4721" y="5529"/>
                </a:lnTo>
                <a:lnTo>
                  <a:pt x="4729" y="5519"/>
                </a:lnTo>
                <a:lnTo>
                  <a:pt x="4736" y="5505"/>
                </a:lnTo>
                <a:lnTo>
                  <a:pt x="4743" y="5492"/>
                </a:lnTo>
                <a:lnTo>
                  <a:pt x="4751" y="5477"/>
                </a:lnTo>
                <a:lnTo>
                  <a:pt x="4758" y="5459"/>
                </a:lnTo>
                <a:lnTo>
                  <a:pt x="4763" y="5442"/>
                </a:lnTo>
                <a:lnTo>
                  <a:pt x="4768" y="5422"/>
                </a:lnTo>
                <a:lnTo>
                  <a:pt x="4771" y="5402"/>
                </a:lnTo>
                <a:lnTo>
                  <a:pt x="4773" y="5382"/>
                </a:lnTo>
                <a:lnTo>
                  <a:pt x="4772" y="5360"/>
                </a:lnTo>
                <a:lnTo>
                  <a:pt x="4770" y="5338"/>
                </a:lnTo>
                <a:lnTo>
                  <a:pt x="4770" y="5338"/>
                </a:lnTo>
                <a:lnTo>
                  <a:pt x="4778" y="5330"/>
                </a:lnTo>
                <a:lnTo>
                  <a:pt x="4798" y="5313"/>
                </a:lnTo>
                <a:lnTo>
                  <a:pt x="4809" y="5302"/>
                </a:lnTo>
                <a:lnTo>
                  <a:pt x="4819" y="5290"/>
                </a:lnTo>
                <a:lnTo>
                  <a:pt x="4827" y="5276"/>
                </a:lnTo>
                <a:lnTo>
                  <a:pt x="4830" y="5270"/>
                </a:lnTo>
                <a:lnTo>
                  <a:pt x="4832" y="5264"/>
                </a:lnTo>
                <a:lnTo>
                  <a:pt x="4832" y="5264"/>
                </a:lnTo>
                <a:lnTo>
                  <a:pt x="4834" y="5255"/>
                </a:lnTo>
                <a:lnTo>
                  <a:pt x="4835" y="5246"/>
                </a:lnTo>
                <a:lnTo>
                  <a:pt x="4836" y="5237"/>
                </a:lnTo>
                <a:lnTo>
                  <a:pt x="4835" y="5230"/>
                </a:lnTo>
                <a:lnTo>
                  <a:pt x="4834" y="5224"/>
                </a:lnTo>
                <a:lnTo>
                  <a:pt x="4832" y="5218"/>
                </a:lnTo>
                <a:lnTo>
                  <a:pt x="4830" y="5213"/>
                </a:lnTo>
                <a:lnTo>
                  <a:pt x="4827" y="5208"/>
                </a:lnTo>
                <a:lnTo>
                  <a:pt x="4819" y="5199"/>
                </a:lnTo>
                <a:lnTo>
                  <a:pt x="4810" y="5189"/>
                </a:lnTo>
                <a:lnTo>
                  <a:pt x="4800" y="5180"/>
                </a:lnTo>
                <a:lnTo>
                  <a:pt x="4789" y="5169"/>
                </a:lnTo>
                <a:lnTo>
                  <a:pt x="4778" y="5156"/>
                </a:lnTo>
                <a:lnTo>
                  <a:pt x="4772" y="5148"/>
                </a:lnTo>
                <a:lnTo>
                  <a:pt x="4767" y="5139"/>
                </a:lnTo>
                <a:lnTo>
                  <a:pt x="4762" y="5130"/>
                </a:lnTo>
                <a:lnTo>
                  <a:pt x="4757" y="5120"/>
                </a:lnTo>
                <a:lnTo>
                  <a:pt x="4753" y="5108"/>
                </a:lnTo>
                <a:lnTo>
                  <a:pt x="4749" y="5095"/>
                </a:lnTo>
                <a:lnTo>
                  <a:pt x="4744" y="5081"/>
                </a:lnTo>
                <a:lnTo>
                  <a:pt x="4741" y="5065"/>
                </a:lnTo>
                <a:lnTo>
                  <a:pt x="4738" y="5048"/>
                </a:lnTo>
                <a:lnTo>
                  <a:pt x="4736" y="5029"/>
                </a:lnTo>
                <a:lnTo>
                  <a:pt x="4735" y="5008"/>
                </a:lnTo>
                <a:lnTo>
                  <a:pt x="4734" y="4986"/>
                </a:lnTo>
                <a:lnTo>
                  <a:pt x="4734" y="4961"/>
                </a:lnTo>
                <a:lnTo>
                  <a:pt x="4735" y="4935"/>
                </a:lnTo>
                <a:lnTo>
                  <a:pt x="4735" y="4935"/>
                </a:lnTo>
                <a:lnTo>
                  <a:pt x="4735" y="4917"/>
                </a:lnTo>
                <a:lnTo>
                  <a:pt x="4734" y="4911"/>
                </a:lnTo>
                <a:lnTo>
                  <a:pt x="4733" y="4906"/>
                </a:lnTo>
                <a:lnTo>
                  <a:pt x="4731" y="4901"/>
                </a:lnTo>
                <a:lnTo>
                  <a:pt x="4729" y="4897"/>
                </a:lnTo>
                <a:lnTo>
                  <a:pt x="4727" y="4894"/>
                </a:lnTo>
                <a:lnTo>
                  <a:pt x="4724" y="4891"/>
                </a:lnTo>
                <a:lnTo>
                  <a:pt x="4716" y="4885"/>
                </a:lnTo>
                <a:lnTo>
                  <a:pt x="4706" y="4878"/>
                </a:lnTo>
                <a:lnTo>
                  <a:pt x="4693" y="4868"/>
                </a:lnTo>
                <a:lnTo>
                  <a:pt x="4679" y="4856"/>
                </a:lnTo>
                <a:lnTo>
                  <a:pt x="4679" y="4856"/>
                </a:lnTo>
                <a:lnTo>
                  <a:pt x="4671" y="4846"/>
                </a:lnTo>
                <a:lnTo>
                  <a:pt x="4664" y="4836"/>
                </a:lnTo>
                <a:lnTo>
                  <a:pt x="4659" y="4825"/>
                </a:lnTo>
                <a:lnTo>
                  <a:pt x="4655" y="4815"/>
                </a:lnTo>
                <a:lnTo>
                  <a:pt x="4654" y="4807"/>
                </a:lnTo>
                <a:lnTo>
                  <a:pt x="4654" y="4804"/>
                </a:lnTo>
                <a:lnTo>
                  <a:pt x="4654" y="4802"/>
                </a:lnTo>
                <a:lnTo>
                  <a:pt x="4657" y="4800"/>
                </a:lnTo>
                <a:lnTo>
                  <a:pt x="4659" y="4799"/>
                </a:lnTo>
                <a:lnTo>
                  <a:pt x="4661" y="4799"/>
                </a:lnTo>
                <a:lnTo>
                  <a:pt x="4665" y="4800"/>
                </a:lnTo>
                <a:lnTo>
                  <a:pt x="4665" y="4800"/>
                </a:lnTo>
                <a:lnTo>
                  <a:pt x="4679" y="4806"/>
                </a:lnTo>
                <a:lnTo>
                  <a:pt x="4693" y="4810"/>
                </a:lnTo>
                <a:lnTo>
                  <a:pt x="4708" y="4813"/>
                </a:lnTo>
                <a:lnTo>
                  <a:pt x="4723" y="4814"/>
                </a:lnTo>
                <a:lnTo>
                  <a:pt x="4737" y="4815"/>
                </a:lnTo>
                <a:lnTo>
                  <a:pt x="4752" y="4816"/>
                </a:lnTo>
                <a:lnTo>
                  <a:pt x="4765" y="4815"/>
                </a:lnTo>
                <a:lnTo>
                  <a:pt x="4778" y="4814"/>
                </a:lnTo>
                <a:lnTo>
                  <a:pt x="4802" y="4811"/>
                </a:lnTo>
                <a:lnTo>
                  <a:pt x="4819" y="4807"/>
                </a:lnTo>
                <a:lnTo>
                  <a:pt x="4835" y="4803"/>
                </a:lnTo>
                <a:lnTo>
                  <a:pt x="4835" y="4803"/>
                </a:lnTo>
                <a:lnTo>
                  <a:pt x="4844" y="4707"/>
                </a:lnTo>
                <a:lnTo>
                  <a:pt x="4849" y="4632"/>
                </a:lnTo>
                <a:lnTo>
                  <a:pt x="4851" y="4577"/>
                </a:lnTo>
                <a:lnTo>
                  <a:pt x="4851" y="4539"/>
                </a:lnTo>
                <a:lnTo>
                  <a:pt x="4849" y="4514"/>
                </a:lnTo>
                <a:lnTo>
                  <a:pt x="4847" y="4499"/>
                </a:lnTo>
                <a:lnTo>
                  <a:pt x="4845" y="4493"/>
                </a:lnTo>
                <a:lnTo>
                  <a:pt x="4844" y="4491"/>
                </a:lnTo>
                <a:lnTo>
                  <a:pt x="4844" y="4491"/>
                </a:lnTo>
                <a:lnTo>
                  <a:pt x="4825" y="4492"/>
                </a:lnTo>
                <a:lnTo>
                  <a:pt x="4808" y="4491"/>
                </a:lnTo>
                <a:lnTo>
                  <a:pt x="4791" y="4490"/>
                </a:lnTo>
                <a:lnTo>
                  <a:pt x="4776" y="4489"/>
                </a:lnTo>
                <a:lnTo>
                  <a:pt x="4763" y="4487"/>
                </a:lnTo>
                <a:lnTo>
                  <a:pt x="4750" y="4484"/>
                </a:lnTo>
                <a:lnTo>
                  <a:pt x="4737" y="4481"/>
                </a:lnTo>
                <a:lnTo>
                  <a:pt x="4726" y="4477"/>
                </a:lnTo>
                <a:lnTo>
                  <a:pt x="4716" y="4473"/>
                </a:lnTo>
                <a:lnTo>
                  <a:pt x="4707" y="4469"/>
                </a:lnTo>
                <a:lnTo>
                  <a:pt x="4698" y="4463"/>
                </a:lnTo>
                <a:lnTo>
                  <a:pt x="4690" y="4458"/>
                </a:lnTo>
                <a:lnTo>
                  <a:pt x="4683" y="4452"/>
                </a:lnTo>
                <a:lnTo>
                  <a:pt x="4676" y="4447"/>
                </a:lnTo>
                <a:lnTo>
                  <a:pt x="4665" y="4434"/>
                </a:lnTo>
                <a:lnTo>
                  <a:pt x="4665" y="4434"/>
                </a:lnTo>
                <a:lnTo>
                  <a:pt x="4677" y="4437"/>
                </a:lnTo>
                <a:lnTo>
                  <a:pt x="4690" y="4439"/>
                </a:lnTo>
                <a:lnTo>
                  <a:pt x="4717" y="4441"/>
                </a:lnTo>
                <a:lnTo>
                  <a:pt x="4742" y="4441"/>
                </a:lnTo>
                <a:lnTo>
                  <a:pt x="4768" y="4439"/>
                </a:lnTo>
                <a:lnTo>
                  <a:pt x="4790" y="4435"/>
                </a:lnTo>
                <a:lnTo>
                  <a:pt x="4812" y="4429"/>
                </a:lnTo>
                <a:lnTo>
                  <a:pt x="4821" y="4426"/>
                </a:lnTo>
                <a:lnTo>
                  <a:pt x="4829" y="4422"/>
                </a:lnTo>
                <a:lnTo>
                  <a:pt x="4838" y="4416"/>
                </a:lnTo>
                <a:lnTo>
                  <a:pt x="4844" y="4412"/>
                </a:lnTo>
                <a:lnTo>
                  <a:pt x="4844" y="4412"/>
                </a:lnTo>
                <a:lnTo>
                  <a:pt x="4843" y="4364"/>
                </a:lnTo>
                <a:lnTo>
                  <a:pt x="4841" y="4316"/>
                </a:lnTo>
                <a:lnTo>
                  <a:pt x="4838" y="4261"/>
                </a:lnTo>
                <a:lnTo>
                  <a:pt x="4833" y="4206"/>
                </a:lnTo>
                <a:lnTo>
                  <a:pt x="4831" y="4181"/>
                </a:lnTo>
                <a:lnTo>
                  <a:pt x="4828" y="4159"/>
                </a:lnTo>
                <a:lnTo>
                  <a:pt x="4825" y="4140"/>
                </a:lnTo>
                <a:lnTo>
                  <a:pt x="4822" y="4126"/>
                </a:lnTo>
                <a:lnTo>
                  <a:pt x="4820" y="4121"/>
                </a:lnTo>
                <a:lnTo>
                  <a:pt x="4818" y="4118"/>
                </a:lnTo>
                <a:lnTo>
                  <a:pt x="4816" y="4116"/>
                </a:lnTo>
                <a:lnTo>
                  <a:pt x="4814" y="4116"/>
                </a:lnTo>
                <a:lnTo>
                  <a:pt x="4814" y="4116"/>
                </a:lnTo>
                <a:lnTo>
                  <a:pt x="4786" y="4123"/>
                </a:lnTo>
                <a:lnTo>
                  <a:pt x="4760" y="4128"/>
                </a:lnTo>
                <a:lnTo>
                  <a:pt x="4746" y="4129"/>
                </a:lnTo>
                <a:lnTo>
                  <a:pt x="4734" y="4130"/>
                </a:lnTo>
                <a:lnTo>
                  <a:pt x="4722" y="4130"/>
                </a:lnTo>
                <a:lnTo>
                  <a:pt x="4711" y="4129"/>
                </a:lnTo>
                <a:lnTo>
                  <a:pt x="4698" y="4127"/>
                </a:lnTo>
                <a:lnTo>
                  <a:pt x="4687" y="4125"/>
                </a:lnTo>
                <a:lnTo>
                  <a:pt x="4675" y="4122"/>
                </a:lnTo>
                <a:lnTo>
                  <a:pt x="4664" y="4118"/>
                </a:lnTo>
                <a:lnTo>
                  <a:pt x="4652" y="4113"/>
                </a:lnTo>
                <a:lnTo>
                  <a:pt x="4640" y="4108"/>
                </a:lnTo>
                <a:lnTo>
                  <a:pt x="4629" y="4100"/>
                </a:lnTo>
                <a:lnTo>
                  <a:pt x="4618" y="4093"/>
                </a:lnTo>
                <a:lnTo>
                  <a:pt x="4618" y="4093"/>
                </a:lnTo>
                <a:lnTo>
                  <a:pt x="4613" y="4090"/>
                </a:lnTo>
                <a:lnTo>
                  <a:pt x="4608" y="4086"/>
                </a:lnTo>
                <a:lnTo>
                  <a:pt x="4602" y="4078"/>
                </a:lnTo>
                <a:lnTo>
                  <a:pt x="4597" y="4069"/>
                </a:lnTo>
                <a:lnTo>
                  <a:pt x="4594" y="4059"/>
                </a:lnTo>
                <a:lnTo>
                  <a:pt x="4592" y="4047"/>
                </a:lnTo>
                <a:lnTo>
                  <a:pt x="4591" y="4037"/>
                </a:lnTo>
                <a:lnTo>
                  <a:pt x="4590" y="4015"/>
                </a:lnTo>
                <a:lnTo>
                  <a:pt x="4589" y="3993"/>
                </a:lnTo>
                <a:lnTo>
                  <a:pt x="4587" y="3984"/>
                </a:lnTo>
                <a:lnTo>
                  <a:pt x="4585" y="3976"/>
                </a:lnTo>
                <a:lnTo>
                  <a:pt x="4581" y="3969"/>
                </a:lnTo>
                <a:lnTo>
                  <a:pt x="4575" y="3962"/>
                </a:lnTo>
                <a:lnTo>
                  <a:pt x="4571" y="3959"/>
                </a:lnTo>
                <a:lnTo>
                  <a:pt x="4567" y="3957"/>
                </a:lnTo>
                <a:lnTo>
                  <a:pt x="4561" y="3956"/>
                </a:lnTo>
                <a:lnTo>
                  <a:pt x="4556" y="3955"/>
                </a:lnTo>
                <a:lnTo>
                  <a:pt x="4556" y="3955"/>
                </a:lnTo>
                <a:lnTo>
                  <a:pt x="4534" y="3948"/>
                </a:lnTo>
                <a:lnTo>
                  <a:pt x="4511" y="3941"/>
                </a:lnTo>
                <a:lnTo>
                  <a:pt x="4489" y="3933"/>
                </a:lnTo>
                <a:lnTo>
                  <a:pt x="4468" y="3923"/>
                </a:lnTo>
                <a:lnTo>
                  <a:pt x="4448" y="3913"/>
                </a:lnTo>
                <a:lnTo>
                  <a:pt x="4428" y="3902"/>
                </a:lnTo>
                <a:lnTo>
                  <a:pt x="4410" y="3892"/>
                </a:lnTo>
                <a:lnTo>
                  <a:pt x="4394" y="3881"/>
                </a:lnTo>
                <a:lnTo>
                  <a:pt x="4377" y="3869"/>
                </a:lnTo>
                <a:lnTo>
                  <a:pt x="4363" y="3859"/>
                </a:lnTo>
                <a:lnTo>
                  <a:pt x="4337" y="3839"/>
                </a:lnTo>
                <a:lnTo>
                  <a:pt x="4318" y="3820"/>
                </a:lnTo>
                <a:lnTo>
                  <a:pt x="4306" y="3805"/>
                </a:lnTo>
                <a:lnTo>
                  <a:pt x="4306" y="3805"/>
                </a:lnTo>
                <a:lnTo>
                  <a:pt x="4297" y="3793"/>
                </a:lnTo>
                <a:lnTo>
                  <a:pt x="4288" y="3780"/>
                </a:lnTo>
                <a:lnTo>
                  <a:pt x="4282" y="3769"/>
                </a:lnTo>
                <a:lnTo>
                  <a:pt x="4277" y="3758"/>
                </a:lnTo>
                <a:lnTo>
                  <a:pt x="4273" y="3748"/>
                </a:lnTo>
                <a:lnTo>
                  <a:pt x="4270" y="3739"/>
                </a:lnTo>
                <a:lnTo>
                  <a:pt x="4266" y="3722"/>
                </a:lnTo>
                <a:lnTo>
                  <a:pt x="4265" y="3709"/>
                </a:lnTo>
                <a:lnTo>
                  <a:pt x="4265" y="3699"/>
                </a:lnTo>
                <a:lnTo>
                  <a:pt x="4266" y="3690"/>
                </a:lnTo>
                <a:lnTo>
                  <a:pt x="4266" y="3690"/>
                </a:lnTo>
                <a:lnTo>
                  <a:pt x="4284" y="3700"/>
                </a:lnTo>
                <a:lnTo>
                  <a:pt x="4302" y="3706"/>
                </a:lnTo>
                <a:lnTo>
                  <a:pt x="4321" y="3711"/>
                </a:lnTo>
                <a:lnTo>
                  <a:pt x="4340" y="3714"/>
                </a:lnTo>
                <a:lnTo>
                  <a:pt x="4358" y="3716"/>
                </a:lnTo>
                <a:lnTo>
                  <a:pt x="4377" y="3715"/>
                </a:lnTo>
                <a:lnTo>
                  <a:pt x="4396" y="3712"/>
                </a:lnTo>
                <a:lnTo>
                  <a:pt x="4414" y="3708"/>
                </a:lnTo>
                <a:lnTo>
                  <a:pt x="4434" y="3468"/>
                </a:lnTo>
                <a:lnTo>
                  <a:pt x="4434" y="3468"/>
                </a:lnTo>
                <a:lnTo>
                  <a:pt x="4425" y="3467"/>
                </a:lnTo>
                <a:lnTo>
                  <a:pt x="4405" y="3464"/>
                </a:lnTo>
                <a:lnTo>
                  <a:pt x="4392" y="3461"/>
                </a:lnTo>
                <a:lnTo>
                  <a:pt x="4377" y="3457"/>
                </a:lnTo>
                <a:lnTo>
                  <a:pt x="4362" y="3453"/>
                </a:lnTo>
                <a:lnTo>
                  <a:pt x="4348" y="3447"/>
                </a:lnTo>
                <a:lnTo>
                  <a:pt x="4348" y="3447"/>
                </a:lnTo>
                <a:lnTo>
                  <a:pt x="4339" y="3443"/>
                </a:lnTo>
                <a:lnTo>
                  <a:pt x="4331" y="3438"/>
                </a:lnTo>
                <a:lnTo>
                  <a:pt x="4323" y="3432"/>
                </a:lnTo>
                <a:lnTo>
                  <a:pt x="4316" y="3426"/>
                </a:lnTo>
                <a:lnTo>
                  <a:pt x="4302" y="3412"/>
                </a:lnTo>
                <a:lnTo>
                  <a:pt x="4289" y="3399"/>
                </a:lnTo>
                <a:lnTo>
                  <a:pt x="4280" y="3386"/>
                </a:lnTo>
                <a:lnTo>
                  <a:pt x="4273" y="3376"/>
                </a:lnTo>
                <a:lnTo>
                  <a:pt x="4267" y="3366"/>
                </a:lnTo>
                <a:lnTo>
                  <a:pt x="4267" y="3366"/>
                </a:lnTo>
                <a:lnTo>
                  <a:pt x="4274" y="3369"/>
                </a:lnTo>
                <a:lnTo>
                  <a:pt x="4293" y="3377"/>
                </a:lnTo>
                <a:lnTo>
                  <a:pt x="4321" y="3385"/>
                </a:lnTo>
                <a:lnTo>
                  <a:pt x="4339" y="3389"/>
                </a:lnTo>
                <a:lnTo>
                  <a:pt x="4356" y="3392"/>
                </a:lnTo>
                <a:lnTo>
                  <a:pt x="4356" y="3392"/>
                </a:lnTo>
                <a:lnTo>
                  <a:pt x="4375" y="3394"/>
                </a:lnTo>
                <a:lnTo>
                  <a:pt x="4392" y="3395"/>
                </a:lnTo>
                <a:lnTo>
                  <a:pt x="4407" y="3393"/>
                </a:lnTo>
                <a:lnTo>
                  <a:pt x="4419" y="3391"/>
                </a:lnTo>
                <a:lnTo>
                  <a:pt x="4430" y="3389"/>
                </a:lnTo>
                <a:lnTo>
                  <a:pt x="4438" y="3387"/>
                </a:lnTo>
                <a:lnTo>
                  <a:pt x="4444" y="3384"/>
                </a:lnTo>
                <a:lnTo>
                  <a:pt x="4477" y="3113"/>
                </a:lnTo>
                <a:lnTo>
                  <a:pt x="4477" y="3113"/>
                </a:lnTo>
                <a:lnTo>
                  <a:pt x="4451" y="3114"/>
                </a:lnTo>
                <a:lnTo>
                  <a:pt x="4427" y="3113"/>
                </a:lnTo>
                <a:lnTo>
                  <a:pt x="4408" y="3111"/>
                </a:lnTo>
                <a:lnTo>
                  <a:pt x="4392" y="3106"/>
                </a:lnTo>
                <a:lnTo>
                  <a:pt x="4377" y="3100"/>
                </a:lnTo>
                <a:lnTo>
                  <a:pt x="4365" y="3093"/>
                </a:lnTo>
                <a:lnTo>
                  <a:pt x="4356" y="3085"/>
                </a:lnTo>
                <a:lnTo>
                  <a:pt x="4348" y="3077"/>
                </a:lnTo>
                <a:lnTo>
                  <a:pt x="4343" y="3069"/>
                </a:lnTo>
                <a:lnTo>
                  <a:pt x="4337" y="3060"/>
                </a:lnTo>
                <a:lnTo>
                  <a:pt x="4335" y="3051"/>
                </a:lnTo>
                <a:lnTo>
                  <a:pt x="4333" y="3043"/>
                </a:lnTo>
                <a:lnTo>
                  <a:pt x="4332" y="3035"/>
                </a:lnTo>
                <a:lnTo>
                  <a:pt x="4331" y="3029"/>
                </a:lnTo>
                <a:lnTo>
                  <a:pt x="4332" y="3020"/>
                </a:lnTo>
                <a:lnTo>
                  <a:pt x="4332" y="3020"/>
                </a:lnTo>
                <a:lnTo>
                  <a:pt x="4357" y="3015"/>
                </a:lnTo>
                <a:lnTo>
                  <a:pt x="4381" y="3009"/>
                </a:lnTo>
                <a:lnTo>
                  <a:pt x="4405" y="3001"/>
                </a:lnTo>
                <a:lnTo>
                  <a:pt x="4428" y="2994"/>
                </a:lnTo>
                <a:lnTo>
                  <a:pt x="4451" y="2985"/>
                </a:lnTo>
                <a:lnTo>
                  <a:pt x="4473" y="2975"/>
                </a:lnTo>
                <a:lnTo>
                  <a:pt x="4495" y="2964"/>
                </a:lnTo>
                <a:lnTo>
                  <a:pt x="4515" y="2951"/>
                </a:lnTo>
                <a:lnTo>
                  <a:pt x="4536" y="2939"/>
                </a:lnTo>
                <a:lnTo>
                  <a:pt x="4555" y="2926"/>
                </a:lnTo>
                <a:lnTo>
                  <a:pt x="4574" y="2911"/>
                </a:lnTo>
                <a:lnTo>
                  <a:pt x="4592" y="2896"/>
                </a:lnTo>
                <a:lnTo>
                  <a:pt x="4609" y="2881"/>
                </a:lnTo>
                <a:lnTo>
                  <a:pt x="4627" y="2864"/>
                </a:lnTo>
                <a:lnTo>
                  <a:pt x="4642" y="2848"/>
                </a:lnTo>
                <a:lnTo>
                  <a:pt x="4659" y="2831"/>
                </a:lnTo>
                <a:lnTo>
                  <a:pt x="4673" y="2812"/>
                </a:lnTo>
                <a:lnTo>
                  <a:pt x="4688" y="2794"/>
                </a:lnTo>
                <a:lnTo>
                  <a:pt x="4702" y="2775"/>
                </a:lnTo>
                <a:lnTo>
                  <a:pt x="4715" y="2756"/>
                </a:lnTo>
                <a:lnTo>
                  <a:pt x="4727" y="2737"/>
                </a:lnTo>
                <a:lnTo>
                  <a:pt x="4738" y="2717"/>
                </a:lnTo>
                <a:lnTo>
                  <a:pt x="4750" y="2698"/>
                </a:lnTo>
                <a:lnTo>
                  <a:pt x="4760" y="2677"/>
                </a:lnTo>
                <a:lnTo>
                  <a:pt x="4770" y="2657"/>
                </a:lnTo>
                <a:lnTo>
                  <a:pt x="4779" y="2636"/>
                </a:lnTo>
                <a:lnTo>
                  <a:pt x="4787" y="2616"/>
                </a:lnTo>
                <a:lnTo>
                  <a:pt x="4796" y="2595"/>
                </a:lnTo>
                <a:lnTo>
                  <a:pt x="4803" y="2575"/>
                </a:lnTo>
                <a:lnTo>
                  <a:pt x="4809" y="2555"/>
                </a:lnTo>
                <a:lnTo>
                  <a:pt x="4815" y="2534"/>
                </a:lnTo>
                <a:lnTo>
                  <a:pt x="4820" y="2515"/>
                </a:lnTo>
                <a:lnTo>
                  <a:pt x="4820" y="2515"/>
                </a:lnTo>
                <a:lnTo>
                  <a:pt x="4831" y="2521"/>
                </a:lnTo>
                <a:lnTo>
                  <a:pt x="4847" y="2527"/>
                </a:lnTo>
                <a:lnTo>
                  <a:pt x="4864" y="2533"/>
                </a:lnTo>
                <a:lnTo>
                  <a:pt x="4882" y="2538"/>
                </a:lnTo>
                <a:lnTo>
                  <a:pt x="4903" y="2541"/>
                </a:lnTo>
                <a:lnTo>
                  <a:pt x="4913" y="2542"/>
                </a:lnTo>
                <a:lnTo>
                  <a:pt x="4923" y="2543"/>
                </a:lnTo>
                <a:lnTo>
                  <a:pt x="4935" y="2542"/>
                </a:lnTo>
                <a:lnTo>
                  <a:pt x="4945" y="2541"/>
                </a:lnTo>
                <a:lnTo>
                  <a:pt x="4955" y="2539"/>
                </a:lnTo>
                <a:lnTo>
                  <a:pt x="4965" y="2536"/>
                </a:lnTo>
                <a:lnTo>
                  <a:pt x="4965" y="2536"/>
                </a:lnTo>
                <a:lnTo>
                  <a:pt x="4967" y="2508"/>
                </a:lnTo>
                <a:lnTo>
                  <a:pt x="4970" y="2441"/>
                </a:lnTo>
                <a:lnTo>
                  <a:pt x="4972" y="2405"/>
                </a:lnTo>
                <a:lnTo>
                  <a:pt x="4973" y="2371"/>
                </a:lnTo>
                <a:lnTo>
                  <a:pt x="4972" y="2343"/>
                </a:lnTo>
                <a:lnTo>
                  <a:pt x="4972" y="2333"/>
                </a:lnTo>
                <a:lnTo>
                  <a:pt x="4970" y="2327"/>
                </a:lnTo>
                <a:lnTo>
                  <a:pt x="4970" y="2327"/>
                </a:lnTo>
                <a:lnTo>
                  <a:pt x="4955" y="2325"/>
                </a:lnTo>
                <a:lnTo>
                  <a:pt x="4938" y="2322"/>
                </a:lnTo>
                <a:lnTo>
                  <a:pt x="4919" y="2317"/>
                </a:lnTo>
                <a:lnTo>
                  <a:pt x="4911" y="2314"/>
                </a:lnTo>
                <a:lnTo>
                  <a:pt x="4902" y="2311"/>
                </a:lnTo>
                <a:lnTo>
                  <a:pt x="4893" y="2306"/>
                </a:lnTo>
                <a:lnTo>
                  <a:pt x="4885" y="2302"/>
                </a:lnTo>
                <a:lnTo>
                  <a:pt x="4876" y="2296"/>
                </a:lnTo>
                <a:lnTo>
                  <a:pt x="4868" y="2289"/>
                </a:lnTo>
                <a:lnTo>
                  <a:pt x="4861" y="2282"/>
                </a:lnTo>
                <a:lnTo>
                  <a:pt x="4854" y="2273"/>
                </a:lnTo>
                <a:lnTo>
                  <a:pt x="4848" y="2264"/>
                </a:lnTo>
                <a:lnTo>
                  <a:pt x="4842" y="225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86" name="Freeform 37"/>
          <p:cNvSpPr>
            <a:spLocks/>
          </p:cNvSpPr>
          <p:nvPr userDrawn="1"/>
        </p:nvSpPr>
        <p:spPr bwMode="auto">
          <a:xfrm>
            <a:off x="8332789" y="-385339"/>
            <a:ext cx="276225" cy="73025"/>
          </a:xfrm>
          <a:custGeom>
            <a:avLst/>
            <a:gdLst>
              <a:gd name="T0" fmla="*/ 0 w 349"/>
              <a:gd name="T1" fmla="*/ 34 h 91"/>
              <a:gd name="T2" fmla="*/ 0 w 349"/>
              <a:gd name="T3" fmla="*/ 34 h 91"/>
              <a:gd name="T4" fmla="*/ 20 w 349"/>
              <a:gd name="T5" fmla="*/ 49 h 91"/>
              <a:gd name="T6" fmla="*/ 38 w 349"/>
              <a:gd name="T7" fmla="*/ 60 h 91"/>
              <a:gd name="T8" fmla="*/ 38 w 349"/>
              <a:gd name="T9" fmla="*/ 60 h 91"/>
              <a:gd name="T10" fmla="*/ 69 w 349"/>
              <a:gd name="T11" fmla="*/ 71 h 91"/>
              <a:gd name="T12" fmla="*/ 89 w 349"/>
              <a:gd name="T13" fmla="*/ 78 h 91"/>
              <a:gd name="T14" fmla="*/ 111 w 349"/>
              <a:gd name="T15" fmla="*/ 84 h 91"/>
              <a:gd name="T16" fmla="*/ 137 w 349"/>
              <a:gd name="T17" fmla="*/ 87 h 91"/>
              <a:gd name="T18" fmla="*/ 164 w 349"/>
              <a:gd name="T19" fmla="*/ 91 h 91"/>
              <a:gd name="T20" fmla="*/ 194 w 349"/>
              <a:gd name="T21" fmla="*/ 91 h 91"/>
              <a:gd name="T22" fmla="*/ 226 w 349"/>
              <a:gd name="T23" fmla="*/ 89 h 91"/>
              <a:gd name="T24" fmla="*/ 226 w 349"/>
              <a:gd name="T25" fmla="*/ 89 h 91"/>
              <a:gd name="T26" fmla="*/ 256 w 349"/>
              <a:gd name="T27" fmla="*/ 86 h 91"/>
              <a:gd name="T28" fmla="*/ 279 w 349"/>
              <a:gd name="T29" fmla="*/ 80 h 91"/>
              <a:gd name="T30" fmla="*/ 301 w 349"/>
              <a:gd name="T31" fmla="*/ 75 h 91"/>
              <a:gd name="T32" fmla="*/ 318 w 349"/>
              <a:gd name="T33" fmla="*/ 69 h 91"/>
              <a:gd name="T34" fmla="*/ 342 w 349"/>
              <a:gd name="T35" fmla="*/ 56 h 91"/>
              <a:gd name="T36" fmla="*/ 349 w 349"/>
              <a:gd name="T37" fmla="*/ 53 h 91"/>
              <a:gd name="T38" fmla="*/ 349 w 349"/>
              <a:gd name="T39" fmla="*/ 53 h 91"/>
              <a:gd name="T40" fmla="*/ 338 w 349"/>
              <a:gd name="T41" fmla="*/ 49 h 91"/>
              <a:gd name="T42" fmla="*/ 329 w 349"/>
              <a:gd name="T43" fmla="*/ 44 h 91"/>
              <a:gd name="T44" fmla="*/ 314 w 349"/>
              <a:gd name="T45" fmla="*/ 31 h 91"/>
              <a:gd name="T46" fmla="*/ 314 w 349"/>
              <a:gd name="T47" fmla="*/ 31 h 91"/>
              <a:gd name="T48" fmla="*/ 312 w 349"/>
              <a:gd name="T49" fmla="*/ 38 h 91"/>
              <a:gd name="T50" fmla="*/ 312 w 349"/>
              <a:gd name="T51" fmla="*/ 38 h 91"/>
              <a:gd name="T52" fmla="*/ 311 w 349"/>
              <a:gd name="T53" fmla="*/ 51 h 91"/>
              <a:gd name="T54" fmla="*/ 311 w 349"/>
              <a:gd name="T55" fmla="*/ 51 h 91"/>
              <a:gd name="T56" fmla="*/ 303 w 349"/>
              <a:gd name="T57" fmla="*/ 49 h 91"/>
              <a:gd name="T58" fmla="*/ 303 w 349"/>
              <a:gd name="T59" fmla="*/ 49 h 91"/>
              <a:gd name="T60" fmla="*/ 298 w 349"/>
              <a:gd name="T61" fmla="*/ 45 h 91"/>
              <a:gd name="T62" fmla="*/ 292 w 349"/>
              <a:gd name="T63" fmla="*/ 40 h 91"/>
              <a:gd name="T64" fmla="*/ 289 w 349"/>
              <a:gd name="T65" fmla="*/ 33 h 91"/>
              <a:gd name="T66" fmla="*/ 287 w 349"/>
              <a:gd name="T67" fmla="*/ 23 h 91"/>
              <a:gd name="T68" fmla="*/ 287 w 349"/>
              <a:gd name="T69" fmla="*/ 23 h 91"/>
              <a:gd name="T70" fmla="*/ 287 w 349"/>
              <a:gd name="T71" fmla="*/ 22 h 91"/>
              <a:gd name="T72" fmla="*/ 287 w 349"/>
              <a:gd name="T73" fmla="*/ 22 h 91"/>
              <a:gd name="T74" fmla="*/ 272 w 349"/>
              <a:gd name="T75" fmla="*/ 27 h 91"/>
              <a:gd name="T76" fmla="*/ 252 w 349"/>
              <a:gd name="T77" fmla="*/ 33 h 91"/>
              <a:gd name="T78" fmla="*/ 228 w 349"/>
              <a:gd name="T79" fmla="*/ 38 h 91"/>
              <a:gd name="T80" fmla="*/ 205 w 349"/>
              <a:gd name="T81" fmla="*/ 40 h 91"/>
              <a:gd name="T82" fmla="*/ 205 w 349"/>
              <a:gd name="T83" fmla="*/ 40 h 91"/>
              <a:gd name="T84" fmla="*/ 161 w 349"/>
              <a:gd name="T85" fmla="*/ 38 h 91"/>
              <a:gd name="T86" fmla="*/ 139 w 349"/>
              <a:gd name="T87" fmla="*/ 36 h 91"/>
              <a:gd name="T88" fmla="*/ 117 w 349"/>
              <a:gd name="T89" fmla="*/ 33 h 91"/>
              <a:gd name="T90" fmla="*/ 95 w 349"/>
              <a:gd name="T91" fmla="*/ 29 h 91"/>
              <a:gd name="T92" fmla="*/ 73 w 349"/>
              <a:gd name="T93" fmla="*/ 22 h 91"/>
              <a:gd name="T94" fmla="*/ 51 w 349"/>
              <a:gd name="T95" fmla="*/ 14 h 91"/>
              <a:gd name="T96" fmla="*/ 31 w 349"/>
              <a:gd name="T97" fmla="*/ 7 h 91"/>
              <a:gd name="T98" fmla="*/ 31 w 349"/>
              <a:gd name="T99" fmla="*/ 7 h 91"/>
              <a:gd name="T100" fmla="*/ 15 w 349"/>
              <a:gd name="T101" fmla="*/ 0 h 91"/>
              <a:gd name="T102" fmla="*/ 15 w 349"/>
              <a:gd name="T103" fmla="*/ 0 h 91"/>
              <a:gd name="T104" fmla="*/ 15 w 349"/>
              <a:gd name="T105" fmla="*/ 1 h 91"/>
              <a:gd name="T106" fmla="*/ 15 w 349"/>
              <a:gd name="T107" fmla="*/ 5 h 91"/>
              <a:gd name="T108" fmla="*/ 18 w 349"/>
              <a:gd name="T109" fmla="*/ 14 h 91"/>
              <a:gd name="T110" fmla="*/ 25 w 349"/>
              <a:gd name="T111" fmla="*/ 25 h 91"/>
              <a:gd name="T112" fmla="*/ 25 w 349"/>
              <a:gd name="T113" fmla="*/ 25 h 91"/>
              <a:gd name="T114" fmla="*/ 16 w 349"/>
              <a:gd name="T115" fmla="*/ 23 h 91"/>
              <a:gd name="T116" fmla="*/ 7 w 349"/>
              <a:gd name="T117" fmla="*/ 27 h 91"/>
              <a:gd name="T118" fmla="*/ 7 w 349"/>
              <a:gd name="T119" fmla="*/ 27 h 91"/>
              <a:gd name="T120" fmla="*/ 2 w 349"/>
              <a:gd name="T121" fmla="*/ 31 h 91"/>
              <a:gd name="T122" fmla="*/ 0 w 349"/>
              <a:gd name="T123" fmla="*/ 3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9" h="91">
                <a:moveTo>
                  <a:pt x="0" y="34"/>
                </a:moveTo>
                <a:lnTo>
                  <a:pt x="0" y="34"/>
                </a:lnTo>
                <a:lnTo>
                  <a:pt x="20" y="49"/>
                </a:lnTo>
                <a:lnTo>
                  <a:pt x="38" y="60"/>
                </a:lnTo>
                <a:lnTo>
                  <a:pt x="38" y="60"/>
                </a:lnTo>
                <a:lnTo>
                  <a:pt x="69" y="71"/>
                </a:lnTo>
                <a:lnTo>
                  <a:pt x="89" y="78"/>
                </a:lnTo>
                <a:lnTo>
                  <a:pt x="111" y="84"/>
                </a:lnTo>
                <a:lnTo>
                  <a:pt x="137" y="87"/>
                </a:lnTo>
                <a:lnTo>
                  <a:pt x="164" y="91"/>
                </a:lnTo>
                <a:lnTo>
                  <a:pt x="194" y="91"/>
                </a:lnTo>
                <a:lnTo>
                  <a:pt x="226" y="89"/>
                </a:lnTo>
                <a:lnTo>
                  <a:pt x="226" y="89"/>
                </a:lnTo>
                <a:lnTo>
                  <a:pt x="256" y="86"/>
                </a:lnTo>
                <a:lnTo>
                  <a:pt x="279" y="80"/>
                </a:lnTo>
                <a:lnTo>
                  <a:pt x="301" y="75"/>
                </a:lnTo>
                <a:lnTo>
                  <a:pt x="318" y="69"/>
                </a:lnTo>
                <a:lnTo>
                  <a:pt x="342" y="56"/>
                </a:lnTo>
                <a:lnTo>
                  <a:pt x="349" y="53"/>
                </a:lnTo>
                <a:lnTo>
                  <a:pt x="349" y="53"/>
                </a:lnTo>
                <a:lnTo>
                  <a:pt x="338" y="49"/>
                </a:lnTo>
                <a:lnTo>
                  <a:pt x="329" y="44"/>
                </a:lnTo>
                <a:lnTo>
                  <a:pt x="314" y="31"/>
                </a:lnTo>
                <a:lnTo>
                  <a:pt x="314" y="31"/>
                </a:lnTo>
                <a:lnTo>
                  <a:pt x="312" y="38"/>
                </a:lnTo>
                <a:lnTo>
                  <a:pt x="312" y="38"/>
                </a:lnTo>
                <a:lnTo>
                  <a:pt x="311" y="51"/>
                </a:lnTo>
                <a:lnTo>
                  <a:pt x="311" y="51"/>
                </a:lnTo>
                <a:lnTo>
                  <a:pt x="303" y="49"/>
                </a:lnTo>
                <a:lnTo>
                  <a:pt x="303" y="49"/>
                </a:lnTo>
                <a:lnTo>
                  <a:pt x="298" y="45"/>
                </a:lnTo>
                <a:lnTo>
                  <a:pt x="292" y="40"/>
                </a:lnTo>
                <a:lnTo>
                  <a:pt x="289" y="33"/>
                </a:lnTo>
                <a:lnTo>
                  <a:pt x="287" y="23"/>
                </a:lnTo>
                <a:lnTo>
                  <a:pt x="287" y="23"/>
                </a:lnTo>
                <a:lnTo>
                  <a:pt x="287" y="22"/>
                </a:lnTo>
                <a:lnTo>
                  <a:pt x="287" y="22"/>
                </a:lnTo>
                <a:lnTo>
                  <a:pt x="272" y="27"/>
                </a:lnTo>
                <a:lnTo>
                  <a:pt x="252" y="33"/>
                </a:lnTo>
                <a:lnTo>
                  <a:pt x="228" y="38"/>
                </a:lnTo>
                <a:lnTo>
                  <a:pt x="205" y="40"/>
                </a:lnTo>
                <a:lnTo>
                  <a:pt x="205" y="40"/>
                </a:lnTo>
                <a:lnTo>
                  <a:pt x="161" y="38"/>
                </a:lnTo>
                <a:lnTo>
                  <a:pt x="139" y="36"/>
                </a:lnTo>
                <a:lnTo>
                  <a:pt x="117" y="33"/>
                </a:lnTo>
                <a:lnTo>
                  <a:pt x="95" y="29"/>
                </a:lnTo>
                <a:lnTo>
                  <a:pt x="73" y="22"/>
                </a:lnTo>
                <a:lnTo>
                  <a:pt x="51" y="14"/>
                </a:lnTo>
                <a:lnTo>
                  <a:pt x="31" y="7"/>
                </a:lnTo>
                <a:lnTo>
                  <a:pt x="31" y="7"/>
                </a:lnTo>
                <a:lnTo>
                  <a:pt x="15" y="0"/>
                </a:lnTo>
                <a:lnTo>
                  <a:pt x="15" y="0"/>
                </a:lnTo>
                <a:lnTo>
                  <a:pt x="15" y="1"/>
                </a:lnTo>
                <a:lnTo>
                  <a:pt x="15" y="5"/>
                </a:lnTo>
                <a:lnTo>
                  <a:pt x="18" y="14"/>
                </a:lnTo>
                <a:lnTo>
                  <a:pt x="25" y="25"/>
                </a:lnTo>
                <a:lnTo>
                  <a:pt x="25" y="25"/>
                </a:lnTo>
                <a:lnTo>
                  <a:pt x="16" y="23"/>
                </a:lnTo>
                <a:lnTo>
                  <a:pt x="7" y="27"/>
                </a:lnTo>
                <a:lnTo>
                  <a:pt x="7" y="27"/>
                </a:lnTo>
                <a:lnTo>
                  <a:pt x="2" y="31"/>
                </a:lnTo>
                <a:lnTo>
                  <a:pt x="0" y="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87" name="Freeform 38"/>
          <p:cNvSpPr>
            <a:spLocks/>
          </p:cNvSpPr>
          <p:nvPr userDrawn="1"/>
        </p:nvSpPr>
        <p:spPr bwMode="auto">
          <a:xfrm>
            <a:off x="8270876" y="-618703"/>
            <a:ext cx="282575" cy="201613"/>
          </a:xfrm>
          <a:custGeom>
            <a:avLst/>
            <a:gdLst>
              <a:gd name="T0" fmla="*/ 326 w 357"/>
              <a:gd name="T1" fmla="*/ 20 h 253"/>
              <a:gd name="T2" fmla="*/ 320 w 357"/>
              <a:gd name="T3" fmla="*/ 3 h 253"/>
              <a:gd name="T4" fmla="*/ 311 w 357"/>
              <a:gd name="T5" fmla="*/ 0 h 253"/>
              <a:gd name="T6" fmla="*/ 227 w 357"/>
              <a:gd name="T7" fmla="*/ 40 h 253"/>
              <a:gd name="T8" fmla="*/ 207 w 357"/>
              <a:gd name="T9" fmla="*/ 53 h 253"/>
              <a:gd name="T10" fmla="*/ 176 w 357"/>
              <a:gd name="T11" fmla="*/ 53 h 253"/>
              <a:gd name="T12" fmla="*/ 181 w 357"/>
              <a:gd name="T13" fmla="*/ 71 h 253"/>
              <a:gd name="T14" fmla="*/ 172 w 357"/>
              <a:gd name="T15" fmla="*/ 78 h 253"/>
              <a:gd name="T16" fmla="*/ 181 w 357"/>
              <a:gd name="T17" fmla="*/ 93 h 253"/>
              <a:gd name="T18" fmla="*/ 198 w 357"/>
              <a:gd name="T19" fmla="*/ 91 h 253"/>
              <a:gd name="T20" fmla="*/ 189 w 357"/>
              <a:gd name="T21" fmla="*/ 115 h 253"/>
              <a:gd name="T22" fmla="*/ 147 w 357"/>
              <a:gd name="T23" fmla="*/ 146 h 253"/>
              <a:gd name="T24" fmla="*/ 101 w 357"/>
              <a:gd name="T25" fmla="*/ 155 h 253"/>
              <a:gd name="T26" fmla="*/ 79 w 357"/>
              <a:gd name="T27" fmla="*/ 137 h 253"/>
              <a:gd name="T28" fmla="*/ 68 w 357"/>
              <a:gd name="T29" fmla="*/ 126 h 253"/>
              <a:gd name="T30" fmla="*/ 50 w 357"/>
              <a:gd name="T31" fmla="*/ 126 h 253"/>
              <a:gd name="T32" fmla="*/ 28 w 357"/>
              <a:gd name="T33" fmla="*/ 137 h 253"/>
              <a:gd name="T34" fmla="*/ 48 w 357"/>
              <a:gd name="T35" fmla="*/ 140 h 253"/>
              <a:gd name="T36" fmla="*/ 44 w 357"/>
              <a:gd name="T37" fmla="*/ 149 h 253"/>
              <a:gd name="T38" fmla="*/ 75 w 357"/>
              <a:gd name="T39" fmla="*/ 169 h 253"/>
              <a:gd name="T40" fmla="*/ 75 w 357"/>
              <a:gd name="T41" fmla="*/ 171 h 253"/>
              <a:gd name="T42" fmla="*/ 39 w 357"/>
              <a:gd name="T43" fmla="*/ 160 h 253"/>
              <a:gd name="T44" fmla="*/ 28 w 357"/>
              <a:gd name="T45" fmla="*/ 164 h 253"/>
              <a:gd name="T46" fmla="*/ 8 w 357"/>
              <a:gd name="T47" fmla="*/ 171 h 253"/>
              <a:gd name="T48" fmla="*/ 2 w 357"/>
              <a:gd name="T49" fmla="*/ 193 h 253"/>
              <a:gd name="T50" fmla="*/ 17 w 357"/>
              <a:gd name="T51" fmla="*/ 180 h 253"/>
              <a:gd name="T52" fmla="*/ 22 w 357"/>
              <a:gd name="T53" fmla="*/ 188 h 253"/>
              <a:gd name="T54" fmla="*/ 26 w 357"/>
              <a:gd name="T55" fmla="*/ 197 h 253"/>
              <a:gd name="T56" fmla="*/ 66 w 357"/>
              <a:gd name="T57" fmla="*/ 195 h 253"/>
              <a:gd name="T58" fmla="*/ 75 w 357"/>
              <a:gd name="T59" fmla="*/ 197 h 253"/>
              <a:gd name="T60" fmla="*/ 39 w 357"/>
              <a:gd name="T61" fmla="*/ 206 h 253"/>
              <a:gd name="T62" fmla="*/ 37 w 357"/>
              <a:gd name="T63" fmla="*/ 213 h 253"/>
              <a:gd name="T64" fmla="*/ 28 w 357"/>
              <a:gd name="T65" fmla="*/ 233 h 253"/>
              <a:gd name="T66" fmla="*/ 35 w 357"/>
              <a:gd name="T67" fmla="*/ 248 h 253"/>
              <a:gd name="T68" fmla="*/ 41 w 357"/>
              <a:gd name="T69" fmla="*/ 244 h 253"/>
              <a:gd name="T70" fmla="*/ 42 w 357"/>
              <a:gd name="T71" fmla="*/ 235 h 253"/>
              <a:gd name="T72" fmla="*/ 55 w 357"/>
              <a:gd name="T73" fmla="*/ 243 h 253"/>
              <a:gd name="T74" fmla="*/ 72 w 357"/>
              <a:gd name="T75" fmla="*/ 232 h 253"/>
              <a:gd name="T76" fmla="*/ 94 w 357"/>
              <a:gd name="T77" fmla="*/ 213 h 253"/>
              <a:gd name="T78" fmla="*/ 108 w 357"/>
              <a:gd name="T79" fmla="*/ 211 h 253"/>
              <a:gd name="T80" fmla="*/ 110 w 357"/>
              <a:gd name="T81" fmla="*/ 222 h 253"/>
              <a:gd name="T82" fmla="*/ 115 w 357"/>
              <a:gd name="T83" fmla="*/ 233 h 253"/>
              <a:gd name="T84" fmla="*/ 114 w 357"/>
              <a:gd name="T85" fmla="*/ 243 h 253"/>
              <a:gd name="T86" fmla="*/ 136 w 357"/>
              <a:gd name="T87" fmla="*/ 224 h 253"/>
              <a:gd name="T88" fmla="*/ 141 w 357"/>
              <a:gd name="T89" fmla="*/ 219 h 253"/>
              <a:gd name="T90" fmla="*/ 145 w 357"/>
              <a:gd name="T91" fmla="*/ 211 h 253"/>
              <a:gd name="T92" fmla="*/ 147 w 357"/>
              <a:gd name="T93" fmla="*/ 200 h 253"/>
              <a:gd name="T94" fmla="*/ 167 w 357"/>
              <a:gd name="T95" fmla="*/ 193 h 253"/>
              <a:gd name="T96" fmla="*/ 170 w 357"/>
              <a:gd name="T97" fmla="*/ 180 h 253"/>
              <a:gd name="T98" fmla="*/ 181 w 357"/>
              <a:gd name="T99" fmla="*/ 179 h 253"/>
              <a:gd name="T100" fmla="*/ 199 w 357"/>
              <a:gd name="T101" fmla="*/ 197 h 253"/>
              <a:gd name="T102" fmla="*/ 231 w 357"/>
              <a:gd name="T103" fmla="*/ 182 h 253"/>
              <a:gd name="T104" fmla="*/ 227 w 357"/>
              <a:gd name="T105" fmla="*/ 169 h 253"/>
              <a:gd name="T106" fmla="*/ 223 w 357"/>
              <a:gd name="T107" fmla="*/ 155 h 253"/>
              <a:gd name="T108" fmla="*/ 245 w 357"/>
              <a:gd name="T109" fmla="*/ 173 h 253"/>
              <a:gd name="T110" fmla="*/ 276 w 357"/>
              <a:gd name="T111" fmla="*/ 155 h 253"/>
              <a:gd name="T112" fmla="*/ 273 w 357"/>
              <a:gd name="T113" fmla="*/ 149 h 253"/>
              <a:gd name="T114" fmla="*/ 263 w 357"/>
              <a:gd name="T115" fmla="*/ 131 h 253"/>
              <a:gd name="T116" fmla="*/ 262 w 357"/>
              <a:gd name="T117" fmla="*/ 115 h 253"/>
              <a:gd name="T118" fmla="*/ 262 w 357"/>
              <a:gd name="T119" fmla="*/ 98 h 253"/>
              <a:gd name="T120" fmla="*/ 353 w 357"/>
              <a:gd name="T121" fmla="*/ 45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7" h="253">
                <a:moveTo>
                  <a:pt x="344" y="31"/>
                </a:moveTo>
                <a:lnTo>
                  <a:pt x="344" y="31"/>
                </a:lnTo>
                <a:lnTo>
                  <a:pt x="335" y="23"/>
                </a:lnTo>
                <a:lnTo>
                  <a:pt x="326" y="20"/>
                </a:lnTo>
                <a:lnTo>
                  <a:pt x="309" y="12"/>
                </a:lnTo>
                <a:lnTo>
                  <a:pt x="309" y="12"/>
                </a:lnTo>
                <a:lnTo>
                  <a:pt x="316" y="7"/>
                </a:lnTo>
                <a:lnTo>
                  <a:pt x="320" y="3"/>
                </a:lnTo>
                <a:lnTo>
                  <a:pt x="320" y="1"/>
                </a:lnTo>
                <a:lnTo>
                  <a:pt x="320" y="1"/>
                </a:lnTo>
                <a:lnTo>
                  <a:pt x="315" y="0"/>
                </a:lnTo>
                <a:lnTo>
                  <a:pt x="311" y="0"/>
                </a:lnTo>
                <a:lnTo>
                  <a:pt x="311" y="0"/>
                </a:lnTo>
                <a:lnTo>
                  <a:pt x="280" y="12"/>
                </a:lnTo>
                <a:lnTo>
                  <a:pt x="252" y="25"/>
                </a:lnTo>
                <a:lnTo>
                  <a:pt x="227" y="40"/>
                </a:lnTo>
                <a:lnTo>
                  <a:pt x="209" y="53"/>
                </a:lnTo>
                <a:lnTo>
                  <a:pt x="209" y="53"/>
                </a:lnTo>
                <a:lnTo>
                  <a:pt x="207" y="53"/>
                </a:lnTo>
                <a:lnTo>
                  <a:pt x="207" y="53"/>
                </a:lnTo>
                <a:lnTo>
                  <a:pt x="201" y="56"/>
                </a:lnTo>
                <a:lnTo>
                  <a:pt x="196" y="56"/>
                </a:lnTo>
                <a:lnTo>
                  <a:pt x="185" y="54"/>
                </a:lnTo>
                <a:lnTo>
                  <a:pt x="176" y="53"/>
                </a:lnTo>
                <a:lnTo>
                  <a:pt x="174" y="51"/>
                </a:lnTo>
                <a:lnTo>
                  <a:pt x="170" y="67"/>
                </a:lnTo>
                <a:lnTo>
                  <a:pt x="170" y="67"/>
                </a:lnTo>
                <a:lnTo>
                  <a:pt x="181" y="71"/>
                </a:lnTo>
                <a:lnTo>
                  <a:pt x="189" y="74"/>
                </a:lnTo>
                <a:lnTo>
                  <a:pt x="189" y="74"/>
                </a:lnTo>
                <a:lnTo>
                  <a:pt x="178" y="76"/>
                </a:lnTo>
                <a:lnTo>
                  <a:pt x="172" y="78"/>
                </a:lnTo>
                <a:lnTo>
                  <a:pt x="168" y="82"/>
                </a:lnTo>
                <a:lnTo>
                  <a:pt x="174" y="96"/>
                </a:lnTo>
                <a:lnTo>
                  <a:pt x="174" y="96"/>
                </a:lnTo>
                <a:lnTo>
                  <a:pt x="181" y="93"/>
                </a:lnTo>
                <a:lnTo>
                  <a:pt x="189" y="91"/>
                </a:lnTo>
                <a:lnTo>
                  <a:pt x="198" y="89"/>
                </a:lnTo>
                <a:lnTo>
                  <a:pt x="198" y="89"/>
                </a:lnTo>
                <a:lnTo>
                  <a:pt x="198" y="91"/>
                </a:lnTo>
                <a:lnTo>
                  <a:pt x="198" y="91"/>
                </a:lnTo>
                <a:lnTo>
                  <a:pt x="198" y="98"/>
                </a:lnTo>
                <a:lnTo>
                  <a:pt x="194" y="105"/>
                </a:lnTo>
                <a:lnTo>
                  <a:pt x="189" y="115"/>
                </a:lnTo>
                <a:lnTo>
                  <a:pt x="181" y="122"/>
                </a:lnTo>
                <a:lnTo>
                  <a:pt x="165" y="137"/>
                </a:lnTo>
                <a:lnTo>
                  <a:pt x="156" y="142"/>
                </a:lnTo>
                <a:lnTo>
                  <a:pt x="147" y="146"/>
                </a:lnTo>
                <a:lnTo>
                  <a:pt x="147" y="146"/>
                </a:lnTo>
                <a:lnTo>
                  <a:pt x="128" y="151"/>
                </a:lnTo>
                <a:lnTo>
                  <a:pt x="112" y="155"/>
                </a:lnTo>
                <a:lnTo>
                  <a:pt x="101" y="155"/>
                </a:lnTo>
                <a:lnTo>
                  <a:pt x="95" y="153"/>
                </a:lnTo>
                <a:lnTo>
                  <a:pt x="95" y="153"/>
                </a:lnTo>
                <a:lnTo>
                  <a:pt x="84" y="144"/>
                </a:lnTo>
                <a:lnTo>
                  <a:pt x="79" y="137"/>
                </a:lnTo>
                <a:lnTo>
                  <a:pt x="73" y="129"/>
                </a:lnTo>
                <a:lnTo>
                  <a:pt x="72" y="126"/>
                </a:lnTo>
                <a:lnTo>
                  <a:pt x="68" y="126"/>
                </a:lnTo>
                <a:lnTo>
                  <a:pt x="68" y="126"/>
                </a:lnTo>
                <a:lnTo>
                  <a:pt x="64" y="126"/>
                </a:lnTo>
                <a:lnTo>
                  <a:pt x="61" y="127"/>
                </a:lnTo>
                <a:lnTo>
                  <a:pt x="61" y="127"/>
                </a:lnTo>
                <a:lnTo>
                  <a:pt x="50" y="126"/>
                </a:lnTo>
                <a:lnTo>
                  <a:pt x="41" y="127"/>
                </a:lnTo>
                <a:lnTo>
                  <a:pt x="33" y="131"/>
                </a:lnTo>
                <a:lnTo>
                  <a:pt x="30" y="133"/>
                </a:lnTo>
                <a:lnTo>
                  <a:pt x="28" y="137"/>
                </a:lnTo>
                <a:lnTo>
                  <a:pt x="28" y="137"/>
                </a:lnTo>
                <a:lnTo>
                  <a:pt x="41" y="137"/>
                </a:lnTo>
                <a:lnTo>
                  <a:pt x="48" y="138"/>
                </a:lnTo>
                <a:lnTo>
                  <a:pt x="48" y="140"/>
                </a:lnTo>
                <a:lnTo>
                  <a:pt x="46" y="142"/>
                </a:lnTo>
                <a:lnTo>
                  <a:pt x="46" y="142"/>
                </a:lnTo>
                <a:lnTo>
                  <a:pt x="42" y="146"/>
                </a:lnTo>
                <a:lnTo>
                  <a:pt x="44" y="149"/>
                </a:lnTo>
                <a:lnTo>
                  <a:pt x="46" y="153"/>
                </a:lnTo>
                <a:lnTo>
                  <a:pt x="52" y="157"/>
                </a:lnTo>
                <a:lnTo>
                  <a:pt x="75" y="169"/>
                </a:lnTo>
                <a:lnTo>
                  <a:pt x="75" y="169"/>
                </a:lnTo>
                <a:lnTo>
                  <a:pt x="75" y="169"/>
                </a:lnTo>
                <a:lnTo>
                  <a:pt x="75" y="171"/>
                </a:lnTo>
                <a:lnTo>
                  <a:pt x="75" y="171"/>
                </a:lnTo>
                <a:lnTo>
                  <a:pt x="75" y="171"/>
                </a:lnTo>
                <a:lnTo>
                  <a:pt x="68" y="171"/>
                </a:lnTo>
                <a:lnTo>
                  <a:pt x="59" y="168"/>
                </a:lnTo>
                <a:lnTo>
                  <a:pt x="39" y="160"/>
                </a:lnTo>
                <a:lnTo>
                  <a:pt x="39" y="160"/>
                </a:lnTo>
                <a:lnTo>
                  <a:pt x="35" y="160"/>
                </a:lnTo>
                <a:lnTo>
                  <a:pt x="31" y="160"/>
                </a:lnTo>
                <a:lnTo>
                  <a:pt x="28" y="164"/>
                </a:lnTo>
                <a:lnTo>
                  <a:pt x="28" y="164"/>
                </a:lnTo>
                <a:lnTo>
                  <a:pt x="24" y="164"/>
                </a:lnTo>
                <a:lnTo>
                  <a:pt x="19" y="164"/>
                </a:lnTo>
                <a:lnTo>
                  <a:pt x="11" y="168"/>
                </a:lnTo>
                <a:lnTo>
                  <a:pt x="8" y="171"/>
                </a:lnTo>
                <a:lnTo>
                  <a:pt x="2" y="175"/>
                </a:lnTo>
                <a:lnTo>
                  <a:pt x="0" y="180"/>
                </a:lnTo>
                <a:lnTo>
                  <a:pt x="0" y="186"/>
                </a:lnTo>
                <a:lnTo>
                  <a:pt x="2" y="193"/>
                </a:lnTo>
                <a:lnTo>
                  <a:pt x="2" y="193"/>
                </a:lnTo>
                <a:lnTo>
                  <a:pt x="8" y="186"/>
                </a:lnTo>
                <a:lnTo>
                  <a:pt x="13" y="180"/>
                </a:lnTo>
                <a:lnTo>
                  <a:pt x="17" y="180"/>
                </a:lnTo>
                <a:lnTo>
                  <a:pt x="20" y="180"/>
                </a:lnTo>
                <a:lnTo>
                  <a:pt x="20" y="180"/>
                </a:lnTo>
                <a:lnTo>
                  <a:pt x="22" y="182"/>
                </a:lnTo>
                <a:lnTo>
                  <a:pt x="22" y="188"/>
                </a:lnTo>
                <a:lnTo>
                  <a:pt x="22" y="191"/>
                </a:lnTo>
                <a:lnTo>
                  <a:pt x="24" y="195"/>
                </a:lnTo>
                <a:lnTo>
                  <a:pt x="26" y="197"/>
                </a:lnTo>
                <a:lnTo>
                  <a:pt x="26" y="197"/>
                </a:lnTo>
                <a:lnTo>
                  <a:pt x="30" y="199"/>
                </a:lnTo>
                <a:lnTo>
                  <a:pt x="37" y="199"/>
                </a:lnTo>
                <a:lnTo>
                  <a:pt x="52" y="197"/>
                </a:lnTo>
                <a:lnTo>
                  <a:pt x="66" y="195"/>
                </a:lnTo>
                <a:lnTo>
                  <a:pt x="73" y="195"/>
                </a:lnTo>
                <a:lnTo>
                  <a:pt x="75" y="195"/>
                </a:lnTo>
                <a:lnTo>
                  <a:pt x="75" y="195"/>
                </a:lnTo>
                <a:lnTo>
                  <a:pt x="75" y="197"/>
                </a:lnTo>
                <a:lnTo>
                  <a:pt x="72" y="199"/>
                </a:lnTo>
                <a:lnTo>
                  <a:pt x="59" y="200"/>
                </a:lnTo>
                <a:lnTo>
                  <a:pt x="44" y="202"/>
                </a:lnTo>
                <a:lnTo>
                  <a:pt x="39" y="206"/>
                </a:lnTo>
                <a:lnTo>
                  <a:pt x="37" y="208"/>
                </a:lnTo>
                <a:lnTo>
                  <a:pt x="37" y="208"/>
                </a:lnTo>
                <a:lnTo>
                  <a:pt x="37" y="213"/>
                </a:lnTo>
                <a:lnTo>
                  <a:pt x="37" y="213"/>
                </a:lnTo>
                <a:lnTo>
                  <a:pt x="37" y="215"/>
                </a:lnTo>
                <a:lnTo>
                  <a:pt x="33" y="219"/>
                </a:lnTo>
                <a:lnTo>
                  <a:pt x="30" y="226"/>
                </a:lnTo>
                <a:lnTo>
                  <a:pt x="28" y="233"/>
                </a:lnTo>
                <a:lnTo>
                  <a:pt x="28" y="233"/>
                </a:lnTo>
                <a:lnTo>
                  <a:pt x="28" y="237"/>
                </a:lnTo>
                <a:lnTo>
                  <a:pt x="30" y="243"/>
                </a:lnTo>
                <a:lnTo>
                  <a:pt x="35" y="248"/>
                </a:lnTo>
                <a:lnTo>
                  <a:pt x="41" y="253"/>
                </a:lnTo>
                <a:lnTo>
                  <a:pt x="41" y="253"/>
                </a:lnTo>
                <a:lnTo>
                  <a:pt x="42" y="252"/>
                </a:lnTo>
                <a:lnTo>
                  <a:pt x="41" y="244"/>
                </a:lnTo>
                <a:lnTo>
                  <a:pt x="41" y="239"/>
                </a:lnTo>
                <a:lnTo>
                  <a:pt x="42" y="237"/>
                </a:lnTo>
                <a:lnTo>
                  <a:pt x="42" y="235"/>
                </a:lnTo>
                <a:lnTo>
                  <a:pt x="42" y="235"/>
                </a:lnTo>
                <a:lnTo>
                  <a:pt x="46" y="235"/>
                </a:lnTo>
                <a:lnTo>
                  <a:pt x="48" y="237"/>
                </a:lnTo>
                <a:lnTo>
                  <a:pt x="52" y="241"/>
                </a:lnTo>
                <a:lnTo>
                  <a:pt x="55" y="243"/>
                </a:lnTo>
                <a:lnTo>
                  <a:pt x="55" y="243"/>
                </a:lnTo>
                <a:lnTo>
                  <a:pt x="59" y="241"/>
                </a:lnTo>
                <a:lnTo>
                  <a:pt x="62" y="239"/>
                </a:lnTo>
                <a:lnTo>
                  <a:pt x="72" y="232"/>
                </a:lnTo>
                <a:lnTo>
                  <a:pt x="81" y="222"/>
                </a:lnTo>
                <a:lnTo>
                  <a:pt x="86" y="217"/>
                </a:lnTo>
                <a:lnTo>
                  <a:pt x="94" y="213"/>
                </a:lnTo>
                <a:lnTo>
                  <a:pt x="94" y="213"/>
                </a:lnTo>
                <a:lnTo>
                  <a:pt x="103" y="210"/>
                </a:lnTo>
                <a:lnTo>
                  <a:pt x="106" y="208"/>
                </a:lnTo>
                <a:lnTo>
                  <a:pt x="108" y="210"/>
                </a:lnTo>
                <a:lnTo>
                  <a:pt x="108" y="211"/>
                </a:lnTo>
                <a:lnTo>
                  <a:pt x="108" y="217"/>
                </a:lnTo>
                <a:lnTo>
                  <a:pt x="108" y="221"/>
                </a:lnTo>
                <a:lnTo>
                  <a:pt x="110" y="222"/>
                </a:lnTo>
                <a:lnTo>
                  <a:pt x="110" y="222"/>
                </a:lnTo>
                <a:lnTo>
                  <a:pt x="115" y="224"/>
                </a:lnTo>
                <a:lnTo>
                  <a:pt x="117" y="226"/>
                </a:lnTo>
                <a:lnTo>
                  <a:pt x="117" y="230"/>
                </a:lnTo>
                <a:lnTo>
                  <a:pt x="115" y="233"/>
                </a:lnTo>
                <a:lnTo>
                  <a:pt x="112" y="239"/>
                </a:lnTo>
                <a:lnTo>
                  <a:pt x="108" y="243"/>
                </a:lnTo>
                <a:lnTo>
                  <a:pt x="108" y="243"/>
                </a:lnTo>
                <a:lnTo>
                  <a:pt x="114" y="243"/>
                </a:lnTo>
                <a:lnTo>
                  <a:pt x="121" y="241"/>
                </a:lnTo>
                <a:lnTo>
                  <a:pt x="128" y="233"/>
                </a:lnTo>
                <a:lnTo>
                  <a:pt x="132" y="230"/>
                </a:lnTo>
                <a:lnTo>
                  <a:pt x="136" y="224"/>
                </a:lnTo>
                <a:lnTo>
                  <a:pt x="136" y="224"/>
                </a:lnTo>
                <a:lnTo>
                  <a:pt x="136" y="221"/>
                </a:lnTo>
                <a:lnTo>
                  <a:pt x="137" y="221"/>
                </a:lnTo>
                <a:lnTo>
                  <a:pt x="141" y="219"/>
                </a:lnTo>
                <a:lnTo>
                  <a:pt x="143" y="217"/>
                </a:lnTo>
                <a:lnTo>
                  <a:pt x="143" y="217"/>
                </a:lnTo>
                <a:lnTo>
                  <a:pt x="145" y="215"/>
                </a:lnTo>
                <a:lnTo>
                  <a:pt x="145" y="211"/>
                </a:lnTo>
                <a:lnTo>
                  <a:pt x="145" y="208"/>
                </a:lnTo>
                <a:lnTo>
                  <a:pt x="145" y="204"/>
                </a:lnTo>
                <a:lnTo>
                  <a:pt x="145" y="204"/>
                </a:lnTo>
                <a:lnTo>
                  <a:pt x="147" y="200"/>
                </a:lnTo>
                <a:lnTo>
                  <a:pt x="150" y="199"/>
                </a:lnTo>
                <a:lnTo>
                  <a:pt x="157" y="197"/>
                </a:lnTo>
                <a:lnTo>
                  <a:pt x="165" y="195"/>
                </a:lnTo>
                <a:lnTo>
                  <a:pt x="167" y="193"/>
                </a:lnTo>
                <a:lnTo>
                  <a:pt x="167" y="191"/>
                </a:lnTo>
                <a:lnTo>
                  <a:pt x="167" y="191"/>
                </a:lnTo>
                <a:lnTo>
                  <a:pt x="167" y="186"/>
                </a:lnTo>
                <a:lnTo>
                  <a:pt x="170" y="180"/>
                </a:lnTo>
                <a:lnTo>
                  <a:pt x="176" y="179"/>
                </a:lnTo>
                <a:lnTo>
                  <a:pt x="179" y="177"/>
                </a:lnTo>
                <a:lnTo>
                  <a:pt x="179" y="177"/>
                </a:lnTo>
                <a:lnTo>
                  <a:pt x="181" y="179"/>
                </a:lnTo>
                <a:lnTo>
                  <a:pt x="183" y="184"/>
                </a:lnTo>
                <a:lnTo>
                  <a:pt x="189" y="190"/>
                </a:lnTo>
                <a:lnTo>
                  <a:pt x="194" y="193"/>
                </a:lnTo>
                <a:lnTo>
                  <a:pt x="199" y="197"/>
                </a:lnTo>
                <a:lnTo>
                  <a:pt x="199" y="197"/>
                </a:lnTo>
                <a:lnTo>
                  <a:pt x="221" y="186"/>
                </a:lnTo>
                <a:lnTo>
                  <a:pt x="221" y="186"/>
                </a:lnTo>
                <a:lnTo>
                  <a:pt x="231" y="182"/>
                </a:lnTo>
                <a:lnTo>
                  <a:pt x="234" y="179"/>
                </a:lnTo>
                <a:lnTo>
                  <a:pt x="234" y="179"/>
                </a:lnTo>
                <a:lnTo>
                  <a:pt x="231" y="173"/>
                </a:lnTo>
                <a:lnTo>
                  <a:pt x="227" y="169"/>
                </a:lnTo>
                <a:lnTo>
                  <a:pt x="225" y="164"/>
                </a:lnTo>
                <a:lnTo>
                  <a:pt x="225" y="164"/>
                </a:lnTo>
                <a:lnTo>
                  <a:pt x="223" y="158"/>
                </a:lnTo>
                <a:lnTo>
                  <a:pt x="223" y="155"/>
                </a:lnTo>
                <a:lnTo>
                  <a:pt x="223" y="155"/>
                </a:lnTo>
                <a:lnTo>
                  <a:pt x="229" y="162"/>
                </a:lnTo>
                <a:lnTo>
                  <a:pt x="236" y="168"/>
                </a:lnTo>
                <a:lnTo>
                  <a:pt x="245" y="173"/>
                </a:lnTo>
                <a:lnTo>
                  <a:pt x="245" y="173"/>
                </a:lnTo>
                <a:lnTo>
                  <a:pt x="271" y="157"/>
                </a:lnTo>
                <a:lnTo>
                  <a:pt x="271" y="157"/>
                </a:lnTo>
                <a:lnTo>
                  <a:pt x="276" y="155"/>
                </a:lnTo>
                <a:lnTo>
                  <a:pt x="276" y="155"/>
                </a:lnTo>
                <a:lnTo>
                  <a:pt x="276" y="155"/>
                </a:lnTo>
                <a:lnTo>
                  <a:pt x="276" y="155"/>
                </a:lnTo>
                <a:lnTo>
                  <a:pt x="273" y="149"/>
                </a:lnTo>
                <a:lnTo>
                  <a:pt x="267" y="144"/>
                </a:lnTo>
                <a:lnTo>
                  <a:pt x="262" y="137"/>
                </a:lnTo>
                <a:lnTo>
                  <a:pt x="262" y="133"/>
                </a:lnTo>
                <a:lnTo>
                  <a:pt x="263" y="131"/>
                </a:lnTo>
                <a:lnTo>
                  <a:pt x="263" y="131"/>
                </a:lnTo>
                <a:lnTo>
                  <a:pt x="265" y="129"/>
                </a:lnTo>
                <a:lnTo>
                  <a:pt x="265" y="126"/>
                </a:lnTo>
                <a:lnTo>
                  <a:pt x="262" y="115"/>
                </a:lnTo>
                <a:lnTo>
                  <a:pt x="258" y="105"/>
                </a:lnTo>
                <a:lnTo>
                  <a:pt x="258" y="100"/>
                </a:lnTo>
                <a:lnTo>
                  <a:pt x="262" y="98"/>
                </a:lnTo>
                <a:lnTo>
                  <a:pt x="262" y="98"/>
                </a:lnTo>
                <a:lnTo>
                  <a:pt x="313" y="73"/>
                </a:lnTo>
                <a:lnTo>
                  <a:pt x="357" y="51"/>
                </a:lnTo>
                <a:lnTo>
                  <a:pt x="357" y="51"/>
                </a:lnTo>
                <a:lnTo>
                  <a:pt x="353" y="45"/>
                </a:lnTo>
                <a:lnTo>
                  <a:pt x="349" y="38"/>
                </a:lnTo>
                <a:lnTo>
                  <a:pt x="344" y="3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88" name="Freeform 39"/>
          <p:cNvSpPr>
            <a:spLocks/>
          </p:cNvSpPr>
          <p:nvPr userDrawn="1"/>
        </p:nvSpPr>
        <p:spPr bwMode="auto">
          <a:xfrm>
            <a:off x="8229601" y="-437728"/>
            <a:ext cx="120650" cy="115888"/>
          </a:xfrm>
          <a:custGeom>
            <a:avLst/>
            <a:gdLst>
              <a:gd name="T0" fmla="*/ 0 w 152"/>
              <a:gd name="T1" fmla="*/ 42 h 144"/>
              <a:gd name="T2" fmla="*/ 2 w 152"/>
              <a:gd name="T3" fmla="*/ 51 h 144"/>
              <a:gd name="T4" fmla="*/ 4 w 152"/>
              <a:gd name="T5" fmla="*/ 57 h 144"/>
              <a:gd name="T6" fmla="*/ 15 w 152"/>
              <a:gd name="T7" fmla="*/ 60 h 144"/>
              <a:gd name="T8" fmla="*/ 18 w 152"/>
              <a:gd name="T9" fmla="*/ 58 h 144"/>
              <a:gd name="T10" fmla="*/ 20 w 152"/>
              <a:gd name="T11" fmla="*/ 51 h 144"/>
              <a:gd name="T12" fmla="*/ 22 w 152"/>
              <a:gd name="T13" fmla="*/ 44 h 144"/>
              <a:gd name="T14" fmla="*/ 24 w 152"/>
              <a:gd name="T15" fmla="*/ 42 h 144"/>
              <a:gd name="T16" fmla="*/ 26 w 152"/>
              <a:gd name="T17" fmla="*/ 42 h 144"/>
              <a:gd name="T18" fmla="*/ 28 w 152"/>
              <a:gd name="T19" fmla="*/ 40 h 144"/>
              <a:gd name="T20" fmla="*/ 68 w 152"/>
              <a:gd name="T21" fmla="*/ 60 h 144"/>
              <a:gd name="T22" fmla="*/ 106 w 152"/>
              <a:gd name="T23" fmla="*/ 86 h 144"/>
              <a:gd name="T24" fmla="*/ 112 w 152"/>
              <a:gd name="T25" fmla="*/ 89 h 144"/>
              <a:gd name="T26" fmla="*/ 106 w 152"/>
              <a:gd name="T27" fmla="*/ 100 h 144"/>
              <a:gd name="T28" fmla="*/ 95 w 152"/>
              <a:gd name="T29" fmla="*/ 128 h 144"/>
              <a:gd name="T30" fmla="*/ 93 w 152"/>
              <a:gd name="T31" fmla="*/ 135 h 144"/>
              <a:gd name="T32" fmla="*/ 97 w 152"/>
              <a:gd name="T33" fmla="*/ 142 h 144"/>
              <a:gd name="T34" fmla="*/ 104 w 152"/>
              <a:gd name="T35" fmla="*/ 144 h 144"/>
              <a:gd name="T36" fmla="*/ 110 w 152"/>
              <a:gd name="T37" fmla="*/ 144 h 144"/>
              <a:gd name="T38" fmla="*/ 117 w 152"/>
              <a:gd name="T39" fmla="*/ 139 h 144"/>
              <a:gd name="T40" fmla="*/ 119 w 152"/>
              <a:gd name="T41" fmla="*/ 135 h 144"/>
              <a:gd name="T42" fmla="*/ 119 w 152"/>
              <a:gd name="T43" fmla="*/ 130 h 144"/>
              <a:gd name="T44" fmla="*/ 112 w 152"/>
              <a:gd name="T45" fmla="*/ 122 h 144"/>
              <a:gd name="T46" fmla="*/ 110 w 152"/>
              <a:gd name="T47" fmla="*/ 122 h 144"/>
              <a:gd name="T48" fmla="*/ 115 w 152"/>
              <a:gd name="T49" fmla="*/ 110 h 144"/>
              <a:gd name="T50" fmla="*/ 123 w 152"/>
              <a:gd name="T51" fmla="*/ 93 h 144"/>
              <a:gd name="T52" fmla="*/ 132 w 152"/>
              <a:gd name="T53" fmla="*/ 86 h 144"/>
              <a:gd name="T54" fmla="*/ 141 w 152"/>
              <a:gd name="T55" fmla="*/ 84 h 144"/>
              <a:gd name="T56" fmla="*/ 139 w 152"/>
              <a:gd name="T57" fmla="*/ 80 h 144"/>
              <a:gd name="T58" fmla="*/ 135 w 152"/>
              <a:gd name="T59" fmla="*/ 69 h 144"/>
              <a:gd name="T60" fmla="*/ 137 w 152"/>
              <a:gd name="T61" fmla="*/ 57 h 144"/>
              <a:gd name="T62" fmla="*/ 141 w 152"/>
              <a:gd name="T63" fmla="*/ 49 h 144"/>
              <a:gd name="T64" fmla="*/ 152 w 152"/>
              <a:gd name="T65" fmla="*/ 18 h 144"/>
              <a:gd name="T66" fmla="*/ 152 w 152"/>
              <a:gd name="T67" fmla="*/ 13 h 144"/>
              <a:gd name="T68" fmla="*/ 146 w 152"/>
              <a:gd name="T69" fmla="*/ 5 h 144"/>
              <a:gd name="T70" fmla="*/ 141 w 152"/>
              <a:gd name="T71" fmla="*/ 4 h 144"/>
              <a:gd name="T72" fmla="*/ 132 w 152"/>
              <a:gd name="T73" fmla="*/ 7 h 144"/>
              <a:gd name="T74" fmla="*/ 128 w 152"/>
              <a:gd name="T75" fmla="*/ 15 h 144"/>
              <a:gd name="T76" fmla="*/ 128 w 152"/>
              <a:gd name="T77" fmla="*/ 20 h 144"/>
              <a:gd name="T78" fmla="*/ 134 w 152"/>
              <a:gd name="T79" fmla="*/ 27 h 144"/>
              <a:gd name="T80" fmla="*/ 137 w 152"/>
              <a:gd name="T81" fmla="*/ 29 h 144"/>
              <a:gd name="T82" fmla="*/ 132 w 152"/>
              <a:gd name="T83" fmla="*/ 46 h 144"/>
              <a:gd name="T84" fmla="*/ 124 w 152"/>
              <a:gd name="T85" fmla="*/ 55 h 144"/>
              <a:gd name="T86" fmla="*/ 117 w 152"/>
              <a:gd name="T87" fmla="*/ 51 h 144"/>
              <a:gd name="T88" fmla="*/ 60 w 152"/>
              <a:gd name="T89" fmla="*/ 24 h 144"/>
              <a:gd name="T90" fmla="*/ 40 w 152"/>
              <a:gd name="T91" fmla="*/ 18 h 144"/>
              <a:gd name="T92" fmla="*/ 42 w 152"/>
              <a:gd name="T93" fmla="*/ 13 h 144"/>
              <a:gd name="T94" fmla="*/ 50 w 152"/>
              <a:gd name="T95" fmla="*/ 0 h 144"/>
              <a:gd name="T96" fmla="*/ 46 w 152"/>
              <a:gd name="T97" fmla="*/ 2 h 144"/>
              <a:gd name="T98" fmla="*/ 39 w 152"/>
              <a:gd name="T99" fmla="*/ 5 h 144"/>
              <a:gd name="T100" fmla="*/ 24 w 152"/>
              <a:gd name="T101" fmla="*/ 11 h 144"/>
              <a:gd name="T102" fmla="*/ 18 w 152"/>
              <a:gd name="T103" fmla="*/ 11 h 144"/>
              <a:gd name="T104" fmla="*/ 15 w 152"/>
              <a:gd name="T105" fmla="*/ 11 h 144"/>
              <a:gd name="T106" fmla="*/ 9 w 152"/>
              <a:gd name="T107" fmla="*/ 22 h 144"/>
              <a:gd name="T108" fmla="*/ 6 w 152"/>
              <a:gd name="T109" fmla="*/ 33 h 144"/>
              <a:gd name="T110" fmla="*/ 2 w 152"/>
              <a:gd name="T111" fmla="*/ 3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2" h="144">
                <a:moveTo>
                  <a:pt x="0" y="42"/>
                </a:moveTo>
                <a:lnTo>
                  <a:pt x="0" y="42"/>
                </a:lnTo>
                <a:lnTo>
                  <a:pt x="0" y="47"/>
                </a:lnTo>
                <a:lnTo>
                  <a:pt x="2" y="51"/>
                </a:lnTo>
                <a:lnTo>
                  <a:pt x="4" y="57"/>
                </a:lnTo>
                <a:lnTo>
                  <a:pt x="4" y="57"/>
                </a:lnTo>
                <a:lnTo>
                  <a:pt x="11" y="58"/>
                </a:lnTo>
                <a:lnTo>
                  <a:pt x="15" y="60"/>
                </a:lnTo>
                <a:lnTo>
                  <a:pt x="18" y="58"/>
                </a:lnTo>
                <a:lnTo>
                  <a:pt x="18" y="58"/>
                </a:lnTo>
                <a:lnTo>
                  <a:pt x="20" y="55"/>
                </a:lnTo>
                <a:lnTo>
                  <a:pt x="20" y="51"/>
                </a:lnTo>
                <a:lnTo>
                  <a:pt x="20" y="47"/>
                </a:lnTo>
                <a:lnTo>
                  <a:pt x="22" y="44"/>
                </a:lnTo>
                <a:lnTo>
                  <a:pt x="22" y="44"/>
                </a:lnTo>
                <a:lnTo>
                  <a:pt x="24" y="42"/>
                </a:lnTo>
                <a:lnTo>
                  <a:pt x="26" y="42"/>
                </a:lnTo>
                <a:lnTo>
                  <a:pt x="26" y="42"/>
                </a:lnTo>
                <a:lnTo>
                  <a:pt x="28" y="40"/>
                </a:lnTo>
                <a:lnTo>
                  <a:pt x="28" y="40"/>
                </a:lnTo>
                <a:lnTo>
                  <a:pt x="48" y="49"/>
                </a:lnTo>
                <a:lnTo>
                  <a:pt x="68" y="60"/>
                </a:lnTo>
                <a:lnTo>
                  <a:pt x="106" y="86"/>
                </a:lnTo>
                <a:lnTo>
                  <a:pt x="106" y="86"/>
                </a:lnTo>
                <a:lnTo>
                  <a:pt x="112" y="89"/>
                </a:lnTo>
                <a:lnTo>
                  <a:pt x="112" y="89"/>
                </a:lnTo>
                <a:lnTo>
                  <a:pt x="106" y="100"/>
                </a:lnTo>
                <a:lnTo>
                  <a:pt x="106" y="100"/>
                </a:lnTo>
                <a:lnTo>
                  <a:pt x="97" y="119"/>
                </a:lnTo>
                <a:lnTo>
                  <a:pt x="95" y="128"/>
                </a:lnTo>
                <a:lnTo>
                  <a:pt x="93" y="135"/>
                </a:lnTo>
                <a:lnTo>
                  <a:pt x="93" y="135"/>
                </a:lnTo>
                <a:lnTo>
                  <a:pt x="95" y="139"/>
                </a:lnTo>
                <a:lnTo>
                  <a:pt x="97" y="142"/>
                </a:lnTo>
                <a:lnTo>
                  <a:pt x="101" y="144"/>
                </a:lnTo>
                <a:lnTo>
                  <a:pt x="104" y="144"/>
                </a:lnTo>
                <a:lnTo>
                  <a:pt x="104" y="144"/>
                </a:lnTo>
                <a:lnTo>
                  <a:pt x="110" y="144"/>
                </a:lnTo>
                <a:lnTo>
                  <a:pt x="113" y="142"/>
                </a:lnTo>
                <a:lnTo>
                  <a:pt x="117" y="139"/>
                </a:lnTo>
                <a:lnTo>
                  <a:pt x="119" y="135"/>
                </a:lnTo>
                <a:lnTo>
                  <a:pt x="119" y="135"/>
                </a:lnTo>
                <a:lnTo>
                  <a:pt x="119" y="131"/>
                </a:lnTo>
                <a:lnTo>
                  <a:pt x="119" y="130"/>
                </a:lnTo>
                <a:lnTo>
                  <a:pt x="115" y="124"/>
                </a:lnTo>
                <a:lnTo>
                  <a:pt x="112" y="122"/>
                </a:lnTo>
                <a:lnTo>
                  <a:pt x="110" y="122"/>
                </a:lnTo>
                <a:lnTo>
                  <a:pt x="110" y="122"/>
                </a:lnTo>
                <a:lnTo>
                  <a:pt x="115" y="110"/>
                </a:lnTo>
                <a:lnTo>
                  <a:pt x="115" y="110"/>
                </a:lnTo>
                <a:lnTo>
                  <a:pt x="119" y="100"/>
                </a:lnTo>
                <a:lnTo>
                  <a:pt x="123" y="93"/>
                </a:lnTo>
                <a:lnTo>
                  <a:pt x="128" y="89"/>
                </a:lnTo>
                <a:lnTo>
                  <a:pt x="132" y="86"/>
                </a:lnTo>
                <a:lnTo>
                  <a:pt x="137" y="84"/>
                </a:lnTo>
                <a:lnTo>
                  <a:pt x="141" y="84"/>
                </a:lnTo>
                <a:lnTo>
                  <a:pt x="141" y="84"/>
                </a:lnTo>
                <a:lnTo>
                  <a:pt x="139" y="80"/>
                </a:lnTo>
                <a:lnTo>
                  <a:pt x="135" y="75"/>
                </a:lnTo>
                <a:lnTo>
                  <a:pt x="135" y="69"/>
                </a:lnTo>
                <a:lnTo>
                  <a:pt x="135" y="64"/>
                </a:lnTo>
                <a:lnTo>
                  <a:pt x="137" y="57"/>
                </a:lnTo>
                <a:lnTo>
                  <a:pt x="141" y="49"/>
                </a:lnTo>
                <a:lnTo>
                  <a:pt x="141" y="49"/>
                </a:lnTo>
                <a:lnTo>
                  <a:pt x="148" y="31"/>
                </a:lnTo>
                <a:lnTo>
                  <a:pt x="152" y="18"/>
                </a:lnTo>
                <a:lnTo>
                  <a:pt x="152" y="18"/>
                </a:lnTo>
                <a:lnTo>
                  <a:pt x="152" y="13"/>
                </a:lnTo>
                <a:lnTo>
                  <a:pt x="150" y="9"/>
                </a:lnTo>
                <a:lnTo>
                  <a:pt x="146" y="5"/>
                </a:lnTo>
                <a:lnTo>
                  <a:pt x="141" y="4"/>
                </a:lnTo>
                <a:lnTo>
                  <a:pt x="141" y="4"/>
                </a:lnTo>
                <a:lnTo>
                  <a:pt x="137" y="5"/>
                </a:lnTo>
                <a:lnTo>
                  <a:pt x="132" y="7"/>
                </a:lnTo>
                <a:lnTo>
                  <a:pt x="130" y="11"/>
                </a:lnTo>
                <a:lnTo>
                  <a:pt x="128" y="15"/>
                </a:lnTo>
                <a:lnTo>
                  <a:pt x="128" y="15"/>
                </a:lnTo>
                <a:lnTo>
                  <a:pt x="128" y="20"/>
                </a:lnTo>
                <a:lnTo>
                  <a:pt x="130" y="24"/>
                </a:lnTo>
                <a:lnTo>
                  <a:pt x="134" y="27"/>
                </a:lnTo>
                <a:lnTo>
                  <a:pt x="137" y="29"/>
                </a:lnTo>
                <a:lnTo>
                  <a:pt x="137" y="29"/>
                </a:lnTo>
                <a:lnTo>
                  <a:pt x="137" y="29"/>
                </a:lnTo>
                <a:lnTo>
                  <a:pt x="132" y="46"/>
                </a:lnTo>
                <a:lnTo>
                  <a:pt x="124" y="55"/>
                </a:lnTo>
                <a:lnTo>
                  <a:pt x="124" y="55"/>
                </a:lnTo>
                <a:lnTo>
                  <a:pt x="117" y="51"/>
                </a:lnTo>
                <a:lnTo>
                  <a:pt x="117" y="51"/>
                </a:lnTo>
                <a:lnTo>
                  <a:pt x="81" y="31"/>
                </a:lnTo>
                <a:lnTo>
                  <a:pt x="60" y="24"/>
                </a:lnTo>
                <a:lnTo>
                  <a:pt x="40" y="18"/>
                </a:lnTo>
                <a:lnTo>
                  <a:pt x="40" y="18"/>
                </a:lnTo>
                <a:lnTo>
                  <a:pt x="42" y="13"/>
                </a:lnTo>
                <a:lnTo>
                  <a:pt x="42" y="13"/>
                </a:lnTo>
                <a:lnTo>
                  <a:pt x="48" y="4"/>
                </a:lnTo>
                <a:lnTo>
                  <a:pt x="50" y="0"/>
                </a:lnTo>
                <a:lnTo>
                  <a:pt x="50" y="0"/>
                </a:lnTo>
                <a:lnTo>
                  <a:pt x="46" y="2"/>
                </a:lnTo>
                <a:lnTo>
                  <a:pt x="39" y="5"/>
                </a:lnTo>
                <a:lnTo>
                  <a:pt x="39" y="5"/>
                </a:lnTo>
                <a:lnTo>
                  <a:pt x="29" y="9"/>
                </a:lnTo>
                <a:lnTo>
                  <a:pt x="24" y="11"/>
                </a:lnTo>
                <a:lnTo>
                  <a:pt x="24" y="11"/>
                </a:lnTo>
                <a:lnTo>
                  <a:pt x="18" y="11"/>
                </a:lnTo>
                <a:lnTo>
                  <a:pt x="15" y="11"/>
                </a:lnTo>
                <a:lnTo>
                  <a:pt x="15" y="11"/>
                </a:lnTo>
                <a:lnTo>
                  <a:pt x="13" y="13"/>
                </a:lnTo>
                <a:lnTo>
                  <a:pt x="9" y="22"/>
                </a:lnTo>
                <a:lnTo>
                  <a:pt x="9" y="22"/>
                </a:lnTo>
                <a:lnTo>
                  <a:pt x="6" y="33"/>
                </a:lnTo>
                <a:lnTo>
                  <a:pt x="6" y="33"/>
                </a:lnTo>
                <a:lnTo>
                  <a:pt x="2" y="38"/>
                </a:lnTo>
                <a:lnTo>
                  <a:pt x="0" y="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89" name="Freeform 40"/>
          <p:cNvSpPr>
            <a:spLocks/>
          </p:cNvSpPr>
          <p:nvPr userDrawn="1"/>
        </p:nvSpPr>
        <p:spPr bwMode="auto">
          <a:xfrm>
            <a:off x="8226426" y="-921915"/>
            <a:ext cx="30163" cy="34925"/>
          </a:xfrm>
          <a:custGeom>
            <a:avLst/>
            <a:gdLst>
              <a:gd name="T0" fmla="*/ 12 w 36"/>
              <a:gd name="T1" fmla="*/ 44 h 44"/>
              <a:gd name="T2" fmla="*/ 12 w 36"/>
              <a:gd name="T3" fmla="*/ 44 h 44"/>
              <a:gd name="T4" fmla="*/ 27 w 36"/>
              <a:gd name="T5" fmla="*/ 42 h 44"/>
              <a:gd name="T6" fmla="*/ 36 w 36"/>
              <a:gd name="T7" fmla="*/ 40 h 44"/>
              <a:gd name="T8" fmla="*/ 36 w 36"/>
              <a:gd name="T9" fmla="*/ 3 h 44"/>
              <a:gd name="T10" fmla="*/ 36 w 36"/>
              <a:gd name="T11" fmla="*/ 3 h 44"/>
              <a:gd name="T12" fmla="*/ 16 w 36"/>
              <a:gd name="T13" fmla="*/ 0 h 44"/>
              <a:gd name="T14" fmla="*/ 16 w 36"/>
              <a:gd name="T15" fmla="*/ 0 h 44"/>
              <a:gd name="T16" fmla="*/ 11 w 36"/>
              <a:gd name="T17" fmla="*/ 0 h 44"/>
              <a:gd name="T18" fmla="*/ 7 w 36"/>
              <a:gd name="T19" fmla="*/ 2 h 44"/>
              <a:gd name="T20" fmla="*/ 3 w 36"/>
              <a:gd name="T21" fmla="*/ 3 h 44"/>
              <a:gd name="T22" fmla="*/ 1 w 36"/>
              <a:gd name="T23" fmla="*/ 7 h 44"/>
              <a:gd name="T24" fmla="*/ 0 w 36"/>
              <a:gd name="T25" fmla="*/ 13 h 44"/>
              <a:gd name="T26" fmla="*/ 0 w 36"/>
              <a:gd name="T27" fmla="*/ 16 h 44"/>
              <a:gd name="T28" fmla="*/ 0 w 36"/>
              <a:gd name="T29" fmla="*/ 27 h 44"/>
              <a:gd name="T30" fmla="*/ 0 w 36"/>
              <a:gd name="T31" fmla="*/ 27 h 44"/>
              <a:gd name="T32" fmla="*/ 1 w 36"/>
              <a:gd name="T33" fmla="*/ 34 h 44"/>
              <a:gd name="T34" fmla="*/ 5 w 36"/>
              <a:gd name="T35" fmla="*/ 40 h 44"/>
              <a:gd name="T36" fmla="*/ 9 w 36"/>
              <a:gd name="T37" fmla="*/ 42 h 44"/>
              <a:gd name="T38" fmla="*/ 12 w 36"/>
              <a:gd name="T3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 h="44">
                <a:moveTo>
                  <a:pt x="12" y="44"/>
                </a:moveTo>
                <a:lnTo>
                  <a:pt x="12" y="44"/>
                </a:lnTo>
                <a:lnTo>
                  <a:pt x="27" y="42"/>
                </a:lnTo>
                <a:lnTo>
                  <a:pt x="36" y="40"/>
                </a:lnTo>
                <a:lnTo>
                  <a:pt x="36" y="3"/>
                </a:lnTo>
                <a:lnTo>
                  <a:pt x="36" y="3"/>
                </a:lnTo>
                <a:lnTo>
                  <a:pt x="16" y="0"/>
                </a:lnTo>
                <a:lnTo>
                  <a:pt x="16" y="0"/>
                </a:lnTo>
                <a:lnTo>
                  <a:pt x="11" y="0"/>
                </a:lnTo>
                <a:lnTo>
                  <a:pt x="7" y="2"/>
                </a:lnTo>
                <a:lnTo>
                  <a:pt x="3" y="3"/>
                </a:lnTo>
                <a:lnTo>
                  <a:pt x="1" y="7"/>
                </a:lnTo>
                <a:lnTo>
                  <a:pt x="0" y="13"/>
                </a:lnTo>
                <a:lnTo>
                  <a:pt x="0" y="16"/>
                </a:lnTo>
                <a:lnTo>
                  <a:pt x="0" y="27"/>
                </a:lnTo>
                <a:lnTo>
                  <a:pt x="0" y="27"/>
                </a:lnTo>
                <a:lnTo>
                  <a:pt x="1" y="34"/>
                </a:lnTo>
                <a:lnTo>
                  <a:pt x="5" y="40"/>
                </a:lnTo>
                <a:lnTo>
                  <a:pt x="9" y="42"/>
                </a:lnTo>
                <a:lnTo>
                  <a:pt x="12" y="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0" name="Freeform 41"/>
          <p:cNvSpPr>
            <a:spLocks/>
          </p:cNvSpPr>
          <p:nvPr userDrawn="1"/>
        </p:nvSpPr>
        <p:spPr bwMode="auto">
          <a:xfrm>
            <a:off x="8262939" y="-928264"/>
            <a:ext cx="44450" cy="41275"/>
          </a:xfrm>
          <a:custGeom>
            <a:avLst/>
            <a:gdLst>
              <a:gd name="T0" fmla="*/ 55 w 55"/>
              <a:gd name="T1" fmla="*/ 38 h 53"/>
              <a:gd name="T2" fmla="*/ 55 w 55"/>
              <a:gd name="T3" fmla="*/ 27 h 53"/>
              <a:gd name="T4" fmla="*/ 55 w 55"/>
              <a:gd name="T5" fmla="*/ 7 h 53"/>
              <a:gd name="T6" fmla="*/ 55 w 55"/>
              <a:gd name="T7" fmla="*/ 1 h 53"/>
              <a:gd name="T8" fmla="*/ 53 w 55"/>
              <a:gd name="T9" fmla="*/ 0 h 53"/>
              <a:gd name="T10" fmla="*/ 46 w 55"/>
              <a:gd name="T11" fmla="*/ 0 h 53"/>
              <a:gd name="T12" fmla="*/ 40 w 55"/>
              <a:gd name="T13" fmla="*/ 0 h 53"/>
              <a:gd name="T14" fmla="*/ 29 w 55"/>
              <a:gd name="T15" fmla="*/ 0 h 53"/>
              <a:gd name="T16" fmla="*/ 28 w 55"/>
              <a:gd name="T17" fmla="*/ 7 h 53"/>
              <a:gd name="T18" fmla="*/ 26 w 55"/>
              <a:gd name="T19" fmla="*/ 0 h 53"/>
              <a:gd name="T20" fmla="*/ 17 w 55"/>
              <a:gd name="T21" fmla="*/ 0 h 53"/>
              <a:gd name="T22" fmla="*/ 11 w 55"/>
              <a:gd name="T23" fmla="*/ 0 h 53"/>
              <a:gd name="T24" fmla="*/ 4 w 55"/>
              <a:gd name="T25" fmla="*/ 0 h 53"/>
              <a:gd name="T26" fmla="*/ 2 w 55"/>
              <a:gd name="T27" fmla="*/ 1 h 53"/>
              <a:gd name="T28" fmla="*/ 0 w 55"/>
              <a:gd name="T29" fmla="*/ 7 h 53"/>
              <a:gd name="T30" fmla="*/ 0 w 55"/>
              <a:gd name="T31" fmla="*/ 27 h 53"/>
              <a:gd name="T32" fmla="*/ 0 w 55"/>
              <a:gd name="T33" fmla="*/ 49 h 53"/>
              <a:gd name="T34" fmla="*/ 6 w 55"/>
              <a:gd name="T35" fmla="*/ 49 h 53"/>
              <a:gd name="T36" fmla="*/ 9 w 55"/>
              <a:gd name="T37" fmla="*/ 47 h 53"/>
              <a:gd name="T38" fmla="*/ 13 w 55"/>
              <a:gd name="T39" fmla="*/ 40 h 53"/>
              <a:gd name="T40" fmla="*/ 13 w 55"/>
              <a:gd name="T41" fmla="*/ 53 h 53"/>
              <a:gd name="T42" fmla="*/ 17 w 55"/>
              <a:gd name="T43" fmla="*/ 53 h 53"/>
              <a:gd name="T44" fmla="*/ 24 w 55"/>
              <a:gd name="T45" fmla="*/ 49 h 53"/>
              <a:gd name="T46" fmla="*/ 26 w 55"/>
              <a:gd name="T47" fmla="*/ 43 h 53"/>
              <a:gd name="T48" fmla="*/ 28 w 55"/>
              <a:gd name="T49" fmla="*/ 40 h 53"/>
              <a:gd name="T50" fmla="*/ 28 w 55"/>
              <a:gd name="T51" fmla="*/ 53 h 53"/>
              <a:gd name="T52" fmla="*/ 39 w 55"/>
              <a:gd name="T53" fmla="*/ 49 h 53"/>
              <a:gd name="T54" fmla="*/ 42 w 55"/>
              <a:gd name="T55" fmla="*/ 43 h 53"/>
              <a:gd name="T56" fmla="*/ 42 w 55"/>
              <a:gd name="T57" fmla="*/ 40 h 53"/>
              <a:gd name="T58" fmla="*/ 42 w 55"/>
              <a:gd name="T59" fmla="*/ 49 h 53"/>
              <a:gd name="T60" fmla="*/ 46 w 55"/>
              <a:gd name="T61" fmla="*/ 47 h 53"/>
              <a:gd name="T62" fmla="*/ 51 w 55"/>
              <a:gd name="T63" fmla="*/ 45 h 53"/>
              <a:gd name="T64" fmla="*/ 55 w 55"/>
              <a:gd name="T65" fmla="*/ 38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5" h="53">
                <a:moveTo>
                  <a:pt x="55" y="38"/>
                </a:moveTo>
                <a:lnTo>
                  <a:pt x="55" y="38"/>
                </a:lnTo>
                <a:lnTo>
                  <a:pt x="55" y="27"/>
                </a:lnTo>
                <a:lnTo>
                  <a:pt x="55" y="27"/>
                </a:lnTo>
                <a:lnTo>
                  <a:pt x="55" y="7"/>
                </a:lnTo>
                <a:lnTo>
                  <a:pt x="55" y="7"/>
                </a:lnTo>
                <a:lnTo>
                  <a:pt x="55" y="3"/>
                </a:lnTo>
                <a:lnTo>
                  <a:pt x="55" y="1"/>
                </a:lnTo>
                <a:lnTo>
                  <a:pt x="53" y="0"/>
                </a:lnTo>
                <a:lnTo>
                  <a:pt x="53" y="0"/>
                </a:lnTo>
                <a:lnTo>
                  <a:pt x="46" y="0"/>
                </a:lnTo>
                <a:lnTo>
                  <a:pt x="46" y="0"/>
                </a:lnTo>
                <a:lnTo>
                  <a:pt x="42" y="7"/>
                </a:lnTo>
                <a:lnTo>
                  <a:pt x="40" y="0"/>
                </a:lnTo>
                <a:lnTo>
                  <a:pt x="40" y="0"/>
                </a:lnTo>
                <a:lnTo>
                  <a:pt x="29" y="0"/>
                </a:lnTo>
                <a:lnTo>
                  <a:pt x="29" y="0"/>
                </a:lnTo>
                <a:lnTo>
                  <a:pt x="28" y="7"/>
                </a:lnTo>
                <a:lnTo>
                  <a:pt x="26" y="0"/>
                </a:lnTo>
                <a:lnTo>
                  <a:pt x="26" y="0"/>
                </a:lnTo>
                <a:lnTo>
                  <a:pt x="17" y="0"/>
                </a:lnTo>
                <a:lnTo>
                  <a:pt x="17" y="0"/>
                </a:lnTo>
                <a:lnTo>
                  <a:pt x="13" y="7"/>
                </a:lnTo>
                <a:lnTo>
                  <a:pt x="11" y="0"/>
                </a:lnTo>
                <a:lnTo>
                  <a:pt x="11" y="0"/>
                </a:lnTo>
                <a:lnTo>
                  <a:pt x="4" y="0"/>
                </a:lnTo>
                <a:lnTo>
                  <a:pt x="4" y="0"/>
                </a:lnTo>
                <a:lnTo>
                  <a:pt x="2" y="1"/>
                </a:lnTo>
                <a:lnTo>
                  <a:pt x="0" y="3"/>
                </a:lnTo>
                <a:lnTo>
                  <a:pt x="0" y="7"/>
                </a:lnTo>
                <a:lnTo>
                  <a:pt x="0" y="7"/>
                </a:lnTo>
                <a:lnTo>
                  <a:pt x="0" y="27"/>
                </a:lnTo>
                <a:lnTo>
                  <a:pt x="0" y="27"/>
                </a:lnTo>
                <a:lnTo>
                  <a:pt x="0" y="49"/>
                </a:lnTo>
                <a:lnTo>
                  <a:pt x="0" y="49"/>
                </a:lnTo>
                <a:lnTo>
                  <a:pt x="6" y="49"/>
                </a:lnTo>
                <a:lnTo>
                  <a:pt x="9" y="47"/>
                </a:lnTo>
                <a:lnTo>
                  <a:pt x="9" y="47"/>
                </a:lnTo>
                <a:lnTo>
                  <a:pt x="11" y="42"/>
                </a:lnTo>
                <a:lnTo>
                  <a:pt x="13" y="40"/>
                </a:lnTo>
                <a:lnTo>
                  <a:pt x="13" y="40"/>
                </a:lnTo>
                <a:lnTo>
                  <a:pt x="13" y="53"/>
                </a:lnTo>
                <a:lnTo>
                  <a:pt x="13" y="53"/>
                </a:lnTo>
                <a:lnTo>
                  <a:pt x="17" y="53"/>
                </a:lnTo>
                <a:lnTo>
                  <a:pt x="20" y="51"/>
                </a:lnTo>
                <a:lnTo>
                  <a:pt x="24" y="49"/>
                </a:lnTo>
                <a:lnTo>
                  <a:pt x="24" y="49"/>
                </a:lnTo>
                <a:lnTo>
                  <a:pt x="26" y="43"/>
                </a:lnTo>
                <a:lnTo>
                  <a:pt x="28" y="40"/>
                </a:lnTo>
                <a:lnTo>
                  <a:pt x="28" y="40"/>
                </a:lnTo>
                <a:lnTo>
                  <a:pt x="28" y="53"/>
                </a:lnTo>
                <a:lnTo>
                  <a:pt x="28" y="53"/>
                </a:lnTo>
                <a:lnTo>
                  <a:pt x="33" y="51"/>
                </a:lnTo>
                <a:lnTo>
                  <a:pt x="39" y="49"/>
                </a:lnTo>
                <a:lnTo>
                  <a:pt x="39" y="49"/>
                </a:lnTo>
                <a:lnTo>
                  <a:pt x="42" y="43"/>
                </a:lnTo>
                <a:lnTo>
                  <a:pt x="42" y="40"/>
                </a:lnTo>
                <a:lnTo>
                  <a:pt x="42" y="40"/>
                </a:lnTo>
                <a:lnTo>
                  <a:pt x="42" y="49"/>
                </a:lnTo>
                <a:lnTo>
                  <a:pt x="42" y="49"/>
                </a:lnTo>
                <a:lnTo>
                  <a:pt x="46" y="47"/>
                </a:lnTo>
                <a:lnTo>
                  <a:pt x="46" y="47"/>
                </a:lnTo>
                <a:lnTo>
                  <a:pt x="51" y="45"/>
                </a:lnTo>
                <a:lnTo>
                  <a:pt x="51" y="45"/>
                </a:lnTo>
                <a:lnTo>
                  <a:pt x="53" y="43"/>
                </a:lnTo>
                <a:lnTo>
                  <a:pt x="55" y="3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1" name="Freeform 42"/>
          <p:cNvSpPr>
            <a:spLocks/>
          </p:cNvSpPr>
          <p:nvPr userDrawn="1"/>
        </p:nvSpPr>
        <p:spPr bwMode="auto">
          <a:xfrm>
            <a:off x="8269289" y="-926677"/>
            <a:ext cx="53975" cy="60325"/>
          </a:xfrm>
          <a:custGeom>
            <a:avLst/>
            <a:gdLst>
              <a:gd name="T0" fmla="*/ 67 w 67"/>
              <a:gd name="T1" fmla="*/ 57 h 77"/>
              <a:gd name="T2" fmla="*/ 67 w 67"/>
              <a:gd name="T3" fmla="*/ 44 h 77"/>
              <a:gd name="T4" fmla="*/ 67 w 67"/>
              <a:gd name="T5" fmla="*/ 44 h 77"/>
              <a:gd name="T6" fmla="*/ 65 w 67"/>
              <a:gd name="T7" fmla="*/ 42 h 77"/>
              <a:gd name="T8" fmla="*/ 63 w 67"/>
              <a:gd name="T9" fmla="*/ 37 h 77"/>
              <a:gd name="T10" fmla="*/ 63 w 67"/>
              <a:gd name="T11" fmla="*/ 30 h 77"/>
              <a:gd name="T12" fmla="*/ 63 w 67"/>
              <a:gd name="T13" fmla="*/ 30 h 77"/>
              <a:gd name="T14" fmla="*/ 63 w 67"/>
              <a:gd name="T15" fmla="*/ 26 h 77"/>
              <a:gd name="T16" fmla="*/ 65 w 67"/>
              <a:gd name="T17" fmla="*/ 21 h 77"/>
              <a:gd name="T18" fmla="*/ 67 w 67"/>
              <a:gd name="T19" fmla="*/ 17 h 77"/>
              <a:gd name="T20" fmla="*/ 67 w 67"/>
              <a:gd name="T21" fmla="*/ 6 h 77"/>
              <a:gd name="T22" fmla="*/ 67 w 67"/>
              <a:gd name="T23" fmla="*/ 6 h 77"/>
              <a:gd name="T24" fmla="*/ 63 w 67"/>
              <a:gd name="T25" fmla="*/ 2 h 77"/>
              <a:gd name="T26" fmla="*/ 60 w 67"/>
              <a:gd name="T27" fmla="*/ 0 h 77"/>
              <a:gd name="T28" fmla="*/ 56 w 67"/>
              <a:gd name="T29" fmla="*/ 0 h 77"/>
              <a:gd name="T30" fmla="*/ 56 w 67"/>
              <a:gd name="T31" fmla="*/ 41 h 77"/>
              <a:gd name="T32" fmla="*/ 56 w 67"/>
              <a:gd name="T33" fmla="*/ 41 h 77"/>
              <a:gd name="T34" fmla="*/ 54 w 67"/>
              <a:gd name="T35" fmla="*/ 46 h 77"/>
              <a:gd name="T36" fmla="*/ 51 w 67"/>
              <a:gd name="T37" fmla="*/ 52 h 77"/>
              <a:gd name="T38" fmla="*/ 45 w 67"/>
              <a:gd name="T39" fmla="*/ 55 h 77"/>
              <a:gd name="T40" fmla="*/ 38 w 67"/>
              <a:gd name="T41" fmla="*/ 57 h 77"/>
              <a:gd name="T42" fmla="*/ 38 w 67"/>
              <a:gd name="T43" fmla="*/ 57 h 77"/>
              <a:gd name="T44" fmla="*/ 23 w 67"/>
              <a:gd name="T45" fmla="*/ 59 h 77"/>
              <a:gd name="T46" fmla="*/ 10 w 67"/>
              <a:gd name="T47" fmla="*/ 61 h 77"/>
              <a:gd name="T48" fmla="*/ 0 w 67"/>
              <a:gd name="T49" fmla="*/ 61 h 77"/>
              <a:gd name="T50" fmla="*/ 0 w 67"/>
              <a:gd name="T51" fmla="*/ 61 h 77"/>
              <a:gd name="T52" fmla="*/ 1 w 67"/>
              <a:gd name="T53" fmla="*/ 70 h 77"/>
              <a:gd name="T54" fmla="*/ 1 w 67"/>
              <a:gd name="T55" fmla="*/ 70 h 77"/>
              <a:gd name="T56" fmla="*/ 5 w 67"/>
              <a:gd name="T57" fmla="*/ 75 h 77"/>
              <a:gd name="T58" fmla="*/ 7 w 67"/>
              <a:gd name="T59" fmla="*/ 77 h 77"/>
              <a:gd name="T60" fmla="*/ 54 w 67"/>
              <a:gd name="T61" fmla="*/ 77 h 77"/>
              <a:gd name="T62" fmla="*/ 67 w 67"/>
              <a:gd name="T63" fmla="*/ 5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7" h="77">
                <a:moveTo>
                  <a:pt x="67" y="57"/>
                </a:moveTo>
                <a:lnTo>
                  <a:pt x="67" y="44"/>
                </a:lnTo>
                <a:lnTo>
                  <a:pt x="67" y="44"/>
                </a:lnTo>
                <a:lnTo>
                  <a:pt x="65" y="42"/>
                </a:lnTo>
                <a:lnTo>
                  <a:pt x="63" y="37"/>
                </a:lnTo>
                <a:lnTo>
                  <a:pt x="63" y="30"/>
                </a:lnTo>
                <a:lnTo>
                  <a:pt x="63" y="30"/>
                </a:lnTo>
                <a:lnTo>
                  <a:pt x="63" y="26"/>
                </a:lnTo>
                <a:lnTo>
                  <a:pt x="65" y="21"/>
                </a:lnTo>
                <a:lnTo>
                  <a:pt x="67" y="17"/>
                </a:lnTo>
                <a:lnTo>
                  <a:pt x="67" y="6"/>
                </a:lnTo>
                <a:lnTo>
                  <a:pt x="67" y="6"/>
                </a:lnTo>
                <a:lnTo>
                  <a:pt x="63" y="2"/>
                </a:lnTo>
                <a:lnTo>
                  <a:pt x="60" y="0"/>
                </a:lnTo>
                <a:lnTo>
                  <a:pt x="56" y="0"/>
                </a:lnTo>
                <a:lnTo>
                  <a:pt x="56" y="41"/>
                </a:lnTo>
                <a:lnTo>
                  <a:pt x="56" y="41"/>
                </a:lnTo>
                <a:lnTo>
                  <a:pt x="54" y="46"/>
                </a:lnTo>
                <a:lnTo>
                  <a:pt x="51" y="52"/>
                </a:lnTo>
                <a:lnTo>
                  <a:pt x="45" y="55"/>
                </a:lnTo>
                <a:lnTo>
                  <a:pt x="38" y="57"/>
                </a:lnTo>
                <a:lnTo>
                  <a:pt x="38" y="57"/>
                </a:lnTo>
                <a:lnTo>
                  <a:pt x="23" y="59"/>
                </a:lnTo>
                <a:lnTo>
                  <a:pt x="10" y="61"/>
                </a:lnTo>
                <a:lnTo>
                  <a:pt x="0" y="61"/>
                </a:lnTo>
                <a:lnTo>
                  <a:pt x="0" y="61"/>
                </a:lnTo>
                <a:lnTo>
                  <a:pt x="1" y="70"/>
                </a:lnTo>
                <a:lnTo>
                  <a:pt x="1" y="70"/>
                </a:lnTo>
                <a:lnTo>
                  <a:pt x="5" y="75"/>
                </a:lnTo>
                <a:lnTo>
                  <a:pt x="7" y="77"/>
                </a:lnTo>
                <a:lnTo>
                  <a:pt x="54" y="77"/>
                </a:lnTo>
                <a:lnTo>
                  <a:pt x="67" y="5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2" name="Freeform 43"/>
          <p:cNvSpPr>
            <a:spLocks/>
          </p:cNvSpPr>
          <p:nvPr userDrawn="1"/>
        </p:nvSpPr>
        <p:spPr bwMode="auto">
          <a:xfrm>
            <a:off x="8272464" y="-858415"/>
            <a:ext cx="42863" cy="14288"/>
          </a:xfrm>
          <a:custGeom>
            <a:avLst/>
            <a:gdLst>
              <a:gd name="T0" fmla="*/ 4 w 55"/>
              <a:gd name="T1" fmla="*/ 19 h 19"/>
              <a:gd name="T2" fmla="*/ 51 w 55"/>
              <a:gd name="T3" fmla="*/ 19 h 19"/>
              <a:gd name="T4" fmla="*/ 51 w 55"/>
              <a:gd name="T5" fmla="*/ 19 h 19"/>
              <a:gd name="T6" fmla="*/ 55 w 55"/>
              <a:gd name="T7" fmla="*/ 9 h 19"/>
              <a:gd name="T8" fmla="*/ 53 w 55"/>
              <a:gd name="T9" fmla="*/ 0 h 19"/>
              <a:gd name="T10" fmla="*/ 4 w 55"/>
              <a:gd name="T11" fmla="*/ 0 h 19"/>
              <a:gd name="T12" fmla="*/ 0 w 55"/>
              <a:gd name="T13" fmla="*/ 9 h 19"/>
              <a:gd name="T14" fmla="*/ 4 w 55"/>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19">
                <a:moveTo>
                  <a:pt x="4" y="19"/>
                </a:moveTo>
                <a:lnTo>
                  <a:pt x="51" y="19"/>
                </a:lnTo>
                <a:lnTo>
                  <a:pt x="51" y="19"/>
                </a:lnTo>
                <a:lnTo>
                  <a:pt x="55" y="9"/>
                </a:lnTo>
                <a:lnTo>
                  <a:pt x="53" y="0"/>
                </a:lnTo>
                <a:lnTo>
                  <a:pt x="4" y="0"/>
                </a:lnTo>
                <a:lnTo>
                  <a:pt x="0" y="9"/>
                </a:lnTo>
                <a:lnTo>
                  <a:pt x="4" y="1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3" name="Freeform 44"/>
          <p:cNvSpPr>
            <a:spLocks/>
          </p:cNvSpPr>
          <p:nvPr userDrawn="1"/>
        </p:nvSpPr>
        <p:spPr bwMode="auto">
          <a:xfrm>
            <a:off x="8274051" y="-837778"/>
            <a:ext cx="44450" cy="50800"/>
          </a:xfrm>
          <a:custGeom>
            <a:avLst/>
            <a:gdLst>
              <a:gd name="T0" fmla="*/ 47 w 55"/>
              <a:gd name="T1" fmla="*/ 0 h 64"/>
              <a:gd name="T2" fmla="*/ 0 w 55"/>
              <a:gd name="T3" fmla="*/ 0 h 64"/>
              <a:gd name="T4" fmla="*/ 0 w 55"/>
              <a:gd name="T5" fmla="*/ 62 h 64"/>
              <a:gd name="T6" fmla="*/ 42 w 55"/>
              <a:gd name="T7" fmla="*/ 64 h 64"/>
              <a:gd name="T8" fmla="*/ 55 w 55"/>
              <a:gd name="T9" fmla="*/ 53 h 64"/>
              <a:gd name="T10" fmla="*/ 47 w 55"/>
              <a:gd name="T11" fmla="*/ 0 h 64"/>
            </a:gdLst>
            <a:ahLst/>
            <a:cxnLst>
              <a:cxn ang="0">
                <a:pos x="T0" y="T1"/>
              </a:cxn>
              <a:cxn ang="0">
                <a:pos x="T2" y="T3"/>
              </a:cxn>
              <a:cxn ang="0">
                <a:pos x="T4" y="T5"/>
              </a:cxn>
              <a:cxn ang="0">
                <a:pos x="T6" y="T7"/>
              </a:cxn>
              <a:cxn ang="0">
                <a:pos x="T8" y="T9"/>
              </a:cxn>
              <a:cxn ang="0">
                <a:pos x="T10" y="T11"/>
              </a:cxn>
            </a:cxnLst>
            <a:rect l="0" t="0" r="r" b="b"/>
            <a:pathLst>
              <a:path w="55" h="64">
                <a:moveTo>
                  <a:pt x="47" y="0"/>
                </a:moveTo>
                <a:lnTo>
                  <a:pt x="0" y="0"/>
                </a:lnTo>
                <a:lnTo>
                  <a:pt x="0" y="62"/>
                </a:lnTo>
                <a:lnTo>
                  <a:pt x="42" y="64"/>
                </a:lnTo>
                <a:lnTo>
                  <a:pt x="55" y="53"/>
                </a:lnTo>
                <a:lnTo>
                  <a:pt x="4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4" name="Freeform 45"/>
          <p:cNvSpPr>
            <a:spLocks/>
          </p:cNvSpPr>
          <p:nvPr userDrawn="1"/>
        </p:nvSpPr>
        <p:spPr bwMode="auto">
          <a:xfrm>
            <a:off x="8274050" y="-788565"/>
            <a:ext cx="57150" cy="50800"/>
          </a:xfrm>
          <a:custGeom>
            <a:avLst/>
            <a:gdLst>
              <a:gd name="T0" fmla="*/ 73 w 73"/>
              <a:gd name="T1" fmla="*/ 16 h 64"/>
              <a:gd name="T2" fmla="*/ 73 w 73"/>
              <a:gd name="T3" fmla="*/ 16 h 64"/>
              <a:gd name="T4" fmla="*/ 64 w 73"/>
              <a:gd name="T5" fmla="*/ 9 h 64"/>
              <a:gd name="T6" fmla="*/ 64 w 73"/>
              <a:gd name="T7" fmla="*/ 9 h 64"/>
              <a:gd name="T8" fmla="*/ 62 w 73"/>
              <a:gd name="T9" fmla="*/ 0 h 64"/>
              <a:gd name="T10" fmla="*/ 48 w 73"/>
              <a:gd name="T11" fmla="*/ 11 h 64"/>
              <a:gd name="T12" fmla="*/ 0 w 73"/>
              <a:gd name="T13" fmla="*/ 11 h 64"/>
              <a:gd name="T14" fmla="*/ 0 w 73"/>
              <a:gd name="T15" fmla="*/ 11 h 64"/>
              <a:gd name="T16" fmla="*/ 0 w 73"/>
              <a:gd name="T17" fmla="*/ 27 h 64"/>
              <a:gd name="T18" fmla="*/ 0 w 73"/>
              <a:gd name="T19" fmla="*/ 45 h 64"/>
              <a:gd name="T20" fmla="*/ 0 w 73"/>
              <a:gd name="T21" fmla="*/ 45 h 64"/>
              <a:gd name="T22" fmla="*/ 11 w 73"/>
              <a:gd name="T23" fmla="*/ 55 h 64"/>
              <a:gd name="T24" fmla="*/ 24 w 73"/>
              <a:gd name="T25" fmla="*/ 64 h 64"/>
              <a:gd name="T26" fmla="*/ 55 w 73"/>
              <a:gd name="T27" fmla="*/ 25 h 64"/>
              <a:gd name="T28" fmla="*/ 73 w 73"/>
              <a:gd name="T29"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64">
                <a:moveTo>
                  <a:pt x="73" y="16"/>
                </a:moveTo>
                <a:lnTo>
                  <a:pt x="73" y="16"/>
                </a:lnTo>
                <a:lnTo>
                  <a:pt x="64" y="9"/>
                </a:lnTo>
                <a:lnTo>
                  <a:pt x="64" y="9"/>
                </a:lnTo>
                <a:lnTo>
                  <a:pt x="62" y="0"/>
                </a:lnTo>
                <a:lnTo>
                  <a:pt x="48" y="11"/>
                </a:lnTo>
                <a:lnTo>
                  <a:pt x="0" y="11"/>
                </a:lnTo>
                <a:lnTo>
                  <a:pt x="0" y="11"/>
                </a:lnTo>
                <a:lnTo>
                  <a:pt x="0" y="27"/>
                </a:lnTo>
                <a:lnTo>
                  <a:pt x="0" y="45"/>
                </a:lnTo>
                <a:lnTo>
                  <a:pt x="0" y="45"/>
                </a:lnTo>
                <a:lnTo>
                  <a:pt x="11" y="55"/>
                </a:lnTo>
                <a:lnTo>
                  <a:pt x="24" y="64"/>
                </a:lnTo>
                <a:lnTo>
                  <a:pt x="55" y="25"/>
                </a:lnTo>
                <a:lnTo>
                  <a:pt x="73"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5" name="Freeform 46"/>
          <p:cNvSpPr>
            <a:spLocks/>
          </p:cNvSpPr>
          <p:nvPr userDrawn="1"/>
        </p:nvSpPr>
        <p:spPr bwMode="auto">
          <a:xfrm>
            <a:off x="8301038" y="-769515"/>
            <a:ext cx="85725" cy="50800"/>
          </a:xfrm>
          <a:custGeom>
            <a:avLst/>
            <a:gdLst>
              <a:gd name="T0" fmla="*/ 27 w 108"/>
              <a:gd name="T1" fmla="*/ 7 h 63"/>
              <a:gd name="T2" fmla="*/ 0 w 108"/>
              <a:gd name="T3" fmla="*/ 43 h 63"/>
              <a:gd name="T4" fmla="*/ 45 w 108"/>
              <a:gd name="T5" fmla="*/ 63 h 63"/>
              <a:gd name="T6" fmla="*/ 45 w 108"/>
              <a:gd name="T7" fmla="*/ 63 h 63"/>
              <a:gd name="T8" fmla="*/ 65 w 108"/>
              <a:gd name="T9" fmla="*/ 51 h 63"/>
              <a:gd name="T10" fmla="*/ 86 w 108"/>
              <a:gd name="T11" fmla="*/ 38 h 63"/>
              <a:gd name="T12" fmla="*/ 108 w 108"/>
              <a:gd name="T13" fmla="*/ 23 h 63"/>
              <a:gd name="T14" fmla="*/ 44 w 108"/>
              <a:gd name="T15" fmla="*/ 0 h 63"/>
              <a:gd name="T16" fmla="*/ 27 w 108"/>
              <a:gd name="T17" fmla="*/ 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63">
                <a:moveTo>
                  <a:pt x="27" y="7"/>
                </a:moveTo>
                <a:lnTo>
                  <a:pt x="0" y="43"/>
                </a:lnTo>
                <a:lnTo>
                  <a:pt x="45" y="63"/>
                </a:lnTo>
                <a:lnTo>
                  <a:pt x="45" y="63"/>
                </a:lnTo>
                <a:lnTo>
                  <a:pt x="65" y="51"/>
                </a:lnTo>
                <a:lnTo>
                  <a:pt x="86" y="38"/>
                </a:lnTo>
                <a:lnTo>
                  <a:pt x="108" y="23"/>
                </a:lnTo>
                <a:lnTo>
                  <a:pt x="44" y="0"/>
                </a:lnTo>
                <a:lnTo>
                  <a:pt x="2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6" name="Freeform 47"/>
          <p:cNvSpPr>
            <a:spLocks/>
          </p:cNvSpPr>
          <p:nvPr userDrawn="1"/>
        </p:nvSpPr>
        <p:spPr bwMode="auto">
          <a:xfrm>
            <a:off x="8324851" y="-952078"/>
            <a:ext cx="22225" cy="93663"/>
          </a:xfrm>
          <a:custGeom>
            <a:avLst/>
            <a:gdLst>
              <a:gd name="T0" fmla="*/ 22 w 27"/>
              <a:gd name="T1" fmla="*/ 50 h 117"/>
              <a:gd name="T2" fmla="*/ 22 w 27"/>
              <a:gd name="T3" fmla="*/ 50 h 117"/>
              <a:gd name="T4" fmla="*/ 22 w 27"/>
              <a:gd name="T5" fmla="*/ 11 h 117"/>
              <a:gd name="T6" fmla="*/ 22 w 27"/>
              <a:gd name="T7" fmla="*/ 11 h 117"/>
              <a:gd name="T8" fmla="*/ 24 w 27"/>
              <a:gd name="T9" fmla="*/ 8 h 117"/>
              <a:gd name="T10" fmla="*/ 24 w 27"/>
              <a:gd name="T11" fmla="*/ 8 h 117"/>
              <a:gd name="T12" fmla="*/ 24 w 27"/>
              <a:gd name="T13" fmla="*/ 4 h 117"/>
              <a:gd name="T14" fmla="*/ 24 w 27"/>
              <a:gd name="T15" fmla="*/ 0 h 117"/>
              <a:gd name="T16" fmla="*/ 2 w 27"/>
              <a:gd name="T17" fmla="*/ 0 h 117"/>
              <a:gd name="T18" fmla="*/ 2 w 27"/>
              <a:gd name="T19" fmla="*/ 0 h 117"/>
              <a:gd name="T20" fmla="*/ 2 w 27"/>
              <a:gd name="T21" fmla="*/ 6 h 117"/>
              <a:gd name="T22" fmla="*/ 2 w 27"/>
              <a:gd name="T23" fmla="*/ 6 h 117"/>
              <a:gd name="T24" fmla="*/ 2 w 27"/>
              <a:gd name="T25" fmla="*/ 9 h 117"/>
              <a:gd name="T26" fmla="*/ 3 w 27"/>
              <a:gd name="T27" fmla="*/ 11 h 117"/>
              <a:gd name="T28" fmla="*/ 3 w 27"/>
              <a:gd name="T29" fmla="*/ 50 h 117"/>
              <a:gd name="T30" fmla="*/ 3 w 27"/>
              <a:gd name="T31" fmla="*/ 50 h 117"/>
              <a:gd name="T32" fmla="*/ 2 w 27"/>
              <a:gd name="T33" fmla="*/ 52 h 117"/>
              <a:gd name="T34" fmla="*/ 0 w 27"/>
              <a:gd name="T35" fmla="*/ 61 h 117"/>
              <a:gd name="T36" fmla="*/ 0 w 27"/>
              <a:gd name="T37" fmla="*/ 61 h 117"/>
              <a:gd name="T38" fmla="*/ 0 w 27"/>
              <a:gd name="T39" fmla="*/ 66 h 117"/>
              <a:gd name="T40" fmla="*/ 2 w 27"/>
              <a:gd name="T41" fmla="*/ 72 h 117"/>
              <a:gd name="T42" fmla="*/ 5 w 27"/>
              <a:gd name="T43" fmla="*/ 75 h 117"/>
              <a:gd name="T44" fmla="*/ 3 w 27"/>
              <a:gd name="T45" fmla="*/ 106 h 117"/>
              <a:gd name="T46" fmla="*/ 3 w 27"/>
              <a:gd name="T47" fmla="*/ 106 h 117"/>
              <a:gd name="T48" fmla="*/ 3 w 27"/>
              <a:gd name="T49" fmla="*/ 108 h 117"/>
              <a:gd name="T50" fmla="*/ 2 w 27"/>
              <a:gd name="T51" fmla="*/ 112 h 117"/>
              <a:gd name="T52" fmla="*/ 2 w 27"/>
              <a:gd name="T53" fmla="*/ 112 h 117"/>
              <a:gd name="T54" fmla="*/ 2 w 27"/>
              <a:gd name="T55" fmla="*/ 117 h 117"/>
              <a:gd name="T56" fmla="*/ 24 w 27"/>
              <a:gd name="T57" fmla="*/ 117 h 117"/>
              <a:gd name="T58" fmla="*/ 24 w 27"/>
              <a:gd name="T59" fmla="*/ 117 h 117"/>
              <a:gd name="T60" fmla="*/ 24 w 27"/>
              <a:gd name="T61" fmla="*/ 110 h 117"/>
              <a:gd name="T62" fmla="*/ 24 w 27"/>
              <a:gd name="T63" fmla="*/ 110 h 117"/>
              <a:gd name="T64" fmla="*/ 22 w 27"/>
              <a:gd name="T65" fmla="*/ 106 h 117"/>
              <a:gd name="T66" fmla="*/ 22 w 27"/>
              <a:gd name="T67" fmla="*/ 75 h 117"/>
              <a:gd name="T68" fmla="*/ 22 w 27"/>
              <a:gd name="T69" fmla="*/ 75 h 117"/>
              <a:gd name="T70" fmla="*/ 25 w 27"/>
              <a:gd name="T71" fmla="*/ 70 h 117"/>
              <a:gd name="T72" fmla="*/ 25 w 27"/>
              <a:gd name="T73" fmla="*/ 66 h 117"/>
              <a:gd name="T74" fmla="*/ 27 w 27"/>
              <a:gd name="T75" fmla="*/ 62 h 117"/>
              <a:gd name="T76" fmla="*/ 27 w 27"/>
              <a:gd name="T77" fmla="*/ 62 h 117"/>
              <a:gd name="T78" fmla="*/ 24 w 27"/>
              <a:gd name="T79" fmla="*/ 53 h 117"/>
              <a:gd name="T80" fmla="*/ 22 w 27"/>
              <a:gd name="T81" fmla="*/ 5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7" h="117">
                <a:moveTo>
                  <a:pt x="22" y="50"/>
                </a:moveTo>
                <a:lnTo>
                  <a:pt x="22" y="50"/>
                </a:lnTo>
                <a:lnTo>
                  <a:pt x="22" y="11"/>
                </a:lnTo>
                <a:lnTo>
                  <a:pt x="22" y="11"/>
                </a:lnTo>
                <a:lnTo>
                  <a:pt x="24" y="8"/>
                </a:lnTo>
                <a:lnTo>
                  <a:pt x="24" y="8"/>
                </a:lnTo>
                <a:lnTo>
                  <a:pt x="24" y="4"/>
                </a:lnTo>
                <a:lnTo>
                  <a:pt x="24" y="0"/>
                </a:lnTo>
                <a:lnTo>
                  <a:pt x="2" y="0"/>
                </a:lnTo>
                <a:lnTo>
                  <a:pt x="2" y="0"/>
                </a:lnTo>
                <a:lnTo>
                  <a:pt x="2" y="6"/>
                </a:lnTo>
                <a:lnTo>
                  <a:pt x="2" y="6"/>
                </a:lnTo>
                <a:lnTo>
                  <a:pt x="2" y="9"/>
                </a:lnTo>
                <a:lnTo>
                  <a:pt x="3" y="11"/>
                </a:lnTo>
                <a:lnTo>
                  <a:pt x="3" y="50"/>
                </a:lnTo>
                <a:lnTo>
                  <a:pt x="3" y="50"/>
                </a:lnTo>
                <a:lnTo>
                  <a:pt x="2" y="52"/>
                </a:lnTo>
                <a:lnTo>
                  <a:pt x="0" y="61"/>
                </a:lnTo>
                <a:lnTo>
                  <a:pt x="0" y="61"/>
                </a:lnTo>
                <a:lnTo>
                  <a:pt x="0" y="66"/>
                </a:lnTo>
                <a:lnTo>
                  <a:pt x="2" y="72"/>
                </a:lnTo>
                <a:lnTo>
                  <a:pt x="5" y="75"/>
                </a:lnTo>
                <a:lnTo>
                  <a:pt x="3" y="106"/>
                </a:lnTo>
                <a:lnTo>
                  <a:pt x="3" y="106"/>
                </a:lnTo>
                <a:lnTo>
                  <a:pt x="3" y="108"/>
                </a:lnTo>
                <a:lnTo>
                  <a:pt x="2" y="112"/>
                </a:lnTo>
                <a:lnTo>
                  <a:pt x="2" y="112"/>
                </a:lnTo>
                <a:lnTo>
                  <a:pt x="2" y="117"/>
                </a:lnTo>
                <a:lnTo>
                  <a:pt x="24" y="117"/>
                </a:lnTo>
                <a:lnTo>
                  <a:pt x="24" y="117"/>
                </a:lnTo>
                <a:lnTo>
                  <a:pt x="24" y="110"/>
                </a:lnTo>
                <a:lnTo>
                  <a:pt x="24" y="110"/>
                </a:lnTo>
                <a:lnTo>
                  <a:pt x="22" y="106"/>
                </a:lnTo>
                <a:lnTo>
                  <a:pt x="22" y="75"/>
                </a:lnTo>
                <a:lnTo>
                  <a:pt x="22" y="75"/>
                </a:lnTo>
                <a:lnTo>
                  <a:pt x="25" y="70"/>
                </a:lnTo>
                <a:lnTo>
                  <a:pt x="25" y="66"/>
                </a:lnTo>
                <a:lnTo>
                  <a:pt x="27" y="62"/>
                </a:lnTo>
                <a:lnTo>
                  <a:pt x="27" y="62"/>
                </a:lnTo>
                <a:lnTo>
                  <a:pt x="24" y="53"/>
                </a:lnTo>
                <a:lnTo>
                  <a:pt x="22" y="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7" name="Freeform 48"/>
          <p:cNvSpPr>
            <a:spLocks/>
          </p:cNvSpPr>
          <p:nvPr userDrawn="1"/>
        </p:nvSpPr>
        <p:spPr bwMode="auto">
          <a:xfrm>
            <a:off x="8347076" y="-923502"/>
            <a:ext cx="60325" cy="42863"/>
          </a:xfrm>
          <a:custGeom>
            <a:avLst/>
            <a:gdLst>
              <a:gd name="T0" fmla="*/ 42 w 77"/>
              <a:gd name="T1" fmla="*/ 46 h 55"/>
              <a:gd name="T2" fmla="*/ 77 w 77"/>
              <a:gd name="T3" fmla="*/ 9 h 55"/>
              <a:gd name="T4" fmla="*/ 77 w 77"/>
              <a:gd name="T5" fmla="*/ 9 h 55"/>
              <a:gd name="T6" fmla="*/ 26 w 77"/>
              <a:gd name="T7" fmla="*/ 9 h 55"/>
              <a:gd name="T8" fmla="*/ 26 w 77"/>
              <a:gd name="T9" fmla="*/ 9 h 55"/>
              <a:gd name="T10" fmla="*/ 20 w 77"/>
              <a:gd name="T11" fmla="*/ 7 h 55"/>
              <a:gd name="T12" fmla="*/ 15 w 77"/>
              <a:gd name="T13" fmla="*/ 4 h 55"/>
              <a:gd name="T14" fmla="*/ 7 w 77"/>
              <a:gd name="T15" fmla="*/ 0 h 55"/>
              <a:gd name="T16" fmla="*/ 6 w 77"/>
              <a:gd name="T17" fmla="*/ 0 h 55"/>
              <a:gd name="T18" fmla="*/ 6 w 77"/>
              <a:gd name="T19" fmla="*/ 0 h 55"/>
              <a:gd name="T20" fmla="*/ 0 w 77"/>
              <a:gd name="T21" fmla="*/ 11 h 55"/>
              <a:gd name="T22" fmla="*/ 0 w 77"/>
              <a:gd name="T23" fmla="*/ 11 h 55"/>
              <a:gd name="T24" fmla="*/ 4 w 77"/>
              <a:gd name="T25" fmla="*/ 17 h 55"/>
              <a:gd name="T26" fmla="*/ 6 w 77"/>
              <a:gd name="T27" fmla="*/ 20 h 55"/>
              <a:gd name="T28" fmla="*/ 7 w 77"/>
              <a:gd name="T29" fmla="*/ 27 h 55"/>
              <a:gd name="T30" fmla="*/ 7 w 77"/>
              <a:gd name="T31" fmla="*/ 27 h 55"/>
              <a:gd name="T32" fmla="*/ 7 w 77"/>
              <a:gd name="T33" fmla="*/ 33 h 55"/>
              <a:gd name="T34" fmla="*/ 4 w 77"/>
              <a:gd name="T35" fmla="*/ 38 h 55"/>
              <a:gd name="T36" fmla="*/ 0 w 77"/>
              <a:gd name="T37" fmla="*/ 42 h 55"/>
              <a:gd name="T38" fmla="*/ 0 w 77"/>
              <a:gd name="T39" fmla="*/ 42 h 55"/>
              <a:gd name="T40" fmla="*/ 7 w 77"/>
              <a:gd name="T41" fmla="*/ 55 h 55"/>
              <a:gd name="T42" fmla="*/ 7 w 77"/>
              <a:gd name="T43" fmla="*/ 55 h 55"/>
              <a:gd name="T44" fmla="*/ 13 w 77"/>
              <a:gd name="T45" fmla="*/ 51 h 55"/>
              <a:gd name="T46" fmla="*/ 28 w 77"/>
              <a:gd name="T47" fmla="*/ 46 h 55"/>
              <a:gd name="T48" fmla="*/ 28 w 77"/>
              <a:gd name="T49" fmla="*/ 46 h 55"/>
              <a:gd name="T50" fmla="*/ 42 w 77"/>
              <a:gd name="T51" fmla="*/ 4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7" h="55">
                <a:moveTo>
                  <a:pt x="42" y="46"/>
                </a:moveTo>
                <a:lnTo>
                  <a:pt x="77" y="9"/>
                </a:lnTo>
                <a:lnTo>
                  <a:pt x="77" y="9"/>
                </a:lnTo>
                <a:lnTo>
                  <a:pt x="26" y="9"/>
                </a:lnTo>
                <a:lnTo>
                  <a:pt x="26" y="9"/>
                </a:lnTo>
                <a:lnTo>
                  <a:pt x="20" y="7"/>
                </a:lnTo>
                <a:lnTo>
                  <a:pt x="15" y="4"/>
                </a:lnTo>
                <a:lnTo>
                  <a:pt x="7" y="0"/>
                </a:lnTo>
                <a:lnTo>
                  <a:pt x="6" y="0"/>
                </a:lnTo>
                <a:lnTo>
                  <a:pt x="6" y="0"/>
                </a:lnTo>
                <a:lnTo>
                  <a:pt x="0" y="11"/>
                </a:lnTo>
                <a:lnTo>
                  <a:pt x="0" y="11"/>
                </a:lnTo>
                <a:lnTo>
                  <a:pt x="4" y="17"/>
                </a:lnTo>
                <a:lnTo>
                  <a:pt x="6" y="20"/>
                </a:lnTo>
                <a:lnTo>
                  <a:pt x="7" y="27"/>
                </a:lnTo>
                <a:lnTo>
                  <a:pt x="7" y="27"/>
                </a:lnTo>
                <a:lnTo>
                  <a:pt x="7" y="33"/>
                </a:lnTo>
                <a:lnTo>
                  <a:pt x="4" y="38"/>
                </a:lnTo>
                <a:lnTo>
                  <a:pt x="0" y="42"/>
                </a:lnTo>
                <a:lnTo>
                  <a:pt x="0" y="42"/>
                </a:lnTo>
                <a:lnTo>
                  <a:pt x="7" y="55"/>
                </a:lnTo>
                <a:lnTo>
                  <a:pt x="7" y="55"/>
                </a:lnTo>
                <a:lnTo>
                  <a:pt x="13" y="51"/>
                </a:lnTo>
                <a:lnTo>
                  <a:pt x="28" y="46"/>
                </a:lnTo>
                <a:lnTo>
                  <a:pt x="28" y="46"/>
                </a:lnTo>
                <a:lnTo>
                  <a:pt x="42" y="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8" name="Freeform 49"/>
          <p:cNvSpPr>
            <a:spLocks/>
          </p:cNvSpPr>
          <p:nvPr userDrawn="1"/>
        </p:nvSpPr>
        <p:spPr bwMode="auto">
          <a:xfrm>
            <a:off x="8423276" y="-982240"/>
            <a:ext cx="119063" cy="93663"/>
          </a:xfrm>
          <a:custGeom>
            <a:avLst/>
            <a:gdLst>
              <a:gd name="T0" fmla="*/ 152 w 152"/>
              <a:gd name="T1" fmla="*/ 60 h 119"/>
              <a:gd name="T2" fmla="*/ 148 w 152"/>
              <a:gd name="T3" fmla="*/ 58 h 119"/>
              <a:gd name="T4" fmla="*/ 139 w 152"/>
              <a:gd name="T5" fmla="*/ 62 h 119"/>
              <a:gd name="T6" fmla="*/ 135 w 152"/>
              <a:gd name="T7" fmla="*/ 64 h 119"/>
              <a:gd name="T8" fmla="*/ 134 w 152"/>
              <a:gd name="T9" fmla="*/ 75 h 119"/>
              <a:gd name="T10" fmla="*/ 130 w 152"/>
              <a:gd name="T11" fmla="*/ 71 h 119"/>
              <a:gd name="T12" fmla="*/ 121 w 152"/>
              <a:gd name="T13" fmla="*/ 69 h 119"/>
              <a:gd name="T14" fmla="*/ 113 w 152"/>
              <a:gd name="T15" fmla="*/ 71 h 119"/>
              <a:gd name="T16" fmla="*/ 117 w 152"/>
              <a:gd name="T17" fmla="*/ 80 h 119"/>
              <a:gd name="T18" fmla="*/ 113 w 152"/>
              <a:gd name="T19" fmla="*/ 90 h 119"/>
              <a:gd name="T20" fmla="*/ 110 w 152"/>
              <a:gd name="T21" fmla="*/ 90 h 119"/>
              <a:gd name="T22" fmla="*/ 103 w 152"/>
              <a:gd name="T23" fmla="*/ 84 h 119"/>
              <a:gd name="T24" fmla="*/ 103 w 152"/>
              <a:gd name="T25" fmla="*/ 79 h 119"/>
              <a:gd name="T26" fmla="*/ 93 w 152"/>
              <a:gd name="T27" fmla="*/ 82 h 119"/>
              <a:gd name="T28" fmla="*/ 88 w 152"/>
              <a:gd name="T29" fmla="*/ 79 h 119"/>
              <a:gd name="T30" fmla="*/ 90 w 152"/>
              <a:gd name="T31" fmla="*/ 69 h 119"/>
              <a:gd name="T32" fmla="*/ 104 w 152"/>
              <a:gd name="T33" fmla="*/ 66 h 119"/>
              <a:gd name="T34" fmla="*/ 103 w 152"/>
              <a:gd name="T35" fmla="*/ 60 h 119"/>
              <a:gd name="T36" fmla="*/ 97 w 152"/>
              <a:gd name="T37" fmla="*/ 53 h 119"/>
              <a:gd name="T38" fmla="*/ 92 w 152"/>
              <a:gd name="T39" fmla="*/ 51 h 119"/>
              <a:gd name="T40" fmla="*/ 82 w 152"/>
              <a:gd name="T41" fmla="*/ 53 h 119"/>
              <a:gd name="T42" fmla="*/ 86 w 152"/>
              <a:gd name="T43" fmla="*/ 51 h 119"/>
              <a:gd name="T44" fmla="*/ 90 w 152"/>
              <a:gd name="T45" fmla="*/ 44 h 119"/>
              <a:gd name="T46" fmla="*/ 90 w 152"/>
              <a:gd name="T47" fmla="*/ 35 h 119"/>
              <a:gd name="T48" fmla="*/ 84 w 152"/>
              <a:gd name="T49" fmla="*/ 26 h 119"/>
              <a:gd name="T50" fmla="*/ 84 w 152"/>
              <a:gd name="T51" fmla="*/ 26 h 119"/>
              <a:gd name="T52" fmla="*/ 79 w 152"/>
              <a:gd name="T53" fmla="*/ 27 h 119"/>
              <a:gd name="T54" fmla="*/ 68 w 152"/>
              <a:gd name="T55" fmla="*/ 33 h 119"/>
              <a:gd name="T56" fmla="*/ 66 w 152"/>
              <a:gd name="T57" fmla="*/ 38 h 119"/>
              <a:gd name="T58" fmla="*/ 66 w 152"/>
              <a:gd name="T59" fmla="*/ 46 h 119"/>
              <a:gd name="T60" fmla="*/ 62 w 152"/>
              <a:gd name="T61" fmla="*/ 40 h 119"/>
              <a:gd name="T62" fmla="*/ 55 w 152"/>
              <a:gd name="T63" fmla="*/ 35 h 119"/>
              <a:gd name="T64" fmla="*/ 50 w 152"/>
              <a:gd name="T65" fmla="*/ 35 h 119"/>
              <a:gd name="T66" fmla="*/ 42 w 152"/>
              <a:gd name="T67" fmla="*/ 38 h 119"/>
              <a:gd name="T68" fmla="*/ 48 w 152"/>
              <a:gd name="T69" fmla="*/ 46 h 119"/>
              <a:gd name="T70" fmla="*/ 48 w 152"/>
              <a:gd name="T71" fmla="*/ 57 h 119"/>
              <a:gd name="T72" fmla="*/ 42 w 152"/>
              <a:gd name="T73" fmla="*/ 58 h 119"/>
              <a:gd name="T74" fmla="*/ 35 w 152"/>
              <a:gd name="T75" fmla="*/ 53 h 119"/>
              <a:gd name="T76" fmla="*/ 33 w 152"/>
              <a:gd name="T77" fmla="*/ 47 h 119"/>
              <a:gd name="T78" fmla="*/ 26 w 152"/>
              <a:gd name="T79" fmla="*/ 53 h 119"/>
              <a:gd name="T80" fmla="*/ 20 w 152"/>
              <a:gd name="T81" fmla="*/ 51 h 119"/>
              <a:gd name="T82" fmla="*/ 17 w 152"/>
              <a:gd name="T83" fmla="*/ 42 h 119"/>
              <a:gd name="T84" fmla="*/ 31 w 152"/>
              <a:gd name="T85" fmla="*/ 35 h 119"/>
              <a:gd name="T86" fmla="*/ 29 w 152"/>
              <a:gd name="T87" fmla="*/ 33 h 119"/>
              <a:gd name="T88" fmla="*/ 22 w 152"/>
              <a:gd name="T89" fmla="*/ 24 h 119"/>
              <a:gd name="T90" fmla="*/ 15 w 152"/>
              <a:gd name="T91" fmla="*/ 24 h 119"/>
              <a:gd name="T92" fmla="*/ 18 w 152"/>
              <a:gd name="T93" fmla="*/ 18 h 119"/>
              <a:gd name="T94" fmla="*/ 20 w 152"/>
              <a:gd name="T95" fmla="*/ 9 h 119"/>
              <a:gd name="T96" fmla="*/ 18 w 152"/>
              <a:gd name="T97" fmla="*/ 5 h 119"/>
              <a:gd name="T98" fmla="*/ 13 w 152"/>
              <a:gd name="T99" fmla="*/ 0 h 119"/>
              <a:gd name="T100" fmla="*/ 35 w 152"/>
              <a:gd name="T101" fmla="*/ 88 h 119"/>
              <a:gd name="T102" fmla="*/ 46 w 152"/>
              <a:gd name="T103" fmla="*/ 82 h 119"/>
              <a:gd name="T104" fmla="*/ 51 w 152"/>
              <a:gd name="T105" fmla="*/ 79 h 119"/>
              <a:gd name="T106" fmla="*/ 66 w 152"/>
              <a:gd name="T107" fmla="*/ 80 h 119"/>
              <a:gd name="T108" fmla="*/ 71 w 152"/>
              <a:gd name="T109" fmla="*/ 82 h 119"/>
              <a:gd name="T110" fmla="*/ 82 w 152"/>
              <a:gd name="T111" fmla="*/ 90 h 119"/>
              <a:gd name="T112" fmla="*/ 84 w 152"/>
              <a:gd name="T113" fmla="*/ 99 h 119"/>
              <a:gd name="T114" fmla="*/ 84 w 152"/>
              <a:gd name="T115" fmla="*/ 104 h 119"/>
              <a:gd name="T116" fmla="*/ 106 w 152"/>
              <a:gd name="T117"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2" h="119">
                <a:moveTo>
                  <a:pt x="106" y="119"/>
                </a:moveTo>
                <a:lnTo>
                  <a:pt x="152" y="60"/>
                </a:lnTo>
                <a:lnTo>
                  <a:pt x="152" y="60"/>
                </a:lnTo>
                <a:lnTo>
                  <a:pt x="148" y="58"/>
                </a:lnTo>
                <a:lnTo>
                  <a:pt x="145" y="60"/>
                </a:lnTo>
                <a:lnTo>
                  <a:pt x="139" y="62"/>
                </a:lnTo>
                <a:lnTo>
                  <a:pt x="139" y="62"/>
                </a:lnTo>
                <a:lnTo>
                  <a:pt x="135" y="64"/>
                </a:lnTo>
                <a:lnTo>
                  <a:pt x="134" y="69"/>
                </a:lnTo>
                <a:lnTo>
                  <a:pt x="134" y="75"/>
                </a:lnTo>
                <a:lnTo>
                  <a:pt x="134" y="75"/>
                </a:lnTo>
                <a:lnTo>
                  <a:pt x="130" y="71"/>
                </a:lnTo>
                <a:lnTo>
                  <a:pt x="128" y="69"/>
                </a:lnTo>
                <a:lnTo>
                  <a:pt x="121" y="69"/>
                </a:lnTo>
                <a:lnTo>
                  <a:pt x="115" y="69"/>
                </a:lnTo>
                <a:lnTo>
                  <a:pt x="113" y="71"/>
                </a:lnTo>
                <a:lnTo>
                  <a:pt x="113" y="71"/>
                </a:lnTo>
                <a:lnTo>
                  <a:pt x="117" y="80"/>
                </a:lnTo>
                <a:lnTo>
                  <a:pt x="117" y="86"/>
                </a:lnTo>
                <a:lnTo>
                  <a:pt x="113" y="90"/>
                </a:lnTo>
                <a:lnTo>
                  <a:pt x="110" y="90"/>
                </a:lnTo>
                <a:lnTo>
                  <a:pt x="110" y="90"/>
                </a:lnTo>
                <a:lnTo>
                  <a:pt x="104" y="88"/>
                </a:lnTo>
                <a:lnTo>
                  <a:pt x="103" y="84"/>
                </a:lnTo>
                <a:lnTo>
                  <a:pt x="103" y="79"/>
                </a:lnTo>
                <a:lnTo>
                  <a:pt x="103" y="79"/>
                </a:lnTo>
                <a:lnTo>
                  <a:pt x="97" y="82"/>
                </a:lnTo>
                <a:lnTo>
                  <a:pt x="93" y="82"/>
                </a:lnTo>
                <a:lnTo>
                  <a:pt x="88" y="79"/>
                </a:lnTo>
                <a:lnTo>
                  <a:pt x="88" y="79"/>
                </a:lnTo>
                <a:lnTo>
                  <a:pt x="86" y="75"/>
                </a:lnTo>
                <a:lnTo>
                  <a:pt x="90" y="69"/>
                </a:lnTo>
                <a:lnTo>
                  <a:pt x="95" y="68"/>
                </a:lnTo>
                <a:lnTo>
                  <a:pt x="104" y="66"/>
                </a:lnTo>
                <a:lnTo>
                  <a:pt x="104" y="66"/>
                </a:lnTo>
                <a:lnTo>
                  <a:pt x="103" y="60"/>
                </a:lnTo>
                <a:lnTo>
                  <a:pt x="101" y="57"/>
                </a:lnTo>
                <a:lnTo>
                  <a:pt x="97" y="53"/>
                </a:lnTo>
                <a:lnTo>
                  <a:pt x="97" y="53"/>
                </a:lnTo>
                <a:lnTo>
                  <a:pt x="92" y="51"/>
                </a:lnTo>
                <a:lnTo>
                  <a:pt x="88" y="51"/>
                </a:lnTo>
                <a:lnTo>
                  <a:pt x="82" y="53"/>
                </a:lnTo>
                <a:lnTo>
                  <a:pt x="82" y="53"/>
                </a:lnTo>
                <a:lnTo>
                  <a:pt x="86" y="51"/>
                </a:lnTo>
                <a:lnTo>
                  <a:pt x="88" y="47"/>
                </a:lnTo>
                <a:lnTo>
                  <a:pt x="90" y="44"/>
                </a:lnTo>
                <a:lnTo>
                  <a:pt x="90" y="44"/>
                </a:lnTo>
                <a:lnTo>
                  <a:pt x="90" y="35"/>
                </a:lnTo>
                <a:lnTo>
                  <a:pt x="88" y="31"/>
                </a:lnTo>
                <a:lnTo>
                  <a:pt x="84" y="26"/>
                </a:lnTo>
                <a:lnTo>
                  <a:pt x="84" y="26"/>
                </a:lnTo>
                <a:lnTo>
                  <a:pt x="84" y="26"/>
                </a:lnTo>
                <a:lnTo>
                  <a:pt x="84" y="26"/>
                </a:lnTo>
                <a:lnTo>
                  <a:pt x="79" y="27"/>
                </a:lnTo>
                <a:lnTo>
                  <a:pt x="73" y="29"/>
                </a:lnTo>
                <a:lnTo>
                  <a:pt x="68" y="33"/>
                </a:lnTo>
                <a:lnTo>
                  <a:pt x="68" y="33"/>
                </a:lnTo>
                <a:lnTo>
                  <a:pt x="66" y="38"/>
                </a:lnTo>
                <a:lnTo>
                  <a:pt x="66" y="42"/>
                </a:lnTo>
                <a:lnTo>
                  <a:pt x="66" y="46"/>
                </a:lnTo>
                <a:lnTo>
                  <a:pt x="66" y="46"/>
                </a:lnTo>
                <a:lnTo>
                  <a:pt x="62" y="40"/>
                </a:lnTo>
                <a:lnTo>
                  <a:pt x="60" y="37"/>
                </a:lnTo>
                <a:lnTo>
                  <a:pt x="55" y="35"/>
                </a:lnTo>
                <a:lnTo>
                  <a:pt x="55" y="35"/>
                </a:lnTo>
                <a:lnTo>
                  <a:pt x="50" y="35"/>
                </a:lnTo>
                <a:lnTo>
                  <a:pt x="46" y="37"/>
                </a:lnTo>
                <a:lnTo>
                  <a:pt x="42" y="38"/>
                </a:lnTo>
                <a:lnTo>
                  <a:pt x="42" y="38"/>
                </a:lnTo>
                <a:lnTo>
                  <a:pt x="48" y="46"/>
                </a:lnTo>
                <a:lnTo>
                  <a:pt x="48" y="53"/>
                </a:lnTo>
                <a:lnTo>
                  <a:pt x="48" y="57"/>
                </a:lnTo>
                <a:lnTo>
                  <a:pt x="42" y="58"/>
                </a:lnTo>
                <a:lnTo>
                  <a:pt x="42" y="58"/>
                </a:lnTo>
                <a:lnTo>
                  <a:pt x="37" y="57"/>
                </a:lnTo>
                <a:lnTo>
                  <a:pt x="35" y="53"/>
                </a:lnTo>
                <a:lnTo>
                  <a:pt x="33" y="47"/>
                </a:lnTo>
                <a:lnTo>
                  <a:pt x="33" y="47"/>
                </a:lnTo>
                <a:lnTo>
                  <a:pt x="29" y="51"/>
                </a:lnTo>
                <a:lnTo>
                  <a:pt x="26" y="53"/>
                </a:lnTo>
                <a:lnTo>
                  <a:pt x="20" y="51"/>
                </a:lnTo>
                <a:lnTo>
                  <a:pt x="20" y="51"/>
                </a:lnTo>
                <a:lnTo>
                  <a:pt x="17" y="47"/>
                </a:lnTo>
                <a:lnTo>
                  <a:pt x="17" y="42"/>
                </a:lnTo>
                <a:lnTo>
                  <a:pt x="22" y="38"/>
                </a:lnTo>
                <a:lnTo>
                  <a:pt x="31" y="35"/>
                </a:lnTo>
                <a:lnTo>
                  <a:pt x="31" y="35"/>
                </a:lnTo>
                <a:lnTo>
                  <a:pt x="29" y="33"/>
                </a:lnTo>
                <a:lnTo>
                  <a:pt x="28" y="27"/>
                </a:lnTo>
                <a:lnTo>
                  <a:pt x="22" y="24"/>
                </a:lnTo>
                <a:lnTo>
                  <a:pt x="18" y="22"/>
                </a:lnTo>
                <a:lnTo>
                  <a:pt x="15" y="24"/>
                </a:lnTo>
                <a:lnTo>
                  <a:pt x="15" y="24"/>
                </a:lnTo>
                <a:lnTo>
                  <a:pt x="18" y="18"/>
                </a:lnTo>
                <a:lnTo>
                  <a:pt x="20" y="15"/>
                </a:lnTo>
                <a:lnTo>
                  <a:pt x="20" y="9"/>
                </a:lnTo>
                <a:lnTo>
                  <a:pt x="20" y="9"/>
                </a:lnTo>
                <a:lnTo>
                  <a:pt x="18" y="5"/>
                </a:lnTo>
                <a:lnTo>
                  <a:pt x="17" y="2"/>
                </a:lnTo>
                <a:lnTo>
                  <a:pt x="13" y="0"/>
                </a:lnTo>
                <a:lnTo>
                  <a:pt x="0" y="73"/>
                </a:lnTo>
                <a:lnTo>
                  <a:pt x="35" y="88"/>
                </a:lnTo>
                <a:lnTo>
                  <a:pt x="35" y="88"/>
                </a:lnTo>
                <a:lnTo>
                  <a:pt x="46" y="82"/>
                </a:lnTo>
                <a:lnTo>
                  <a:pt x="46" y="82"/>
                </a:lnTo>
                <a:lnTo>
                  <a:pt x="51" y="79"/>
                </a:lnTo>
                <a:lnTo>
                  <a:pt x="59" y="79"/>
                </a:lnTo>
                <a:lnTo>
                  <a:pt x="66" y="80"/>
                </a:lnTo>
                <a:lnTo>
                  <a:pt x="71" y="82"/>
                </a:lnTo>
                <a:lnTo>
                  <a:pt x="71" y="82"/>
                </a:lnTo>
                <a:lnTo>
                  <a:pt x="79" y="86"/>
                </a:lnTo>
                <a:lnTo>
                  <a:pt x="82" y="90"/>
                </a:lnTo>
                <a:lnTo>
                  <a:pt x="84" y="95"/>
                </a:lnTo>
                <a:lnTo>
                  <a:pt x="84" y="99"/>
                </a:lnTo>
                <a:lnTo>
                  <a:pt x="84" y="99"/>
                </a:lnTo>
                <a:lnTo>
                  <a:pt x="84" y="104"/>
                </a:lnTo>
                <a:lnTo>
                  <a:pt x="81" y="110"/>
                </a:lnTo>
                <a:lnTo>
                  <a:pt x="106" y="11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9" name="Freeform 50"/>
          <p:cNvSpPr>
            <a:spLocks/>
          </p:cNvSpPr>
          <p:nvPr userDrawn="1"/>
        </p:nvSpPr>
        <p:spPr bwMode="auto">
          <a:xfrm>
            <a:off x="8520113" y="-917153"/>
            <a:ext cx="142875" cy="25400"/>
          </a:xfrm>
          <a:custGeom>
            <a:avLst/>
            <a:gdLst>
              <a:gd name="T0" fmla="*/ 151 w 180"/>
              <a:gd name="T1" fmla="*/ 28 h 31"/>
              <a:gd name="T2" fmla="*/ 180 w 180"/>
              <a:gd name="T3" fmla="*/ 15 h 31"/>
              <a:gd name="T4" fmla="*/ 151 w 180"/>
              <a:gd name="T5" fmla="*/ 2 h 31"/>
              <a:gd name="T6" fmla="*/ 151 w 180"/>
              <a:gd name="T7" fmla="*/ 2 h 31"/>
              <a:gd name="T8" fmla="*/ 102 w 180"/>
              <a:gd name="T9" fmla="*/ 2 h 31"/>
              <a:gd name="T10" fmla="*/ 23 w 180"/>
              <a:gd name="T11" fmla="*/ 0 h 31"/>
              <a:gd name="T12" fmla="*/ 0 w 180"/>
              <a:gd name="T13" fmla="*/ 31 h 31"/>
              <a:gd name="T14" fmla="*/ 0 w 180"/>
              <a:gd name="T15" fmla="*/ 31 h 31"/>
              <a:gd name="T16" fmla="*/ 151 w 180"/>
              <a:gd name="T17"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31">
                <a:moveTo>
                  <a:pt x="151" y="28"/>
                </a:moveTo>
                <a:lnTo>
                  <a:pt x="180" y="15"/>
                </a:lnTo>
                <a:lnTo>
                  <a:pt x="151" y="2"/>
                </a:lnTo>
                <a:lnTo>
                  <a:pt x="151" y="2"/>
                </a:lnTo>
                <a:lnTo>
                  <a:pt x="102" y="2"/>
                </a:lnTo>
                <a:lnTo>
                  <a:pt x="23" y="0"/>
                </a:lnTo>
                <a:lnTo>
                  <a:pt x="0" y="31"/>
                </a:lnTo>
                <a:lnTo>
                  <a:pt x="0" y="31"/>
                </a:lnTo>
                <a:lnTo>
                  <a:pt x="151"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100" name="Freeform 51"/>
          <p:cNvSpPr>
            <a:spLocks/>
          </p:cNvSpPr>
          <p:nvPr userDrawn="1"/>
        </p:nvSpPr>
        <p:spPr bwMode="auto">
          <a:xfrm>
            <a:off x="8566151" y="-855240"/>
            <a:ext cx="85725" cy="84138"/>
          </a:xfrm>
          <a:custGeom>
            <a:avLst/>
            <a:gdLst>
              <a:gd name="T0" fmla="*/ 55 w 108"/>
              <a:gd name="T1" fmla="*/ 106 h 106"/>
              <a:gd name="T2" fmla="*/ 55 w 108"/>
              <a:gd name="T3" fmla="*/ 106 h 106"/>
              <a:gd name="T4" fmla="*/ 38 w 108"/>
              <a:gd name="T5" fmla="*/ 97 h 106"/>
              <a:gd name="T6" fmla="*/ 26 w 108"/>
              <a:gd name="T7" fmla="*/ 89 h 106"/>
              <a:gd name="T8" fmla="*/ 13 w 108"/>
              <a:gd name="T9" fmla="*/ 80 h 106"/>
              <a:gd name="T10" fmla="*/ 4 w 108"/>
              <a:gd name="T11" fmla="*/ 69 h 106"/>
              <a:gd name="T12" fmla="*/ 4 w 108"/>
              <a:gd name="T13" fmla="*/ 69 h 106"/>
              <a:gd name="T14" fmla="*/ 0 w 108"/>
              <a:gd name="T15" fmla="*/ 62 h 106"/>
              <a:gd name="T16" fmla="*/ 0 w 108"/>
              <a:gd name="T17" fmla="*/ 53 h 106"/>
              <a:gd name="T18" fmla="*/ 0 w 108"/>
              <a:gd name="T19" fmla="*/ 45 h 106"/>
              <a:gd name="T20" fmla="*/ 0 w 108"/>
              <a:gd name="T21" fmla="*/ 36 h 106"/>
              <a:gd name="T22" fmla="*/ 4 w 108"/>
              <a:gd name="T23" fmla="*/ 27 h 106"/>
              <a:gd name="T24" fmla="*/ 7 w 108"/>
              <a:gd name="T25" fmla="*/ 20 h 106"/>
              <a:gd name="T26" fmla="*/ 15 w 108"/>
              <a:gd name="T27" fmla="*/ 13 h 106"/>
              <a:gd name="T28" fmla="*/ 22 w 108"/>
              <a:gd name="T29" fmla="*/ 7 h 106"/>
              <a:gd name="T30" fmla="*/ 22 w 108"/>
              <a:gd name="T31" fmla="*/ 7 h 106"/>
              <a:gd name="T32" fmla="*/ 26 w 108"/>
              <a:gd name="T33" fmla="*/ 11 h 106"/>
              <a:gd name="T34" fmla="*/ 27 w 108"/>
              <a:gd name="T35" fmla="*/ 14 h 106"/>
              <a:gd name="T36" fmla="*/ 27 w 108"/>
              <a:gd name="T37" fmla="*/ 18 h 106"/>
              <a:gd name="T38" fmla="*/ 27 w 108"/>
              <a:gd name="T39" fmla="*/ 18 h 106"/>
              <a:gd name="T40" fmla="*/ 51 w 108"/>
              <a:gd name="T41" fmla="*/ 16 h 106"/>
              <a:gd name="T42" fmla="*/ 51 w 108"/>
              <a:gd name="T43" fmla="*/ 16 h 106"/>
              <a:gd name="T44" fmla="*/ 51 w 108"/>
              <a:gd name="T45" fmla="*/ 9 h 106"/>
              <a:gd name="T46" fmla="*/ 51 w 108"/>
              <a:gd name="T47" fmla="*/ 3 h 106"/>
              <a:gd name="T48" fmla="*/ 49 w 108"/>
              <a:gd name="T49" fmla="*/ 0 h 106"/>
              <a:gd name="T50" fmla="*/ 49 w 108"/>
              <a:gd name="T51" fmla="*/ 0 h 106"/>
              <a:gd name="T52" fmla="*/ 57 w 108"/>
              <a:gd name="T53" fmla="*/ 5 h 106"/>
              <a:gd name="T54" fmla="*/ 59 w 108"/>
              <a:gd name="T55" fmla="*/ 11 h 106"/>
              <a:gd name="T56" fmla="*/ 60 w 108"/>
              <a:gd name="T57" fmla="*/ 16 h 106"/>
              <a:gd name="T58" fmla="*/ 60 w 108"/>
              <a:gd name="T59" fmla="*/ 16 h 106"/>
              <a:gd name="T60" fmla="*/ 82 w 108"/>
              <a:gd name="T61" fmla="*/ 18 h 106"/>
              <a:gd name="T62" fmla="*/ 82 w 108"/>
              <a:gd name="T63" fmla="*/ 18 h 106"/>
              <a:gd name="T64" fmla="*/ 82 w 108"/>
              <a:gd name="T65" fmla="*/ 11 h 106"/>
              <a:gd name="T66" fmla="*/ 79 w 108"/>
              <a:gd name="T67" fmla="*/ 3 h 106"/>
              <a:gd name="T68" fmla="*/ 79 w 108"/>
              <a:gd name="T69" fmla="*/ 3 h 106"/>
              <a:gd name="T70" fmla="*/ 86 w 108"/>
              <a:gd name="T71" fmla="*/ 9 h 106"/>
              <a:gd name="T72" fmla="*/ 93 w 108"/>
              <a:gd name="T73" fmla="*/ 13 h 106"/>
              <a:gd name="T74" fmla="*/ 99 w 108"/>
              <a:gd name="T75" fmla="*/ 20 h 106"/>
              <a:gd name="T76" fmla="*/ 102 w 108"/>
              <a:gd name="T77" fmla="*/ 25 h 106"/>
              <a:gd name="T78" fmla="*/ 106 w 108"/>
              <a:gd name="T79" fmla="*/ 38 h 106"/>
              <a:gd name="T80" fmla="*/ 108 w 108"/>
              <a:gd name="T81" fmla="*/ 49 h 106"/>
              <a:gd name="T82" fmla="*/ 108 w 108"/>
              <a:gd name="T83" fmla="*/ 49 h 106"/>
              <a:gd name="T84" fmla="*/ 106 w 108"/>
              <a:gd name="T85" fmla="*/ 62 h 106"/>
              <a:gd name="T86" fmla="*/ 102 w 108"/>
              <a:gd name="T87" fmla="*/ 73 h 106"/>
              <a:gd name="T88" fmla="*/ 95 w 108"/>
              <a:gd name="T89" fmla="*/ 82 h 106"/>
              <a:gd name="T90" fmla="*/ 86 w 108"/>
              <a:gd name="T91" fmla="*/ 89 h 106"/>
              <a:gd name="T92" fmla="*/ 86 w 108"/>
              <a:gd name="T93" fmla="*/ 89 h 106"/>
              <a:gd name="T94" fmla="*/ 69 w 108"/>
              <a:gd name="T95" fmla="*/ 98 h 106"/>
              <a:gd name="T96" fmla="*/ 55 w 108"/>
              <a:gd name="T97"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 h="106">
                <a:moveTo>
                  <a:pt x="55" y="106"/>
                </a:moveTo>
                <a:lnTo>
                  <a:pt x="55" y="106"/>
                </a:lnTo>
                <a:lnTo>
                  <a:pt x="38" y="97"/>
                </a:lnTo>
                <a:lnTo>
                  <a:pt x="26" y="89"/>
                </a:lnTo>
                <a:lnTo>
                  <a:pt x="13" y="80"/>
                </a:lnTo>
                <a:lnTo>
                  <a:pt x="4" y="69"/>
                </a:lnTo>
                <a:lnTo>
                  <a:pt x="4" y="69"/>
                </a:lnTo>
                <a:lnTo>
                  <a:pt x="0" y="62"/>
                </a:lnTo>
                <a:lnTo>
                  <a:pt x="0" y="53"/>
                </a:lnTo>
                <a:lnTo>
                  <a:pt x="0" y="45"/>
                </a:lnTo>
                <a:lnTo>
                  <a:pt x="0" y="36"/>
                </a:lnTo>
                <a:lnTo>
                  <a:pt x="4" y="27"/>
                </a:lnTo>
                <a:lnTo>
                  <a:pt x="7" y="20"/>
                </a:lnTo>
                <a:lnTo>
                  <a:pt x="15" y="13"/>
                </a:lnTo>
                <a:lnTo>
                  <a:pt x="22" y="7"/>
                </a:lnTo>
                <a:lnTo>
                  <a:pt x="22" y="7"/>
                </a:lnTo>
                <a:lnTo>
                  <a:pt x="26" y="11"/>
                </a:lnTo>
                <a:lnTo>
                  <a:pt x="27" y="14"/>
                </a:lnTo>
                <a:lnTo>
                  <a:pt x="27" y="18"/>
                </a:lnTo>
                <a:lnTo>
                  <a:pt x="27" y="18"/>
                </a:lnTo>
                <a:lnTo>
                  <a:pt x="51" y="16"/>
                </a:lnTo>
                <a:lnTo>
                  <a:pt x="51" y="16"/>
                </a:lnTo>
                <a:lnTo>
                  <a:pt x="51" y="9"/>
                </a:lnTo>
                <a:lnTo>
                  <a:pt x="51" y="3"/>
                </a:lnTo>
                <a:lnTo>
                  <a:pt x="49" y="0"/>
                </a:lnTo>
                <a:lnTo>
                  <a:pt x="49" y="0"/>
                </a:lnTo>
                <a:lnTo>
                  <a:pt x="57" y="5"/>
                </a:lnTo>
                <a:lnTo>
                  <a:pt x="59" y="11"/>
                </a:lnTo>
                <a:lnTo>
                  <a:pt x="60" y="16"/>
                </a:lnTo>
                <a:lnTo>
                  <a:pt x="60" y="16"/>
                </a:lnTo>
                <a:lnTo>
                  <a:pt x="82" y="18"/>
                </a:lnTo>
                <a:lnTo>
                  <a:pt x="82" y="18"/>
                </a:lnTo>
                <a:lnTo>
                  <a:pt x="82" y="11"/>
                </a:lnTo>
                <a:lnTo>
                  <a:pt x="79" y="3"/>
                </a:lnTo>
                <a:lnTo>
                  <a:pt x="79" y="3"/>
                </a:lnTo>
                <a:lnTo>
                  <a:pt x="86" y="9"/>
                </a:lnTo>
                <a:lnTo>
                  <a:pt x="93" y="13"/>
                </a:lnTo>
                <a:lnTo>
                  <a:pt x="99" y="20"/>
                </a:lnTo>
                <a:lnTo>
                  <a:pt x="102" y="25"/>
                </a:lnTo>
                <a:lnTo>
                  <a:pt x="106" y="38"/>
                </a:lnTo>
                <a:lnTo>
                  <a:pt x="108" y="49"/>
                </a:lnTo>
                <a:lnTo>
                  <a:pt x="108" y="49"/>
                </a:lnTo>
                <a:lnTo>
                  <a:pt x="106" y="62"/>
                </a:lnTo>
                <a:lnTo>
                  <a:pt x="102" y="73"/>
                </a:lnTo>
                <a:lnTo>
                  <a:pt x="95" y="82"/>
                </a:lnTo>
                <a:lnTo>
                  <a:pt x="86" y="89"/>
                </a:lnTo>
                <a:lnTo>
                  <a:pt x="86" y="89"/>
                </a:lnTo>
                <a:lnTo>
                  <a:pt x="69" y="98"/>
                </a:lnTo>
                <a:lnTo>
                  <a:pt x="55" y="1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101" name="Freeform 52"/>
          <p:cNvSpPr>
            <a:spLocks/>
          </p:cNvSpPr>
          <p:nvPr userDrawn="1"/>
        </p:nvSpPr>
        <p:spPr bwMode="auto">
          <a:xfrm>
            <a:off x="8589963" y="-648865"/>
            <a:ext cx="1588" cy="1588"/>
          </a:xfrm>
          <a:custGeom>
            <a:avLst/>
            <a:gdLst>
              <a:gd name="T0" fmla="*/ 4 w 4"/>
              <a:gd name="T1" fmla="*/ 2 h 2"/>
              <a:gd name="T2" fmla="*/ 4 w 4"/>
              <a:gd name="T3" fmla="*/ 2 h 2"/>
              <a:gd name="T4" fmla="*/ 2 w 4"/>
              <a:gd name="T5" fmla="*/ 0 h 2"/>
              <a:gd name="T6" fmla="*/ 2 w 4"/>
              <a:gd name="T7" fmla="*/ 0 h 2"/>
              <a:gd name="T8" fmla="*/ 0 w 4"/>
              <a:gd name="T9" fmla="*/ 0 h 2"/>
              <a:gd name="T10" fmla="*/ 0 w 4"/>
              <a:gd name="T11" fmla="*/ 0 h 2"/>
              <a:gd name="T12" fmla="*/ 4 w 4"/>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2"/>
                </a:moveTo>
                <a:lnTo>
                  <a:pt x="4" y="2"/>
                </a:lnTo>
                <a:lnTo>
                  <a:pt x="2" y="0"/>
                </a:lnTo>
                <a:lnTo>
                  <a:pt x="2" y="0"/>
                </a:lnTo>
                <a:lnTo>
                  <a:pt x="0" y="0"/>
                </a:lnTo>
                <a:lnTo>
                  <a:pt x="0" y="0"/>
                </a:lnTo>
                <a:lnTo>
                  <a:pt x="4"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102" name="Freeform 53"/>
          <p:cNvSpPr>
            <a:spLocks/>
          </p:cNvSpPr>
          <p:nvPr userDrawn="1"/>
        </p:nvSpPr>
        <p:spPr bwMode="auto">
          <a:xfrm>
            <a:off x="8405814" y="-885403"/>
            <a:ext cx="15875" cy="9525"/>
          </a:xfrm>
          <a:custGeom>
            <a:avLst/>
            <a:gdLst>
              <a:gd name="T0" fmla="*/ 20 w 20"/>
              <a:gd name="T1" fmla="*/ 10 h 11"/>
              <a:gd name="T2" fmla="*/ 20 w 20"/>
              <a:gd name="T3" fmla="*/ 10 h 11"/>
              <a:gd name="T4" fmla="*/ 19 w 20"/>
              <a:gd name="T5" fmla="*/ 10 h 11"/>
              <a:gd name="T6" fmla="*/ 11 w 20"/>
              <a:gd name="T7" fmla="*/ 11 h 11"/>
              <a:gd name="T8" fmla="*/ 2 w 20"/>
              <a:gd name="T9" fmla="*/ 11 h 11"/>
              <a:gd name="T10" fmla="*/ 2 w 20"/>
              <a:gd name="T11" fmla="*/ 11 h 11"/>
              <a:gd name="T12" fmla="*/ 0 w 20"/>
              <a:gd name="T13" fmla="*/ 8 h 11"/>
              <a:gd name="T14" fmla="*/ 0 w 20"/>
              <a:gd name="T15" fmla="*/ 0 h 11"/>
              <a:gd name="T16" fmla="*/ 0 w 20"/>
              <a:gd name="T17" fmla="*/ 0 h 11"/>
              <a:gd name="T18" fmla="*/ 4 w 20"/>
              <a:gd name="T19" fmla="*/ 0 h 11"/>
              <a:gd name="T20" fmla="*/ 11 w 20"/>
              <a:gd name="T21" fmla="*/ 2 h 11"/>
              <a:gd name="T22" fmla="*/ 17 w 20"/>
              <a:gd name="T23" fmla="*/ 4 h 11"/>
              <a:gd name="T24" fmla="*/ 20 w 20"/>
              <a:gd name="T25"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1">
                <a:moveTo>
                  <a:pt x="20" y="10"/>
                </a:moveTo>
                <a:lnTo>
                  <a:pt x="20" y="10"/>
                </a:lnTo>
                <a:lnTo>
                  <a:pt x="19" y="10"/>
                </a:lnTo>
                <a:lnTo>
                  <a:pt x="11" y="11"/>
                </a:lnTo>
                <a:lnTo>
                  <a:pt x="2" y="11"/>
                </a:lnTo>
                <a:lnTo>
                  <a:pt x="2" y="11"/>
                </a:lnTo>
                <a:lnTo>
                  <a:pt x="0" y="8"/>
                </a:lnTo>
                <a:lnTo>
                  <a:pt x="0" y="0"/>
                </a:lnTo>
                <a:lnTo>
                  <a:pt x="0" y="0"/>
                </a:lnTo>
                <a:lnTo>
                  <a:pt x="4" y="0"/>
                </a:lnTo>
                <a:lnTo>
                  <a:pt x="11" y="2"/>
                </a:lnTo>
                <a:lnTo>
                  <a:pt x="17" y="4"/>
                </a:lnTo>
                <a:lnTo>
                  <a:pt x="20"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103" name="Freeform 54"/>
          <p:cNvSpPr>
            <a:spLocks/>
          </p:cNvSpPr>
          <p:nvPr userDrawn="1"/>
        </p:nvSpPr>
        <p:spPr bwMode="auto">
          <a:xfrm>
            <a:off x="8197851" y="-917153"/>
            <a:ext cx="492125" cy="579438"/>
          </a:xfrm>
          <a:custGeom>
            <a:avLst/>
            <a:gdLst>
              <a:gd name="T0" fmla="*/ 592 w 619"/>
              <a:gd name="T1" fmla="*/ 245 h 729"/>
              <a:gd name="T2" fmla="*/ 588 w 619"/>
              <a:gd name="T3" fmla="*/ 150 h 729"/>
              <a:gd name="T4" fmla="*/ 513 w 619"/>
              <a:gd name="T5" fmla="*/ 57 h 729"/>
              <a:gd name="T6" fmla="*/ 446 w 619"/>
              <a:gd name="T7" fmla="*/ 150 h 729"/>
              <a:gd name="T8" fmla="*/ 460 w 619"/>
              <a:gd name="T9" fmla="*/ 243 h 729"/>
              <a:gd name="T10" fmla="*/ 490 w 619"/>
              <a:gd name="T11" fmla="*/ 256 h 729"/>
              <a:gd name="T12" fmla="*/ 506 w 619"/>
              <a:gd name="T13" fmla="*/ 240 h 729"/>
              <a:gd name="T14" fmla="*/ 568 w 619"/>
              <a:gd name="T15" fmla="*/ 250 h 729"/>
              <a:gd name="T16" fmla="*/ 533 w 619"/>
              <a:gd name="T17" fmla="*/ 345 h 729"/>
              <a:gd name="T18" fmla="*/ 429 w 619"/>
              <a:gd name="T19" fmla="*/ 291 h 729"/>
              <a:gd name="T20" fmla="*/ 417 w 619"/>
              <a:gd name="T21" fmla="*/ 198 h 729"/>
              <a:gd name="T22" fmla="*/ 418 w 619"/>
              <a:gd name="T23" fmla="*/ 183 h 729"/>
              <a:gd name="T24" fmla="*/ 375 w 619"/>
              <a:gd name="T25" fmla="*/ 121 h 729"/>
              <a:gd name="T26" fmla="*/ 424 w 619"/>
              <a:gd name="T27" fmla="*/ 77 h 729"/>
              <a:gd name="T28" fmla="*/ 353 w 619"/>
              <a:gd name="T29" fmla="*/ 28 h 729"/>
              <a:gd name="T30" fmla="*/ 247 w 619"/>
              <a:gd name="T31" fmla="*/ 33 h 729"/>
              <a:gd name="T32" fmla="*/ 225 w 619"/>
              <a:gd name="T33" fmla="*/ 73 h 729"/>
              <a:gd name="T34" fmla="*/ 243 w 619"/>
              <a:gd name="T35" fmla="*/ 104 h 729"/>
              <a:gd name="T36" fmla="*/ 292 w 619"/>
              <a:gd name="T37" fmla="*/ 88 h 729"/>
              <a:gd name="T38" fmla="*/ 219 w 619"/>
              <a:gd name="T39" fmla="*/ 115 h 729"/>
              <a:gd name="T40" fmla="*/ 190 w 619"/>
              <a:gd name="T41" fmla="*/ 110 h 729"/>
              <a:gd name="T42" fmla="*/ 258 w 619"/>
              <a:gd name="T43" fmla="*/ 112 h 729"/>
              <a:gd name="T44" fmla="*/ 261 w 619"/>
              <a:gd name="T45" fmla="*/ 128 h 729"/>
              <a:gd name="T46" fmla="*/ 238 w 619"/>
              <a:gd name="T47" fmla="*/ 152 h 729"/>
              <a:gd name="T48" fmla="*/ 259 w 619"/>
              <a:gd name="T49" fmla="*/ 192 h 729"/>
              <a:gd name="T50" fmla="*/ 133 w 619"/>
              <a:gd name="T51" fmla="*/ 276 h 729"/>
              <a:gd name="T52" fmla="*/ 53 w 619"/>
              <a:gd name="T53" fmla="*/ 252 h 729"/>
              <a:gd name="T54" fmla="*/ 42 w 619"/>
              <a:gd name="T55" fmla="*/ 267 h 729"/>
              <a:gd name="T56" fmla="*/ 51 w 619"/>
              <a:gd name="T57" fmla="*/ 287 h 729"/>
              <a:gd name="T58" fmla="*/ 2 w 619"/>
              <a:gd name="T59" fmla="*/ 305 h 729"/>
              <a:gd name="T60" fmla="*/ 58 w 619"/>
              <a:gd name="T61" fmla="*/ 313 h 729"/>
              <a:gd name="T62" fmla="*/ 37 w 619"/>
              <a:gd name="T63" fmla="*/ 331 h 729"/>
              <a:gd name="T64" fmla="*/ 53 w 619"/>
              <a:gd name="T65" fmla="*/ 345 h 729"/>
              <a:gd name="T66" fmla="*/ 104 w 619"/>
              <a:gd name="T67" fmla="*/ 345 h 729"/>
              <a:gd name="T68" fmla="*/ 117 w 619"/>
              <a:gd name="T69" fmla="*/ 347 h 729"/>
              <a:gd name="T70" fmla="*/ 163 w 619"/>
              <a:gd name="T71" fmla="*/ 309 h 729"/>
              <a:gd name="T72" fmla="*/ 214 w 619"/>
              <a:gd name="T73" fmla="*/ 300 h 729"/>
              <a:gd name="T74" fmla="*/ 283 w 619"/>
              <a:gd name="T75" fmla="*/ 325 h 729"/>
              <a:gd name="T76" fmla="*/ 417 w 619"/>
              <a:gd name="T77" fmla="*/ 386 h 729"/>
              <a:gd name="T78" fmla="*/ 466 w 619"/>
              <a:gd name="T79" fmla="*/ 492 h 729"/>
              <a:gd name="T80" fmla="*/ 464 w 619"/>
              <a:gd name="T81" fmla="*/ 517 h 729"/>
              <a:gd name="T82" fmla="*/ 512 w 619"/>
              <a:gd name="T83" fmla="*/ 526 h 729"/>
              <a:gd name="T84" fmla="*/ 526 w 619"/>
              <a:gd name="T85" fmla="*/ 627 h 729"/>
              <a:gd name="T86" fmla="*/ 462 w 619"/>
              <a:gd name="T87" fmla="*/ 638 h 729"/>
              <a:gd name="T88" fmla="*/ 491 w 619"/>
              <a:gd name="T89" fmla="*/ 651 h 729"/>
              <a:gd name="T90" fmla="*/ 479 w 619"/>
              <a:gd name="T91" fmla="*/ 663 h 729"/>
              <a:gd name="T92" fmla="*/ 475 w 619"/>
              <a:gd name="T93" fmla="*/ 711 h 729"/>
              <a:gd name="T94" fmla="*/ 502 w 619"/>
              <a:gd name="T95" fmla="*/ 693 h 729"/>
              <a:gd name="T96" fmla="*/ 513 w 619"/>
              <a:gd name="T97" fmla="*/ 700 h 729"/>
              <a:gd name="T98" fmla="*/ 544 w 619"/>
              <a:gd name="T99" fmla="*/ 720 h 729"/>
              <a:gd name="T100" fmla="*/ 554 w 619"/>
              <a:gd name="T101" fmla="*/ 678 h 729"/>
              <a:gd name="T102" fmla="*/ 586 w 619"/>
              <a:gd name="T103" fmla="*/ 689 h 729"/>
              <a:gd name="T104" fmla="*/ 590 w 619"/>
              <a:gd name="T105" fmla="*/ 625 h 729"/>
              <a:gd name="T106" fmla="*/ 603 w 619"/>
              <a:gd name="T107" fmla="*/ 598 h 729"/>
              <a:gd name="T108" fmla="*/ 599 w 619"/>
              <a:gd name="T109" fmla="*/ 552 h 729"/>
              <a:gd name="T110" fmla="*/ 574 w 619"/>
              <a:gd name="T111" fmla="*/ 508 h 729"/>
              <a:gd name="T112" fmla="*/ 532 w 619"/>
              <a:gd name="T113" fmla="*/ 462 h 729"/>
              <a:gd name="T114" fmla="*/ 532 w 619"/>
              <a:gd name="T115" fmla="*/ 419 h 729"/>
              <a:gd name="T116" fmla="*/ 539 w 619"/>
              <a:gd name="T117" fmla="*/ 377 h 729"/>
              <a:gd name="T118" fmla="*/ 618 w 619"/>
              <a:gd name="T119" fmla="*/ 316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9" h="729">
                <a:moveTo>
                  <a:pt x="603" y="280"/>
                </a:moveTo>
                <a:lnTo>
                  <a:pt x="603" y="280"/>
                </a:lnTo>
                <a:lnTo>
                  <a:pt x="612" y="282"/>
                </a:lnTo>
                <a:lnTo>
                  <a:pt x="619" y="280"/>
                </a:lnTo>
                <a:lnTo>
                  <a:pt x="619" y="280"/>
                </a:lnTo>
                <a:lnTo>
                  <a:pt x="618" y="269"/>
                </a:lnTo>
                <a:lnTo>
                  <a:pt x="616" y="252"/>
                </a:lnTo>
                <a:lnTo>
                  <a:pt x="616" y="252"/>
                </a:lnTo>
                <a:lnTo>
                  <a:pt x="610" y="252"/>
                </a:lnTo>
                <a:lnTo>
                  <a:pt x="605" y="252"/>
                </a:lnTo>
                <a:lnTo>
                  <a:pt x="599" y="250"/>
                </a:lnTo>
                <a:lnTo>
                  <a:pt x="592" y="245"/>
                </a:lnTo>
                <a:lnTo>
                  <a:pt x="592" y="245"/>
                </a:lnTo>
                <a:lnTo>
                  <a:pt x="588" y="238"/>
                </a:lnTo>
                <a:lnTo>
                  <a:pt x="588" y="238"/>
                </a:lnTo>
                <a:lnTo>
                  <a:pt x="577" y="223"/>
                </a:lnTo>
                <a:lnTo>
                  <a:pt x="565" y="212"/>
                </a:lnTo>
                <a:lnTo>
                  <a:pt x="552" y="203"/>
                </a:lnTo>
                <a:lnTo>
                  <a:pt x="541" y="196"/>
                </a:lnTo>
                <a:lnTo>
                  <a:pt x="541" y="196"/>
                </a:lnTo>
                <a:lnTo>
                  <a:pt x="559" y="185"/>
                </a:lnTo>
                <a:lnTo>
                  <a:pt x="572" y="174"/>
                </a:lnTo>
                <a:lnTo>
                  <a:pt x="581" y="165"/>
                </a:lnTo>
                <a:lnTo>
                  <a:pt x="585" y="157"/>
                </a:lnTo>
                <a:lnTo>
                  <a:pt x="585" y="157"/>
                </a:lnTo>
                <a:lnTo>
                  <a:pt x="588" y="150"/>
                </a:lnTo>
                <a:lnTo>
                  <a:pt x="592" y="139"/>
                </a:lnTo>
                <a:lnTo>
                  <a:pt x="592" y="128"/>
                </a:lnTo>
                <a:lnTo>
                  <a:pt x="592" y="115"/>
                </a:lnTo>
                <a:lnTo>
                  <a:pt x="588" y="103"/>
                </a:lnTo>
                <a:lnTo>
                  <a:pt x="583" y="90"/>
                </a:lnTo>
                <a:lnTo>
                  <a:pt x="574" y="79"/>
                </a:lnTo>
                <a:lnTo>
                  <a:pt x="566" y="73"/>
                </a:lnTo>
                <a:lnTo>
                  <a:pt x="559" y="68"/>
                </a:lnTo>
                <a:lnTo>
                  <a:pt x="559" y="68"/>
                </a:lnTo>
                <a:lnTo>
                  <a:pt x="548" y="62"/>
                </a:lnTo>
                <a:lnTo>
                  <a:pt x="535" y="59"/>
                </a:lnTo>
                <a:lnTo>
                  <a:pt x="524" y="57"/>
                </a:lnTo>
                <a:lnTo>
                  <a:pt x="513" y="57"/>
                </a:lnTo>
                <a:lnTo>
                  <a:pt x="495" y="60"/>
                </a:lnTo>
                <a:lnTo>
                  <a:pt x="481" y="64"/>
                </a:lnTo>
                <a:lnTo>
                  <a:pt x="481" y="64"/>
                </a:lnTo>
                <a:lnTo>
                  <a:pt x="471" y="70"/>
                </a:lnTo>
                <a:lnTo>
                  <a:pt x="462" y="77"/>
                </a:lnTo>
                <a:lnTo>
                  <a:pt x="455" y="84"/>
                </a:lnTo>
                <a:lnTo>
                  <a:pt x="449" y="93"/>
                </a:lnTo>
                <a:lnTo>
                  <a:pt x="446" y="104"/>
                </a:lnTo>
                <a:lnTo>
                  <a:pt x="442" y="115"/>
                </a:lnTo>
                <a:lnTo>
                  <a:pt x="442" y="126"/>
                </a:lnTo>
                <a:lnTo>
                  <a:pt x="442" y="141"/>
                </a:lnTo>
                <a:lnTo>
                  <a:pt x="442" y="141"/>
                </a:lnTo>
                <a:lnTo>
                  <a:pt x="446" y="150"/>
                </a:lnTo>
                <a:lnTo>
                  <a:pt x="449" y="159"/>
                </a:lnTo>
                <a:lnTo>
                  <a:pt x="455" y="168"/>
                </a:lnTo>
                <a:lnTo>
                  <a:pt x="460" y="174"/>
                </a:lnTo>
                <a:lnTo>
                  <a:pt x="477" y="185"/>
                </a:lnTo>
                <a:lnTo>
                  <a:pt x="495" y="196"/>
                </a:lnTo>
                <a:lnTo>
                  <a:pt x="495" y="196"/>
                </a:lnTo>
                <a:lnTo>
                  <a:pt x="481" y="203"/>
                </a:lnTo>
                <a:lnTo>
                  <a:pt x="470" y="214"/>
                </a:lnTo>
                <a:lnTo>
                  <a:pt x="466" y="219"/>
                </a:lnTo>
                <a:lnTo>
                  <a:pt x="464" y="227"/>
                </a:lnTo>
                <a:lnTo>
                  <a:pt x="462" y="234"/>
                </a:lnTo>
                <a:lnTo>
                  <a:pt x="460" y="243"/>
                </a:lnTo>
                <a:lnTo>
                  <a:pt x="460" y="243"/>
                </a:lnTo>
                <a:lnTo>
                  <a:pt x="462" y="254"/>
                </a:lnTo>
                <a:lnTo>
                  <a:pt x="466" y="267"/>
                </a:lnTo>
                <a:lnTo>
                  <a:pt x="468" y="282"/>
                </a:lnTo>
                <a:lnTo>
                  <a:pt x="468" y="291"/>
                </a:lnTo>
                <a:lnTo>
                  <a:pt x="466" y="300"/>
                </a:lnTo>
                <a:lnTo>
                  <a:pt x="466" y="300"/>
                </a:lnTo>
                <a:lnTo>
                  <a:pt x="468" y="300"/>
                </a:lnTo>
                <a:lnTo>
                  <a:pt x="475" y="298"/>
                </a:lnTo>
                <a:lnTo>
                  <a:pt x="484" y="291"/>
                </a:lnTo>
                <a:lnTo>
                  <a:pt x="484" y="291"/>
                </a:lnTo>
                <a:lnTo>
                  <a:pt x="488" y="280"/>
                </a:lnTo>
                <a:lnTo>
                  <a:pt x="490" y="269"/>
                </a:lnTo>
                <a:lnTo>
                  <a:pt x="490" y="256"/>
                </a:lnTo>
                <a:lnTo>
                  <a:pt x="490" y="256"/>
                </a:lnTo>
                <a:lnTo>
                  <a:pt x="493" y="261"/>
                </a:lnTo>
                <a:lnTo>
                  <a:pt x="495" y="271"/>
                </a:lnTo>
                <a:lnTo>
                  <a:pt x="495" y="278"/>
                </a:lnTo>
                <a:lnTo>
                  <a:pt x="493" y="285"/>
                </a:lnTo>
                <a:lnTo>
                  <a:pt x="493" y="285"/>
                </a:lnTo>
                <a:lnTo>
                  <a:pt x="501" y="282"/>
                </a:lnTo>
                <a:lnTo>
                  <a:pt x="504" y="278"/>
                </a:lnTo>
                <a:lnTo>
                  <a:pt x="508" y="274"/>
                </a:lnTo>
                <a:lnTo>
                  <a:pt x="508" y="274"/>
                </a:lnTo>
                <a:lnTo>
                  <a:pt x="510" y="261"/>
                </a:lnTo>
                <a:lnTo>
                  <a:pt x="510" y="249"/>
                </a:lnTo>
                <a:lnTo>
                  <a:pt x="506" y="240"/>
                </a:lnTo>
                <a:lnTo>
                  <a:pt x="504" y="232"/>
                </a:lnTo>
                <a:lnTo>
                  <a:pt x="504" y="232"/>
                </a:lnTo>
                <a:lnTo>
                  <a:pt x="502" y="225"/>
                </a:lnTo>
                <a:lnTo>
                  <a:pt x="504" y="218"/>
                </a:lnTo>
                <a:lnTo>
                  <a:pt x="510" y="210"/>
                </a:lnTo>
                <a:lnTo>
                  <a:pt x="515" y="207"/>
                </a:lnTo>
                <a:lnTo>
                  <a:pt x="515" y="207"/>
                </a:lnTo>
                <a:lnTo>
                  <a:pt x="533" y="216"/>
                </a:lnTo>
                <a:lnTo>
                  <a:pt x="533" y="216"/>
                </a:lnTo>
                <a:lnTo>
                  <a:pt x="541" y="221"/>
                </a:lnTo>
                <a:lnTo>
                  <a:pt x="552" y="230"/>
                </a:lnTo>
                <a:lnTo>
                  <a:pt x="563" y="243"/>
                </a:lnTo>
                <a:lnTo>
                  <a:pt x="568" y="250"/>
                </a:lnTo>
                <a:lnTo>
                  <a:pt x="572" y="260"/>
                </a:lnTo>
                <a:lnTo>
                  <a:pt x="572" y="260"/>
                </a:lnTo>
                <a:lnTo>
                  <a:pt x="577" y="271"/>
                </a:lnTo>
                <a:lnTo>
                  <a:pt x="579" y="282"/>
                </a:lnTo>
                <a:lnTo>
                  <a:pt x="579" y="291"/>
                </a:lnTo>
                <a:lnTo>
                  <a:pt x="579" y="300"/>
                </a:lnTo>
                <a:lnTo>
                  <a:pt x="576" y="313"/>
                </a:lnTo>
                <a:lnTo>
                  <a:pt x="572" y="320"/>
                </a:lnTo>
                <a:lnTo>
                  <a:pt x="572" y="320"/>
                </a:lnTo>
                <a:lnTo>
                  <a:pt x="565" y="329"/>
                </a:lnTo>
                <a:lnTo>
                  <a:pt x="557" y="338"/>
                </a:lnTo>
                <a:lnTo>
                  <a:pt x="546" y="344"/>
                </a:lnTo>
                <a:lnTo>
                  <a:pt x="533" y="345"/>
                </a:lnTo>
                <a:lnTo>
                  <a:pt x="533" y="345"/>
                </a:lnTo>
                <a:lnTo>
                  <a:pt x="532" y="345"/>
                </a:lnTo>
                <a:lnTo>
                  <a:pt x="532" y="345"/>
                </a:lnTo>
                <a:lnTo>
                  <a:pt x="517" y="345"/>
                </a:lnTo>
                <a:lnTo>
                  <a:pt x="517" y="345"/>
                </a:lnTo>
                <a:lnTo>
                  <a:pt x="504" y="342"/>
                </a:lnTo>
                <a:lnTo>
                  <a:pt x="504" y="342"/>
                </a:lnTo>
                <a:lnTo>
                  <a:pt x="493" y="338"/>
                </a:lnTo>
                <a:lnTo>
                  <a:pt x="493" y="338"/>
                </a:lnTo>
                <a:lnTo>
                  <a:pt x="482" y="333"/>
                </a:lnTo>
                <a:lnTo>
                  <a:pt x="466" y="322"/>
                </a:lnTo>
                <a:lnTo>
                  <a:pt x="448" y="309"/>
                </a:lnTo>
                <a:lnTo>
                  <a:pt x="429" y="291"/>
                </a:lnTo>
                <a:lnTo>
                  <a:pt x="429" y="291"/>
                </a:lnTo>
                <a:lnTo>
                  <a:pt x="406" y="261"/>
                </a:lnTo>
                <a:lnTo>
                  <a:pt x="389" y="241"/>
                </a:lnTo>
                <a:lnTo>
                  <a:pt x="389" y="241"/>
                </a:lnTo>
                <a:lnTo>
                  <a:pt x="398" y="245"/>
                </a:lnTo>
                <a:lnTo>
                  <a:pt x="406" y="245"/>
                </a:lnTo>
                <a:lnTo>
                  <a:pt x="415" y="245"/>
                </a:lnTo>
                <a:lnTo>
                  <a:pt x="415" y="245"/>
                </a:lnTo>
                <a:lnTo>
                  <a:pt x="417" y="229"/>
                </a:lnTo>
                <a:lnTo>
                  <a:pt x="417" y="212"/>
                </a:lnTo>
                <a:lnTo>
                  <a:pt x="417" y="212"/>
                </a:lnTo>
                <a:lnTo>
                  <a:pt x="417" y="198"/>
                </a:lnTo>
                <a:lnTo>
                  <a:pt x="417" y="198"/>
                </a:lnTo>
                <a:lnTo>
                  <a:pt x="411" y="198"/>
                </a:lnTo>
                <a:lnTo>
                  <a:pt x="398" y="194"/>
                </a:lnTo>
                <a:lnTo>
                  <a:pt x="393" y="192"/>
                </a:lnTo>
                <a:lnTo>
                  <a:pt x="386" y="188"/>
                </a:lnTo>
                <a:lnTo>
                  <a:pt x="380" y="185"/>
                </a:lnTo>
                <a:lnTo>
                  <a:pt x="376" y="179"/>
                </a:lnTo>
                <a:lnTo>
                  <a:pt x="376" y="179"/>
                </a:lnTo>
                <a:lnTo>
                  <a:pt x="382" y="181"/>
                </a:lnTo>
                <a:lnTo>
                  <a:pt x="387" y="183"/>
                </a:lnTo>
                <a:lnTo>
                  <a:pt x="395" y="185"/>
                </a:lnTo>
                <a:lnTo>
                  <a:pt x="395" y="185"/>
                </a:lnTo>
                <a:lnTo>
                  <a:pt x="411" y="183"/>
                </a:lnTo>
                <a:lnTo>
                  <a:pt x="418" y="183"/>
                </a:lnTo>
                <a:lnTo>
                  <a:pt x="418" y="183"/>
                </a:lnTo>
                <a:lnTo>
                  <a:pt x="420" y="166"/>
                </a:lnTo>
                <a:lnTo>
                  <a:pt x="420" y="152"/>
                </a:lnTo>
                <a:lnTo>
                  <a:pt x="420" y="152"/>
                </a:lnTo>
                <a:lnTo>
                  <a:pt x="420" y="137"/>
                </a:lnTo>
                <a:lnTo>
                  <a:pt x="420" y="137"/>
                </a:lnTo>
                <a:lnTo>
                  <a:pt x="409" y="137"/>
                </a:lnTo>
                <a:lnTo>
                  <a:pt x="396" y="135"/>
                </a:lnTo>
                <a:lnTo>
                  <a:pt x="396" y="135"/>
                </a:lnTo>
                <a:lnTo>
                  <a:pt x="384" y="130"/>
                </a:lnTo>
                <a:lnTo>
                  <a:pt x="378" y="126"/>
                </a:lnTo>
                <a:lnTo>
                  <a:pt x="375" y="121"/>
                </a:lnTo>
                <a:lnTo>
                  <a:pt x="375" y="121"/>
                </a:lnTo>
                <a:lnTo>
                  <a:pt x="380" y="123"/>
                </a:lnTo>
                <a:lnTo>
                  <a:pt x="395" y="126"/>
                </a:lnTo>
                <a:lnTo>
                  <a:pt x="395" y="126"/>
                </a:lnTo>
                <a:lnTo>
                  <a:pt x="404" y="126"/>
                </a:lnTo>
                <a:lnTo>
                  <a:pt x="413" y="124"/>
                </a:lnTo>
                <a:lnTo>
                  <a:pt x="420" y="124"/>
                </a:lnTo>
                <a:lnTo>
                  <a:pt x="422" y="123"/>
                </a:lnTo>
                <a:lnTo>
                  <a:pt x="422" y="123"/>
                </a:lnTo>
                <a:lnTo>
                  <a:pt x="422" y="93"/>
                </a:lnTo>
                <a:lnTo>
                  <a:pt x="422" y="93"/>
                </a:lnTo>
                <a:lnTo>
                  <a:pt x="424" y="86"/>
                </a:lnTo>
                <a:lnTo>
                  <a:pt x="424" y="77"/>
                </a:lnTo>
                <a:lnTo>
                  <a:pt x="424" y="77"/>
                </a:lnTo>
                <a:lnTo>
                  <a:pt x="418" y="77"/>
                </a:lnTo>
                <a:lnTo>
                  <a:pt x="407" y="75"/>
                </a:lnTo>
                <a:lnTo>
                  <a:pt x="395" y="70"/>
                </a:lnTo>
                <a:lnTo>
                  <a:pt x="389" y="66"/>
                </a:lnTo>
                <a:lnTo>
                  <a:pt x="382" y="60"/>
                </a:lnTo>
                <a:lnTo>
                  <a:pt x="382" y="60"/>
                </a:lnTo>
                <a:lnTo>
                  <a:pt x="380" y="57"/>
                </a:lnTo>
                <a:lnTo>
                  <a:pt x="380" y="53"/>
                </a:lnTo>
                <a:lnTo>
                  <a:pt x="382" y="46"/>
                </a:lnTo>
                <a:lnTo>
                  <a:pt x="382" y="46"/>
                </a:lnTo>
                <a:lnTo>
                  <a:pt x="349" y="31"/>
                </a:lnTo>
                <a:lnTo>
                  <a:pt x="349" y="31"/>
                </a:lnTo>
                <a:lnTo>
                  <a:pt x="353" y="28"/>
                </a:lnTo>
                <a:lnTo>
                  <a:pt x="356" y="22"/>
                </a:lnTo>
                <a:lnTo>
                  <a:pt x="356" y="18"/>
                </a:lnTo>
                <a:lnTo>
                  <a:pt x="356" y="18"/>
                </a:lnTo>
                <a:lnTo>
                  <a:pt x="354" y="13"/>
                </a:lnTo>
                <a:lnTo>
                  <a:pt x="349" y="9"/>
                </a:lnTo>
                <a:lnTo>
                  <a:pt x="343" y="8"/>
                </a:lnTo>
                <a:lnTo>
                  <a:pt x="336" y="8"/>
                </a:lnTo>
                <a:lnTo>
                  <a:pt x="336" y="8"/>
                </a:lnTo>
                <a:lnTo>
                  <a:pt x="329" y="9"/>
                </a:lnTo>
                <a:lnTo>
                  <a:pt x="325" y="13"/>
                </a:lnTo>
                <a:lnTo>
                  <a:pt x="320" y="18"/>
                </a:lnTo>
                <a:lnTo>
                  <a:pt x="280" y="0"/>
                </a:lnTo>
                <a:lnTo>
                  <a:pt x="247" y="33"/>
                </a:lnTo>
                <a:lnTo>
                  <a:pt x="247" y="33"/>
                </a:lnTo>
                <a:lnTo>
                  <a:pt x="245" y="35"/>
                </a:lnTo>
                <a:lnTo>
                  <a:pt x="245" y="39"/>
                </a:lnTo>
                <a:lnTo>
                  <a:pt x="245" y="42"/>
                </a:lnTo>
                <a:lnTo>
                  <a:pt x="245" y="42"/>
                </a:lnTo>
                <a:lnTo>
                  <a:pt x="245" y="44"/>
                </a:lnTo>
                <a:lnTo>
                  <a:pt x="243" y="46"/>
                </a:lnTo>
                <a:lnTo>
                  <a:pt x="243" y="46"/>
                </a:lnTo>
                <a:lnTo>
                  <a:pt x="234" y="57"/>
                </a:lnTo>
                <a:lnTo>
                  <a:pt x="234" y="57"/>
                </a:lnTo>
                <a:lnTo>
                  <a:pt x="228" y="66"/>
                </a:lnTo>
                <a:lnTo>
                  <a:pt x="228" y="66"/>
                </a:lnTo>
                <a:lnTo>
                  <a:pt x="225" y="73"/>
                </a:lnTo>
                <a:lnTo>
                  <a:pt x="223" y="79"/>
                </a:lnTo>
                <a:lnTo>
                  <a:pt x="223" y="79"/>
                </a:lnTo>
                <a:lnTo>
                  <a:pt x="221" y="81"/>
                </a:lnTo>
                <a:lnTo>
                  <a:pt x="221" y="84"/>
                </a:lnTo>
                <a:lnTo>
                  <a:pt x="225" y="92"/>
                </a:lnTo>
                <a:lnTo>
                  <a:pt x="234" y="99"/>
                </a:lnTo>
                <a:lnTo>
                  <a:pt x="234" y="101"/>
                </a:lnTo>
                <a:lnTo>
                  <a:pt x="234" y="101"/>
                </a:lnTo>
                <a:lnTo>
                  <a:pt x="236" y="99"/>
                </a:lnTo>
                <a:lnTo>
                  <a:pt x="238" y="99"/>
                </a:lnTo>
                <a:lnTo>
                  <a:pt x="238" y="99"/>
                </a:lnTo>
                <a:lnTo>
                  <a:pt x="243" y="104"/>
                </a:lnTo>
                <a:lnTo>
                  <a:pt x="243" y="104"/>
                </a:lnTo>
                <a:lnTo>
                  <a:pt x="245" y="101"/>
                </a:lnTo>
                <a:lnTo>
                  <a:pt x="248" y="95"/>
                </a:lnTo>
                <a:lnTo>
                  <a:pt x="248" y="95"/>
                </a:lnTo>
                <a:lnTo>
                  <a:pt x="254" y="88"/>
                </a:lnTo>
                <a:lnTo>
                  <a:pt x="261" y="82"/>
                </a:lnTo>
                <a:lnTo>
                  <a:pt x="261" y="82"/>
                </a:lnTo>
                <a:lnTo>
                  <a:pt x="269" y="79"/>
                </a:lnTo>
                <a:lnTo>
                  <a:pt x="276" y="79"/>
                </a:lnTo>
                <a:lnTo>
                  <a:pt x="276" y="79"/>
                </a:lnTo>
                <a:lnTo>
                  <a:pt x="283" y="79"/>
                </a:lnTo>
                <a:lnTo>
                  <a:pt x="289" y="82"/>
                </a:lnTo>
                <a:lnTo>
                  <a:pt x="289" y="82"/>
                </a:lnTo>
                <a:lnTo>
                  <a:pt x="292" y="88"/>
                </a:lnTo>
                <a:lnTo>
                  <a:pt x="294" y="95"/>
                </a:lnTo>
                <a:lnTo>
                  <a:pt x="294" y="103"/>
                </a:lnTo>
                <a:lnTo>
                  <a:pt x="294" y="108"/>
                </a:lnTo>
                <a:lnTo>
                  <a:pt x="294" y="108"/>
                </a:lnTo>
                <a:lnTo>
                  <a:pt x="290" y="104"/>
                </a:lnTo>
                <a:lnTo>
                  <a:pt x="290" y="104"/>
                </a:lnTo>
                <a:lnTo>
                  <a:pt x="285" y="103"/>
                </a:lnTo>
                <a:lnTo>
                  <a:pt x="276" y="101"/>
                </a:lnTo>
                <a:lnTo>
                  <a:pt x="265" y="101"/>
                </a:lnTo>
                <a:lnTo>
                  <a:pt x="254" y="103"/>
                </a:lnTo>
                <a:lnTo>
                  <a:pt x="254" y="103"/>
                </a:lnTo>
                <a:lnTo>
                  <a:pt x="241" y="108"/>
                </a:lnTo>
                <a:lnTo>
                  <a:pt x="219" y="115"/>
                </a:lnTo>
                <a:lnTo>
                  <a:pt x="219" y="115"/>
                </a:lnTo>
                <a:lnTo>
                  <a:pt x="214" y="117"/>
                </a:lnTo>
                <a:lnTo>
                  <a:pt x="208" y="117"/>
                </a:lnTo>
                <a:lnTo>
                  <a:pt x="205" y="113"/>
                </a:lnTo>
                <a:lnTo>
                  <a:pt x="203" y="110"/>
                </a:lnTo>
                <a:lnTo>
                  <a:pt x="203" y="110"/>
                </a:lnTo>
                <a:lnTo>
                  <a:pt x="203" y="104"/>
                </a:lnTo>
                <a:lnTo>
                  <a:pt x="203" y="101"/>
                </a:lnTo>
                <a:lnTo>
                  <a:pt x="205" y="97"/>
                </a:lnTo>
                <a:lnTo>
                  <a:pt x="205" y="97"/>
                </a:lnTo>
                <a:lnTo>
                  <a:pt x="199" y="101"/>
                </a:lnTo>
                <a:lnTo>
                  <a:pt x="194" y="104"/>
                </a:lnTo>
                <a:lnTo>
                  <a:pt x="190" y="110"/>
                </a:lnTo>
                <a:lnTo>
                  <a:pt x="190" y="110"/>
                </a:lnTo>
                <a:lnTo>
                  <a:pt x="190" y="117"/>
                </a:lnTo>
                <a:lnTo>
                  <a:pt x="192" y="124"/>
                </a:lnTo>
                <a:lnTo>
                  <a:pt x="195" y="128"/>
                </a:lnTo>
                <a:lnTo>
                  <a:pt x="201" y="132"/>
                </a:lnTo>
                <a:lnTo>
                  <a:pt x="201" y="132"/>
                </a:lnTo>
                <a:lnTo>
                  <a:pt x="208" y="132"/>
                </a:lnTo>
                <a:lnTo>
                  <a:pt x="217" y="130"/>
                </a:lnTo>
                <a:lnTo>
                  <a:pt x="234" y="123"/>
                </a:lnTo>
                <a:lnTo>
                  <a:pt x="234" y="123"/>
                </a:lnTo>
                <a:lnTo>
                  <a:pt x="250" y="113"/>
                </a:lnTo>
                <a:lnTo>
                  <a:pt x="250" y="113"/>
                </a:lnTo>
                <a:lnTo>
                  <a:pt x="258" y="112"/>
                </a:lnTo>
                <a:lnTo>
                  <a:pt x="263" y="110"/>
                </a:lnTo>
                <a:lnTo>
                  <a:pt x="270" y="112"/>
                </a:lnTo>
                <a:lnTo>
                  <a:pt x="278" y="113"/>
                </a:lnTo>
                <a:lnTo>
                  <a:pt x="278" y="113"/>
                </a:lnTo>
                <a:lnTo>
                  <a:pt x="285" y="119"/>
                </a:lnTo>
                <a:lnTo>
                  <a:pt x="289" y="121"/>
                </a:lnTo>
                <a:lnTo>
                  <a:pt x="289" y="121"/>
                </a:lnTo>
                <a:lnTo>
                  <a:pt x="285" y="126"/>
                </a:lnTo>
                <a:lnTo>
                  <a:pt x="281" y="130"/>
                </a:lnTo>
                <a:lnTo>
                  <a:pt x="274" y="130"/>
                </a:lnTo>
                <a:lnTo>
                  <a:pt x="274" y="130"/>
                </a:lnTo>
                <a:lnTo>
                  <a:pt x="267" y="130"/>
                </a:lnTo>
                <a:lnTo>
                  <a:pt x="261" y="128"/>
                </a:lnTo>
                <a:lnTo>
                  <a:pt x="256" y="124"/>
                </a:lnTo>
                <a:lnTo>
                  <a:pt x="254" y="121"/>
                </a:lnTo>
                <a:lnTo>
                  <a:pt x="254" y="121"/>
                </a:lnTo>
                <a:lnTo>
                  <a:pt x="250" y="128"/>
                </a:lnTo>
                <a:lnTo>
                  <a:pt x="250" y="128"/>
                </a:lnTo>
                <a:lnTo>
                  <a:pt x="248" y="132"/>
                </a:lnTo>
                <a:lnTo>
                  <a:pt x="248" y="135"/>
                </a:lnTo>
                <a:lnTo>
                  <a:pt x="250" y="137"/>
                </a:lnTo>
                <a:lnTo>
                  <a:pt x="248" y="141"/>
                </a:lnTo>
                <a:lnTo>
                  <a:pt x="248" y="141"/>
                </a:lnTo>
                <a:lnTo>
                  <a:pt x="247" y="143"/>
                </a:lnTo>
                <a:lnTo>
                  <a:pt x="245" y="146"/>
                </a:lnTo>
                <a:lnTo>
                  <a:pt x="238" y="152"/>
                </a:lnTo>
                <a:lnTo>
                  <a:pt x="238" y="152"/>
                </a:lnTo>
                <a:lnTo>
                  <a:pt x="227" y="157"/>
                </a:lnTo>
                <a:lnTo>
                  <a:pt x="219" y="159"/>
                </a:lnTo>
                <a:lnTo>
                  <a:pt x="219" y="159"/>
                </a:lnTo>
                <a:lnTo>
                  <a:pt x="227" y="176"/>
                </a:lnTo>
                <a:lnTo>
                  <a:pt x="227" y="176"/>
                </a:lnTo>
                <a:lnTo>
                  <a:pt x="232" y="187"/>
                </a:lnTo>
                <a:lnTo>
                  <a:pt x="236" y="194"/>
                </a:lnTo>
                <a:lnTo>
                  <a:pt x="239" y="199"/>
                </a:lnTo>
                <a:lnTo>
                  <a:pt x="239" y="199"/>
                </a:lnTo>
                <a:lnTo>
                  <a:pt x="247" y="198"/>
                </a:lnTo>
                <a:lnTo>
                  <a:pt x="259" y="192"/>
                </a:lnTo>
                <a:lnTo>
                  <a:pt x="259" y="192"/>
                </a:lnTo>
                <a:lnTo>
                  <a:pt x="269" y="185"/>
                </a:lnTo>
                <a:lnTo>
                  <a:pt x="274" y="177"/>
                </a:lnTo>
                <a:lnTo>
                  <a:pt x="274" y="177"/>
                </a:lnTo>
                <a:lnTo>
                  <a:pt x="267" y="194"/>
                </a:lnTo>
                <a:lnTo>
                  <a:pt x="261" y="203"/>
                </a:lnTo>
                <a:lnTo>
                  <a:pt x="254" y="210"/>
                </a:lnTo>
                <a:lnTo>
                  <a:pt x="248" y="216"/>
                </a:lnTo>
                <a:lnTo>
                  <a:pt x="248" y="216"/>
                </a:lnTo>
                <a:lnTo>
                  <a:pt x="225" y="232"/>
                </a:lnTo>
                <a:lnTo>
                  <a:pt x="192" y="250"/>
                </a:lnTo>
                <a:lnTo>
                  <a:pt x="172" y="261"/>
                </a:lnTo>
                <a:lnTo>
                  <a:pt x="153" y="269"/>
                </a:lnTo>
                <a:lnTo>
                  <a:pt x="133" y="276"/>
                </a:lnTo>
                <a:lnTo>
                  <a:pt x="113" y="280"/>
                </a:lnTo>
                <a:lnTo>
                  <a:pt x="113" y="280"/>
                </a:lnTo>
                <a:lnTo>
                  <a:pt x="108" y="278"/>
                </a:lnTo>
                <a:lnTo>
                  <a:pt x="100" y="276"/>
                </a:lnTo>
                <a:lnTo>
                  <a:pt x="88" y="267"/>
                </a:lnTo>
                <a:lnTo>
                  <a:pt x="75" y="258"/>
                </a:lnTo>
                <a:lnTo>
                  <a:pt x="68" y="249"/>
                </a:lnTo>
                <a:lnTo>
                  <a:pt x="68" y="249"/>
                </a:lnTo>
                <a:lnTo>
                  <a:pt x="66" y="249"/>
                </a:lnTo>
                <a:lnTo>
                  <a:pt x="62" y="247"/>
                </a:lnTo>
                <a:lnTo>
                  <a:pt x="58" y="249"/>
                </a:lnTo>
                <a:lnTo>
                  <a:pt x="53" y="252"/>
                </a:lnTo>
                <a:lnTo>
                  <a:pt x="53" y="252"/>
                </a:lnTo>
                <a:lnTo>
                  <a:pt x="49" y="252"/>
                </a:lnTo>
                <a:lnTo>
                  <a:pt x="42" y="252"/>
                </a:lnTo>
                <a:lnTo>
                  <a:pt x="31" y="254"/>
                </a:lnTo>
                <a:lnTo>
                  <a:pt x="27" y="258"/>
                </a:lnTo>
                <a:lnTo>
                  <a:pt x="24" y="261"/>
                </a:lnTo>
                <a:lnTo>
                  <a:pt x="24" y="261"/>
                </a:lnTo>
                <a:lnTo>
                  <a:pt x="24" y="263"/>
                </a:lnTo>
                <a:lnTo>
                  <a:pt x="29" y="263"/>
                </a:lnTo>
                <a:lnTo>
                  <a:pt x="35" y="261"/>
                </a:lnTo>
                <a:lnTo>
                  <a:pt x="42" y="263"/>
                </a:lnTo>
                <a:lnTo>
                  <a:pt x="42" y="263"/>
                </a:lnTo>
                <a:lnTo>
                  <a:pt x="44" y="265"/>
                </a:lnTo>
                <a:lnTo>
                  <a:pt x="42" y="267"/>
                </a:lnTo>
                <a:lnTo>
                  <a:pt x="40" y="269"/>
                </a:lnTo>
                <a:lnTo>
                  <a:pt x="40" y="272"/>
                </a:lnTo>
                <a:lnTo>
                  <a:pt x="40" y="272"/>
                </a:lnTo>
                <a:lnTo>
                  <a:pt x="40" y="274"/>
                </a:lnTo>
                <a:lnTo>
                  <a:pt x="44" y="278"/>
                </a:lnTo>
                <a:lnTo>
                  <a:pt x="53" y="282"/>
                </a:lnTo>
                <a:lnTo>
                  <a:pt x="71" y="289"/>
                </a:lnTo>
                <a:lnTo>
                  <a:pt x="71" y="289"/>
                </a:lnTo>
                <a:lnTo>
                  <a:pt x="73" y="291"/>
                </a:lnTo>
                <a:lnTo>
                  <a:pt x="73" y="293"/>
                </a:lnTo>
                <a:lnTo>
                  <a:pt x="73" y="293"/>
                </a:lnTo>
                <a:lnTo>
                  <a:pt x="60" y="291"/>
                </a:lnTo>
                <a:lnTo>
                  <a:pt x="51" y="287"/>
                </a:lnTo>
                <a:lnTo>
                  <a:pt x="38" y="282"/>
                </a:lnTo>
                <a:lnTo>
                  <a:pt x="38" y="282"/>
                </a:lnTo>
                <a:lnTo>
                  <a:pt x="29" y="280"/>
                </a:lnTo>
                <a:lnTo>
                  <a:pt x="24" y="280"/>
                </a:lnTo>
                <a:lnTo>
                  <a:pt x="22" y="283"/>
                </a:lnTo>
                <a:lnTo>
                  <a:pt x="20" y="287"/>
                </a:lnTo>
                <a:lnTo>
                  <a:pt x="20" y="287"/>
                </a:lnTo>
                <a:lnTo>
                  <a:pt x="18" y="289"/>
                </a:lnTo>
                <a:lnTo>
                  <a:pt x="16" y="289"/>
                </a:lnTo>
                <a:lnTo>
                  <a:pt x="11" y="293"/>
                </a:lnTo>
                <a:lnTo>
                  <a:pt x="7" y="294"/>
                </a:lnTo>
                <a:lnTo>
                  <a:pt x="4" y="300"/>
                </a:lnTo>
                <a:lnTo>
                  <a:pt x="2" y="305"/>
                </a:lnTo>
                <a:lnTo>
                  <a:pt x="0" y="314"/>
                </a:lnTo>
                <a:lnTo>
                  <a:pt x="0" y="314"/>
                </a:lnTo>
                <a:lnTo>
                  <a:pt x="4" y="313"/>
                </a:lnTo>
                <a:lnTo>
                  <a:pt x="9" y="307"/>
                </a:lnTo>
                <a:lnTo>
                  <a:pt x="15" y="303"/>
                </a:lnTo>
                <a:lnTo>
                  <a:pt x="18" y="302"/>
                </a:lnTo>
                <a:lnTo>
                  <a:pt x="18" y="303"/>
                </a:lnTo>
                <a:lnTo>
                  <a:pt x="18" y="303"/>
                </a:lnTo>
                <a:lnTo>
                  <a:pt x="22" y="311"/>
                </a:lnTo>
                <a:lnTo>
                  <a:pt x="27" y="314"/>
                </a:lnTo>
                <a:lnTo>
                  <a:pt x="35" y="314"/>
                </a:lnTo>
                <a:lnTo>
                  <a:pt x="42" y="314"/>
                </a:lnTo>
                <a:lnTo>
                  <a:pt x="58" y="313"/>
                </a:lnTo>
                <a:lnTo>
                  <a:pt x="66" y="313"/>
                </a:lnTo>
                <a:lnTo>
                  <a:pt x="69" y="313"/>
                </a:lnTo>
                <a:lnTo>
                  <a:pt x="69" y="313"/>
                </a:lnTo>
                <a:lnTo>
                  <a:pt x="69" y="314"/>
                </a:lnTo>
                <a:lnTo>
                  <a:pt x="69" y="314"/>
                </a:lnTo>
                <a:lnTo>
                  <a:pt x="66" y="316"/>
                </a:lnTo>
                <a:lnTo>
                  <a:pt x="53" y="318"/>
                </a:lnTo>
                <a:lnTo>
                  <a:pt x="46" y="320"/>
                </a:lnTo>
                <a:lnTo>
                  <a:pt x="38" y="324"/>
                </a:lnTo>
                <a:lnTo>
                  <a:pt x="37" y="325"/>
                </a:lnTo>
                <a:lnTo>
                  <a:pt x="35" y="329"/>
                </a:lnTo>
                <a:lnTo>
                  <a:pt x="37" y="331"/>
                </a:lnTo>
                <a:lnTo>
                  <a:pt x="37" y="331"/>
                </a:lnTo>
                <a:lnTo>
                  <a:pt x="33" y="335"/>
                </a:lnTo>
                <a:lnTo>
                  <a:pt x="29" y="342"/>
                </a:lnTo>
                <a:lnTo>
                  <a:pt x="27" y="345"/>
                </a:lnTo>
                <a:lnTo>
                  <a:pt x="27" y="351"/>
                </a:lnTo>
                <a:lnTo>
                  <a:pt x="29" y="356"/>
                </a:lnTo>
                <a:lnTo>
                  <a:pt x="35" y="364"/>
                </a:lnTo>
                <a:lnTo>
                  <a:pt x="35" y="364"/>
                </a:lnTo>
                <a:lnTo>
                  <a:pt x="37" y="353"/>
                </a:lnTo>
                <a:lnTo>
                  <a:pt x="40" y="347"/>
                </a:lnTo>
                <a:lnTo>
                  <a:pt x="42" y="345"/>
                </a:lnTo>
                <a:lnTo>
                  <a:pt x="46" y="345"/>
                </a:lnTo>
                <a:lnTo>
                  <a:pt x="46" y="345"/>
                </a:lnTo>
                <a:lnTo>
                  <a:pt x="53" y="345"/>
                </a:lnTo>
                <a:lnTo>
                  <a:pt x="58" y="349"/>
                </a:lnTo>
                <a:lnTo>
                  <a:pt x="64" y="349"/>
                </a:lnTo>
                <a:lnTo>
                  <a:pt x="71" y="345"/>
                </a:lnTo>
                <a:lnTo>
                  <a:pt x="71" y="345"/>
                </a:lnTo>
                <a:lnTo>
                  <a:pt x="79" y="340"/>
                </a:lnTo>
                <a:lnTo>
                  <a:pt x="84" y="336"/>
                </a:lnTo>
                <a:lnTo>
                  <a:pt x="95" y="333"/>
                </a:lnTo>
                <a:lnTo>
                  <a:pt x="95" y="333"/>
                </a:lnTo>
                <a:lnTo>
                  <a:pt x="95" y="336"/>
                </a:lnTo>
                <a:lnTo>
                  <a:pt x="99" y="342"/>
                </a:lnTo>
                <a:lnTo>
                  <a:pt x="99" y="342"/>
                </a:lnTo>
                <a:lnTo>
                  <a:pt x="102" y="344"/>
                </a:lnTo>
                <a:lnTo>
                  <a:pt x="104" y="345"/>
                </a:lnTo>
                <a:lnTo>
                  <a:pt x="104" y="345"/>
                </a:lnTo>
                <a:lnTo>
                  <a:pt x="104" y="345"/>
                </a:lnTo>
                <a:lnTo>
                  <a:pt x="102" y="351"/>
                </a:lnTo>
                <a:lnTo>
                  <a:pt x="99" y="356"/>
                </a:lnTo>
                <a:lnTo>
                  <a:pt x="95" y="360"/>
                </a:lnTo>
                <a:lnTo>
                  <a:pt x="95" y="360"/>
                </a:lnTo>
                <a:lnTo>
                  <a:pt x="97" y="360"/>
                </a:lnTo>
                <a:lnTo>
                  <a:pt x="102" y="360"/>
                </a:lnTo>
                <a:lnTo>
                  <a:pt x="108" y="358"/>
                </a:lnTo>
                <a:lnTo>
                  <a:pt x="111" y="355"/>
                </a:lnTo>
                <a:lnTo>
                  <a:pt x="115" y="349"/>
                </a:lnTo>
                <a:lnTo>
                  <a:pt x="115" y="349"/>
                </a:lnTo>
                <a:lnTo>
                  <a:pt x="117" y="347"/>
                </a:lnTo>
                <a:lnTo>
                  <a:pt x="119" y="347"/>
                </a:lnTo>
                <a:lnTo>
                  <a:pt x="124" y="347"/>
                </a:lnTo>
                <a:lnTo>
                  <a:pt x="124" y="347"/>
                </a:lnTo>
                <a:lnTo>
                  <a:pt x="128" y="345"/>
                </a:lnTo>
                <a:lnTo>
                  <a:pt x="130" y="344"/>
                </a:lnTo>
                <a:lnTo>
                  <a:pt x="130" y="338"/>
                </a:lnTo>
                <a:lnTo>
                  <a:pt x="130" y="333"/>
                </a:lnTo>
                <a:lnTo>
                  <a:pt x="130" y="329"/>
                </a:lnTo>
                <a:lnTo>
                  <a:pt x="132" y="327"/>
                </a:lnTo>
                <a:lnTo>
                  <a:pt x="132" y="327"/>
                </a:lnTo>
                <a:lnTo>
                  <a:pt x="139" y="322"/>
                </a:lnTo>
                <a:lnTo>
                  <a:pt x="146" y="316"/>
                </a:lnTo>
                <a:lnTo>
                  <a:pt x="163" y="309"/>
                </a:lnTo>
                <a:lnTo>
                  <a:pt x="163" y="309"/>
                </a:lnTo>
                <a:lnTo>
                  <a:pt x="161" y="316"/>
                </a:lnTo>
                <a:lnTo>
                  <a:pt x="161" y="324"/>
                </a:lnTo>
                <a:lnTo>
                  <a:pt x="164" y="333"/>
                </a:lnTo>
                <a:lnTo>
                  <a:pt x="205" y="322"/>
                </a:lnTo>
                <a:lnTo>
                  <a:pt x="205" y="322"/>
                </a:lnTo>
                <a:lnTo>
                  <a:pt x="203" y="313"/>
                </a:lnTo>
                <a:lnTo>
                  <a:pt x="205" y="305"/>
                </a:lnTo>
                <a:lnTo>
                  <a:pt x="210" y="296"/>
                </a:lnTo>
                <a:lnTo>
                  <a:pt x="216" y="287"/>
                </a:lnTo>
                <a:lnTo>
                  <a:pt x="216" y="287"/>
                </a:lnTo>
                <a:lnTo>
                  <a:pt x="216" y="291"/>
                </a:lnTo>
                <a:lnTo>
                  <a:pt x="214" y="300"/>
                </a:lnTo>
                <a:lnTo>
                  <a:pt x="214" y="311"/>
                </a:lnTo>
                <a:lnTo>
                  <a:pt x="214" y="316"/>
                </a:lnTo>
                <a:lnTo>
                  <a:pt x="216" y="318"/>
                </a:lnTo>
                <a:lnTo>
                  <a:pt x="256" y="309"/>
                </a:lnTo>
                <a:lnTo>
                  <a:pt x="256" y="309"/>
                </a:lnTo>
                <a:lnTo>
                  <a:pt x="254" y="303"/>
                </a:lnTo>
                <a:lnTo>
                  <a:pt x="254" y="296"/>
                </a:lnTo>
                <a:lnTo>
                  <a:pt x="258" y="283"/>
                </a:lnTo>
                <a:lnTo>
                  <a:pt x="258" y="283"/>
                </a:lnTo>
                <a:lnTo>
                  <a:pt x="261" y="298"/>
                </a:lnTo>
                <a:lnTo>
                  <a:pt x="269" y="311"/>
                </a:lnTo>
                <a:lnTo>
                  <a:pt x="278" y="322"/>
                </a:lnTo>
                <a:lnTo>
                  <a:pt x="283" y="325"/>
                </a:lnTo>
                <a:lnTo>
                  <a:pt x="289" y="329"/>
                </a:lnTo>
                <a:lnTo>
                  <a:pt x="289" y="329"/>
                </a:lnTo>
                <a:lnTo>
                  <a:pt x="311" y="338"/>
                </a:lnTo>
                <a:lnTo>
                  <a:pt x="334" y="345"/>
                </a:lnTo>
                <a:lnTo>
                  <a:pt x="391" y="362"/>
                </a:lnTo>
                <a:lnTo>
                  <a:pt x="391" y="362"/>
                </a:lnTo>
                <a:lnTo>
                  <a:pt x="407" y="367"/>
                </a:lnTo>
                <a:lnTo>
                  <a:pt x="420" y="373"/>
                </a:lnTo>
                <a:lnTo>
                  <a:pt x="420" y="373"/>
                </a:lnTo>
                <a:lnTo>
                  <a:pt x="424" y="375"/>
                </a:lnTo>
                <a:lnTo>
                  <a:pt x="424" y="377"/>
                </a:lnTo>
                <a:lnTo>
                  <a:pt x="422" y="382"/>
                </a:lnTo>
                <a:lnTo>
                  <a:pt x="417" y="386"/>
                </a:lnTo>
                <a:lnTo>
                  <a:pt x="417" y="386"/>
                </a:lnTo>
                <a:lnTo>
                  <a:pt x="424" y="391"/>
                </a:lnTo>
                <a:lnTo>
                  <a:pt x="438" y="400"/>
                </a:lnTo>
                <a:lnTo>
                  <a:pt x="438" y="400"/>
                </a:lnTo>
                <a:lnTo>
                  <a:pt x="448" y="409"/>
                </a:lnTo>
                <a:lnTo>
                  <a:pt x="453" y="420"/>
                </a:lnTo>
                <a:lnTo>
                  <a:pt x="459" y="435"/>
                </a:lnTo>
                <a:lnTo>
                  <a:pt x="462" y="450"/>
                </a:lnTo>
                <a:lnTo>
                  <a:pt x="462" y="450"/>
                </a:lnTo>
                <a:lnTo>
                  <a:pt x="466" y="462"/>
                </a:lnTo>
                <a:lnTo>
                  <a:pt x="466" y="475"/>
                </a:lnTo>
                <a:lnTo>
                  <a:pt x="466" y="486"/>
                </a:lnTo>
                <a:lnTo>
                  <a:pt x="466" y="492"/>
                </a:lnTo>
                <a:lnTo>
                  <a:pt x="464" y="493"/>
                </a:lnTo>
                <a:lnTo>
                  <a:pt x="464" y="493"/>
                </a:lnTo>
                <a:lnTo>
                  <a:pt x="460" y="497"/>
                </a:lnTo>
                <a:lnTo>
                  <a:pt x="457" y="499"/>
                </a:lnTo>
                <a:lnTo>
                  <a:pt x="451" y="501"/>
                </a:lnTo>
                <a:lnTo>
                  <a:pt x="440" y="504"/>
                </a:lnTo>
                <a:lnTo>
                  <a:pt x="444" y="519"/>
                </a:lnTo>
                <a:lnTo>
                  <a:pt x="444" y="519"/>
                </a:lnTo>
                <a:lnTo>
                  <a:pt x="451" y="519"/>
                </a:lnTo>
                <a:lnTo>
                  <a:pt x="459" y="517"/>
                </a:lnTo>
                <a:lnTo>
                  <a:pt x="466" y="515"/>
                </a:lnTo>
                <a:lnTo>
                  <a:pt x="466" y="515"/>
                </a:lnTo>
                <a:lnTo>
                  <a:pt x="464" y="517"/>
                </a:lnTo>
                <a:lnTo>
                  <a:pt x="464" y="517"/>
                </a:lnTo>
                <a:lnTo>
                  <a:pt x="459" y="526"/>
                </a:lnTo>
                <a:lnTo>
                  <a:pt x="457" y="534"/>
                </a:lnTo>
                <a:lnTo>
                  <a:pt x="473" y="545"/>
                </a:lnTo>
                <a:lnTo>
                  <a:pt x="473" y="545"/>
                </a:lnTo>
                <a:lnTo>
                  <a:pt x="481" y="526"/>
                </a:lnTo>
                <a:lnTo>
                  <a:pt x="484" y="521"/>
                </a:lnTo>
                <a:lnTo>
                  <a:pt x="488" y="517"/>
                </a:lnTo>
                <a:lnTo>
                  <a:pt x="488" y="517"/>
                </a:lnTo>
                <a:lnTo>
                  <a:pt x="491" y="517"/>
                </a:lnTo>
                <a:lnTo>
                  <a:pt x="497" y="519"/>
                </a:lnTo>
                <a:lnTo>
                  <a:pt x="504" y="523"/>
                </a:lnTo>
                <a:lnTo>
                  <a:pt x="512" y="526"/>
                </a:lnTo>
                <a:lnTo>
                  <a:pt x="521" y="534"/>
                </a:lnTo>
                <a:lnTo>
                  <a:pt x="528" y="543"/>
                </a:lnTo>
                <a:lnTo>
                  <a:pt x="535" y="552"/>
                </a:lnTo>
                <a:lnTo>
                  <a:pt x="541" y="563"/>
                </a:lnTo>
                <a:lnTo>
                  <a:pt x="541" y="563"/>
                </a:lnTo>
                <a:lnTo>
                  <a:pt x="543" y="572"/>
                </a:lnTo>
                <a:lnTo>
                  <a:pt x="544" y="581"/>
                </a:lnTo>
                <a:lnTo>
                  <a:pt x="544" y="590"/>
                </a:lnTo>
                <a:lnTo>
                  <a:pt x="543" y="601"/>
                </a:lnTo>
                <a:lnTo>
                  <a:pt x="541" y="610"/>
                </a:lnTo>
                <a:lnTo>
                  <a:pt x="537" y="618"/>
                </a:lnTo>
                <a:lnTo>
                  <a:pt x="532" y="623"/>
                </a:lnTo>
                <a:lnTo>
                  <a:pt x="526" y="627"/>
                </a:lnTo>
                <a:lnTo>
                  <a:pt x="526" y="627"/>
                </a:lnTo>
                <a:lnTo>
                  <a:pt x="521" y="627"/>
                </a:lnTo>
                <a:lnTo>
                  <a:pt x="517" y="625"/>
                </a:lnTo>
                <a:lnTo>
                  <a:pt x="504" y="620"/>
                </a:lnTo>
                <a:lnTo>
                  <a:pt x="493" y="614"/>
                </a:lnTo>
                <a:lnTo>
                  <a:pt x="490" y="614"/>
                </a:lnTo>
                <a:lnTo>
                  <a:pt x="486" y="618"/>
                </a:lnTo>
                <a:lnTo>
                  <a:pt x="486" y="618"/>
                </a:lnTo>
                <a:lnTo>
                  <a:pt x="484" y="620"/>
                </a:lnTo>
                <a:lnTo>
                  <a:pt x="479" y="623"/>
                </a:lnTo>
                <a:lnTo>
                  <a:pt x="470" y="629"/>
                </a:lnTo>
                <a:lnTo>
                  <a:pt x="466" y="632"/>
                </a:lnTo>
                <a:lnTo>
                  <a:pt x="462" y="638"/>
                </a:lnTo>
                <a:lnTo>
                  <a:pt x="462" y="645"/>
                </a:lnTo>
                <a:lnTo>
                  <a:pt x="464" y="654"/>
                </a:lnTo>
                <a:lnTo>
                  <a:pt x="464" y="654"/>
                </a:lnTo>
                <a:lnTo>
                  <a:pt x="473" y="645"/>
                </a:lnTo>
                <a:lnTo>
                  <a:pt x="477" y="641"/>
                </a:lnTo>
                <a:lnTo>
                  <a:pt x="481" y="641"/>
                </a:lnTo>
                <a:lnTo>
                  <a:pt x="481" y="641"/>
                </a:lnTo>
                <a:lnTo>
                  <a:pt x="482" y="643"/>
                </a:lnTo>
                <a:lnTo>
                  <a:pt x="482" y="645"/>
                </a:lnTo>
                <a:lnTo>
                  <a:pt x="486" y="649"/>
                </a:lnTo>
                <a:lnTo>
                  <a:pt x="486" y="649"/>
                </a:lnTo>
                <a:lnTo>
                  <a:pt x="488" y="651"/>
                </a:lnTo>
                <a:lnTo>
                  <a:pt x="491" y="651"/>
                </a:lnTo>
                <a:lnTo>
                  <a:pt x="502" y="651"/>
                </a:lnTo>
                <a:lnTo>
                  <a:pt x="512" y="649"/>
                </a:lnTo>
                <a:lnTo>
                  <a:pt x="515" y="649"/>
                </a:lnTo>
                <a:lnTo>
                  <a:pt x="517" y="651"/>
                </a:lnTo>
                <a:lnTo>
                  <a:pt x="517" y="651"/>
                </a:lnTo>
                <a:lnTo>
                  <a:pt x="517" y="652"/>
                </a:lnTo>
                <a:lnTo>
                  <a:pt x="515" y="652"/>
                </a:lnTo>
                <a:lnTo>
                  <a:pt x="510" y="652"/>
                </a:lnTo>
                <a:lnTo>
                  <a:pt x="510" y="652"/>
                </a:lnTo>
                <a:lnTo>
                  <a:pt x="491" y="656"/>
                </a:lnTo>
                <a:lnTo>
                  <a:pt x="484" y="660"/>
                </a:lnTo>
                <a:lnTo>
                  <a:pt x="479" y="663"/>
                </a:lnTo>
                <a:lnTo>
                  <a:pt x="479" y="663"/>
                </a:lnTo>
                <a:lnTo>
                  <a:pt x="479" y="665"/>
                </a:lnTo>
                <a:lnTo>
                  <a:pt x="479" y="669"/>
                </a:lnTo>
                <a:lnTo>
                  <a:pt x="479" y="669"/>
                </a:lnTo>
                <a:lnTo>
                  <a:pt x="475" y="674"/>
                </a:lnTo>
                <a:lnTo>
                  <a:pt x="470" y="678"/>
                </a:lnTo>
                <a:lnTo>
                  <a:pt x="466" y="683"/>
                </a:lnTo>
                <a:lnTo>
                  <a:pt x="464" y="689"/>
                </a:lnTo>
                <a:lnTo>
                  <a:pt x="464" y="694"/>
                </a:lnTo>
                <a:lnTo>
                  <a:pt x="464" y="694"/>
                </a:lnTo>
                <a:lnTo>
                  <a:pt x="466" y="702"/>
                </a:lnTo>
                <a:lnTo>
                  <a:pt x="470" y="705"/>
                </a:lnTo>
                <a:lnTo>
                  <a:pt x="475" y="711"/>
                </a:lnTo>
                <a:lnTo>
                  <a:pt x="475" y="711"/>
                </a:lnTo>
                <a:lnTo>
                  <a:pt x="475" y="707"/>
                </a:lnTo>
                <a:lnTo>
                  <a:pt x="477" y="702"/>
                </a:lnTo>
                <a:lnTo>
                  <a:pt x="479" y="694"/>
                </a:lnTo>
                <a:lnTo>
                  <a:pt x="479" y="691"/>
                </a:lnTo>
                <a:lnTo>
                  <a:pt x="482" y="691"/>
                </a:lnTo>
                <a:lnTo>
                  <a:pt x="482" y="691"/>
                </a:lnTo>
                <a:lnTo>
                  <a:pt x="484" y="691"/>
                </a:lnTo>
                <a:lnTo>
                  <a:pt x="488" y="693"/>
                </a:lnTo>
                <a:lnTo>
                  <a:pt x="490" y="696"/>
                </a:lnTo>
                <a:lnTo>
                  <a:pt x="493" y="696"/>
                </a:lnTo>
                <a:lnTo>
                  <a:pt x="493" y="696"/>
                </a:lnTo>
                <a:lnTo>
                  <a:pt x="497" y="696"/>
                </a:lnTo>
                <a:lnTo>
                  <a:pt x="502" y="693"/>
                </a:lnTo>
                <a:lnTo>
                  <a:pt x="513" y="682"/>
                </a:lnTo>
                <a:lnTo>
                  <a:pt x="524" y="672"/>
                </a:lnTo>
                <a:lnTo>
                  <a:pt x="528" y="669"/>
                </a:lnTo>
                <a:lnTo>
                  <a:pt x="532" y="669"/>
                </a:lnTo>
                <a:lnTo>
                  <a:pt x="532" y="669"/>
                </a:lnTo>
                <a:lnTo>
                  <a:pt x="533" y="671"/>
                </a:lnTo>
                <a:lnTo>
                  <a:pt x="532" y="672"/>
                </a:lnTo>
                <a:lnTo>
                  <a:pt x="524" y="678"/>
                </a:lnTo>
                <a:lnTo>
                  <a:pt x="517" y="685"/>
                </a:lnTo>
                <a:lnTo>
                  <a:pt x="513" y="689"/>
                </a:lnTo>
                <a:lnTo>
                  <a:pt x="512" y="694"/>
                </a:lnTo>
                <a:lnTo>
                  <a:pt x="512" y="694"/>
                </a:lnTo>
                <a:lnTo>
                  <a:pt x="513" y="700"/>
                </a:lnTo>
                <a:lnTo>
                  <a:pt x="515" y="704"/>
                </a:lnTo>
                <a:lnTo>
                  <a:pt x="519" y="707"/>
                </a:lnTo>
                <a:lnTo>
                  <a:pt x="521" y="711"/>
                </a:lnTo>
                <a:lnTo>
                  <a:pt x="521" y="711"/>
                </a:lnTo>
                <a:lnTo>
                  <a:pt x="523" y="715"/>
                </a:lnTo>
                <a:lnTo>
                  <a:pt x="526" y="720"/>
                </a:lnTo>
                <a:lnTo>
                  <a:pt x="530" y="724"/>
                </a:lnTo>
                <a:lnTo>
                  <a:pt x="535" y="725"/>
                </a:lnTo>
                <a:lnTo>
                  <a:pt x="546" y="729"/>
                </a:lnTo>
                <a:lnTo>
                  <a:pt x="552" y="729"/>
                </a:lnTo>
                <a:lnTo>
                  <a:pt x="552" y="729"/>
                </a:lnTo>
                <a:lnTo>
                  <a:pt x="550" y="725"/>
                </a:lnTo>
                <a:lnTo>
                  <a:pt x="544" y="720"/>
                </a:lnTo>
                <a:lnTo>
                  <a:pt x="539" y="713"/>
                </a:lnTo>
                <a:lnTo>
                  <a:pt x="539" y="711"/>
                </a:lnTo>
                <a:lnTo>
                  <a:pt x="539" y="707"/>
                </a:lnTo>
                <a:lnTo>
                  <a:pt x="539" y="707"/>
                </a:lnTo>
                <a:lnTo>
                  <a:pt x="541" y="705"/>
                </a:lnTo>
                <a:lnTo>
                  <a:pt x="544" y="707"/>
                </a:lnTo>
                <a:lnTo>
                  <a:pt x="548" y="707"/>
                </a:lnTo>
                <a:lnTo>
                  <a:pt x="552" y="705"/>
                </a:lnTo>
                <a:lnTo>
                  <a:pt x="552" y="705"/>
                </a:lnTo>
                <a:lnTo>
                  <a:pt x="552" y="702"/>
                </a:lnTo>
                <a:lnTo>
                  <a:pt x="552" y="691"/>
                </a:lnTo>
                <a:lnTo>
                  <a:pt x="552" y="685"/>
                </a:lnTo>
                <a:lnTo>
                  <a:pt x="554" y="678"/>
                </a:lnTo>
                <a:lnTo>
                  <a:pt x="559" y="671"/>
                </a:lnTo>
                <a:lnTo>
                  <a:pt x="566" y="662"/>
                </a:lnTo>
                <a:lnTo>
                  <a:pt x="566" y="662"/>
                </a:lnTo>
                <a:lnTo>
                  <a:pt x="570" y="667"/>
                </a:lnTo>
                <a:lnTo>
                  <a:pt x="574" y="669"/>
                </a:lnTo>
                <a:lnTo>
                  <a:pt x="581" y="671"/>
                </a:lnTo>
                <a:lnTo>
                  <a:pt x="581" y="671"/>
                </a:lnTo>
                <a:lnTo>
                  <a:pt x="583" y="672"/>
                </a:lnTo>
                <a:lnTo>
                  <a:pt x="585" y="674"/>
                </a:lnTo>
                <a:lnTo>
                  <a:pt x="585" y="682"/>
                </a:lnTo>
                <a:lnTo>
                  <a:pt x="585" y="691"/>
                </a:lnTo>
                <a:lnTo>
                  <a:pt x="585" y="691"/>
                </a:lnTo>
                <a:lnTo>
                  <a:pt x="586" y="689"/>
                </a:lnTo>
                <a:lnTo>
                  <a:pt x="590" y="683"/>
                </a:lnTo>
                <a:lnTo>
                  <a:pt x="594" y="674"/>
                </a:lnTo>
                <a:lnTo>
                  <a:pt x="594" y="663"/>
                </a:lnTo>
                <a:lnTo>
                  <a:pt x="594" y="663"/>
                </a:lnTo>
                <a:lnTo>
                  <a:pt x="597" y="662"/>
                </a:lnTo>
                <a:lnTo>
                  <a:pt x="601" y="654"/>
                </a:lnTo>
                <a:lnTo>
                  <a:pt x="601" y="654"/>
                </a:lnTo>
                <a:lnTo>
                  <a:pt x="603" y="651"/>
                </a:lnTo>
                <a:lnTo>
                  <a:pt x="601" y="649"/>
                </a:lnTo>
                <a:lnTo>
                  <a:pt x="596" y="643"/>
                </a:lnTo>
                <a:lnTo>
                  <a:pt x="594" y="640"/>
                </a:lnTo>
                <a:lnTo>
                  <a:pt x="592" y="634"/>
                </a:lnTo>
                <a:lnTo>
                  <a:pt x="590" y="625"/>
                </a:lnTo>
                <a:lnTo>
                  <a:pt x="590" y="614"/>
                </a:lnTo>
                <a:lnTo>
                  <a:pt x="590" y="614"/>
                </a:lnTo>
                <a:lnTo>
                  <a:pt x="590" y="610"/>
                </a:lnTo>
                <a:lnTo>
                  <a:pt x="588" y="609"/>
                </a:lnTo>
                <a:lnTo>
                  <a:pt x="583" y="605"/>
                </a:lnTo>
                <a:lnTo>
                  <a:pt x="583" y="605"/>
                </a:lnTo>
                <a:lnTo>
                  <a:pt x="579" y="599"/>
                </a:lnTo>
                <a:lnTo>
                  <a:pt x="579" y="598"/>
                </a:lnTo>
                <a:lnTo>
                  <a:pt x="581" y="598"/>
                </a:lnTo>
                <a:lnTo>
                  <a:pt x="581" y="598"/>
                </a:lnTo>
                <a:lnTo>
                  <a:pt x="588" y="599"/>
                </a:lnTo>
                <a:lnTo>
                  <a:pt x="596" y="599"/>
                </a:lnTo>
                <a:lnTo>
                  <a:pt x="603" y="598"/>
                </a:lnTo>
                <a:lnTo>
                  <a:pt x="603" y="598"/>
                </a:lnTo>
                <a:lnTo>
                  <a:pt x="603" y="576"/>
                </a:lnTo>
                <a:lnTo>
                  <a:pt x="605" y="565"/>
                </a:lnTo>
                <a:lnTo>
                  <a:pt x="603" y="559"/>
                </a:lnTo>
                <a:lnTo>
                  <a:pt x="603" y="559"/>
                </a:lnTo>
                <a:lnTo>
                  <a:pt x="596" y="559"/>
                </a:lnTo>
                <a:lnTo>
                  <a:pt x="588" y="557"/>
                </a:lnTo>
                <a:lnTo>
                  <a:pt x="585" y="556"/>
                </a:lnTo>
                <a:lnTo>
                  <a:pt x="581" y="552"/>
                </a:lnTo>
                <a:lnTo>
                  <a:pt x="581" y="552"/>
                </a:lnTo>
                <a:lnTo>
                  <a:pt x="586" y="552"/>
                </a:lnTo>
                <a:lnTo>
                  <a:pt x="594" y="552"/>
                </a:lnTo>
                <a:lnTo>
                  <a:pt x="599" y="552"/>
                </a:lnTo>
                <a:lnTo>
                  <a:pt x="603" y="548"/>
                </a:lnTo>
                <a:lnTo>
                  <a:pt x="603" y="548"/>
                </a:lnTo>
                <a:lnTo>
                  <a:pt x="603" y="530"/>
                </a:lnTo>
                <a:lnTo>
                  <a:pt x="601" y="517"/>
                </a:lnTo>
                <a:lnTo>
                  <a:pt x="601" y="514"/>
                </a:lnTo>
                <a:lnTo>
                  <a:pt x="599" y="512"/>
                </a:lnTo>
                <a:lnTo>
                  <a:pt x="599" y="512"/>
                </a:lnTo>
                <a:lnTo>
                  <a:pt x="592" y="514"/>
                </a:lnTo>
                <a:lnTo>
                  <a:pt x="586" y="514"/>
                </a:lnTo>
                <a:lnTo>
                  <a:pt x="581" y="512"/>
                </a:lnTo>
                <a:lnTo>
                  <a:pt x="576" y="510"/>
                </a:lnTo>
                <a:lnTo>
                  <a:pt x="576" y="510"/>
                </a:lnTo>
                <a:lnTo>
                  <a:pt x="574" y="508"/>
                </a:lnTo>
                <a:lnTo>
                  <a:pt x="572" y="504"/>
                </a:lnTo>
                <a:lnTo>
                  <a:pt x="572" y="499"/>
                </a:lnTo>
                <a:lnTo>
                  <a:pt x="570" y="495"/>
                </a:lnTo>
                <a:lnTo>
                  <a:pt x="570" y="493"/>
                </a:lnTo>
                <a:lnTo>
                  <a:pt x="568" y="492"/>
                </a:lnTo>
                <a:lnTo>
                  <a:pt x="568" y="492"/>
                </a:lnTo>
                <a:lnTo>
                  <a:pt x="557" y="488"/>
                </a:lnTo>
                <a:lnTo>
                  <a:pt x="546" y="482"/>
                </a:lnTo>
                <a:lnTo>
                  <a:pt x="541" y="477"/>
                </a:lnTo>
                <a:lnTo>
                  <a:pt x="535" y="473"/>
                </a:lnTo>
                <a:lnTo>
                  <a:pt x="535" y="473"/>
                </a:lnTo>
                <a:lnTo>
                  <a:pt x="532" y="468"/>
                </a:lnTo>
                <a:lnTo>
                  <a:pt x="532" y="462"/>
                </a:lnTo>
                <a:lnTo>
                  <a:pt x="532" y="459"/>
                </a:lnTo>
                <a:lnTo>
                  <a:pt x="532" y="459"/>
                </a:lnTo>
                <a:lnTo>
                  <a:pt x="541" y="462"/>
                </a:lnTo>
                <a:lnTo>
                  <a:pt x="544" y="462"/>
                </a:lnTo>
                <a:lnTo>
                  <a:pt x="550" y="461"/>
                </a:lnTo>
                <a:lnTo>
                  <a:pt x="552" y="431"/>
                </a:lnTo>
                <a:lnTo>
                  <a:pt x="552" y="431"/>
                </a:lnTo>
                <a:lnTo>
                  <a:pt x="548" y="431"/>
                </a:lnTo>
                <a:lnTo>
                  <a:pt x="541" y="430"/>
                </a:lnTo>
                <a:lnTo>
                  <a:pt x="541" y="430"/>
                </a:lnTo>
                <a:lnTo>
                  <a:pt x="537" y="426"/>
                </a:lnTo>
                <a:lnTo>
                  <a:pt x="533" y="422"/>
                </a:lnTo>
                <a:lnTo>
                  <a:pt x="532" y="419"/>
                </a:lnTo>
                <a:lnTo>
                  <a:pt x="532" y="419"/>
                </a:lnTo>
                <a:lnTo>
                  <a:pt x="535" y="420"/>
                </a:lnTo>
                <a:lnTo>
                  <a:pt x="543" y="422"/>
                </a:lnTo>
                <a:lnTo>
                  <a:pt x="543" y="422"/>
                </a:lnTo>
                <a:lnTo>
                  <a:pt x="550" y="422"/>
                </a:lnTo>
                <a:lnTo>
                  <a:pt x="554" y="420"/>
                </a:lnTo>
                <a:lnTo>
                  <a:pt x="557" y="387"/>
                </a:lnTo>
                <a:lnTo>
                  <a:pt x="557" y="387"/>
                </a:lnTo>
                <a:lnTo>
                  <a:pt x="552" y="387"/>
                </a:lnTo>
                <a:lnTo>
                  <a:pt x="546" y="386"/>
                </a:lnTo>
                <a:lnTo>
                  <a:pt x="541" y="384"/>
                </a:lnTo>
                <a:lnTo>
                  <a:pt x="539" y="378"/>
                </a:lnTo>
                <a:lnTo>
                  <a:pt x="539" y="377"/>
                </a:lnTo>
                <a:lnTo>
                  <a:pt x="539" y="377"/>
                </a:lnTo>
                <a:lnTo>
                  <a:pt x="552" y="373"/>
                </a:lnTo>
                <a:lnTo>
                  <a:pt x="563" y="367"/>
                </a:lnTo>
                <a:lnTo>
                  <a:pt x="572" y="360"/>
                </a:lnTo>
                <a:lnTo>
                  <a:pt x="579" y="353"/>
                </a:lnTo>
                <a:lnTo>
                  <a:pt x="586" y="344"/>
                </a:lnTo>
                <a:lnTo>
                  <a:pt x="592" y="333"/>
                </a:lnTo>
                <a:lnTo>
                  <a:pt x="597" y="324"/>
                </a:lnTo>
                <a:lnTo>
                  <a:pt x="599" y="313"/>
                </a:lnTo>
                <a:lnTo>
                  <a:pt x="599" y="313"/>
                </a:lnTo>
                <a:lnTo>
                  <a:pt x="608" y="316"/>
                </a:lnTo>
                <a:lnTo>
                  <a:pt x="614" y="316"/>
                </a:lnTo>
                <a:lnTo>
                  <a:pt x="618" y="316"/>
                </a:lnTo>
                <a:lnTo>
                  <a:pt x="618" y="316"/>
                </a:lnTo>
                <a:lnTo>
                  <a:pt x="619" y="303"/>
                </a:lnTo>
                <a:lnTo>
                  <a:pt x="619" y="289"/>
                </a:lnTo>
                <a:lnTo>
                  <a:pt x="619" y="289"/>
                </a:lnTo>
                <a:lnTo>
                  <a:pt x="610" y="287"/>
                </a:lnTo>
                <a:lnTo>
                  <a:pt x="607" y="285"/>
                </a:lnTo>
                <a:lnTo>
                  <a:pt x="603" y="28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pic>
        <p:nvPicPr>
          <p:cNvPr id="53" name="Picture 3">
            <a:extLst>
              <a:ext uri="{FF2B5EF4-FFF2-40B4-BE49-F238E27FC236}">
                <a16:creationId xmlns:a16="http://schemas.microsoft.com/office/drawing/2014/main" id="{F1689B57-8BAA-BF42-B648-10782572357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04249" y="4443959"/>
            <a:ext cx="2088034" cy="397877"/>
          </a:xfrm>
          <a:prstGeom prst="rect">
            <a:avLst/>
          </a:prstGeom>
        </p:spPr>
      </p:pic>
      <p:pic>
        <p:nvPicPr>
          <p:cNvPr id="55" name="Picture 5">
            <a:extLst>
              <a:ext uri="{FF2B5EF4-FFF2-40B4-BE49-F238E27FC236}">
                <a16:creationId xmlns:a16="http://schemas.microsoft.com/office/drawing/2014/main" id="{4F591584-9FCE-5A4F-A985-77C337C3AB8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604449" y="235341"/>
            <a:ext cx="305495" cy="419486"/>
          </a:xfrm>
          <a:prstGeom prst="rect">
            <a:avLst/>
          </a:prstGeom>
        </p:spPr>
      </p:pic>
    </p:spTree>
    <p:extLst>
      <p:ext uri="{BB962C8B-B14F-4D97-AF65-F5344CB8AC3E}">
        <p14:creationId xmlns:p14="http://schemas.microsoft.com/office/powerpoint/2010/main" val="171443963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8_Väliotsikko">
    <p:spTree>
      <p:nvGrpSpPr>
        <p:cNvPr id="1" name=""/>
        <p:cNvGrpSpPr/>
        <p:nvPr/>
      </p:nvGrpSpPr>
      <p:grpSpPr>
        <a:xfrm>
          <a:off x="0" y="0"/>
          <a:ext cx="0" cy="0"/>
          <a:chOff x="0" y="0"/>
          <a:chExt cx="0" cy="0"/>
        </a:xfrm>
      </p:grpSpPr>
      <p:pic>
        <p:nvPicPr>
          <p:cNvPr id="2" name="Kuva 1"/>
          <p:cNvPicPr>
            <a:picLocks noChangeAspect="1"/>
          </p:cNvPicPr>
          <p:nvPr userDrawn="1"/>
        </p:nvPicPr>
        <p:blipFill rotWithShape="1">
          <a:blip r:embed="rId2" cstate="print">
            <a:extLst>
              <a:ext uri="{28A0092B-C50C-407E-A947-70E740481C1C}">
                <a14:useLocalDpi xmlns:a14="http://schemas.microsoft.com/office/drawing/2010/main" val="0"/>
              </a:ext>
            </a:extLst>
          </a:blip>
          <a:srcRect t="7474" r="42978"/>
          <a:stretch/>
        </p:blipFill>
        <p:spPr>
          <a:xfrm>
            <a:off x="4355977" y="-20538"/>
            <a:ext cx="4824536" cy="5163047"/>
          </a:xfrm>
          <a:prstGeom prst="rect">
            <a:avLst/>
          </a:prstGeom>
        </p:spPr>
      </p:pic>
      <p:sp>
        <p:nvSpPr>
          <p:cNvPr id="51" name="Rectangle 50"/>
          <p:cNvSpPr/>
          <p:nvPr userDrawn="1"/>
        </p:nvSpPr>
        <p:spPr>
          <a:xfrm rot="10800000" flipV="1">
            <a:off x="-10666" y="-21804"/>
            <a:ext cx="4582667" cy="5165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a:p>
        </p:txBody>
      </p:sp>
      <p:sp>
        <p:nvSpPr>
          <p:cNvPr id="58" name="Rectangle 57"/>
          <p:cNvSpPr/>
          <p:nvPr userDrawn="1"/>
        </p:nvSpPr>
        <p:spPr>
          <a:xfrm rot="10800000" flipV="1">
            <a:off x="4427983" y="-21804"/>
            <a:ext cx="4714430" cy="5165302"/>
          </a:xfrm>
          <a:prstGeom prst="rect">
            <a:avLst/>
          </a:prstGeom>
          <a:solidFill>
            <a:schemeClr val="accent4">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a:p>
        </p:txBody>
      </p:sp>
      <p:sp>
        <p:nvSpPr>
          <p:cNvPr id="54" name="Freeform 7"/>
          <p:cNvSpPr>
            <a:spLocks/>
          </p:cNvSpPr>
          <p:nvPr userDrawn="1"/>
        </p:nvSpPr>
        <p:spPr bwMode="auto">
          <a:xfrm rot="10800000" flipV="1">
            <a:off x="3392895" y="-21803"/>
            <a:ext cx="4279900" cy="5165302"/>
          </a:xfrm>
          <a:custGeom>
            <a:avLst/>
            <a:gdLst>
              <a:gd name="T0" fmla="*/ 2425 w 2696"/>
              <a:gd name="T1" fmla="*/ 3240 h 3240"/>
              <a:gd name="T2" fmla="*/ 2398 w 2696"/>
              <a:gd name="T3" fmla="*/ 3171 h 3240"/>
              <a:gd name="T4" fmla="*/ 2372 w 2696"/>
              <a:gd name="T5" fmla="*/ 3103 h 3240"/>
              <a:gd name="T6" fmla="*/ 2325 w 2696"/>
              <a:gd name="T7" fmla="*/ 2966 h 3240"/>
              <a:gd name="T8" fmla="*/ 2283 w 2696"/>
              <a:gd name="T9" fmla="*/ 2828 h 3240"/>
              <a:gd name="T10" fmla="*/ 2248 w 2696"/>
              <a:gd name="T11" fmla="*/ 2689 h 3240"/>
              <a:gd name="T12" fmla="*/ 2219 w 2696"/>
              <a:gd name="T13" fmla="*/ 2550 h 3240"/>
              <a:gd name="T14" fmla="*/ 2196 w 2696"/>
              <a:gd name="T15" fmla="*/ 2411 h 3240"/>
              <a:gd name="T16" fmla="*/ 2178 w 2696"/>
              <a:gd name="T17" fmla="*/ 2273 h 3240"/>
              <a:gd name="T18" fmla="*/ 2164 w 2696"/>
              <a:gd name="T19" fmla="*/ 2133 h 3240"/>
              <a:gd name="T20" fmla="*/ 2157 w 2696"/>
              <a:gd name="T21" fmla="*/ 1995 h 3240"/>
              <a:gd name="T22" fmla="*/ 2156 w 2696"/>
              <a:gd name="T23" fmla="*/ 1856 h 3240"/>
              <a:gd name="T24" fmla="*/ 2160 w 2696"/>
              <a:gd name="T25" fmla="*/ 1718 h 3240"/>
              <a:gd name="T26" fmla="*/ 2170 w 2696"/>
              <a:gd name="T27" fmla="*/ 1581 h 3240"/>
              <a:gd name="T28" fmla="*/ 2183 w 2696"/>
              <a:gd name="T29" fmla="*/ 1445 h 3240"/>
              <a:gd name="T30" fmla="*/ 2203 w 2696"/>
              <a:gd name="T31" fmla="*/ 1310 h 3240"/>
              <a:gd name="T32" fmla="*/ 2228 w 2696"/>
              <a:gd name="T33" fmla="*/ 1175 h 3240"/>
              <a:gd name="T34" fmla="*/ 2259 w 2696"/>
              <a:gd name="T35" fmla="*/ 1042 h 3240"/>
              <a:gd name="T36" fmla="*/ 2274 w 2696"/>
              <a:gd name="T37" fmla="*/ 977 h 3240"/>
              <a:gd name="T38" fmla="*/ 2313 w 2696"/>
              <a:gd name="T39" fmla="*/ 845 h 3240"/>
              <a:gd name="T40" fmla="*/ 2354 w 2696"/>
              <a:gd name="T41" fmla="*/ 716 h 3240"/>
              <a:gd name="T42" fmla="*/ 2400 w 2696"/>
              <a:gd name="T43" fmla="*/ 590 h 3240"/>
              <a:gd name="T44" fmla="*/ 2452 w 2696"/>
              <a:gd name="T45" fmla="*/ 466 h 3240"/>
              <a:gd name="T46" fmla="*/ 2507 w 2696"/>
              <a:gd name="T47" fmla="*/ 345 h 3240"/>
              <a:gd name="T48" fmla="*/ 2566 w 2696"/>
              <a:gd name="T49" fmla="*/ 227 h 3240"/>
              <a:gd name="T50" fmla="*/ 2630 w 2696"/>
              <a:gd name="T51" fmla="*/ 113 h 3240"/>
              <a:gd name="T52" fmla="*/ 2696 w 2696"/>
              <a:gd name="T53" fmla="*/ 0 h 3240"/>
              <a:gd name="T54" fmla="*/ 0 w 2696"/>
              <a:gd name="T55" fmla="*/ 0 h 3240"/>
              <a:gd name="T56" fmla="*/ 72 w 2696"/>
              <a:gd name="T57" fmla="*/ 207 h 3240"/>
              <a:gd name="T58" fmla="*/ 150 w 2696"/>
              <a:gd name="T59" fmla="*/ 414 h 3240"/>
              <a:gd name="T60" fmla="*/ 187 w 2696"/>
              <a:gd name="T61" fmla="*/ 510 h 3240"/>
              <a:gd name="T62" fmla="*/ 266 w 2696"/>
              <a:gd name="T63" fmla="*/ 701 h 3240"/>
              <a:gd name="T64" fmla="*/ 349 w 2696"/>
              <a:gd name="T65" fmla="*/ 890 h 3240"/>
              <a:gd name="T66" fmla="*/ 436 w 2696"/>
              <a:gd name="T67" fmla="*/ 1077 h 3240"/>
              <a:gd name="T68" fmla="*/ 527 w 2696"/>
              <a:gd name="T69" fmla="*/ 1262 h 3240"/>
              <a:gd name="T70" fmla="*/ 622 w 2696"/>
              <a:gd name="T71" fmla="*/ 1446 h 3240"/>
              <a:gd name="T72" fmla="*/ 722 w 2696"/>
              <a:gd name="T73" fmla="*/ 1627 h 3240"/>
              <a:gd name="T74" fmla="*/ 826 w 2696"/>
              <a:gd name="T75" fmla="*/ 1807 h 3240"/>
              <a:gd name="T76" fmla="*/ 934 w 2696"/>
              <a:gd name="T77" fmla="*/ 1983 h 3240"/>
              <a:gd name="T78" fmla="*/ 1046 w 2696"/>
              <a:gd name="T79" fmla="*/ 2159 h 3240"/>
              <a:gd name="T80" fmla="*/ 1162 w 2696"/>
              <a:gd name="T81" fmla="*/ 2332 h 3240"/>
              <a:gd name="T82" fmla="*/ 1282 w 2696"/>
              <a:gd name="T83" fmla="*/ 2503 h 3240"/>
              <a:gd name="T84" fmla="*/ 1406 w 2696"/>
              <a:gd name="T85" fmla="*/ 2671 h 3240"/>
              <a:gd name="T86" fmla="*/ 1535 w 2696"/>
              <a:gd name="T87" fmla="*/ 2837 h 3240"/>
              <a:gd name="T88" fmla="*/ 1667 w 2696"/>
              <a:gd name="T89" fmla="*/ 3000 h 3240"/>
              <a:gd name="T90" fmla="*/ 1804 w 2696"/>
              <a:gd name="T91" fmla="*/ 3160 h 3240"/>
              <a:gd name="T92" fmla="*/ 1874 w 2696"/>
              <a:gd name="T93" fmla="*/ 3240 h 3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96" h="3240">
                <a:moveTo>
                  <a:pt x="1874" y="3240"/>
                </a:moveTo>
                <a:lnTo>
                  <a:pt x="2425" y="3240"/>
                </a:lnTo>
                <a:lnTo>
                  <a:pt x="2425" y="3240"/>
                </a:lnTo>
                <a:lnTo>
                  <a:pt x="2398" y="3171"/>
                </a:lnTo>
                <a:lnTo>
                  <a:pt x="2398" y="3171"/>
                </a:lnTo>
                <a:lnTo>
                  <a:pt x="2372" y="3103"/>
                </a:lnTo>
                <a:lnTo>
                  <a:pt x="2347" y="3034"/>
                </a:lnTo>
                <a:lnTo>
                  <a:pt x="2325" y="2966"/>
                </a:lnTo>
                <a:lnTo>
                  <a:pt x="2304" y="2897"/>
                </a:lnTo>
                <a:lnTo>
                  <a:pt x="2283" y="2828"/>
                </a:lnTo>
                <a:lnTo>
                  <a:pt x="2265" y="2759"/>
                </a:lnTo>
                <a:lnTo>
                  <a:pt x="2248" y="2689"/>
                </a:lnTo>
                <a:lnTo>
                  <a:pt x="2233" y="2620"/>
                </a:lnTo>
                <a:lnTo>
                  <a:pt x="2219" y="2550"/>
                </a:lnTo>
                <a:lnTo>
                  <a:pt x="2207" y="2481"/>
                </a:lnTo>
                <a:lnTo>
                  <a:pt x="2196" y="2411"/>
                </a:lnTo>
                <a:lnTo>
                  <a:pt x="2185" y="2342"/>
                </a:lnTo>
                <a:lnTo>
                  <a:pt x="2178" y="2273"/>
                </a:lnTo>
                <a:lnTo>
                  <a:pt x="2170" y="2203"/>
                </a:lnTo>
                <a:lnTo>
                  <a:pt x="2164" y="2133"/>
                </a:lnTo>
                <a:lnTo>
                  <a:pt x="2161" y="2063"/>
                </a:lnTo>
                <a:lnTo>
                  <a:pt x="2157" y="1995"/>
                </a:lnTo>
                <a:lnTo>
                  <a:pt x="2156" y="1925"/>
                </a:lnTo>
                <a:lnTo>
                  <a:pt x="2156" y="1856"/>
                </a:lnTo>
                <a:lnTo>
                  <a:pt x="2157" y="1787"/>
                </a:lnTo>
                <a:lnTo>
                  <a:pt x="2160" y="1718"/>
                </a:lnTo>
                <a:lnTo>
                  <a:pt x="2164" y="1649"/>
                </a:lnTo>
                <a:lnTo>
                  <a:pt x="2170" y="1581"/>
                </a:lnTo>
                <a:lnTo>
                  <a:pt x="2175" y="1513"/>
                </a:lnTo>
                <a:lnTo>
                  <a:pt x="2183" y="1445"/>
                </a:lnTo>
                <a:lnTo>
                  <a:pt x="2193" y="1377"/>
                </a:lnTo>
                <a:lnTo>
                  <a:pt x="2203" y="1310"/>
                </a:lnTo>
                <a:lnTo>
                  <a:pt x="2215" y="1242"/>
                </a:lnTo>
                <a:lnTo>
                  <a:pt x="2228" y="1175"/>
                </a:lnTo>
                <a:lnTo>
                  <a:pt x="2243" y="1108"/>
                </a:lnTo>
                <a:lnTo>
                  <a:pt x="2259" y="1042"/>
                </a:lnTo>
                <a:lnTo>
                  <a:pt x="2274" y="977"/>
                </a:lnTo>
                <a:lnTo>
                  <a:pt x="2274" y="977"/>
                </a:lnTo>
                <a:lnTo>
                  <a:pt x="2293" y="910"/>
                </a:lnTo>
                <a:lnTo>
                  <a:pt x="2313" y="845"/>
                </a:lnTo>
                <a:lnTo>
                  <a:pt x="2333" y="780"/>
                </a:lnTo>
                <a:lnTo>
                  <a:pt x="2354" y="716"/>
                </a:lnTo>
                <a:lnTo>
                  <a:pt x="2377" y="653"/>
                </a:lnTo>
                <a:lnTo>
                  <a:pt x="2400" y="590"/>
                </a:lnTo>
                <a:lnTo>
                  <a:pt x="2426" y="528"/>
                </a:lnTo>
                <a:lnTo>
                  <a:pt x="2452" y="466"/>
                </a:lnTo>
                <a:lnTo>
                  <a:pt x="2479" y="405"/>
                </a:lnTo>
                <a:lnTo>
                  <a:pt x="2507" y="345"/>
                </a:lnTo>
                <a:lnTo>
                  <a:pt x="2536" y="286"/>
                </a:lnTo>
                <a:lnTo>
                  <a:pt x="2566" y="227"/>
                </a:lnTo>
                <a:lnTo>
                  <a:pt x="2597" y="169"/>
                </a:lnTo>
                <a:lnTo>
                  <a:pt x="2630" y="113"/>
                </a:lnTo>
                <a:lnTo>
                  <a:pt x="2662" y="55"/>
                </a:lnTo>
                <a:lnTo>
                  <a:pt x="2696" y="0"/>
                </a:lnTo>
                <a:lnTo>
                  <a:pt x="0" y="0"/>
                </a:lnTo>
                <a:lnTo>
                  <a:pt x="0" y="0"/>
                </a:lnTo>
                <a:lnTo>
                  <a:pt x="35" y="104"/>
                </a:lnTo>
                <a:lnTo>
                  <a:pt x="72" y="207"/>
                </a:lnTo>
                <a:lnTo>
                  <a:pt x="111" y="311"/>
                </a:lnTo>
                <a:lnTo>
                  <a:pt x="150" y="414"/>
                </a:lnTo>
                <a:lnTo>
                  <a:pt x="150" y="414"/>
                </a:lnTo>
                <a:lnTo>
                  <a:pt x="187" y="510"/>
                </a:lnTo>
                <a:lnTo>
                  <a:pt x="226" y="605"/>
                </a:lnTo>
                <a:lnTo>
                  <a:pt x="266" y="701"/>
                </a:lnTo>
                <a:lnTo>
                  <a:pt x="306" y="795"/>
                </a:lnTo>
                <a:lnTo>
                  <a:pt x="349" y="890"/>
                </a:lnTo>
                <a:lnTo>
                  <a:pt x="392" y="983"/>
                </a:lnTo>
                <a:lnTo>
                  <a:pt x="436" y="1077"/>
                </a:lnTo>
                <a:lnTo>
                  <a:pt x="481" y="1169"/>
                </a:lnTo>
                <a:lnTo>
                  <a:pt x="527" y="1262"/>
                </a:lnTo>
                <a:lnTo>
                  <a:pt x="574" y="1353"/>
                </a:lnTo>
                <a:lnTo>
                  <a:pt x="622" y="1446"/>
                </a:lnTo>
                <a:lnTo>
                  <a:pt x="672" y="1537"/>
                </a:lnTo>
                <a:lnTo>
                  <a:pt x="722" y="1627"/>
                </a:lnTo>
                <a:lnTo>
                  <a:pt x="773" y="1717"/>
                </a:lnTo>
                <a:lnTo>
                  <a:pt x="826" y="1807"/>
                </a:lnTo>
                <a:lnTo>
                  <a:pt x="879" y="1896"/>
                </a:lnTo>
                <a:lnTo>
                  <a:pt x="934" y="1983"/>
                </a:lnTo>
                <a:lnTo>
                  <a:pt x="989" y="2072"/>
                </a:lnTo>
                <a:lnTo>
                  <a:pt x="1046" y="2159"/>
                </a:lnTo>
                <a:lnTo>
                  <a:pt x="1104" y="2246"/>
                </a:lnTo>
                <a:lnTo>
                  <a:pt x="1162" y="2332"/>
                </a:lnTo>
                <a:lnTo>
                  <a:pt x="1222" y="2418"/>
                </a:lnTo>
                <a:lnTo>
                  <a:pt x="1282" y="2503"/>
                </a:lnTo>
                <a:lnTo>
                  <a:pt x="1344" y="2588"/>
                </a:lnTo>
                <a:lnTo>
                  <a:pt x="1406" y="2671"/>
                </a:lnTo>
                <a:lnTo>
                  <a:pt x="1470" y="2754"/>
                </a:lnTo>
                <a:lnTo>
                  <a:pt x="1535" y="2837"/>
                </a:lnTo>
                <a:lnTo>
                  <a:pt x="1601" y="2918"/>
                </a:lnTo>
                <a:lnTo>
                  <a:pt x="1667" y="3000"/>
                </a:lnTo>
                <a:lnTo>
                  <a:pt x="1736" y="3080"/>
                </a:lnTo>
                <a:lnTo>
                  <a:pt x="1804" y="3160"/>
                </a:lnTo>
                <a:lnTo>
                  <a:pt x="1874" y="3240"/>
                </a:lnTo>
                <a:lnTo>
                  <a:pt x="1874" y="3240"/>
                </a:lnTo>
                <a:close/>
              </a:path>
            </a:pathLst>
          </a:custGeom>
          <a:solidFill>
            <a:srgbClr val="EA006F"/>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10" name="Otsikko 1"/>
          <p:cNvSpPr>
            <a:spLocks noGrp="1"/>
          </p:cNvSpPr>
          <p:nvPr userDrawn="1">
            <p:ph type="ctrTitle"/>
          </p:nvPr>
        </p:nvSpPr>
        <p:spPr>
          <a:xfrm>
            <a:off x="366652" y="411510"/>
            <a:ext cx="3485269" cy="2967062"/>
          </a:xfrm>
        </p:spPr>
        <p:txBody>
          <a:bodyPr anchor="b" anchorCtr="0">
            <a:noAutofit/>
          </a:bodyPr>
          <a:lstStyle>
            <a:lvl1pPr algn="l">
              <a:defRPr sz="4000">
                <a:solidFill>
                  <a:schemeClr val="accent4"/>
                </a:solidFill>
              </a:defRPr>
            </a:lvl1pPr>
          </a:lstStyle>
          <a:p>
            <a:r>
              <a:rPr lang="en-US" dirty="0"/>
              <a:t>Click to edit Master title style</a:t>
            </a:r>
            <a:endParaRPr lang="fi-FI" dirty="0"/>
          </a:p>
        </p:txBody>
      </p:sp>
      <p:sp>
        <p:nvSpPr>
          <p:cNvPr id="11" name="Alaotsikko 2"/>
          <p:cNvSpPr>
            <a:spLocks noGrp="1"/>
          </p:cNvSpPr>
          <p:nvPr userDrawn="1">
            <p:ph type="subTitle" idx="1"/>
          </p:nvPr>
        </p:nvSpPr>
        <p:spPr>
          <a:xfrm>
            <a:off x="366652" y="3507854"/>
            <a:ext cx="3485270" cy="1512168"/>
          </a:xfrm>
        </p:spPr>
        <p:txBody>
          <a:bodyPr>
            <a:normAutofit/>
          </a:bodyPr>
          <a:lstStyle>
            <a:lvl1pPr marL="0" indent="0" algn="l">
              <a:spcBef>
                <a:spcPts val="0"/>
              </a:spcBef>
              <a:buNone/>
              <a:defRPr sz="1800">
                <a:solidFill>
                  <a:srgbClr val="595965"/>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endParaRPr lang="fi-FI" dirty="0"/>
          </a:p>
        </p:txBody>
      </p:sp>
      <p:sp>
        <p:nvSpPr>
          <p:cNvPr id="32" name="Freeform 30"/>
          <p:cNvSpPr>
            <a:spLocks/>
          </p:cNvSpPr>
          <p:nvPr userDrawn="1"/>
        </p:nvSpPr>
        <p:spPr bwMode="auto">
          <a:xfrm>
            <a:off x="7331075" y="1931691"/>
            <a:ext cx="371475" cy="98425"/>
          </a:xfrm>
          <a:custGeom>
            <a:avLst/>
            <a:gdLst>
              <a:gd name="T0" fmla="*/ 87 w 2807"/>
              <a:gd name="T1" fmla="*/ 343 h 743"/>
              <a:gd name="T2" fmla="*/ 203 w 2807"/>
              <a:gd name="T3" fmla="*/ 417 h 743"/>
              <a:gd name="T4" fmla="*/ 319 w 2807"/>
              <a:gd name="T5" fmla="*/ 479 h 743"/>
              <a:gd name="T6" fmla="*/ 430 w 2807"/>
              <a:gd name="T7" fmla="*/ 529 h 743"/>
              <a:gd name="T8" fmla="*/ 603 w 2807"/>
              <a:gd name="T9" fmla="*/ 595 h 743"/>
              <a:gd name="T10" fmla="*/ 724 w 2807"/>
              <a:gd name="T11" fmla="*/ 633 h 743"/>
              <a:gd name="T12" fmla="*/ 857 w 2807"/>
              <a:gd name="T13" fmla="*/ 666 h 743"/>
              <a:gd name="T14" fmla="*/ 1001 w 2807"/>
              <a:gd name="T15" fmla="*/ 696 h 743"/>
              <a:gd name="T16" fmla="*/ 1157 w 2807"/>
              <a:gd name="T17" fmla="*/ 719 h 743"/>
              <a:gd name="T18" fmla="*/ 1324 w 2807"/>
              <a:gd name="T19" fmla="*/ 736 h 743"/>
              <a:gd name="T20" fmla="*/ 1502 w 2807"/>
              <a:gd name="T21" fmla="*/ 743 h 743"/>
              <a:gd name="T22" fmla="*/ 1689 w 2807"/>
              <a:gd name="T23" fmla="*/ 738 h 743"/>
              <a:gd name="T24" fmla="*/ 1819 w 2807"/>
              <a:gd name="T25" fmla="*/ 729 h 743"/>
              <a:gd name="T26" fmla="*/ 1999 w 2807"/>
              <a:gd name="T27" fmla="*/ 706 h 743"/>
              <a:gd name="T28" fmla="*/ 2159 w 2807"/>
              <a:gd name="T29" fmla="*/ 678 h 743"/>
              <a:gd name="T30" fmla="*/ 2302 w 2807"/>
              <a:gd name="T31" fmla="*/ 643 h 743"/>
              <a:gd name="T32" fmla="*/ 2426 w 2807"/>
              <a:gd name="T33" fmla="*/ 605 h 743"/>
              <a:gd name="T34" fmla="*/ 2533 w 2807"/>
              <a:gd name="T35" fmla="*/ 566 h 743"/>
              <a:gd name="T36" fmla="*/ 2672 w 2807"/>
              <a:gd name="T37" fmla="*/ 505 h 743"/>
              <a:gd name="T38" fmla="*/ 2773 w 2807"/>
              <a:gd name="T39" fmla="*/ 449 h 743"/>
              <a:gd name="T40" fmla="*/ 2807 w 2807"/>
              <a:gd name="T41" fmla="*/ 426 h 743"/>
              <a:gd name="T42" fmla="*/ 2745 w 2807"/>
              <a:gd name="T43" fmla="*/ 402 h 743"/>
              <a:gd name="T44" fmla="*/ 2688 w 2807"/>
              <a:gd name="T45" fmla="*/ 372 h 743"/>
              <a:gd name="T46" fmla="*/ 2586 w 2807"/>
              <a:gd name="T47" fmla="*/ 303 h 743"/>
              <a:gd name="T48" fmla="*/ 2529 w 2807"/>
              <a:gd name="T49" fmla="*/ 256 h 743"/>
              <a:gd name="T50" fmla="*/ 2518 w 2807"/>
              <a:gd name="T51" fmla="*/ 294 h 743"/>
              <a:gd name="T52" fmla="*/ 2507 w 2807"/>
              <a:gd name="T53" fmla="*/ 381 h 743"/>
              <a:gd name="T54" fmla="*/ 2499 w 2807"/>
              <a:gd name="T55" fmla="*/ 413 h 743"/>
              <a:gd name="T56" fmla="*/ 2443 w 2807"/>
              <a:gd name="T57" fmla="*/ 391 h 743"/>
              <a:gd name="T58" fmla="*/ 2423 w 2807"/>
              <a:gd name="T59" fmla="*/ 381 h 743"/>
              <a:gd name="T60" fmla="*/ 2392 w 2807"/>
              <a:gd name="T61" fmla="*/ 357 h 743"/>
              <a:gd name="T62" fmla="*/ 2361 w 2807"/>
              <a:gd name="T63" fmla="*/ 324 h 743"/>
              <a:gd name="T64" fmla="*/ 2334 w 2807"/>
              <a:gd name="T65" fmla="*/ 283 h 743"/>
              <a:gd name="T66" fmla="*/ 2316 w 2807"/>
              <a:gd name="T67" fmla="*/ 235 h 743"/>
              <a:gd name="T68" fmla="*/ 2310 w 2807"/>
              <a:gd name="T69" fmla="*/ 199 h 743"/>
              <a:gd name="T70" fmla="*/ 2252 w 2807"/>
              <a:gd name="T71" fmla="*/ 195 h 743"/>
              <a:gd name="T72" fmla="*/ 2110 w 2807"/>
              <a:gd name="T73" fmla="*/ 243 h 743"/>
              <a:gd name="T74" fmla="*/ 1984 w 2807"/>
              <a:gd name="T75" fmla="*/ 277 h 743"/>
              <a:gd name="T76" fmla="*/ 1843 w 2807"/>
              <a:gd name="T77" fmla="*/ 303 h 743"/>
              <a:gd name="T78" fmla="*/ 1697 w 2807"/>
              <a:gd name="T79" fmla="*/ 319 h 743"/>
              <a:gd name="T80" fmla="*/ 1558 w 2807"/>
              <a:gd name="T81" fmla="*/ 322 h 743"/>
              <a:gd name="T82" fmla="*/ 1293 w 2807"/>
              <a:gd name="T83" fmla="*/ 312 h 743"/>
              <a:gd name="T84" fmla="*/ 1030 w 2807"/>
              <a:gd name="T85" fmla="*/ 282 h 743"/>
              <a:gd name="T86" fmla="*/ 855 w 2807"/>
              <a:gd name="T87" fmla="*/ 251 h 743"/>
              <a:gd name="T88" fmla="*/ 725 w 2807"/>
              <a:gd name="T89" fmla="*/ 221 h 743"/>
              <a:gd name="T90" fmla="*/ 594 w 2807"/>
              <a:gd name="T91" fmla="*/ 185 h 743"/>
              <a:gd name="T92" fmla="*/ 465 w 2807"/>
              <a:gd name="T93" fmla="*/ 143 h 743"/>
              <a:gd name="T94" fmla="*/ 336 w 2807"/>
              <a:gd name="T95" fmla="*/ 94 h 743"/>
              <a:gd name="T96" fmla="*/ 251 w 2807"/>
              <a:gd name="T97" fmla="*/ 58 h 743"/>
              <a:gd name="T98" fmla="*/ 122 w 2807"/>
              <a:gd name="T99" fmla="*/ 0 h 743"/>
              <a:gd name="T100" fmla="*/ 119 w 2807"/>
              <a:gd name="T101" fmla="*/ 19 h 743"/>
              <a:gd name="T102" fmla="*/ 121 w 2807"/>
              <a:gd name="T103" fmla="*/ 51 h 743"/>
              <a:gd name="T104" fmla="*/ 136 w 2807"/>
              <a:gd name="T105" fmla="*/ 96 h 743"/>
              <a:gd name="T106" fmla="*/ 171 w 2807"/>
              <a:gd name="T107" fmla="*/ 156 h 743"/>
              <a:gd name="T108" fmla="*/ 207 w 2807"/>
              <a:gd name="T109" fmla="*/ 204 h 743"/>
              <a:gd name="T110" fmla="*/ 151 w 2807"/>
              <a:gd name="T111" fmla="*/ 199 h 743"/>
              <a:gd name="T112" fmla="*/ 98 w 2807"/>
              <a:gd name="T113" fmla="*/ 204 h 743"/>
              <a:gd name="T114" fmla="*/ 69 w 2807"/>
              <a:gd name="T115" fmla="*/ 215 h 743"/>
              <a:gd name="T116" fmla="*/ 32 w 2807"/>
              <a:gd name="T117" fmla="*/ 244 h 743"/>
              <a:gd name="T118" fmla="*/ 7 w 2807"/>
              <a:gd name="T119" fmla="*/ 272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07" h="743">
                <a:moveTo>
                  <a:pt x="0" y="284"/>
                </a:moveTo>
                <a:lnTo>
                  <a:pt x="0" y="284"/>
                </a:lnTo>
                <a:lnTo>
                  <a:pt x="87" y="343"/>
                </a:lnTo>
                <a:lnTo>
                  <a:pt x="127" y="369"/>
                </a:lnTo>
                <a:lnTo>
                  <a:pt x="166" y="394"/>
                </a:lnTo>
                <a:lnTo>
                  <a:pt x="203" y="417"/>
                </a:lnTo>
                <a:lnTo>
                  <a:pt x="241" y="438"/>
                </a:lnTo>
                <a:lnTo>
                  <a:pt x="280" y="460"/>
                </a:lnTo>
                <a:lnTo>
                  <a:pt x="319" y="479"/>
                </a:lnTo>
                <a:lnTo>
                  <a:pt x="319" y="479"/>
                </a:lnTo>
                <a:lnTo>
                  <a:pt x="372" y="504"/>
                </a:lnTo>
                <a:lnTo>
                  <a:pt x="430" y="529"/>
                </a:lnTo>
                <a:lnTo>
                  <a:pt x="495" y="556"/>
                </a:lnTo>
                <a:lnTo>
                  <a:pt x="565" y="581"/>
                </a:lnTo>
                <a:lnTo>
                  <a:pt x="603" y="595"/>
                </a:lnTo>
                <a:lnTo>
                  <a:pt x="642" y="607"/>
                </a:lnTo>
                <a:lnTo>
                  <a:pt x="682" y="620"/>
                </a:lnTo>
                <a:lnTo>
                  <a:pt x="724" y="633"/>
                </a:lnTo>
                <a:lnTo>
                  <a:pt x="767" y="644"/>
                </a:lnTo>
                <a:lnTo>
                  <a:pt x="811" y="655"/>
                </a:lnTo>
                <a:lnTo>
                  <a:pt x="857" y="666"/>
                </a:lnTo>
                <a:lnTo>
                  <a:pt x="903" y="677"/>
                </a:lnTo>
                <a:lnTo>
                  <a:pt x="952" y="687"/>
                </a:lnTo>
                <a:lnTo>
                  <a:pt x="1001" y="696"/>
                </a:lnTo>
                <a:lnTo>
                  <a:pt x="1052" y="705"/>
                </a:lnTo>
                <a:lnTo>
                  <a:pt x="1104" y="713"/>
                </a:lnTo>
                <a:lnTo>
                  <a:pt x="1157" y="719"/>
                </a:lnTo>
                <a:lnTo>
                  <a:pt x="1212" y="727"/>
                </a:lnTo>
                <a:lnTo>
                  <a:pt x="1267" y="732"/>
                </a:lnTo>
                <a:lnTo>
                  <a:pt x="1324" y="736"/>
                </a:lnTo>
                <a:lnTo>
                  <a:pt x="1382" y="739"/>
                </a:lnTo>
                <a:lnTo>
                  <a:pt x="1442" y="741"/>
                </a:lnTo>
                <a:lnTo>
                  <a:pt x="1502" y="743"/>
                </a:lnTo>
                <a:lnTo>
                  <a:pt x="1563" y="742"/>
                </a:lnTo>
                <a:lnTo>
                  <a:pt x="1626" y="741"/>
                </a:lnTo>
                <a:lnTo>
                  <a:pt x="1689" y="738"/>
                </a:lnTo>
                <a:lnTo>
                  <a:pt x="1754" y="734"/>
                </a:lnTo>
                <a:lnTo>
                  <a:pt x="1819" y="729"/>
                </a:lnTo>
                <a:lnTo>
                  <a:pt x="1819" y="729"/>
                </a:lnTo>
                <a:lnTo>
                  <a:pt x="1881" y="723"/>
                </a:lnTo>
                <a:lnTo>
                  <a:pt x="1941" y="714"/>
                </a:lnTo>
                <a:lnTo>
                  <a:pt x="1999" y="706"/>
                </a:lnTo>
                <a:lnTo>
                  <a:pt x="2054" y="697"/>
                </a:lnTo>
                <a:lnTo>
                  <a:pt x="2108" y="688"/>
                </a:lnTo>
                <a:lnTo>
                  <a:pt x="2159" y="678"/>
                </a:lnTo>
                <a:lnTo>
                  <a:pt x="2209" y="666"/>
                </a:lnTo>
                <a:lnTo>
                  <a:pt x="2257" y="655"/>
                </a:lnTo>
                <a:lnTo>
                  <a:pt x="2302" y="643"/>
                </a:lnTo>
                <a:lnTo>
                  <a:pt x="2346" y="631"/>
                </a:lnTo>
                <a:lnTo>
                  <a:pt x="2387" y="618"/>
                </a:lnTo>
                <a:lnTo>
                  <a:pt x="2426" y="605"/>
                </a:lnTo>
                <a:lnTo>
                  <a:pt x="2464" y="593"/>
                </a:lnTo>
                <a:lnTo>
                  <a:pt x="2500" y="579"/>
                </a:lnTo>
                <a:lnTo>
                  <a:pt x="2533" y="566"/>
                </a:lnTo>
                <a:lnTo>
                  <a:pt x="2564" y="554"/>
                </a:lnTo>
                <a:lnTo>
                  <a:pt x="2622" y="528"/>
                </a:lnTo>
                <a:lnTo>
                  <a:pt x="2672" y="505"/>
                </a:lnTo>
                <a:lnTo>
                  <a:pt x="2713" y="483"/>
                </a:lnTo>
                <a:lnTo>
                  <a:pt x="2747" y="465"/>
                </a:lnTo>
                <a:lnTo>
                  <a:pt x="2773" y="449"/>
                </a:lnTo>
                <a:lnTo>
                  <a:pt x="2792" y="436"/>
                </a:lnTo>
                <a:lnTo>
                  <a:pt x="2807" y="426"/>
                </a:lnTo>
                <a:lnTo>
                  <a:pt x="2807" y="426"/>
                </a:lnTo>
                <a:lnTo>
                  <a:pt x="2786" y="419"/>
                </a:lnTo>
                <a:lnTo>
                  <a:pt x="2766" y="410"/>
                </a:lnTo>
                <a:lnTo>
                  <a:pt x="2745" y="402"/>
                </a:lnTo>
                <a:lnTo>
                  <a:pt x="2726" y="391"/>
                </a:lnTo>
                <a:lnTo>
                  <a:pt x="2706" y="382"/>
                </a:lnTo>
                <a:lnTo>
                  <a:pt x="2688" y="372"/>
                </a:lnTo>
                <a:lnTo>
                  <a:pt x="2651" y="349"/>
                </a:lnTo>
                <a:lnTo>
                  <a:pt x="2618" y="327"/>
                </a:lnTo>
                <a:lnTo>
                  <a:pt x="2586" y="303"/>
                </a:lnTo>
                <a:lnTo>
                  <a:pt x="2556" y="280"/>
                </a:lnTo>
                <a:lnTo>
                  <a:pt x="2529" y="256"/>
                </a:lnTo>
                <a:lnTo>
                  <a:pt x="2529" y="256"/>
                </a:lnTo>
                <a:lnTo>
                  <a:pt x="2524" y="266"/>
                </a:lnTo>
                <a:lnTo>
                  <a:pt x="2521" y="279"/>
                </a:lnTo>
                <a:lnTo>
                  <a:pt x="2518" y="294"/>
                </a:lnTo>
                <a:lnTo>
                  <a:pt x="2515" y="312"/>
                </a:lnTo>
                <a:lnTo>
                  <a:pt x="2515" y="312"/>
                </a:lnTo>
                <a:lnTo>
                  <a:pt x="2507" y="381"/>
                </a:lnTo>
                <a:lnTo>
                  <a:pt x="2503" y="414"/>
                </a:lnTo>
                <a:lnTo>
                  <a:pt x="2503" y="414"/>
                </a:lnTo>
                <a:lnTo>
                  <a:pt x="2499" y="413"/>
                </a:lnTo>
                <a:lnTo>
                  <a:pt x="2489" y="410"/>
                </a:lnTo>
                <a:lnTo>
                  <a:pt x="2470" y="403"/>
                </a:lnTo>
                <a:lnTo>
                  <a:pt x="2443" y="391"/>
                </a:lnTo>
                <a:lnTo>
                  <a:pt x="2443" y="391"/>
                </a:lnTo>
                <a:lnTo>
                  <a:pt x="2433" y="387"/>
                </a:lnTo>
                <a:lnTo>
                  <a:pt x="2423" y="381"/>
                </a:lnTo>
                <a:lnTo>
                  <a:pt x="2413" y="374"/>
                </a:lnTo>
                <a:lnTo>
                  <a:pt x="2403" y="366"/>
                </a:lnTo>
                <a:lnTo>
                  <a:pt x="2392" y="357"/>
                </a:lnTo>
                <a:lnTo>
                  <a:pt x="2381" y="347"/>
                </a:lnTo>
                <a:lnTo>
                  <a:pt x="2371" y="336"/>
                </a:lnTo>
                <a:lnTo>
                  <a:pt x="2361" y="324"/>
                </a:lnTo>
                <a:lnTo>
                  <a:pt x="2351" y="312"/>
                </a:lnTo>
                <a:lnTo>
                  <a:pt x="2342" y="297"/>
                </a:lnTo>
                <a:lnTo>
                  <a:pt x="2334" y="283"/>
                </a:lnTo>
                <a:lnTo>
                  <a:pt x="2326" y="268"/>
                </a:lnTo>
                <a:lnTo>
                  <a:pt x="2320" y="251"/>
                </a:lnTo>
                <a:lnTo>
                  <a:pt x="2316" y="235"/>
                </a:lnTo>
                <a:lnTo>
                  <a:pt x="2312" y="216"/>
                </a:lnTo>
                <a:lnTo>
                  <a:pt x="2310" y="199"/>
                </a:lnTo>
                <a:lnTo>
                  <a:pt x="2310" y="199"/>
                </a:lnTo>
                <a:lnTo>
                  <a:pt x="2309" y="174"/>
                </a:lnTo>
                <a:lnTo>
                  <a:pt x="2309" y="174"/>
                </a:lnTo>
                <a:lnTo>
                  <a:pt x="2252" y="195"/>
                </a:lnTo>
                <a:lnTo>
                  <a:pt x="2186" y="218"/>
                </a:lnTo>
                <a:lnTo>
                  <a:pt x="2149" y="231"/>
                </a:lnTo>
                <a:lnTo>
                  <a:pt x="2110" y="243"/>
                </a:lnTo>
                <a:lnTo>
                  <a:pt x="2069" y="254"/>
                </a:lnTo>
                <a:lnTo>
                  <a:pt x="2028" y="266"/>
                </a:lnTo>
                <a:lnTo>
                  <a:pt x="1984" y="277"/>
                </a:lnTo>
                <a:lnTo>
                  <a:pt x="1938" y="286"/>
                </a:lnTo>
                <a:lnTo>
                  <a:pt x="1892" y="295"/>
                </a:lnTo>
                <a:lnTo>
                  <a:pt x="1843" y="303"/>
                </a:lnTo>
                <a:lnTo>
                  <a:pt x="1795" y="311"/>
                </a:lnTo>
                <a:lnTo>
                  <a:pt x="1746" y="316"/>
                </a:lnTo>
                <a:lnTo>
                  <a:pt x="1697" y="319"/>
                </a:lnTo>
                <a:lnTo>
                  <a:pt x="1647" y="321"/>
                </a:lnTo>
                <a:lnTo>
                  <a:pt x="1647" y="321"/>
                </a:lnTo>
                <a:lnTo>
                  <a:pt x="1558" y="322"/>
                </a:lnTo>
                <a:lnTo>
                  <a:pt x="1470" y="321"/>
                </a:lnTo>
                <a:lnTo>
                  <a:pt x="1382" y="317"/>
                </a:lnTo>
                <a:lnTo>
                  <a:pt x="1293" y="312"/>
                </a:lnTo>
                <a:lnTo>
                  <a:pt x="1205" y="304"/>
                </a:lnTo>
                <a:lnTo>
                  <a:pt x="1118" y="294"/>
                </a:lnTo>
                <a:lnTo>
                  <a:pt x="1030" y="282"/>
                </a:lnTo>
                <a:lnTo>
                  <a:pt x="943" y="268"/>
                </a:lnTo>
                <a:lnTo>
                  <a:pt x="899" y="259"/>
                </a:lnTo>
                <a:lnTo>
                  <a:pt x="855" y="251"/>
                </a:lnTo>
                <a:lnTo>
                  <a:pt x="812" y="241"/>
                </a:lnTo>
                <a:lnTo>
                  <a:pt x="768" y="231"/>
                </a:lnTo>
                <a:lnTo>
                  <a:pt x="725" y="221"/>
                </a:lnTo>
                <a:lnTo>
                  <a:pt x="681" y="209"/>
                </a:lnTo>
                <a:lnTo>
                  <a:pt x="638" y="197"/>
                </a:lnTo>
                <a:lnTo>
                  <a:pt x="594" y="185"/>
                </a:lnTo>
                <a:lnTo>
                  <a:pt x="551" y="171"/>
                </a:lnTo>
                <a:lnTo>
                  <a:pt x="508" y="157"/>
                </a:lnTo>
                <a:lnTo>
                  <a:pt x="465" y="143"/>
                </a:lnTo>
                <a:lnTo>
                  <a:pt x="422" y="127"/>
                </a:lnTo>
                <a:lnTo>
                  <a:pt x="379" y="111"/>
                </a:lnTo>
                <a:lnTo>
                  <a:pt x="336" y="94"/>
                </a:lnTo>
                <a:lnTo>
                  <a:pt x="294" y="76"/>
                </a:lnTo>
                <a:lnTo>
                  <a:pt x="251" y="58"/>
                </a:lnTo>
                <a:lnTo>
                  <a:pt x="251" y="58"/>
                </a:lnTo>
                <a:lnTo>
                  <a:pt x="165" y="19"/>
                </a:lnTo>
                <a:lnTo>
                  <a:pt x="122" y="0"/>
                </a:lnTo>
                <a:lnTo>
                  <a:pt x="122" y="0"/>
                </a:lnTo>
                <a:lnTo>
                  <a:pt x="121" y="3"/>
                </a:lnTo>
                <a:lnTo>
                  <a:pt x="119" y="12"/>
                </a:lnTo>
                <a:lnTo>
                  <a:pt x="119" y="19"/>
                </a:lnTo>
                <a:lnTo>
                  <a:pt x="119" y="28"/>
                </a:lnTo>
                <a:lnTo>
                  <a:pt x="119" y="39"/>
                </a:lnTo>
                <a:lnTo>
                  <a:pt x="121" y="51"/>
                </a:lnTo>
                <a:lnTo>
                  <a:pt x="125" y="64"/>
                </a:lnTo>
                <a:lnTo>
                  <a:pt x="129" y="79"/>
                </a:lnTo>
                <a:lnTo>
                  <a:pt x="136" y="96"/>
                </a:lnTo>
                <a:lnTo>
                  <a:pt x="145" y="114"/>
                </a:lnTo>
                <a:lnTo>
                  <a:pt x="156" y="135"/>
                </a:lnTo>
                <a:lnTo>
                  <a:pt x="171" y="156"/>
                </a:lnTo>
                <a:lnTo>
                  <a:pt x="187" y="180"/>
                </a:lnTo>
                <a:lnTo>
                  <a:pt x="207" y="204"/>
                </a:lnTo>
                <a:lnTo>
                  <a:pt x="207" y="204"/>
                </a:lnTo>
                <a:lnTo>
                  <a:pt x="189" y="201"/>
                </a:lnTo>
                <a:lnTo>
                  <a:pt x="170" y="199"/>
                </a:lnTo>
                <a:lnTo>
                  <a:pt x="151" y="199"/>
                </a:lnTo>
                <a:lnTo>
                  <a:pt x="132" y="199"/>
                </a:lnTo>
                <a:lnTo>
                  <a:pt x="114" y="201"/>
                </a:lnTo>
                <a:lnTo>
                  <a:pt x="98" y="204"/>
                </a:lnTo>
                <a:lnTo>
                  <a:pt x="83" y="209"/>
                </a:lnTo>
                <a:lnTo>
                  <a:pt x="69" y="215"/>
                </a:lnTo>
                <a:lnTo>
                  <a:pt x="69" y="215"/>
                </a:lnTo>
                <a:lnTo>
                  <a:pt x="55" y="224"/>
                </a:lnTo>
                <a:lnTo>
                  <a:pt x="42" y="234"/>
                </a:lnTo>
                <a:lnTo>
                  <a:pt x="32" y="244"/>
                </a:lnTo>
                <a:lnTo>
                  <a:pt x="21" y="253"/>
                </a:lnTo>
                <a:lnTo>
                  <a:pt x="13" y="262"/>
                </a:lnTo>
                <a:lnTo>
                  <a:pt x="7" y="272"/>
                </a:lnTo>
                <a:lnTo>
                  <a:pt x="0" y="28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3" name="Freeform 31"/>
          <p:cNvSpPr>
            <a:spLocks/>
          </p:cNvSpPr>
          <p:nvPr userDrawn="1"/>
        </p:nvSpPr>
        <p:spPr bwMode="auto">
          <a:xfrm>
            <a:off x="7248526" y="1618954"/>
            <a:ext cx="377825" cy="271463"/>
          </a:xfrm>
          <a:custGeom>
            <a:avLst/>
            <a:gdLst>
              <a:gd name="T0" fmla="*/ 2491 w 2863"/>
              <a:gd name="T1" fmla="*/ 103 h 2054"/>
              <a:gd name="T2" fmla="*/ 2575 w 2863"/>
              <a:gd name="T3" fmla="*/ 23 h 2054"/>
              <a:gd name="T4" fmla="*/ 2196 w 2863"/>
              <a:gd name="T5" fmla="*/ 132 h 2054"/>
              <a:gd name="T6" fmla="*/ 1671 w 2863"/>
              <a:gd name="T7" fmla="*/ 429 h 2054"/>
              <a:gd name="T8" fmla="*/ 1528 w 2863"/>
              <a:gd name="T9" fmla="*/ 462 h 2054"/>
              <a:gd name="T10" fmla="*/ 1416 w 2863"/>
              <a:gd name="T11" fmla="*/ 568 h 2054"/>
              <a:gd name="T12" fmla="*/ 1409 w 2863"/>
              <a:gd name="T13" fmla="*/ 634 h 2054"/>
              <a:gd name="T14" fmla="*/ 1479 w 2863"/>
              <a:gd name="T15" fmla="*/ 748 h 2054"/>
              <a:gd name="T16" fmla="*/ 1586 w 2863"/>
              <a:gd name="T17" fmla="*/ 787 h 2054"/>
              <a:gd name="T18" fmla="*/ 1476 w 2863"/>
              <a:gd name="T19" fmla="*/ 974 h 2054"/>
              <a:gd name="T20" fmla="*/ 1133 w 2863"/>
              <a:gd name="T21" fmla="*/ 1199 h 2054"/>
              <a:gd name="T22" fmla="*/ 799 w 2863"/>
              <a:gd name="T23" fmla="*/ 1254 h 2054"/>
              <a:gd name="T24" fmla="*/ 634 w 2863"/>
              <a:gd name="T25" fmla="*/ 1102 h 2054"/>
              <a:gd name="T26" fmla="*/ 539 w 2863"/>
              <a:gd name="T27" fmla="*/ 1015 h 2054"/>
              <a:gd name="T28" fmla="*/ 406 w 2863"/>
              <a:gd name="T29" fmla="*/ 1023 h 2054"/>
              <a:gd name="T30" fmla="*/ 231 w 2863"/>
              <a:gd name="T31" fmla="*/ 1090 h 2054"/>
              <a:gd name="T32" fmla="*/ 382 w 2863"/>
              <a:gd name="T33" fmla="*/ 1121 h 2054"/>
              <a:gd name="T34" fmla="*/ 351 w 2863"/>
              <a:gd name="T35" fmla="*/ 1168 h 2054"/>
              <a:gd name="T36" fmla="*/ 418 w 2863"/>
              <a:gd name="T37" fmla="*/ 1270 h 2054"/>
              <a:gd name="T38" fmla="*/ 608 w 2863"/>
              <a:gd name="T39" fmla="*/ 1387 h 2054"/>
              <a:gd name="T40" fmla="*/ 314 w 2863"/>
              <a:gd name="T41" fmla="*/ 1296 h 2054"/>
              <a:gd name="T42" fmla="*/ 234 w 2863"/>
              <a:gd name="T43" fmla="*/ 1324 h 2054"/>
              <a:gd name="T44" fmla="*/ 77 w 2863"/>
              <a:gd name="T45" fmla="*/ 1367 h 2054"/>
              <a:gd name="T46" fmla="*/ 0 w 2863"/>
              <a:gd name="T47" fmla="*/ 1480 h 2054"/>
              <a:gd name="T48" fmla="*/ 63 w 2863"/>
              <a:gd name="T49" fmla="*/ 1501 h 2054"/>
              <a:gd name="T50" fmla="*/ 166 w 2863"/>
              <a:gd name="T51" fmla="*/ 1461 h 2054"/>
              <a:gd name="T52" fmla="*/ 187 w 2863"/>
              <a:gd name="T53" fmla="*/ 1573 h 2054"/>
              <a:gd name="T54" fmla="*/ 354 w 2863"/>
              <a:gd name="T55" fmla="*/ 1597 h 2054"/>
              <a:gd name="T56" fmla="*/ 616 w 2863"/>
              <a:gd name="T57" fmla="*/ 1588 h 2054"/>
              <a:gd name="T58" fmla="*/ 382 w 2863"/>
              <a:gd name="T59" fmla="*/ 1636 h 2054"/>
              <a:gd name="T60" fmla="*/ 295 w 2863"/>
              <a:gd name="T61" fmla="*/ 1696 h 2054"/>
              <a:gd name="T62" fmla="*/ 254 w 2863"/>
              <a:gd name="T63" fmla="*/ 1795 h 2054"/>
              <a:gd name="T64" fmla="*/ 239 w 2863"/>
              <a:gd name="T65" fmla="*/ 1953 h 2054"/>
              <a:gd name="T66" fmla="*/ 335 w 2863"/>
              <a:gd name="T67" fmla="*/ 2045 h 2054"/>
              <a:gd name="T68" fmla="*/ 341 w 2863"/>
              <a:gd name="T69" fmla="*/ 1906 h 2054"/>
              <a:gd name="T70" fmla="*/ 417 w 2863"/>
              <a:gd name="T71" fmla="*/ 1946 h 2054"/>
              <a:gd name="T72" fmla="*/ 509 w 2863"/>
              <a:gd name="T73" fmla="*/ 1935 h 2054"/>
              <a:gd name="T74" fmla="*/ 732 w 2863"/>
              <a:gd name="T75" fmla="*/ 1733 h 2054"/>
              <a:gd name="T76" fmla="*/ 874 w 2863"/>
              <a:gd name="T77" fmla="*/ 1691 h 2054"/>
              <a:gd name="T78" fmla="*/ 870 w 2863"/>
              <a:gd name="T79" fmla="*/ 1786 h 2054"/>
              <a:gd name="T80" fmla="*/ 945 w 2863"/>
              <a:gd name="T81" fmla="*/ 1834 h 2054"/>
              <a:gd name="T82" fmla="*/ 875 w 2863"/>
              <a:gd name="T83" fmla="*/ 1948 h 2054"/>
              <a:gd name="T84" fmla="*/ 1004 w 2863"/>
              <a:gd name="T85" fmla="*/ 1919 h 2054"/>
              <a:gd name="T86" fmla="*/ 1100 w 2863"/>
              <a:gd name="T87" fmla="*/ 1787 h 2054"/>
              <a:gd name="T88" fmla="*/ 1159 w 2863"/>
              <a:gd name="T89" fmla="*/ 1734 h 2054"/>
              <a:gd name="T90" fmla="*/ 1183 w 2863"/>
              <a:gd name="T91" fmla="*/ 1628 h 2054"/>
              <a:gd name="T92" fmla="*/ 1338 w 2863"/>
              <a:gd name="T93" fmla="*/ 1564 h 2054"/>
              <a:gd name="T94" fmla="*/ 1370 w 2863"/>
              <a:gd name="T95" fmla="*/ 1465 h 2054"/>
              <a:gd name="T96" fmla="*/ 1461 w 2863"/>
              <a:gd name="T97" fmla="*/ 1462 h 2054"/>
              <a:gd name="T98" fmla="*/ 1684 w 2863"/>
              <a:gd name="T99" fmla="*/ 1556 h 2054"/>
              <a:gd name="T100" fmla="*/ 1888 w 2863"/>
              <a:gd name="T101" fmla="*/ 1440 h 2054"/>
              <a:gd name="T102" fmla="*/ 1799 w 2863"/>
              <a:gd name="T103" fmla="*/ 1308 h 2054"/>
              <a:gd name="T104" fmla="*/ 1857 w 2863"/>
              <a:gd name="T105" fmla="*/ 1327 h 2054"/>
              <a:gd name="T106" fmla="*/ 2183 w 2863"/>
              <a:gd name="T107" fmla="*/ 1273 h 2054"/>
              <a:gd name="T108" fmla="*/ 2142 w 2863"/>
              <a:gd name="T109" fmla="*/ 1164 h 2054"/>
              <a:gd name="T110" fmla="*/ 2112 w 2863"/>
              <a:gd name="T111" fmla="*/ 1069 h 2054"/>
              <a:gd name="T112" fmla="*/ 2121 w 2863"/>
              <a:gd name="T113" fmla="*/ 977 h 2054"/>
              <a:gd name="T114" fmla="*/ 2085 w 2863"/>
              <a:gd name="T115" fmla="*/ 807 h 2054"/>
              <a:gd name="T116" fmla="*/ 2859 w 2863"/>
              <a:gd name="T117" fmla="*/ 408 h 2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63" h="2054">
                <a:moveTo>
                  <a:pt x="2759" y="252"/>
                </a:moveTo>
                <a:lnTo>
                  <a:pt x="2759" y="252"/>
                </a:lnTo>
                <a:lnTo>
                  <a:pt x="2742" y="239"/>
                </a:lnTo>
                <a:lnTo>
                  <a:pt x="2725" y="227"/>
                </a:lnTo>
                <a:lnTo>
                  <a:pt x="2708" y="214"/>
                </a:lnTo>
                <a:lnTo>
                  <a:pt x="2690" y="203"/>
                </a:lnTo>
                <a:lnTo>
                  <a:pt x="2655" y="184"/>
                </a:lnTo>
                <a:lnTo>
                  <a:pt x="2621" y="165"/>
                </a:lnTo>
                <a:lnTo>
                  <a:pt x="2586" y="148"/>
                </a:lnTo>
                <a:lnTo>
                  <a:pt x="2553" y="133"/>
                </a:lnTo>
                <a:lnTo>
                  <a:pt x="2522" y="118"/>
                </a:lnTo>
                <a:lnTo>
                  <a:pt x="2491" y="103"/>
                </a:lnTo>
                <a:lnTo>
                  <a:pt x="2491" y="103"/>
                </a:lnTo>
                <a:lnTo>
                  <a:pt x="2507" y="93"/>
                </a:lnTo>
                <a:lnTo>
                  <a:pt x="2523" y="82"/>
                </a:lnTo>
                <a:lnTo>
                  <a:pt x="2540" y="68"/>
                </a:lnTo>
                <a:lnTo>
                  <a:pt x="2556" y="54"/>
                </a:lnTo>
                <a:lnTo>
                  <a:pt x="2570" y="41"/>
                </a:lnTo>
                <a:lnTo>
                  <a:pt x="2574" y="35"/>
                </a:lnTo>
                <a:lnTo>
                  <a:pt x="2577" y="30"/>
                </a:lnTo>
                <a:lnTo>
                  <a:pt x="2577" y="26"/>
                </a:lnTo>
                <a:lnTo>
                  <a:pt x="2577" y="24"/>
                </a:lnTo>
                <a:lnTo>
                  <a:pt x="2575" y="23"/>
                </a:lnTo>
                <a:lnTo>
                  <a:pt x="2575" y="23"/>
                </a:lnTo>
                <a:lnTo>
                  <a:pt x="2562" y="16"/>
                </a:lnTo>
                <a:lnTo>
                  <a:pt x="2550" y="10"/>
                </a:lnTo>
                <a:lnTo>
                  <a:pt x="2538" y="6"/>
                </a:lnTo>
                <a:lnTo>
                  <a:pt x="2527" y="4"/>
                </a:lnTo>
                <a:lnTo>
                  <a:pt x="2508" y="1"/>
                </a:lnTo>
                <a:lnTo>
                  <a:pt x="2501" y="0"/>
                </a:lnTo>
                <a:lnTo>
                  <a:pt x="2501" y="0"/>
                </a:lnTo>
                <a:lnTo>
                  <a:pt x="2440" y="24"/>
                </a:lnTo>
                <a:lnTo>
                  <a:pt x="2377" y="50"/>
                </a:lnTo>
                <a:lnTo>
                  <a:pt x="2317" y="76"/>
                </a:lnTo>
                <a:lnTo>
                  <a:pt x="2256" y="103"/>
                </a:lnTo>
                <a:lnTo>
                  <a:pt x="2196" y="132"/>
                </a:lnTo>
                <a:lnTo>
                  <a:pt x="2138" y="160"/>
                </a:lnTo>
                <a:lnTo>
                  <a:pt x="2081" y="189"/>
                </a:lnTo>
                <a:lnTo>
                  <a:pt x="2026" y="219"/>
                </a:lnTo>
                <a:lnTo>
                  <a:pt x="1972" y="247"/>
                </a:lnTo>
                <a:lnTo>
                  <a:pt x="1921" y="276"/>
                </a:lnTo>
                <a:lnTo>
                  <a:pt x="1872" y="303"/>
                </a:lnTo>
                <a:lnTo>
                  <a:pt x="1825" y="331"/>
                </a:lnTo>
                <a:lnTo>
                  <a:pt x="1782" y="358"/>
                </a:lnTo>
                <a:lnTo>
                  <a:pt x="1741" y="383"/>
                </a:lnTo>
                <a:lnTo>
                  <a:pt x="1705" y="407"/>
                </a:lnTo>
                <a:lnTo>
                  <a:pt x="1671" y="429"/>
                </a:lnTo>
                <a:lnTo>
                  <a:pt x="1671" y="429"/>
                </a:lnTo>
                <a:lnTo>
                  <a:pt x="1666" y="432"/>
                </a:lnTo>
                <a:lnTo>
                  <a:pt x="1666" y="432"/>
                </a:lnTo>
                <a:lnTo>
                  <a:pt x="1654" y="439"/>
                </a:lnTo>
                <a:lnTo>
                  <a:pt x="1643" y="446"/>
                </a:lnTo>
                <a:lnTo>
                  <a:pt x="1632" y="451"/>
                </a:lnTo>
                <a:lnTo>
                  <a:pt x="1620" y="455"/>
                </a:lnTo>
                <a:lnTo>
                  <a:pt x="1608" y="458"/>
                </a:lnTo>
                <a:lnTo>
                  <a:pt x="1597" y="461"/>
                </a:lnTo>
                <a:lnTo>
                  <a:pt x="1585" y="462"/>
                </a:lnTo>
                <a:lnTo>
                  <a:pt x="1574" y="463"/>
                </a:lnTo>
                <a:lnTo>
                  <a:pt x="1550" y="464"/>
                </a:lnTo>
                <a:lnTo>
                  <a:pt x="1528" y="462"/>
                </a:lnTo>
                <a:lnTo>
                  <a:pt x="1505" y="459"/>
                </a:lnTo>
                <a:lnTo>
                  <a:pt x="1485" y="454"/>
                </a:lnTo>
                <a:lnTo>
                  <a:pt x="1465" y="449"/>
                </a:lnTo>
                <a:lnTo>
                  <a:pt x="1448" y="442"/>
                </a:lnTo>
                <a:lnTo>
                  <a:pt x="1433" y="436"/>
                </a:lnTo>
                <a:lnTo>
                  <a:pt x="1418" y="430"/>
                </a:lnTo>
                <a:lnTo>
                  <a:pt x="1399" y="420"/>
                </a:lnTo>
                <a:lnTo>
                  <a:pt x="1393" y="416"/>
                </a:lnTo>
                <a:lnTo>
                  <a:pt x="1372" y="544"/>
                </a:lnTo>
                <a:lnTo>
                  <a:pt x="1372" y="544"/>
                </a:lnTo>
                <a:lnTo>
                  <a:pt x="1395" y="557"/>
                </a:lnTo>
                <a:lnTo>
                  <a:pt x="1416" y="568"/>
                </a:lnTo>
                <a:lnTo>
                  <a:pt x="1437" y="577"/>
                </a:lnTo>
                <a:lnTo>
                  <a:pt x="1454" y="586"/>
                </a:lnTo>
                <a:lnTo>
                  <a:pt x="1470" y="592"/>
                </a:lnTo>
                <a:lnTo>
                  <a:pt x="1486" y="596"/>
                </a:lnTo>
                <a:lnTo>
                  <a:pt x="1499" y="600"/>
                </a:lnTo>
                <a:lnTo>
                  <a:pt x="1510" y="602"/>
                </a:lnTo>
                <a:lnTo>
                  <a:pt x="1510" y="602"/>
                </a:lnTo>
                <a:lnTo>
                  <a:pt x="1491" y="606"/>
                </a:lnTo>
                <a:lnTo>
                  <a:pt x="1470" y="611"/>
                </a:lnTo>
                <a:lnTo>
                  <a:pt x="1450" y="617"/>
                </a:lnTo>
                <a:lnTo>
                  <a:pt x="1428" y="625"/>
                </a:lnTo>
                <a:lnTo>
                  <a:pt x="1409" y="634"/>
                </a:lnTo>
                <a:lnTo>
                  <a:pt x="1391" y="645"/>
                </a:lnTo>
                <a:lnTo>
                  <a:pt x="1381" y="650"/>
                </a:lnTo>
                <a:lnTo>
                  <a:pt x="1373" y="656"/>
                </a:lnTo>
                <a:lnTo>
                  <a:pt x="1366" y="663"/>
                </a:lnTo>
                <a:lnTo>
                  <a:pt x="1360" y="670"/>
                </a:lnTo>
                <a:lnTo>
                  <a:pt x="1404" y="788"/>
                </a:lnTo>
                <a:lnTo>
                  <a:pt x="1404" y="788"/>
                </a:lnTo>
                <a:lnTo>
                  <a:pt x="1416" y="779"/>
                </a:lnTo>
                <a:lnTo>
                  <a:pt x="1432" y="770"/>
                </a:lnTo>
                <a:lnTo>
                  <a:pt x="1453" y="758"/>
                </a:lnTo>
                <a:lnTo>
                  <a:pt x="1465" y="753"/>
                </a:lnTo>
                <a:lnTo>
                  <a:pt x="1479" y="748"/>
                </a:lnTo>
                <a:lnTo>
                  <a:pt x="1494" y="743"/>
                </a:lnTo>
                <a:lnTo>
                  <a:pt x="1509" y="738"/>
                </a:lnTo>
                <a:lnTo>
                  <a:pt x="1527" y="734"/>
                </a:lnTo>
                <a:lnTo>
                  <a:pt x="1545" y="731"/>
                </a:lnTo>
                <a:lnTo>
                  <a:pt x="1564" y="729"/>
                </a:lnTo>
                <a:lnTo>
                  <a:pt x="1585" y="728"/>
                </a:lnTo>
                <a:lnTo>
                  <a:pt x="1585" y="728"/>
                </a:lnTo>
                <a:lnTo>
                  <a:pt x="1588" y="744"/>
                </a:lnTo>
                <a:lnTo>
                  <a:pt x="1588" y="744"/>
                </a:lnTo>
                <a:lnTo>
                  <a:pt x="1588" y="758"/>
                </a:lnTo>
                <a:lnTo>
                  <a:pt x="1588" y="773"/>
                </a:lnTo>
                <a:lnTo>
                  <a:pt x="1586" y="787"/>
                </a:lnTo>
                <a:lnTo>
                  <a:pt x="1583" y="802"/>
                </a:lnTo>
                <a:lnTo>
                  <a:pt x="1578" y="818"/>
                </a:lnTo>
                <a:lnTo>
                  <a:pt x="1573" y="833"/>
                </a:lnTo>
                <a:lnTo>
                  <a:pt x="1565" y="848"/>
                </a:lnTo>
                <a:lnTo>
                  <a:pt x="1557" y="864"/>
                </a:lnTo>
                <a:lnTo>
                  <a:pt x="1549" y="880"/>
                </a:lnTo>
                <a:lnTo>
                  <a:pt x="1539" y="895"/>
                </a:lnTo>
                <a:lnTo>
                  <a:pt x="1528" y="912"/>
                </a:lnTo>
                <a:lnTo>
                  <a:pt x="1516" y="927"/>
                </a:lnTo>
                <a:lnTo>
                  <a:pt x="1503" y="943"/>
                </a:lnTo>
                <a:lnTo>
                  <a:pt x="1490" y="959"/>
                </a:lnTo>
                <a:lnTo>
                  <a:pt x="1476" y="974"/>
                </a:lnTo>
                <a:lnTo>
                  <a:pt x="1461" y="989"/>
                </a:lnTo>
                <a:lnTo>
                  <a:pt x="1429" y="1020"/>
                </a:lnTo>
                <a:lnTo>
                  <a:pt x="1396" y="1049"/>
                </a:lnTo>
                <a:lnTo>
                  <a:pt x="1360" y="1076"/>
                </a:lnTo>
                <a:lnTo>
                  <a:pt x="1323" y="1102"/>
                </a:lnTo>
                <a:lnTo>
                  <a:pt x="1285" y="1126"/>
                </a:lnTo>
                <a:lnTo>
                  <a:pt x="1247" y="1148"/>
                </a:lnTo>
                <a:lnTo>
                  <a:pt x="1209" y="1167"/>
                </a:lnTo>
                <a:lnTo>
                  <a:pt x="1189" y="1177"/>
                </a:lnTo>
                <a:lnTo>
                  <a:pt x="1171" y="1185"/>
                </a:lnTo>
                <a:lnTo>
                  <a:pt x="1171" y="1185"/>
                </a:lnTo>
                <a:lnTo>
                  <a:pt x="1133" y="1199"/>
                </a:lnTo>
                <a:lnTo>
                  <a:pt x="1095" y="1211"/>
                </a:lnTo>
                <a:lnTo>
                  <a:pt x="1060" y="1223"/>
                </a:lnTo>
                <a:lnTo>
                  <a:pt x="1026" y="1232"/>
                </a:lnTo>
                <a:lnTo>
                  <a:pt x="993" y="1240"/>
                </a:lnTo>
                <a:lnTo>
                  <a:pt x="962" y="1246"/>
                </a:lnTo>
                <a:lnTo>
                  <a:pt x="933" y="1250"/>
                </a:lnTo>
                <a:lnTo>
                  <a:pt x="905" y="1254"/>
                </a:lnTo>
                <a:lnTo>
                  <a:pt x="879" y="1256"/>
                </a:lnTo>
                <a:lnTo>
                  <a:pt x="856" y="1257"/>
                </a:lnTo>
                <a:lnTo>
                  <a:pt x="834" y="1257"/>
                </a:lnTo>
                <a:lnTo>
                  <a:pt x="815" y="1256"/>
                </a:lnTo>
                <a:lnTo>
                  <a:pt x="799" y="1254"/>
                </a:lnTo>
                <a:lnTo>
                  <a:pt x="785" y="1251"/>
                </a:lnTo>
                <a:lnTo>
                  <a:pt x="774" y="1247"/>
                </a:lnTo>
                <a:lnTo>
                  <a:pt x="765" y="1243"/>
                </a:lnTo>
                <a:lnTo>
                  <a:pt x="765" y="1243"/>
                </a:lnTo>
                <a:lnTo>
                  <a:pt x="741" y="1227"/>
                </a:lnTo>
                <a:lnTo>
                  <a:pt x="720" y="1209"/>
                </a:lnTo>
                <a:lnTo>
                  <a:pt x="701" y="1191"/>
                </a:lnTo>
                <a:lnTo>
                  <a:pt x="685" y="1172"/>
                </a:lnTo>
                <a:lnTo>
                  <a:pt x="670" y="1155"/>
                </a:lnTo>
                <a:lnTo>
                  <a:pt x="656" y="1137"/>
                </a:lnTo>
                <a:lnTo>
                  <a:pt x="645" y="1119"/>
                </a:lnTo>
                <a:lnTo>
                  <a:pt x="634" y="1102"/>
                </a:lnTo>
                <a:lnTo>
                  <a:pt x="615" y="1071"/>
                </a:lnTo>
                <a:lnTo>
                  <a:pt x="605" y="1057"/>
                </a:lnTo>
                <a:lnTo>
                  <a:pt x="596" y="1045"/>
                </a:lnTo>
                <a:lnTo>
                  <a:pt x="587" y="1033"/>
                </a:lnTo>
                <a:lnTo>
                  <a:pt x="577" y="1025"/>
                </a:lnTo>
                <a:lnTo>
                  <a:pt x="565" y="1018"/>
                </a:lnTo>
                <a:lnTo>
                  <a:pt x="559" y="1015"/>
                </a:lnTo>
                <a:lnTo>
                  <a:pt x="553" y="1013"/>
                </a:lnTo>
                <a:lnTo>
                  <a:pt x="553" y="1013"/>
                </a:lnTo>
                <a:lnTo>
                  <a:pt x="549" y="1013"/>
                </a:lnTo>
                <a:lnTo>
                  <a:pt x="546" y="1013"/>
                </a:lnTo>
                <a:lnTo>
                  <a:pt x="539" y="1015"/>
                </a:lnTo>
                <a:lnTo>
                  <a:pt x="532" y="1018"/>
                </a:lnTo>
                <a:lnTo>
                  <a:pt x="524" y="1022"/>
                </a:lnTo>
                <a:lnTo>
                  <a:pt x="516" y="1026"/>
                </a:lnTo>
                <a:lnTo>
                  <a:pt x="507" y="1029"/>
                </a:lnTo>
                <a:lnTo>
                  <a:pt x="499" y="1031"/>
                </a:lnTo>
                <a:lnTo>
                  <a:pt x="494" y="1031"/>
                </a:lnTo>
                <a:lnTo>
                  <a:pt x="489" y="1031"/>
                </a:lnTo>
                <a:lnTo>
                  <a:pt x="489" y="1031"/>
                </a:lnTo>
                <a:lnTo>
                  <a:pt x="468" y="1028"/>
                </a:lnTo>
                <a:lnTo>
                  <a:pt x="448" y="1025"/>
                </a:lnTo>
                <a:lnTo>
                  <a:pt x="427" y="1024"/>
                </a:lnTo>
                <a:lnTo>
                  <a:pt x="406" y="1023"/>
                </a:lnTo>
                <a:lnTo>
                  <a:pt x="386" y="1023"/>
                </a:lnTo>
                <a:lnTo>
                  <a:pt x="366" y="1025"/>
                </a:lnTo>
                <a:lnTo>
                  <a:pt x="347" y="1027"/>
                </a:lnTo>
                <a:lnTo>
                  <a:pt x="327" y="1031"/>
                </a:lnTo>
                <a:lnTo>
                  <a:pt x="309" y="1035"/>
                </a:lnTo>
                <a:lnTo>
                  <a:pt x="292" y="1043"/>
                </a:lnTo>
                <a:lnTo>
                  <a:pt x="276" y="1050"/>
                </a:lnTo>
                <a:lnTo>
                  <a:pt x="262" y="1059"/>
                </a:lnTo>
                <a:lnTo>
                  <a:pt x="248" y="1070"/>
                </a:lnTo>
                <a:lnTo>
                  <a:pt x="242" y="1076"/>
                </a:lnTo>
                <a:lnTo>
                  <a:pt x="236" y="1082"/>
                </a:lnTo>
                <a:lnTo>
                  <a:pt x="231" y="1090"/>
                </a:lnTo>
                <a:lnTo>
                  <a:pt x="227" y="1098"/>
                </a:lnTo>
                <a:lnTo>
                  <a:pt x="223" y="1105"/>
                </a:lnTo>
                <a:lnTo>
                  <a:pt x="219" y="1114"/>
                </a:lnTo>
                <a:lnTo>
                  <a:pt x="219" y="1114"/>
                </a:lnTo>
                <a:lnTo>
                  <a:pt x="257" y="1112"/>
                </a:lnTo>
                <a:lnTo>
                  <a:pt x="292" y="1111"/>
                </a:lnTo>
                <a:lnTo>
                  <a:pt x="312" y="1111"/>
                </a:lnTo>
                <a:lnTo>
                  <a:pt x="331" y="1112"/>
                </a:lnTo>
                <a:lnTo>
                  <a:pt x="349" y="1113"/>
                </a:lnTo>
                <a:lnTo>
                  <a:pt x="364" y="1116"/>
                </a:lnTo>
                <a:lnTo>
                  <a:pt x="377" y="1119"/>
                </a:lnTo>
                <a:lnTo>
                  <a:pt x="382" y="1121"/>
                </a:lnTo>
                <a:lnTo>
                  <a:pt x="387" y="1123"/>
                </a:lnTo>
                <a:lnTo>
                  <a:pt x="389" y="1126"/>
                </a:lnTo>
                <a:lnTo>
                  <a:pt x="391" y="1130"/>
                </a:lnTo>
                <a:lnTo>
                  <a:pt x="391" y="1133"/>
                </a:lnTo>
                <a:lnTo>
                  <a:pt x="389" y="1137"/>
                </a:lnTo>
                <a:lnTo>
                  <a:pt x="386" y="1141"/>
                </a:lnTo>
                <a:lnTo>
                  <a:pt x="381" y="1146"/>
                </a:lnTo>
                <a:lnTo>
                  <a:pt x="374" y="1151"/>
                </a:lnTo>
                <a:lnTo>
                  <a:pt x="366" y="1156"/>
                </a:lnTo>
                <a:lnTo>
                  <a:pt x="366" y="1156"/>
                </a:lnTo>
                <a:lnTo>
                  <a:pt x="357" y="1162"/>
                </a:lnTo>
                <a:lnTo>
                  <a:pt x="351" y="1168"/>
                </a:lnTo>
                <a:lnTo>
                  <a:pt x="346" y="1175"/>
                </a:lnTo>
                <a:lnTo>
                  <a:pt x="344" y="1182"/>
                </a:lnTo>
                <a:lnTo>
                  <a:pt x="343" y="1189"/>
                </a:lnTo>
                <a:lnTo>
                  <a:pt x="344" y="1195"/>
                </a:lnTo>
                <a:lnTo>
                  <a:pt x="346" y="1202"/>
                </a:lnTo>
                <a:lnTo>
                  <a:pt x="349" y="1209"/>
                </a:lnTo>
                <a:lnTo>
                  <a:pt x="354" y="1217"/>
                </a:lnTo>
                <a:lnTo>
                  <a:pt x="360" y="1225"/>
                </a:lnTo>
                <a:lnTo>
                  <a:pt x="368" y="1232"/>
                </a:lnTo>
                <a:lnTo>
                  <a:pt x="376" y="1239"/>
                </a:lnTo>
                <a:lnTo>
                  <a:pt x="396" y="1254"/>
                </a:lnTo>
                <a:lnTo>
                  <a:pt x="418" y="1270"/>
                </a:lnTo>
                <a:lnTo>
                  <a:pt x="442" y="1285"/>
                </a:lnTo>
                <a:lnTo>
                  <a:pt x="467" y="1299"/>
                </a:lnTo>
                <a:lnTo>
                  <a:pt x="519" y="1327"/>
                </a:lnTo>
                <a:lnTo>
                  <a:pt x="565" y="1350"/>
                </a:lnTo>
                <a:lnTo>
                  <a:pt x="585" y="1361"/>
                </a:lnTo>
                <a:lnTo>
                  <a:pt x="601" y="1370"/>
                </a:lnTo>
                <a:lnTo>
                  <a:pt x="601" y="1370"/>
                </a:lnTo>
                <a:lnTo>
                  <a:pt x="608" y="1375"/>
                </a:lnTo>
                <a:lnTo>
                  <a:pt x="611" y="1379"/>
                </a:lnTo>
                <a:lnTo>
                  <a:pt x="613" y="1382"/>
                </a:lnTo>
                <a:lnTo>
                  <a:pt x="611" y="1385"/>
                </a:lnTo>
                <a:lnTo>
                  <a:pt x="608" y="1387"/>
                </a:lnTo>
                <a:lnTo>
                  <a:pt x="604" y="1389"/>
                </a:lnTo>
                <a:lnTo>
                  <a:pt x="598" y="1390"/>
                </a:lnTo>
                <a:lnTo>
                  <a:pt x="598" y="1390"/>
                </a:lnTo>
                <a:lnTo>
                  <a:pt x="588" y="1390"/>
                </a:lnTo>
                <a:lnTo>
                  <a:pt x="576" y="1388"/>
                </a:lnTo>
                <a:lnTo>
                  <a:pt x="561" y="1385"/>
                </a:lnTo>
                <a:lnTo>
                  <a:pt x="545" y="1380"/>
                </a:lnTo>
                <a:lnTo>
                  <a:pt x="509" y="1369"/>
                </a:lnTo>
                <a:lnTo>
                  <a:pt x="469" y="1354"/>
                </a:lnTo>
                <a:lnTo>
                  <a:pt x="387" y="1323"/>
                </a:lnTo>
                <a:lnTo>
                  <a:pt x="349" y="1307"/>
                </a:lnTo>
                <a:lnTo>
                  <a:pt x="314" y="1296"/>
                </a:lnTo>
                <a:lnTo>
                  <a:pt x="314" y="1296"/>
                </a:lnTo>
                <a:lnTo>
                  <a:pt x="303" y="1293"/>
                </a:lnTo>
                <a:lnTo>
                  <a:pt x="292" y="1291"/>
                </a:lnTo>
                <a:lnTo>
                  <a:pt x="283" y="1291"/>
                </a:lnTo>
                <a:lnTo>
                  <a:pt x="275" y="1292"/>
                </a:lnTo>
                <a:lnTo>
                  <a:pt x="268" y="1294"/>
                </a:lnTo>
                <a:lnTo>
                  <a:pt x="262" y="1297"/>
                </a:lnTo>
                <a:lnTo>
                  <a:pt x="257" y="1300"/>
                </a:lnTo>
                <a:lnTo>
                  <a:pt x="253" y="1303"/>
                </a:lnTo>
                <a:lnTo>
                  <a:pt x="244" y="1312"/>
                </a:lnTo>
                <a:lnTo>
                  <a:pt x="238" y="1319"/>
                </a:lnTo>
                <a:lnTo>
                  <a:pt x="234" y="1324"/>
                </a:lnTo>
                <a:lnTo>
                  <a:pt x="231" y="1325"/>
                </a:lnTo>
                <a:lnTo>
                  <a:pt x="229" y="1326"/>
                </a:lnTo>
                <a:lnTo>
                  <a:pt x="229" y="1326"/>
                </a:lnTo>
                <a:lnTo>
                  <a:pt x="220" y="1325"/>
                </a:lnTo>
                <a:lnTo>
                  <a:pt x="210" y="1324"/>
                </a:lnTo>
                <a:lnTo>
                  <a:pt x="198" y="1325"/>
                </a:lnTo>
                <a:lnTo>
                  <a:pt x="188" y="1325"/>
                </a:lnTo>
                <a:lnTo>
                  <a:pt x="166" y="1329"/>
                </a:lnTo>
                <a:lnTo>
                  <a:pt x="143" y="1335"/>
                </a:lnTo>
                <a:lnTo>
                  <a:pt x="121" y="1343"/>
                </a:lnTo>
                <a:lnTo>
                  <a:pt x="98" y="1353"/>
                </a:lnTo>
                <a:lnTo>
                  <a:pt x="77" y="1367"/>
                </a:lnTo>
                <a:lnTo>
                  <a:pt x="66" y="1374"/>
                </a:lnTo>
                <a:lnTo>
                  <a:pt x="57" y="1381"/>
                </a:lnTo>
                <a:lnTo>
                  <a:pt x="48" y="1389"/>
                </a:lnTo>
                <a:lnTo>
                  <a:pt x="40" y="1397"/>
                </a:lnTo>
                <a:lnTo>
                  <a:pt x="32" y="1407"/>
                </a:lnTo>
                <a:lnTo>
                  <a:pt x="25" y="1416"/>
                </a:lnTo>
                <a:lnTo>
                  <a:pt x="18" y="1426"/>
                </a:lnTo>
                <a:lnTo>
                  <a:pt x="12" y="1435"/>
                </a:lnTo>
                <a:lnTo>
                  <a:pt x="8" y="1446"/>
                </a:lnTo>
                <a:lnTo>
                  <a:pt x="4" y="1458"/>
                </a:lnTo>
                <a:lnTo>
                  <a:pt x="2" y="1469"/>
                </a:lnTo>
                <a:lnTo>
                  <a:pt x="0" y="1480"/>
                </a:lnTo>
                <a:lnTo>
                  <a:pt x="0" y="1492"/>
                </a:lnTo>
                <a:lnTo>
                  <a:pt x="0" y="1505"/>
                </a:lnTo>
                <a:lnTo>
                  <a:pt x="3" y="1518"/>
                </a:lnTo>
                <a:lnTo>
                  <a:pt x="6" y="1530"/>
                </a:lnTo>
                <a:lnTo>
                  <a:pt x="11" y="1544"/>
                </a:lnTo>
                <a:lnTo>
                  <a:pt x="17" y="1558"/>
                </a:lnTo>
                <a:lnTo>
                  <a:pt x="17" y="1558"/>
                </a:lnTo>
                <a:lnTo>
                  <a:pt x="20" y="1553"/>
                </a:lnTo>
                <a:lnTo>
                  <a:pt x="30" y="1540"/>
                </a:lnTo>
                <a:lnTo>
                  <a:pt x="45" y="1521"/>
                </a:lnTo>
                <a:lnTo>
                  <a:pt x="53" y="1511"/>
                </a:lnTo>
                <a:lnTo>
                  <a:pt x="63" y="1501"/>
                </a:lnTo>
                <a:lnTo>
                  <a:pt x="75" y="1490"/>
                </a:lnTo>
                <a:lnTo>
                  <a:pt x="86" y="1481"/>
                </a:lnTo>
                <a:lnTo>
                  <a:pt x="98" y="1473"/>
                </a:lnTo>
                <a:lnTo>
                  <a:pt x="111" y="1466"/>
                </a:lnTo>
                <a:lnTo>
                  <a:pt x="125" y="1461"/>
                </a:lnTo>
                <a:lnTo>
                  <a:pt x="131" y="1459"/>
                </a:lnTo>
                <a:lnTo>
                  <a:pt x="138" y="1458"/>
                </a:lnTo>
                <a:lnTo>
                  <a:pt x="145" y="1458"/>
                </a:lnTo>
                <a:lnTo>
                  <a:pt x="151" y="1458"/>
                </a:lnTo>
                <a:lnTo>
                  <a:pt x="159" y="1459"/>
                </a:lnTo>
                <a:lnTo>
                  <a:pt x="166" y="1461"/>
                </a:lnTo>
                <a:lnTo>
                  <a:pt x="166" y="1461"/>
                </a:lnTo>
                <a:lnTo>
                  <a:pt x="171" y="1463"/>
                </a:lnTo>
                <a:lnTo>
                  <a:pt x="174" y="1467"/>
                </a:lnTo>
                <a:lnTo>
                  <a:pt x="175" y="1473"/>
                </a:lnTo>
                <a:lnTo>
                  <a:pt x="176" y="1479"/>
                </a:lnTo>
                <a:lnTo>
                  <a:pt x="176" y="1496"/>
                </a:lnTo>
                <a:lnTo>
                  <a:pt x="174" y="1514"/>
                </a:lnTo>
                <a:lnTo>
                  <a:pt x="174" y="1524"/>
                </a:lnTo>
                <a:lnTo>
                  <a:pt x="174" y="1534"/>
                </a:lnTo>
                <a:lnTo>
                  <a:pt x="176" y="1545"/>
                </a:lnTo>
                <a:lnTo>
                  <a:pt x="178" y="1554"/>
                </a:lnTo>
                <a:lnTo>
                  <a:pt x="182" y="1564"/>
                </a:lnTo>
                <a:lnTo>
                  <a:pt x="187" y="1573"/>
                </a:lnTo>
                <a:lnTo>
                  <a:pt x="195" y="1581"/>
                </a:lnTo>
                <a:lnTo>
                  <a:pt x="205" y="1589"/>
                </a:lnTo>
                <a:lnTo>
                  <a:pt x="205" y="1589"/>
                </a:lnTo>
                <a:lnTo>
                  <a:pt x="213" y="1593"/>
                </a:lnTo>
                <a:lnTo>
                  <a:pt x="221" y="1596"/>
                </a:lnTo>
                <a:lnTo>
                  <a:pt x="231" y="1599"/>
                </a:lnTo>
                <a:lnTo>
                  <a:pt x="242" y="1600"/>
                </a:lnTo>
                <a:lnTo>
                  <a:pt x="254" y="1602"/>
                </a:lnTo>
                <a:lnTo>
                  <a:pt x="267" y="1602"/>
                </a:lnTo>
                <a:lnTo>
                  <a:pt x="293" y="1602"/>
                </a:lnTo>
                <a:lnTo>
                  <a:pt x="323" y="1600"/>
                </a:lnTo>
                <a:lnTo>
                  <a:pt x="354" y="1597"/>
                </a:lnTo>
                <a:lnTo>
                  <a:pt x="418" y="1589"/>
                </a:lnTo>
                <a:lnTo>
                  <a:pt x="481" y="1580"/>
                </a:lnTo>
                <a:lnTo>
                  <a:pt x="510" y="1576"/>
                </a:lnTo>
                <a:lnTo>
                  <a:pt x="538" y="1574"/>
                </a:lnTo>
                <a:lnTo>
                  <a:pt x="562" y="1573"/>
                </a:lnTo>
                <a:lnTo>
                  <a:pt x="583" y="1574"/>
                </a:lnTo>
                <a:lnTo>
                  <a:pt x="592" y="1575"/>
                </a:lnTo>
                <a:lnTo>
                  <a:pt x="600" y="1577"/>
                </a:lnTo>
                <a:lnTo>
                  <a:pt x="607" y="1580"/>
                </a:lnTo>
                <a:lnTo>
                  <a:pt x="613" y="1585"/>
                </a:lnTo>
                <a:lnTo>
                  <a:pt x="613" y="1585"/>
                </a:lnTo>
                <a:lnTo>
                  <a:pt x="616" y="1588"/>
                </a:lnTo>
                <a:lnTo>
                  <a:pt x="617" y="1591"/>
                </a:lnTo>
                <a:lnTo>
                  <a:pt x="616" y="1593"/>
                </a:lnTo>
                <a:lnTo>
                  <a:pt x="611" y="1596"/>
                </a:lnTo>
                <a:lnTo>
                  <a:pt x="607" y="1598"/>
                </a:lnTo>
                <a:lnTo>
                  <a:pt x="600" y="1601"/>
                </a:lnTo>
                <a:lnTo>
                  <a:pt x="583" y="1605"/>
                </a:lnTo>
                <a:lnTo>
                  <a:pt x="560" y="1609"/>
                </a:lnTo>
                <a:lnTo>
                  <a:pt x="535" y="1612"/>
                </a:lnTo>
                <a:lnTo>
                  <a:pt x="474" y="1620"/>
                </a:lnTo>
                <a:lnTo>
                  <a:pt x="443" y="1624"/>
                </a:lnTo>
                <a:lnTo>
                  <a:pt x="412" y="1629"/>
                </a:lnTo>
                <a:lnTo>
                  <a:pt x="382" y="1636"/>
                </a:lnTo>
                <a:lnTo>
                  <a:pt x="356" y="1642"/>
                </a:lnTo>
                <a:lnTo>
                  <a:pt x="344" y="1646"/>
                </a:lnTo>
                <a:lnTo>
                  <a:pt x="332" y="1650"/>
                </a:lnTo>
                <a:lnTo>
                  <a:pt x="322" y="1654"/>
                </a:lnTo>
                <a:lnTo>
                  <a:pt x="314" y="1659"/>
                </a:lnTo>
                <a:lnTo>
                  <a:pt x="307" y="1664"/>
                </a:lnTo>
                <a:lnTo>
                  <a:pt x="302" y="1669"/>
                </a:lnTo>
                <a:lnTo>
                  <a:pt x="298" y="1676"/>
                </a:lnTo>
                <a:lnTo>
                  <a:pt x="296" y="1682"/>
                </a:lnTo>
                <a:lnTo>
                  <a:pt x="296" y="1682"/>
                </a:lnTo>
                <a:lnTo>
                  <a:pt x="295" y="1687"/>
                </a:lnTo>
                <a:lnTo>
                  <a:pt x="295" y="1696"/>
                </a:lnTo>
                <a:lnTo>
                  <a:pt x="296" y="1707"/>
                </a:lnTo>
                <a:lnTo>
                  <a:pt x="298" y="1713"/>
                </a:lnTo>
                <a:lnTo>
                  <a:pt x="300" y="1718"/>
                </a:lnTo>
                <a:lnTo>
                  <a:pt x="300" y="1718"/>
                </a:lnTo>
                <a:lnTo>
                  <a:pt x="301" y="1725"/>
                </a:lnTo>
                <a:lnTo>
                  <a:pt x="301" y="1731"/>
                </a:lnTo>
                <a:lnTo>
                  <a:pt x="298" y="1737"/>
                </a:lnTo>
                <a:lnTo>
                  <a:pt x="293" y="1743"/>
                </a:lnTo>
                <a:lnTo>
                  <a:pt x="283" y="1757"/>
                </a:lnTo>
                <a:lnTo>
                  <a:pt x="269" y="1775"/>
                </a:lnTo>
                <a:lnTo>
                  <a:pt x="261" y="1785"/>
                </a:lnTo>
                <a:lnTo>
                  <a:pt x="254" y="1795"/>
                </a:lnTo>
                <a:lnTo>
                  <a:pt x="246" y="1807"/>
                </a:lnTo>
                <a:lnTo>
                  <a:pt x="240" y="1820"/>
                </a:lnTo>
                <a:lnTo>
                  <a:pt x="234" y="1834"/>
                </a:lnTo>
                <a:lnTo>
                  <a:pt x="230" y="1849"/>
                </a:lnTo>
                <a:lnTo>
                  <a:pt x="226" y="1866"/>
                </a:lnTo>
                <a:lnTo>
                  <a:pt x="225" y="1884"/>
                </a:lnTo>
                <a:lnTo>
                  <a:pt x="225" y="1884"/>
                </a:lnTo>
                <a:lnTo>
                  <a:pt x="225" y="1893"/>
                </a:lnTo>
                <a:lnTo>
                  <a:pt x="225" y="1902"/>
                </a:lnTo>
                <a:lnTo>
                  <a:pt x="228" y="1920"/>
                </a:lnTo>
                <a:lnTo>
                  <a:pt x="233" y="1937"/>
                </a:lnTo>
                <a:lnTo>
                  <a:pt x="239" y="1953"/>
                </a:lnTo>
                <a:lnTo>
                  <a:pt x="247" y="1968"/>
                </a:lnTo>
                <a:lnTo>
                  <a:pt x="257" y="1982"/>
                </a:lnTo>
                <a:lnTo>
                  <a:pt x="267" y="1995"/>
                </a:lnTo>
                <a:lnTo>
                  <a:pt x="277" y="2007"/>
                </a:lnTo>
                <a:lnTo>
                  <a:pt x="287" y="2017"/>
                </a:lnTo>
                <a:lnTo>
                  <a:pt x="298" y="2026"/>
                </a:lnTo>
                <a:lnTo>
                  <a:pt x="315" y="2042"/>
                </a:lnTo>
                <a:lnTo>
                  <a:pt x="327" y="2050"/>
                </a:lnTo>
                <a:lnTo>
                  <a:pt x="332" y="2054"/>
                </a:lnTo>
                <a:lnTo>
                  <a:pt x="332" y="2054"/>
                </a:lnTo>
                <a:lnTo>
                  <a:pt x="334" y="2050"/>
                </a:lnTo>
                <a:lnTo>
                  <a:pt x="335" y="2045"/>
                </a:lnTo>
                <a:lnTo>
                  <a:pt x="335" y="2036"/>
                </a:lnTo>
                <a:lnTo>
                  <a:pt x="334" y="2027"/>
                </a:lnTo>
                <a:lnTo>
                  <a:pt x="331" y="2006"/>
                </a:lnTo>
                <a:lnTo>
                  <a:pt x="328" y="1980"/>
                </a:lnTo>
                <a:lnTo>
                  <a:pt x="327" y="1968"/>
                </a:lnTo>
                <a:lnTo>
                  <a:pt x="326" y="1955"/>
                </a:lnTo>
                <a:lnTo>
                  <a:pt x="326" y="1943"/>
                </a:lnTo>
                <a:lnTo>
                  <a:pt x="328" y="1932"/>
                </a:lnTo>
                <a:lnTo>
                  <a:pt x="330" y="1922"/>
                </a:lnTo>
                <a:lnTo>
                  <a:pt x="334" y="1913"/>
                </a:lnTo>
                <a:lnTo>
                  <a:pt x="337" y="1910"/>
                </a:lnTo>
                <a:lnTo>
                  <a:pt x="341" y="1906"/>
                </a:lnTo>
                <a:lnTo>
                  <a:pt x="344" y="1904"/>
                </a:lnTo>
                <a:lnTo>
                  <a:pt x="348" y="1901"/>
                </a:lnTo>
                <a:lnTo>
                  <a:pt x="348" y="1901"/>
                </a:lnTo>
                <a:lnTo>
                  <a:pt x="353" y="1900"/>
                </a:lnTo>
                <a:lnTo>
                  <a:pt x="357" y="1900"/>
                </a:lnTo>
                <a:lnTo>
                  <a:pt x="362" y="1901"/>
                </a:lnTo>
                <a:lnTo>
                  <a:pt x="366" y="1905"/>
                </a:lnTo>
                <a:lnTo>
                  <a:pt x="375" y="1912"/>
                </a:lnTo>
                <a:lnTo>
                  <a:pt x="386" y="1921"/>
                </a:lnTo>
                <a:lnTo>
                  <a:pt x="397" y="1932"/>
                </a:lnTo>
                <a:lnTo>
                  <a:pt x="410" y="1941"/>
                </a:lnTo>
                <a:lnTo>
                  <a:pt x="417" y="1946"/>
                </a:lnTo>
                <a:lnTo>
                  <a:pt x="424" y="1950"/>
                </a:lnTo>
                <a:lnTo>
                  <a:pt x="434" y="1953"/>
                </a:lnTo>
                <a:lnTo>
                  <a:pt x="442" y="1955"/>
                </a:lnTo>
                <a:lnTo>
                  <a:pt x="442" y="1955"/>
                </a:lnTo>
                <a:lnTo>
                  <a:pt x="451" y="1955"/>
                </a:lnTo>
                <a:lnTo>
                  <a:pt x="460" y="1955"/>
                </a:lnTo>
                <a:lnTo>
                  <a:pt x="468" y="1954"/>
                </a:lnTo>
                <a:lnTo>
                  <a:pt x="478" y="1952"/>
                </a:lnTo>
                <a:lnTo>
                  <a:pt x="486" y="1948"/>
                </a:lnTo>
                <a:lnTo>
                  <a:pt x="494" y="1944"/>
                </a:lnTo>
                <a:lnTo>
                  <a:pt x="501" y="1940"/>
                </a:lnTo>
                <a:lnTo>
                  <a:pt x="509" y="1935"/>
                </a:lnTo>
                <a:lnTo>
                  <a:pt x="525" y="1923"/>
                </a:lnTo>
                <a:lnTo>
                  <a:pt x="539" y="1909"/>
                </a:lnTo>
                <a:lnTo>
                  <a:pt x="554" y="1892"/>
                </a:lnTo>
                <a:lnTo>
                  <a:pt x="571" y="1875"/>
                </a:lnTo>
                <a:lnTo>
                  <a:pt x="604" y="1836"/>
                </a:lnTo>
                <a:lnTo>
                  <a:pt x="624" y="1817"/>
                </a:lnTo>
                <a:lnTo>
                  <a:pt x="644" y="1797"/>
                </a:lnTo>
                <a:lnTo>
                  <a:pt x="667" y="1777"/>
                </a:lnTo>
                <a:lnTo>
                  <a:pt x="691" y="1758"/>
                </a:lnTo>
                <a:lnTo>
                  <a:pt x="705" y="1749"/>
                </a:lnTo>
                <a:lnTo>
                  <a:pt x="718" y="1741"/>
                </a:lnTo>
                <a:lnTo>
                  <a:pt x="732" y="1733"/>
                </a:lnTo>
                <a:lnTo>
                  <a:pt x="747" y="1725"/>
                </a:lnTo>
                <a:lnTo>
                  <a:pt x="747" y="1725"/>
                </a:lnTo>
                <a:lnTo>
                  <a:pt x="787" y="1706"/>
                </a:lnTo>
                <a:lnTo>
                  <a:pt x="819" y="1694"/>
                </a:lnTo>
                <a:lnTo>
                  <a:pt x="831" y="1689"/>
                </a:lnTo>
                <a:lnTo>
                  <a:pt x="843" y="1686"/>
                </a:lnTo>
                <a:lnTo>
                  <a:pt x="852" y="1685"/>
                </a:lnTo>
                <a:lnTo>
                  <a:pt x="859" y="1684"/>
                </a:lnTo>
                <a:lnTo>
                  <a:pt x="865" y="1684"/>
                </a:lnTo>
                <a:lnTo>
                  <a:pt x="869" y="1686"/>
                </a:lnTo>
                <a:lnTo>
                  <a:pt x="872" y="1688"/>
                </a:lnTo>
                <a:lnTo>
                  <a:pt x="874" y="1691"/>
                </a:lnTo>
                <a:lnTo>
                  <a:pt x="876" y="1694"/>
                </a:lnTo>
                <a:lnTo>
                  <a:pt x="876" y="1698"/>
                </a:lnTo>
                <a:lnTo>
                  <a:pt x="875" y="1708"/>
                </a:lnTo>
                <a:lnTo>
                  <a:pt x="872" y="1720"/>
                </a:lnTo>
                <a:lnTo>
                  <a:pt x="868" y="1734"/>
                </a:lnTo>
                <a:lnTo>
                  <a:pt x="865" y="1747"/>
                </a:lnTo>
                <a:lnTo>
                  <a:pt x="863" y="1759"/>
                </a:lnTo>
                <a:lnTo>
                  <a:pt x="863" y="1765"/>
                </a:lnTo>
                <a:lnTo>
                  <a:pt x="863" y="1772"/>
                </a:lnTo>
                <a:lnTo>
                  <a:pt x="865" y="1777"/>
                </a:lnTo>
                <a:lnTo>
                  <a:pt x="867" y="1782"/>
                </a:lnTo>
                <a:lnTo>
                  <a:pt x="870" y="1786"/>
                </a:lnTo>
                <a:lnTo>
                  <a:pt x="875" y="1790"/>
                </a:lnTo>
                <a:lnTo>
                  <a:pt x="881" y="1793"/>
                </a:lnTo>
                <a:lnTo>
                  <a:pt x="889" y="1795"/>
                </a:lnTo>
                <a:lnTo>
                  <a:pt x="889" y="1795"/>
                </a:lnTo>
                <a:lnTo>
                  <a:pt x="901" y="1799"/>
                </a:lnTo>
                <a:lnTo>
                  <a:pt x="912" y="1802"/>
                </a:lnTo>
                <a:lnTo>
                  <a:pt x="921" y="1807"/>
                </a:lnTo>
                <a:lnTo>
                  <a:pt x="928" y="1811"/>
                </a:lnTo>
                <a:lnTo>
                  <a:pt x="935" y="1817"/>
                </a:lnTo>
                <a:lnTo>
                  <a:pt x="940" y="1822"/>
                </a:lnTo>
                <a:lnTo>
                  <a:pt x="943" y="1828"/>
                </a:lnTo>
                <a:lnTo>
                  <a:pt x="945" y="1834"/>
                </a:lnTo>
                <a:lnTo>
                  <a:pt x="947" y="1840"/>
                </a:lnTo>
                <a:lnTo>
                  <a:pt x="947" y="1846"/>
                </a:lnTo>
                <a:lnTo>
                  <a:pt x="946" y="1853"/>
                </a:lnTo>
                <a:lnTo>
                  <a:pt x="945" y="1860"/>
                </a:lnTo>
                <a:lnTo>
                  <a:pt x="943" y="1867"/>
                </a:lnTo>
                <a:lnTo>
                  <a:pt x="940" y="1874"/>
                </a:lnTo>
                <a:lnTo>
                  <a:pt x="932" y="1887"/>
                </a:lnTo>
                <a:lnTo>
                  <a:pt x="922" y="1900"/>
                </a:lnTo>
                <a:lnTo>
                  <a:pt x="912" y="1913"/>
                </a:lnTo>
                <a:lnTo>
                  <a:pt x="902" y="1924"/>
                </a:lnTo>
                <a:lnTo>
                  <a:pt x="892" y="1934"/>
                </a:lnTo>
                <a:lnTo>
                  <a:pt x="875" y="1948"/>
                </a:lnTo>
                <a:lnTo>
                  <a:pt x="869" y="1955"/>
                </a:lnTo>
                <a:lnTo>
                  <a:pt x="869" y="1955"/>
                </a:lnTo>
                <a:lnTo>
                  <a:pt x="877" y="1959"/>
                </a:lnTo>
                <a:lnTo>
                  <a:pt x="888" y="1961"/>
                </a:lnTo>
                <a:lnTo>
                  <a:pt x="899" y="1962"/>
                </a:lnTo>
                <a:lnTo>
                  <a:pt x="912" y="1961"/>
                </a:lnTo>
                <a:lnTo>
                  <a:pt x="926" y="1958"/>
                </a:lnTo>
                <a:lnTo>
                  <a:pt x="941" y="1954"/>
                </a:lnTo>
                <a:lnTo>
                  <a:pt x="957" y="1947"/>
                </a:lnTo>
                <a:lnTo>
                  <a:pt x="972" y="1939"/>
                </a:lnTo>
                <a:lnTo>
                  <a:pt x="989" y="1930"/>
                </a:lnTo>
                <a:lnTo>
                  <a:pt x="1004" y="1919"/>
                </a:lnTo>
                <a:lnTo>
                  <a:pt x="1019" y="1906"/>
                </a:lnTo>
                <a:lnTo>
                  <a:pt x="1035" y="1891"/>
                </a:lnTo>
                <a:lnTo>
                  <a:pt x="1048" y="1874"/>
                </a:lnTo>
                <a:lnTo>
                  <a:pt x="1061" y="1855"/>
                </a:lnTo>
                <a:lnTo>
                  <a:pt x="1073" y="1835"/>
                </a:lnTo>
                <a:lnTo>
                  <a:pt x="1083" y="1814"/>
                </a:lnTo>
                <a:lnTo>
                  <a:pt x="1083" y="1814"/>
                </a:lnTo>
                <a:lnTo>
                  <a:pt x="1086" y="1805"/>
                </a:lnTo>
                <a:lnTo>
                  <a:pt x="1089" y="1799"/>
                </a:lnTo>
                <a:lnTo>
                  <a:pt x="1092" y="1794"/>
                </a:lnTo>
                <a:lnTo>
                  <a:pt x="1096" y="1790"/>
                </a:lnTo>
                <a:lnTo>
                  <a:pt x="1100" y="1787"/>
                </a:lnTo>
                <a:lnTo>
                  <a:pt x="1103" y="1784"/>
                </a:lnTo>
                <a:lnTo>
                  <a:pt x="1111" y="1781"/>
                </a:lnTo>
                <a:lnTo>
                  <a:pt x="1120" y="1778"/>
                </a:lnTo>
                <a:lnTo>
                  <a:pt x="1129" y="1774"/>
                </a:lnTo>
                <a:lnTo>
                  <a:pt x="1138" y="1768"/>
                </a:lnTo>
                <a:lnTo>
                  <a:pt x="1143" y="1763"/>
                </a:lnTo>
                <a:lnTo>
                  <a:pt x="1148" y="1758"/>
                </a:lnTo>
                <a:lnTo>
                  <a:pt x="1148" y="1758"/>
                </a:lnTo>
                <a:lnTo>
                  <a:pt x="1151" y="1752"/>
                </a:lnTo>
                <a:lnTo>
                  <a:pt x="1154" y="1746"/>
                </a:lnTo>
                <a:lnTo>
                  <a:pt x="1158" y="1740"/>
                </a:lnTo>
                <a:lnTo>
                  <a:pt x="1159" y="1734"/>
                </a:lnTo>
                <a:lnTo>
                  <a:pt x="1160" y="1719"/>
                </a:lnTo>
                <a:lnTo>
                  <a:pt x="1160" y="1705"/>
                </a:lnTo>
                <a:lnTo>
                  <a:pt x="1160" y="1690"/>
                </a:lnTo>
                <a:lnTo>
                  <a:pt x="1160" y="1676"/>
                </a:lnTo>
                <a:lnTo>
                  <a:pt x="1162" y="1661"/>
                </a:lnTo>
                <a:lnTo>
                  <a:pt x="1164" y="1655"/>
                </a:lnTo>
                <a:lnTo>
                  <a:pt x="1166" y="1649"/>
                </a:lnTo>
                <a:lnTo>
                  <a:pt x="1166" y="1649"/>
                </a:lnTo>
                <a:lnTo>
                  <a:pt x="1170" y="1643"/>
                </a:lnTo>
                <a:lnTo>
                  <a:pt x="1174" y="1638"/>
                </a:lnTo>
                <a:lnTo>
                  <a:pt x="1178" y="1633"/>
                </a:lnTo>
                <a:lnTo>
                  <a:pt x="1183" y="1628"/>
                </a:lnTo>
                <a:lnTo>
                  <a:pt x="1195" y="1620"/>
                </a:lnTo>
                <a:lnTo>
                  <a:pt x="1209" y="1614"/>
                </a:lnTo>
                <a:lnTo>
                  <a:pt x="1223" y="1609"/>
                </a:lnTo>
                <a:lnTo>
                  <a:pt x="1237" y="1605"/>
                </a:lnTo>
                <a:lnTo>
                  <a:pt x="1268" y="1597"/>
                </a:lnTo>
                <a:lnTo>
                  <a:pt x="1298" y="1591"/>
                </a:lnTo>
                <a:lnTo>
                  <a:pt x="1310" y="1587"/>
                </a:lnTo>
                <a:lnTo>
                  <a:pt x="1321" y="1581"/>
                </a:lnTo>
                <a:lnTo>
                  <a:pt x="1329" y="1575"/>
                </a:lnTo>
                <a:lnTo>
                  <a:pt x="1333" y="1572"/>
                </a:lnTo>
                <a:lnTo>
                  <a:pt x="1335" y="1568"/>
                </a:lnTo>
                <a:lnTo>
                  <a:pt x="1338" y="1564"/>
                </a:lnTo>
                <a:lnTo>
                  <a:pt x="1340" y="1559"/>
                </a:lnTo>
                <a:lnTo>
                  <a:pt x="1340" y="1554"/>
                </a:lnTo>
                <a:lnTo>
                  <a:pt x="1340" y="1549"/>
                </a:lnTo>
                <a:lnTo>
                  <a:pt x="1340" y="1549"/>
                </a:lnTo>
                <a:lnTo>
                  <a:pt x="1338" y="1534"/>
                </a:lnTo>
                <a:lnTo>
                  <a:pt x="1338" y="1521"/>
                </a:lnTo>
                <a:lnTo>
                  <a:pt x="1341" y="1509"/>
                </a:lnTo>
                <a:lnTo>
                  <a:pt x="1345" y="1499"/>
                </a:lnTo>
                <a:lnTo>
                  <a:pt x="1350" y="1488"/>
                </a:lnTo>
                <a:lnTo>
                  <a:pt x="1355" y="1480"/>
                </a:lnTo>
                <a:lnTo>
                  <a:pt x="1362" y="1472"/>
                </a:lnTo>
                <a:lnTo>
                  <a:pt x="1370" y="1465"/>
                </a:lnTo>
                <a:lnTo>
                  <a:pt x="1378" y="1459"/>
                </a:lnTo>
                <a:lnTo>
                  <a:pt x="1388" y="1453"/>
                </a:lnTo>
                <a:lnTo>
                  <a:pt x="1406" y="1443"/>
                </a:lnTo>
                <a:lnTo>
                  <a:pt x="1424" y="1435"/>
                </a:lnTo>
                <a:lnTo>
                  <a:pt x="1441" y="1428"/>
                </a:lnTo>
                <a:lnTo>
                  <a:pt x="1441" y="1428"/>
                </a:lnTo>
                <a:lnTo>
                  <a:pt x="1443" y="1428"/>
                </a:lnTo>
                <a:lnTo>
                  <a:pt x="1444" y="1429"/>
                </a:lnTo>
                <a:lnTo>
                  <a:pt x="1447" y="1431"/>
                </a:lnTo>
                <a:lnTo>
                  <a:pt x="1449" y="1436"/>
                </a:lnTo>
                <a:lnTo>
                  <a:pt x="1453" y="1443"/>
                </a:lnTo>
                <a:lnTo>
                  <a:pt x="1461" y="1462"/>
                </a:lnTo>
                <a:lnTo>
                  <a:pt x="1467" y="1473"/>
                </a:lnTo>
                <a:lnTo>
                  <a:pt x="1474" y="1485"/>
                </a:lnTo>
                <a:lnTo>
                  <a:pt x="1484" y="1498"/>
                </a:lnTo>
                <a:lnTo>
                  <a:pt x="1494" y="1511"/>
                </a:lnTo>
                <a:lnTo>
                  <a:pt x="1506" y="1525"/>
                </a:lnTo>
                <a:lnTo>
                  <a:pt x="1522" y="1539"/>
                </a:lnTo>
                <a:lnTo>
                  <a:pt x="1539" y="1552"/>
                </a:lnTo>
                <a:lnTo>
                  <a:pt x="1559" y="1564"/>
                </a:lnTo>
                <a:lnTo>
                  <a:pt x="1583" y="1576"/>
                </a:lnTo>
                <a:lnTo>
                  <a:pt x="1609" y="1587"/>
                </a:lnTo>
                <a:lnTo>
                  <a:pt x="1609" y="1587"/>
                </a:lnTo>
                <a:lnTo>
                  <a:pt x="1684" y="1556"/>
                </a:lnTo>
                <a:lnTo>
                  <a:pt x="1730" y="1534"/>
                </a:lnTo>
                <a:lnTo>
                  <a:pt x="1757" y="1521"/>
                </a:lnTo>
                <a:lnTo>
                  <a:pt x="1786" y="1506"/>
                </a:lnTo>
                <a:lnTo>
                  <a:pt x="1786" y="1506"/>
                </a:lnTo>
                <a:lnTo>
                  <a:pt x="1818" y="1489"/>
                </a:lnTo>
                <a:lnTo>
                  <a:pt x="1848" y="1472"/>
                </a:lnTo>
                <a:lnTo>
                  <a:pt x="1860" y="1464"/>
                </a:lnTo>
                <a:lnTo>
                  <a:pt x="1871" y="1457"/>
                </a:lnTo>
                <a:lnTo>
                  <a:pt x="1881" y="1449"/>
                </a:lnTo>
                <a:lnTo>
                  <a:pt x="1889" y="1442"/>
                </a:lnTo>
                <a:lnTo>
                  <a:pt x="1889" y="1442"/>
                </a:lnTo>
                <a:lnTo>
                  <a:pt x="1888" y="1440"/>
                </a:lnTo>
                <a:lnTo>
                  <a:pt x="1887" y="1438"/>
                </a:lnTo>
                <a:lnTo>
                  <a:pt x="1879" y="1431"/>
                </a:lnTo>
                <a:lnTo>
                  <a:pt x="1868" y="1420"/>
                </a:lnTo>
                <a:lnTo>
                  <a:pt x="1855" y="1406"/>
                </a:lnTo>
                <a:lnTo>
                  <a:pt x="1840" y="1388"/>
                </a:lnTo>
                <a:lnTo>
                  <a:pt x="1825" y="1369"/>
                </a:lnTo>
                <a:lnTo>
                  <a:pt x="1818" y="1358"/>
                </a:lnTo>
                <a:lnTo>
                  <a:pt x="1812" y="1345"/>
                </a:lnTo>
                <a:lnTo>
                  <a:pt x="1807" y="1334"/>
                </a:lnTo>
                <a:lnTo>
                  <a:pt x="1802" y="1321"/>
                </a:lnTo>
                <a:lnTo>
                  <a:pt x="1802" y="1321"/>
                </a:lnTo>
                <a:lnTo>
                  <a:pt x="1799" y="1308"/>
                </a:lnTo>
                <a:lnTo>
                  <a:pt x="1796" y="1297"/>
                </a:lnTo>
                <a:lnTo>
                  <a:pt x="1794" y="1288"/>
                </a:lnTo>
                <a:lnTo>
                  <a:pt x="1794" y="1279"/>
                </a:lnTo>
                <a:lnTo>
                  <a:pt x="1794" y="1272"/>
                </a:lnTo>
                <a:lnTo>
                  <a:pt x="1794" y="1267"/>
                </a:lnTo>
                <a:lnTo>
                  <a:pt x="1795" y="1263"/>
                </a:lnTo>
                <a:lnTo>
                  <a:pt x="1796" y="1261"/>
                </a:lnTo>
                <a:lnTo>
                  <a:pt x="1796" y="1261"/>
                </a:lnTo>
                <a:lnTo>
                  <a:pt x="1809" y="1278"/>
                </a:lnTo>
                <a:lnTo>
                  <a:pt x="1824" y="1295"/>
                </a:lnTo>
                <a:lnTo>
                  <a:pt x="1845" y="1316"/>
                </a:lnTo>
                <a:lnTo>
                  <a:pt x="1857" y="1327"/>
                </a:lnTo>
                <a:lnTo>
                  <a:pt x="1869" y="1338"/>
                </a:lnTo>
                <a:lnTo>
                  <a:pt x="1883" y="1349"/>
                </a:lnTo>
                <a:lnTo>
                  <a:pt x="1899" y="1361"/>
                </a:lnTo>
                <a:lnTo>
                  <a:pt x="1915" y="1372"/>
                </a:lnTo>
                <a:lnTo>
                  <a:pt x="1932" y="1381"/>
                </a:lnTo>
                <a:lnTo>
                  <a:pt x="1949" y="1390"/>
                </a:lnTo>
                <a:lnTo>
                  <a:pt x="1967" y="1398"/>
                </a:lnTo>
                <a:lnTo>
                  <a:pt x="1967" y="1398"/>
                </a:lnTo>
                <a:lnTo>
                  <a:pt x="2021" y="1370"/>
                </a:lnTo>
                <a:lnTo>
                  <a:pt x="2075" y="1340"/>
                </a:lnTo>
                <a:lnTo>
                  <a:pt x="2129" y="1307"/>
                </a:lnTo>
                <a:lnTo>
                  <a:pt x="2183" y="1273"/>
                </a:lnTo>
                <a:lnTo>
                  <a:pt x="2183" y="1273"/>
                </a:lnTo>
                <a:lnTo>
                  <a:pt x="2218" y="1249"/>
                </a:lnTo>
                <a:lnTo>
                  <a:pt x="2218" y="1249"/>
                </a:lnTo>
                <a:lnTo>
                  <a:pt x="2219" y="1248"/>
                </a:lnTo>
                <a:lnTo>
                  <a:pt x="2219" y="1248"/>
                </a:lnTo>
                <a:lnTo>
                  <a:pt x="2220" y="1246"/>
                </a:lnTo>
                <a:lnTo>
                  <a:pt x="2219" y="1244"/>
                </a:lnTo>
                <a:lnTo>
                  <a:pt x="2215" y="1237"/>
                </a:lnTo>
                <a:lnTo>
                  <a:pt x="2207" y="1228"/>
                </a:lnTo>
                <a:lnTo>
                  <a:pt x="2196" y="1217"/>
                </a:lnTo>
                <a:lnTo>
                  <a:pt x="2171" y="1193"/>
                </a:lnTo>
                <a:lnTo>
                  <a:pt x="2142" y="1164"/>
                </a:lnTo>
                <a:lnTo>
                  <a:pt x="2129" y="1150"/>
                </a:lnTo>
                <a:lnTo>
                  <a:pt x="2118" y="1136"/>
                </a:lnTo>
                <a:lnTo>
                  <a:pt x="2108" y="1121"/>
                </a:lnTo>
                <a:lnTo>
                  <a:pt x="2104" y="1114"/>
                </a:lnTo>
                <a:lnTo>
                  <a:pt x="2101" y="1108"/>
                </a:lnTo>
                <a:lnTo>
                  <a:pt x="2100" y="1101"/>
                </a:lnTo>
                <a:lnTo>
                  <a:pt x="2099" y="1095"/>
                </a:lnTo>
                <a:lnTo>
                  <a:pt x="2099" y="1089"/>
                </a:lnTo>
                <a:lnTo>
                  <a:pt x="2100" y="1084"/>
                </a:lnTo>
                <a:lnTo>
                  <a:pt x="2102" y="1078"/>
                </a:lnTo>
                <a:lnTo>
                  <a:pt x="2106" y="1073"/>
                </a:lnTo>
                <a:lnTo>
                  <a:pt x="2112" y="1069"/>
                </a:lnTo>
                <a:lnTo>
                  <a:pt x="2119" y="1065"/>
                </a:lnTo>
                <a:lnTo>
                  <a:pt x="2119" y="1065"/>
                </a:lnTo>
                <a:lnTo>
                  <a:pt x="2125" y="1061"/>
                </a:lnTo>
                <a:lnTo>
                  <a:pt x="2130" y="1056"/>
                </a:lnTo>
                <a:lnTo>
                  <a:pt x="2133" y="1051"/>
                </a:lnTo>
                <a:lnTo>
                  <a:pt x="2135" y="1045"/>
                </a:lnTo>
                <a:lnTo>
                  <a:pt x="2136" y="1039"/>
                </a:lnTo>
                <a:lnTo>
                  <a:pt x="2136" y="1030"/>
                </a:lnTo>
                <a:lnTo>
                  <a:pt x="2136" y="1023"/>
                </a:lnTo>
                <a:lnTo>
                  <a:pt x="2134" y="1014"/>
                </a:lnTo>
                <a:lnTo>
                  <a:pt x="2129" y="997"/>
                </a:lnTo>
                <a:lnTo>
                  <a:pt x="2121" y="977"/>
                </a:lnTo>
                <a:lnTo>
                  <a:pt x="2102" y="935"/>
                </a:lnTo>
                <a:lnTo>
                  <a:pt x="2093" y="914"/>
                </a:lnTo>
                <a:lnTo>
                  <a:pt x="2085" y="893"/>
                </a:lnTo>
                <a:lnTo>
                  <a:pt x="2078" y="873"/>
                </a:lnTo>
                <a:lnTo>
                  <a:pt x="2076" y="863"/>
                </a:lnTo>
                <a:lnTo>
                  <a:pt x="2074" y="853"/>
                </a:lnTo>
                <a:lnTo>
                  <a:pt x="2074" y="844"/>
                </a:lnTo>
                <a:lnTo>
                  <a:pt x="2074" y="836"/>
                </a:lnTo>
                <a:lnTo>
                  <a:pt x="2075" y="828"/>
                </a:lnTo>
                <a:lnTo>
                  <a:pt x="2077" y="821"/>
                </a:lnTo>
                <a:lnTo>
                  <a:pt x="2080" y="814"/>
                </a:lnTo>
                <a:lnTo>
                  <a:pt x="2085" y="807"/>
                </a:lnTo>
                <a:lnTo>
                  <a:pt x="2091" y="801"/>
                </a:lnTo>
                <a:lnTo>
                  <a:pt x="2099" y="797"/>
                </a:lnTo>
                <a:lnTo>
                  <a:pt x="2099" y="797"/>
                </a:lnTo>
                <a:lnTo>
                  <a:pt x="2200" y="744"/>
                </a:lnTo>
                <a:lnTo>
                  <a:pt x="2306" y="693"/>
                </a:lnTo>
                <a:lnTo>
                  <a:pt x="2410" y="642"/>
                </a:lnTo>
                <a:lnTo>
                  <a:pt x="2513" y="592"/>
                </a:lnTo>
                <a:lnTo>
                  <a:pt x="2705" y="501"/>
                </a:lnTo>
                <a:lnTo>
                  <a:pt x="2788" y="461"/>
                </a:lnTo>
                <a:lnTo>
                  <a:pt x="2863" y="424"/>
                </a:lnTo>
                <a:lnTo>
                  <a:pt x="2863" y="424"/>
                </a:lnTo>
                <a:lnTo>
                  <a:pt x="2859" y="408"/>
                </a:lnTo>
                <a:lnTo>
                  <a:pt x="2853" y="389"/>
                </a:lnTo>
                <a:lnTo>
                  <a:pt x="2843" y="366"/>
                </a:lnTo>
                <a:lnTo>
                  <a:pt x="2836" y="354"/>
                </a:lnTo>
                <a:lnTo>
                  <a:pt x="2829" y="339"/>
                </a:lnTo>
                <a:lnTo>
                  <a:pt x="2821" y="325"/>
                </a:lnTo>
                <a:lnTo>
                  <a:pt x="2812" y="311"/>
                </a:lnTo>
                <a:lnTo>
                  <a:pt x="2801" y="296"/>
                </a:lnTo>
                <a:lnTo>
                  <a:pt x="2788" y="281"/>
                </a:lnTo>
                <a:lnTo>
                  <a:pt x="2774" y="267"/>
                </a:lnTo>
                <a:lnTo>
                  <a:pt x="2759" y="25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5" name="Freeform 32"/>
          <p:cNvSpPr>
            <a:spLocks/>
          </p:cNvSpPr>
          <p:nvPr userDrawn="1"/>
        </p:nvSpPr>
        <p:spPr bwMode="auto">
          <a:xfrm>
            <a:off x="7194551" y="1861841"/>
            <a:ext cx="161925" cy="153988"/>
          </a:xfrm>
          <a:custGeom>
            <a:avLst/>
            <a:gdLst>
              <a:gd name="T0" fmla="*/ 2 w 1226"/>
              <a:gd name="T1" fmla="*/ 386 h 1168"/>
              <a:gd name="T2" fmla="*/ 22 w 1226"/>
              <a:gd name="T3" fmla="*/ 434 h 1168"/>
              <a:gd name="T4" fmla="*/ 61 w 1226"/>
              <a:gd name="T5" fmla="*/ 466 h 1168"/>
              <a:gd name="T6" fmla="*/ 120 w 1226"/>
              <a:gd name="T7" fmla="*/ 479 h 1168"/>
              <a:gd name="T8" fmla="*/ 142 w 1226"/>
              <a:gd name="T9" fmla="*/ 469 h 1168"/>
              <a:gd name="T10" fmla="*/ 160 w 1226"/>
              <a:gd name="T11" fmla="*/ 436 h 1168"/>
              <a:gd name="T12" fmla="*/ 164 w 1226"/>
              <a:gd name="T13" fmla="*/ 370 h 1168"/>
              <a:gd name="T14" fmla="*/ 174 w 1226"/>
              <a:gd name="T15" fmla="*/ 344 h 1168"/>
              <a:gd name="T16" fmla="*/ 198 w 1226"/>
              <a:gd name="T17" fmla="*/ 331 h 1168"/>
              <a:gd name="T18" fmla="*/ 223 w 1226"/>
              <a:gd name="T19" fmla="*/ 318 h 1168"/>
              <a:gd name="T20" fmla="*/ 427 w 1226"/>
              <a:gd name="T21" fmla="*/ 416 h 1168"/>
              <a:gd name="T22" fmla="*/ 628 w 1226"/>
              <a:gd name="T23" fmla="*/ 534 h 1168"/>
              <a:gd name="T24" fmla="*/ 876 w 1226"/>
              <a:gd name="T25" fmla="*/ 703 h 1168"/>
              <a:gd name="T26" fmla="*/ 868 w 1226"/>
              <a:gd name="T27" fmla="*/ 783 h 1168"/>
              <a:gd name="T28" fmla="*/ 779 w 1226"/>
              <a:gd name="T29" fmla="*/ 957 h 1168"/>
              <a:gd name="T30" fmla="*/ 753 w 1226"/>
              <a:gd name="T31" fmla="*/ 1040 h 1168"/>
              <a:gd name="T32" fmla="*/ 754 w 1226"/>
              <a:gd name="T33" fmla="*/ 1090 h 1168"/>
              <a:gd name="T34" fmla="*/ 771 w 1226"/>
              <a:gd name="T35" fmla="*/ 1130 h 1168"/>
              <a:gd name="T36" fmla="*/ 801 w 1226"/>
              <a:gd name="T37" fmla="*/ 1157 h 1168"/>
              <a:gd name="T38" fmla="*/ 842 w 1226"/>
              <a:gd name="T39" fmla="*/ 1168 h 1168"/>
              <a:gd name="T40" fmla="*/ 880 w 1226"/>
              <a:gd name="T41" fmla="*/ 1163 h 1168"/>
              <a:gd name="T42" fmla="*/ 919 w 1226"/>
              <a:gd name="T43" fmla="*/ 1140 h 1168"/>
              <a:gd name="T44" fmla="*/ 944 w 1226"/>
              <a:gd name="T45" fmla="*/ 1107 h 1168"/>
              <a:gd name="T46" fmla="*/ 952 w 1226"/>
              <a:gd name="T47" fmla="*/ 1060 h 1168"/>
              <a:gd name="T48" fmla="*/ 930 w 1226"/>
              <a:gd name="T49" fmla="*/ 1010 h 1168"/>
              <a:gd name="T50" fmla="*/ 885 w 1226"/>
              <a:gd name="T51" fmla="*/ 989 h 1168"/>
              <a:gd name="T52" fmla="*/ 919 w 1226"/>
              <a:gd name="T53" fmla="*/ 879 h 1168"/>
              <a:gd name="T54" fmla="*/ 954 w 1226"/>
              <a:gd name="T55" fmla="*/ 807 h 1168"/>
              <a:gd name="T56" fmla="*/ 1024 w 1226"/>
              <a:gd name="T57" fmla="*/ 715 h 1168"/>
              <a:gd name="T58" fmla="*/ 1095 w 1226"/>
              <a:gd name="T59" fmla="*/ 673 h 1168"/>
              <a:gd name="T60" fmla="*/ 1125 w 1226"/>
              <a:gd name="T61" fmla="*/ 670 h 1168"/>
              <a:gd name="T62" fmla="*/ 1099 w 1226"/>
              <a:gd name="T63" fmla="*/ 633 h 1168"/>
              <a:gd name="T64" fmla="*/ 1083 w 1226"/>
              <a:gd name="T65" fmla="*/ 543 h 1168"/>
              <a:gd name="T66" fmla="*/ 1096 w 1226"/>
              <a:gd name="T67" fmla="*/ 477 h 1168"/>
              <a:gd name="T68" fmla="*/ 1132 w 1226"/>
              <a:gd name="T69" fmla="*/ 395 h 1168"/>
              <a:gd name="T70" fmla="*/ 1195 w 1226"/>
              <a:gd name="T71" fmla="*/ 258 h 1168"/>
              <a:gd name="T72" fmla="*/ 1225 w 1226"/>
              <a:gd name="T73" fmla="*/ 141 h 1168"/>
              <a:gd name="T74" fmla="*/ 1217 w 1226"/>
              <a:gd name="T75" fmla="*/ 95 h 1168"/>
              <a:gd name="T76" fmla="*/ 1187 w 1226"/>
              <a:gd name="T77" fmla="*/ 55 h 1168"/>
              <a:gd name="T78" fmla="*/ 1144 w 1226"/>
              <a:gd name="T79" fmla="*/ 34 h 1168"/>
              <a:gd name="T80" fmla="*/ 1104 w 1226"/>
              <a:gd name="T81" fmla="*/ 35 h 1168"/>
              <a:gd name="T82" fmla="*/ 1061 w 1226"/>
              <a:gd name="T83" fmla="*/ 57 h 1168"/>
              <a:gd name="T84" fmla="*/ 1033 w 1226"/>
              <a:gd name="T85" fmla="*/ 94 h 1168"/>
              <a:gd name="T86" fmla="*/ 1025 w 1226"/>
              <a:gd name="T87" fmla="*/ 139 h 1168"/>
              <a:gd name="T88" fmla="*/ 1048 w 1226"/>
              <a:gd name="T89" fmla="*/ 205 h 1168"/>
              <a:gd name="T90" fmla="*/ 1095 w 1226"/>
              <a:gd name="T91" fmla="*/ 230 h 1168"/>
              <a:gd name="T92" fmla="*/ 1107 w 1226"/>
              <a:gd name="T93" fmla="*/ 240 h 1168"/>
              <a:gd name="T94" fmla="*/ 1044 w 1226"/>
              <a:gd name="T95" fmla="*/ 390 h 1168"/>
              <a:gd name="T96" fmla="*/ 975 w 1226"/>
              <a:gd name="T97" fmla="*/ 431 h 1168"/>
              <a:gd name="T98" fmla="*/ 717 w 1226"/>
              <a:gd name="T99" fmla="*/ 289 h 1168"/>
              <a:gd name="T100" fmla="*/ 529 w 1226"/>
              <a:gd name="T101" fmla="*/ 205 h 1168"/>
              <a:gd name="T102" fmla="*/ 317 w 1226"/>
              <a:gd name="T103" fmla="*/ 140 h 1168"/>
              <a:gd name="T104" fmla="*/ 378 w 1226"/>
              <a:gd name="T105" fmla="*/ 31 h 1168"/>
              <a:gd name="T106" fmla="*/ 389 w 1226"/>
              <a:gd name="T107" fmla="*/ 0 h 1168"/>
              <a:gd name="T108" fmla="*/ 367 w 1226"/>
              <a:gd name="T109" fmla="*/ 10 h 1168"/>
              <a:gd name="T110" fmla="*/ 285 w 1226"/>
              <a:gd name="T111" fmla="*/ 57 h 1168"/>
              <a:gd name="T112" fmla="*/ 211 w 1226"/>
              <a:gd name="T113" fmla="*/ 85 h 1168"/>
              <a:gd name="T114" fmla="*/ 147 w 1226"/>
              <a:gd name="T115" fmla="*/ 85 h 1168"/>
              <a:gd name="T116" fmla="*/ 114 w 1226"/>
              <a:gd name="T117" fmla="*/ 85 h 1168"/>
              <a:gd name="T118" fmla="*/ 87 w 1226"/>
              <a:gd name="T119" fmla="*/ 134 h 1168"/>
              <a:gd name="T120" fmla="*/ 42 w 1226"/>
              <a:gd name="T121" fmla="*/ 261 h 1168"/>
              <a:gd name="T122" fmla="*/ 6 w 1226"/>
              <a:gd name="T123" fmla="*/ 327 h 1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6" h="1168">
                <a:moveTo>
                  <a:pt x="1" y="345"/>
                </a:moveTo>
                <a:lnTo>
                  <a:pt x="1" y="345"/>
                </a:lnTo>
                <a:lnTo>
                  <a:pt x="0" y="359"/>
                </a:lnTo>
                <a:lnTo>
                  <a:pt x="0" y="370"/>
                </a:lnTo>
                <a:lnTo>
                  <a:pt x="2" y="386"/>
                </a:lnTo>
                <a:lnTo>
                  <a:pt x="5" y="401"/>
                </a:lnTo>
                <a:lnTo>
                  <a:pt x="8" y="409"/>
                </a:lnTo>
                <a:lnTo>
                  <a:pt x="11" y="417"/>
                </a:lnTo>
                <a:lnTo>
                  <a:pt x="16" y="425"/>
                </a:lnTo>
                <a:lnTo>
                  <a:pt x="22" y="434"/>
                </a:lnTo>
                <a:lnTo>
                  <a:pt x="28" y="442"/>
                </a:lnTo>
                <a:lnTo>
                  <a:pt x="36" y="449"/>
                </a:lnTo>
                <a:lnTo>
                  <a:pt x="36" y="449"/>
                </a:lnTo>
                <a:lnTo>
                  <a:pt x="48" y="458"/>
                </a:lnTo>
                <a:lnTo>
                  <a:pt x="61" y="466"/>
                </a:lnTo>
                <a:lnTo>
                  <a:pt x="76" y="473"/>
                </a:lnTo>
                <a:lnTo>
                  <a:pt x="91" y="478"/>
                </a:lnTo>
                <a:lnTo>
                  <a:pt x="105" y="480"/>
                </a:lnTo>
                <a:lnTo>
                  <a:pt x="113" y="480"/>
                </a:lnTo>
                <a:lnTo>
                  <a:pt x="120" y="479"/>
                </a:lnTo>
                <a:lnTo>
                  <a:pt x="126" y="478"/>
                </a:lnTo>
                <a:lnTo>
                  <a:pt x="132" y="476"/>
                </a:lnTo>
                <a:lnTo>
                  <a:pt x="137" y="473"/>
                </a:lnTo>
                <a:lnTo>
                  <a:pt x="142" y="469"/>
                </a:lnTo>
                <a:lnTo>
                  <a:pt x="142" y="469"/>
                </a:lnTo>
                <a:lnTo>
                  <a:pt x="147" y="464"/>
                </a:lnTo>
                <a:lnTo>
                  <a:pt x="152" y="457"/>
                </a:lnTo>
                <a:lnTo>
                  <a:pt x="155" y="451"/>
                </a:lnTo>
                <a:lnTo>
                  <a:pt x="158" y="444"/>
                </a:lnTo>
                <a:lnTo>
                  <a:pt x="160" y="436"/>
                </a:lnTo>
                <a:lnTo>
                  <a:pt x="161" y="428"/>
                </a:lnTo>
                <a:lnTo>
                  <a:pt x="162" y="411"/>
                </a:lnTo>
                <a:lnTo>
                  <a:pt x="162" y="395"/>
                </a:lnTo>
                <a:lnTo>
                  <a:pt x="163" y="378"/>
                </a:lnTo>
                <a:lnTo>
                  <a:pt x="164" y="370"/>
                </a:lnTo>
                <a:lnTo>
                  <a:pt x="166" y="362"/>
                </a:lnTo>
                <a:lnTo>
                  <a:pt x="168" y="355"/>
                </a:lnTo>
                <a:lnTo>
                  <a:pt x="172" y="347"/>
                </a:lnTo>
                <a:lnTo>
                  <a:pt x="172" y="347"/>
                </a:lnTo>
                <a:lnTo>
                  <a:pt x="174" y="344"/>
                </a:lnTo>
                <a:lnTo>
                  <a:pt x="178" y="341"/>
                </a:lnTo>
                <a:lnTo>
                  <a:pt x="187" y="335"/>
                </a:lnTo>
                <a:lnTo>
                  <a:pt x="195" y="332"/>
                </a:lnTo>
                <a:lnTo>
                  <a:pt x="198" y="331"/>
                </a:lnTo>
                <a:lnTo>
                  <a:pt x="198" y="331"/>
                </a:lnTo>
                <a:lnTo>
                  <a:pt x="205" y="329"/>
                </a:lnTo>
                <a:lnTo>
                  <a:pt x="211" y="326"/>
                </a:lnTo>
                <a:lnTo>
                  <a:pt x="217" y="323"/>
                </a:lnTo>
                <a:lnTo>
                  <a:pt x="223" y="318"/>
                </a:lnTo>
                <a:lnTo>
                  <a:pt x="223" y="318"/>
                </a:lnTo>
                <a:lnTo>
                  <a:pt x="264" y="337"/>
                </a:lnTo>
                <a:lnTo>
                  <a:pt x="305" y="355"/>
                </a:lnTo>
                <a:lnTo>
                  <a:pt x="347" y="374"/>
                </a:lnTo>
                <a:lnTo>
                  <a:pt x="388" y="395"/>
                </a:lnTo>
                <a:lnTo>
                  <a:pt x="427" y="416"/>
                </a:lnTo>
                <a:lnTo>
                  <a:pt x="468" y="439"/>
                </a:lnTo>
                <a:lnTo>
                  <a:pt x="509" y="461"/>
                </a:lnTo>
                <a:lnTo>
                  <a:pt x="549" y="485"/>
                </a:lnTo>
                <a:lnTo>
                  <a:pt x="589" y="509"/>
                </a:lnTo>
                <a:lnTo>
                  <a:pt x="628" y="534"/>
                </a:lnTo>
                <a:lnTo>
                  <a:pt x="706" y="584"/>
                </a:lnTo>
                <a:lnTo>
                  <a:pt x="782" y="636"/>
                </a:lnTo>
                <a:lnTo>
                  <a:pt x="857" y="689"/>
                </a:lnTo>
                <a:lnTo>
                  <a:pt x="857" y="689"/>
                </a:lnTo>
                <a:lnTo>
                  <a:pt x="876" y="703"/>
                </a:lnTo>
                <a:lnTo>
                  <a:pt x="894" y="714"/>
                </a:lnTo>
                <a:lnTo>
                  <a:pt x="894" y="714"/>
                </a:lnTo>
                <a:lnTo>
                  <a:pt x="887" y="736"/>
                </a:lnTo>
                <a:lnTo>
                  <a:pt x="878" y="759"/>
                </a:lnTo>
                <a:lnTo>
                  <a:pt x="868" y="783"/>
                </a:lnTo>
                <a:lnTo>
                  <a:pt x="856" y="809"/>
                </a:lnTo>
                <a:lnTo>
                  <a:pt x="856" y="809"/>
                </a:lnTo>
                <a:lnTo>
                  <a:pt x="816" y="885"/>
                </a:lnTo>
                <a:lnTo>
                  <a:pt x="797" y="921"/>
                </a:lnTo>
                <a:lnTo>
                  <a:pt x="779" y="957"/>
                </a:lnTo>
                <a:lnTo>
                  <a:pt x="772" y="975"/>
                </a:lnTo>
                <a:lnTo>
                  <a:pt x="766" y="992"/>
                </a:lnTo>
                <a:lnTo>
                  <a:pt x="760" y="1008"/>
                </a:lnTo>
                <a:lnTo>
                  <a:pt x="756" y="1025"/>
                </a:lnTo>
                <a:lnTo>
                  <a:pt x="753" y="1040"/>
                </a:lnTo>
                <a:lnTo>
                  <a:pt x="751" y="1054"/>
                </a:lnTo>
                <a:lnTo>
                  <a:pt x="751" y="1069"/>
                </a:lnTo>
                <a:lnTo>
                  <a:pt x="752" y="1081"/>
                </a:lnTo>
                <a:lnTo>
                  <a:pt x="752" y="1081"/>
                </a:lnTo>
                <a:lnTo>
                  <a:pt x="754" y="1090"/>
                </a:lnTo>
                <a:lnTo>
                  <a:pt x="756" y="1099"/>
                </a:lnTo>
                <a:lnTo>
                  <a:pt x="759" y="1107"/>
                </a:lnTo>
                <a:lnTo>
                  <a:pt x="762" y="1116"/>
                </a:lnTo>
                <a:lnTo>
                  <a:pt x="766" y="1123"/>
                </a:lnTo>
                <a:lnTo>
                  <a:pt x="771" y="1130"/>
                </a:lnTo>
                <a:lnTo>
                  <a:pt x="776" y="1136"/>
                </a:lnTo>
                <a:lnTo>
                  <a:pt x="781" y="1142"/>
                </a:lnTo>
                <a:lnTo>
                  <a:pt x="787" y="1147"/>
                </a:lnTo>
                <a:lnTo>
                  <a:pt x="794" y="1152"/>
                </a:lnTo>
                <a:lnTo>
                  <a:pt x="801" y="1157"/>
                </a:lnTo>
                <a:lnTo>
                  <a:pt x="808" y="1160"/>
                </a:lnTo>
                <a:lnTo>
                  <a:pt x="816" y="1163"/>
                </a:lnTo>
                <a:lnTo>
                  <a:pt x="824" y="1165"/>
                </a:lnTo>
                <a:lnTo>
                  <a:pt x="833" y="1167"/>
                </a:lnTo>
                <a:lnTo>
                  <a:pt x="842" y="1168"/>
                </a:lnTo>
                <a:lnTo>
                  <a:pt x="842" y="1168"/>
                </a:lnTo>
                <a:lnTo>
                  <a:pt x="852" y="1168"/>
                </a:lnTo>
                <a:lnTo>
                  <a:pt x="862" y="1167"/>
                </a:lnTo>
                <a:lnTo>
                  <a:pt x="871" y="1165"/>
                </a:lnTo>
                <a:lnTo>
                  <a:pt x="880" y="1163"/>
                </a:lnTo>
                <a:lnTo>
                  <a:pt x="889" y="1160"/>
                </a:lnTo>
                <a:lnTo>
                  <a:pt x="897" y="1155"/>
                </a:lnTo>
                <a:lnTo>
                  <a:pt x="905" y="1151"/>
                </a:lnTo>
                <a:lnTo>
                  <a:pt x="912" y="1146"/>
                </a:lnTo>
                <a:lnTo>
                  <a:pt x="919" y="1140"/>
                </a:lnTo>
                <a:lnTo>
                  <a:pt x="925" y="1135"/>
                </a:lnTo>
                <a:lnTo>
                  <a:pt x="931" y="1129"/>
                </a:lnTo>
                <a:lnTo>
                  <a:pt x="936" y="1122"/>
                </a:lnTo>
                <a:lnTo>
                  <a:pt x="940" y="1115"/>
                </a:lnTo>
                <a:lnTo>
                  <a:pt x="944" y="1107"/>
                </a:lnTo>
                <a:lnTo>
                  <a:pt x="947" y="1100"/>
                </a:lnTo>
                <a:lnTo>
                  <a:pt x="949" y="1092"/>
                </a:lnTo>
                <a:lnTo>
                  <a:pt x="949" y="1092"/>
                </a:lnTo>
                <a:lnTo>
                  <a:pt x="951" y="1076"/>
                </a:lnTo>
                <a:lnTo>
                  <a:pt x="952" y="1060"/>
                </a:lnTo>
                <a:lnTo>
                  <a:pt x="950" y="1048"/>
                </a:lnTo>
                <a:lnTo>
                  <a:pt x="947" y="1036"/>
                </a:lnTo>
                <a:lnTo>
                  <a:pt x="942" y="1027"/>
                </a:lnTo>
                <a:lnTo>
                  <a:pt x="937" y="1017"/>
                </a:lnTo>
                <a:lnTo>
                  <a:pt x="930" y="1010"/>
                </a:lnTo>
                <a:lnTo>
                  <a:pt x="922" y="1005"/>
                </a:lnTo>
                <a:lnTo>
                  <a:pt x="915" y="1000"/>
                </a:lnTo>
                <a:lnTo>
                  <a:pt x="908" y="996"/>
                </a:lnTo>
                <a:lnTo>
                  <a:pt x="894" y="991"/>
                </a:lnTo>
                <a:lnTo>
                  <a:pt x="885" y="989"/>
                </a:lnTo>
                <a:lnTo>
                  <a:pt x="880" y="989"/>
                </a:lnTo>
                <a:lnTo>
                  <a:pt x="880" y="989"/>
                </a:lnTo>
                <a:lnTo>
                  <a:pt x="896" y="944"/>
                </a:lnTo>
                <a:lnTo>
                  <a:pt x="908" y="908"/>
                </a:lnTo>
                <a:lnTo>
                  <a:pt x="919" y="879"/>
                </a:lnTo>
                <a:lnTo>
                  <a:pt x="919" y="879"/>
                </a:lnTo>
                <a:lnTo>
                  <a:pt x="927" y="859"/>
                </a:lnTo>
                <a:lnTo>
                  <a:pt x="937" y="841"/>
                </a:lnTo>
                <a:lnTo>
                  <a:pt x="945" y="823"/>
                </a:lnTo>
                <a:lnTo>
                  <a:pt x="954" y="807"/>
                </a:lnTo>
                <a:lnTo>
                  <a:pt x="962" y="792"/>
                </a:lnTo>
                <a:lnTo>
                  <a:pt x="971" y="777"/>
                </a:lnTo>
                <a:lnTo>
                  <a:pt x="989" y="753"/>
                </a:lnTo>
                <a:lnTo>
                  <a:pt x="1006" y="732"/>
                </a:lnTo>
                <a:lnTo>
                  <a:pt x="1024" y="715"/>
                </a:lnTo>
                <a:lnTo>
                  <a:pt x="1040" y="702"/>
                </a:lnTo>
                <a:lnTo>
                  <a:pt x="1055" y="690"/>
                </a:lnTo>
                <a:lnTo>
                  <a:pt x="1070" y="683"/>
                </a:lnTo>
                <a:lnTo>
                  <a:pt x="1083" y="677"/>
                </a:lnTo>
                <a:lnTo>
                  <a:pt x="1095" y="673"/>
                </a:lnTo>
                <a:lnTo>
                  <a:pt x="1105" y="671"/>
                </a:lnTo>
                <a:lnTo>
                  <a:pt x="1114" y="670"/>
                </a:lnTo>
                <a:lnTo>
                  <a:pt x="1120" y="670"/>
                </a:lnTo>
                <a:lnTo>
                  <a:pt x="1125" y="670"/>
                </a:lnTo>
                <a:lnTo>
                  <a:pt x="1125" y="670"/>
                </a:lnTo>
                <a:lnTo>
                  <a:pt x="1121" y="666"/>
                </a:lnTo>
                <a:lnTo>
                  <a:pt x="1116" y="661"/>
                </a:lnTo>
                <a:lnTo>
                  <a:pt x="1111" y="653"/>
                </a:lnTo>
                <a:lnTo>
                  <a:pt x="1104" y="644"/>
                </a:lnTo>
                <a:lnTo>
                  <a:pt x="1099" y="633"/>
                </a:lnTo>
                <a:lnTo>
                  <a:pt x="1093" y="620"/>
                </a:lnTo>
                <a:lnTo>
                  <a:pt x="1088" y="603"/>
                </a:lnTo>
                <a:lnTo>
                  <a:pt x="1085" y="586"/>
                </a:lnTo>
                <a:lnTo>
                  <a:pt x="1083" y="566"/>
                </a:lnTo>
                <a:lnTo>
                  <a:pt x="1083" y="543"/>
                </a:lnTo>
                <a:lnTo>
                  <a:pt x="1084" y="531"/>
                </a:lnTo>
                <a:lnTo>
                  <a:pt x="1086" y="519"/>
                </a:lnTo>
                <a:lnTo>
                  <a:pt x="1088" y="505"/>
                </a:lnTo>
                <a:lnTo>
                  <a:pt x="1092" y="491"/>
                </a:lnTo>
                <a:lnTo>
                  <a:pt x="1096" y="477"/>
                </a:lnTo>
                <a:lnTo>
                  <a:pt x="1101" y="461"/>
                </a:lnTo>
                <a:lnTo>
                  <a:pt x="1107" y="446"/>
                </a:lnTo>
                <a:lnTo>
                  <a:pt x="1115" y="430"/>
                </a:lnTo>
                <a:lnTo>
                  <a:pt x="1123" y="412"/>
                </a:lnTo>
                <a:lnTo>
                  <a:pt x="1132" y="395"/>
                </a:lnTo>
                <a:lnTo>
                  <a:pt x="1132" y="395"/>
                </a:lnTo>
                <a:lnTo>
                  <a:pt x="1152" y="358"/>
                </a:lnTo>
                <a:lnTo>
                  <a:pt x="1169" y="322"/>
                </a:lnTo>
                <a:lnTo>
                  <a:pt x="1184" y="289"/>
                </a:lnTo>
                <a:lnTo>
                  <a:pt x="1195" y="258"/>
                </a:lnTo>
                <a:lnTo>
                  <a:pt x="1206" y="227"/>
                </a:lnTo>
                <a:lnTo>
                  <a:pt x="1214" y="197"/>
                </a:lnTo>
                <a:lnTo>
                  <a:pt x="1220" y="169"/>
                </a:lnTo>
                <a:lnTo>
                  <a:pt x="1225" y="141"/>
                </a:lnTo>
                <a:lnTo>
                  <a:pt x="1225" y="141"/>
                </a:lnTo>
                <a:lnTo>
                  <a:pt x="1226" y="132"/>
                </a:lnTo>
                <a:lnTo>
                  <a:pt x="1225" y="123"/>
                </a:lnTo>
                <a:lnTo>
                  <a:pt x="1224" y="114"/>
                </a:lnTo>
                <a:lnTo>
                  <a:pt x="1221" y="104"/>
                </a:lnTo>
                <a:lnTo>
                  <a:pt x="1217" y="95"/>
                </a:lnTo>
                <a:lnTo>
                  <a:pt x="1213" y="87"/>
                </a:lnTo>
                <a:lnTo>
                  <a:pt x="1208" y="78"/>
                </a:lnTo>
                <a:lnTo>
                  <a:pt x="1202" y="70"/>
                </a:lnTo>
                <a:lnTo>
                  <a:pt x="1194" y="63"/>
                </a:lnTo>
                <a:lnTo>
                  <a:pt x="1187" y="55"/>
                </a:lnTo>
                <a:lnTo>
                  <a:pt x="1179" y="49"/>
                </a:lnTo>
                <a:lnTo>
                  <a:pt x="1171" y="44"/>
                </a:lnTo>
                <a:lnTo>
                  <a:pt x="1163" y="39"/>
                </a:lnTo>
                <a:lnTo>
                  <a:pt x="1153" y="36"/>
                </a:lnTo>
                <a:lnTo>
                  <a:pt x="1144" y="34"/>
                </a:lnTo>
                <a:lnTo>
                  <a:pt x="1134" y="32"/>
                </a:lnTo>
                <a:lnTo>
                  <a:pt x="1134" y="32"/>
                </a:lnTo>
                <a:lnTo>
                  <a:pt x="1124" y="32"/>
                </a:lnTo>
                <a:lnTo>
                  <a:pt x="1115" y="33"/>
                </a:lnTo>
                <a:lnTo>
                  <a:pt x="1104" y="35"/>
                </a:lnTo>
                <a:lnTo>
                  <a:pt x="1095" y="38"/>
                </a:lnTo>
                <a:lnTo>
                  <a:pt x="1086" y="42"/>
                </a:lnTo>
                <a:lnTo>
                  <a:pt x="1078" y="46"/>
                </a:lnTo>
                <a:lnTo>
                  <a:pt x="1070" y="52"/>
                </a:lnTo>
                <a:lnTo>
                  <a:pt x="1061" y="57"/>
                </a:lnTo>
                <a:lnTo>
                  <a:pt x="1054" y="65"/>
                </a:lnTo>
                <a:lnTo>
                  <a:pt x="1048" y="71"/>
                </a:lnTo>
                <a:lnTo>
                  <a:pt x="1042" y="78"/>
                </a:lnTo>
                <a:lnTo>
                  <a:pt x="1037" y="86"/>
                </a:lnTo>
                <a:lnTo>
                  <a:pt x="1033" y="94"/>
                </a:lnTo>
                <a:lnTo>
                  <a:pt x="1029" y="102"/>
                </a:lnTo>
                <a:lnTo>
                  <a:pt x="1027" y="111"/>
                </a:lnTo>
                <a:lnTo>
                  <a:pt x="1026" y="119"/>
                </a:lnTo>
                <a:lnTo>
                  <a:pt x="1026" y="119"/>
                </a:lnTo>
                <a:lnTo>
                  <a:pt x="1025" y="139"/>
                </a:lnTo>
                <a:lnTo>
                  <a:pt x="1026" y="158"/>
                </a:lnTo>
                <a:lnTo>
                  <a:pt x="1030" y="173"/>
                </a:lnTo>
                <a:lnTo>
                  <a:pt x="1035" y="185"/>
                </a:lnTo>
                <a:lnTo>
                  <a:pt x="1041" y="195"/>
                </a:lnTo>
                <a:lnTo>
                  <a:pt x="1048" y="205"/>
                </a:lnTo>
                <a:lnTo>
                  <a:pt x="1056" y="212"/>
                </a:lnTo>
                <a:lnTo>
                  <a:pt x="1065" y="217"/>
                </a:lnTo>
                <a:lnTo>
                  <a:pt x="1073" y="221"/>
                </a:lnTo>
                <a:lnTo>
                  <a:pt x="1081" y="225"/>
                </a:lnTo>
                <a:lnTo>
                  <a:pt x="1095" y="230"/>
                </a:lnTo>
                <a:lnTo>
                  <a:pt x="1101" y="232"/>
                </a:lnTo>
                <a:lnTo>
                  <a:pt x="1104" y="234"/>
                </a:lnTo>
                <a:lnTo>
                  <a:pt x="1107" y="237"/>
                </a:lnTo>
                <a:lnTo>
                  <a:pt x="1107" y="240"/>
                </a:lnTo>
                <a:lnTo>
                  <a:pt x="1107" y="240"/>
                </a:lnTo>
                <a:lnTo>
                  <a:pt x="1096" y="276"/>
                </a:lnTo>
                <a:lnTo>
                  <a:pt x="1084" y="309"/>
                </a:lnTo>
                <a:lnTo>
                  <a:pt x="1071" y="339"/>
                </a:lnTo>
                <a:lnTo>
                  <a:pt x="1057" y="365"/>
                </a:lnTo>
                <a:lnTo>
                  <a:pt x="1044" y="390"/>
                </a:lnTo>
                <a:lnTo>
                  <a:pt x="1031" y="411"/>
                </a:lnTo>
                <a:lnTo>
                  <a:pt x="1016" y="431"/>
                </a:lnTo>
                <a:lnTo>
                  <a:pt x="1002" y="447"/>
                </a:lnTo>
                <a:lnTo>
                  <a:pt x="1002" y="447"/>
                </a:lnTo>
                <a:lnTo>
                  <a:pt x="975" y="431"/>
                </a:lnTo>
                <a:lnTo>
                  <a:pt x="942" y="411"/>
                </a:lnTo>
                <a:lnTo>
                  <a:pt x="942" y="411"/>
                </a:lnTo>
                <a:lnTo>
                  <a:pt x="865" y="369"/>
                </a:lnTo>
                <a:lnTo>
                  <a:pt x="790" y="328"/>
                </a:lnTo>
                <a:lnTo>
                  <a:pt x="717" y="289"/>
                </a:lnTo>
                <a:lnTo>
                  <a:pt x="680" y="271"/>
                </a:lnTo>
                <a:lnTo>
                  <a:pt x="643" y="254"/>
                </a:lnTo>
                <a:lnTo>
                  <a:pt x="606" y="236"/>
                </a:lnTo>
                <a:lnTo>
                  <a:pt x="568" y="221"/>
                </a:lnTo>
                <a:lnTo>
                  <a:pt x="529" y="205"/>
                </a:lnTo>
                <a:lnTo>
                  <a:pt x="489" y="190"/>
                </a:lnTo>
                <a:lnTo>
                  <a:pt x="448" y="176"/>
                </a:lnTo>
                <a:lnTo>
                  <a:pt x="406" y="164"/>
                </a:lnTo>
                <a:lnTo>
                  <a:pt x="362" y="151"/>
                </a:lnTo>
                <a:lnTo>
                  <a:pt x="317" y="140"/>
                </a:lnTo>
                <a:lnTo>
                  <a:pt x="317" y="140"/>
                </a:lnTo>
                <a:lnTo>
                  <a:pt x="334" y="107"/>
                </a:lnTo>
                <a:lnTo>
                  <a:pt x="334" y="107"/>
                </a:lnTo>
                <a:lnTo>
                  <a:pt x="360" y="63"/>
                </a:lnTo>
                <a:lnTo>
                  <a:pt x="378" y="31"/>
                </a:lnTo>
                <a:lnTo>
                  <a:pt x="385" y="20"/>
                </a:lnTo>
                <a:lnTo>
                  <a:pt x="389" y="10"/>
                </a:lnTo>
                <a:lnTo>
                  <a:pt x="391" y="4"/>
                </a:lnTo>
                <a:lnTo>
                  <a:pt x="390" y="2"/>
                </a:lnTo>
                <a:lnTo>
                  <a:pt x="389" y="0"/>
                </a:lnTo>
                <a:lnTo>
                  <a:pt x="389" y="0"/>
                </a:lnTo>
                <a:lnTo>
                  <a:pt x="388" y="0"/>
                </a:lnTo>
                <a:lnTo>
                  <a:pt x="387" y="0"/>
                </a:lnTo>
                <a:lnTo>
                  <a:pt x="381" y="1"/>
                </a:lnTo>
                <a:lnTo>
                  <a:pt x="367" y="10"/>
                </a:lnTo>
                <a:lnTo>
                  <a:pt x="343" y="26"/>
                </a:lnTo>
                <a:lnTo>
                  <a:pt x="326" y="35"/>
                </a:lnTo>
                <a:lnTo>
                  <a:pt x="307" y="46"/>
                </a:lnTo>
                <a:lnTo>
                  <a:pt x="307" y="46"/>
                </a:lnTo>
                <a:lnTo>
                  <a:pt x="285" y="57"/>
                </a:lnTo>
                <a:lnTo>
                  <a:pt x="267" y="67"/>
                </a:lnTo>
                <a:lnTo>
                  <a:pt x="252" y="73"/>
                </a:lnTo>
                <a:lnTo>
                  <a:pt x="237" y="78"/>
                </a:lnTo>
                <a:lnTo>
                  <a:pt x="224" y="82"/>
                </a:lnTo>
                <a:lnTo>
                  <a:pt x="211" y="85"/>
                </a:lnTo>
                <a:lnTo>
                  <a:pt x="183" y="89"/>
                </a:lnTo>
                <a:lnTo>
                  <a:pt x="183" y="89"/>
                </a:lnTo>
                <a:lnTo>
                  <a:pt x="174" y="89"/>
                </a:lnTo>
                <a:lnTo>
                  <a:pt x="165" y="88"/>
                </a:lnTo>
                <a:lnTo>
                  <a:pt x="147" y="85"/>
                </a:lnTo>
                <a:lnTo>
                  <a:pt x="132" y="81"/>
                </a:lnTo>
                <a:lnTo>
                  <a:pt x="125" y="81"/>
                </a:lnTo>
                <a:lnTo>
                  <a:pt x="120" y="82"/>
                </a:lnTo>
                <a:lnTo>
                  <a:pt x="120" y="82"/>
                </a:lnTo>
                <a:lnTo>
                  <a:pt x="114" y="85"/>
                </a:lnTo>
                <a:lnTo>
                  <a:pt x="107" y="91"/>
                </a:lnTo>
                <a:lnTo>
                  <a:pt x="102" y="98"/>
                </a:lnTo>
                <a:lnTo>
                  <a:pt x="97" y="107"/>
                </a:lnTo>
                <a:lnTo>
                  <a:pt x="92" y="120"/>
                </a:lnTo>
                <a:lnTo>
                  <a:pt x="87" y="134"/>
                </a:lnTo>
                <a:lnTo>
                  <a:pt x="74" y="171"/>
                </a:lnTo>
                <a:lnTo>
                  <a:pt x="74" y="171"/>
                </a:lnTo>
                <a:lnTo>
                  <a:pt x="49" y="242"/>
                </a:lnTo>
                <a:lnTo>
                  <a:pt x="42" y="261"/>
                </a:lnTo>
                <a:lnTo>
                  <a:pt x="42" y="261"/>
                </a:lnTo>
                <a:lnTo>
                  <a:pt x="34" y="279"/>
                </a:lnTo>
                <a:lnTo>
                  <a:pt x="27" y="293"/>
                </a:lnTo>
                <a:lnTo>
                  <a:pt x="14" y="312"/>
                </a:lnTo>
                <a:lnTo>
                  <a:pt x="10" y="320"/>
                </a:lnTo>
                <a:lnTo>
                  <a:pt x="6" y="327"/>
                </a:lnTo>
                <a:lnTo>
                  <a:pt x="3" y="335"/>
                </a:lnTo>
                <a:lnTo>
                  <a:pt x="1" y="34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6" name="Freeform 33"/>
          <p:cNvSpPr>
            <a:spLocks/>
          </p:cNvSpPr>
          <p:nvPr userDrawn="1"/>
        </p:nvSpPr>
        <p:spPr bwMode="auto">
          <a:xfrm>
            <a:off x="7189787" y="1214140"/>
            <a:ext cx="39688" cy="46038"/>
          </a:xfrm>
          <a:custGeom>
            <a:avLst/>
            <a:gdLst>
              <a:gd name="T0" fmla="*/ 103 w 296"/>
              <a:gd name="T1" fmla="*/ 350 h 350"/>
              <a:gd name="T2" fmla="*/ 103 w 296"/>
              <a:gd name="T3" fmla="*/ 350 h 350"/>
              <a:gd name="T4" fmla="*/ 132 w 296"/>
              <a:gd name="T5" fmla="*/ 349 h 350"/>
              <a:gd name="T6" fmla="*/ 164 w 296"/>
              <a:gd name="T7" fmla="*/ 346 h 350"/>
              <a:gd name="T8" fmla="*/ 196 w 296"/>
              <a:gd name="T9" fmla="*/ 343 h 350"/>
              <a:gd name="T10" fmla="*/ 226 w 296"/>
              <a:gd name="T11" fmla="*/ 339 h 350"/>
              <a:gd name="T12" fmla="*/ 276 w 296"/>
              <a:gd name="T13" fmla="*/ 333 h 350"/>
              <a:gd name="T14" fmla="*/ 296 w 296"/>
              <a:gd name="T15" fmla="*/ 329 h 350"/>
              <a:gd name="T16" fmla="*/ 293 w 296"/>
              <a:gd name="T17" fmla="*/ 25 h 350"/>
              <a:gd name="T18" fmla="*/ 293 w 296"/>
              <a:gd name="T19" fmla="*/ 25 h 350"/>
              <a:gd name="T20" fmla="*/ 244 w 296"/>
              <a:gd name="T21" fmla="*/ 18 h 350"/>
              <a:gd name="T22" fmla="*/ 142 w 296"/>
              <a:gd name="T23" fmla="*/ 2 h 350"/>
              <a:gd name="T24" fmla="*/ 142 w 296"/>
              <a:gd name="T25" fmla="*/ 2 h 350"/>
              <a:gd name="T26" fmla="*/ 129 w 296"/>
              <a:gd name="T27" fmla="*/ 1 h 350"/>
              <a:gd name="T28" fmla="*/ 117 w 296"/>
              <a:gd name="T29" fmla="*/ 0 h 350"/>
              <a:gd name="T30" fmla="*/ 105 w 296"/>
              <a:gd name="T31" fmla="*/ 0 h 350"/>
              <a:gd name="T32" fmla="*/ 94 w 296"/>
              <a:gd name="T33" fmla="*/ 1 h 350"/>
              <a:gd name="T34" fmla="*/ 84 w 296"/>
              <a:gd name="T35" fmla="*/ 3 h 350"/>
              <a:gd name="T36" fmla="*/ 75 w 296"/>
              <a:gd name="T37" fmla="*/ 6 h 350"/>
              <a:gd name="T38" fmla="*/ 66 w 296"/>
              <a:gd name="T39" fmla="*/ 9 h 350"/>
              <a:gd name="T40" fmla="*/ 59 w 296"/>
              <a:gd name="T41" fmla="*/ 13 h 350"/>
              <a:gd name="T42" fmla="*/ 51 w 296"/>
              <a:gd name="T43" fmla="*/ 17 h 350"/>
              <a:gd name="T44" fmla="*/ 44 w 296"/>
              <a:gd name="T45" fmla="*/ 22 h 350"/>
              <a:gd name="T46" fmla="*/ 38 w 296"/>
              <a:gd name="T47" fmla="*/ 27 h 350"/>
              <a:gd name="T48" fmla="*/ 33 w 296"/>
              <a:gd name="T49" fmla="*/ 32 h 350"/>
              <a:gd name="T50" fmla="*/ 24 w 296"/>
              <a:gd name="T51" fmla="*/ 45 h 350"/>
              <a:gd name="T52" fmla="*/ 17 w 296"/>
              <a:gd name="T53" fmla="*/ 57 h 350"/>
              <a:gd name="T54" fmla="*/ 11 w 296"/>
              <a:gd name="T55" fmla="*/ 70 h 350"/>
              <a:gd name="T56" fmla="*/ 6 w 296"/>
              <a:gd name="T57" fmla="*/ 83 h 350"/>
              <a:gd name="T58" fmla="*/ 3 w 296"/>
              <a:gd name="T59" fmla="*/ 96 h 350"/>
              <a:gd name="T60" fmla="*/ 1 w 296"/>
              <a:gd name="T61" fmla="*/ 106 h 350"/>
              <a:gd name="T62" fmla="*/ 0 w 296"/>
              <a:gd name="T63" fmla="*/ 123 h 350"/>
              <a:gd name="T64" fmla="*/ 0 w 296"/>
              <a:gd name="T65" fmla="*/ 129 h 350"/>
              <a:gd name="T66" fmla="*/ 4 w 296"/>
              <a:gd name="T67" fmla="*/ 213 h 350"/>
              <a:gd name="T68" fmla="*/ 4 w 296"/>
              <a:gd name="T69" fmla="*/ 213 h 350"/>
              <a:gd name="T70" fmla="*/ 4 w 296"/>
              <a:gd name="T71" fmla="*/ 219 h 350"/>
              <a:gd name="T72" fmla="*/ 6 w 296"/>
              <a:gd name="T73" fmla="*/ 235 h 350"/>
              <a:gd name="T74" fmla="*/ 11 w 296"/>
              <a:gd name="T75" fmla="*/ 256 h 350"/>
              <a:gd name="T76" fmla="*/ 15 w 296"/>
              <a:gd name="T77" fmla="*/ 268 h 350"/>
              <a:gd name="T78" fmla="*/ 19 w 296"/>
              <a:gd name="T79" fmla="*/ 282 h 350"/>
              <a:gd name="T80" fmla="*/ 24 w 296"/>
              <a:gd name="T81" fmla="*/ 294 h 350"/>
              <a:gd name="T82" fmla="*/ 31 w 296"/>
              <a:gd name="T83" fmla="*/ 306 h 350"/>
              <a:gd name="T84" fmla="*/ 39 w 296"/>
              <a:gd name="T85" fmla="*/ 319 h 350"/>
              <a:gd name="T86" fmla="*/ 48 w 296"/>
              <a:gd name="T87" fmla="*/ 329 h 350"/>
              <a:gd name="T88" fmla="*/ 53 w 296"/>
              <a:gd name="T89" fmla="*/ 333 h 350"/>
              <a:gd name="T90" fmla="*/ 60 w 296"/>
              <a:gd name="T91" fmla="*/ 337 h 350"/>
              <a:gd name="T92" fmla="*/ 66 w 296"/>
              <a:gd name="T93" fmla="*/ 341 h 350"/>
              <a:gd name="T94" fmla="*/ 72 w 296"/>
              <a:gd name="T95" fmla="*/ 344 h 350"/>
              <a:gd name="T96" fmla="*/ 79 w 296"/>
              <a:gd name="T97" fmla="*/ 346 h 350"/>
              <a:gd name="T98" fmla="*/ 86 w 296"/>
              <a:gd name="T99" fmla="*/ 348 h 350"/>
              <a:gd name="T100" fmla="*/ 94 w 296"/>
              <a:gd name="T101" fmla="*/ 349 h 350"/>
              <a:gd name="T102" fmla="*/ 103 w 296"/>
              <a:gd name="T103" fmla="*/ 35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6" h="350">
                <a:moveTo>
                  <a:pt x="103" y="350"/>
                </a:moveTo>
                <a:lnTo>
                  <a:pt x="103" y="350"/>
                </a:lnTo>
                <a:lnTo>
                  <a:pt x="132" y="349"/>
                </a:lnTo>
                <a:lnTo>
                  <a:pt x="164" y="346"/>
                </a:lnTo>
                <a:lnTo>
                  <a:pt x="196" y="343"/>
                </a:lnTo>
                <a:lnTo>
                  <a:pt x="226" y="339"/>
                </a:lnTo>
                <a:lnTo>
                  <a:pt x="276" y="333"/>
                </a:lnTo>
                <a:lnTo>
                  <a:pt x="296" y="329"/>
                </a:lnTo>
                <a:lnTo>
                  <a:pt x="293" y="25"/>
                </a:lnTo>
                <a:lnTo>
                  <a:pt x="293" y="25"/>
                </a:lnTo>
                <a:lnTo>
                  <a:pt x="244" y="18"/>
                </a:lnTo>
                <a:lnTo>
                  <a:pt x="142" y="2"/>
                </a:lnTo>
                <a:lnTo>
                  <a:pt x="142" y="2"/>
                </a:lnTo>
                <a:lnTo>
                  <a:pt x="129" y="1"/>
                </a:lnTo>
                <a:lnTo>
                  <a:pt x="117" y="0"/>
                </a:lnTo>
                <a:lnTo>
                  <a:pt x="105" y="0"/>
                </a:lnTo>
                <a:lnTo>
                  <a:pt x="94" y="1"/>
                </a:lnTo>
                <a:lnTo>
                  <a:pt x="84" y="3"/>
                </a:lnTo>
                <a:lnTo>
                  <a:pt x="75" y="6"/>
                </a:lnTo>
                <a:lnTo>
                  <a:pt x="66" y="9"/>
                </a:lnTo>
                <a:lnTo>
                  <a:pt x="59" y="13"/>
                </a:lnTo>
                <a:lnTo>
                  <a:pt x="51" y="17"/>
                </a:lnTo>
                <a:lnTo>
                  <a:pt x="44" y="22"/>
                </a:lnTo>
                <a:lnTo>
                  <a:pt x="38" y="27"/>
                </a:lnTo>
                <a:lnTo>
                  <a:pt x="33" y="32"/>
                </a:lnTo>
                <a:lnTo>
                  <a:pt x="24" y="45"/>
                </a:lnTo>
                <a:lnTo>
                  <a:pt x="17" y="57"/>
                </a:lnTo>
                <a:lnTo>
                  <a:pt x="11" y="70"/>
                </a:lnTo>
                <a:lnTo>
                  <a:pt x="6" y="83"/>
                </a:lnTo>
                <a:lnTo>
                  <a:pt x="3" y="96"/>
                </a:lnTo>
                <a:lnTo>
                  <a:pt x="1" y="106"/>
                </a:lnTo>
                <a:lnTo>
                  <a:pt x="0" y="123"/>
                </a:lnTo>
                <a:lnTo>
                  <a:pt x="0" y="129"/>
                </a:lnTo>
                <a:lnTo>
                  <a:pt x="4" y="213"/>
                </a:lnTo>
                <a:lnTo>
                  <a:pt x="4" y="213"/>
                </a:lnTo>
                <a:lnTo>
                  <a:pt x="4" y="219"/>
                </a:lnTo>
                <a:lnTo>
                  <a:pt x="6" y="235"/>
                </a:lnTo>
                <a:lnTo>
                  <a:pt x="11" y="256"/>
                </a:lnTo>
                <a:lnTo>
                  <a:pt x="15" y="268"/>
                </a:lnTo>
                <a:lnTo>
                  <a:pt x="19" y="282"/>
                </a:lnTo>
                <a:lnTo>
                  <a:pt x="24" y="294"/>
                </a:lnTo>
                <a:lnTo>
                  <a:pt x="31" y="306"/>
                </a:lnTo>
                <a:lnTo>
                  <a:pt x="39" y="319"/>
                </a:lnTo>
                <a:lnTo>
                  <a:pt x="48" y="329"/>
                </a:lnTo>
                <a:lnTo>
                  <a:pt x="53" y="333"/>
                </a:lnTo>
                <a:lnTo>
                  <a:pt x="60" y="337"/>
                </a:lnTo>
                <a:lnTo>
                  <a:pt x="66" y="341"/>
                </a:lnTo>
                <a:lnTo>
                  <a:pt x="72" y="344"/>
                </a:lnTo>
                <a:lnTo>
                  <a:pt x="79" y="346"/>
                </a:lnTo>
                <a:lnTo>
                  <a:pt x="86" y="348"/>
                </a:lnTo>
                <a:lnTo>
                  <a:pt x="94" y="349"/>
                </a:lnTo>
                <a:lnTo>
                  <a:pt x="103" y="3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7" name="Freeform 34"/>
          <p:cNvSpPr>
            <a:spLocks/>
          </p:cNvSpPr>
          <p:nvPr userDrawn="1"/>
        </p:nvSpPr>
        <p:spPr bwMode="auto">
          <a:xfrm>
            <a:off x="7237413" y="1203028"/>
            <a:ext cx="60325" cy="57150"/>
          </a:xfrm>
          <a:custGeom>
            <a:avLst/>
            <a:gdLst>
              <a:gd name="T0" fmla="*/ 450 w 450"/>
              <a:gd name="T1" fmla="*/ 290 h 425"/>
              <a:gd name="T2" fmla="*/ 450 w 450"/>
              <a:gd name="T3" fmla="*/ 225 h 425"/>
              <a:gd name="T4" fmla="*/ 449 w 450"/>
              <a:gd name="T5" fmla="*/ 54 h 425"/>
              <a:gd name="T6" fmla="*/ 444 w 450"/>
              <a:gd name="T7" fmla="*/ 20 h 425"/>
              <a:gd name="T8" fmla="*/ 436 w 450"/>
              <a:gd name="T9" fmla="*/ 3 h 425"/>
              <a:gd name="T10" fmla="*/ 429 w 450"/>
              <a:gd name="T11" fmla="*/ 0 h 425"/>
              <a:gd name="T12" fmla="*/ 367 w 450"/>
              <a:gd name="T13" fmla="*/ 2 h 425"/>
              <a:gd name="T14" fmla="*/ 362 w 450"/>
              <a:gd name="T15" fmla="*/ 14 h 425"/>
              <a:gd name="T16" fmla="*/ 347 w 450"/>
              <a:gd name="T17" fmla="*/ 59 h 425"/>
              <a:gd name="T18" fmla="*/ 325 w 450"/>
              <a:gd name="T19" fmla="*/ 2 h 425"/>
              <a:gd name="T20" fmla="*/ 261 w 450"/>
              <a:gd name="T21" fmla="*/ 2 h 425"/>
              <a:gd name="T22" fmla="*/ 242 w 450"/>
              <a:gd name="T23" fmla="*/ 16 h 425"/>
              <a:gd name="T24" fmla="*/ 224 w 450"/>
              <a:gd name="T25" fmla="*/ 64 h 425"/>
              <a:gd name="T26" fmla="*/ 192 w 450"/>
              <a:gd name="T27" fmla="*/ 4 h 425"/>
              <a:gd name="T28" fmla="*/ 135 w 450"/>
              <a:gd name="T29" fmla="*/ 6 h 425"/>
              <a:gd name="T30" fmla="*/ 127 w 450"/>
              <a:gd name="T31" fmla="*/ 11 h 425"/>
              <a:gd name="T32" fmla="*/ 110 w 450"/>
              <a:gd name="T33" fmla="*/ 53 h 425"/>
              <a:gd name="T34" fmla="*/ 86 w 450"/>
              <a:gd name="T35" fmla="*/ 6 h 425"/>
              <a:gd name="T36" fmla="*/ 38 w 450"/>
              <a:gd name="T37" fmla="*/ 6 h 425"/>
              <a:gd name="T38" fmla="*/ 25 w 450"/>
              <a:gd name="T39" fmla="*/ 10 h 425"/>
              <a:gd name="T40" fmla="*/ 10 w 450"/>
              <a:gd name="T41" fmla="*/ 28 h 425"/>
              <a:gd name="T42" fmla="*/ 1 w 450"/>
              <a:gd name="T43" fmla="*/ 55 h 425"/>
              <a:gd name="T44" fmla="*/ 1 w 450"/>
              <a:gd name="T45" fmla="*/ 141 h 425"/>
              <a:gd name="T46" fmla="*/ 5 w 450"/>
              <a:gd name="T47" fmla="*/ 324 h 425"/>
              <a:gd name="T48" fmla="*/ 27 w 450"/>
              <a:gd name="T49" fmla="*/ 401 h 425"/>
              <a:gd name="T50" fmla="*/ 54 w 450"/>
              <a:gd name="T51" fmla="*/ 396 h 425"/>
              <a:gd name="T52" fmla="*/ 74 w 450"/>
              <a:gd name="T53" fmla="*/ 384 h 425"/>
              <a:gd name="T54" fmla="*/ 83 w 450"/>
              <a:gd name="T55" fmla="*/ 374 h 425"/>
              <a:gd name="T56" fmla="*/ 100 w 450"/>
              <a:gd name="T57" fmla="*/ 341 h 425"/>
              <a:gd name="T58" fmla="*/ 105 w 450"/>
              <a:gd name="T59" fmla="*/ 317 h 425"/>
              <a:gd name="T60" fmla="*/ 105 w 450"/>
              <a:gd name="T61" fmla="*/ 367 h 425"/>
              <a:gd name="T62" fmla="*/ 108 w 450"/>
              <a:gd name="T63" fmla="*/ 420 h 425"/>
              <a:gd name="T64" fmla="*/ 116 w 450"/>
              <a:gd name="T65" fmla="*/ 424 h 425"/>
              <a:gd name="T66" fmla="*/ 150 w 450"/>
              <a:gd name="T67" fmla="*/ 423 h 425"/>
              <a:gd name="T68" fmla="*/ 176 w 450"/>
              <a:gd name="T69" fmla="*/ 412 h 425"/>
              <a:gd name="T70" fmla="*/ 189 w 450"/>
              <a:gd name="T71" fmla="*/ 402 h 425"/>
              <a:gd name="T72" fmla="*/ 209 w 450"/>
              <a:gd name="T73" fmla="*/ 368 h 425"/>
              <a:gd name="T74" fmla="*/ 224 w 450"/>
              <a:gd name="T75" fmla="*/ 317 h 425"/>
              <a:gd name="T76" fmla="*/ 225 w 450"/>
              <a:gd name="T77" fmla="*/ 381 h 425"/>
              <a:gd name="T78" fmla="*/ 229 w 450"/>
              <a:gd name="T79" fmla="*/ 419 h 425"/>
              <a:gd name="T80" fmla="*/ 237 w 450"/>
              <a:gd name="T81" fmla="*/ 421 h 425"/>
              <a:gd name="T82" fmla="*/ 266 w 450"/>
              <a:gd name="T83" fmla="*/ 418 h 425"/>
              <a:gd name="T84" fmla="*/ 300 w 450"/>
              <a:gd name="T85" fmla="*/ 405 h 425"/>
              <a:gd name="T86" fmla="*/ 309 w 450"/>
              <a:gd name="T87" fmla="*/ 397 h 425"/>
              <a:gd name="T88" fmla="*/ 331 w 450"/>
              <a:gd name="T89" fmla="*/ 367 h 425"/>
              <a:gd name="T90" fmla="*/ 342 w 450"/>
              <a:gd name="T91" fmla="*/ 334 h 425"/>
              <a:gd name="T92" fmla="*/ 345 w 450"/>
              <a:gd name="T93" fmla="*/ 346 h 425"/>
              <a:gd name="T94" fmla="*/ 348 w 450"/>
              <a:gd name="T95" fmla="*/ 391 h 425"/>
              <a:gd name="T96" fmla="*/ 379 w 450"/>
              <a:gd name="T97" fmla="*/ 386 h 425"/>
              <a:gd name="T98" fmla="*/ 404 w 450"/>
              <a:gd name="T99" fmla="*/ 375 h 425"/>
              <a:gd name="T100" fmla="*/ 425 w 450"/>
              <a:gd name="T101" fmla="*/ 360 h 425"/>
              <a:gd name="T102" fmla="*/ 439 w 450"/>
              <a:gd name="T103" fmla="*/ 342 h 425"/>
              <a:gd name="T104" fmla="*/ 448 w 450"/>
              <a:gd name="T105" fmla="*/ 311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0" h="425">
                <a:moveTo>
                  <a:pt x="448" y="311"/>
                </a:moveTo>
                <a:lnTo>
                  <a:pt x="448" y="311"/>
                </a:lnTo>
                <a:lnTo>
                  <a:pt x="450" y="290"/>
                </a:lnTo>
                <a:lnTo>
                  <a:pt x="450" y="268"/>
                </a:lnTo>
                <a:lnTo>
                  <a:pt x="450" y="225"/>
                </a:lnTo>
                <a:lnTo>
                  <a:pt x="450" y="225"/>
                </a:lnTo>
                <a:lnTo>
                  <a:pt x="449" y="64"/>
                </a:lnTo>
                <a:lnTo>
                  <a:pt x="449" y="64"/>
                </a:lnTo>
                <a:lnTo>
                  <a:pt x="449" y="54"/>
                </a:lnTo>
                <a:lnTo>
                  <a:pt x="448" y="44"/>
                </a:lnTo>
                <a:lnTo>
                  <a:pt x="447" y="33"/>
                </a:lnTo>
                <a:lnTo>
                  <a:pt x="444" y="20"/>
                </a:lnTo>
                <a:lnTo>
                  <a:pt x="441" y="10"/>
                </a:lnTo>
                <a:lnTo>
                  <a:pt x="439" y="6"/>
                </a:lnTo>
                <a:lnTo>
                  <a:pt x="436" y="3"/>
                </a:lnTo>
                <a:lnTo>
                  <a:pt x="433" y="1"/>
                </a:lnTo>
                <a:lnTo>
                  <a:pt x="429" y="0"/>
                </a:lnTo>
                <a:lnTo>
                  <a:pt x="429" y="0"/>
                </a:lnTo>
                <a:lnTo>
                  <a:pt x="396" y="0"/>
                </a:lnTo>
                <a:lnTo>
                  <a:pt x="378" y="1"/>
                </a:lnTo>
                <a:lnTo>
                  <a:pt x="367" y="2"/>
                </a:lnTo>
                <a:lnTo>
                  <a:pt x="367" y="2"/>
                </a:lnTo>
                <a:lnTo>
                  <a:pt x="364" y="7"/>
                </a:lnTo>
                <a:lnTo>
                  <a:pt x="362" y="14"/>
                </a:lnTo>
                <a:lnTo>
                  <a:pt x="356" y="33"/>
                </a:lnTo>
                <a:lnTo>
                  <a:pt x="350" y="52"/>
                </a:lnTo>
                <a:lnTo>
                  <a:pt x="347" y="59"/>
                </a:lnTo>
                <a:lnTo>
                  <a:pt x="345" y="64"/>
                </a:lnTo>
                <a:lnTo>
                  <a:pt x="325" y="2"/>
                </a:lnTo>
                <a:lnTo>
                  <a:pt x="325" y="2"/>
                </a:lnTo>
                <a:lnTo>
                  <a:pt x="309" y="1"/>
                </a:lnTo>
                <a:lnTo>
                  <a:pt x="286" y="1"/>
                </a:lnTo>
                <a:lnTo>
                  <a:pt x="261" y="2"/>
                </a:lnTo>
                <a:lnTo>
                  <a:pt x="247" y="4"/>
                </a:lnTo>
                <a:lnTo>
                  <a:pt x="247" y="4"/>
                </a:lnTo>
                <a:lnTo>
                  <a:pt x="242" y="16"/>
                </a:lnTo>
                <a:lnTo>
                  <a:pt x="236" y="34"/>
                </a:lnTo>
                <a:lnTo>
                  <a:pt x="229" y="52"/>
                </a:lnTo>
                <a:lnTo>
                  <a:pt x="224" y="64"/>
                </a:lnTo>
                <a:lnTo>
                  <a:pt x="205" y="5"/>
                </a:lnTo>
                <a:lnTo>
                  <a:pt x="205" y="5"/>
                </a:lnTo>
                <a:lnTo>
                  <a:pt x="192" y="4"/>
                </a:lnTo>
                <a:lnTo>
                  <a:pt x="168" y="4"/>
                </a:lnTo>
                <a:lnTo>
                  <a:pt x="144" y="5"/>
                </a:lnTo>
                <a:lnTo>
                  <a:pt x="135" y="6"/>
                </a:lnTo>
                <a:lnTo>
                  <a:pt x="131" y="6"/>
                </a:lnTo>
                <a:lnTo>
                  <a:pt x="131" y="6"/>
                </a:lnTo>
                <a:lnTo>
                  <a:pt x="127" y="11"/>
                </a:lnTo>
                <a:lnTo>
                  <a:pt x="124" y="18"/>
                </a:lnTo>
                <a:lnTo>
                  <a:pt x="117" y="36"/>
                </a:lnTo>
                <a:lnTo>
                  <a:pt x="110" y="53"/>
                </a:lnTo>
                <a:lnTo>
                  <a:pt x="105" y="64"/>
                </a:lnTo>
                <a:lnTo>
                  <a:pt x="86" y="6"/>
                </a:lnTo>
                <a:lnTo>
                  <a:pt x="86" y="6"/>
                </a:lnTo>
                <a:lnTo>
                  <a:pt x="69" y="6"/>
                </a:lnTo>
                <a:lnTo>
                  <a:pt x="38" y="6"/>
                </a:lnTo>
                <a:lnTo>
                  <a:pt x="38" y="6"/>
                </a:lnTo>
                <a:lnTo>
                  <a:pt x="33" y="7"/>
                </a:lnTo>
                <a:lnTo>
                  <a:pt x="29" y="8"/>
                </a:lnTo>
                <a:lnTo>
                  <a:pt x="25" y="10"/>
                </a:lnTo>
                <a:lnTo>
                  <a:pt x="21" y="12"/>
                </a:lnTo>
                <a:lnTo>
                  <a:pt x="15" y="19"/>
                </a:lnTo>
                <a:lnTo>
                  <a:pt x="10" y="28"/>
                </a:lnTo>
                <a:lnTo>
                  <a:pt x="5" y="36"/>
                </a:lnTo>
                <a:lnTo>
                  <a:pt x="2" y="46"/>
                </a:lnTo>
                <a:lnTo>
                  <a:pt x="1" y="55"/>
                </a:lnTo>
                <a:lnTo>
                  <a:pt x="0" y="63"/>
                </a:lnTo>
                <a:lnTo>
                  <a:pt x="0" y="63"/>
                </a:lnTo>
                <a:lnTo>
                  <a:pt x="1" y="141"/>
                </a:lnTo>
                <a:lnTo>
                  <a:pt x="2" y="220"/>
                </a:lnTo>
                <a:lnTo>
                  <a:pt x="2" y="220"/>
                </a:lnTo>
                <a:lnTo>
                  <a:pt x="5" y="324"/>
                </a:lnTo>
                <a:lnTo>
                  <a:pt x="8" y="402"/>
                </a:lnTo>
                <a:lnTo>
                  <a:pt x="8" y="402"/>
                </a:lnTo>
                <a:lnTo>
                  <a:pt x="27" y="401"/>
                </a:lnTo>
                <a:lnTo>
                  <a:pt x="37" y="399"/>
                </a:lnTo>
                <a:lnTo>
                  <a:pt x="45" y="398"/>
                </a:lnTo>
                <a:lnTo>
                  <a:pt x="54" y="396"/>
                </a:lnTo>
                <a:lnTo>
                  <a:pt x="62" y="393"/>
                </a:lnTo>
                <a:lnTo>
                  <a:pt x="68" y="388"/>
                </a:lnTo>
                <a:lnTo>
                  <a:pt x="74" y="384"/>
                </a:lnTo>
                <a:lnTo>
                  <a:pt x="74" y="384"/>
                </a:lnTo>
                <a:lnTo>
                  <a:pt x="79" y="379"/>
                </a:lnTo>
                <a:lnTo>
                  <a:pt x="83" y="374"/>
                </a:lnTo>
                <a:lnTo>
                  <a:pt x="90" y="363"/>
                </a:lnTo>
                <a:lnTo>
                  <a:pt x="95" y="352"/>
                </a:lnTo>
                <a:lnTo>
                  <a:pt x="100" y="341"/>
                </a:lnTo>
                <a:lnTo>
                  <a:pt x="103" y="331"/>
                </a:lnTo>
                <a:lnTo>
                  <a:pt x="104" y="324"/>
                </a:lnTo>
                <a:lnTo>
                  <a:pt x="105" y="317"/>
                </a:lnTo>
                <a:lnTo>
                  <a:pt x="105" y="317"/>
                </a:lnTo>
                <a:lnTo>
                  <a:pt x="105" y="337"/>
                </a:lnTo>
                <a:lnTo>
                  <a:pt x="105" y="367"/>
                </a:lnTo>
                <a:lnTo>
                  <a:pt x="106" y="397"/>
                </a:lnTo>
                <a:lnTo>
                  <a:pt x="108" y="420"/>
                </a:lnTo>
                <a:lnTo>
                  <a:pt x="108" y="420"/>
                </a:lnTo>
                <a:lnTo>
                  <a:pt x="108" y="421"/>
                </a:lnTo>
                <a:lnTo>
                  <a:pt x="110" y="422"/>
                </a:lnTo>
                <a:lnTo>
                  <a:pt x="116" y="424"/>
                </a:lnTo>
                <a:lnTo>
                  <a:pt x="125" y="425"/>
                </a:lnTo>
                <a:lnTo>
                  <a:pt x="136" y="425"/>
                </a:lnTo>
                <a:lnTo>
                  <a:pt x="150" y="423"/>
                </a:lnTo>
                <a:lnTo>
                  <a:pt x="163" y="418"/>
                </a:lnTo>
                <a:lnTo>
                  <a:pt x="169" y="415"/>
                </a:lnTo>
                <a:lnTo>
                  <a:pt x="176" y="412"/>
                </a:lnTo>
                <a:lnTo>
                  <a:pt x="182" y="407"/>
                </a:lnTo>
                <a:lnTo>
                  <a:pt x="189" y="402"/>
                </a:lnTo>
                <a:lnTo>
                  <a:pt x="189" y="402"/>
                </a:lnTo>
                <a:lnTo>
                  <a:pt x="197" y="392"/>
                </a:lnTo>
                <a:lnTo>
                  <a:pt x="204" y="380"/>
                </a:lnTo>
                <a:lnTo>
                  <a:pt x="209" y="368"/>
                </a:lnTo>
                <a:lnTo>
                  <a:pt x="213" y="356"/>
                </a:lnTo>
                <a:lnTo>
                  <a:pt x="220" y="333"/>
                </a:lnTo>
                <a:lnTo>
                  <a:pt x="224" y="317"/>
                </a:lnTo>
                <a:lnTo>
                  <a:pt x="224" y="317"/>
                </a:lnTo>
                <a:lnTo>
                  <a:pt x="224" y="348"/>
                </a:lnTo>
                <a:lnTo>
                  <a:pt x="225" y="381"/>
                </a:lnTo>
                <a:lnTo>
                  <a:pt x="227" y="408"/>
                </a:lnTo>
                <a:lnTo>
                  <a:pt x="228" y="417"/>
                </a:lnTo>
                <a:lnTo>
                  <a:pt x="229" y="419"/>
                </a:lnTo>
                <a:lnTo>
                  <a:pt x="230" y="420"/>
                </a:lnTo>
                <a:lnTo>
                  <a:pt x="230" y="420"/>
                </a:lnTo>
                <a:lnTo>
                  <a:pt x="237" y="421"/>
                </a:lnTo>
                <a:lnTo>
                  <a:pt x="245" y="421"/>
                </a:lnTo>
                <a:lnTo>
                  <a:pt x="255" y="420"/>
                </a:lnTo>
                <a:lnTo>
                  <a:pt x="266" y="418"/>
                </a:lnTo>
                <a:lnTo>
                  <a:pt x="277" y="415"/>
                </a:lnTo>
                <a:lnTo>
                  <a:pt x="289" y="411"/>
                </a:lnTo>
                <a:lnTo>
                  <a:pt x="300" y="405"/>
                </a:lnTo>
                <a:lnTo>
                  <a:pt x="305" y="401"/>
                </a:lnTo>
                <a:lnTo>
                  <a:pt x="309" y="397"/>
                </a:lnTo>
                <a:lnTo>
                  <a:pt x="309" y="397"/>
                </a:lnTo>
                <a:lnTo>
                  <a:pt x="317" y="387"/>
                </a:lnTo>
                <a:lnTo>
                  <a:pt x="325" y="377"/>
                </a:lnTo>
                <a:lnTo>
                  <a:pt x="331" y="367"/>
                </a:lnTo>
                <a:lnTo>
                  <a:pt x="336" y="356"/>
                </a:lnTo>
                <a:lnTo>
                  <a:pt x="339" y="345"/>
                </a:lnTo>
                <a:lnTo>
                  <a:pt x="342" y="334"/>
                </a:lnTo>
                <a:lnTo>
                  <a:pt x="345" y="317"/>
                </a:lnTo>
                <a:lnTo>
                  <a:pt x="345" y="317"/>
                </a:lnTo>
                <a:lnTo>
                  <a:pt x="345" y="346"/>
                </a:lnTo>
                <a:lnTo>
                  <a:pt x="346" y="370"/>
                </a:lnTo>
                <a:lnTo>
                  <a:pt x="348" y="391"/>
                </a:lnTo>
                <a:lnTo>
                  <a:pt x="348" y="391"/>
                </a:lnTo>
                <a:lnTo>
                  <a:pt x="362" y="390"/>
                </a:lnTo>
                <a:lnTo>
                  <a:pt x="371" y="388"/>
                </a:lnTo>
                <a:lnTo>
                  <a:pt x="379" y="386"/>
                </a:lnTo>
                <a:lnTo>
                  <a:pt x="379" y="386"/>
                </a:lnTo>
                <a:lnTo>
                  <a:pt x="393" y="380"/>
                </a:lnTo>
                <a:lnTo>
                  <a:pt x="404" y="375"/>
                </a:lnTo>
                <a:lnTo>
                  <a:pt x="415" y="368"/>
                </a:lnTo>
                <a:lnTo>
                  <a:pt x="415" y="368"/>
                </a:lnTo>
                <a:lnTo>
                  <a:pt x="425" y="360"/>
                </a:lnTo>
                <a:lnTo>
                  <a:pt x="430" y="355"/>
                </a:lnTo>
                <a:lnTo>
                  <a:pt x="435" y="349"/>
                </a:lnTo>
                <a:lnTo>
                  <a:pt x="439" y="342"/>
                </a:lnTo>
                <a:lnTo>
                  <a:pt x="443" y="333"/>
                </a:lnTo>
                <a:lnTo>
                  <a:pt x="446" y="323"/>
                </a:lnTo>
                <a:lnTo>
                  <a:pt x="448" y="3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8" name="Freeform 35"/>
          <p:cNvSpPr>
            <a:spLocks/>
          </p:cNvSpPr>
          <p:nvPr userDrawn="1"/>
        </p:nvSpPr>
        <p:spPr bwMode="auto">
          <a:xfrm>
            <a:off x="7245351" y="1206204"/>
            <a:ext cx="73025" cy="80963"/>
          </a:xfrm>
          <a:custGeom>
            <a:avLst/>
            <a:gdLst>
              <a:gd name="T0" fmla="*/ 554 w 554"/>
              <a:gd name="T1" fmla="*/ 356 h 620"/>
              <a:gd name="T2" fmla="*/ 549 w 554"/>
              <a:gd name="T3" fmla="*/ 350 h 620"/>
              <a:gd name="T4" fmla="*/ 535 w 554"/>
              <a:gd name="T5" fmla="*/ 331 h 620"/>
              <a:gd name="T6" fmla="*/ 525 w 554"/>
              <a:gd name="T7" fmla="*/ 306 h 620"/>
              <a:gd name="T8" fmla="*/ 520 w 554"/>
              <a:gd name="T9" fmla="*/ 285 h 620"/>
              <a:gd name="T10" fmla="*/ 516 w 554"/>
              <a:gd name="T11" fmla="*/ 258 h 620"/>
              <a:gd name="T12" fmla="*/ 515 w 554"/>
              <a:gd name="T13" fmla="*/ 243 h 620"/>
              <a:gd name="T14" fmla="*/ 516 w 554"/>
              <a:gd name="T15" fmla="*/ 222 h 620"/>
              <a:gd name="T16" fmla="*/ 520 w 554"/>
              <a:gd name="T17" fmla="*/ 202 h 620"/>
              <a:gd name="T18" fmla="*/ 532 w 554"/>
              <a:gd name="T19" fmla="*/ 167 h 620"/>
              <a:gd name="T20" fmla="*/ 546 w 554"/>
              <a:gd name="T21" fmla="*/ 142 h 620"/>
              <a:gd name="T22" fmla="*/ 551 w 554"/>
              <a:gd name="T23" fmla="*/ 43 h 620"/>
              <a:gd name="T24" fmla="*/ 542 w 554"/>
              <a:gd name="T25" fmla="*/ 36 h 620"/>
              <a:gd name="T26" fmla="*/ 504 w 554"/>
              <a:gd name="T27" fmla="*/ 13 h 620"/>
              <a:gd name="T28" fmla="*/ 482 w 554"/>
              <a:gd name="T29" fmla="*/ 2 h 620"/>
              <a:gd name="T30" fmla="*/ 470 w 554"/>
              <a:gd name="T31" fmla="*/ 0 h 620"/>
              <a:gd name="T32" fmla="*/ 465 w 554"/>
              <a:gd name="T33" fmla="*/ 327 h 620"/>
              <a:gd name="T34" fmla="*/ 465 w 554"/>
              <a:gd name="T35" fmla="*/ 339 h 620"/>
              <a:gd name="T36" fmla="*/ 458 w 554"/>
              <a:gd name="T37" fmla="*/ 360 h 620"/>
              <a:gd name="T38" fmla="*/ 444 w 554"/>
              <a:gd name="T39" fmla="*/ 382 h 620"/>
              <a:gd name="T40" fmla="*/ 426 w 554"/>
              <a:gd name="T41" fmla="*/ 402 h 620"/>
              <a:gd name="T42" fmla="*/ 405 w 554"/>
              <a:gd name="T43" fmla="*/ 421 h 620"/>
              <a:gd name="T44" fmla="*/ 380 w 554"/>
              <a:gd name="T45" fmla="*/ 437 h 620"/>
              <a:gd name="T46" fmla="*/ 353 w 554"/>
              <a:gd name="T47" fmla="*/ 449 h 620"/>
              <a:gd name="T48" fmla="*/ 327 w 554"/>
              <a:gd name="T49" fmla="*/ 458 h 620"/>
              <a:gd name="T50" fmla="*/ 314 w 554"/>
              <a:gd name="T51" fmla="*/ 461 h 620"/>
              <a:gd name="T52" fmla="*/ 255 w 554"/>
              <a:gd name="T53" fmla="*/ 471 h 620"/>
              <a:gd name="T54" fmla="*/ 199 w 554"/>
              <a:gd name="T55" fmla="*/ 477 h 620"/>
              <a:gd name="T56" fmla="*/ 98 w 554"/>
              <a:gd name="T57" fmla="*/ 482 h 620"/>
              <a:gd name="T58" fmla="*/ 27 w 554"/>
              <a:gd name="T59" fmla="*/ 482 h 620"/>
              <a:gd name="T60" fmla="*/ 0 w 554"/>
              <a:gd name="T61" fmla="*/ 481 h 620"/>
              <a:gd name="T62" fmla="*/ 4 w 554"/>
              <a:gd name="T63" fmla="*/ 508 h 620"/>
              <a:gd name="T64" fmla="*/ 13 w 554"/>
              <a:gd name="T65" fmla="*/ 550 h 620"/>
              <a:gd name="T66" fmla="*/ 18 w 554"/>
              <a:gd name="T67" fmla="*/ 566 h 620"/>
              <a:gd name="T68" fmla="*/ 29 w 554"/>
              <a:gd name="T69" fmla="*/ 586 h 620"/>
              <a:gd name="T70" fmla="*/ 44 w 554"/>
              <a:gd name="T71" fmla="*/ 604 h 620"/>
              <a:gd name="T72" fmla="*/ 62 w 554"/>
              <a:gd name="T73" fmla="*/ 620 h 620"/>
              <a:gd name="T74" fmla="*/ 554 w 554"/>
              <a:gd name="T75" fmla="*/ 450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4" h="620">
                <a:moveTo>
                  <a:pt x="554" y="450"/>
                </a:moveTo>
                <a:lnTo>
                  <a:pt x="554" y="356"/>
                </a:lnTo>
                <a:lnTo>
                  <a:pt x="554" y="356"/>
                </a:lnTo>
                <a:lnTo>
                  <a:pt x="549" y="350"/>
                </a:lnTo>
                <a:lnTo>
                  <a:pt x="543" y="342"/>
                </a:lnTo>
                <a:lnTo>
                  <a:pt x="535" y="331"/>
                </a:lnTo>
                <a:lnTo>
                  <a:pt x="528" y="315"/>
                </a:lnTo>
                <a:lnTo>
                  <a:pt x="525" y="306"/>
                </a:lnTo>
                <a:lnTo>
                  <a:pt x="522" y="296"/>
                </a:lnTo>
                <a:lnTo>
                  <a:pt x="520" y="285"/>
                </a:lnTo>
                <a:lnTo>
                  <a:pt x="517" y="271"/>
                </a:lnTo>
                <a:lnTo>
                  <a:pt x="516" y="258"/>
                </a:lnTo>
                <a:lnTo>
                  <a:pt x="515" y="243"/>
                </a:lnTo>
                <a:lnTo>
                  <a:pt x="515" y="243"/>
                </a:lnTo>
                <a:lnTo>
                  <a:pt x="515" y="232"/>
                </a:lnTo>
                <a:lnTo>
                  <a:pt x="516" y="222"/>
                </a:lnTo>
                <a:lnTo>
                  <a:pt x="517" y="212"/>
                </a:lnTo>
                <a:lnTo>
                  <a:pt x="520" y="202"/>
                </a:lnTo>
                <a:lnTo>
                  <a:pt x="526" y="183"/>
                </a:lnTo>
                <a:lnTo>
                  <a:pt x="532" y="167"/>
                </a:lnTo>
                <a:lnTo>
                  <a:pt x="540" y="154"/>
                </a:lnTo>
                <a:lnTo>
                  <a:pt x="546" y="142"/>
                </a:lnTo>
                <a:lnTo>
                  <a:pt x="552" y="133"/>
                </a:lnTo>
                <a:lnTo>
                  <a:pt x="551" y="43"/>
                </a:lnTo>
                <a:lnTo>
                  <a:pt x="551" y="43"/>
                </a:lnTo>
                <a:lnTo>
                  <a:pt x="542" y="36"/>
                </a:lnTo>
                <a:lnTo>
                  <a:pt x="518" y="21"/>
                </a:lnTo>
                <a:lnTo>
                  <a:pt x="504" y="13"/>
                </a:lnTo>
                <a:lnTo>
                  <a:pt x="489" y="5"/>
                </a:lnTo>
                <a:lnTo>
                  <a:pt x="482" y="2"/>
                </a:lnTo>
                <a:lnTo>
                  <a:pt x="476" y="1"/>
                </a:lnTo>
                <a:lnTo>
                  <a:pt x="470" y="0"/>
                </a:lnTo>
                <a:lnTo>
                  <a:pt x="464" y="0"/>
                </a:lnTo>
                <a:lnTo>
                  <a:pt x="465" y="327"/>
                </a:lnTo>
                <a:lnTo>
                  <a:pt x="465" y="327"/>
                </a:lnTo>
                <a:lnTo>
                  <a:pt x="465" y="339"/>
                </a:lnTo>
                <a:lnTo>
                  <a:pt x="462" y="349"/>
                </a:lnTo>
                <a:lnTo>
                  <a:pt x="458" y="360"/>
                </a:lnTo>
                <a:lnTo>
                  <a:pt x="452" y="370"/>
                </a:lnTo>
                <a:lnTo>
                  <a:pt x="444" y="382"/>
                </a:lnTo>
                <a:lnTo>
                  <a:pt x="436" y="392"/>
                </a:lnTo>
                <a:lnTo>
                  <a:pt x="426" y="402"/>
                </a:lnTo>
                <a:lnTo>
                  <a:pt x="416" y="411"/>
                </a:lnTo>
                <a:lnTo>
                  <a:pt x="405" y="421"/>
                </a:lnTo>
                <a:lnTo>
                  <a:pt x="392" y="429"/>
                </a:lnTo>
                <a:lnTo>
                  <a:pt x="380" y="437"/>
                </a:lnTo>
                <a:lnTo>
                  <a:pt x="367" y="443"/>
                </a:lnTo>
                <a:lnTo>
                  <a:pt x="353" y="449"/>
                </a:lnTo>
                <a:lnTo>
                  <a:pt x="340" y="454"/>
                </a:lnTo>
                <a:lnTo>
                  <a:pt x="327" y="458"/>
                </a:lnTo>
                <a:lnTo>
                  <a:pt x="314" y="461"/>
                </a:lnTo>
                <a:lnTo>
                  <a:pt x="314" y="461"/>
                </a:lnTo>
                <a:lnTo>
                  <a:pt x="284" y="467"/>
                </a:lnTo>
                <a:lnTo>
                  <a:pt x="255" y="471"/>
                </a:lnTo>
                <a:lnTo>
                  <a:pt x="227" y="474"/>
                </a:lnTo>
                <a:lnTo>
                  <a:pt x="199" y="477"/>
                </a:lnTo>
                <a:lnTo>
                  <a:pt x="146" y="480"/>
                </a:lnTo>
                <a:lnTo>
                  <a:pt x="98" y="482"/>
                </a:lnTo>
                <a:lnTo>
                  <a:pt x="58" y="482"/>
                </a:lnTo>
                <a:lnTo>
                  <a:pt x="27" y="482"/>
                </a:lnTo>
                <a:lnTo>
                  <a:pt x="0" y="481"/>
                </a:lnTo>
                <a:lnTo>
                  <a:pt x="0" y="481"/>
                </a:lnTo>
                <a:lnTo>
                  <a:pt x="1" y="488"/>
                </a:lnTo>
                <a:lnTo>
                  <a:pt x="4" y="508"/>
                </a:lnTo>
                <a:lnTo>
                  <a:pt x="10" y="535"/>
                </a:lnTo>
                <a:lnTo>
                  <a:pt x="13" y="550"/>
                </a:lnTo>
                <a:lnTo>
                  <a:pt x="18" y="566"/>
                </a:lnTo>
                <a:lnTo>
                  <a:pt x="18" y="566"/>
                </a:lnTo>
                <a:lnTo>
                  <a:pt x="23" y="576"/>
                </a:lnTo>
                <a:lnTo>
                  <a:pt x="29" y="586"/>
                </a:lnTo>
                <a:lnTo>
                  <a:pt x="36" y="595"/>
                </a:lnTo>
                <a:lnTo>
                  <a:pt x="44" y="604"/>
                </a:lnTo>
                <a:lnTo>
                  <a:pt x="57" y="616"/>
                </a:lnTo>
                <a:lnTo>
                  <a:pt x="62" y="620"/>
                </a:lnTo>
                <a:lnTo>
                  <a:pt x="451" y="620"/>
                </a:lnTo>
                <a:lnTo>
                  <a:pt x="554" y="4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9" name="Freeform 36"/>
          <p:cNvSpPr>
            <a:spLocks/>
          </p:cNvSpPr>
          <p:nvPr userDrawn="1"/>
        </p:nvSpPr>
        <p:spPr bwMode="auto">
          <a:xfrm>
            <a:off x="7251700" y="1298279"/>
            <a:ext cx="57150" cy="17463"/>
          </a:xfrm>
          <a:custGeom>
            <a:avLst/>
            <a:gdLst>
              <a:gd name="T0" fmla="*/ 20 w 435"/>
              <a:gd name="T1" fmla="*/ 142 h 142"/>
              <a:gd name="T2" fmla="*/ 411 w 435"/>
              <a:gd name="T3" fmla="*/ 142 h 142"/>
              <a:gd name="T4" fmla="*/ 411 w 435"/>
              <a:gd name="T5" fmla="*/ 142 h 142"/>
              <a:gd name="T6" fmla="*/ 422 w 435"/>
              <a:gd name="T7" fmla="*/ 109 h 142"/>
              <a:gd name="T8" fmla="*/ 430 w 435"/>
              <a:gd name="T9" fmla="*/ 83 h 142"/>
              <a:gd name="T10" fmla="*/ 433 w 435"/>
              <a:gd name="T11" fmla="*/ 72 h 142"/>
              <a:gd name="T12" fmla="*/ 435 w 435"/>
              <a:gd name="T13" fmla="*/ 63 h 142"/>
              <a:gd name="T14" fmla="*/ 417 w 435"/>
              <a:gd name="T15" fmla="*/ 0 h 142"/>
              <a:gd name="T16" fmla="*/ 22 w 435"/>
              <a:gd name="T17" fmla="*/ 0 h 142"/>
              <a:gd name="T18" fmla="*/ 0 w 435"/>
              <a:gd name="T19" fmla="*/ 65 h 142"/>
              <a:gd name="T20" fmla="*/ 20 w 435"/>
              <a:gd name="T2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5" h="142">
                <a:moveTo>
                  <a:pt x="20" y="142"/>
                </a:moveTo>
                <a:lnTo>
                  <a:pt x="411" y="142"/>
                </a:lnTo>
                <a:lnTo>
                  <a:pt x="411" y="142"/>
                </a:lnTo>
                <a:lnTo>
                  <a:pt x="422" y="109"/>
                </a:lnTo>
                <a:lnTo>
                  <a:pt x="430" y="83"/>
                </a:lnTo>
                <a:lnTo>
                  <a:pt x="433" y="72"/>
                </a:lnTo>
                <a:lnTo>
                  <a:pt x="435" y="63"/>
                </a:lnTo>
                <a:lnTo>
                  <a:pt x="417" y="0"/>
                </a:lnTo>
                <a:lnTo>
                  <a:pt x="22" y="0"/>
                </a:lnTo>
                <a:lnTo>
                  <a:pt x="0" y="65"/>
                </a:lnTo>
                <a:lnTo>
                  <a:pt x="20" y="1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0" name="Freeform 37"/>
          <p:cNvSpPr>
            <a:spLocks/>
          </p:cNvSpPr>
          <p:nvPr userDrawn="1"/>
        </p:nvSpPr>
        <p:spPr bwMode="auto">
          <a:xfrm>
            <a:off x="7254875" y="1326854"/>
            <a:ext cx="57150" cy="66675"/>
          </a:xfrm>
          <a:custGeom>
            <a:avLst/>
            <a:gdLst>
              <a:gd name="T0" fmla="*/ 384 w 436"/>
              <a:gd name="T1" fmla="*/ 0 h 514"/>
              <a:gd name="T2" fmla="*/ 2 w 436"/>
              <a:gd name="T3" fmla="*/ 0 h 514"/>
              <a:gd name="T4" fmla="*/ 0 w 436"/>
              <a:gd name="T5" fmla="*/ 505 h 514"/>
              <a:gd name="T6" fmla="*/ 331 w 436"/>
              <a:gd name="T7" fmla="*/ 514 h 514"/>
              <a:gd name="T8" fmla="*/ 436 w 436"/>
              <a:gd name="T9" fmla="*/ 431 h 514"/>
              <a:gd name="T10" fmla="*/ 384 w 436"/>
              <a:gd name="T11" fmla="*/ 0 h 514"/>
            </a:gdLst>
            <a:ahLst/>
            <a:cxnLst>
              <a:cxn ang="0">
                <a:pos x="T0" y="T1"/>
              </a:cxn>
              <a:cxn ang="0">
                <a:pos x="T2" y="T3"/>
              </a:cxn>
              <a:cxn ang="0">
                <a:pos x="T4" y="T5"/>
              </a:cxn>
              <a:cxn ang="0">
                <a:pos x="T6" y="T7"/>
              </a:cxn>
              <a:cxn ang="0">
                <a:pos x="T8" y="T9"/>
              </a:cxn>
              <a:cxn ang="0">
                <a:pos x="T10" y="T11"/>
              </a:cxn>
            </a:cxnLst>
            <a:rect l="0" t="0" r="r" b="b"/>
            <a:pathLst>
              <a:path w="436" h="514">
                <a:moveTo>
                  <a:pt x="384" y="0"/>
                </a:moveTo>
                <a:lnTo>
                  <a:pt x="2" y="0"/>
                </a:lnTo>
                <a:lnTo>
                  <a:pt x="0" y="505"/>
                </a:lnTo>
                <a:lnTo>
                  <a:pt x="331" y="514"/>
                </a:lnTo>
                <a:lnTo>
                  <a:pt x="436" y="431"/>
                </a:lnTo>
                <a:lnTo>
                  <a:pt x="3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1" name="Freeform 38"/>
          <p:cNvSpPr>
            <a:spLocks/>
          </p:cNvSpPr>
          <p:nvPr userDrawn="1"/>
        </p:nvSpPr>
        <p:spPr bwMode="auto">
          <a:xfrm>
            <a:off x="7251701" y="1391941"/>
            <a:ext cx="77788" cy="68263"/>
          </a:xfrm>
          <a:custGeom>
            <a:avLst/>
            <a:gdLst>
              <a:gd name="T0" fmla="*/ 586 w 586"/>
              <a:gd name="T1" fmla="*/ 139 h 523"/>
              <a:gd name="T2" fmla="*/ 586 w 586"/>
              <a:gd name="T3" fmla="*/ 139 h 523"/>
              <a:gd name="T4" fmla="*/ 552 w 586"/>
              <a:gd name="T5" fmla="*/ 115 h 523"/>
              <a:gd name="T6" fmla="*/ 527 w 586"/>
              <a:gd name="T7" fmla="*/ 97 h 523"/>
              <a:gd name="T8" fmla="*/ 519 w 586"/>
              <a:gd name="T9" fmla="*/ 90 h 523"/>
              <a:gd name="T10" fmla="*/ 514 w 586"/>
              <a:gd name="T11" fmla="*/ 85 h 523"/>
              <a:gd name="T12" fmla="*/ 514 w 586"/>
              <a:gd name="T13" fmla="*/ 85 h 523"/>
              <a:gd name="T14" fmla="*/ 512 w 586"/>
              <a:gd name="T15" fmla="*/ 79 h 523"/>
              <a:gd name="T16" fmla="*/ 510 w 586"/>
              <a:gd name="T17" fmla="*/ 69 h 523"/>
              <a:gd name="T18" fmla="*/ 506 w 586"/>
              <a:gd name="T19" fmla="*/ 40 h 523"/>
              <a:gd name="T20" fmla="*/ 503 w 586"/>
              <a:gd name="T21" fmla="*/ 0 h 523"/>
              <a:gd name="T22" fmla="*/ 381 w 586"/>
              <a:gd name="T23" fmla="*/ 98 h 523"/>
              <a:gd name="T24" fmla="*/ 8 w 586"/>
              <a:gd name="T25" fmla="*/ 97 h 523"/>
              <a:gd name="T26" fmla="*/ 8 w 586"/>
              <a:gd name="T27" fmla="*/ 97 h 523"/>
              <a:gd name="T28" fmla="*/ 8 w 586"/>
              <a:gd name="T29" fmla="*/ 98 h 523"/>
              <a:gd name="T30" fmla="*/ 7 w 586"/>
              <a:gd name="T31" fmla="*/ 100 h 523"/>
              <a:gd name="T32" fmla="*/ 5 w 586"/>
              <a:gd name="T33" fmla="*/ 108 h 523"/>
              <a:gd name="T34" fmla="*/ 3 w 586"/>
              <a:gd name="T35" fmla="*/ 139 h 523"/>
              <a:gd name="T36" fmla="*/ 2 w 586"/>
              <a:gd name="T37" fmla="*/ 183 h 523"/>
              <a:gd name="T38" fmla="*/ 1 w 586"/>
              <a:gd name="T39" fmla="*/ 233 h 523"/>
              <a:gd name="T40" fmla="*/ 0 w 586"/>
              <a:gd name="T41" fmla="*/ 327 h 523"/>
              <a:gd name="T42" fmla="*/ 0 w 586"/>
              <a:gd name="T43" fmla="*/ 369 h 523"/>
              <a:gd name="T44" fmla="*/ 0 w 586"/>
              <a:gd name="T45" fmla="*/ 369 h 523"/>
              <a:gd name="T46" fmla="*/ 29 w 586"/>
              <a:gd name="T47" fmla="*/ 395 h 523"/>
              <a:gd name="T48" fmla="*/ 95 w 586"/>
              <a:gd name="T49" fmla="*/ 448 h 523"/>
              <a:gd name="T50" fmla="*/ 131 w 586"/>
              <a:gd name="T51" fmla="*/ 477 h 523"/>
              <a:gd name="T52" fmla="*/ 162 w 586"/>
              <a:gd name="T53" fmla="*/ 501 h 523"/>
              <a:gd name="T54" fmla="*/ 186 w 586"/>
              <a:gd name="T55" fmla="*/ 517 h 523"/>
              <a:gd name="T56" fmla="*/ 193 w 586"/>
              <a:gd name="T57" fmla="*/ 522 h 523"/>
              <a:gd name="T58" fmla="*/ 195 w 586"/>
              <a:gd name="T59" fmla="*/ 523 h 523"/>
              <a:gd name="T60" fmla="*/ 197 w 586"/>
              <a:gd name="T61" fmla="*/ 523 h 523"/>
              <a:gd name="T62" fmla="*/ 448 w 586"/>
              <a:gd name="T63" fmla="*/ 206 h 523"/>
              <a:gd name="T64" fmla="*/ 586 w 586"/>
              <a:gd name="T65" fmla="*/ 139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86" h="523">
                <a:moveTo>
                  <a:pt x="586" y="139"/>
                </a:moveTo>
                <a:lnTo>
                  <a:pt x="586" y="139"/>
                </a:lnTo>
                <a:lnTo>
                  <a:pt x="552" y="115"/>
                </a:lnTo>
                <a:lnTo>
                  <a:pt x="527" y="97"/>
                </a:lnTo>
                <a:lnTo>
                  <a:pt x="519" y="90"/>
                </a:lnTo>
                <a:lnTo>
                  <a:pt x="514" y="85"/>
                </a:lnTo>
                <a:lnTo>
                  <a:pt x="514" y="85"/>
                </a:lnTo>
                <a:lnTo>
                  <a:pt x="512" y="79"/>
                </a:lnTo>
                <a:lnTo>
                  <a:pt x="510" y="69"/>
                </a:lnTo>
                <a:lnTo>
                  <a:pt x="506" y="40"/>
                </a:lnTo>
                <a:lnTo>
                  <a:pt x="503" y="0"/>
                </a:lnTo>
                <a:lnTo>
                  <a:pt x="381" y="98"/>
                </a:lnTo>
                <a:lnTo>
                  <a:pt x="8" y="97"/>
                </a:lnTo>
                <a:lnTo>
                  <a:pt x="8" y="97"/>
                </a:lnTo>
                <a:lnTo>
                  <a:pt x="8" y="98"/>
                </a:lnTo>
                <a:lnTo>
                  <a:pt x="7" y="100"/>
                </a:lnTo>
                <a:lnTo>
                  <a:pt x="5" y="108"/>
                </a:lnTo>
                <a:lnTo>
                  <a:pt x="3" y="139"/>
                </a:lnTo>
                <a:lnTo>
                  <a:pt x="2" y="183"/>
                </a:lnTo>
                <a:lnTo>
                  <a:pt x="1" y="233"/>
                </a:lnTo>
                <a:lnTo>
                  <a:pt x="0" y="327"/>
                </a:lnTo>
                <a:lnTo>
                  <a:pt x="0" y="369"/>
                </a:lnTo>
                <a:lnTo>
                  <a:pt x="0" y="369"/>
                </a:lnTo>
                <a:lnTo>
                  <a:pt x="29" y="395"/>
                </a:lnTo>
                <a:lnTo>
                  <a:pt x="95" y="448"/>
                </a:lnTo>
                <a:lnTo>
                  <a:pt x="131" y="477"/>
                </a:lnTo>
                <a:lnTo>
                  <a:pt x="162" y="501"/>
                </a:lnTo>
                <a:lnTo>
                  <a:pt x="186" y="517"/>
                </a:lnTo>
                <a:lnTo>
                  <a:pt x="193" y="522"/>
                </a:lnTo>
                <a:lnTo>
                  <a:pt x="195" y="523"/>
                </a:lnTo>
                <a:lnTo>
                  <a:pt x="197" y="523"/>
                </a:lnTo>
                <a:lnTo>
                  <a:pt x="448" y="206"/>
                </a:lnTo>
                <a:lnTo>
                  <a:pt x="586" y="13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2" name="Freeform 39"/>
          <p:cNvSpPr>
            <a:spLocks/>
          </p:cNvSpPr>
          <p:nvPr userDrawn="1"/>
        </p:nvSpPr>
        <p:spPr bwMode="auto">
          <a:xfrm>
            <a:off x="7288212" y="1417340"/>
            <a:ext cx="115888" cy="66675"/>
          </a:xfrm>
          <a:custGeom>
            <a:avLst/>
            <a:gdLst>
              <a:gd name="T0" fmla="*/ 226 w 879"/>
              <a:gd name="T1" fmla="*/ 65 h 509"/>
              <a:gd name="T2" fmla="*/ 0 w 879"/>
              <a:gd name="T3" fmla="*/ 355 h 509"/>
              <a:gd name="T4" fmla="*/ 369 w 879"/>
              <a:gd name="T5" fmla="*/ 509 h 509"/>
              <a:gd name="T6" fmla="*/ 369 w 879"/>
              <a:gd name="T7" fmla="*/ 509 h 509"/>
              <a:gd name="T8" fmla="*/ 409 w 879"/>
              <a:gd name="T9" fmla="*/ 487 h 509"/>
              <a:gd name="T10" fmla="*/ 452 w 879"/>
              <a:gd name="T11" fmla="*/ 464 h 509"/>
              <a:gd name="T12" fmla="*/ 495 w 879"/>
              <a:gd name="T13" fmla="*/ 439 h 509"/>
              <a:gd name="T14" fmla="*/ 538 w 879"/>
              <a:gd name="T15" fmla="*/ 413 h 509"/>
              <a:gd name="T16" fmla="*/ 623 w 879"/>
              <a:gd name="T17" fmla="*/ 361 h 509"/>
              <a:gd name="T18" fmla="*/ 703 w 879"/>
              <a:gd name="T19" fmla="*/ 311 h 509"/>
              <a:gd name="T20" fmla="*/ 773 w 879"/>
              <a:gd name="T21" fmla="*/ 266 h 509"/>
              <a:gd name="T22" fmla="*/ 829 w 879"/>
              <a:gd name="T23" fmla="*/ 229 h 509"/>
              <a:gd name="T24" fmla="*/ 879 w 879"/>
              <a:gd name="T25" fmla="*/ 196 h 509"/>
              <a:gd name="T26" fmla="*/ 359 w 879"/>
              <a:gd name="T27" fmla="*/ 0 h 509"/>
              <a:gd name="T28" fmla="*/ 226 w 879"/>
              <a:gd name="T29" fmla="*/ 65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9" h="509">
                <a:moveTo>
                  <a:pt x="226" y="65"/>
                </a:moveTo>
                <a:lnTo>
                  <a:pt x="0" y="355"/>
                </a:lnTo>
                <a:lnTo>
                  <a:pt x="369" y="509"/>
                </a:lnTo>
                <a:lnTo>
                  <a:pt x="369" y="509"/>
                </a:lnTo>
                <a:lnTo>
                  <a:pt x="409" y="487"/>
                </a:lnTo>
                <a:lnTo>
                  <a:pt x="452" y="464"/>
                </a:lnTo>
                <a:lnTo>
                  <a:pt x="495" y="439"/>
                </a:lnTo>
                <a:lnTo>
                  <a:pt x="538" y="413"/>
                </a:lnTo>
                <a:lnTo>
                  <a:pt x="623" y="361"/>
                </a:lnTo>
                <a:lnTo>
                  <a:pt x="703" y="311"/>
                </a:lnTo>
                <a:lnTo>
                  <a:pt x="773" y="266"/>
                </a:lnTo>
                <a:lnTo>
                  <a:pt x="829" y="229"/>
                </a:lnTo>
                <a:lnTo>
                  <a:pt x="879" y="196"/>
                </a:lnTo>
                <a:lnTo>
                  <a:pt x="359" y="0"/>
                </a:lnTo>
                <a:lnTo>
                  <a:pt x="226" y="6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3" name="Freeform 40"/>
          <p:cNvSpPr>
            <a:spLocks/>
          </p:cNvSpPr>
          <p:nvPr userDrawn="1"/>
        </p:nvSpPr>
        <p:spPr bwMode="auto">
          <a:xfrm>
            <a:off x="7323137" y="1172866"/>
            <a:ext cx="26988" cy="123825"/>
          </a:xfrm>
          <a:custGeom>
            <a:avLst/>
            <a:gdLst>
              <a:gd name="T0" fmla="*/ 170 w 211"/>
              <a:gd name="T1" fmla="*/ 388 h 928"/>
              <a:gd name="T2" fmla="*/ 169 w 211"/>
              <a:gd name="T3" fmla="*/ 133 h 928"/>
              <a:gd name="T4" fmla="*/ 171 w 211"/>
              <a:gd name="T5" fmla="*/ 84 h 928"/>
              <a:gd name="T6" fmla="*/ 172 w 211"/>
              <a:gd name="T7" fmla="*/ 79 h 928"/>
              <a:gd name="T8" fmla="*/ 182 w 211"/>
              <a:gd name="T9" fmla="*/ 64 h 928"/>
              <a:gd name="T10" fmla="*/ 188 w 211"/>
              <a:gd name="T11" fmla="*/ 53 h 928"/>
              <a:gd name="T12" fmla="*/ 192 w 211"/>
              <a:gd name="T13" fmla="*/ 36 h 928"/>
              <a:gd name="T14" fmla="*/ 191 w 211"/>
              <a:gd name="T15" fmla="*/ 18 h 928"/>
              <a:gd name="T16" fmla="*/ 188 w 211"/>
              <a:gd name="T17" fmla="*/ 0 h 928"/>
              <a:gd name="T18" fmla="*/ 6 w 211"/>
              <a:gd name="T19" fmla="*/ 0 h 928"/>
              <a:gd name="T20" fmla="*/ 4 w 211"/>
              <a:gd name="T21" fmla="*/ 8 h 928"/>
              <a:gd name="T22" fmla="*/ 5 w 211"/>
              <a:gd name="T23" fmla="*/ 33 h 928"/>
              <a:gd name="T24" fmla="*/ 7 w 211"/>
              <a:gd name="T25" fmla="*/ 43 h 928"/>
              <a:gd name="T26" fmla="*/ 17 w 211"/>
              <a:gd name="T27" fmla="*/ 65 h 928"/>
              <a:gd name="T28" fmla="*/ 28 w 211"/>
              <a:gd name="T29" fmla="*/ 80 h 928"/>
              <a:gd name="T30" fmla="*/ 33 w 211"/>
              <a:gd name="T31" fmla="*/ 388 h 928"/>
              <a:gd name="T32" fmla="*/ 29 w 211"/>
              <a:gd name="T33" fmla="*/ 395 h 928"/>
              <a:gd name="T34" fmla="*/ 19 w 211"/>
              <a:gd name="T35" fmla="*/ 412 h 928"/>
              <a:gd name="T36" fmla="*/ 9 w 211"/>
              <a:gd name="T37" fmla="*/ 443 h 928"/>
              <a:gd name="T38" fmla="*/ 0 w 211"/>
              <a:gd name="T39" fmla="*/ 487 h 928"/>
              <a:gd name="T40" fmla="*/ 0 w 211"/>
              <a:gd name="T41" fmla="*/ 498 h 928"/>
              <a:gd name="T42" fmla="*/ 1 w 211"/>
              <a:gd name="T43" fmla="*/ 518 h 928"/>
              <a:gd name="T44" fmla="*/ 10 w 211"/>
              <a:gd name="T45" fmla="*/ 546 h 928"/>
              <a:gd name="T46" fmla="*/ 23 w 211"/>
              <a:gd name="T47" fmla="*/ 576 h 928"/>
              <a:gd name="T48" fmla="*/ 35 w 211"/>
              <a:gd name="T49" fmla="*/ 594 h 928"/>
              <a:gd name="T50" fmla="*/ 31 w 211"/>
              <a:gd name="T51" fmla="*/ 850 h 928"/>
              <a:gd name="T52" fmla="*/ 23 w 211"/>
              <a:gd name="T53" fmla="*/ 859 h 928"/>
              <a:gd name="T54" fmla="*/ 18 w 211"/>
              <a:gd name="T55" fmla="*/ 871 h 928"/>
              <a:gd name="T56" fmla="*/ 14 w 211"/>
              <a:gd name="T57" fmla="*/ 888 h 928"/>
              <a:gd name="T58" fmla="*/ 14 w 211"/>
              <a:gd name="T59" fmla="*/ 898 h 928"/>
              <a:gd name="T60" fmla="*/ 15 w 211"/>
              <a:gd name="T61" fmla="*/ 919 h 928"/>
              <a:gd name="T62" fmla="*/ 18 w 211"/>
              <a:gd name="T63" fmla="*/ 928 h 928"/>
              <a:gd name="T64" fmla="*/ 188 w 211"/>
              <a:gd name="T65" fmla="*/ 928 h 928"/>
              <a:gd name="T66" fmla="*/ 191 w 211"/>
              <a:gd name="T67" fmla="*/ 906 h 928"/>
              <a:gd name="T68" fmla="*/ 190 w 211"/>
              <a:gd name="T69" fmla="*/ 881 h 928"/>
              <a:gd name="T70" fmla="*/ 188 w 211"/>
              <a:gd name="T71" fmla="*/ 873 h 928"/>
              <a:gd name="T72" fmla="*/ 179 w 211"/>
              <a:gd name="T73" fmla="*/ 857 h 928"/>
              <a:gd name="T74" fmla="*/ 169 w 211"/>
              <a:gd name="T75" fmla="*/ 846 h 928"/>
              <a:gd name="T76" fmla="*/ 168 w 211"/>
              <a:gd name="T77" fmla="*/ 594 h 928"/>
              <a:gd name="T78" fmla="*/ 190 w 211"/>
              <a:gd name="T79" fmla="*/ 561 h 928"/>
              <a:gd name="T80" fmla="*/ 202 w 211"/>
              <a:gd name="T81" fmla="*/ 537 h 928"/>
              <a:gd name="T82" fmla="*/ 210 w 211"/>
              <a:gd name="T83" fmla="*/ 507 h 928"/>
              <a:gd name="T84" fmla="*/ 211 w 211"/>
              <a:gd name="T85" fmla="*/ 491 h 928"/>
              <a:gd name="T86" fmla="*/ 211 w 211"/>
              <a:gd name="T87" fmla="*/ 482 h 928"/>
              <a:gd name="T88" fmla="*/ 206 w 211"/>
              <a:gd name="T89" fmla="*/ 458 h 928"/>
              <a:gd name="T90" fmla="*/ 195 w 211"/>
              <a:gd name="T91" fmla="*/ 428 h 928"/>
              <a:gd name="T92" fmla="*/ 181 w 211"/>
              <a:gd name="T93" fmla="*/ 405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1" h="928">
                <a:moveTo>
                  <a:pt x="170" y="388"/>
                </a:moveTo>
                <a:lnTo>
                  <a:pt x="170" y="388"/>
                </a:lnTo>
                <a:lnTo>
                  <a:pt x="169" y="238"/>
                </a:lnTo>
                <a:lnTo>
                  <a:pt x="169" y="133"/>
                </a:lnTo>
                <a:lnTo>
                  <a:pt x="170" y="96"/>
                </a:lnTo>
                <a:lnTo>
                  <a:pt x="171" y="84"/>
                </a:lnTo>
                <a:lnTo>
                  <a:pt x="172" y="79"/>
                </a:lnTo>
                <a:lnTo>
                  <a:pt x="172" y="79"/>
                </a:lnTo>
                <a:lnTo>
                  <a:pt x="177" y="71"/>
                </a:lnTo>
                <a:lnTo>
                  <a:pt x="182" y="64"/>
                </a:lnTo>
                <a:lnTo>
                  <a:pt x="188" y="53"/>
                </a:lnTo>
                <a:lnTo>
                  <a:pt x="188" y="53"/>
                </a:lnTo>
                <a:lnTo>
                  <a:pt x="191" y="45"/>
                </a:lnTo>
                <a:lnTo>
                  <a:pt x="192" y="36"/>
                </a:lnTo>
                <a:lnTo>
                  <a:pt x="192" y="28"/>
                </a:lnTo>
                <a:lnTo>
                  <a:pt x="191" y="18"/>
                </a:lnTo>
                <a:lnTo>
                  <a:pt x="189" y="5"/>
                </a:lnTo>
                <a:lnTo>
                  <a:pt x="188" y="0"/>
                </a:lnTo>
                <a:lnTo>
                  <a:pt x="6" y="0"/>
                </a:lnTo>
                <a:lnTo>
                  <a:pt x="6" y="0"/>
                </a:lnTo>
                <a:lnTo>
                  <a:pt x="5" y="4"/>
                </a:lnTo>
                <a:lnTo>
                  <a:pt x="4" y="8"/>
                </a:lnTo>
                <a:lnTo>
                  <a:pt x="4" y="20"/>
                </a:lnTo>
                <a:lnTo>
                  <a:pt x="5" y="33"/>
                </a:lnTo>
                <a:lnTo>
                  <a:pt x="7" y="43"/>
                </a:lnTo>
                <a:lnTo>
                  <a:pt x="7" y="43"/>
                </a:lnTo>
                <a:lnTo>
                  <a:pt x="11" y="54"/>
                </a:lnTo>
                <a:lnTo>
                  <a:pt x="17" y="65"/>
                </a:lnTo>
                <a:lnTo>
                  <a:pt x="24" y="76"/>
                </a:lnTo>
                <a:lnTo>
                  <a:pt x="28" y="80"/>
                </a:lnTo>
                <a:lnTo>
                  <a:pt x="33" y="83"/>
                </a:lnTo>
                <a:lnTo>
                  <a:pt x="33" y="388"/>
                </a:lnTo>
                <a:lnTo>
                  <a:pt x="33" y="388"/>
                </a:lnTo>
                <a:lnTo>
                  <a:pt x="29" y="395"/>
                </a:lnTo>
                <a:lnTo>
                  <a:pt x="24" y="402"/>
                </a:lnTo>
                <a:lnTo>
                  <a:pt x="19" y="412"/>
                </a:lnTo>
                <a:lnTo>
                  <a:pt x="14" y="426"/>
                </a:lnTo>
                <a:lnTo>
                  <a:pt x="9" y="443"/>
                </a:lnTo>
                <a:lnTo>
                  <a:pt x="4" y="463"/>
                </a:lnTo>
                <a:lnTo>
                  <a:pt x="0" y="487"/>
                </a:lnTo>
                <a:lnTo>
                  <a:pt x="0" y="487"/>
                </a:lnTo>
                <a:lnTo>
                  <a:pt x="0" y="498"/>
                </a:lnTo>
                <a:lnTo>
                  <a:pt x="0" y="508"/>
                </a:lnTo>
                <a:lnTo>
                  <a:pt x="1" y="518"/>
                </a:lnTo>
                <a:lnTo>
                  <a:pt x="4" y="529"/>
                </a:lnTo>
                <a:lnTo>
                  <a:pt x="10" y="546"/>
                </a:lnTo>
                <a:lnTo>
                  <a:pt x="16" y="562"/>
                </a:lnTo>
                <a:lnTo>
                  <a:pt x="23" y="576"/>
                </a:lnTo>
                <a:lnTo>
                  <a:pt x="29" y="585"/>
                </a:lnTo>
                <a:lnTo>
                  <a:pt x="35" y="594"/>
                </a:lnTo>
                <a:lnTo>
                  <a:pt x="31" y="850"/>
                </a:lnTo>
                <a:lnTo>
                  <a:pt x="31" y="850"/>
                </a:lnTo>
                <a:lnTo>
                  <a:pt x="29" y="852"/>
                </a:lnTo>
                <a:lnTo>
                  <a:pt x="23" y="859"/>
                </a:lnTo>
                <a:lnTo>
                  <a:pt x="20" y="864"/>
                </a:lnTo>
                <a:lnTo>
                  <a:pt x="18" y="871"/>
                </a:lnTo>
                <a:lnTo>
                  <a:pt x="15" y="879"/>
                </a:lnTo>
                <a:lnTo>
                  <a:pt x="14" y="888"/>
                </a:lnTo>
                <a:lnTo>
                  <a:pt x="14" y="888"/>
                </a:lnTo>
                <a:lnTo>
                  <a:pt x="14" y="898"/>
                </a:lnTo>
                <a:lnTo>
                  <a:pt x="14" y="906"/>
                </a:lnTo>
                <a:lnTo>
                  <a:pt x="15" y="919"/>
                </a:lnTo>
                <a:lnTo>
                  <a:pt x="17" y="926"/>
                </a:lnTo>
                <a:lnTo>
                  <a:pt x="18" y="928"/>
                </a:lnTo>
                <a:lnTo>
                  <a:pt x="188" y="928"/>
                </a:lnTo>
                <a:lnTo>
                  <a:pt x="188" y="928"/>
                </a:lnTo>
                <a:lnTo>
                  <a:pt x="190" y="920"/>
                </a:lnTo>
                <a:lnTo>
                  <a:pt x="191" y="906"/>
                </a:lnTo>
                <a:lnTo>
                  <a:pt x="190" y="889"/>
                </a:lnTo>
                <a:lnTo>
                  <a:pt x="190" y="881"/>
                </a:lnTo>
                <a:lnTo>
                  <a:pt x="188" y="873"/>
                </a:lnTo>
                <a:lnTo>
                  <a:pt x="188" y="873"/>
                </a:lnTo>
                <a:lnTo>
                  <a:pt x="185" y="864"/>
                </a:lnTo>
                <a:lnTo>
                  <a:pt x="179" y="857"/>
                </a:lnTo>
                <a:lnTo>
                  <a:pt x="174" y="851"/>
                </a:lnTo>
                <a:lnTo>
                  <a:pt x="169" y="846"/>
                </a:lnTo>
                <a:lnTo>
                  <a:pt x="168" y="594"/>
                </a:lnTo>
                <a:lnTo>
                  <a:pt x="168" y="594"/>
                </a:lnTo>
                <a:lnTo>
                  <a:pt x="181" y="573"/>
                </a:lnTo>
                <a:lnTo>
                  <a:pt x="190" y="561"/>
                </a:lnTo>
                <a:lnTo>
                  <a:pt x="196" y="550"/>
                </a:lnTo>
                <a:lnTo>
                  <a:pt x="202" y="537"/>
                </a:lnTo>
                <a:lnTo>
                  <a:pt x="207" y="522"/>
                </a:lnTo>
                <a:lnTo>
                  <a:pt x="210" y="507"/>
                </a:lnTo>
                <a:lnTo>
                  <a:pt x="211" y="499"/>
                </a:lnTo>
                <a:lnTo>
                  <a:pt x="211" y="491"/>
                </a:lnTo>
                <a:lnTo>
                  <a:pt x="211" y="491"/>
                </a:lnTo>
                <a:lnTo>
                  <a:pt x="211" y="482"/>
                </a:lnTo>
                <a:lnTo>
                  <a:pt x="210" y="473"/>
                </a:lnTo>
                <a:lnTo>
                  <a:pt x="206" y="458"/>
                </a:lnTo>
                <a:lnTo>
                  <a:pt x="201" y="443"/>
                </a:lnTo>
                <a:lnTo>
                  <a:pt x="195" y="428"/>
                </a:lnTo>
                <a:lnTo>
                  <a:pt x="189" y="416"/>
                </a:lnTo>
                <a:lnTo>
                  <a:pt x="181" y="405"/>
                </a:lnTo>
                <a:lnTo>
                  <a:pt x="170" y="3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4" name="Freeform 41"/>
          <p:cNvSpPr>
            <a:spLocks/>
          </p:cNvSpPr>
          <p:nvPr userDrawn="1"/>
        </p:nvSpPr>
        <p:spPr bwMode="auto">
          <a:xfrm>
            <a:off x="7351713" y="1209378"/>
            <a:ext cx="80963" cy="58738"/>
          </a:xfrm>
          <a:custGeom>
            <a:avLst/>
            <a:gdLst>
              <a:gd name="T0" fmla="*/ 617 w 617"/>
              <a:gd name="T1" fmla="*/ 73 h 442"/>
              <a:gd name="T2" fmla="*/ 433 w 617"/>
              <a:gd name="T3" fmla="*/ 70 h 442"/>
              <a:gd name="T4" fmla="*/ 202 w 617"/>
              <a:gd name="T5" fmla="*/ 68 h 442"/>
              <a:gd name="T6" fmla="*/ 195 w 617"/>
              <a:gd name="T7" fmla="*/ 67 h 442"/>
              <a:gd name="T8" fmla="*/ 174 w 617"/>
              <a:gd name="T9" fmla="*/ 61 h 442"/>
              <a:gd name="T10" fmla="*/ 137 w 617"/>
              <a:gd name="T11" fmla="*/ 44 h 442"/>
              <a:gd name="T12" fmla="*/ 84 w 617"/>
              <a:gd name="T13" fmla="*/ 16 h 442"/>
              <a:gd name="T14" fmla="*/ 53 w 617"/>
              <a:gd name="T15" fmla="*/ 2 h 442"/>
              <a:gd name="T16" fmla="*/ 40 w 617"/>
              <a:gd name="T17" fmla="*/ 0 h 442"/>
              <a:gd name="T18" fmla="*/ 37 w 617"/>
              <a:gd name="T19" fmla="*/ 2 h 442"/>
              <a:gd name="T20" fmla="*/ 22 w 617"/>
              <a:gd name="T21" fmla="*/ 38 h 442"/>
              <a:gd name="T22" fmla="*/ 1 w 617"/>
              <a:gd name="T23" fmla="*/ 91 h 442"/>
              <a:gd name="T24" fmla="*/ 19 w 617"/>
              <a:gd name="T25" fmla="*/ 113 h 442"/>
              <a:gd name="T26" fmla="*/ 38 w 617"/>
              <a:gd name="T27" fmla="*/ 147 h 442"/>
              <a:gd name="T28" fmla="*/ 47 w 617"/>
              <a:gd name="T29" fmla="*/ 169 h 442"/>
              <a:gd name="T30" fmla="*/ 52 w 617"/>
              <a:gd name="T31" fmla="*/ 191 h 442"/>
              <a:gd name="T32" fmla="*/ 55 w 617"/>
              <a:gd name="T33" fmla="*/ 216 h 442"/>
              <a:gd name="T34" fmla="*/ 53 w 617"/>
              <a:gd name="T35" fmla="*/ 235 h 442"/>
              <a:gd name="T36" fmla="*/ 48 w 617"/>
              <a:gd name="T37" fmla="*/ 265 h 442"/>
              <a:gd name="T38" fmla="*/ 42 w 617"/>
              <a:gd name="T39" fmla="*/ 283 h 442"/>
              <a:gd name="T40" fmla="*/ 32 w 617"/>
              <a:gd name="T41" fmla="*/ 304 h 442"/>
              <a:gd name="T42" fmla="*/ 19 w 617"/>
              <a:gd name="T43" fmla="*/ 324 h 442"/>
              <a:gd name="T44" fmla="*/ 0 w 617"/>
              <a:gd name="T45" fmla="*/ 345 h 442"/>
              <a:gd name="T46" fmla="*/ 23 w 617"/>
              <a:gd name="T47" fmla="*/ 391 h 442"/>
              <a:gd name="T48" fmla="*/ 47 w 617"/>
              <a:gd name="T49" fmla="*/ 435 h 442"/>
              <a:gd name="T50" fmla="*/ 52 w 617"/>
              <a:gd name="T51" fmla="*/ 442 h 442"/>
              <a:gd name="T52" fmla="*/ 84 w 617"/>
              <a:gd name="T53" fmla="*/ 423 h 442"/>
              <a:gd name="T54" fmla="*/ 129 w 617"/>
              <a:gd name="T55" fmla="*/ 400 h 442"/>
              <a:gd name="T56" fmla="*/ 183 w 617"/>
              <a:gd name="T57" fmla="*/ 378 h 442"/>
              <a:gd name="T58" fmla="*/ 211 w 617"/>
              <a:gd name="T59" fmla="*/ 371 h 442"/>
              <a:gd name="T60" fmla="*/ 224 w 617"/>
              <a:gd name="T61" fmla="*/ 369 h 442"/>
              <a:gd name="T62" fmla="*/ 330 w 617"/>
              <a:gd name="T63" fmla="*/ 363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17" h="442">
                <a:moveTo>
                  <a:pt x="330" y="363"/>
                </a:moveTo>
                <a:lnTo>
                  <a:pt x="617" y="73"/>
                </a:lnTo>
                <a:lnTo>
                  <a:pt x="617" y="73"/>
                </a:lnTo>
                <a:lnTo>
                  <a:pt x="433" y="70"/>
                </a:lnTo>
                <a:lnTo>
                  <a:pt x="324" y="69"/>
                </a:lnTo>
                <a:lnTo>
                  <a:pt x="202" y="68"/>
                </a:lnTo>
                <a:lnTo>
                  <a:pt x="202" y="68"/>
                </a:lnTo>
                <a:lnTo>
                  <a:pt x="195" y="67"/>
                </a:lnTo>
                <a:lnTo>
                  <a:pt x="185" y="65"/>
                </a:lnTo>
                <a:lnTo>
                  <a:pt x="174" y="61"/>
                </a:lnTo>
                <a:lnTo>
                  <a:pt x="163" y="56"/>
                </a:lnTo>
                <a:lnTo>
                  <a:pt x="137" y="44"/>
                </a:lnTo>
                <a:lnTo>
                  <a:pt x="110" y="30"/>
                </a:lnTo>
                <a:lnTo>
                  <a:pt x="84" y="16"/>
                </a:lnTo>
                <a:lnTo>
                  <a:pt x="63" y="6"/>
                </a:lnTo>
                <a:lnTo>
                  <a:pt x="53" y="2"/>
                </a:lnTo>
                <a:lnTo>
                  <a:pt x="45" y="1"/>
                </a:lnTo>
                <a:lnTo>
                  <a:pt x="40" y="0"/>
                </a:lnTo>
                <a:lnTo>
                  <a:pt x="38" y="1"/>
                </a:lnTo>
                <a:lnTo>
                  <a:pt x="37" y="2"/>
                </a:lnTo>
                <a:lnTo>
                  <a:pt x="37" y="2"/>
                </a:lnTo>
                <a:lnTo>
                  <a:pt x="22" y="38"/>
                </a:lnTo>
                <a:lnTo>
                  <a:pt x="1" y="91"/>
                </a:lnTo>
                <a:lnTo>
                  <a:pt x="1" y="91"/>
                </a:lnTo>
                <a:lnTo>
                  <a:pt x="10" y="101"/>
                </a:lnTo>
                <a:lnTo>
                  <a:pt x="19" y="113"/>
                </a:lnTo>
                <a:lnTo>
                  <a:pt x="29" y="129"/>
                </a:lnTo>
                <a:lnTo>
                  <a:pt x="38" y="147"/>
                </a:lnTo>
                <a:lnTo>
                  <a:pt x="43" y="157"/>
                </a:lnTo>
                <a:lnTo>
                  <a:pt x="47" y="169"/>
                </a:lnTo>
                <a:lnTo>
                  <a:pt x="50" y="180"/>
                </a:lnTo>
                <a:lnTo>
                  <a:pt x="52" y="191"/>
                </a:lnTo>
                <a:lnTo>
                  <a:pt x="55" y="203"/>
                </a:lnTo>
                <a:lnTo>
                  <a:pt x="55" y="216"/>
                </a:lnTo>
                <a:lnTo>
                  <a:pt x="55" y="216"/>
                </a:lnTo>
                <a:lnTo>
                  <a:pt x="53" y="235"/>
                </a:lnTo>
                <a:lnTo>
                  <a:pt x="51" y="248"/>
                </a:lnTo>
                <a:lnTo>
                  <a:pt x="48" y="265"/>
                </a:lnTo>
                <a:lnTo>
                  <a:pt x="45" y="274"/>
                </a:lnTo>
                <a:lnTo>
                  <a:pt x="42" y="283"/>
                </a:lnTo>
                <a:lnTo>
                  <a:pt x="38" y="293"/>
                </a:lnTo>
                <a:lnTo>
                  <a:pt x="32" y="304"/>
                </a:lnTo>
                <a:lnTo>
                  <a:pt x="26" y="313"/>
                </a:lnTo>
                <a:lnTo>
                  <a:pt x="19" y="324"/>
                </a:lnTo>
                <a:lnTo>
                  <a:pt x="11" y="334"/>
                </a:lnTo>
                <a:lnTo>
                  <a:pt x="0" y="345"/>
                </a:lnTo>
                <a:lnTo>
                  <a:pt x="0" y="345"/>
                </a:lnTo>
                <a:lnTo>
                  <a:pt x="23" y="391"/>
                </a:lnTo>
                <a:lnTo>
                  <a:pt x="40" y="423"/>
                </a:lnTo>
                <a:lnTo>
                  <a:pt x="47" y="435"/>
                </a:lnTo>
                <a:lnTo>
                  <a:pt x="52" y="442"/>
                </a:lnTo>
                <a:lnTo>
                  <a:pt x="52" y="442"/>
                </a:lnTo>
                <a:lnTo>
                  <a:pt x="67" y="433"/>
                </a:lnTo>
                <a:lnTo>
                  <a:pt x="84" y="423"/>
                </a:lnTo>
                <a:lnTo>
                  <a:pt x="105" y="412"/>
                </a:lnTo>
                <a:lnTo>
                  <a:pt x="129" y="400"/>
                </a:lnTo>
                <a:lnTo>
                  <a:pt x="156" y="388"/>
                </a:lnTo>
                <a:lnTo>
                  <a:pt x="183" y="378"/>
                </a:lnTo>
                <a:lnTo>
                  <a:pt x="198" y="374"/>
                </a:lnTo>
                <a:lnTo>
                  <a:pt x="211" y="371"/>
                </a:lnTo>
                <a:lnTo>
                  <a:pt x="211" y="371"/>
                </a:lnTo>
                <a:lnTo>
                  <a:pt x="224" y="369"/>
                </a:lnTo>
                <a:lnTo>
                  <a:pt x="248" y="367"/>
                </a:lnTo>
                <a:lnTo>
                  <a:pt x="330" y="36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5" name="Freeform 42"/>
          <p:cNvSpPr>
            <a:spLocks/>
          </p:cNvSpPr>
          <p:nvPr userDrawn="1"/>
        </p:nvSpPr>
        <p:spPr bwMode="auto">
          <a:xfrm>
            <a:off x="7453312" y="1131591"/>
            <a:ext cx="158750" cy="127000"/>
          </a:xfrm>
          <a:custGeom>
            <a:avLst/>
            <a:gdLst>
              <a:gd name="T0" fmla="*/ 1179 w 1207"/>
              <a:gd name="T1" fmla="*/ 480 h 962"/>
              <a:gd name="T2" fmla="*/ 1115 w 1207"/>
              <a:gd name="T3" fmla="*/ 496 h 962"/>
              <a:gd name="T4" fmla="*/ 1079 w 1207"/>
              <a:gd name="T5" fmla="*/ 532 h 962"/>
              <a:gd name="T6" fmla="*/ 1057 w 1207"/>
              <a:gd name="T7" fmla="*/ 600 h 962"/>
              <a:gd name="T8" fmla="*/ 1046 w 1207"/>
              <a:gd name="T9" fmla="*/ 585 h 962"/>
              <a:gd name="T10" fmla="*/ 1007 w 1207"/>
              <a:gd name="T11" fmla="*/ 556 h 962"/>
              <a:gd name="T12" fmla="*/ 935 w 1207"/>
              <a:gd name="T13" fmla="*/ 562 h 962"/>
              <a:gd name="T14" fmla="*/ 930 w 1207"/>
              <a:gd name="T15" fmla="*/ 613 h 962"/>
              <a:gd name="T16" fmla="*/ 935 w 1207"/>
              <a:gd name="T17" fmla="*/ 696 h 962"/>
              <a:gd name="T18" fmla="*/ 890 w 1207"/>
              <a:gd name="T19" fmla="*/ 725 h 962"/>
              <a:gd name="T20" fmla="*/ 842 w 1207"/>
              <a:gd name="T21" fmla="*/ 709 h 962"/>
              <a:gd name="T22" fmla="*/ 816 w 1207"/>
              <a:gd name="T23" fmla="*/ 658 h 962"/>
              <a:gd name="T24" fmla="*/ 805 w 1207"/>
              <a:gd name="T25" fmla="*/ 643 h 962"/>
              <a:gd name="T26" fmla="*/ 749 w 1207"/>
              <a:gd name="T27" fmla="*/ 659 h 962"/>
              <a:gd name="T28" fmla="*/ 701 w 1207"/>
              <a:gd name="T29" fmla="*/ 634 h 962"/>
              <a:gd name="T30" fmla="*/ 694 w 1207"/>
              <a:gd name="T31" fmla="*/ 581 h 962"/>
              <a:gd name="T32" fmla="*/ 754 w 1207"/>
              <a:gd name="T33" fmla="*/ 540 h 962"/>
              <a:gd name="T34" fmla="*/ 824 w 1207"/>
              <a:gd name="T35" fmla="*/ 520 h 962"/>
              <a:gd name="T36" fmla="*/ 805 w 1207"/>
              <a:gd name="T37" fmla="*/ 460 h 962"/>
              <a:gd name="T38" fmla="*/ 764 w 1207"/>
              <a:gd name="T39" fmla="*/ 421 h 962"/>
              <a:gd name="T40" fmla="*/ 698 w 1207"/>
              <a:gd name="T41" fmla="*/ 414 h 962"/>
              <a:gd name="T42" fmla="*/ 672 w 1207"/>
              <a:gd name="T43" fmla="*/ 415 h 962"/>
              <a:gd name="T44" fmla="*/ 712 w 1207"/>
              <a:gd name="T45" fmla="*/ 360 h 962"/>
              <a:gd name="T46" fmla="*/ 709 w 1207"/>
              <a:gd name="T47" fmla="*/ 285 h 962"/>
              <a:gd name="T48" fmla="*/ 668 w 1207"/>
              <a:gd name="T49" fmla="*/ 214 h 962"/>
              <a:gd name="T50" fmla="*/ 606 w 1207"/>
              <a:gd name="T51" fmla="*/ 224 h 962"/>
              <a:gd name="T52" fmla="*/ 535 w 1207"/>
              <a:gd name="T53" fmla="*/ 272 h 962"/>
              <a:gd name="T54" fmla="*/ 516 w 1207"/>
              <a:gd name="T55" fmla="*/ 334 h 962"/>
              <a:gd name="T56" fmla="*/ 508 w 1207"/>
              <a:gd name="T57" fmla="*/ 341 h 962"/>
              <a:gd name="T58" fmla="*/ 458 w 1207"/>
              <a:gd name="T59" fmla="*/ 287 h 962"/>
              <a:gd name="T60" fmla="*/ 404 w 1207"/>
              <a:gd name="T61" fmla="*/ 278 h 962"/>
              <a:gd name="T62" fmla="*/ 345 w 1207"/>
              <a:gd name="T63" fmla="*/ 300 h 962"/>
              <a:gd name="T64" fmla="*/ 362 w 1207"/>
              <a:gd name="T65" fmla="*/ 357 h 962"/>
              <a:gd name="T66" fmla="*/ 382 w 1207"/>
              <a:gd name="T67" fmla="*/ 432 h 962"/>
              <a:gd name="T68" fmla="*/ 347 w 1207"/>
              <a:gd name="T69" fmla="*/ 472 h 962"/>
              <a:gd name="T70" fmla="*/ 292 w 1207"/>
              <a:gd name="T71" fmla="*/ 462 h 962"/>
              <a:gd name="T72" fmla="*/ 262 w 1207"/>
              <a:gd name="T73" fmla="*/ 417 h 962"/>
              <a:gd name="T74" fmla="*/ 249 w 1207"/>
              <a:gd name="T75" fmla="*/ 398 h 962"/>
              <a:gd name="T76" fmla="*/ 194 w 1207"/>
              <a:gd name="T77" fmla="*/ 421 h 962"/>
              <a:gd name="T78" fmla="*/ 147 w 1207"/>
              <a:gd name="T79" fmla="*/ 404 h 962"/>
              <a:gd name="T80" fmla="*/ 128 w 1207"/>
              <a:gd name="T81" fmla="*/ 354 h 962"/>
              <a:gd name="T82" fmla="*/ 178 w 1207"/>
              <a:gd name="T83" fmla="*/ 300 h 962"/>
              <a:gd name="T84" fmla="*/ 233 w 1207"/>
              <a:gd name="T85" fmla="*/ 262 h 962"/>
              <a:gd name="T86" fmla="*/ 195 w 1207"/>
              <a:gd name="T87" fmla="*/ 203 h 962"/>
              <a:gd name="T88" fmla="*/ 145 w 1207"/>
              <a:gd name="T89" fmla="*/ 185 h 962"/>
              <a:gd name="T90" fmla="*/ 115 w 1207"/>
              <a:gd name="T91" fmla="*/ 191 h 962"/>
              <a:gd name="T92" fmla="*/ 153 w 1207"/>
              <a:gd name="T93" fmla="*/ 136 h 962"/>
              <a:gd name="T94" fmla="*/ 157 w 1207"/>
              <a:gd name="T95" fmla="*/ 76 h 962"/>
              <a:gd name="T96" fmla="*/ 134 w 1207"/>
              <a:gd name="T97" fmla="*/ 28 h 962"/>
              <a:gd name="T98" fmla="*/ 269 w 1207"/>
              <a:gd name="T99" fmla="*/ 712 h 962"/>
              <a:gd name="T100" fmla="*/ 354 w 1207"/>
              <a:gd name="T101" fmla="*/ 656 h 962"/>
              <a:gd name="T102" fmla="*/ 437 w 1207"/>
              <a:gd name="T103" fmla="*/ 636 h 962"/>
              <a:gd name="T104" fmla="*/ 517 w 1207"/>
              <a:gd name="T105" fmla="*/ 643 h 962"/>
              <a:gd name="T106" fmla="*/ 610 w 1207"/>
              <a:gd name="T107" fmla="*/ 683 h 962"/>
              <a:gd name="T108" fmla="*/ 658 w 1207"/>
              <a:gd name="T109" fmla="*/ 735 h 962"/>
              <a:gd name="T110" fmla="*/ 673 w 1207"/>
              <a:gd name="T111" fmla="*/ 793 h 962"/>
              <a:gd name="T112" fmla="*/ 646 w 1207"/>
              <a:gd name="T113" fmla="*/ 877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07" h="962">
                <a:moveTo>
                  <a:pt x="841" y="962"/>
                </a:moveTo>
                <a:lnTo>
                  <a:pt x="1207" y="484"/>
                </a:lnTo>
                <a:lnTo>
                  <a:pt x="1207" y="484"/>
                </a:lnTo>
                <a:lnTo>
                  <a:pt x="1200" y="482"/>
                </a:lnTo>
                <a:lnTo>
                  <a:pt x="1190" y="481"/>
                </a:lnTo>
                <a:lnTo>
                  <a:pt x="1179" y="480"/>
                </a:lnTo>
                <a:lnTo>
                  <a:pt x="1166" y="480"/>
                </a:lnTo>
                <a:lnTo>
                  <a:pt x="1149" y="483"/>
                </a:lnTo>
                <a:lnTo>
                  <a:pt x="1141" y="485"/>
                </a:lnTo>
                <a:lnTo>
                  <a:pt x="1133" y="488"/>
                </a:lnTo>
                <a:lnTo>
                  <a:pt x="1124" y="492"/>
                </a:lnTo>
                <a:lnTo>
                  <a:pt x="1115" y="496"/>
                </a:lnTo>
                <a:lnTo>
                  <a:pt x="1115" y="496"/>
                </a:lnTo>
                <a:lnTo>
                  <a:pt x="1106" y="502"/>
                </a:lnTo>
                <a:lnTo>
                  <a:pt x="1097" y="508"/>
                </a:lnTo>
                <a:lnTo>
                  <a:pt x="1090" y="515"/>
                </a:lnTo>
                <a:lnTo>
                  <a:pt x="1084" y="523"/>
                </a:lnTo>
                <a:lnTo>
                  <a:pt x="1079" y="532"/>
                </a:lnTo>
                <a:lnTo>
                  <a:pt x="1074" y="540"/>
                </a:lnTo>
                <a:lnTo>
                  <a:pt x="1070" y="548"/>
                </a:lnTo>
                <a:lnTo>
                  <a:pt x="1067" y="557"/>
                </a:lnTo>
                <a:lnTo>
                  <a:pt x="1062" y="574"/>
                </a:lnTo>
                <a:lnTo>
                  <a:pt x="1058" y="589"/>
                </a:lnTo>
                <a:lnTo>
                  <a:pt x="1057" y="600"/>
                </a:lnTo>
                <a:lnTo>
                  <a:pt x="1058" y="605"/>
                </a:lnTo>
                <a:lnTo>
                  <a:pt x="1059" y="608"/>
                </a:lnTo>
                <a:lnTo>
                  <a:pt x="1059" y="608"/>
                </a:lnTo>
                <a:lnTo>
                  <a:pt x="1055" y="599"/>
                </a:lnTo>
                <a:lnTo>
                  <a:pt x="1051" y="592"/>
                </a:lnTo>
                <a:lnTo>
                  <a:pt x="1046" y="585"/>
                </a:lnTo>
                <a:lnTo>
                  <a:pt x="1041" y="579"/>
                </a:lnTo>
                <a:lnTo>
                  <a:pt x="1036" y="574"/>
                </a:lnTo>
                <a:lnTo>
                  <a:pt x="1031" y="568"/>
                </a:lnTo>
                <a:lnTo>
                  <a:pt x="1025" y="564"/>
                </a:lnTo>
                <a:lnTo>
                  <a:pt x="1020" y="561"/>
                </a:lnTo>
                <a:lnTo>
                  <a:pt x="1007" y="556"/>
                </a:lnTo>
                <a:lnTo>
                  <a:pt x="994" y="554"/>
                </a:lnTo>
                <a:lnTo>
                  <a:pt x="982" y="553"/>
                </a:lnTo>
                <a:lnTo>
                  <a:pt x="970" y="554"/>
                </a:lnTo>
                <a:lnTo>
                  <a:pt x="957" y="556"/>
                </a:lnTo>
                <a:lnTo>
                  <a:pt x="946" y="558"/>
                </a:lnTo>
                <a:lnTo>
                  <a:pt x="935" y="562"/>
                </a:lnTo>
                <a:lnTo>
                  <a:pt x="927" y="565"/>
                </a:lnTo>
                <a:lnTo>
                  <a:pt x="913" y="572"/>
                </a:lnTo>
                <a:lnTo>
                  <a:pt x="908" y="574"/>
                </a:lnTo>
                <a:lnTo>
                  <a:pt x="908" y="574"/>
                </a:lnTo>
                <a:lnTo>
                  <a:pt x="920" y="594"/>
                </a:lnTo>
                <a:lnTo>
                  <a:pt x="930" y="613"/>
                </a:lnTo>
                <a:lnTo>
                  <a:pt x="936" y="632"/>
                </a:lnTo>
                <a:lnTo>
                  <a:pt x="940" y="647"/>
                </a:lnTo>
                <a:lnTo>
                  <a:pt x="941" y="663"/>
                </a:lnTo>
                <a:lnTo>
                  <a:pt x="941" y="675"/>
                </a:lnTo>
                <a:lnTo>
                  <a:pt x="939" y="687"/>
                </a:lnTo>
                <a:lnTo>
                  <a:pt x="935" y="696"/>
                </a:lnTo>
                <a:lnTo>
                  <a:pt x="930" y="705"/>
                </a:lnTo>
                <a:lnTo>
                  <a:pt x="924" y="712"/>
                </a:lnTo>
                <a:lnTo>
                  <a:pt x="915" y="718"/>
                </a:lnTo>
                <a:lnTo>
                  <a:pt x="907" y="722"/>
                </a:lnTo>
                <a:lnTo>
                  <a:pt x="899" y="724"/>
                </a:lnTo>
                <a:lnTo>
                  <a:pt x="890" y="725"/>
                </a:lnTo>
                <a:lnTo>
                  <a:pt x="881" y="725"/>
                </a:lnTo>
                <a:lnTo>
                  <a:pt x="871" y="724"/>
                </a:lnTo>
                <a:lnTo>
                  <a:pt x="871" y="724"/>
                </a:lnTo>
                <a:lnTo>
                  <a:pt x="859" y="720"/>
                </a:lnTo>
                <a:lnTo>
                  <a:pt x="850" y="715"/>
                </a:lnTo>
                <a:lnTo>
                  <a:pt x="842" y="709"/>
                </a:lnTo>
                <a:lnTo>
                  <a:pt x="835" y="702"/>
                </a:lnTo>
                <a:lnTo>
                  <a:pt x="829" y="695"/>
                </a:lnTo>
                <a:lnTo>
                  <a:pt x="825" y="688"/>
                </a:lnTo>
                <a:lnTo>
                  <a:pt x="821" y="680"/>
                </a:lnTo>
                <a:lnTo>
                  <a:pt x="819" y="673"/>
                </a:lnTo>
                <a:lnTo>
                  <a:pt x="816" y="658"/>
                </a:lnTo>
                <a:lnTo>
                  <a:pt x="816" y="646"/>
                </a:lnTo>
                <a:lnTo>
                  <a:pt x="816" y="638"/>
                </a:lnTo>
                <a:lnTo>
                  <a:pt x="816" y="635"/>
                </a:lnTo>
                <a:lnTo>
                  <a:pt x="816" y="635"/>
                </a:lnTo>
                <a:lnTo>
                  <a:pt x="813" y="637"/>
                </a:lnTo>
                <a:lnTo>
                  <a:pt x="805" y="643"/>
                </a:lnTo>
                <a:lnTo>
                  <a:pt x="793" y="650"/>
                </a:lnTo>
                <a:lnTo>
                  <a:pt x="785" y="653"/>
                </a:lnTo>
                <a:lnTo>
                  <a:pt x="777" y="656"/>
                </a:lnTo>
                <a:lnTo>
                  <a:pt x="768" y="658"/>
                </a:lnTo>
                <a:lnTo>
                  <a:pt x="759" y="659"/>
                </a:lnTo>
                <a:lnTo>
                  <a:pt x="749" y="659"/>
                </a:lnTo>
                <a:lnTo>
                  <a:pt x="739" y="658"/>
                </a:lnTo>
                <a:lnTo>
                  <a:pt x="729" y="655"/>
                </a:lnTo>
                <a:lnTo>
                  <a:pt x="720" y="650"/>
                </a:lnTo>
                <a:lnTo>
                  <a:pt x="710" y="643"/>
                </a:lnTo>
                <a:lnTo>
                  <a:pt x="701" y="634"/>
                </a:lnTo>
                <a:lnTo>
                  <a:pt x="701" y="634"/>
                </a:lnTo>
                <a:lnTo>
                  <a:pt x="694" y="625"/>
                </a:lnTo>
                <a:lnTo>
                  <a:pt x="690" y="616"/>
                </a:lnTo>
                <a:lnTo>
                  <a:pt x="688" y="607"/>
                </a:lnTo>
                <a:lnTo>
                  <a:pt x="689" y="598"/>
                </a:lnTo>
                <a:lnTo>
                  <a:pt x="690" y="589"/>
                </a:lnTo>
                <a:lnTo>
                  <a:pt x="694" y="581"/>
                </a:lnTo>
                <a:lnTo>
                  <a:pt x="701" y="572"/>
                </a:lnTo>
                <a:lnTo>
                  <a:pt x="708" y="564"/>
                </a:lnTo>
                <a:lnTo>
                  <a:pt x="717" y="557"/>
                </a:lnTo>
                <a:lnTo>
                  <a:pt x="727" y="550"/>
                </a:lnTo>
                <a:lnTo>
                  <a:pt x="740" y="544"/>
                </a:lnTo>
                <a:lnTo>
                  <a:pt x="754" y="540"/>
                </a:lnTo>
                <a:lnTo>
                  <a:pt x="769" y="536"/>
                </a:lnTo>
                <a:lnTo>
                  <a:pt x="786" y="533"/>
                </a:lnTo>
                <a:lnTo>
                  <a:pt x="804" y="532"/>
                </a:lnTo>
                <a:lnTo>
                  <a:pt x="823" y="531"/>
                </a:lnTo>
                <a:lnTo>
                  <a:pt x="823" y="531"/>
                </a:lnTo>
                <a:lnTo>
                  <a:pt x="824" y="520"/>
                </a:lnTo>
                <a:lnTo>
                  <a:pt x="823" y="509"/>
                </a:lnTo>
                <a:lnTo>
                  <a:pt x="820" y="494"/>
                </a:lnTo>
                <a:lnTo>
                  <a:pt x="817" y="486"/>
                </a:lnTo>
                <a:lnTo>
                  <a:pt x="814" y="477"/>
                </a:lnTo>
                <a:lnTo>
                  <a:pt x="810" y="469"/>
                </a:lnTo>
                <a:lnTo>
                  <a:pt x="805" y="460"/>
                </a:lnTo>
                <a:lnTo>
                  <a:pt x="799" y="451"/>
                </a:lnTo>
                <a:lnTo>
                  <a:pt x="792" y="443"/>
                </a:lnTo>
                <a:lnTo>
                  <a:pt x="782" y="435"/>
                </a:lnTo>
                <a:lnTo>
                  <a:pt x="772" y="426"/>
                </a:lnTo>
                <a:lnTo>
                  <a:pt x="772" y="426"/>
                </a:lnTo>
                <a:lnTo>
                  <a:pt x="764" y="421"/>
                </a:lnTo>
                <a:lnTo>
                  <a:pt x="755" y="417"/>
                </a:lnTo>
                <a:lnTo>
                  <a:pt x="745" y="415"/>
                </a:lnTo>
                <a:lnTo>
                  <a:pt x="735" y="413"/>
                </a:lnTo>
                <a:lnTo>
                  <a:pt x="725" y="412"/>
                </a:lnTo>
                <a:lnTo>
                  <a:pt x="716" y="412"/>
                </a:lnTo>
                <a:lnTo>
                  <a:pt x="698" y="414"/>
                </a:lnTo>
                <a:lnTo>
                  <a:pt x="681" y="418"/>
                </a:lnTo>
                <a:lnTo>
                  <a:pt x="668" y="421"/>
                </a:lnTo>
                <a:lnTo>
                  <a:pt x="657" y="425"/>
                </a:lnTo>
                <a:lnTo>
                  <a:pt x="657" y="425"/>
                </a:lnTo>
                <a:lnTo>
                  <a:pt x="664" y="421"/>
                </a:lnTo>
                <a:lnTo>
                  <a:pt x="672" y="415"/>
                </a:lnTo>
                <a:lnTo>
                  <a:pt x="681" y="408"/>
                </a:lnTo>
                <a:lnTo>
                  <a:pt x="691" y="397"/>
                </a:lnTo>
                <a:lnTo>
                  <a:pt x="701" y="384"/>
                </a:lnTo>
                <a:lnTo>
                  <a:pt x="705" y="376"/>
                </a:lnTo>
                <a:lnTo>
                  <a:pt x="709" y="369"/>
                </a:lnTo>
                <a:lnTo>
                  <a:pt x="712" y="360"/>
                </a:lnTo>
                <a:lnTo>
                  <a:pt x="714" y="351"/>
                </a:lnTo>
                <a:lnTo>
                  <a:pt x="714" y="351"/>
                </a:lnTo>
                <a:lnTo>
                  <a:pt x="716" y="336"/>
                </a:lnTo>
                <a:lnTo>
                  <a:pt x="715" y="320"/>
                </a:lnTo>
                <a:lnTo>
                  <a:pt x="713" y="303"/>
                </a:lnTo>
                <a:lnTo>
                  <a:pt x="709" y="285"/>
                </a:lnTo>
                <a:lnTo>
                  <a:pt x="702" y="267"/>
                </a:lnTo>
                <a:lnTo>
                  <a:pt x="693" y="249"/>
                </a:lnTo>
                <a:lnTo>
                  <a:pt x="682" y="232"/>
                </a:lnTo>
                <a:lnTo>
                  <a:pt x="676" y="223"/>
                </a:lnTo>
                <a:lnTo>
                  <a:pt x="669" y="216"/>
                </a:lnTo>
                <a:lnTo>
                  <a:pt x="668" y="214"/>
                </a:lnTo>
                <a:lnTo>
                  <a:pt x="665" y="214"/>
                </a:lnTo>
                <a:lnTo>
                  <a:pt x="665" y="214"/>
                </a:lnTo>
                <a:lnTo>
                  <a:pt x="655" y="214"/>
                </a:lnTo>
                <a:lnTo>
                  <a:pt x="644" y="215"/>
                </a:lnTo>
                <a:lnTo>
                  <a:pt x="624" y="219"/>
                </a:lnTo>
                <a:lnTo>
                  <a:pt x="606" y="224"/>
                </a:lnTo>
                <a:lnTo>
                  <a:pt x="587" y="232"/>
                </a:lnTo>
                <a:lnTo>
                  <a:pt x="572" y="240"/>
                </a:lnTo>
                <a:lnTo>
                  <a:pt x="557" y="250"/>
                </a:lnTo>
                <a:lnTo>
                  <a:pt x="545" y="261"/>
                </a:lnTo>
                <a:lnTo>
                  <a:pt x="535" y="272"/>
                </a:lnTo>
                <a:lnTo>
                  <a:pt x="535" y="272"/>
                </a:lnTo>
                <a:lnTo>
                  <a:pt x="530" y="280"/>
                </a:lnTo>
                <a:lnTo>
                  <a:pt x="526" y="288"/>
                </a:lnTo>
                <a:lnTo>
                  <a:pt x="523" y="297"/>
                </a:lnTo>
                <a:lnTo>
                  <a:pt x="520" y="305"/>
                </a:lnTo>
                <a:lnTo>
                  <a:pt x="517" y="320"/>
                </a:lnTo>
                <a:lnTo>
                  <a:pt x="516" y="334"/>
                </a:lnTo>
                <a:lnTo>
                  <a:pt x="516" y="347"/>
                </a:lnTo>
                <a:lnTo>
                  <a:pt x="517" y="357"/>
                </a:lnTo>
                <a:lnTo>
                  <a:pt x="519" y="365"/>
                </a:lnTo>
                <a:lnTo>
                  <a:pt x="519" y="365"/>
                </a:lnTo>
                <a:lnTo>
                  <a:pt x="513" y="354"/>
                </a:lnTo>
                <a:lnTo>
                  <a:pt x="508" y="341"/>
                </a:lnTo>
                <a:lnTo>
                  <a:pt x="499" y="327"/>
                </a:lnTo>
                <a:lnTo>
                  <a:pt x="488" y="313"/>
                </a:lnTo>
                <a:lnTo>
                  <a:pt x="482" y="306"/>
                </a:lnTo>
                <a:lnTo>
                  <a:pt x="475" y="299"/>
                </a:lnTo>
                <a:lnTo>
                  <a:pt x="467" y="292"/>
                </a:lnTo>
                <a:lnTo>
                  <a:pt x="458" y="287"/>
                </a:lnTo>
                <a:lnTo>
                  <a:pt x="450" y="283"/>
                </a:lnTo>
                <a:lnTo>
                  <a:pt x="440" y="281"/>
                </a:lnTo>
                <a:lnTo>
                  <a:pt x="440" y="281"/>
                </a:lnTo>
                <a:lnTo>
                  <a:pt x="428" y="278"/>
                </a:lnTo>
                <a:lnTo>
                  <a:pt x="415" y="278"/>
                </a:lnTo>
                <a:lnTo>
                  <a:pt x="404" y="278"/>
                </a:lnTo>
                <a:lnTo>
                  <a:pt x="393" y="279"/>
                </a:lnTo>
                <a:lnTo>
                  <a:pt x="384" y="281"/>
                </a:lnTo>
                <a:lnTo>
                  <a:pt x="374" y="284"/>
                </a:lnTo>
                <a:lnTo>
                  <a:pt x="365" y="287"/>
                </a:lnTo>
                <a:lnTo>
                  <a:pt x="358" y="291"/>
                </a:lnTo>
                <a:lnTo>
                  <a:pt x="345" y="300"/>
                </a:lnTo>
                <a:lnTo>
                  <a:pt x="336" y="307"/>
                </a:lnTo>
                <a:lnTo>
                  <a:pt x="328" y="314"/>
                </a:lnTo>
                <a:lnTo>
                  <a:pt x="328" y="314"/>
                </a:lnTo>
                <a:lnTo>
                  <a:pt x="342" y="328"/>
                </a:lnTo>
                <a:lnTo>
                  <a:pt x="353" y="343"/>
                </a:lnTo>
                <a:lnTo>
                  <a:pt x="362" y="357"/>
                </a:lnTo>
                <a:lnTo>
                  <a:pt x="369" y="371"/>
                </a:lnTo>
                <a:lnTo>
                  <a:pt x="375" y="384"/>
                </a:lnTo>
                <a:lnTo>
                  <a:pt x="380" y="398"/>
                </a:lnTo>
                <a:lnTo>
                  <a:pt x="382" y="410"/>
                </a:lnTo>
                <a:lnTo>
                  <a:pt x="383" y="421"/>
                </a:lnTo>
                <a:lnTo>
                  <a:pt x="382" y="432"/>
                </a:lnTo>
                <a:lnTo>
                  <a:pt x="380" y="442"/>
                </a:lnTo>
                <a:lnTo>
                  <a:pt x="375" y="451"/>
                </a:lnTo>
                <a:lnTo>
                  <a:pt x="370" y="458"/>
                </a:lnTo>
                <a:lnTo>
                  <a:pt x="363" y="464"/>
                </a:lnTo>
                <a:lnTo>
                  <a:pt x="356" y="469"/>
                </a:lnTo>
                <a:lnTo>
                  <a:pt x="347" y="472"/>
                </a:lnTo>
                <a:lnTo>
                  <a:pt x="337" y="473"/>
                </a:lnTo>
                <a:lnTo>
                  <a:pt x="337" y="473"/>
                </a:lnTo>
                <a:lnTo>
                  <a:pt x="322" y="473"/>
                </a:lnTo>
                <a:lnTo>
                  <a:pt x="311" y="471"/>
                </a:lnTo>
                <a:lnTo>
                  <a:pt x="301" y="467"/>
                </a:lnTo>
                <a:lnTo>
                  <a:pt x="292" y="462"/>
                </a:lnTo>
                <a:lnTo>
                  <a:pt x="283" y="456"/>
                </a:lnTo>
                <a:lnTo>
                  <a:pt x="277" y="449"/>
                </a:lnTo>
                <a:lnTo>
                  <a:pt x="272" y="441"/>
                </a:lnTo>
                <a:lnTo>
                  <a:pt x="268" y="432"/>
                </a:lnTo>
                <a:lnTo>
                  <a:pt x="264" y="424"/>
                </a:lnTo>
                <a:lnTo>
                  <a:pt x="262" y="417"/>
                </a:lnTo>
                <a:lnTo>
                  <a:pt x="259" y="403"/>
                </a:lnTo>
                <a:lnTo>
                  <a:pt x="257" y="393"/>
                </a:lnTo>
                <a:lnTo>
                  <a:pt x="257" y="390"/>
                </a:lnTo>
                <a:lnTo>
                  <a:pt x="257" y="390"/>
                </a:lnTo>
                <a:lnTo>
                  <a:pt x="255" y="392"/>
                </a:lnTo>
                <a:lnTo>
                  <a:pt x="249" y="398"/>
                </a:lnTo>
                <a:lnTo>
                  <a:pt x="239" y="405"/>
                </a:lnTo>
                <a:lnTo>
                  <a:pt x="227" y="413"/>
                </a:lnTo>
                <a:lnTo>
                  <a:pt x="220" y="416"/>
                </a:lnTo>
                <a:lnTo>
                  <a:pt x="212" y="419"/>
                </a:lnTo>
                <a:lnTo>
                  <a:pt x="204" y="420"/>
                </a:lnTo>
                <a:lnTo>
                  <a:pt x="194" y="421"/>
                </a:lnTo>
                <a:lnTo>
                  <a:pt x="185" y="421"/>
                </a:lnTo>
                <a:lnTo>
                  <a:pt x="175" y="419"/>
                </a:lnTo>
                <a:lnTo>
                  <a:pt x="165" y="415"/>
                </a:lnTo>
                <a:lnTo>
                  <a:pt x="155" y="409"/>
                </a:lnTo>
                <a:lnTo>
                  <a:pt x="155" y="409"/>
                </a:lnTo>
                <a:lnTo>
                  <a:pt x="147" y="404"/>
                </a:lnTo>
                <a:lnTo>
                  <a:pt x="140" y="397"/>
                </a:lnTo>
                <a:lnTo>
                  <a:pt x="135" y="390"/>
                </a:lnTo>
                <a:lnTo>
                  <a:pt x="131" y="381"/>
                </a:lnTo>
                <a:lnTo>
                  <a:pt x="129" y="372"/>
                </a:lnTo>
                <a:lnTo>
                  <a:pt x="128" y="363"/>
                </a:lnTo>
                <a:lnTo>
                  <a:pt x="128" y="354"/>
                </a:lnTo>
                <a:lnTo>
                  <a:pt x="131" y="345"/>
                </a:lnTo>
                <a:lnTo>
                  <a:pt x="136" y="334"/>
                </a:lnTo>
                <a:lnTo>
                  <a:pt x="142" y="325"/>
                </a:lnTo>
                <a:lnTo>
                  <a:pt x="153" y="316"/>
                </a:lnTo>
                <a:lnTo>
                  <a:pt x="164" y="308"/>
                </a:lnTo>
                <a:lnTo>
                  <a:pt x="178" y="300"/>
                </a:lnTo>
                <a:lnTo>
                  <a:pt x="195" y="292"/>
                </a:lnTo>
                <a:lnTo>
                  <a:pt x="216" y="286"/>
                </a:lnTo>
                <a:lnTo>
                  <a:pt x="239" y="280"/>
                </a:lnTo>
                <a:lnTo>
                  <a:pt x="239" y="280"/>
                </a:lnTo>
                <a:lnTo>
                  <a:pt x="238" y="275"/>
                </a:lnTo>
                <a:lnTo>
                  <a:pt x="233" y="262"/>
                </a:lnTo>
                <a:lnTo>
                  <a:pt x="230" y="253"/>
                </a:lnTo>
                <a:lnTo>
                  <a:pt x="225" y="242"/>
                </a:lnTo>
                <a:lnTo>
                  <a:pt x="220" y="232"/>
                </a:lnTo>
                <a:lnTo>
                  <a:pt x="213" y="222"/>
                </a:lnTo>
                <a:lnTo>
                  <a:pt x="205" y="213"/>
                </a:lnTo>
                <a:lnTo>
                  <a:pt x="195" y="203"/>
                </a:lnTo>
                <a:lnTo>
                  <a:pt x="185" y="196"/>
                </a:lnTo>
                <a:lnTo>
                  <a:pt x="173" y="190"/>
                </a:lnTo>
                <a:lnTo>
                  <a:pt x="167" y="188"/>
                </a:lnTo>
                <a:lnTo>
                  <a:pt x="161" y="187"/>
                </a:lnTo>
                <a:lnTo>
                  <a:pt x="154" y="186"/>
                </a:lnTo>
                <a:lnTo>
                  <a:pt x="145" y="185"/>
                </a:lnTo>
                <a:lnTo>
                  <a:pt x="138" y="186"/>
                </a:lnTo>
                <a:lnTo>
                  <a:pt x="129" y="187"/>
                </a:lnTo>
                <a:lnTo>
                  <a:pt x="121" y="190"/>
                </a:lnTo>
                <a:lnTo>
                  <a:pt x="112" y="193"/>
                </a:lnTo>
                <a:lnTo>
                  <a:pt x="112" y="193"/>
                </a:lnTo>
                <a:lnTo>
                  <a:pt x="115" y="191"/>
                </a:lnTo>
                <a:lnTo>
                  <a:pt x="119" y="188"/>
                </a:lnTo>
                <a:lnTo>
                  <a:pt x="127" y="180"/>
                </a:lnTo>
                <a:lnTo>
                  <a:pt x="136" y="168"/>
                </a:lnTo>
                <a:lnTo>
                  <a:pt x="144" y="153"/>
                </a:lnTo>
                <a:lnTo>
                  <a:pt x="148" y="144"/>
                </a:lnTo>
                <a:lnTo>
                  <a:pt x="153" y="136"/>
                </a:lnTo>
                <a:lnTo>
                  <a:pt x="156" y="127"/>
                </a:lnTo>
                <a:lnTo>
                  <a:pt x="158" y="117"/>
                </a:lnTo>
                <a:lnTo>
                  <a:pt x="159" y="106"/>
                </a:lnTo>
                <a:lnTo>
                  <a:pt x="160" y="97"/>
                </a:lnTo>
                <a:lnTo>
                  <a:pt x="159" y="86"/>
                </a:lnTo>
                <a:lnTo>
                  <a:pt x="157" y="76"/>
                </a:lnTo>
                <a:lnTo>
                  <a:pt x="157" y="76"/>
                </a:lnTo>
                <a:lnTo>
                  <a:pt x="155" y="66"/>
                </a:lnTo>
                <a:lnTo>
                  <a:pt x="150" y="57"/>
                </a:lnTo>
                <a:lnTo>
                  <a:pt x="147" y="49"/>
                </a:lnTo>
                <a:lnTo>
                  <a:pt x="143" y="41"/>
                </a:lnTo>
                <a:lnTo>
                  <a:pt x="134" y="28"/>
                </a:lnTo>
                <a:lnTo>
                  <a:pt x="125" y="17"/>
                </a:lnTo>
                <a:lnTo>
                  <a:pt x="117" y="9"/>
                </a:lnTo>
                <a:lnTo>
                  <a:pt x="110" y="4"/>
                </a:lnTo>
                <a:lnTo>
                  <a:pt x="103" y="0"/>
                </a:lnTo>
                <a:lnTo>
                  <a:pt x="0" y="593"/>
                </a:lnTo>
                <a:lnTo>
                  <a:pt x="269" y="712"/>
                </a:lnTo>
                <a:lnTo>
                  <a:pt x="269" y="712"/>
                </a:lnTo>
                <a:lnTo>
                  <a:pt x="293" y="693"/>
                </a:lnTo>
                <a:lnTo>
                  <a:pt x="315" y="677"/>
                </a:lnTo>
                <a:lnTo>
                  <a:pt x="336" y="665"/>
                </a:lnTo>
                <a:lnTo>
                  <a:pt x="354" y="656"/>
                </a:lnTo>
                <a:lnTo>
                  <a:pt x="354" y="656"/>
                </a:lnTo>
                <a:lnTo>
                  <a:pt x="367" y="650"/>
                </a:lnTo>
                <a:lnTo>
                  <a:pt x="382" y="646"/>
                </a:lnTo>
                <a:lnTo>
                  <a:pt x="396" y="642"/>
                </a:lnTo>
                <a:lnTo>
                  <a:pt x="409" y="639"/>
                </a:lnTo>
                <a:lnTo>
                  <a:pt x="423" y="637"/>
                </a:lnTo>
                <a:lnTo>
                  <a:pt x="437" y="636"/>
                </a:lnTo>
                <a:lnTo>
                  <a:pt x="450" y="635"/>
                </a:lnTo>
                <a:lnTo>
                  <a:pt x="464" y="635"/>
                </a:lnTo>
                <a:lnTo>
                  <a:pt x="478" y="636"/>
                </a:lnTo>
                <a:lnTo>
                  <a:pt x="491" y="638"/>
                </a:lnTo>
                <a:lnTo>
                  <a:pt x="504" y="640"/>
                </a:lnTo>
                <a:lnTo>
                  <a:pt x="517" y="643"/>
                </a:lnTo>
                <a:lnTo>
                  <a:pt x="542" y="650"/>
                </a:lnTo>
                <a:lnTo>
                  <a:pt x="566" y="658"/>
                </a:lnTo>
                <a:lnTo>
                  <a:pt x="566" y="658"/>
                </a:lnTo>
                <a:lnTo>
                  <a:pt x="582" y="667"/>
                </a:lnTo>
                <a:lnTo>
                  <a:pt x="596" y="675"/>
                </a:lnTo>
                <a:lnTo>
                  <a:pt x="610" y="683"/>
                </a:lnTo>
                <a:lnTo>
                  <a:pt x="621" y="691"/>
                </a:lnTo>
                <a:lnTo>
                  <a:pt x="631" y="699"/>
                </a:lnTo>
                <a:lnTo>
                  <a:pt x="639" y="709"/>
                </a:lnTo>
                <a:lnTo>
                  <a:pt x="646" y="717"/>
                </a:lnTo>
                <a:lnTo>
                  <a:pt x="653" y="726"/>
                </a:lnTo>
                <a:lnTo>
                  <a:pt x="658" y="735"/>
                </a:lnTo>
                <a:lnTo>
                  <a:pt x="662" y="743"/>
                </a:lnTo>
                <a:lnTo>
                  <a:pt x="665" y="753"/>
                </a:lnTo>
                <a:lnTo>
                  <a:pt x="668" y="761"/>
                </a:lnTo>
                <a:lnTo>
                  <a:pt x="671" y="778"/>
                </a:lnTo>
                <a:lnTo>
                  <a:pt x="673" y="793"/>
                </a:lnTo>
                <a:lnTo>
                  <a:pt x="673" y="793"/>
                </a:lnTo>
                <a:lnTo>
                  <a:pt x="672" y="804"/>
                </a:lnTo>
                <a:lnTo>
                  <a:pt x="670" y="815"/>
                </a:lnTo>
                <a:lnTo>
                  <a:pt x="667" y="827"/>
                </a:lnTo>
                <a:lnTo>
                  <a:pt x="663" y="839"/>
                </a:lnTo>
                <a:lnTo>
                  <a:pt x="654" y="863"/>
                </a:lnTo>
                <a:lnTo>
                  <a:pt x="646" y="877"/>
                </a:lnTo>
                <a:lnTo>
                  <a:pt x="841" y="96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6" name="Freeform 43"/>
          <p:cNvSpPr>
            <a:spLocks/>
          </p:cNvSpPr>
          <p:nvPr userDrawn="1"/>
        </p:nvSpPr>
        <p:spPr bwMode="auto">
          <a:xfrm>
            <a:off x="7581901" y="1218904"/>
            <a:ext cx="193675" cy="33338"/>
          </a:xfrm>
          <a:custGeom>
            <a:avLst/>
            <a:gdLst>
              <a:gd name="T0" fmla="*/ 1228 w 1463"/>
              <a:gd name="T1" fmla="*/ 227 h 256"/>
              <a:gd name="T2" fmla="*/ 1463 w 1463"/>
              <a:gd name="T3" fmla="*/ 113 h 256"/>
              <a:gd name="T4" fmla="*/ 1225 w 1463"/>
              <a:gd name="T5" fmla="*/ 14 h 256"/>
              <a:gd name="T6" fmla="*/ 1225 w 1463"/>
              <a:gd name="T7" fmla="*/ 14 h 256"/>
              <a:gd name="T8" fmla="*/ 1152 w 1463"/>
              <a:gd name="T9" fmla="*/ 15 h 256"/>
              <a:gd name="T10" fmla="*/ 1060 w 1463"/>
              <a:gd name="T11" fmla="*/ 16 h 256"/>
              <a:gd name="T12" fmla="*/ 949 w 1463"/>
              <a:gd name="T13" fmla="*/ 15 h 256"/>
              <a:gd name="T14" fmla="*/ 824 w 1463"/>
              <a:gd name="T15" fmla="*/ 13 h 256"/>
              <a:gd name="T16" fmla="*/ 531 w 1463"/>
              <a:gd name="T17" fmla="*/ 7 h 256"/>
              <a:gd name="T18" fmla="*/ 197 w 1463"/>
              <a:gd name="T19" fmla="*/ 0 h 256"/>
              <a:gd name="T20" fmla="*/ 0 w 1463"/>
              <a:gd name="T21" fmla="*/ 256 h 256"/>
              <a:gd name="T22" fmla="*/ 0 w 1463"/>
              <a:gd name="T23" fmla="*/ 256 h 256"/>
              <a:gd name="T24" fmla="*/ 734 w 1463"/>
              <a:gd name="T25" fmla="*/ 240 h 256"/>
              <a:gd name="T26" fmla="*/ 1024 w 1463"/>
              <a:gd name="T27" fmla="*/ 234 h 256"/>
              <a:gd name="T28" fmla="*/ 1228 w 1463"/>
              <a:gd name="T29" fmla="*/ 22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3" h="256">
                <a:moveTo>
                  <a:pt x="1228" y="227"/>
                </a:moveTo>
                <a:lnTo>
                  <a:pt x="1463" y="113"/>
                </a:lnTo>
                <a:lnTo>
                  <a:pt x="1225" y="14"/>
                </a:lnTo>
                <a:lnTo>
                  <a:pt x="1225" y="14"/>
                </a:lnTo>
                <a:lnTo>
                  <a:pt x="1152" y="15"/>
                </a:lnTo>
                <a:lnTo>
                  <a:pt x="1060" y="16"/>
                </a:lnTo>
                <a:lnTo>
                  <a:pt x="949" y="15"/>
                </a:lnTo>
                <a:lnTo>
                  <a:pt x="824" y="13"/>
                </a:lnTo>
                <a:lnTo>
                  <a:pt x="531" y="7"/>
                </a:lnTo>
                <a:lnTo>
                  <a:pt x="197" y="0"/>
                </a:lnTo>
                <a:lnTo>
                  <a:pt x="0" y="256"/>
                </a:lnTo>
                <a:lnTo>
                  <a:pt x="0" y="256"/>
                </a:lnTo>
                <a:lnTo>
                  <a:pt x="734" y="240"/>
                </a:lnTo>
                <a:lnTo>
                  <a:pt x="1024" y="234"/>
                </a:lnTo>
                <a:lnTo>
                  <a:pt x="1228" y="22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7" name="Freeform 44"/>
          <p:cNvSpPr>
            <a:spLocks/>
          </p:cNvSpPr>
          <p:nvPr userDrawn="1"/>
        </p:nvSpPr>
        <p:spPr bwMode="auto">
          <a:xfrm>
            <a:off x="7643812" y="1301453"/>
            <a:ext cx="114300" cy="112713"/>
          </a:xfrm>
          <a:custGeom>
            <a:avLst/>
            <a:gdLst>
              <a:gd name="T0" fmla="*/ 386 w 869"/>
              <a:gd name="T1" fmla="*/ 818 h 851"/>
              <a:gd name="T2" fmla="*/ 235 w 869"/>
              <a:gd name="T3" fmla="*/ 737 h 851"/>
              <a:gd name="T4" fmla="*/ 156 w 869"/>
              <a:gd name="T5" fmla="*/ 685 h 851"/>
              <a:gd name="T6" fmla="*/ 90 w 869"/>
              <a:gd name="T7" fmla="*/ 626 h 851"/>
              <a:gd name="T8" fmla="*/ 37 w 869"/>
              <a:gd name="T9" fmla="*/ 557 h 851"/>
              <a:gd name="T10" fmla="*/ 24 w 869"/>
              <a:gd name="T11" fmla="*/ 531 h 851"/>
              <a:gd name="T12" fmla="*/ 10 w 869"/>
              <a:gd name="T13" fmla="*/ 487 h 851"/>
              <a:gd name="T14" fmla="*/ 2 w 869"/>
              <a:gd name="T15" fmla="*/ 439 h 851"/>
              <a:gd name="T16" fmla="*/ 0 w 869"/>
              <a:gd name="T17" fmla="*/ 389 h 851"/>
              <a:gd name="T18" fmla="*/ 5 w 869"/>
              <a:gd name="T19" fmla="*/ 336 h 851"/>
              <a:gd name="T20" fmla="*/ 15 w 869"/>
              <a:gd name="T21" fmla="*/ 283 h 851"/>
              <a:gd name="T22" fmla="*/ 34 w 869"/>
              <a:gd name="T23" fmla="*/ 231 h 851"/>
              <a:gd name="T24" fmla="*/ 59 w 869"/>
              <a:gd name="T25" fmla="*/ 182 h 851"/>
              <a:gd name="T26" fmla="*/ 93 w 869"/>
              <a:gd name="T27" fmla="*/ 136 h 851"/>
              <a:gd name="T28" fmla="*/ 134 w 869"/>
              <a:gd name="T29" fmla="*/ 94 h 851"/>
              <a:gd name="T30" fmla="*/ 183 w 869"/>
              <a:gd name="T31" fmla="*/ 59 h 851"/>
              <a:gd name="T32" fmla="*/ 198 w 869"/>
              <a:gd name="T33" fmla="*/ 75 h 851"/>
              <a:gd name="T34" fmla="*/ 217 w 869"/>
              <a:gd name="T35" fmla="*/ 106 h 851"/>
              <a:gd name="T36" fmla="*/ 227 w 869"/>
              <a:gd name="T37" fmla="*/ 141 h 851"/>
              <a:gd name="T38" fmla="*/ 247 w 869"/>
              <a:gd name="T39" fmla="*/ 150 h 851"/>
              <a:gd name="T40" fmla="*/ 379 w 869"/>
              <a:gd name="T41" fmla="*/ 144 h 851"/>
              <a:gd name="T42" fmla="*/ 424 w 869"/>
              <a:gd name="T43" fmla="*/ 143 h 851"/>
              <a:gd name="T44" fmla="*/ 424 w 869"/>
              <a:gd name="T45" fmla="*/ 94 h 851"/>
              <a:gd name="T46" fmla="*/ 414 w 869"/>
              <a:gd name="T47" fmla="*/ 37 h 851"/>
              <a:gd name="T48" fmla="*/ 397 w 869"/>
              <a:gd name="T49" fmla="*/ 0 h 851"/>
              <a:gd name="T50" fmla="*/ 431 w 869"/>
              <a:gd name="T51" fmla="*/ 27 h 851"/>
              <a:gd name="T52" fmla="*/ 459 w 869"/>
              <a:gd name="T53" fmla="*/ 55 h 851"/>
              <a:gd name="T54" fmla="*/ 475 w 869"/>
              <a:gd name="T55" fmla="*/ 82 h 851"/>
              <a:gd name="T56" fmla="*/ 487 w 869"/>
              <a:gd name="T57" fmla="*/ 116 h 851"/>
              <a:gd name="T58" fmla="*/ 493 w 869"/>
              <a:gd name="T59" fmla="*/ 143 h 851"/>
              <a:gd name="T60" fmla="*/ 671 w 869"/>
              <a:gd name="T61" fmla="*/ 133 h 851"/>
              <a:gd name="T62" fmla="*/ 662 w 869"/>
              <a:gd name="T63" fmla="*/ 88 h 851"/>
              <a:gd name="T64" fmla="*/ 643 w 869"/>
              <a:gd name="T65" fmla="*/ 50 h 851"/>
              <a:gd name="T66" fmla="*/ 651 w 869"/>
              <a:gd name="T67" fmla="*/ 46 h 851"/>
              <a:gd name="T68" fmla="*/ 699 w 869"/>
              <a:gd name="T69" fmla="*/ 73 h 851"/>
              <a:gd name="T70" fmla="*/ 740 w 869"/>
              <a:gd name="T71" fmla="*/ 104 h 851"/>
              <a:gd name="T72" fmla="*/ 775 w 869"/>
              <a:gd name="T73" fmla="*/ 138 h 851"/>
              <a:gd name="T74" fmla="*/ 803 w 869"/>
              <a:gd name="T75" fmla="*/ 175 h 851"/>
              <a:gd name="T76" fmla="*/ 837 w 869"/>
              <a:gd name="T77" fmla="*/ 238 h 851"/>
              <a:gd name="T78" fmla="*/ 861 w 869"/>
              <a:gd name="T79" fmla="*/ 312 h 851"/>
              <a:gd name="T80" fmla="*/ 869 w 869"/>
              <a:gd name="T81" fmla="*/ 379 h 851"/>
              <a:gd name="T82" fmla="*/ 869 w 869"/>
              <a:gd name="T83" fmla="*/ 423 h 851"/>
              <a:gd name="T84" fmla="*/ 859 w 869"/>
              <a:gd name="T85" fmla="*/ 499 h 851"/>
              <a:gd name="T86" fmla="*/ 834 w 869"/>
              <a:gd name="T87" fmla="*/ 569 h 851"/>
              <a:gd name="T88" fmla="*/ 796 w 869"/>
              <a:gd name="T89" fmla="*/ 631 h 851"/>
              <a:gd name="T90" fmla="*/ 749 w 869"/>
              <a:gd name="T91" fmla="*/ 684 h 851"/>
              <a:gd name="T92" fmla="*/ 693 w 869"/>
              <a:gd name="T93" fmla="*/ 727 h 851"/>
              <a:gd name="T94" fmla="*/ 626 w 869"/>
              <a:gd name="T95" fmla="*/ 766 h 851"/>
              <a:gd name="T96" fmla="*/ 506 w 869"/>
              <a:gd name="T97" fmla="*/ 826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9" h="851">
                <a:moveTo>
                  <a:pt x="452" y="851"/>
                </a:moveTo>
                <a:lnTo>
                  <a:pt x="452" y="851"/>
                </a:lnTo>
                <a:lnTo>
                  <a:pt x="386" y="818"/>
                </a:lnTo>
                <a:lnTo>
                  <a:pt x="323" y="785"/>
                </a:lnTo>
                <a:lnTo>
                  <a:pt x="264" y="754"/>
                </a:lnTo>
                <a:lnTo>
                  <a:pt x="235" y="737"/>
                </a:lnTo>
                <a:lnTo>
                  <a:pt x="207" y="720"/>
                </a:lnTo>
                <a:lnTo>
                  <a:pt x="181" y="703"/>
                </a:lnTo>
                <a:lnTo>
                  <a:pt x="156" y="685"/>
                </a:lnTo>
                <a:lnTo>
                  <a:pt x="133" y="666"/>
                </a:lnTo>
                <a:lnTo>
                  <a:pt x="110" y="646"/>
                </a:lnTo>
                <a:lnTo>
                  <a:pt x="90" y="626"/>
                </a:lnTo>
                <a:lnTo>
                  <a:pt x="70" y="605"/>
                </a:lnTo>
                <a:lnTo>
                  <a:pt x="53" y="581"/>
                </a:lnTo>
                <a:lnTo>
                  <a:pt x="37" y="557"/>
                </a:lnTo>
                <a:lnTo>
                  <a:pt x="37" y="557"/>
                </a:lnTo>
                <a:lnTo>
                  <a:pt x="31" y="544"/>
                </a:lnTo>
                <a:lnTo>
                  <a:pt x="24" y="531"/>
                </a:lnTo>
                <a:lnTo>
                  <a:pt x="19" y="517"/>
                </a:lnTo>
                <a:lnTo>
                  <a:pt x="14" y="502"/>
                </a:lnTo>
                <a:lnTo>
                  <a:pt x="10" y="487"/>
                </a:lnTo>
                <a:lnTo>
                  <a:pt x="7" y="472"/>
                </a:lnTo>
                <a:lnTo>
                  <a:pt x="4" y="455"/>
                </a:lnTo>
                <a:lnTo>
                  <a:pt x="2" y="439"/>
                </a:lnTo>
                <a:lnTo>
                  <a:pt x="1" y="423"/>
                </a:lnTo>
                <a:lnTo>
                  <a:pt x="0" y="405"/>
                </a:lnTo>
                <a:lnTo>
                  <a:pt x="0" y="389"/>
                </a:lnTo>
                <a:lnTo>
                  <a:pt x="1" y="371"/>
                </a:lnTo>
                <a:lnTo>
                  <a:pt x="2" y="353"/>
                </a:lnTo>
                <a:lnTo>
                  <a:pt x="5" y="336"/>
                </a:lnTo>
                <a:lnTo>
                  <a:pt x="7" y="318"/>
                </a:lnTo>
                <a:lnTo>
                  <a:pt x="11" y="301"/>
                </a:lnTo>
                <a:lnTo>
                  <a:pt x="15" y="283"/>
                </a:lnTo>
                <a:lnTo>
                  <a:pt x="21" y="266"/>
                </a:lnTo>
                <a:lnTo>
                  <a:pt x="26" y="249"/>
                </a:lnTo>
                <a:lnTo>
                  <a:pt x="34" y="231"/>
                </a:lnTo>
                <a:lnTo>
                  <a:pt x="42" y="215"/>
                </a:lnTo>
                <a:lnTo>
                  <a:pt x="50" y="199"/>
                </a:lnTo>
                <a:lnTo>
                  <a:pt x="59" y="182"/>
                </a:lnTo>
                <a:lnTo>
                  <a:pt x="69" y="166"/>
                </a:lnTo>
                <a:lnTo>
                  <a:pt x="81" y="151"/>
                </a:lnTo>
                <a:lnTo>
                  <a:pt x="93" y="136"/>
                </a:lnTo>
                <a:lnTo>
                  <a:pt x="105" y="122"/>
                </a:lnTo>
                <a:lnTo>
                  <a:pt x="120" y="108"/>
                </a:lnTo>
                <a:lnTo>
                  <a:pt x="134" y="94"/>
                </a:lnTo>
                <a:lnTo>
                  <a:pt x="149" y="82"/>
                </a:lnTo>
                <a:lnTo>
                  <a:pt x="166" y="70"/>
                </a:lnTo>
                <a:lnTo>
                  <a:pt x="183" y="59"/>
                </a:lnTo>
                <a:lnTo>
                  <a:pt x="183" y="59"/>
                </a:lnTo>
                <a:lnTo>
                  <a:pt x="191" y="67"/>
                </a:lnTo>
                <a:lnTo>
                  <a:pt x="198" y="75"/>
                </a:lnTo>
                <a:lnTo>
                  <a:pt x="203" y="82"/>
                </a:lnTo>
                <a:lnTo>
                  <a:pt x="208" y="90"/>
                </a:lnTo>
                <a:lnTo>
                  <a:pt x="217" y="106"/>
                </a:lnTo>
                <a:lnTo>
                  <a:pt x="222" y="120"/>
                </a:lnTo>
                <a:lnTo>
                  <a:pt x="225" y="132"/>
                </a:lnTo>
                <a:lnTo>
                  <a:pt x="227" y="141"/>
                </a:lnTo>
                <a:lnTo>
                  <a:pt x="227" y="150"/>
                </a:lnTo>
                <a:lnTo>
                  <a:pt x="227" y="150"/>
                </a:lnTo>
                <a:lnTo>
                  <a:pt x="247" y="150"/>
                </a:lnTo>
                <a:lnTo>
                  <a:pt x="272" y="150"/>
                </a:lnTo>
                <a:lnTo>
                  <a:pt x="325" y="146"/>
                </a:lnTo>
                <a:lnTo>
                  <a:pt x="379" y="144"/>
                </a:lnTo>
                <a:lnTo>
                  <a:pt x="404" y="143"/>
                </a:lnTo>
                <a:lnTo>
                  <a:pt x="424" y="143"/>
                </a:lnTo>
                <a:lnTo>
                  <a:pt x="424" y="143"/>
                </a:lnTo>
                <a:lnTo>
                  <a:pt x="425" y="129"/>
                </a:lnTo>
                <a:lnTo>
                  <a:pt x="425" y="112"/>
                </a:lnTo>
                <a:lnTo>
                  <a:pt x="424" y="94"/>
                </a:lnTo>
                <a:lnTo>
                  <a:pt x="422" y="76"/>
                </a:lnTo>
                <a:lnTo>
                  <a:pt x="419" y="56"/>
                </a:lnTo>
                <a:lnTo>
                  <a:pt x="414" y="37"/>
                </a:lnTo>
                <a:lnTo>
                  <a:pt x="407" y="19"/>
                </a:lnTo>
                <a:lnTo>
                  <a:pt x="402" y="9"/>
                </a:lnTo>
                <a:lnTo>
                  <a:pt x="397" y="0"/>
                </a:lnTo>
                <a:lnTo>
                  <a:pt x="397" y="0"/>
                </a:lnTo>
                <a:lnTo>
                  <a:pt x="415" y="14"/>
                </a:lnTo>
                <a:lnTo>
                  <a:pt x="431" y="27"/>
                </a:lnTo>
                <a:lnTo>
                  <a:pt x="446" y="40"/>
                </a:lnTo>
                <a:lnTo>
                  <a:pt x="453" y="47"/>
                </a:lnTo>
                <a:lnTo>
                  <a:pt x="459" y="55"/>
                </a:lnTo>
                <a:lnTo>
                  <a:pt x="465" y="64"/>
                </a:lnTo>
                <a:lnTo>
                  <a:pt x="470" y="73"/>
                </a:lnTo>
                <a:lnTo>
                  <a:pt x="475" y="82"/>
                </a:lnTo>
                <a:lnTo>
                  <a:pt x="479" y="92"/>
                </a:lnTo>
                <a:lnTo>
                  <a:pt x="484" y="104"/>
                </a:lnTo>
                <a:lnTo>
                  <a:pt x="487" y="116"/>
                </a:lnTo>
                <a:lnTo>
                  <a:pt x="490" y="129"/>
                </a:lnTo>
                <a:lnTo>
                  <a:pt x="493" y="143"/>
                </a:lnTo>
                <a:lnTo>
                  <a:pt x="493" y="143"/>
                </a:lnTo>
                <a:lnTo>
                  <a:pt x="671" y="150"/>
                </a:lnTo>
                <a:lnTo>
                  <a:pt x="671" y="150"/>
                </a:lnTo>
                <a:lnTo>
                  <a:pt x="671" y="133"/>
                </a:lnTo>
                <a:lnTo>
                  <a:pt x="670" y="118"/>
                </a:lnTo>
                <a:lnTo>
                  <a:pt x="667" y="103"/>
                </a:lnTo>
                <a:lnTo>
                  <a:pt x="662" y="88"/>
                </a:lnTo>
                <a:lnTo>
                  <a:pt x="657" y="75"/>
                </a:lnTo>
                <a:lnTo>
                  <a:pt x="651" y="62"/>
                </a:lnTo>
                <a:lnTo>
                  <a:pt x="643" y="50"/>
                </a:lnTo>
                <a:lnTo>
                  <a:pt x="634" y="38"/>
                </a:lnTo>
                <a:lnTo>
                  <a:pt x="634" y="38"/>
                </a:lnTo>
                <a:lnTo>
                  <a:pt x="651" y="46"/>
                </a:lnTo>
                <a:lnTo>
                  <a:pt x="669" y="54"/>
                </a:lnTo>
                <a:lnTo>
                  <a:pt x="684" y="64"/>
                </a:lnTo>
                <a:lnTo>
                  <a:pt x="699" y="73"/>
                </a:lnTo>
                <a:lnTo>
                  <a:pt x="714" y="83"/>
                </a:lnTo>
                <a:lnTo>
                  <a:pt x="728" y="93"/>
                </a:lnTo>
                <a:lnTo>
                  <a:pt x="740" y="104"/>
                </a:lnTo>
                <a:lnTo>
                  <a:pt x="752" y="115"/>
                </a:lnTo>
                <a:lnTo>
                  <a:pt x="764" y="126"/>
                </a:lnTo>
                <a:lnTo>
                  <a:pt x="775" y="138"/>
                </a:lnTo>
                <a:lnTo>
                  <a:pt x="785" y="151"/>
                </a:lnTo>
                <a:lnTo>
                  <a:pt x="794" y="163"/>
                </a:lnTo>
                <a:lnTo>
                  <a:pt x="803" y="175"/>
                </a:lnTo>
                <a:lnTo>
                  <a:pt x="811" y="187"/>
                </a:lnTo>
                <a:lnTo>
                  <a:pt x="825" y="213"/>
                </a:lnTo>
                <a:lnTo>
                  <a:pt x="837" y="238"/>
                </a:lnTo>
                <a:lnTo>
                  <a:pt x="848" y="263"/>
                </a:lnTo>
                <a:lnTo>
                  <a:pt x="855" y="289"/>
                </a:lnTo>
                <a:lnTo>
                  <a:pt x="861" y="312"/>
                </a:lnTo>
                <a:lnTo>
                  <a:pt x="865" y="336"/>
                </a:lnTo>
                <a:lnTo>
                  <a:pt x="868" y="358"/>
                </a:lnTo>
                <a:lnTo>
                  <a:pt x="869" y="379"/>
                </a:lnTo>
                <a:lnTo>
                  <a:pt x="869" y="397"/>
                </a:lnTo>
                <a:lnTo>
                  <a:pt x="869" y="397"/>
                </a:lnTo>
                <a:lnTo>
                  <a:pt x="869" y="423"/>
                </a:lnTo>
                <a:lnTo>
                  <a:pt x="868" y="449"/>
                </a:lnTo>
                <a:lnTo>
                  <a:pt x="864" y="474"/>
                </a:lnTo>
                <a:lnTo>
                  <a:pt x="859" y="499"/>
                </a:lnTo>
                <a:lnTo>
                  <a:pt x="852" y="523"/>
                </a:lnTo>
                <a:lnTo>
                  <a:pt x="843" y="546"/>
                </a:lnTo>
                <a:lnTo>
                  <a:pt x="834" y="569"/>
                </a:lnTo>
                <a:lnTo>
                  <a:pt x="823" y="590"/>
                </a:lnTo>
                <a:lnTo>
                  <a:pt x="811" y="612"/>
                </a:lnTo>
                <a:lnTo>
                  <a:pt x="796" y="631"/>
                </a:lnTo>
                <a:lnTo>
                  <a:pt x="782" y="651"/>
                </a:lnTo>
                <a:lnTo>
                  <a:pt x="766" y="668"/>
                </a:lnTo>
                <a:lnTo>
                  <a:pt x="749" y="684"/>
                </a:lnTo>
                <a:lnTo>
                  <a:pt x="731" y="700"/>
                </a:lnTo>
                <a:lnTo>
                  <a:pt x="713" y="714"/>
                </a:lnTo>
                <a:lnTo>
                  <a:pt x="693" y="727"/>
                </a:lnTo>
                <a:lnTo>
                  <a:pt x="693" y="727"/>
                </a:lnTo>
                <a:lnTo>
                  <a:pt x="658" y="748"/>
                </a:lnTo>
                <a:lnTo>
                  <a:pt x="626" y="766"/>
                </a:lnTo>
                <a:lnTo>
                  <a:pt x="594" y="783"/>
                </a:lnTo>
                <a:lnTo>
                  <a:pt x="563" y="799"/>
                </a:lnTo>
                <a:lnTo>
                  <a:pt x="506" y="826"/>
                </a:lnTo>
                <a:lnTo>
                  <a:pt x="452" y="85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8" name="Freeform 45"/>
          <p:cNvSpPr>
            <a:spLocks/>
          </p:cNvSpPr>
          <p:nvPr userDrawn="1"/>
        </p:nvSpPr>
        <p:spPr bwMode="auto">
          <a:xfrm>
            <a:off x="7677150" y="1579265"/>
            <a:ext cx="1588" cy="0"/>
          </a:xfrm>
          <a:custGeom>
            <a:avLst/>
            <a:gdLst>
              <a:gd name="T0" fmla="*/ 22 w 22"/>
              <a:gd name="T1" fmla="*/ 9 h 9"/>
              <a:gd name="T2" fmla="*/ 22 w 22"/>
              <a:gd name="T3" fmla="*/ 9 h 9"/>
              <a:gd name="T4" fmla="*/ 3 w 22"/>
              <a:gd name="T5" fmla="*/ 2 h 9"/>
              <a:gd name="T6" fmla="*/ 3 w 22"/>
              <a:gd name="T7" fmla="*/ 2 h 9"/>
              <a:gd name="T8" fmla="*/ 0 w 22"/>
              <a:gd name="T9" fmla="*/ 0 h 9"/>
              <a:gd name="T10" fmla="*/ 0 w 22"/>
              <a:gd name="T11" fmla="*/ 0 h 9"/>
              <a:gd name="T12" fmla="*/ 22 w 22"/>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22" h="9">
                <a:moveTo>
                  <a:pt x="22" y="9"/>
                </a:moveTo>
                <a:lnTo>
                  <a:pt x="22" y="9"/>
                </a:lnTo>
                <a:lnTo>
                  <a:pt x="3" y="2"/>
                </a:lnTo>
                <a:lnTo>
                  <a:pt x="3" y="2"/>
                </a:lnTo>
                <a:lnTo>
                  <a:pt x="0" y="0"/>
                </a:lnTo>
                <a:lnTo>
                  <a:pt x="0" y="0"/>
                </a:lnTo>
                <a:lnTo>
                  <a:pt x="22"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9" name="Freeform 46"/>
          <p:cNvSpPr>
            <a:spLocks/>
          </p:cNvSpPr>
          <p:nvPr userDrawn="1"/>
        </p:nvSpPr>
        <p:spPr bwMode="auto">
          <a:xfrm>
            <a:off x="7429500" y="1261766"/>
            <a:ext cx="20638" cy="12700"/>
          </a:xfrm>
          <a:custGeom>
            <a:avLst/>
            <a:gdLst>
              <a:gd name="T0" fmla="*/ 166 w 166"/>
              <a:gd name="T1" fmla="*/ 69 h 96"/>
              <a:gd name="T2" fmla="*/ 166 w 166"/>
              <a:gd name="T3" fmla="*/ 69 h 96"/>
              <a:gd name="T4" fmla="*/ 166 w 166"/>
              <a:gd name="T5" fmla="*/ 70 h 96"/>
              <a:gd name="T6" fmla="*/ 165 w 166"/>
              <a:gd name="T7" fmla="*/ 72 h 96"/>
              <a:gd name="T8" fmla="*/ 161 w 166"/>
              <a:gd name="T9" fmla="*/ 74 h 96"/>
              <a:gd name="T10" fmla="*/ 155 w 166"/>
              <a:gd name="T11" fmla="*/ 77 h 96"/>
              <a:gd name="T12" fmla="*/ 145 w 166"/>
              <a:gd name="T13" fmla="*/ 79 h 96"/>
              <a:gd name="T14" fmla="*/ 123 w 166"/>
              <a:gd name="T15" fmla="*/ 85 h 96"/>
              <a:gd name="T16" fmla="*/ 95 w 166"/>
              <a:gd name="T17" fmla="*/ 90 h 96"/>
              <a:gd name="T18" fmla="*/ 68 w 166"/>
              <a:gd name="T19" fmla="*/ 94 h 96"/>
              <a:gd name="T20" fmla="*/ 42 w 166"/>
              <a:gd name="T21" fmla="*/ 96 h 96"/>
              <a:gd name="T22" fmla="*/ 24 w 166"/>
              <a:gd name="T23" fmla="*/ 96 h 96"/>
              <a:gd name="T24" fmla="*/ 17 w 166"/>
              <a:gd name="T25" fmla="*/ 95 h 96"/>
              <a:gd name="T26" fmla="*/ 13 w 166"/>
              <a:gd name="T27" fmla="*/ 94 h 96"/>
              <a:gd name="T28" fmla="*/ 13 w 166"/>
              <a:gd name="T29" fmla="*/ 94 h 96"/>
              <a:gd name="T30" fmla="*/ 10 w 166"/>
              <a:gd name="T31" fmla="*/ 92 h 96"/>
              <a:gd name="T32" fmla="*/ 8 w 166"/>
              <a:gd name="T33" fmla="*/ 88 h 96"/>
              <a:gd name="T34" fmla="*/ 5 w 166"/>
              <a:gd name="T35" fmla="*/ 77 h 96"/>
              <a:gd name="T36" fmla="*/ 2 w 166"/>
              <a:gd name="T37" fmla="*/ 65 h 96"/>
              <a:gd name="T38" fmla="*/ 0 w 166"/>
              <a:gd name="T39" fmla="*/ 51 h 96"/>
              <a:gd name="T40" fmla="*/ 0 w 166"/>
              <a:gd name="T41" fmla="*/ 36 h 96"/>
              <a:gd name="T42" fmla="*/ 0 w 166"/>
              <a:gd name="T43" fmla="*/ 23 h 96"/>
              <a:gd name="T44" fmla="*/ 1 w 166"/>
              <a:gd name="T45" fmla="*/ 13 h 96"/>
              <a:gd name="T46" fmla="*/ 2 w 166"/>
              <a:gd name="T47" fmla="*/ 8 h 96"/>
              <a:gd name="T48" fmla="*/ 4 w 166"/>
              <a:gd name="T49" fmla="*/ 5 h 96"/>
              <a:gd name="T50" fmla="*/ 4 w 166"/>
              <a:gd name="T51" fmla="*/ 5 h 96"/>
              <a:gd name="T52" fmla="*/ 5 w 166"/>
              <a:gd name="T53" fmla="*/ 4 h 96"/>
              <a:gd name="T54" fmla="*/ 7 w 166"/>
              <a:gd name="T55" fmla="*/ 2 h 96"/>
              <a:gd name="T56" fmla="*/ 13 w 166"/>
              <a:gd name="T57" fmla="*/ 1 h 96"/>
              <a:gd name="T58" fmla="*/ 22 w 166"/>
              <a:gd name="T59" fmla="*/ 0 h 96"/>
              <a:gd name="T60" fmla="*/ 32 w 166"/>
              <a:gd name="T61" fmla="*/ 0 h 96"/>
              <a:gd name="T62" fmla="*/ 43 w 166"/>
              <a:gd name="T63" fmla="*/ 1 h 96"/>
              <a:gd name="T64" fmla="*/ 55 w 166"/>
              <a:gd name="T65" fmla="*/ 3 h 96"/>
              <a:gd name="T66" fmla="*/ 69 w 166"/>
              <a:gd name="T67" fmla="*/ 6 h 96"/>
              <a:gd name="T68" fmla="*/ 83 w 166"/>
              <a:gd name="T69" fmla="*/ 10 h 96"/>
              <a:gd name="T70" fmla="*/ 96 w 166"/>
              <a:gd name="T71" fmla="*/ 15 h 96"/>
              <a:gd name="T72" fmla="*/ 110 w 166"/>
              <a:gd name="T73" fmla="*/ 20 h 96"/>
              <a:gd name="T74" fmla="*/ 123 w 166"/>
              <a:gd name="T75" fmla="*/ 27 h 96"/>
              <a:gd name="T76" fmla="*/ 135 w 166"/>
              <a:gd name="T77" fmla="*/ 34 h 96"/>
              <a:gd name="T78" fmla="*/ 145 w 166"/>
              <a:gd name="T79" fmla="*/ 42 h 96"/>
              <a:gd name="T80" fmla="*/ 155 w 166"/>
              <a:gd name="T81" fmla="*/ 51 h 96"/>
              <a:gd name="T82" fmla="*/ 162 w 166"/>
              <a:gd name="T83" fmla="*/ 60 h 96"/>
              <a:gd name="T84" fmla="*/ 164 w 166"/>
              <a:gd name="T85" fmla="*/ 64 h 96"/>
              <a:gd name="T86" fmla="*/ 166 w 166"/>
              <a:gd name="T87" fmla="*/ 6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6" h="96">
                <a:moveTo>
                  <a:pt x="166" y="69"/>
                </a:moveTo>
                <a:lnTo>
                  <a:pt x="166" y="69"/>
                </a:lnTo>
                <a:lnTo>
                  <a:pt x="166" y="70"/>
                </a:lnTo>
                <a:lnTo>
                  <a:pt x="165" y="72"/>
                </a:lnTo>
                <a:lnTo>
                  <a:pt x="161" y="74"/>
                </a:lnTo>
                <a:lnTo>
                  <a:pt x="155" y="77"/>
                </a:lnTo>
                <a:lnTo>
                  <a:pt x="145" y="79"/>
                </a:lnTo>
                <a:lnTo>
                  <a:pt x="123" y="85"/>
                </a:lnTo>
                <a:lnTo>
                  <a:pt x="95" y="90"/>
                </a:lnTo>
                <a:lnTo>
                  <a:pt x="68" y="94"/>
                </a:lnTo>
                <a:lnTo>
                  <a:pt x="42" y="96"/>
                </a:lnTo>
                <a:lnTo>
                  <a:pt x="24" y="96"/>
                </a:lnTo>
                <a:lnTo>
                  <a:pt x="17" y="95"/>
                </a:lnTo>
                <a:lnTo>
                  <a:pt x="13" y="94"/>
                </a:lnTo>
                <a:lnTo>
                  <a:pt x="13" y="94"/>
                </a:lnTo>
                <a:lnTo>
                  <a:pt x="10" y="92"/>
                </a:lnTo>
                <a:lnTo>
                  <a:pt x="8" y="88"/>
                </a:lnTo>
                <a:lnTo>
                  <a:pt x="5" y="77"/>
                </a:lnTo>
                <a:lnTo>
                  <a:pt x="2" y="65"/>
                </a:lnTo>
                <a:lnTo>
                  <a:pt x="0" y="51"/>
                </a:lnTo>
                <a:lnTo>
                  <a:pt x="0" y="36"/>
                </a:lnTo>
                <a:lnTo>
                  <a:pt x="0" y="23"/>
                </a:lnTo>
                <a:lnTo>
                  <a:pt x="1" y="13"/>
                </a:lnTo>
                <a:lnTo>
                  <a:pt x="2" y="8"/>
                </a:lnTo>
                <a:lnTo>
                  <a:pt x="4" y="5"/>
                </a:lnTo>
                <a:lnTo>
                  <a:pt x="4" y="5"/>
                </a:lnTo>
                <a:lnTo>
                  <a:pt x="5" y="4"/>
                </a:lnTo>
                <a:lnTo>
                  <a:pt x="7" y="2"/>
                </a:lnTo>
                <a:lnTo>
                  <a:pt x="13" y="1"/>
                </a:lnTo>
                <a:lnTo>
                  <a:pt x="22" y="0"/>
                </a:lnTo>
                <a:lnTo>
                  <a:pt x="32" y="0"/>
                </a:lnTo>
                <a:lnTo>
                  <a:pt x="43" y="1"/>
                </a:lnTo>
                <a:lnTo>
                  <a:pt x="55" y="3"/>
                </a:lnTo>
                <a:lnTo>
                  <a:pt x="69" y="6"/>
                </a:lnTo>
                <a:lnTo>
                  <a:pt x="83" y="10"/>
                </a:lnTo>
                <a:lnTo>
                  <a:pt x="96" y="15"/>
                </a:lnTo>
                <a:lnTo>
                  <a:pt x="110" y="20"/>
                </a:lnTo>
                <a:lnTo>
                  <a:pt x="123" y="27"/>
                </a:lnTo>
                <a:lnTo>
                  <a:pt x="135" y="34"/>
                </a:lnTo>
                <a:lnTo>
                  <a:pt x="145" y="42"/>
                </a:lnTo>
                <a:lnTo>
                  <a:pt x="155" y="51"/>
                </a:lnTo>
                <a:lnTo>
                  <a:pt x="162" y="60"/>
                </a:lnTo>
                <a:lnTo>
                  <a:pt x="164" y="64"/>
                </a:lnTo>
                <a:lnTo>
                  <a:pt x="166" y="6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50" name="Freeform 47"/>
          <p:cNvSpPr>
            <a:spLocks/>
          </p:cNvSpPr>
          <p:nvPr userDrawn="1"/>
        </p:nvSpPr>
        <p:spPr bwMode="auto">
          <a:xfrm>
            <a:off x="7151687" y="1218904"/>
            <a:ext cx="657225" cy="776288"/>
          </a:xfrm>
          <a:custGeom>
            <a:avLst/>
            <a:gdLst>
              <a:gd name="T0" fmla="*/ 4703 w 4973"/>
              <a:gd name="T1" fmla="*/ 1877 h 5865"/>
              <a:gd name="T2" fmla="*/ 4733 w 4973"/>
              <a:gd name="T3" fmla="*/ 1183 h 5865"/>
              <a:gd name="T4" fmla="*/ 4302 w 4973"/>
              <a:gd name="T5" fmla="*/ 476 h 5865"/>
              <a:gd name="T6" fmla="*/ 3581 w 4973"/>
              <a:gd name="T7" fmla="*/ 813 h 5865"/>
              <a:gd name="T8" fmla="*/ 3899 w 4973"/>
              <a:gd name="T9" fmla="*/ 1529 h 5865"/>
              <a:gd name="T10" fmla="*/ 3757 w 4973"/>
              <a:gd name="T11" fmla="*/ 2227 h 5865"/>
              <a:gd name="T12" fmla="*/ 3939 w 4973"/>
              <a:gd name="T13" fmla="*/ 2068 h 5865"/>
              <a:gd name="T14" fmla="*/ 4069 w 4973"/>
              <a:gd name="T15" fmla="*/ 1928 h 5865"/>
              <a:gd name="T16" fmla="*/ 4545 w 4973"/>
              <a:gd name="T17" fmla="*/ 1985 h 5865"/>
              <a:gd name="T18" fmla="*/ 4487 w 4973"/>
              <a:gd name="T19" fmla="*/ 2697 h 5865"/>
              <a:gd name="T20" fmla="*/ 3601 w 4973"/>
              <a:gd name="T21" fmla="*/ 2477 h 5865"/>
              <a:gd name="T22" fmla="*/ 3285 w 4973"/>
              <a:gd name="T23" fmla="*/ 1581 h 5865"/>
              <a:gd name="T24" fmla="*/ 3364 w 4973"/>
              <a:gd name="T25" fmla="*/ 1421 h 5865"/>
              <a:gd name="T26" fmla="*/ 3101 w 4973"/>
              <a:gd name="T27" fmla="*/ 996 h 5865"/>
              <a:gd name="T28" fmla="*/ 3251 w 4973"/>
              <a:gd name="T29" fmla="*/ 599 h 5865"/>
              <a:gd name="T30" fmla="*/ 2863 w 4973"/>
              <a:gd name="T31" fmla="*/ 144 h 5865"/>
              <a:gd name="T32" fmla="*/ 1960 w 4973"/>
              <a:gd name="T33" fmla="*/ 304 h 5865"/>
              <a:gd name="T34" fmla="*/ 1819 w 4973"/>
              <a:gd name="T35" fmla="*/ 748 h 5865"/>
              <a:gd name="T36" fmla="*/ 2202 w 4973"/>
              <a:gd name="T37" fmla="*/ 626 h 5865"/>
              <a:gd name="T38" fmla="*/ 2215 w 4973"/>
              <a:gd name="T39" fmla="*/ 803 h 5865"/>
              <a:gd name="T40" fmla="*/ 1623 w 4973"/>
              <a:gd name="T41" fmla="*/ 851 h 5865"/>
              <a:gd name="T42" fmla="*/ 1602 w 4973"/>
              <a:gd name="T43" fmla="*/ 1055 h 5865"/>
              <a:gd name="T44" fmla="*/ 2246 w 4973"/>
              <a:gd name="T45" fmla="*/ 924 h 5865"/>
              <a:gd name="T46" fmla="*/ 2036 w 4973"/>
              <a:gd name="T47" fmla="*/ 981 h 5865"/>
              <a:gd name="T48" fmla="*/ 1754 w 4973"/>
              <a:gd name="T49" fmla="*/ 1278 h 5865"/>
              <a:gd name="T50" fmla="*/ 2105 w 4973"/>
              <a:gd name="T51" fmla="*/ 1619 h 5865"/>
              <a:gd name="T52" fmla="*/ 863 w 4973"/>
              <a:gd name="T53" fmla="*/ 2239 h 5865"/>
              <a:gd name="T54" fmla="*/ 310 w 4973"/>
              <a:gd name="T55" fmla="*/ 2027 h 5865"/>
              <a:gd name="T56" fmla="*/ 319 w 4973"/>
              <a:gd name="T57" fmla="*/ 2172 h 5865"/>
              <a:gd name="T58" fmla="*/ 380 w 4973"/>
              <a:gd name="T59" fmla="*/ 2295 h 5865"/>
              <a:gd name="T60" fmla="*/ 39 w 4973"/>
              <a:gd name="T61" fmla="*/ 2396 h 5865"/>
              <a:gd name="T62" fmla="*/ 189 w 4973"/>
              <a:gd name="T63" fmla="*/ 2511 h 5865"/>
              <a:gd name="T64" fmla="*/ 322 w 4973"/>
              <a:gd name="T65" fmla="*/ 2588 h 5865"/>
              <a:gd name="T66" fmla="*/ 272 w 4973"/>
              <a:gd name="T67" fmla="*/ 2893 h 5865"/>
              <a:gd name="T68" fmla="*/ 630 w 4973"/>
              <a:gd name="T69" fmla="*/ 2730 h 5865"/>
              <a:gd name="T70" fmla="*/ 811 w 4973"/>
              <a:gd name="T71" fmla="*/ 2843 h 5865"/>
              <a:gd name="T72" fmla="*/ 1024 w 4973"/>
              <a:gd name="T73" fmla="*/ 2773 h 5865"/>
              <a:gd name="T74" fmla="*/ 1290 w 4973"/>
              <a:gd name="T75" fmla="*/ 2556 h 5865"/>
              <a:gd name="T76" fmla="*/ 1713 w 4973"/>
              <a:gd name="T77" fmla="*/ 2519 h 5865"/>
              <a:gd name="T78" fmla="*/ 2306 w 4973"/>
              <a:gd name="T79" fmla="*/ 2641 h 5865"/>
              <a:gd name="T80" fmla="*/ 3357 w 4973"/>
              <a:gd name="T81" fmla="*/ 3092 h 5865"/>
              <a:gd name="T82" fmla="*/ 3742 w 4973"/>
              <a:gd name="T83" fmla="*/ 3928 h 5865"/>
              <a:gd name="T84" fmla="*/ 3685 w 4973"/>
              <a:gd name="T85" fmla="*/ 4224 h 5865"/>
              <a:gd name="T86" fmla="*/ 4224 w 4973"/>
              <a:gd name="T87" fmla="*/ 4337 h 5865"/>
              <a:gd name="T88" fmla="*/ 4264 w 4973"/>
              <a:gd name="T89" fmla="*/ 5017 h 5865"/>
              <a:gd name="T90" fmla="*/ 3761 w 4973"/>
              <a:gd name="T91" fmla="*/ 5058 h 5865"/>
              <a:gd name="T92" fmla="*/ 3894 w 4973"/>
              <a:gd name="T93" fmla="*/ 5210 h 5865"/>
              <a:gd name="T94" fmla="*/ 3894 w 4973"/>
              <a:gd name="T95" fmla="*/ 5294 h 5865"/>
              <a:gd name="T96" fmla="*/ 3751 w 4973"/>
              <a:gd name="T97" fmla="*/ 5644 h 5865"/>
              <a:gd name="T98" fmla="*/ 3926 w 4973"/>
              <a:gd name="T99" fmla="*/ 5586 h 5865"/>
              <a:gd name="T100" fmla="*/ 4212 w 4973"/>
              <a:gd name="T101" fmla="*/ 5447 h 5865"/>
              <a:gd name="T102" fmla="*/ 4257 w 4973"/>
              <a:gd name="T103" fmla="*/ 5812 h 5865"/>
              <a:gd name="T104" fmla="*/ 4352 w 4973"/>
              <a:gd name="T105" fmla="*/ 5675 h 5865"/>
              <a:gd name="T106" fmla="*/ 4557 w 4973"/>
              <a:gd name="T107" fmla="*/ 5328 h 5865"/>
              <a:gd name="T108" fmla="*/ 4736 w 4973"/>
              <a:gd name="T109" fmla="*/ 5505 h 5865"/>
              <a:gd name="T110" fmla="*/ 4753 w 4973"/>
              <a:gd name="T111" fmla="*/ 5108 h 5865"/>
              <a:gd name="T112" fmla="*/ 4693 w 4973"/>
              <a:gd name="T113" fmla="*/ 4810 h 5865"/>
              <a:gd name="T114" fmla="*/ 4677 w 4973"/>
              <a:gd name="T115" fmla="*/ 4437 h 5865"/>
              <a:gd name="T116" fmla="*/ 4640 w 4973"/>
              <a:gd name="T117" fmla="*/ 4108 h 5865"/>
              <a:gd name="T118" fmla="*/ 4297 w 4973"/>
              <a:gd name="T119" fmla="*/ 3793 h 5865"/>
              <a:gd name="T120" fmla="*/ 4267 w 4973"/>
              <a:gd name="T121" fmla="*/ 3366 h 5865"/>
              <a:gd name="T122" fmla="*/ 4428 w 4973"/>
              <a:gd name="T123" fmla="*/ 2994 h 5865"/>
              <a:gd name="T124" fmla="*/ 4923 w 4973"/>
              <a:gd name="T125" fmla="*/ 2543 h 5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973" h="5865">
                <a:moveTo>
                  <a:pt x="4842" y="2253"/>
                </a:moveTo>
                <a:lnTo>
                  <a:pt x="4842" y="2253"/>
                </a:lnTo>
                <a:lnTo>
                  <a:pt x="4862" y="2257"/>
                </a:lnTo>
                <a:lnTo>
                  <a:pt x="4881" y="2259"/>
                </a:lnTo>
                <a:lnTo>
                  <a:pt x="4900" y="2260"/>
                </a:lnTo>
                <a:lnTo>
                  <a:pt x="4916" y="2259"/>
                </a:lnTo>
                <a:lnTo>
                  <a:pt x="4932" y="2257"/>
                </a:lnTo>
                <a:lnTo>
                  <a:pt x="4946" y="2254"/>
                </a:lnTo>
                <a:lnTo>
                  <a:pt x="4958" y="2249"/>
                </a:lnTo>
                <a:lnTo>
                  <a:pt x="4969" y="2243"/>
                </a:lnTo>
                <a:lnTo>
                  <a:pt x="4969" y="2243"/>
                </a:lnTo>
                <a:lnTo>
                  <a:pt x="4967" y="2217"/>
                </a:lnTo>
                <a:lnTo>
                  <a:pt x="4960" y="2157"/>
                </a:lnTo>
                <a:lnTo>
                  <a:pt x="4951" y="2084"/>
                </a:lnTo>
                <a:lnTo>
                  <a:pt x="4946" y="2052"/>
                </a:lnTo>
                <a:lnTo>
                  <a:pt x="4940" y="2024"/>
                </a:lnTo>
                <a:lnTo>
                  <a:pt x="4940" y="2024"/>
                </a:lnTo>
                <a:lnTo>
                  <a:pt x="4922" y="2027"/>
                </a:lnTo>
                <a:lnTo>
                  <a:pt x="4902" y="2030"/>
                </a:lnTo>
                <a:lnTo>
                  <a:pt x="4891" y="2030"/>
                </a:lnTo>
                <a:lnTo>
                  <a:pt x="4879" y="2030"/>
                </a:lnTo>
                <a:lnTo>
                  <a:pt x="4867" y="2029"/>
                </a:lnTo>
                <a:lnTo>
                  <a:pt x="4855" y="2027"/>
                </a:lnTo>
                <a:lnTo>
                  <a:pt x="4843" y="2024"/>
                </a:lnTo>
                <a:lnTo>
                  <a:pt x="4830" y="2020"/>
                </a:lnTo>
                <a:lnTo>
                  <a:pt x="4818" y="2015"/>
                </a:lnTo>
                <a:lnTo>
                  <a:pt x="4806" y="2008"/>
                </a:lnTo>
                <a:lnTo>
                  <a:pt x="4794" y="1998"/>
                </a:lnTo>
                <a:lnTo>
                  <a:pt x="4782" y="1988"/>
                </a:lnTo>
                <a:lnTo>
                  <a:pt x="4771" y="1976"/>
                </a:lnTo>
                <a:lnTo>
                  <a:pt x="4761" y="1962"/>
                </a:lnTo>
                <a:lnTo>
                  <a:pt x="4761" y="1962"/>
                </a:lnTo>
                <a:lnTo>
                  <a:pt x="4743" y="1933"/>
                </a:lnTo>
                <a:lnTo>
                  <a:pt x="4724" y="1905"/>
                </a:lnTo>
                <a:lnTo>
                  <a:pt x="4724" y="1905"/>
                </a:lnTo>
                <a:lnTo>
                  <a:pt x="4703" y="1877"/>
                </a:lnTo>
                <a:lnTo>
                  <a:pt x="4680" y="1849"/>
                </a:lnTo>
                <a:lnTo>
                  <a:pt x="4658" y="1823"/>
                </a:lnTo>
                <a:lnTo>
                  <a:pt x="4634" y="1797"/>
                </a:lnTo>
                <a:lnTo>
                  <a:pt x="4611" y="1773"/>
                </a:lnTo>
                <a:lnTo>
                  <a:pt x="4586" y="1750"/>
                </a:lnTo>
                <a:lnTo>
                  <a:pt x="4562" y="1727"/>
                </a:lnTo>
                <a:lnTo>
                  <a:pt x="4538" y="1707"/>
                </a:lnTo>
                <a:lnTo>
                  <a:pt x="4513" y="1687"/>
                </a:lnTo>
                <a:lnTo>
                  <a:pt x="4489" y="1667"/>
                </a:lnTo>
                <a:lnTo>
                  <a:pt x="4463" y="1649"/>
                </a:lnTo>
                <a:lnTo>
                  <a:pt x="4439" y="1630"/>
                </a:lnTo>
                <a:lnTo>
                  <a:pt x="4413" y="1614"/>
                </a:lnTo>
                <a:lnTo>
                  <a:pt x="4389" y="1598"/>
                </a:lnTo>
                <a:lnTo>
                  <a:pt x="4337" y="1566"/>
                </a:lnTo>
                <a:lnTo>
                  <a:pt x="4337" y="1566"/>
                </a:lnTo>
                <a:lnTo>
                  <a:pt x="4381" y="1543"/>
                </a:lnTo>
                <a:lnTo>
                  <a:pt x="4422" y="1521"/>
                </a:lnTo>
                <a:lnTo>
                  <a:pt x="4459" y="1498"/>
                </a:lnTo>
                <a:lnTo>
                  <a:pt x="4492" y="1477"/>
                </a:lnTo>
                <a:lnTo>
                  <a:pt x="4523" y="1455"/>
                </a:lnTo>
                <a:lnTo>
                  <a:pt x="4549" y="1434"/>
                </a:lnTo>
                <a:lnTo>
                  <a:pt x="4574" y="1414"/>
                </a:lnTo>
                <a:lnTo>
                  <a:pt x="4595" y="1393"/>
                </a:lnTo>
                <a:lnTo>
                  <a:pt x="4615" y="1374"/>
                </a:lnTo>
                <a:lnTo>
                  <a:pt x="4632" y="1355"/>
                </a:lnTo>
                <a:lnTo>
                  <a:pt x="4647" y="1337"/>
                </a:lnTo>
                <a:lnTo>
                  <a:pt x="4661" y="1319"/>
                </a:lnTo>
                <a:lnTo>
                  <a:pt x="4673" y="1303"/>
                </a:lnTo>
                <a:lnTo>
                  <a:pt x="4683" y="1288"/>
                </a:lnTo>
                <a:lnTo>
                  <a:pt x="4700" y="1260"/>
                </a:lnTo>
                <a:lnTo>
                  <a:pt x="4700" y="1260"/>
                </a:lnTo>
                <a:lnTo>
                  <a:pt x="4708" y="1248"/>
                </a:lnTo>
                <a:lnTo>
                  <a:pt x="4714" y="1234"/>
                </a:lnTo>
                <a:lnTo>
                  <a:pt x="4721" y="1218"/>
                </a:lnTo>
                <a:lnTo>
                  <a:pt x="4727" y="1202"/>
                </a:lnTo>
                <a:lnTo>
                  <a:pt x="4733" y="1183"/>
                </a:lnTo>
                <a:lnTo>
                  <a:pt x="4739" y="1164"/>
                </a:lnTo>
                <a:lnTo>
                  <a:pt x="4743" y="1144"/>
                </a:lnTo>
                <a:lnTo>
                  <a:pt x="4749" y="1123"/>
                </a:lnTo>
                <a:lnTo>
                  <a:pt x="4753" y="1101"/>
                </a:lnTo>
                <a:lnTo>
                  <a:pt x="4756" y="1078"/>
                </a:lnTo>
                <a:lnTo>
                  <a:pt x="4758" y="1054"/>
                </a:lnTo>
                <a:lnTo>
                  <a:pt x="4759" y="1030"/>
                </a:lnTo>
                <a:lnTo>
                  <a:pt x="4760" y="1005"/>
                </a:lnTo>
                <a:lnTo>
                  <a:pt x="4759" y="980"/>
                </a:lnTo>
                <a:lnTo>
                  <a:pt x="4758" y="954"/>
                </a:lnTo>
                <a:lnTo>
                  <a:pt x="4755" y="928"/>
                </a:lnTo>
                <a:lnTo>
                  <a:pt x="4751" y="902"/>
                </a:lnTo>
                <a:lnTo>
                  <a:pt x="4745" y="876"/>
                </a:lnTo>
                <a:lnTo>
                  <a:pt x="4738" y="849"/>
                </a:lnTo>
                <a:lnTo>
                  <a:pt x="4730" y="824"/>
                </a:lnTo>
                <a:lnTo>
                  <a:pt x="4720" y="797"/>
                </a:lnTo>
                <a:lnTo>
                  <a:pt x="4709" y="771"/>
                </a:lnTo>
                <a:lnTo>
                  <a:pt x="4695" y="746"/>
                </a:lnTo>
                <a:lnTo>
                  <a:pt x="4681" y="721"/>
                </a:lnTo>
                <a:lnTo>
                  <a:pt x="4665" y="697"/>
                </a:lnTo>
                <a:lnTo>
                  <a:pt x="4646" y="672"/>
                </a:lnTo>
                <a:lnTo>
                  <a:pt x="4625" y="649"/>
                </a:lnTo>
                <a:lnTo>
                  <a:pt x="4602" y="626"/>
                </a:lnTo>
                <a:lnTo>
                  <a:pt x="4578" y="605"/>
                </a:lnTo>
                <a:lnTo>
                  <a:pt x="4551" y="584"/>
                </a:lnTo>
                <a:lnTo>
                  <a:pt x="4522" y="565"/>
                </a:lnTo>
                <a:lnTo>
                  <a:pt x="4490" y="545"/>
                </a:lnTo>
                <a:lnTo>
                  <a:pt x="4490" y="545"/>
                </a:lnTo>
                <a:lnTo>
                  <a:pt x="4466" y="533"/>
                </a:lnTo>
                <a:lnTo>
                  <a:pt x="4443" y="522"/>
                </a:lnTo>
                <a:lnTo>
                  <a:pt x="4419" y="512"/>
                </a:lnTo>
                <a:lnTo>
                  <a:pt x="4396" y="503"/>
                </a:lnTo>
                <a:lnTo>
                  <a:pt x="4372" y="494"/>
                </a:lnTo>
                <a:lnTo>
                  <a:pt x="4348" y="487"/>
                </a:lnTo>
                <a:lnTo>
                  <a:pt x="4325" y="481"/>
                </a:lnTo>
                <a:lnTo>
                  <a:pt x="4302" y="476"/>
                </a:lnTo>
                <a:lnTo>
                  <a:pt x="4278" y="471"/>
                </a:lnTo>
                <a:lnTo>
                  <a:pt x="4256" y="468"/>
                </a:lnTo>
                <a:lnTo>
                  <a:pt x="4233" y="465"/>
                </a:lnTo>
                <a:lnTo>
                  <a:pt x="4211" y="463"/>
                </a:lnTo>
                <a:lnTo>
                  <a:pt x="4188" y="461"/>
                </a:lnTo>
                <a:lnTo>
                  <a:pt x="4167" y="461"/>
                </a:lnTo>
                <a:lnTo>
                  <a:pt x="4145" y="461"/>
                </a:lnTo>
                <a:lnTo>
                  <a:pt x="4124" y="461"/>
                </a:lnTo>
                <a:lnTo>
                  <a:pt x="4083" y="464"/>
                </a:lnTo>
                <a:lnTo>
                  <a:pt x="4044" y="468"/>
                </a:lnTo>
                <a:lnTo>
                  <a:pt x="4007" y="474"/>
                </a:lnTo>
                <a:lnTo>
                  <a:pt x="3973" y="482"/>
                </a:lnTo>
                <a:lnTo>
                  <a:pt x="3941" y="490"/>
                </a:lnTo>
                <a:lnTo>
                  <a:pt x="3912" y="499"/>
                </a:lnTo>
                <a:lnTo>
                  <a:pt x="3887" y="510"/>
                </a:lnTo>
                <a:lnTo>
                  <a:pt x="3864" y="519"/>
                </a:lnTo>
                <a:lnTo>
                  <a:pt x="3864" y="519"/>
                </a:lnTo>
                <a:lnTo>
                  <a:pt x="3844" y="529"/>
                </a:lnTo>
                <a:lnTo>
                  <a:pt x="3824" y="539"/>
                </a:lnTo>
                <a:lnTo>
                  <a:pt x="3806" y="551"/>
                </a:lnTo>
                <a:lnTo>
                  <a:pt x="3787" y="562"/>
                </a:lnTo>
                <a:lnTo>
                  <a:pt x="3769" y="575"/>
                </a:lnTo>
                <a:lnTo>
                  <a:pt x="3752" y="587"/>
                </a:lnTo>
                <a:lnTo>
                  <a:pt x="3735" y="602"/>
                </a:lnTo>
                <a:lnTo>
                  <a:pt x="3719" y="616"/>
                </a:lnTo>
                <a:lnTo>
                  <a:pt x="3703" y="631"/>
                </a:lnTo>
                <a:lnTo>
                  <a:pt x="3687" y="647"/>
                </a:lnTo>
                <a:lnTo>
                  <a:pt x="3673" y="663"/>
                </a:lnTo>
                <a:lnTo>
                  <a:pt x="3659" y="679"/>
                </a:lnTo>
                <a:lnTo>
                  <a:pt x="3645" y="697"/>
                </a:lnTo>
                <a:lnTo>
                  <a:pt x="3633" y="715"/>
                </a:lnTo>
                <a:lnTo>
                  <a:pt x="3621" y="734"/>
                </a:lnTo>
                <a:lnTo>
                  <a:pt x="3609" y="753"/>
                </a:lnTo>
                <a:lnTo>
                  <a:pt x="3599" y="772"/>
                </a:lnTo>
                <a:lnTo>
                  <a:pt x="3589" y="793"/>
                </a:lnTo>
                <a:lnTo>
                  <a:pt x="3581" y="813"/>
                </a:lnTo>
                <a:lnTo>
                  <a:pt x="3573" y="835"/>
                </a:lnTo>
                <a:lnTo>
                  <a:pt x="3565" y="856"/>
                </a:lnTo>
                <a:lnTo>
                  <a:pt x="3559" y="879"/>
                </a:lnTo>
                <a:lnTo>
                  <a:pt x="3554" y="901"/>
                </a:lnTo>
                <a:lnTo>
                  <a:pt x="3550" y="924"/>
                </a:lnTo>
                <a:lnTo>
                  <a:pt x="3547" y="947"/>
                </a:lnTo>
                <a:lnTo>
                  <a:pt x="3545" y="972"/>
                </a:lnTo>
                <a:lnTo>
                  <a:pt x="3544" y="996"/>
                </a:lnTo>
                <a:lnTo>
                  <a:pt x="3543" y="1021"/>
                </a:lnTo>
                <a:lnTo>
                  <a:pt x="3544" y="1046"/>
                </a:lnTo>
                <a:lnTo>
                  <a:pt x="3546" y="1072"/>
                </a:lnTo>
                <a:lnTo>
                  <a:pt x="3550" y="1098"/>
                </a:lnTo>
                <a:lnTo>
                  <a:pt x="3554" y="1124"/>
                </a:lnTo>
                <a:lnTo>
                  <a:pt x="3554" y="1124"/>
                </a:lnTo>
                <a:lnTo>
                  <a:pt x="3559" y="1148"/>
                </a:lnTo>
                <a:lnTo>
                  <a:pt x="3564" y="1169"/>
                </a:lnTo>
                <a:lnTo>
                  <a:pt x="3571" y="1191"/>
                </a:lnTo>
                <a:lnTo>
                  <a:pt x="3577" y="1211"/>
                </a:lnTo>
                <a:lnTo>
                  <a:pt x="3585" y="1231"/>
                </a:lnTo>
                <a:lnTo>
                  <a:pt x="3592" y="1249"/>
                </a:lnTo>
                <a:lnTo>
                  <a:pt x="3601" y="1267"/>
                </a:lnTo>
                <a:lnTo>
                  <a:pt x="3610" y="1285"/>
                </a:lnTo>
                <a:lnTo>
                  <a:pt x="3620" y="1301"/>
                </a:lnTo>
                <a:lnTo>
                  <a:pt x="3631" y="1316"/>
                </a:lnTo>
                <a:lnTo>
                  <a:pt x="3641" y="1332"/>
                </a:lnTo>
                <a:lnTo>
                  <a:pt x="3652" y="1347"/>
                </a:lnTo>
                <a:lnTo>
                  <a:pt x="3665" y="1361"/>
                </a:lnTo>
                <a:lnTo>
                  <a:pt x="3677" y="1375"/>
                </a:lnTo>
                <a:lnTo>
                  <a:pt x="3690" y="1388"/>
                </a:lnTo>
                <a:lnTo>
                  <a:pt x="3704" y="1400"/>
                </a:lnTo>
                <a:lnTo>
                  <a:pt x="3732" y="1425"/>
                </a:lnTo>
                <a:lnTo>
                  <a:pt x="3763" y="1447"/>
                </a:lnTo>
                <a:lnTo>
                  <a:pt x="3795" y="1469"/>
                </a:lnTo>
                <a:lnTo>
                  <a:pt x="3828" y="1489"/>
                </a:lnTo>
                <a:lnTo>
                  <a:pt x="3863" y="1510"/>
                </a:lnTo>
                <a:lnTo>
                  <a:pt x="3899" y="1529"/>
                </a:lnTo>
                <a:lnTo>
                  <a:pt x="3976" y="1567"/>
                </a:lnTo>
                <a:lnTo>
                  <a:pt x="3976" y="1567"/>
                </a:lnTo>
                <a:lnTo>
                  <a:pt x="3945" y="1584"/>
                </a:lnTo>
                <a:lnTo>
                  <a:pt x="3916" y="1601"/>
                </a:lnTo>
                <a:lnTo>
                  <a:pt x="3890" y="1618"/>
                </a:lnTo>
                <a:lnTo>
                  <a:pt x="3864" y="1636"/>
                </a:lnTo>
                <a:lnTo>
                  <a:pt x="3840" y="1656"/>
                </a:lnTo>
                <a:lnTo>
                  <a:pt x="3817" y="1675"/>
                </a:lnTo>
                <a:lnTo>
                  <a:pt x="3797" y="1696"/>
                </a:lnTo>
                <a:lnTo>
                  <a:pt x="3778" y="1717"/>
                </a:lnTo>
                <a:lnTo>
                  <a:pt x="3761" y="1741"/>
                </a:lnTo>
                <a:lnTo>
                  <a:pt x="3754" y="1753"/>
                </a:lnTo>
                <a:lnTo>
                  <a:pt x="3746" y="1765"/>
                </a:lnTo>
                <a:lnTo>
                  <a:pt x="3739" y="1778"/>
                </a:lnTo>
                <a:lnTo>
                  <a:pt x="3733" y="1791"/>
                </a:lnTo>
                <a:lnTo>
                  <a:pt x="3728" y="1804"/>
                </a:lnTo>
                <a:lnTo>
                  <a:pt x="3723" y="1818"/>
                </a:lnTo>
                <a:lnTo>
                  <a:pt x="3718" y="1833"/>
                </a:lnTo>
                <a:lnTo>
                  <a:pt x="3714" y="1848"/>
                </a:lnTo>
                <a:lnTo>
                  <a:pt x="3711" y="1863"/>
                </a:lnTo>
                <a:lnTo>
                  <a:pt x="3708" y="1879"/>
                </a:lnTo>
                <a:lnTo>
                  <a:pt x="3706" y="1895"/>
                </a:lnTo>
                <a:lnTo>
                  <a:pt x="3705" y="1912"/>
                </a:lnTo>
                <a:lnTo>
                  <a:pt x="3704" y="1930"/>
                </a:lnTo>
                <a:lnTo>
                  <a:pt x="3703" y="1947"/>
                </a:lnTo>
                <a:lnTo>
                  <a:pt x="3703" y="1947"/>
                </a:lnTo>
                <a:lnTo>
                  <a:pt x="3704" y="1970"/>
                </a:lnTo>
                <a:lnTo>
                  <a:pt x="3707" y="1993"/>
                </a:lnTo>
                <a:lnTo>
                  <a:pt x="3711" y="2016"/>
                </a:lnTo>
                <a:lnTo>
                  <a:pt x="3716" y="2039"/>
                </a:lnTo>
                <a:lnTo>
                  <a:pt x="3729" y="2087"/>
                </a:lnTo>
                <a:lnTo>
                  <a:pt x="3736" y="2113"/>
                </a:lnTo>
                <a:lnTo>
                  <a:pt x="3742" y="2139"/>
                </a:lnTo>
                <a:lnTo>
                  <a:pt x="3749" y="2168"/>
                </a:lnTo>
                <a:lnTo>
                  <a:pt x="3753" y="2197"/>
                </a:lnTo>
                <a:lnTo>
                  <a:pt x="3757" y="2227"/>
                </a:lnTo>
                <a:lnTo>
                  <a:pt x="3758" y="2260"/>
                </a:lnTo>
                <a:lnTo>
                  <a:pt x="3758" y="2295"/>
                </a:lnTo>
                <a:lnTo>
                  <a:pt x="3757" y="2313"/>
                </a:lnTo>
                <a:lnTo>
                  <a:pt x="3755" y="2332"/>
                </a:lnTo>
                <a:lnTo>
                  <a:pt x="3753" y="2350"/>
                </a:lnTo>
                <a:lnTo>
                  <a:pt x="3750" y="2371"/>
                </a:lnTo>
                <a:lnTo>
                  <a:pt x="3745" y="2391"/>
                </a:lnTo>
                <a:lnTo>
                  <a:pt x="3741" y="2411"/>
                </a:lnTo>
                <a:lnTo>
                  <a:pt x="3741" y="2411"/>
                </a:lnTo>
                <a:lnTo>
                  <a:pt x="3741" y="2413"/>
                </a:lnTo>
                <a:lnTo>
                  <a:pt x="3741" y="2414"/>
                </a:lnTo>
                <a:lnTo>
                  <a:pt x="3743" y="2414"/>
                </a:lnTo>
                <a:lnTo>
                  <a:pt x="3745" y="2416"/>
                </a:lnTo>
                <a:lnTo>
                  <a:pt x="3753" y="2413"/>
                </a:lnTo>
                <a:lnTo>
                  <a:pt x="3762" y="2411"/>
                </a:lnTo>
                <a:lnTo>
                  <a:pt x="3785" y="2401"/>
                </a:lnTo>
                <a:lnTo>
                  <a:pt x="3814" y="2389"/>
                </a:lnTo>
                <a:lnTo>
                  <a:pt x="3842" y="2374"/>
                </a:lnTo>
                <a:lnTo>
                  <a:pt x="3867" y="2360"/>
                </a:lnTo>
                <a:lnTo>
                  <a:pt x="3886" y="2349"/>
                </a:lnTo>
                <a:lnTo>
                  <a:pt x="3891" y="2345"/>
                </a:lnTo>
                <a:lnTo>
                  <a:pt x="3894" y="2343"/>
                </a:lnTo>
                <a:lnTo>
                  <a:pt x="3894" y="2343"/>
                </a:lnTo>
                <a:lnTo>
                  <a:pt x="3903" y="2319"/>
                </a:lnTo>
                <a:lnTo>
                  <a:pt x="3910" y="2296"/>
                </a:lnTo>
                <a:lnTo>
                  <a:pt x="3916" y="2272"/>
                </a:lnTo>
                <a:lnTo>
                  <a:pt x="3921" y="2248"/>
                </a:lnTo>
                <a:lnTo>
                  <a:pt x="3925" y="2224"/>
                </a:lnTo>
                <a:lnTo>
                  <a:pt x="3928" y="2201"/>
                </a:lnTo>
                <a:lnTo>
                  <a:pt x="3930" y="2178"/>
                </a:lnTo>
                <a:lnTo>
                  <a:pt x="3932" y="2156"/>
                </a:lnTo>
                <a:lnTo>
                  <a:pt x="3932" y="2117"/>
                </a:lnTo>
                <a:lnTo>
                  <a:pt x="3931" y="2086"/>
                </a:lnTo>
                <a:lnTo>
                  <a:pt x="3928" y="2059"/>
                </a:lnTo>
                <a:lnTo>
                  <a:pt x="3928" y="2059"/>
                </a:lnTo>
                <a:lnTo>
                  <a:pt x="3939" y="2068"/>
                </a:lnTo>
                <a:lnTo>
                  <a:pt x="3947" y="2079"/>
                </a:lnTo>
                <a:lnTo>
                  <a:pt x="3954" y="2091"/>
                </a:lnTo>
                <a:lnTo>
                  <a:pt x="3960" y="2105"/>
                </a:lnTo>
                <a:lnTo>
                  <a:pt x="3964" y="2120"/>
                </a:lnTo>
                <a:lnTo>
                  <a:pt x="3968" y="2135"/>
                </a:lnTo>
                <a:lnTo>
                  <a:pt x="3971" y="2152"/>
                </a:lnTo>
                <a:lnTo>
                  <a:pt x="3973" y="2168"/>
                </a:lnTo>
                <a:lnTo>
                  <a:pt x="3975" y="2185"/>
                </a:lnTo>
                <a:lnTo>
                  <a:pt x="3976" y="2203"/>
                </a:lnTo>
                <a:lnTo>
                  <a:pt x="3976" y="2219"/>
                </a:lnTo>
                <a:lnTo>
                  <a:pt x="3975" y="2237"/>
                </a:lnTo>
                <a:lnTo>
                  <a:pt x="3971" y="2268"/>
                </a:lnTo>
                <a:lnTo>
                  <a:pt x="3965" y="2297"/>
                </a:lnTo>
                <a:lnTo>
                  <a:pt x="3965" y="2297"/>
                </a:lnTo>
                <a:lnTo>
                  <a:pt x="3982" y="2288"/>
                </a:lnTo>
                <a:lnTo>
                  <a:pt x="3998" y="2276"/>
                </a:lnTo>
                <a:lnTo>
                  <a:pt x="4016" y="2263"/>
                </a:lnTo>
                <a:lnTo>
                  <a:pt x="4036" y="2249"/>
                </a:lnTo>
                <a:lnTo>
                  <a:pt x="4053" y="2234"/>
                </a:lnTo>
                <a:lnTo>
                  <a:pt x="4061" y="2226"/>
                </a:lnTo>
                <a:lnTo>
                  <a:pt x="4068" y="2219"/>
                </a:lnTo>
                <a:lnTo>
                  <a:pt x="4072" y="2212"/>
                </a:lnTo>
                <a:lnTo>
                  <a:pt x="4075" y="2206"/>
                </a:lnTo>
                <a:lnTo>
                  <a:pt x="4075" y="2206"/>
                </a:lnTo>
                <a:lnTo>
                  <a:pt x="4083" y="2176"/>
                </a:lnTo>
                <a:lnTo>
                  <a:pt x="4090" y="2148"/>
                </a:lnTo>
                <a:lnTo>
                  <a:pt x="4094" y="2121"/>
                </a:lnTo>
                <a:lnTo>
                  <a:pt x="4096" y="2095"/>
                </a:lnTo>
                <a:lnTo>
                  <a:pt x="4096" y="2071"/>
                </a:lnTo>
                <a:lnTo>
                  <a:pt x="4095" y="2047"/>
                </a:lnTo>
                <a:lnTo>
                  <a:pt x="4093" y="2025"/>
                </a:lnTo>
                <a:lnTo>
                  <a:pt x="4090" y="2003"/>
                </a:lnTo>
                <a:lnTo>
                  <a:pt x="4085" y="1983"/>
                </a:lnTo>
                <a:lnTo>
                  <a:pt x="4080" y="1964"/>
                </a:lnTo>
                <a:lnTo>
                  <a:pt x="4075" y="1945"/>
                </a:lnTo>
                <a:lnTo>
                  <a:pt x="4069" y="1928"/>
                </a:lnTo>
                <a:lnTo>
                  <a:pt x="4055" y="1894"/>
                </a:lnTo>
                <a:lnTo>
                  <a:pt x="4043" y="1862"/>
                </a:lnTo>
                <a:lnTo>
                  <a:pt x="4043" y="1862"/>
                </a:lnTo>
                <a:lnTo>
                  <a:pt x="4038" y="1847"/>
                </a:lnTo>
                <a:lnTo>
                  <a:pt x="4035" y="1832"/>
                </a:lnTo>
                <a:lnTo>
                  <a:pt x="4034" y="1817"/>
                </a:lnTo>
                <a:lnTo>
                  <a:pt x="4035" y="1802"/>
                </a:lnTo>
                <a:lnTo>
                  <a:pt x="4037" y="1788"/>
                </a:lnTo>
                <a:lnTo>
                  <a:pt x="4041" y="1773"/>
                </a:lnTo>
                <a:lnTo>
                  <a:pt x="4046" y="1759"/>
                </a:lnTo>
                <a:lnTo>
                  <a:pt x="4053" y="1746"/>
                </a:lnTo>
                <a:lnTo>
                  <a:pt x="4061" y="1733"/>
                </a:lnTo>
                <a:lnTo>
                  <a:pt x="4071" y="1719"/>
                </a:lnTo>
                <a:lnTo>
                  <a:pt x="4081" y="1707"/>
                </a:lnTo>
                <a:lnTo>
                  <a:pt x="4092" y="1696"/>
                </a:lnTo>
                <a:lnTo>
                  <a:pt x="4103" y="1684"/>
                </a:lnTo>
                <a:lnTo>
                  <a:pt x="4117" y="1673"/>
                </a:lnTo>
                <a:lnTo>
                  <a:pt x="4130" y="1664"/>
                </a:lnTo>
                <a:lnTo>
                  <a:pt x="4145" y="1655"/>
                </a:lnTo>
                <a:lnTo>
                  <a:pt x="4145" y="1655"/>
                </a:lnTo>
                <a:lnTo>
                  <a:pt x="4180" y="1674"/>
                </a:lnTo>
                <a:lnTo>
                  <a:pt x="4215" y="1695"/>
                </a:lnTo>
                <a:lnTo>
                  <a:pt x="4251" y="1716"/>
                </a:lnTo>
                <a:lnTo>
                  <a:pt x="4286" y="1740"/>
                </a:lnTo>
                <a:lnTo>
                  <a:pt x="4286" y="1740"/>
                </a:lnTo>
                <a:lnTo>
                  <a:pt x="4307" y="1754"/>
                </a:lnTo>
                <a:lnTo>
                  <a:pt x="4341" y="1779"/>
                </a:lnTo>
                <a:lnTo>
                  <a:pt x="4361" y="1794"/>
                </a:lnTo>
                <a:lnTo>
                  <a:pt x="4382" y="1812"/>
                </a:lnTo>
                <a:lnTo>
                  <a:pt x="4405" y="1832"/>
                </a:lnTo>
                <a:lnTo>
                  <a:pt x="4430" y="1853"/>
                </a:lnTo>
                <a:lnTo>
                  <a:pt x="4453" y="1877"/>
                </a:lnTo>
                <a:lnTo>
                  <a:pt x="4478" y="1901"/>
                </a:lnTo>
                <a:lnTo>
                  <a:pt x="4501" y="1928"/>
                </a:lnTo>
                <a:lnTo>
                  <a:pt x="4524" y="1956"/>
                </a:lnTo>
                <a:lnTo>
                  <a:pt x="4545" y="1985"/>
                </a:lnTo>
                <a:lnTo>
                  <a:pt x="4564" y="2016"/>
                </a:lnTo>
                <a:lnTo>
                  <a:pt x="4574" y="2031"/>
                </a:lnTo>
                <a:lnTo>
                  <a:pt x="4582" y="2047"/>
                </a:lnTo>
                <a:lnTo>
                  <a:pt x="4590" y="2064"/>
                </a:lnTo>
                <a:lnTo>
                  <a:pt x="4596" y="2080"/>
                </a:lnTo>
                <a:lnTo>
                  <a:pt x="4596" y="2080"/>
                </a:lnTo>
                <a:lnTo>
                  <a:pt x="4606" y="2106"/>
                </a:lnTo>
                <a:lnTo>
                  <a:pt x="4616" y="2130"/>
                </a:lnTo>
                <a:lnTo>
                  <a:pt x="4624" y="2155"/>
                </a:lnTo>
                <a:lnTo>
                  <a:pt x="4630" y="2178"/>
                </a:lnTo>
                <a:lnTo>
                  <a:pt x="4636" y="2202"/>
                </a:lnTo>
                <a:lnTo>
                  <a:pt x="4641" y="2224"/>
                </a:lnTo>
                <a:lnTo>
                  <a:pt x="4645" y="2246"/>
                </a:lnTo>
                <a:lnTo>
                  <a:pt x="4649" y="2266"/>
                </a:lnTo>
                <a:lnTo>
                  <a:pt x="4651" y="2287"/>
                </a:lnTo>
                <a:lnTo>
                  <a:pt x="4653" y="2306"/>
                </a:lnTo>
                <a:lnTo>
                  <a:pt x="4654" y="2325"/>
                </a:lnTo>
                <a:lnTo>
                  <a:pt x="4655" y="2343"/>
                </a:lnTo>
                <a:lnTo>
                  <a:pt x="4654" y="2377"/>
                </a:lnTo>
                <a:lnTo>
                  <a:pt x="4652" y="2408"/>
                </a:lnTo>
                <a:lnTo>
                  <a:pt x="4648" y="2437"/>
                </a:lnTo>
                <a:lnTo>
                  <a:pt x="4642" y="2464"/>
                </a:lnTo>
                <a:lnTo>
                  <a:pt x="4635" y="2487"/>
                </a:lnTo>
                <a:lnTo>
                  <a:pt x="4628" y="2509"/>
                </a:lnTo>
                <a:lnTo>
                  <a:pt x="4620" y="2527"/>
                </a:lnTo>
                <a:lnTo>
                  <a:pt x="4612" y="2544"/>
                </a:lnTo>
                <a:lnTo>
                  <a:pt x="4603" y="2559"/>
                </a:lnTo>
                <a:lnTo>
                  <a:pt x="4596" y="2570"/>
                </a:lnTo>
                <a:lnTo>
                  <a:pt x="4596" y="2570"/>
                </a:lnTo>
                <a:lnTo>
                  <a:pt x="4582" y="2590"/>
                </a:lnTo>
                <a:lnTo>
                  <a:pt x="4568" y="2611"/>
                </a:lnTo>
                <a:lnTo>
                  <a:pt x="4553" y="2629"/>
                </a:lnTo>
                <a:lnTo>
                  <a:pt x="4538" y="2648"/>
                </a:lnTo>
                <a:lnTo>
                  <a:pt x="4522" y="2665"/>
                </a:lnTo>
                <a:lnTo>
                  <a:pt x="4505" y="2681"/>
                </a:lnTo>
                <a:lnTo>
                  <a:pt x="4487" y="2697"/>
                </a:lnTo>
                <a:lnTo>
                  <a:pt x="4469" y="2711"/>
                </a:lnTo>
                <a:lnTo>
                  <a:pt x="4450" y="2724"/>
                </a:lnTo>
                <a:lnTo>
                  <a:pt x="4430" y="2736"/>
                </a:lnTo>
                <a:lnTo>
                  <a:pt x="4409" y="2747"/>
                </a:lnTo>
                <a:lnTo>
                  <a:pt x="4388" y="2756"/>
                </a:lnTo>
                <a:lnTo>
                  <a:pt x="4364" y="2764"/>
                </a:lnTo>
                <a:lnTo>
                  <a:pt x="4341" y="2771"/>
                </a:lnTo>
                <a:lnTo>
                  <a:pt x="4316" y="2776"/>
                </a:lnTo>
                <a:lnTo>
                  <a:pt x="4290" y="2779"/>
                </a:lnTo>
                <a:lnTo>
                  <a:pt x="4290" y="2779"/>
                </a:lnTo>
                <a:lnTo>
                  <a:pt x="4283" y="2778"/>
                </a:lnTo>
                <a:lnTo>
                  <a:pt x="4275" y="2778"/>
                </a:lnTo>
                <a:lnTo>
                  <a:pt x="4275" y="2778"/>
                </a:lnTo>
                <a:lnTo>
                  <a:pt x="4242" y="2779"/>
                </a:lnTo>
                <a:lnTo>
                  <a:pt x="4213" y="2779"/>
                </a:lnTo>
                <a:lnTo>
                  <a:pt x="4185" y="2778"/>
                </a:lnTo>
                <a:lnTo>
                  <a:pt x="4159" y="2775"/>
                </a:lnTo>
                <a:lnTo>
                  <a:pt x="4159" y="2775"/>
                </a:lnTo>
                <a:lnTo>
                  <a:pt x="4131" y="2770"/>
                </a:lnTo>
                <a:lnTo>
                  <a:pt x="4103" y="2765"/>
                </a:lnTo>
                <a:lnTo>
                  <a:pt x="4077" y="2758"/>
                </a:lnTo>
                <a:lnTo>
                  <a:pt x="4052" y="2751"/>
                </a:lnTo>
                <a:lnTo>
                  <a:pt x="4052" y="2751"/>
                </a:lnTo>
                <a:lnTo>
                  <a:pt x="4009" y="2736"/>
                </a:lnTo>
                <a:lnTo>
                  <a:pt x="3965" y="2717"/>
                </a:lnTo>
                <a:lnTo>
                  <a:pt x="3965" y="2717"/>
                </a:lnTo>
                <a:lnTo>
                  <a:pt x="3925" y="2697"/>
                </a:lnTo>
                <a:lnTo>
                  <a:pt x="3874" y="2669"/>
                </a:lnTo>
                <a:lnTo>
                  <a:pt x="3846" y="2652"/>
                </a:lnTo>
                <a:lnTo>
                  <a:pt x="3815" y="2632"/>
                </a:lnTo>
                <a:lnTo>
                  <a:pt x="3782" y="2612"/>
                </a:lnTo>
                <a:lnTo>
                  <a:pt x="3748" y="2588"/>
                </a:lnTo>
                <a:lnTo>
                  <a:pt x="3712" y="2564"/>
                </a:lnTo>
                <a:lnTo>
                  <a:pt x="3676" y="2536"/>
                </a:lnTo>
                <a:lnTo>
                  <a:pt x="3638" y="2508"/>
                </a:lnTo>
                <a:lnTo>
                  <a:pt x="3601" y="2477"/>
                </a:lnTo>
                <a:lnTo>
                  <a:pt x="3563" y="2444"/>
                </a:lnTo>
                <a:lnTo>
                  <a:pt x="3526" y="2409"/>
                </a:lnTo>
                <a:lnTo>
                  <a:pt x="3488" y="2373"/>
                </a:lnTo>
                <a:lnTo>
                  <a:pt x="3451" y="2335"/>
                </a:lnTo>
                <a:lnTo>
                  <a:pt x="3451" y="2335"/>
                </a:lnTo>
                <a:lnTo>
                  <a:pt x="3394" y="2271"/>
                </a:lnTo>
                <a:lnTo>
                  <a:pt x="3342" y="2212"/>
                </a:lnTo>
                <a:lnTo>
                  <a:pt x="3295" y="2157"/>
                </a:lnTo>
                <a:lnTo>
                  <a:pt x="3253" y="2107"/>
                </a:lnTo>
                <a:lnTo>
                  <a:pt x="3215" y="2060"/>
                </a:lnTo>
                <a:lnTo>
                  <a:pt x="3180" y="2017"/>
                </a:lnTo>
                <a:lnTo>
                  <a:pt x="3120" y="1940"/>
                </a:lnTo>
                <a:lnTo>
                  <a:pt x="3120" y="1940"/>
                </a:lnTo>
                <a:lnTo>
                  <a:pt x="3138" y="1947"/>
                </a:lnTo>
                <a:lnTo>
                  <a:pt x="3156" y="1953"/>
                </a:lnTo>
                <a:lnTo>
                  <a:pt x="3175" y="1958"/>
                </a:lnTo>
                <a:lnTo>
                  <a:pt x="3193" y="1963"/>
                </a:lnTo>
                <a:lnTo>
                  <a:pt x="3211" y="1966"/>
                </a:lnTo>
                <a:lnTo>
                  <a:pt x="3229" y="1968"/>
                </a:lnTo>
                <a:lnTo>
                  <a:pt x="3262" y="1971"/>
                </a:lnTo>
                <a:lnTo>
                  <a:pt x="3289" y="1971"/>
                </a:lnTo>
                <a:lnTo>
                  <a:pt x="3312" y="1970"/>
                </a:lnTo>
                <a:lnTo>
                  <a:pt x="3332" y="1968"/>
                </a:lnTo>
                <a:lnTo>
                  <a:pt x="3332" y="1968"/>
                </a:lnTo>
                <a:lnTo>
                  <a:pt x="3336" y="1918"/>
                </a:lnTo>
                <a:lnTo>
                  <a:pt x="3338" y="1873"/>
                </a:lnTo>
                <a:lnTo>
                  <a:pt x="3340" y="1833"/>
                </a:lnTo>
                <a:lnTo>
                  <a:pt x="3346" y="1698"/>
                </a:lnTo>
                <a:lnTo>
                  <a:pt x="3346" y="1698"/>
                </a:lnTo>
                <a:lnTo>
                  <a:pt x="3349" y="1661"/>
                </a:lnTo>
                <a:lnTo>
                  <a:pt x="3351" y="1626"/>
                </a:lnTo>
                <a:lnTo>
                  <a:pt x="3352" y="1589"/>
                </a:lnTo>
                <a:lnTo>
                  <a:pt x="3352" y="1589"/>
                </a:lnTo>
                <a:lnTo>
                  <a:pt x="3340" y="1588"/>
                </a:lnTo>
                <a:lnTo>
                  <a:pt x="3307" y="1584"/>
                </a:lnTo>
                <a:lnTo>
                  <a:pt x="3285" y="1581"/>
                </a:lnTo>
                <a:lnTo>
                  <a:pt x="3260" y="1576"/>
                </a:lnTo>
                <a:lnTo>
                  <a:pt x="3233" y="1571"/>
                </a:lnTo>
                <a:lnTo>
                  <a:pt x="3206" y="1564"/>
                </a:lnTo>
                <a:lnTo>
                  <a:pt x="3176" y="1555"/>
                </a:lnTo>
                <a:lnTo>
                  <a:pt x="3147" y="1544"/>
                </a:lnTo>
                <a:lnTo>
                  <a:pt x="3120" y="1532"/>
                </a:lnTo>
                <a:lnTo>
                  <a:pt x="3106" y="1526"/>
                </a:lnTo>
                <a:lnTo>
                  <a:pt x="3093" y="1519"/>
                </a:lnTo>
                <a:lnTo>
                  <a:pt x="3081" y="1511"/>
                </a:lnTo>
                <a:lnTo>
                  <a:pt x="3070" y="1502"/>
                </a:lnTo>
                <a:lnTo>
                  <a:pt x="3058" y="1493"/>
                </a:lnTo>
                <a:lnTo>
                  <a:pt x="3049" y="1484"/>
                </a:lnTo>
                <a:lnTo>
                  <a:pt x="3040" y="1474"/>
                </a:lnTo>
                <a:lnTo>
                  <a:pt x="3032" y="1463"/>
                </a:lnTo>
                <a:lnTo>
                  <a:pt x="3025" y="1451"/>
                </a:lnTo>
                <a:lnTo>
                  <a:pt x="3019" y="1439"/>
                </a:lnTo>
                <a:lnTo>
                  <a:pt x="3019" y="1439"/>
                </a:lnTo>
                <a:lnTo>
                  <a:pt x="3030" y="1445"/>
                </a:lnTo>
                <a:lnTo>
                  <a:pt x="3042" y="1450"/>
                </a:lnTo>
                <a:lnTo>
                  <a:pt x="3059" y="1457"/>
                </a:lnTo>
                <a:lnTo>
                  <a:pt x="3081" y="1465"/>
                </a:lnTo>
                <a:lnTo>
                  <a:pt x="3106" y="1472"/>
                </a:lnTo>
                <a:lnTo>
                  <a:pt x="3136" y="1477"/>
                </a:lnTo>
                <a:lnTo>
                  <a:pt x="3152" y="1479"/>
                </a:lnTo>
                <a:lnTo>
                  <a:pt x="3169" y="1480"/>
                </a:lnTo>
                <a:lnTo>
                  <a:pt x="3169" y="1480"/>
                </a:lnTo>
                <a:lnTo>
                  <a:pt x="3201" y="1481"/>
                </a:lnTo>
                <a:lnTo>
                  <a:pt x="3234" y="1481"/>
                </a:lnTo>
                <a:lnTo>
                  <a:pt x="3266" y="1479"/>
                </a:lnTo>
                <a:lnTo>
                  <a:pt x="3295" y="1477"/>
                </a:lnTo>
                <a:lnTo>
                  <a:pt x="3340" y="1471"/>
                </a:lnTo>
                <a:lnTo>
                  <a:pt x="3357" y="1469"/>
                </a:lnTo>
                <a:lnTo>
                  <a:pt x="3357" y="1469"/>
                </a:lnTo>
                <a:lnTo>
                  <a:pt x="3359" y="1463"/>
                </a:lnTo>
                <a:lnTo>
                  <a:pt x="3361" y="1451"/>
                </a:lnTo>
                <a:lnTo>
                  <a:pt x="3364" y="1421"/>
                </a:lnTo>
                <a:lnTo>
                  <a:pt x="3367" y="1381"/>
                </a:lnTo>
                <a:lnTo>
                  <a:pt x="3369" y="1337"/>
                </a:lnTo>
                <a:lnTo>
                  <a:pt x="3373" y="1257"/>
                </a:lnTo>
                <a:lnTo>
                  <a:pt x="3375" y="1222"/>
                </a:lnTo>
                <a:lnTo>
                  <a:pt x="3375" y="1222"/>
                </a:lnTo>
                <a:lnTo>
                  <a:pt x="3376" y="1194"/>
                </a:lnTo>
                <a:lnTo>
                  <a:pt x="3377" y="1154"/>
                </a:lnTo>
                <a:lnTo>
                  <a:pt x="3377" y="1105"/>
                </a:lnTo>
                <a:lnTo>
                  <a:pt x="3377" y="1105"/>
                </a:lnTo>
                <a:lnTo>
                  <a:pt x="3369" y="1107"/>
                </a:lnTo>
                <a:lnTo>
                  <a:pt x="3359" y="1108"/>
                </a:lnTo>
                <a:lnTo>
                  <a:pt x="3338" y="1110"/>
                </a:lnTo>
                <a:lnTo>
                  <a:pt x="3315" y="1109"/>
                </a:lnTo>
                <a:lnTo>
                  <a:pt x="3290" y="1107"/>
                </a:lnTo>
                <a:lnTo>
                  <a:pt x="3264" y="1104"/>
                </a:lnTo>
                <a:lnTo>
                  <a:pt x="3236" y="1100"/>
                </a:lnTo>
                <a:lnTo>
                  <a:pt x="3208" y="1094"/>
                </a:lnTo>
                <a:lnTo>
                  <a:pt x="3178" y="1086"/>
                </a:lnTo>
                <a:lnTo>
                  <a:pt x="3178" y="1086"/>
                </a:lnTo>
                <a:lnTo>
                  <a:pt x="3158" y="1080"/>
                </a:lnTo>
                <a:lnTo>
                  <a:pt x="3135" y="1071"/>
                </a:lnTo>
                <a:lnTo>
                  <a:pt x="3112" y="1059"/>
                </a:lnTo>
                <a:lnTo>
                  <a:pt x="3088" y="1044"/>
                </a:lnTo>
                <a:lnTo>
                  <a:pt x="3064" y="1028"/>
                </a:lnTo>
                <a:lnTo>
                  <a:pt x="3053" y="1019"/>
                </a:lnTo>
                <a:lnTo>
                  <a:pt x="3043" y="1010"/>
                </a:lnTo>
                <a:lnTo>
                  <a:pt x="3034" y="999"/>
                </a:lnTo>
                <a:lnTo>
                  <a:pt x="3025" y="990"/>
                </a:lnTo>
                <a:lnTo>
                  <a:pt x="3017" y="980"/>
                </a:lnTo>
                <a:lnTo>
                  <a:pt x="3010" y="969"/>
                </a:lnTo>
                <a:lnTo>
                  <a:pt x="3010" y="969"/>
                </a:lnTo>
                <a:lnTo>
                  <a:pt x="3022" y="974"/>
                </a:lnTo>
                <a:lnTo>
                  <a:pt x="3035" y="978"/>
                </a:lnTo>
                <a:lnTo>
                  <a:pt x="3052" y="984"/>
                </a:lnTo>
                <a:lnTo>
                  <a:pt x="3075" y="990"/>
                </a:lnTo>
                <a:lnTo>
                  <a:pt x="3101" y="996"/>
                </a:lnTo>
                <a:lnTo>
                  <a:pt x="3132" y="1003"/>
                </a:lnTo>
                <a:lnTo>
                  <a:pt x="3167" y="1008"/>
                </a:lnTo>
                <a:lnTo>
                  <a:pt x="3167" y="1008"/>
                </a:lnTo>
                <a:lnTo>
                  <a:pt x="3187" y="1010"/>
                </a:lnTo>
                <a:lnTo>
                  <a:pt x="3207" y="1011"/>
                </a:lnTo>
                <a:lnTo>
                  <a:pt x="3226" y="1012"/>
                </a:lnTo>
                <a:lnTo>
                  <a:pt x="3245" y="1012"/>
                </a:lnTo>
                <a:lnTo>
                  <a:pt x="3283" y="1010"/>
                </a:lnTo>
                <a:lnTo>
                  <a:pt x="3317" y="1007"/>
                </a:lnTo>
                <a:lnTo>
                  <a:pt x="3346" y="1001"/>
                </a:lnTo>
                <a:lnTo>
                  <a:pt x="3369" y="996"/>
                </a:lnTo>
                <a:lnTo>
                  <a:pt x="3377" y="993"/>
                </a:lnTo>
                <a:lnTo>
                  <a:pt x="3383" y="991"/>
                </a:lnTo>
                <a:lnTo>
                  <a:pt x="3388" y="988"/>
                </a:lnTo>
                <a:lnTo>
                  <a:pt x="3390" y="985"/>
                </a:lnTo>
                <a:lnTo>
                  <a:pt x="3390" y="985"/>
                </a:lnTo>
                <a:lnTo>
                  <a:pt x="3392" y="959"/>
                </a:lnTo>
                <a:lnTo>
                  <a:pt x="3393" y="925"/>
                </a:lnTo>
                <a:lnTo>
                  <a:pt x="3394" y="848"/>
                </a:lnTo>
                <a:lnTo>
                  <a:pt x="3394" y="750"/>
                </a:lnTo>
                <a:lnTo>
                  <a:pt x="3394" y="750"/>
                </a:lnTo>
                <a:lnTo>
                  <a:pt x="3399" y="686"/>
                </a:lnTo>
                <a:lnTo>
                  <a:pt x="3400" y="642"/>
                </a:lnTo>
                <a:lnTo>
                  <a:pt x="3400" y="627"/>
                </a:lnTo>
                <a:lnTo>
                  <a:pt x="3399" y="623"/>
                </a:lnTo>
                <a:lnTo>
                  <a:pt x="3398" y="622"/>
                </a:lnTo>
                <a:lnTo>
                  <a:pt x="3398" y="622"/>
                </a:lnTo>
                <a:lnTo>
                  <a:pt x="3392" y="622"/>
                </a:lnTo>
                <a:lnTo>
                  <a:pt x="3381" y="623"/>
                </a:lnTo>
                <a:lnTo>
                  <a:pt x="3368" y="623"/>
                </a:lnTo>
                <a:lnTo>
                  <a:pt x="3354" y="622"/>
                </a:lnTo>
                <a:lnTo>
                  <a:pt x="3336" y="620"/>
                </a:lnTo>
                <a:lnTo>
                  <a:pt x="3317" y="617"/>
                </a:lnTo>
                <a:lnTo>
                  <a:pt x="3297" y="612"/>
                </a:lnTo>
                <a:lnTo>
                  <a:pt x="3274" y="607"/>
                </a:lnTo>
                <a:lnTo>
                  <a:pt x="3251" y="599"/>
                </a:lnTo>
                <a:lnTo>
                  <a:pt x="3226" y="589"/>
                </a:lnTo>
                <a:lnTo>
                  <a:pt x="3200" y="578"/>
                </a:lnTo>
                <a:lnTo>
                  <a:pt x="3175" y="564"/>
                </a:lnTo>
                <a:lnTo>
                  <a:pt x="3149" y="548"/>
                </a:lnTo>
                <a:lnTo>
                  <a:pt x="3123" y="529"/>
                </a:lnTo>
                <a:lnTo>
                  <a:pt x="3110" y="519"/>
                </a:lnTo>
                <a:lnTo>
                  <a:pt x="3097" y="508"/>
                </a:lnTo>
                <a:lnTo>
                  <a:pt x="3085" y="495"/>
                </a:lnTo>
                <a:lnTo>
                  <a:pt x="3073" y="483"/>
                </a:lnTo>
                <a:lnTo>
                  <a:pt x="3073" y="483"/>
                </a:lnTo>
                <a:lnTo>
                  <a:pt x="3071" y="481"/>
                </a:lnTo>
                <a:lnTo>
                  <a:pt x="3065" y="476"/>
                </a:lnTo>
                <a:lnTo>
                  <a:pt x="3059" y="467"/>
                </a:lnTo>
                <a:lnTo>
                  <a:pt x="3056" y="461"/>
                </a:lnTo>
                <a:lnTo>
                  <a:pt x="3053" y="454"/>
                </a:lnTo>
                <a:lnTo>
                  <a:pt x="3051" y="447"/>
                </a:lnTo>
                <a:lnTo>
                  <a:pt x="3050" y="439"/>
                </a:lnTo>
                <a:lnTo>
                  <a:pt x="3049" y="430"/>
                </a:lnTo>
                <a:lnTo>
                  <a:pt x="3050" y="420"/>
                </a:lnTo>
                <a:lnTo>
                  <a:pt x="3053" y="410"/>
                </a:lnTo>
                <a:lnTo>
                  <a:pt x="3056" y="398"/>
                </a:lnTo>
                <a:lnTo>
                  <a:pt x="3062" y="386"/>
                </a:lnTo>
                <a:lnTo>
                  <a:pt x="3071" y="373"/>
                </a:lnTo>
                <a:lnTo>
                  <a:pt x="3071" y="373"/>
                </a:lnTo>
                <a:lnTo>
                  <a:pt x="2806" y="254"/>
                </a:lnTo>
                <a:lnTo>
                  <a:pt x="2806" y="254"/>
                </a:lnTo>
                <a:lnTo>
                  <a:pt x="2815" y="245"/>
                </a:lnTo>
                <a:lnTo>
                  <a:pt x="2824" y="234"/>
                </a:lnTo>
                <a:lnTo>
                  <a:pt x="2834" y="219"/>
                </a:lnTo>
                <a:lnTo>
                  <a:pt x="2845" y="203"/>
                </a:lnTo>
                <a:lnTo>
                  <a:pt x="2850" y="194"/>
                </a:lnTo>
                <a:lnTo>
                  <a:pt x="2854" y="185"/>
                </a:lnTo>
                <a:lnTo>
                  <a:pt x="2858" y="174"/>
                </a:lnTo>
                <a:lnTo>
                  <a:pt x="2861" y="164"/>
                </a:lnTo>
                <a:lnTo>
                  <a:pt x="2863" y="154"/>
                </a:lnTo>
                <a:lnTo>
                  <a:pt x="2863" y="144"/>
                </a:lnTo>
                <a:lnTo>
                  <a:pt x="2863" y="144"/>
                </a:lnTo>
                <a:lnTo>
                  <a:pt x="2863" y="132"/>
                </a:lnTo>
                <a:lnTo>
                  <a:pt x="2860" y="122"/>
                </a:lnTo>
                <a:lnTo>
                  <a:pt x="2855" y="112"/>
                </a:lnTo>
                <a:lnTo>
                  <a:pt x="2849" y="103"/>
                </a:lnTo>
                <a:lnTo>
                  <a:pt x="2841" y="94"/>
                </a:lnTo>
                <a:lnTo>
                  <a:pt x="2830" y="86"/>
                </a:lnTo>
                <a:lnTo>
                  <a:pt x="2820" y="79"/>
                </a:lnTo>
                <a:lnTo>
                  <a:pt x="2808" y="73"/>
                </a:lnTo>
                <a:lnTo>
                  <a:pt x="2795" y="68"/>
                </a:lnTo>
                <a:lnTo>
                  <a:pt x="2781" y="64"/>
                </a:lnTo>
                <a:lnTo>
                  <a:pt x="2767" y="60"/>
                </a:lnTo>
                <a:lnTo>
                  <a:pt x="2753" y="58"/>
                </a:lnTo>
                <a:lnTo>
                  <a:pt x="2738" y="56"/>
                </a:lnTo>
                <a:lnTo>
                  <a:pt x="2723" y="56"/>
                </a:lnTo>
                <a:lnTo>
                  <a:pt x="2709" y="57"/>
                </a:lnTo>
                <a:lnTo>
                  <a:pt x="2694" y="59"/>
                </a:lnTo>
                <a:lnTo>
                  <a:pt x="2694" y="59"/>
                </a:lnTo>
                <a:lnTo>
                  <a:pt x="2681" y="62"/>
                </a:lnTo>
                <a:lnTo>
                  <a:pt x="2669" y="66"/>
                </a:lnTo>
                <a:lnTo>
                  <a:pt x="2656" y="71"/>
                </a:lnTo>
                <a:lnTo>
                  <a:pt x="2644" y="77"/>
                </a:lnTo>
                <a:lnTo>
                  <a:pt x="2634" y="84"/>
                </a:lnTo>
                <a:lnTo>
                  <a:pt x="2623" y="92"/>
                </a:lnTo>
                <a:lnTo>
                  <a:pt x="2604" y="107"/>
                </a:lnTo>
                <a:lnTo>
                  <a:pt x="2589" y="122"/>
                </a:lnTo>
                <a:lnTo>
                  <a:pt x="2578" y="134"/>
                </a:lnTo>
                <a:lnTo>
                  <a:pt x="2569" y="147"/>
                </a:lnTo>
                <a:lnTo>
                  <a:pt x="2238" y="0"/>
                </a:lnTo>
                <a:lnTo>
                  <a:pt x="1977" y="263"/>
                </a:lnTo>
                <a:lnTo>
                  <a:pt x="1977" y="263"/>
                </a:lnTo>
                <a:lnTo>
                  <a:pt x="1972" y="268"/>
                </a:lnTo>
                <a:lnTo>
                  <a:pt x="1966" y="280"/>
                </a:lnTo>
                <a:lnTo>
                  <a:pt x="1963" y="287"/>
                </a:lnTo>
                <a:lnTo>
                  <a:pt x="1961" y="295"/>
                </a:lnTo>
                <a:lnTo>
                  <a:pt x="1960" y="304"/>
                </a:lnTo>
                <a:lnTo>
                  <a:pt x="1960" y="313"/>
                </a:lnTo>
                <a:lnTo>
                  <a:pt x="1964" y="337"/>
                </a:lnTo>
                <a:lnTo>
                  <a:pt x="1964" y="337"/>
                </a:lnTo>
                <a:lnTo>
                  <a:pt x="1964" y="343"/>
                </a:lnTo>
                <a:lnTo>
                  <a:pt x="1963" y="349"/>
                </a:lnTo>
                <a:lnTo>
                  <a:pt x="1962" y="354"/>
                </a:lnTo>
                <a:lnTo>
                  <a:pt x="1961" y="358"/>
                </a:lnTo>
                <a:lnTo>
                  <a:pt x="1957" y="366"/>
                </a:lnTo>
                <a:lnTo>
                  <a:pt x="1955" y="370"/>
                </a:lnTo>
                <a:lnTo>
                  <a:pt x="1955" y="370"/>
                </a:lnTo>
                <a:lnTo>
                  <a:pt x="1936" y="392"/>
                </a:lnTo>
                <a:lnTo>
                  <a:pt x="1916" y="416"/>
                </a:lnTo>
                <a:lnTo>
                  <a:pt x="1896" y="438"/>
                </a:lnTo>
                <a:lnTo>
                  <a:pt x="1876" y="461"/>
                </a:lnTo>
                <a:lnTo>
                  <a:pt x="1876" y="461"/>
                </a:lnTo>
                <a:lnTo>
                  <a:pt x="1847" y="499"/>
                </a:lnTo>
                <a:lnTo>
                  <a:pt x="1836" y="515"/>
                </a:lnTo>
                <a:lnTo>
                  <a:pt x="1828" y="527"/>
                </a:lnTo>
                <a:lnTo>
                  <a:pt x="1828" y="527"/>
                </a:lnTo>
                <a:lnTo>
                  <a:pt x="1819" y="542"/>
                </a:lnTo>
                <a:lnTo>
                  <a:pt x="1811" y="558"/>
                </a:lnTo>
                <a:lnTo>
                  <a:pt x="1799" y="583"/>
                </a:lnTo>
                <a:lnTo>
                  <a:pt x="1789" y="607"/>
                </a:lnTo>
                <a:lnTo>
                  <a:pt x="1781" y="628"/>
                </a:lnTo>
                <a:lnTo>
                  <a:pt x="1781" y="628"/>
                </a:lnTo>
                <a:lnTo>
                  <a:pt x="1780" y="631"/>
                </a:lnTo>
                <a:lnTo>
                  <a:pt x="1778" y="642"/>
                </a:lnTo>
                <a:lnTo>
                  <a:pt x="1778" y="649"/>
                </a:lnTo>
                <a:lnTo>
                  <a:pt x="1777" y="657"/>
                </a:lnTo>
                <a:lnTo>
                  <a:pt x="1778" y="666"/>
                </a:lnTo>
                <a:lnTo>
                  <a:pt x="1780" y="677"/>
                </a:lnTo>
                <a:lnTo>
                  <a:pt x="1784" y="690"/>
                </a:lnTo>
                <a:lnTo>
                  <a:pt x="1789" y="703"/>
                </a:lnTo>
                <a:lnTo>
                  <a:pt x="1797" y="716"/>
                </a:lnTo>
                <a:lnTo>
                  <a:pt x="1807" y="732"/>
                </a:lnTo>
                <a:lnTo>
                  <a:pt x="1819" y="748"/>
                </a:lnTo>
                <a:lnTo>
                  <a:pt x="1833" y="764"/>
                </a:lnTo>
                <a:lnTo>
                  <a:pt x="1852" y="782"/>
                </a:lnTo>
                <a:lnTo>
                  <a:pt x="1874" y="800"/>
                </a:lnTo>
                <a:lnTo>
                  <a:pt x="1881" y="806"/>
                </a:lnTo>
                <a:lnTo>
                  <a:pt x="1881" y="806"/>
                </a:lnTo>
                <a:lnTo>
                  <a:pt x="1894" y="789"/>
                </a:lnTo>
                <a:lnTo>
                  <a:pt x="1905" y="800"/>
                </a:lnTo>
                <a:lnTo>
                  <a:pt x="1905" y="800"/>
                </a:lnTo>
                <a:lnTo>
                  <a:pt x="1914" y="809"/>
                </a:lnTo>
                <a:lnTo>
                  <a:pt x="1926" y="820"/>
                </a:lnTo>
                <a:lnTo>
                  <a:pt x="1941" y="832"/>
                </a:lnTo>
                <a:lnTo>
                  <a:pt x="1957" y="842"/>
                </a:lnTo>
                <a:lnTo>
                  <a:pt x="1957" y="842"/>
                </a:lnTo>
                <a:lnTo>
                  <a:pt x="1959" y="835"/>
                </a:lnTo>
                <a:lnTo>
                  <a:pt x="1964" y="815"/>
                </a:lnTo>
                <a:lnTo>
                  <a:pt x="1969" y="802"/>
                </a:lnTo>
                <a:lnTo>
                  <a:pt x="1975" y="789"/>
                </a:lnTo>
                <a:lnTo>
                  <a:pt x="1983" y="775"/>
                </a:lnTo>
                <a:lnTo>
                  <a:pt x="1991" y="760"/>
                </a:lnTo>
                <a:lnTo>
                  <a:pt x="1991" y="760"/>
                </a:lnTo>
                <a:lnTo>
                  <a:pt x="2000" y="748"/>
                </a:lnTo>
                <a:lnTo>
                  <a:pt x="2011" y="736"/>
                </a:lnTo>
                <a:lnTo>
                  <a:pt x="2025" y="722"/>
                </a:lnTo>
                <a:lnTo>
                  <a:pt x="2038" y="709"/>
                </a:lnTo>
                <a:lnTo>
                  <a:pt x="2052" y="697"/>
                </a:lnTo>
                <a:lnTo>
                  <a:pt x="2065" y="686"/>
                </a:lnTo>
                <a:lnTo>
                  <a:pt x="2080" y="675"/>
                </a:lnTo>
                <a:lnTo>
                  <a:pt x="2092" y="667"/>
                </a:lnTo>
                <a:lnTo>
                  <a:pt x="2092" y="667"/>
                </a:lnTo>
                <a:lnTo>
                  <a:pt x="2107" y="658"/>
                </a:lnTo>
                <a:lnTo>
                  <a:pt x="2123" y="650"/>
                </a:lnTo>
                <a:lnTo>
                  <a:pt x="2138" y="643"/>
                </a:lnTo>
                <a:lnTo>
                  <a:pt x="2154" y="636"/>
                </a:lnTo>
                <a:lnTo>
                  <a:pt x="2170" y="632"/>
                </a:lnTo>
                <a:lnTo>
                  <a:pt x="2186" y="629"/>
                </a:lnTo>
                <a:lnTo>
                  <a:pt x="2202" y="626"/>
                </a:lnTo>
                <a:lnTo>
                  <a:pt x="2220" y="625"/>
                </a:lnTo>
                <a:lnTo>
                  <a:pt x="2220" y="625"/>
                </a:lnTo>
                <a:lnTo>
                  <a:pt x="2234" y="626"/>
                </a:lnTo>
                <a:lnTo>
                  <a:pt x="2247" y="627"/>
                </a:lnTo>
                <a:lnTo>
                  <a:pt x="2261" y="630"/>
                </a:lnTo>
                <a:lnTo>
                  <a:pt x="2272" y="635"/>
                </a:lnTo>
                <a:lnTo>
                  <a:pt x="2283" y="642"/>
                </a:lnTo>
                <a:lnTo>
                  <a:pt x="2295" y="649"/>
                </a:lnTo>
                <a:lnTo>
                  <a:pt x="2305" y="658"/>
                </a:lnTo>
                <a:lnTo>
                  <a:pt x="2316" y="668"/>
                </a:lnTo>
                <a:lnTo>
                  <a:pt x="2316" y="668"/>
                </a:lnTo>
                <a:lnTo>
                  <a:pt x="2323" y="676"/>
                </a:lnTo>
                <a:lnTo>
                  <a:pt x="2330" y="687"/>
                </a:lnTo>
                <a:lnTo>
                  <a:pt x="2336" y="698"/>
                </a:lnTo>
                <a:lnTo>
                  <a:pt x="2342" y="710"/>
                </a:lnTo>
                <a:lnTo>
                  <a:pt x="2347" y="722"/>
                </a:lnTo>
                <a:lnTo>
                  <a:pt x="2351" y="736"/>
                </a:lnTo>
                <a:lnTo>
                  <a:pt x="2355" y="750"/>
                </a:lnTo>
                <a:lnTo>
                  <a:pt x="2358" y="764"/>
                </a:lnTo>
                <a:lnTo>
                  <a:pt x="2360" y="778"/>
                </a:lnTo>
                <a:lnTo>
                  <a:pt x="2362" y="792"/>
                </a:lnTo>
                <a:lnTo>
                  <a:pt x="2363" y="805"/>
                </a:lnTo>
                <a:lnTo>
                  <a:pt x="2364" y="818"/>
                </a:lnTo>
                <a:lnTo>
                  <a:pt x="2364" y="831"/>
                </a:lnTo>
                <a:lnTo>
                  <a:pt x="2363" y="842"/>
                </a:lnTo>
                <a:lnTo>
                  <a:pt x="2361" y="852"/>
                </a:lnTo>
                <a:lnTo>
                  <a:pt x="2359" y="861"/>
                </a:lnTo>
                <a:lnTo>
                  <a:pt x="2359" y="861"/>
                </a:lnTo>
                <a:lnTo>
                  <a:pt x="2330" y="843"/>
                </a:lnTo>
                <a:lnTo>
                  <a:pt x="2330" y="843"/>
                </a:lnTo>
                <a:lnTo>
                  <a:pt x="2309" y="832"/>
                </a:lnTo>
                <a:lnTo>
                  <a:pt x="2281" y="822"/>
                </a:lnTo>
                <a:lnTo>
                  <a:pt x="2266" y="815"/>
                </a:lnTo>
                <a:lnTo>
                  <a:pt x="2251" y="811"/>
                </a:lnTo>
                <a:lnTo>
                  <a:pt x="2233" y="807"/>
                </a:lnTo>
                <a:lnTo>
                  <a:pt x="2215" y="803"/>
                </a:lnTo>
                <a:lnTo>
                  <a:pt x="2195" y="801"/>
                </a:lnTo>
                <a:lnTo>
                  <a:pt x="2175" y="800"/>
                </a:lnTo>
                <a:lnTo>
                  <a:pt x="2154" y="800"/>
                </a:lnTo>
                <a:lnTo>
                  <a:pt x="2132" y="802"/>
                </a:lnTo>
                <a:lnTo>
                  <a:pt x="2109" y="805"/>
                </a:lnTo>
                <a:lnTo>
                  <a:pt x="2086" y="810"/>
                </a:lnTo>
                <a:lnTo>
                  <a:pt x="2062" y="818"/>
                </a:lnTo>
                <a:lnTo>
                  <a:pt x="2037" y="829"/>
                </a:lnTo>
                <a:lnTo>
                  <a:pt x="2037" y="829"/>
                </a:lnTo>
                <a:lnTo>
                  <a:pt x="1995" y="847"/>
                </a:lnTo>
                <a:lnTo>
                  <a:pt x="1967" y="859"/>
                </a:lnTo>
                <a:lnTo>
                  <a:pt x="1936" y="872"/>
                </a:lnTo>
                <a:lnTo>
                  <a:pt x="1900" y="886"/>
                </a:lnTo>
                <a:lnTo>
                  <a:pt x="1860" y="900"/>
                </a:lnTo>
                <a:lnTo>
                  <a:pt x="1814" y="916"/>
                </a:lnTo>
                <a:lnTo>
                  <a:pt x="1764" y="931"/>
                </a:lnTo>
                <a:lnTo>
                  <a:pt x="1764" y="931"/>
                </a:lnTo>
                <a:lnTo>
                  <a:pt x="1737" y="938"/>
                </a:lnTo>
                <a:lnTo>
                  <a:pt x="1725" y="940"/>
                </a:lnTo>
                <a:lnTo>
                  <a:pt x="1713" y="941"/>
                </a:lnTo>
                <a:lnTo>
                  <a:pt x="1701" y="941"/>
                </a:lnTo>
                <a:lnTo>
                  <a:pt x="1691" y="941"/>
                </a:lnTo>
                <a:lnTo>
                  <a:pt x="1681" y="940"/>
                </a:lnTo>
                <a:lnTo>
                  <a:pt x="1672" y="938"/>
                </a:lnTo>
                <a:lnTo>
                  <a:pt x="1664" y="935"/>
                </a:lnTo>
                <a:lnTo>
                  <a:pt x="1655" y="930"/>
                </a:lnTo>
                <a:lnTo>
                  <a:pt x="1649" y="925"/>
                </a:lnTo>
                <a:lnTo>
                  <a:pt x="1642" y="919"/>
                </a:lnTo>
                <a:lnTo>
                  <a:pt x="1637" y="912"/>
                </a:lnTo>
                <a:lnTo>
                  <a:pt x="1633" y="902"/>
                </a:lnTo>
                <a:lnTo>
                  <a:pt x="1629" y="892"/>
                </a:lnTo>
                <a:lnTo>
                  <a:pt x="1626" y="881"/>
                </a:lnTo>
                <a:lnTo>
                  <a:pt x="1626" y="881"/>
                </a:lnTo>
                <a:lnTo>
                  <a:pt x="1624" y="871"/>
                </a:lnTo>
                <a:lnTo>
                  <a:pt x="1623" y="860"/>
                </a:lnTo>
                <a:lnTo>
                  <a:pt x="1623" y="851"/>
                </a:lnTo>
                <a:lnTo>
                  <a:pt x="1623" y="842"/>
                </a:lnTo>
                <a:lnTo>
                  <a:pt x="1625" y="826"/>
                </a:lnTo>
                <a:lnTo>
                  <a:pt x="1629" y="811"/>
                </a:lnTo>
                <a:lnTo>
                  <a:pt x="1633" y="800"/>
                </a:lnTo>
                <a:lnTo>
                  <a:pt x="1636" y="792"/>
                </a:lnTo>
                <a:lnTo>
                  <a:pt x="1640" y="784"/>
                </a:lnTo>
                <a:lnTo>
                  <a:pt x="1640" y="784"/>
                </a:lnTo>
                <a:lnTo>
                  <a:pt x="1636" y="785"/>
                </a:lnTo>
                <a:lnTo>
                  <a:pt x="1626" y="788"/>
                </a:lnTo>
                <a:lnTo>
                  <a:pt x="1610" y="794"/>
                </a:lnTo>
                <a:lnTo>
                  <a:pt x="1601" y="797"/>
                </a:lnTo>
                <a:lnTo>
                  <a:pt x="1592" y="802"/>
                </a:lnTo>
                <a:lnTo>
                  <a:pt x="1582" y="808"/>
                </a:lnTo>
                <a:lnTo>
                  <a:pt x="1573" y="814"/>
                </a:lnTo>
                <a:lnTo>
                  <a:pt x="1563" y="823"/>
                </a:lnTo>
                <a:lnTo>
                  <a:pt x="1554" y="832"/>
                </a:lnTo>
                <a:lnTo>
                  <a:pt x="1546" y="842"/>
                </a:lnTo>
                <a:lnTo>
                  <a:pt x="1539" y="853"/>
                </a:lnTo>
                <a:lnTo>
                  <a:pt x="1533" y="867"/>
                </a:lnTo>
                <a:lnTo>
                  <a:pt x="1528" y="881"/>
                </a:lnTo>
                <a:lnTo>
                  <a:pt x="1528" y="881"/>
                </a:lnTo>
                <a:lnTo>
                  <a:pt x="1525" y="896"/>
                </a:lnTo>
                <a:lnTo>
                  <a:pt x="1523" y="912"/>
                </a:lnTo>
                <a:lnTo>
                  <a:pt x="1523" y="927"/>
                </a:lnTo>
                <a:lnTo>
                  <a:pt x="1523" y="941"/>
                </a:lnTo>
                <a:lnTo>
                  <a:pt x="1524" y="954"/>
                </a:lnTo>
                <a:lnTo>
                  <a:pt x="1527" y="969"/>
                </a:lnTo>
                <a:lnTo>
                  <a:pt x="1531" y="981"/>
                </a:lnTo>
                <a:lnTo>
                  <a:pt x="1536" y="993"/>
                </a:lnTo>
                <a:lnTo>
                  <a:pt x="1542" y="1006"/>
                </a:lnTo>
                <a:lnTo>
                  <a:pt x="1549" y="1016"/>
                </a:lnTo>
                <a:lnTo>
                  <a:pt x="1557" y="1026"/>
                </a:lnTo>
                <a:lnTo>
                  <a:pt x="1568" y="1034"/>
                </a:lnTo>
                <a:lnTo>
                  <a:pt x="1578" y="1042"/>
                </a:lnTo>
                <a:lnTo>
                  <a:pt x="1590" y="1049"/>
                </a:lnTo>
                <a:lnTo>
                  <a:pt x="1602" y="1055"/>
                </a:lnTo>
                <a:lnTo>
                  <a:pt x="1617" y="1059"/>
                </a:lnTo>
                <a:lnTo>
                  <a:pt x="1617" y="1059"/>
                </a:lnTo>
                <a:lnTo>
                  <a:pt x="1630" y="1062"/>
                </a:lnTo>
                <a:lnTo>
                  <a:pt x="1644" y="1063"/>
                </a:lnTo>
                <a:lnTo>
                  <a:pt x="1660" y="1062"/>
                </a:lnTo>
                <a:lnTo>
                  <a:pt x="1676" y="1060"/>
                </a:lnTo>
                <a:lnTo>
                  <a:pt x="1692" y="1058"/>
                </a:lnTo>
                <a:lnTo>
                  <a:pt x="1710" y="1054"/>
                </a:lnTo>
                <a:lnTo>
                  <a:pt x="1727" y="1049"/>
                </a:lnTo>
                <a:lnTo>
                  <a:pt x="1744" y="1043"/>
                </a:lnTo>
                <a:lnTo>
                  <a:pt x="1779" y="1029"/>
                </a:lnTo>
                <a:lnTo>
                  <a:pt x="1815" y="1014"/>
                </a:lnTo>
                <a:lnTo>
                  <a:pt x="1849" y="997"/>
                </a:lnTo>
                <a:lnTo>
                  <a:pt x="1880" y="981"/>
                </a:lnTo>
                <a:lnTo>
                  <a:pt x="1880" y="981"/>
                </a:lnTo>
                <a:lnTo>
                  <a:pt x="1942" y="949"/>
                </a:lnTo>
                <a:lnTo>
                  <a:pt x="1979" y="931"/>
                </a:lnTo>
                <a:lnTo>
                  <a:pt x="2013" y="915"/>
                </a:lnTo>
                <a:lnTo>
                  <a:pt x="2013" y="915"/>
                </a:lnTo>
                <a:lnTo>
                  <a:pt x="2041" y="903"/>
                </a:lnTo>
                <a:lnTo>
                  <a:pt x="2054" y="899"/>
                </a:lnTo>
                <a:lnTo>
                  <a:pt x="2068" y="895"/>
                </a:lnTo>
                <a:lnTo>
                  <a:pt x="2081" y="892"/>
                </a:lnTo>
                <a:lnTo>
                  <a:pt x="2093" y="890"/>
                </a:lnTo>
                <a:lnTo>
                  <a:pt x="2105" y="888"/>
                </a:lnTo>
                <a:lnTo>
                  <a:pt x="2119" y="888"/>
                </a:lnTo>
                <a:lnTo>
                  <a:pt x="2131" y="888"/>
                </a:lnTo>
                <a:lnTo>
                  <a:pt x="2143" y="889"/>
                </a:lnTo>
                <a:lnTo>
                  <a:pt x="2156" y="891"/>
                </a:lnTo>
                <a:lnTo>
                  <a:pt x="2170" y="893"/>
                </a:lnTo>
                <a:lnTo>
                  <a:pt x="2183" y="897"/>
                </a:lnTo>
                <a:lnTo>
                  <a:pt x="2196" y="901"/>
                </a:lnTo>
                <a:lnTo>
                  <a:pt x="2211" y="907"/>
                </a:lnTo>
                <a:lnTo>
                  <a:pt x="2226" y="914"/>
                </a:lnTo>
                <a:lnTo>
                  <a:pt x="2226" y="914"/>
                </a:lnTo>
                <a:lnTo>
                  <a:pt x="2246" y="924"/>
                </a:lnTo>
                <a:lnTo>
                  <a:pt x="2265" y="934"/>
                </a:lnTo>
                <a:lnTo>
                  <a:pt x="2281" y="945"/>
                </a:lnTo>
                <a:lnTo>
                  <a:pt x="2295" y="954"/>
                </a:lnTo>
                <a:lnTo>
                  <a:pt x="2305" y="964"/>
                </a:lnTo>
                <a:lnTo>
                  <a:pt x="2312" y="971"/>
                </a:lnTo>
                <a:lnTo>
                  <a:pt x="2319" y="977"/>
                </a:lnTo>
                <a:lnTo>
                  <a:pt x="2319" y="977"/>
                </a:lnTo>
                <a:lnTo>
                  <a:pt x="2317" y="980"/>
                </a:lnTo>
                <a:lnTo>
                  <a:pt x="2313" y="987"/>
                </a:lnTo>
                <a:lnTo>
                  <a:pt x="2305" y="998"/>
                </a:lnTo>
                <a:lnTo>
                  <a:pt x="2300" y="1005"/>
                </a:lnTo>
                <a:lnTo>
                  <a:pt x="2293" y="1012"/>
                </a:lnTo>
                <a:lnTo>
                  <a:pt x="2285" y="1018"/>
                </a:lnTo>
                <a:lnTo>
                  <a:pt x="2276" y="1025"/>
                </a:lnTo>
                <a:lnTo>
                  <a:pt x="2267" y="1031"/>
                </a:lnTo>
                <a:lnTo>
                  <a:pt x="2255" y="1036"/>
                </a:lnTo>
                <a:lnTo>
                  <a:pt x="2242" y="1041"/>
                </a:lnTo>
                <a:lnTo>
                  <a:pt x="2228" y="1045"/>
                </a:lnTo>
                <a:lnTo>
                  <a:pt x="2212" y="1049"/>
                </a:lnTo>
                <a:lnTo>
                  <a:pt x="2194" y="1050"/>
                </a:lnTo>
                <a:lnTo>
                  <a:pt x="2194" y="1050"/>
                </a:lnTo>
                <a:lnTo>
                  <a:pt x="2180" y="1051"/>
                </a:lnTo>
                <a:lnTo>
                  <a:pt x="2166" y="1050"/>
                </a:lnTo>
                <a:lnTo>
                  <a:pt x="2152" y="1048"/>
                </a:lnTo>
                <a:lnTo>
                  <a:pt x="2139" y="1044"/>
                </a:lnTo>
                <a:lnTo>
                  <a:pt x="2127" y="1041"/>
                </a:lnTo>
                <a:lnTo>
                  <a:pt x="2115" y="1037"/>
                </a:lnTo>
                <a:lnTo>
                  <a:pt x="2103" y="1033"/>
                </a:lnTo>
                <a:lnTo>
                  <a:pt x="2092" y="1027"/>
                </a:lnTo>
                <a:lnTo>
                  <a:pt x="2082" y="1022"/>
                </a:lnTo>
                <a:lnTo>
                  <a:pt x="2073" y="1016"/>
                </a:lnTo>
                <a:lnTo>
                  <a:pt x="2064" y="1010"/>
                </a:lnTo>
                <a:lnTo>
                  <a:pt x="2056" y="1003"/>
                </a:lnTo>
                <a:lnTo>
                  <a:pt x="2048" y="995"/>
                </a:lnTo>
                <a:lnTo>
                  <a:pt x="2042" y="988"/>
                </a:lnTo>
                <a:lnTo>
                  <a:pt x="2036" y="981"/>
                </a:lnTo>
                <a:lnTo>
                  <a:pt x="2031" y="974"/>
                </a:lnTo>
                <a:lnTo>
                  <a:pt x="2031" y="974"/>
                </a:lnTo>
                <a:lnTo>
                  <a:pt x="2022" y="996"/>
                </a:lnTo>
                <a:lnTo>
                  <a:pt x="2013" y="1014"/>
                </a:lnTo>
                <a:lnTo>
                  <a:pt x="2007" y="1027"/>
                </a:lnTo>
                <a:lnTo>
                  <a:pt x="2007" y="1027"/>
                </a:lnTo>
                <a:lnTo>
                  <a:pt x="2003" y="1035"/>
                </a:lnTo>
                <a:lnTo>
                  <a:pt x="2000" y="1042"/>
                </a:lnTo>
                <a:lnTo>
                  <a:pt x="1998" y="1051"/>
                </a:lnTo>
                <a:lnTo>
                  <a:pt x="1997" y="1057"/>
                </a:lnTo>
                <a:lnTo>
                  <a:pt x="1997" y="1064"/>
                </a:lnTo>
                <a:lnTo>
                  <a:pt x="1997" y="1070"/>
                </a:lnTo>
                <a:lnTo>
                  <a:pt x="1999" y="1082"/>
                </a:lnTo>
                <a:lnTo>
                  <a:pt x="2001" y="1094"/>
                </a:lnTo>
                <a:lnTo>
                  <a:pt x="2003" y="1104"/>
                </a:lnTo>
                <a:lnTo>
                  <a:pt x="2004" y="1115"/>
                </a:lnTo>
                <a:lnTo>
                  <a:pt x="2003" y="1121"/>
                </a:lnTo>
                <a:lnTo>
                  <a:pt x="2001" y="1126"/>
                </a:lnTo>
                <a:lnTo>
                  <a:pt x="2001" y="1126"/>
                </a:lnTo>
                <a:lnTo>
                  <a:pt x="1999" y="1132"/>
                </a:lnTo>
                <a:lnTo>
                  <a:pt x="1995" y="1138"/>
                </a:lnTo>
                <a:lnTo>
                  <a:pt x="1986" y="1151"/>
                </a:lnTo>
                <a:lnTo>
                  <a:pt x="1973" y="1163"/>
                </a:lnTo>
                <a:lnTo>
                  <a:pt x="1960" y="1175"/>
                </a:lnTo>
                <a:lnTo>
                  <a:pt x="1945" y="1187"/>
                </a:lnTo>
                <a:lnTo>
                  <a:pt x="1931" y="1198"/>
                </a:lnTo>
                <a:lnTo>
                  <a:pt x="1904" y="1216"/>
                </a:lnTo>
                <a:lnTo>
                  <a:pt x="1904" y="1216"/>
                </a:lnTo>
                <a:lnTo>
                  <a:pt x="1886" y="1227"/>
                </a:lnTo>
                <a:lnTo>
                  <a:pt x="1864" y="1239"/>
                </a:lnTo>
                <a:lnTo>
                  <a:pt x="1842" y="1249"/>
                </a:lnTo>
                <a:lnTo>
                  <a:pt x="1819" y="1257"/>
                </a:lnTo>
                <a:lnTo>
                  <a:pt x="1798" y="1264"/>
                </a:lnTo>
                <a:lnTo>
                  <a:pt x="1779" y="1270"/>
                </a:lnTo>
                <a:lnTo>
                  <a:pt x="1754" y="1278"/>
                </a:lnTo>
                <a:lnTo>
                  <a:pt x="1754" y="1278"/>
                </a:lnTo>
                <a:lnTo>
                  <a:pt x="1779" y="1336"/>
                </a:lnTo>
                <a:lnTo>
                  <a:pt x="1811" y="1404"/>
                </a:lnTo>
                <a:lnTo>
                  <a:pt x="1811" y="1404"/>
                </a:lnTo>
                <a:lnTo>
                  <a:pt x="1833" y="1449"/>
                </a:lnTo>
                <a:lnTo>
                  <a:pt x="1862" y="1504"/>
                </a:lnTo>
                <a:lnTo>
                  <a:pt x="1877" y="1531"/>
                </a:lnTo>
                <a:lnTo>
                  <a:pt x="1893" y="1557"/>
                </a:lnTo>
                <a:lnTo>
                  <a:pt x="1909" y="1578"/>
                </a:lnTo>
                <a:lnTo>
                  <a:pt x="1916" y="1588"/>
                </a:lnTo>
                <a:lnTo>
                  <a:pt x="1924" y="1597"/>
                </a:lnTo>
                <a:lnTo>
                  <a:pt x="1924" y="1597"/>
                </a:lnTo>
                <a:lnTo>
                  <a:pt x="1940" y="1592"/>
                </a:lnTo>
                <a:lnTo>
                  <a:pt x="1957" y="1587"/>
                </a:lnTo>
                <a:lnTo>
                  <a:pt x="1980" y="1581"/>
                </a:lnTo>
                <a:lnTo>
                  <a:pt x="2004" y="1573"/>
                </a:lnTo>
                <a:lnTo>
                  <a:pt x="2031" y="1563"/>
                </a:lnTo>
                <a:lnTo>
                  <a:pt x="2057" y="1551"/>
                </a:lnTo>
                <a:lnTo>
                  <a:pt x="2071" y="1544"/>
                </a:lnTo>
                <a:lnTo>
                  <a:pt x="2083" y="1537"/>
                </a:lnTo>
                <a:lnTo>
                  <a:pt x="2083" y="1537"/>
                </a:lnTo>
                <a:lnTo>
                  <a:pt x="2105" y="1524"/>
                </a:lnTo>
                <a:lnTo>
                  <a:pt x="2126" y="1510"/>
                </a:lnTo>
                <a:lnTo>
                  <a:pt x="2145" y="1495"/>
                </a:lnTo>
                <a:lnTo>
                  <a:pt x="2162" y="1480"/>
                </a:lnTo>
                <a:lnTo>
                  <a:pt x="2177" y="1466"/>
                </a:lnTo>
                <a:lnTo>
                  <a:pt x="2189" y="1451"/>
                </a:lnTo>
                <a:lnTo>
                  <a:pt x="2199" y="1437"/>
                </a:lnTo>
                <a:lnTo>
                  <a:pt x="2207" y="1424"/>
                </a:lnTo>
                <a:lnTo>
                  <a:pt x="2207" y="1424"/>
                </a:lnTo>
                <a:lnTo>
                  <a:pt x="2190" y="1460"/>
                </a:lnTo>
                <a:lnTo>
                  <a:pt x="2175" y="1493"/>
                </a:lnTo>
                <a:lnTo>
                  <a:pt x="2161" y="1523"/>
                </a:lnTo>
                <a:lnTo>
                  <a:pt x="2146" y="1551"/>
                </a:lnTo>
                <a:lnTo>
                  <a:pt x="2132" y="1576"/>
                </a:lnTo>
                <a:lnTo>
                  <a:pt x="2119" y="1599"/>
                </a:lnTo>
                <a:lnTo>
                  <a:pt x="2105" y="1619"/>
                </a:lnTo>
                <a:lnTo>
                  <a:pt x="2092" y="1637"/>
                </a:lnTo>
                <a:lnTo>
                  <a:pt x="2080" y="1655"/>
                </a:lnTo>
                <a:lnTo>
                  <a:pt x="2068" y="1669"/>
                </a:lnTo>
                <a:lnTo>
                  <a:pt x="2055" y="1682"/>
                </a:lnTo>
                <a:lnTo>
                  <a:pt x="2044" y="1694"/>
                </a:lnTo>
                <a:lnTo>
                  <a:pt x="2033" y="1705"/>
                </a:lnTo>
                <a:lnTo>
                  <a:pt x="2022" y="1714"/>
                </a:lnTo>
                <a:lnTo>
                  <a:pt x="2011" y="1721"/>
                </a:lnTo>
                <a:lnTo>
                  <a:pt x="2000" y="1729"/>
                </a:lnTo>
                <a:lnTo>
                  <a:pt x="2000" y="1729"/>
                </a:lnTo>
                <a:lnTo>
                  <a:pt x="1907" y="1790"/>
                </a:lnTo>
                <a:lnTo>
                  <a:pt x="1797" y="1862"/>
                </a:lnTo>
                <a:lnTo>
                  <a:pt x="1735" y="1901"/>
                </a:lnTo>
                <a:lnTo>
                  <a:pt x="1671" y="1940"/>
                </a:lnTo>
                <a:lnTo>
                  <a:pt x="1602" y="1980"/>
                </a:lnTo>
                <a:lnTo>
                  <a:pt x="1532" y="2020"/>
                </a:lnTo>
                <a:lnTo>
                  <a:pt x="1459" y="2058"/>
                </a:lnTo>
                <a:lnTo>
                  <a:pt x="1422" y="2077"/>
                </a:lnTo>
                <a:lnTo>
                  <a:pt x="1384" y="2094"/>
                </a:lnTo>
                <a:lnTo>
                  <a:pt x="1347" y="2112"/>
                </a:lnTo>
                <a:lnTo>
                  <a:pt x="1308" y="2129"/>
                </a:lnTo>
                <a:lnTo>
                  <a:pt x="1269" y="2146"/>
                </a:lnTo>
                <a:lnTo>
                  <a:pt x="1230" y="2161"/>
                </a:lnTo>
                <a:lnTo>
                  <a:pt x="1190" y="2175"/>
                </a:lnTo>
                <a:lnTo>
                  <a:pt x="1151" y="2189"/>
                </a:lnTo>
                <a:lnTo>
                  <a:pt x="1111" y="2202"/>
                </a:lnTo>
                <a:lnTo>
                  <a:pt x="1072" y="2213"/>
                </a:lnTo>
                <a:lnTo>
                  <a:pt x="1032" y="2223"/>
                </a:lnTo>
                <a:lnTo>
                  <a:pt x="992" y="2231"/>
                </a:lnTo>
                <a:lnTo>
                  <a:pt x="952" y="2240"/>
                </a:lnTo>
                <a:lnTo>
                  <a:pt x="913" y="2246"/>
                </a:lnTo>
                <a:lnTo>
                  <a:pt x="913" y="2246"/>
                </a:lnTo>
                <a:lnTo>
                  <a:pt x="901" y="2246"/>
                </a:lnTo>
                <a:lnTo>
                  <a:pt x="889" y="2245"/>
                </a:lnTo>
                <a:lnTo>
                  <a:pt x="876" y="2242"/>
                </a:lnTo>
                <a:lnTo>
                  <a:pt x="863" y="2239"/>
                </a:lnTo>
                <a:lnTo>
                  <a:pt x="850" y="2236"/>
                </a:lnTo>
                <a:lnTo>
                  <a:pt x="836" y="2230"/>
                </a:lnTo>
                <a:lnTo>
                  <a:pt x="809" y="2218"/>
                </a:lnTo>
                <a:lnTo>
                  <a:pt x="781" y="2204"/>
                </a:lnTo>
                <a:lnTo>
                  <a:pt x="754" y="2188"/>
                </a:lnTo>
                <a:lnTo>
                  <a:pt x="726" y="2170"/>
                </a:lnTo>
                <a:lnTo>
                  <a:pt x="698" y="2151"/>
                </a:lnTo>
                <a:lnTo>
                  <a:pt x="672" y="2130"/>
                </a:lnTo>
                <a:lnTo>
                  <a:pt x="646" y="2110"/>
                </a:lnTo>
                <a:lnTo>
                  <a:pt x="623" y="2089"/>
                </a:lnTo>
                <a:lnTo>
                  <a:pt x="600" y="2069"/>
                </a:lnTo>
                <a:lnTo>
                  <a:pt x="581" y="2049"/>
                </a:lnTo>
                <a:lnTo>
                  <a:pt x="563" y="2032"/>
                </a:lnTo>
                <a:lnTo>
                  <a:pt x="548" y="2017"/>
                </a:lnTo>
                <a:lnTo>
                  <a:pt x="537" y="2003"/>
                </a:lnTo>
                <a:lnTo>
                  <a:pt x="537" y="2003"/>
                </a:lnTo>
                <a:lnTo>
                  <a:pt x="533" y="1999"/>
                </a:lnTo>
                <a:lnTo>
                  <a:pt x="530" y="1995"/>
                </a:lnTo>
                <a:lnTo>
                  <a:pt x="520" y="1990"/>
                </a:lnTo>
                <a:lnTo>
                  <a:pt x="512" y="1988"/>
                </a:lnTo>
                <a:lnTo>
                  <a:pt x="502" y="1987"/>
                </a:lnTo>
                <a:lnTo>
                  <a:pt x="493" y="1987"/>
                </a:lnTo>
                <a:lnTo>
                  <a:pt x="483" y="1989"/>
                </a:lnTo>
                <a:lnTo>
                  <a:pt x="473" y="1992"/>
                </a:lnTo>
                <a:lnTo>
                  <a:pt x="464" y="1996"/>
                </a:lnTo>
                <a:lnTo>
                  <a:pt x="447" y="2004"/>
                </a:lnTo>
                <a:lnTo>
                  <a:pt x="433" y="2014"/>
                </a:lnTo>
                <a:lnTo>
                  <a:pt x="419" y="2024"/>
                </a:lnTo>
                <a:lnTo>
                  <a:pt x="419" y="2024"/>
                </a:lnTo>
                <a:lnTo>
                  <a:pt x="412" y="2023"/>
                </a:lnTo>
                <a:lnTo>
                  <a:pt x="393" y="2021"/>
                </a:lnTo>
                <a:lnTo>
                  <a:pt x="379" y="2021"/>
                </a:lnTo>
                <a:lnTo>
                  <a:pt x="364" y="2021"/>
                </a:lnTo>
                <a:lnTo>
                  <a:pt x="348" y="2022"/>
                </a:lnTo>
                <a:lnTo>
                  <a:pt x="329" y="2024"/>
                </a:lnTo>
                <a:lnTo>
                  <a:pt x="310" y="2027"/>
                </a:lnTo>
                <a:lnTo>
                  <a:pt x="290" y="2032"/>
                </a:lnTo>
                <a:lnTo>
                  <a:pt x="271" y="2038"/>
                </a:lnTo>
                <a:lnTo>
                  <a:pt x="252" y="2047"/>
                </a:lnTo>
                <a:lnTo>
                  <a:pt x="242" y="2053"/>
                </a:lnTo>
                <a:lnTo>
                  <a:pt x="233" y="2058"/>
                </a:lnTo>
                <a:lnTo>
                  <a:pt x="224" y="2064"/>
                </a:lnTo>
                <a:lnTo>
                  <a:pt x="216" y="2071"/>
                </a:lnTo>
                <a:lnTo>
                  <a:pt x="207" y="2079"/>
                </a:lnTo>
                <a:lnTo>
                  <a:pt x="199" y="2087"/>
                </a:lnTo>
                <a:lnTo>
                  <a:pt x="191" y="2097"/>
                </a:lnTo>
                <a:lnTo>
                  <a:pt x="184" y="2106"/>
                </a:lnTo>
                <a:lnTo>
                  <a:pt x="184" y="2106"/>
                </a:lnTo>
                <a:lnTo>
                  <a:pt x="183" y="2109"/>
                </a:lnTo>
                <a:lnTo>
                  <a:pt x="185" y="2111"/>
                </a:lnTo>
                <a:lnTo>
                  <a:pt x="188" y="2112"/>
                </a:lnTo>
                <a:lnTo>
                  <a:pt x="193" y="2112"/>
                </a:lnTo>
                <a:lnTo>
                  <a:pt x="210" y="2110"/>
                </a:lnTo>
                <a:lnTo>
                  <a:pt x="230" y="2108"/>
                </a:lnTo>
                <a:lnTo>
                  <a:pt x="255" y="2106"/>
                </a:lnTo>
                <a:lnTo>
                  <a:pt x="280" y="2105"/>
                </a:lnTo>
                <a:lnTo>
                  <a:pt x="293" y="2106"/>
                </a:lnTo>
                <a:lnTo>
                  <a:pt x="307" y="2107"/>
                </a:lnTo>
                <a:lnTo>
                  <a:pt x="319" y="2109"/>
                </a:lnTo>
                <a:lnTo>
                  <a:pt x="331" y="2112"/>
                </a:lnTo>
                <a:lnTo>
                  <a:pt x="331" y="2112"/>
                </a:lnTo>
                <a:lnTo>
                  <a:pt x="338" y="2115"/>
                </a:lnTo>
                <a:lnTo>
                  <a:pt x="343" y="2118"/>
                </a:lnTo>
                <a:lnTo>
                  <a:pt x="346" y="2121"/>
                </a:lnTo>
                <a:lnTo>
                  <a:pt x="347" y="2124"/>
                </a:lnTo>
                <a:lnTo>
                  <a:pt x="347" y="2127"/>
                </a:lnTo>
                <a:lnTo>
                  <a:pt x="345" y="2131"/>
                </a:lnTo>
                <a:lnTo>
                  <a:pt x="339" y="2139"/>
                </a:lnTo>
                <a:lnTo>
                  <a:pt x="332" y="2149"/>
                </a:lnTo>
                <a:lnTo>
                  <a:pt x="325" y="2160"/>
                </a:lnTo>
                <a:lnTo>
                  <a:pt x="321" y="2166"/>
                </a:lnTo>
                <a:lnTo>
                  <a:pt x="319" y="2172"/>
                </a:lnTo>
                <a:lnTo>
                  <a:pt x="317" y="2178"/>
                </a:lnTo>
                <a:lnTo>
                  <a:pt x="317" y="2185"/>
                </a:lnTo>
                <a:lnTo>
                  <a:pt x="317" y="2185"/>
                </a:lnTo>
                <a:lnTo>
                  <a:pt x="317" y="2191"/>
                </a:lnTo>
                <a:lnTo>
                  <a:pt x="319" y="2197"/>
                </a:lnTo>
                <a:lnTo>
                  <a:pt x="321" y="2202"/>
                </a:lnTo>
                <a:lnTo>
                  <a:pt x="324" y="2207"/>
                </a:lnTo>
                <a:lnTo>
                  <a:pt x="328" y="2212"/>
                </a:lnTo>
                <a:lnTo>
                  <a:pt x="333" y="2217"/>
                </a:lnTo>
                <a:lnTo>
                  <a:pt x="346" y="2227"/>
                </a:lnTo>
                <a:lnTo>
                  <a:pt x="361" y="2237"/>
                </a:lnTo>
                <a:lnTo>
                  <a:pt x="377" y="2246"/>
                </a:lnTo>
                <a:lnTo>
                  <a:pt x="397" y="2255"/>
                </a:lnTo>
                <a:lnTo>
                  <a:pt x="416" y="2263"/>
                </a:lnTo>
                <a:lnTo>
                  <a:pt x="458" y="2279"/>
                </a:lnTo>
                <a:lnTo>
                  <a:pt x="500" y="2293"/>
                </a:lnTo>
                <a:lnTo>
                  <a:pt x="571" y="2314"/>
                </a:lnTo>
                <a:lnTo>
                  <a:pt x="571" y="2314"/>
                </a:lnTo>
                <a:lnTo>
                  <a:pt x="579" y="2318"/>
                </a:lnTo>
                <a:lnTo>
                  <a:pt x="585" y="2322"/>
                </a:lnTo>
                <a:lnTo>
                  <a:pt x="588" y="2328"/>
                </a:lnTo>
                <a:lnTo>
                  <a:pt x="590" y="2333"/>
                </a:lnTo>
                <a:lnTo>
                  <a:pt x="590" y="2337"/>
                </a:lnTo>
                <a:lnTo>
                  <a:pt x="588" y="2341"/>
                </a:lnTo>
                <a:lnTo>
                  <a:pt x="585" y="2343"/>
                </a:lnTo>
                <a:lnTo>
                  <a:pt x="581" y="2344"/>
                </a:lnTo>
                <a:lnTo>
                  <a:pt x="581" y="2344"/>
                </a:lnTo>
                <a:lnTo>
                  <a:pt x="556" y="2343"/>
                </a:lnTo>
                <a:lnTo>
                  <a:pt x="532" y="2340"/>
                </a:lnTo>
                <a:lnTo>
                  <a:pt x="509" y="2337"/>
                </a:lnTo>
                <a:lnTo>
                  <a:pt x="488" y="2332"/>
                </a:lnTo>
                <a:lnTo>
                  <a:pt x="467" y="2327"/>
                </a:lnTo>
                <a:lnTo>
                  <a:pt x="448" y="2320"/>
                </a:lnTo>
                <a:lnTo>
                  <a:pt x="429" y="2314"/>
                </a:lnTo>
                <a:lnTo>
                  <a:pt x="412" y="2308"/>
                </a:lnTo>
                <a:lnTo>
                  <a:pt x="380" y="2295"/>
                </a:lnTo>
                <a:lnTo>
                  <a:pt x="352" y="2283"/>
                </a:lnTo>
                <a:lnTo>
                  <a:pt x="327" y="2271"/>
                </a:lnTo>
                <a:lnTo>
                  <a:pt x="316" y="2267"/>
                </a:lnTo>
                <a:lnTo>
                  <a:pt x="305" y="2263"/>
                </a:lnTo>
                <a:lnTo>
                  <a:pt x="305" y="2263"/>
                </a:lnTo>
                <a:lnTo>
                  <a:pt x="286" y="2258"/>
                </a:lnTo>
                <a:lnTo>
                  <a:pt x="268" y="2254"/>
                </a:lnTo>
                <a:lnTo>
                  <a:pt x="253" y="2251"/>
                </a:lnTo>
                <a:lnTo>
                  <a:pt x="237" y="2249"/>
                </a:lnTo>
                <a:lnTo>
                  <a:pt x="224" y="2248"/>
                </a:lnTo>
                <a:lnTo>
                  <a:pt x="213" y="2249"/>
                </a:lnTo>
                <a:lnTo>
                  <a:pt x="202" y="2250"/>
                </a:lnTo>
                <a:lnTo>
                  <a:pt x="192" y="2252"/>
                </a:lnTo>
                <a:lnTo>
                  <a:pt x="185" y="2256"/>
                </a:lnTo>
                <a:lnTo>
                  <a:pt x="178" y="2260"/>
                </a:lnTo>
                <a:lnTo>
                  <a:pt x="172" y="2265"/>
                </a:lnTo>
                <a:lnTo>
                  <a:pt x="167" y="2271"/>
                </a:lnTo>
                <a:lnTo>
                  <a:pt x="163" y="2277"/>
                </a:lnTo>
                <a:lnTo>
                  <a:pt x="160" y="2286"/>
                </a:lnTo>
                <a:lnTo>
                  <a:pt x="156" y="2294"/>
                </a:lnTo>
                <a:lnTo>
                  <a:pt x="155" y="2303"/>
                </a:lnTo>
                <a:lnTo>
                  <a:pt x="155" y="2303"/>
                </a:lnTo>
                <a:lnTo>
                  <a:pt x="154" y="2306"/>
                </a:lnTo>
                <a:lnTo>
                  <a:pt x="152" y="2309"/>
                </a:lnTo>
                <a:lnTo>
                  <a:pt x="150" y="2312"/>
                </a:lnTo>
                <a:lnTo>
                  <a:pt x="147" y="2314"/>
                </a:lnTo>
                <a:lnTo>
                  <a:pt x="140" y="2318"/>
                </a:lnTo>
                <a:lnTo>
                  <a:pt x="132" y="2323"/>
                </a:lnTo>
                <a:lnTo>
                  <a:pt x="109" y="2333"/>
                </a:lnTo>
                <a:lnTo>
                  <a:pt x="97" y="2339"/>
                </a:lnTo>
                <a:lnTo>
                  <a:pt x="84" y="2347"/>
                </a:lnTo>
                <a:lnTo>
                  <a:pt x="71" y="2357"/>
                </a:lnTo>
                <a:lnTo>
                  <a:pt x="57" y="2371"/>
                </a:lnTo>
                <a:lnTo>
                  <a:pt x="51" y="2378"/>
                </a:lnTo>
                <a:lnTo>
                  <a:pt x="45" y="2386"/>
                </a:lnTo>
                <a:lnTo>
                  <a:pt x="39" y="2396"/>
                </a:lnTo>
                <a:lnTo>
                  <a:pt x="33" y="2406"/>
                </a:lnTo>
                <a:lnTo>
                  <a:pt x="28" y="2418"/>
                </a:lnTo>
                <a:lnTo>
                  <a:pt x="22" y="2430"/>
                </a:lnTo>
                <a:lnTo>
                  <a:pt x="17" y="2444"/>
                </a:lnTo>
                <a:lnTo>
                  <a:pt x="13" y="2458"/>
                </a:lnTo>
                <a:lnTo>
                  <a:pt x="9" y="2475"/>
                </a:lnTo>
                <a:lnTo>
                  <a:pt x="6" y="2492"/>
                </a:lnTo>
                <a:lnTo>
                  <a:pt x="3" y="2512"/>
                </a:lnTo>
                <a:lnTo>
                  <a:pt x="0" y="2532"/>
                </a:lnTo>
                <a:lnTo>
                  <a:pt x="0" y="2532"/>
                </a:lnTo>
                <a:lnTo>
                  <a:pt x="1" y="2533"/>
                </a:lnTo>
                <a:lnTo>
                  <a:pt x="2" y="2534"/>
                </a:lnTo>
                <a:lnTo>
                  <a:pt x="6" y="2532"/>
                </a:lnTo>
                <a:lnTo>
                  <a:pt x="12" y="2527"/>
                </a:lnTo>
                <a:lnTo>
                  <a:pt x="20" y="2519"/>
                </a:lnTo>
                <a:lnTo>
                  <a:pt x="43" y="2496"/>
                </a:lnTo>
                <a:lnTo>
                  <a:pt x="69" y="2472"/>
                </a:lnTo>
                <a:lnTo>
                  <a:pt x="82" y="2459"/>
                </a:lnTo>
                <a:lnTo>
                  <a:pt x="95" y="2448"/>
                </a:lnTo>
                <a:lnTo>
                  <a:pt x="107" y="2439"/>
                </a:lnTo>
                <a:lnTo>
                  <a:pt x="119" y="2432"/>
                </a:lnTo>
                <a:lnTo>
                  <a:pt x="124" y="2429"/>
                </a:lnTo>
                <a:lnTo>
                  <a:pt x="129" y="2428"/>
                </a:lnTo>
                <a:lnTo>
                  <a:pt x="133" y="2427"/>
                </a:lnTo>
                <a:lnTo>
                  <a:pt x="137" y="2427"/>
                </a:lnTo>
                <a:lnTo>
                  <a:pt x="140" y="2429"/>
                </a:lnTo>
                <a:lnTo>
                  <a:pt x="143" y="2431"/>
                </a:lnTo>
                <a:lnTo>
                  <a:pt x="144" y="2435"/>
                </a:lnTo>
                <a:lnTo>
                  <a:pt x="146" y="2439"/>
                </a:lnTo>
                <a:lnTo>
                  <a:pt x="146" y="2439"/>
                </a:lnTo>
                <a:lnTo>
                  <a:pt x="149" y="2455"/>
                </a:lnTo>
                <a:lnTo>
                  <a:pt x="154" y="2470"/>
                </a:lnTo>
                <a:lnTo>
                  <a:pt x="162" y="2483"/>
                </a:lnTo>
                <a:lnTo>
                  <a:pt x="170" y="2493"/>
                </a:lnTo>
                <a:lnTo>
                  <a:pt x="179" y="2503"/>
                </a:lnTo>
                <a:lnTo>
                  <a:pt x="189" y="2511"/>
                </a:lnTo>
                <a:lnTo>
                  <a:pt x="200" y="2518"/>
                </a:lnTo>
                <a:lnTo>
                  <a:pt x="214" y="2523"/>
                </a:lnTo>
                <a:lnTo>
                  <a:pt x="227" y="2527"/>
                </a:lnTo>
                <a:lnTo>
                  <a:pt x="241" y="2529"/>
                </a:lnTo>
                <a:lnTo>
                  <a:pt x="256" y="2531"/>
                </a:lnTo>
                <a:lnTo>
                  <a:pt x="271" y="2532"/>
                </a:lnTo>
                <a:lnTo>
                  <a:pt x="287" y="2533"/>
                </a:lnTo>
                <a:lnTo>
                  <a:pt x="304" y="2532"/>
                </a:lnTo>
                <a:lnTo>
                  <a:pt x="337" y="2530"/>
                </a:lnTo>
                <a:lnTo>
                  <a:pt x="371" y="2526"/>
                </a:lnTo>
                <a:lnTo>
                  <a:pt x="405" y="2521"/>
                </a:lnTo>
                <a:lnTo>
                  <a:pt x="438" y="2516"/>
                </a:lnTo>
                <a:lnTo>
                  <a:pt x="468" y="2512"/>
                </a:lnTo>
                <a:lnTo>
                  <a:pt x="496" y="2510"/>
                </a:lnTo>
                <a:lnTo>
                  <a:pt x="509" y="2509"/>
                </a:lnTo>
                <a:lnTo>
                  <a:pt x="520" y="2509"/>
                </a:lnTo>
                <a:lnTo>
                  <a:pt x="531" y="2510"/>
                </a:lnTo>
                <a:lnTo>
                  <a:pt x="541" y="2512"/>
                </a:lnTo>
                <a:lnTo>
                  <a:pt x="549" y="2515"/>
                </a:lnTo>
                <a:lnTo>
                  <a:pt x="555" y="2519"/>
                </a:lnTo>
                <a:lnTo>
                  <a:pt x="555" y="2519"/>
                </a:lnTo>
                <a:lnTo>
                  <a:pt x="558" y="2522"/>
                </a:lnTo>
                <a:lnTo>
                  <a:pt x="559" y="2524"/>
                </a:lnTo>
                <a:lnTo>
                  <a:pt x="557" y="2527"/>
                </a:lnTo>
                <a:lnTo>
                  <a:pt x="554" y="2529"/>
                </a:lnTo>
                <a:lnTo>
                  <a:pt x="549" y="2532"/>
                </a:lnTo>
                <a:lnTo>
                  <a:pt x="542" y="2534"/>
                </a:lnTo>
                <a:lnTo>
                  <a:pt x="525" y="2538"/>
                </a:lnTo>
                <a:lnTo>
                  <a:pt x="475" y="2547"/>
                </a:lnTo>
                <a:lnTo>
                  <a:pt x="447" y="2553"/>
                </a:lnTo>
                <a:lnTo>
                  <a:pt x="417" y="2559"/>
                </a:lnTo>
                <a:lnTo>
                  <a:pt x="388" y="2566"/>
                </a:lnTo>
                <a:lnTo>
                  <a:pt x="359" y="2574"/>
                </a:lnTo>
                <a:lnTo>
                  <a:pt x="346" y="2578"/>
                </a:lnTo>
                <a:lnTo>
                  <a:pt x="333" y="2583"/>
                </a:lnTo>
                <a:lnTo>
                  <a:pt x="322" y="2588"/>
                </a:lnTo>
                <a:lnTo>
                  <a:pt x="312" y="2594"/>
                </a:lnTo>
                <a:lnTo>
                  <a:pt x="303" y="2601"/>
                </a:lnTo>
                <a:lnTo>
                  <a:pt x="294" y="2607"/>
                </a:lnTo>
                <a:lnTo>
                  <a:pt x="288" y="2614"/>
                </a:lnTo>
                <a:lnTo>
                  <a:pt x="284" y="2622"/>
                </a:lnTo>
                <a:lnTo>
                  <a:pt x="282" y="2630"/>
                </a:lnTo>
                <a:lnTo>
                  <a:pt x="281" y="2638"/>
                </a:lnTo>
                <a:lnTo>
                  <a:pt x="283" y="2649"/>
                </a:lnTo>
                <a:lnTo>
                  <a:pt x="287" y="2659"/>
                </a:lnTo>
                <a:lnTo>
                  <a:pt x="287" y="2659"/>
                </a:lnTo>
                <a:lnTo>
                  <a:pt x="287" y="2660"/>
                </a:lnTo>
                <a:lnTo>
                  <a:pt x="286" y="2663"/>
                </a:lnTo>
                <a:lnTo>
                  <a:pt x="283" y="2669"/>
                </a:lnTo>
                <a:lnTo>
                  <a:pt x="268" y="2686"/>
                </a:lnTo>
                <a:lnTo>
                  <a:pt x="258" y="2699"/>
                </a:lnTo>
                <a:lnTo>
                  <a:pt x="247" y="2712"/>
                </a:lnTo>
                <a:lnTo>
                  <a:pt x="237" y="2727"/>
                </a:lnTo>
                <a:lnTo>
                  <a:pt x="228" y="2744"/>
                </a:lnTo>
                <a:lnTo>
                  <a:pt x="220" y="2761"/>
                </a:lnTo>
                <a:lnTo>
                  <a:pt x="217" y="2770"/>
                </a:lnTo>
                <a:lnTo>
                  <a:pt x="214" y="2781"/>
                </a:lnTo>
                <a:lnTo>
                  <a:pt x="213" y="2790"/>
                </a:lnTo>
                <a:lnTo>
                  <a:pt x="212" y="2801"/>
                </a:lnTo>
                <a:lnTo>
                  <a:pt x="212" y="2811"/>
                </a:lnTo>
                <a:lnTo>
                  <a:pt x="213" y="2821"/>
                </a:lnTo>
                <a:lnTo>
                  <a:pt x="215" y="2833"/>
                </a:lnTo>
                <a:lnTo>
                  <a:pt x="219" y="2844"/>
                </a:lnTo>
                <a:lnTo>
                  <a:pt x="223" y="2856"/>
                </a:lnTo>
                <a:lnTo>
                  <a:pt x="229" y="2867"/>
                </a:lnTo>
                <a:lnTo>
                  <a:pt x="237" y="2880"/>
                </a:lnTo>
                <a:lnTo>
                  <a:pt x="246" y="2892"/>
                </a:lnTo>
                <a:lnTo>
                  <a:pt x="257" y="2904"/>
                </a:lnTo>
                <a:lnTo>
                  <a:pt x="270" y="2917"/>
                </a:lnTo>
                <a:lnTo>
                  <a:pt x="270" y="2917"/>
                </a:lnTo>
                <a:lnTo>
                  <a:pt x="270" y="2910"/>
                </a:lnTo>
                <a:lnTo>
                  <a:pt x="272" y="2893"/>
                </a:lnTo>
                <a:lnTo>
                  <a:pt x="277" y="2868"/>
                </a:lnTo>
                <a:lnTo>
                  <a:pt x="281" y="2855"/>
                </a:lnTo>
                <a:lnTo>
                  <a:pt x="285" y="2841"/>
                </a:lnTo>
                <a:lnTo>
                  <a:pt x="291" y="2828"/>
                </a:lnTo>
                <a:lnTo>
                  <a:pt x="298" y="2814"/>
                </a:lnTo>
                <a:lnTo>
                  <a:pt x="306" y="2801"/>
                </a:lnTo>
                <a:lnTo>
                  <a:pt x="315" y="2791"/>
                </a:lnTo>
                <a:lnTo>
                  <a:pt x="321" y="2786"/>
                </a:lnTo>
                <a:lnTo>
                  <a:pt x="326" y="2782"/>
                </a:lnTo>
                <a:lnTo>
                  <a:pt x="332" y="2777"/>
                </a:lnTo>
                <a:lnTo>
                  <a:pt x="339" y="2774"/>
                </a:lnTo>
                <a:lnTo>
                  <a:pt x="346" y="2772"/>
                </a:lnTo>
                <a:lnTo>
                  <a:pt x="354" y="2770"/>
                </a:lnTo>
                <a:lnTo>
                  <a:pt x="361" y="2770"/>
                </a:lnTo>
                <a:lnTo>
                  <a:pt x="369" y="2770"/>
                </a:lnTo>
                <a:lnTo>
                  <a:pt x="369" y="2770"/>
                </a:lnTo>
                <a:lnTo>
                  <a:pt x="383" y="2771"/>
                </a:lnTo>
                <a:lnTo>
                  <a:pt x="396" y="2774"/>
                </a:lnTo>
                <a:lnTo>
                  <a:pt x="408" y="2778"/>
                </a:lnTo>
                <a:lnTo>
                  <a:pt x="420" y="2783"/>
                </a:lnTo>
                <a:lnTo>
                  <a:pt x="443" y="2793"/>
                </a:lnTo>
                <a:lnTo>
                  <a:pt x="454" y="2797"/>
                </a:lnTo>
                <a:lnTo>
                  <a:pt x="465" y="2801"/>
                </a:lnTo>
                <a:lnTo>
                  <a:pt x="476" y="2804"/>
                </a:lnTo>
                <a:lnTo>
                  <a:pt x="489" y="2806"/>
                </a:lnTo>
                <a:lnTo>
                  <a:pt x="501" y="2807"/>
                </a:lnTo>
                <a:lnTo>
                  <a:pt x="514" y="2805"/>
                </a:lnTo>
                <a:lnTo>
                  <a:pt x="528" y="2802"/>
                </a:lnTo>
                <a:lnTo>
                  <a:pt x="542" y="2796"/>
                </a:lnTo>
                <a:lnTo>
                  <a:pt x="558" y="2788"/>
                </a:lnTo>
                <a:lnTo>
                  <a:pt x="575" y="2775"/>
                </a:lnTo>
                <a:lnTo>
                  <a:pt x="575" y="2775"/>
                </a:lnTo>
                <a:lnTo>
                  <a:pt x="588" y="2766"/>
                </a:lnTo>
                <a:lnTo>
                  <a:pt x="600" y="2755"/>
                </a:lnTo>
                <a:lnTo>
                  <a:pt x="614" y="2743"/>
                </a:lnTo>
                <a:lnTo>
                  <a:pt x="630" y="2730"/>
                </a:lnTo>
                <a:lnTo>
                  <a:pt x="651" y="2718"/>
                </a:lnTo>
                <a:lnTo>
                  <a:pt x="664" y="2711"/>
                </a:lnTo>
                <a:lnTo>
                  <a:pt x="678" y="2705"/>
                </a:lnTo>
                <a:lnTo>
                  <a:pt x="693" y="2698"/>
                </a:lnTo>
                <a:lnTo>
                  <a:pt x="712" y="2692"/>
                </a:lnTo>
                <a:lnTo>
                  <a:pt x="732" y="2684"/>
                </a:lnTo>
                <a:lnTo>
                  <a:pt x="754" y="2677"/>
                </a:lnTo>
                <a:lnTo>
                  <a:pt x="754" y="2677"/>
                </a:lnTo>
                <a:lnTo>
                  <a:pt x="756" y="2677"/>
                </a:lnTo>
                <a:lnTo>
                  <a:pt x="757" y="2678"/>
                </a:lnTo>
                <a:lnTo>
                  <a:pt x="760" y="2683"/>
                </a:lnTo>
                <a:lnTo>
                  <a:pt x="762" y="2692"/>
                </a:lnTo>
                <a:lnTo>
                  <a:pt x="765" y="2701"/>
                </a:lnTo>
                <a:lnTo>
                  <a:pt x="768" y="2713"/>
                </a:lnTo>
                <a:lnTo>
                  <a:pt x="772" y="2725"/>
                </a:lnTo>
                <a:lnTo>
                  <a:pt x="777" y="2738"/>
                </a:lnTo>
                <a:lnTo>
                  <a:pt x="783" y="2750"/>
                </a:lnTo>
                <a:lnTo>
                  <a:pt x="783" y="2750"/>
                </a:lnTo>
                <a:lnTo>
                  <a:pt x="786" y="2753"/>
                </a:lnTo>
                <a:lnTo>
                  <a:pt x="789" y="2755"/>
                </a:lnTo>
                <a:lnTo>
                  <a:pt x="797" y="2760"/>
                </a:lnTo>
                <a:lnTo>
                  <a:pt x="805" y="2763"/>
                </a:lnTo>
                <a:lnTo>
                  <a:pt x="813" y="2767"/>
                </a:lnTo>
                <a:lnTo>
                  <a:pt x="821" y="2770"/>
                </a:lnTo>
                <a:lnTo>
                  <a:pt x="827" y="2773"/>
                </a:lnTo>
                <a:lnTo>
                  <a:pt x="830" y="2775"/>
                </a:lnTo>
                <a:lnTo>
                  <a:pt x="831" y="2777"/>
                </a:lnTo>
                <a:lnTo>
                  <a:pt x="833" y="2781"/>
                </a:lnTo>
                <a:lnTo>
                  <a:pt x="833" y="2784"/>
                </a:lnTo>
                <a:lnTo>
                  <a:pt x="833" y="2784"/>
                </a:lnTo>
                <a:lnTo>
                  <a:pt x="832" y="2794"/>
                </a:lnTo>
                <a:lnTo>
                  <a:pt x="830" y="2805"/>
                </a:lnTo>
                <a:lnTo>
                  <a:pt x="826" y="2815"/>
                </a:lnTo>
                <a:lnTo>
                  <a:pt x="822" y="2824"/>
                </a:lnTo>
                <a:lnTo>
                  <a:pt x="817" y="2834"/>
                </a:lnTo>
                <a:lnTo>
                  <a:pt x="811" y="2843"/>
                </a:lnTo>
                <a:lnTo>
                  <a:pt x="798" y="2859"/>
                </a:lnTo>
                <a:lnTo>
                  <a:pt x="784" y="2873"/>
                </a:lnTo>
                <a:lnTo>
                  <a:pt x="773" y="2884"/>
                </a:lnTo>
                <a:lnTo>
                  <a:pt x="765" y="2890"/>
                </a:lnTo>
                <a:lnTo>
                  <a:pt x="763" y="2893"/>
                </a:lnTo>
                <a:lnTo>
                  <a:pt x="763" y="2893"/>
                </a:lnTo>
                <a:lnTo>
                  <a:pt x="767" y="2896"/>
                </a:lnTo>
                <a:lnTo>
                  <a:pt x="778" y="2899"/>
                </a:lnTo>
                <a:lnTo>
                  <a:pt x="785" y="2900"/>
                </a:lnTo>
                <a:lnTo>
                  <a:pt x="794" y="2901"/>
                </a:lnTo>
                <a:lnTo>
                  <a:pt x="804" y="2901"/>
                </a:lnTo>
                <a:lnTo>
                  <a:pt x="815" y="2899"/>
                </a:lnTo>
                <a:lnTo>
                  <a:pt x="826" y="2896"/>
                </a:lnTo>
                <a:lnTo>
                  <a:pt x="839" y="2891"/>
                </a:lnTo>
                <a:lnTo>
                  <a:pt x="852" y="2884"/>
                </a:lnTo>
                <a:lnTo>
                  <a:pt x="865" y="2874"/>
                </a:lnTo>
                <a:lnTo>
                  <a:pt x="879" y="2860"/>
                </a:lnTo>
                <a:lnTo>
                  <a:pt x="894" y="2844"/>
                </a:lnTo>
                <a:lnTo>
                  <a:pt x="907" y="2824"/>
                </a:lnTo>
                <a:lnTo>
                  <a:pt x="921" y="2801"/>
                </a:lnTo>
                <a:lnTo>
                  <a:pt x="921" y="2801"/>
                </a:lnTo>
                <a:lnTo>
                  <a:pt x="924" y="2797"/>
                </a:lnTo>
                <a:lnTo>
                  <a:pt x="927" y="2793"/>
                </a:lnTo>
                <a:lnTo>
                  <a:pt x="930" y="2791"/>
                </a:lnTo>
                <a:lnTo>
                  <a:pt x="935" y="2789"/>
                </a:lnTo>
                <a:lnTo>
                  <a:pt x="939" y="2788"/>
                </a:lnTo>
                <a:lnTo>
                  <a:pt x="943" y="2788"/>
                </a:lnTo>
                <a:lnTo>
                  <a:pt x="951" y="2788"/>
                </a:lnTo>
                <a:lnTo>
                  <a:pt x="970" y="2790"/>
                </a:lnTo>
                <a:lnTo>
                  <a:pt x="982" y="2790"/>
                </a:lnTo>
                <a:lnTo>
                  <a:pt x="987" y="2789"/>
                </a:lnTo>
                <a:lnTo>
                  <a:pt x="992" y="2788"/>
                </a:lnTo>
                <a:lnTo>
                  <a:pt x="992" y="2788"/>
                </a:lnTo>
                <a:lnTo>
                  <a:pt x="1010" y="2782"/>
                </a:lnTo>
                <a:lnTo>
                  <a:pt x="1017" y="2777"/>
                </a:lnTo>
                <a:lnTo>
                  <a:pt x="1024" y="2773"/>
                </a:lnTo>
                <a:lnTo>
                  <a:pt x="1029" y="2770"/>
                </a:lnTo>
                <a:lnTo>
                  <a:pt x="1033" y="2766"/>
                </a:lnTo>
                <a:lnTo>
                  <a:pt x="1036" y="2762"/>
                </a:lnTo>
                <a:lnTo>
                  <a:pt x="1039" y="2757"/>
                </a:lnTo>
                <a:lnTo>
                  <a:pt x="1041" y="2753"/>
                </a:lnTo>
                <a:lnTo>
                  <a:pt x="1042" y="2748"/>
                </a:lnTo>
                <a:lnTo>
                  <a:pt x="1043" y="2739"/>
                </a:lnTo>
                <a:lnTo>
                  <a:pt x="1042" y="2728"/>
                </a:lnTo>
                <a:lnTo>
                  <a:pt x="1040" y="2718"/>
                </a:lnTo>
                <a:lnTo>
                  <a:pt x="1035" y="2696"/>
                </a:lnTo>
                <a:lnTo>
                  <a:pt x="1034" y="2685"/>
                </a:lnTo>
                <a:lnTo>
                  <a:pt x="1033" y="2673"/>
                </a:lnTo>
                <a:lnTo>
                  <a:pt x="1034" y="2662"/>
                </a:lnTo>
                <a:lnTo>
                  <a:pt x="1036" y="2657"/>
                </a:lnTo>
                <a:lnTo>
                  <a:pt x="1038" y="2651"/>
                </a:lnTo>
                <a:lnTo>
                  <a:pt x="1040" y="2646"/>
                </a:lnTo>
                <a:lnTo>
                  <a:pt x="1044" y="2640"/>
                </a:lnTo>
                <a:lnTo>
                  <a:pt x="1048" y="2634"/>
                </a:lnTo>
                <a:lnTo>
                  <a:pt x="1054" y="2629"/>
                </a:lnTo>
                <a:lnTo>
                  <a:pt x="1054" y="2629"/>
                </a:lnTo>
                <a:lnTo>
                  <a:pt x="1069" y="2616"/>
                </a:lnTo>
                <a:lnTo>
                  <a:pt x="1084" y="2603"/>
                </a:lnTo>
                <a:lnTo>
                  <a:pt x="1099" y="2591"/>
                </a:lnTo>
                <a:lnTo>
                  <a:pt x="1115" y="2579"/>
                </a:lnTo>
                <a:lnTo>
                  <a:pt x="1146" y="2559"/>
                </a:lnTo>
                <a:lnTo>
                  <a:pt x="1178" y="2540"/>
                </a:lnTo>
                <a:lnTo>
                  <a:pt x="1210" y="2524"/>
                </a:lnTo>
                <a:lnTo>
                  <a:pt x="1241" y="2509"/>
                </a:lnTo>
                <a:lnTo>
                  <a:pt x="1273" y="2494"/>
                </a:lnTo>
                <a:lnTo>
                  <a:pt x="1304" y="2482"/>
                </a:lnTo>
                <a:lnTo>
                  <a:pt x="1304" y="2482"/>
                </a:lnTo>
                <a:lnTo>
                  <a:pt x="1303" y="2486"/>
                </a:lnTo>
                <a:lnTo>
                  <a:pt x="1299" y="2498"/>
                </a:lnTo>
                <a:lnTo>
                  <a:pt x="1294" y="2518"/>
                </a:lnTo>
                <a:lnTo>
                  <a:pt x="1291" y="2541"/>
                </a:lnTo>
                <a:lnTo>
                  <a:pt x="1290" y="2556"/>
                </a:lnTo>
                <a:lnTo>
                  <a:pt x="1290" y="2570"/>
                </a:lnTo>
                <a:lnTo>
                  <a:pt x="1291" y="2585"/>
                </a:lnTo>
                <a:lnTo>
                  <a:pt x="1292" y="2602"/>
                </a:lnTo>
                <a:lnTo>
                  <a:pt x="1296" y="2618"/>
                </a:lnTo>
                <a:lnTo>
                  <a:pt x="1301" y="2634"/>
                </a:lnTo>
                <a:lnTo>
                  <a:pt x="1306" y="2652"/>
                </a:lnTo>
                <a:lnTo>
                  <a:pt x="1314" y="2669"/>
                </a:lnTo>
                <a:lnTo>
                  <a:pt x="1640" y="2585"/>
                </a:lnTo>
                <a:lnTo>
                  <a:pt x="1640" y="2585"/>
                </a:lnTo>
                <a:lnTo>
                  <a:pt x="1634" y="2569"/>
                </a:lnTo>
                <a:lnTo>
                  <a:pt x="1631" y="2553"/>
                </a:lnTo>
                <a:lnTo>
                  <a:pt x="1629" y="2535"/>
                </a:lnTo>
                <a:lnTo>
                  <a:pt x="1629" y="2518"/>
                </a:lnTo>
                <a:lnTo>
                  <a:pt x="1631" y="2500"/>
                </a:lnTo>
                <a:lnTo>
                  <a:pt x="1634" y="2483"/>
                </a:lnTo>
                <a:lnTo>
                  <a:pt x="1638" y="2466"/>
                </a:lnTo>
                <a:lnTo>
                  <a:pt x="1644" y="2447"/>
                </a:lnTo>
                <a:lnTo>
                  <a:pt x="1651" y="2430"/>
                </a:lnTo>
                <a:lnTo>
                  <a:pt x="1660" y="2411"/>
                </a:lnTo>
                <a:lnTo>
                  <a:pt x="1669" y="2394"/>
                </a:lnTo>
                <a:lnTo>
                  <a:pt x="1679" y="2377"/>
                </a:lnTo>
                <a:lnTo>
                  <a:pt x="1689" y="2359"/>
                </a:lnTo>
                <a:lnTo>
                  <a:pt x="1701" y="2342"/>
                </a:lnTo>
                <a:lnTo>
                  <a:pt x="1725" y="2310"/>
                </a:lnTo>
                <a:lnTo>
                  <a:pt x="1725" y="2310"/>
                </a:lnTo>
                <a:lnTo>
                  <a:pt x="1726" y="2309"/>
                </a:lnTo>
                <a:lnTo>
                  <a:pt x="1727" y="2309"/>
                </a:lnTo>
                <a:lnTo>
                  <a:pt x="1728" y="2313"/>
                </a:lnTo>
                <a:lnTo>
                  <a:pt x="1725" y="2335"/>
                </a:lnTo>
                <a:lnTo>
                  <a:pt x="1721" y="2368"/>
                </a:lnTo>
                <a:lnTo>
                  <a:pt x="1715" y="2410"/>
                </a:lnTo>
                <a:lnTo>
                  <a:pt x="1713" y="2433"/>
                </a:lnTo>
                <a:lnTo>
                  <a:pt x="1711" y="2456"/>
                </a:lnTo>
                <a:lnTo>
                  <a:pt x="1711" y="2478"/>
                </a:lnTo>
                <a:lnTo>
                  <a:pt x="1711" y="2499"/>
                </a:lnTo>
                <a:lnTo>
                  <a:pt x="1713" y="2519"/>
                </a:lnTo>
                <a:lnTo>
                  <a:pt x="1716" y="2536"/>
                </a:lnTo>
                <a:lnTo>
                  <a:pt x="1719" y="2544"/>
                </a:lnTo>
                <a:lnTo>
                  <a:pt x="1722" y="2551"/>
                </a:lnTo>
                <a:lnTo>
                  <a:pt x="1726" y="2557"/>
                </a:lnTo>
                <a:lnTo>
                  <a:pt x="1730" y="2562"/>
                </a:lnTo>
                <a:lnTo>
                  <a:pt x="2050" y="2479"/>
                </a:lnTo>
                <a:lnTo>
                  <a:pt x="2050" y="2479"/>
                </a:lnTo>
                <a:lnTo>
                  <a:pt x="2046" y="2469"/>
                </a:lnTo>
                <a:lnTo>
                  <a:pt x="2043" y="2457"/>
                </a:lnTo>
                <a:lnTo>
                  <a:pt x="2041" y="2446"/>
                </a:lnTo>
                <a:lnTo>
                  <a:pt x="2039" y="2434"/>
                </a:lnTo>
                <a:lnTo>
                  <a:pt x="2038" y="2422"/>
                </a:lnTo>
                <a:lnTo>
                  <a:pt x="2038" y="2409"/>
                </a:lnTo>
                <a:lnTo>
                  <a:pt x="2039" y="2383"/>
                </a:lnTo>
                <a:lnTo>
                  <a:pt x="2043" y="2356"/>
                </a:lnTo>
                <a:lnTo>
                  <a:pt x="2048" y="2330"/>
                </a:lnTo>
                <a:lnTo>
                  <a:pt x="2055" y="2303"/>
                </a:lnTo>
                <a:lnTo>
                  <a:pt x="2064" y="2279"/>
                </a:lnTo>
                <a:lnTo>
                  <a:pt x="2064" y="2279"/>
                </a:lnTo>
                <a:lnTo>
                  <a:pt x="2072" y="2306"/>
                </a:lnTo>
                <a:lnTo>
                  <a:pt x="2079" y="2335"/>
                </a:lnTo>
                <a:lnTo>
                  <a:pt x="2088" y="2362"/>
                </a:lnTo>
                <a:lnTo>
                  <a:pt x="2098" y="2390"/>
                </a:lnTo>
                <a:lnTo>
                  <a:pt x="2108" y="2417"/>
                </a:lnTo>
                <a:lnTo>
                  <a:pt x="2121" y="2443"/>
                </a:lnTo>
                <a:lnTo>
                  <a:pt x="2135" y="2469"/>
                </a:lnTo>
                <a:lnTo>
                  <a:pt x="2149" y="2494"/>
                </a:lnTo>
                <a:lnTo>
                  <a:pt x="2166" y="2519"/>
                </a:lnTo>
                <a:lnTo>
                  <a:pt x="2183" y="2541"/>
                </a:lnTo>
                <a:lnTo>
                  <a:pt x="2201" y="2563"/>
                </a:lnTo>
                <a:lnTo>
                  <a:pt x="2222" y="2583"/>
                </a:lnTo>
                <a:lnTo>
                  <a:pt x="2244" y="2603"/>
                </a:lnTo>
                <a:lnTo>
                  <a:pt x="2268" y="2619"/>
                </a:lnTo>
                <a:lnTo>
                  <a:pt x="2280" y="2627"/>
                </a:lnTo>
                <a:lnTo>
                  <a:pt x="2292" y="2634"/>
                </a:lnTo>
                <a:lnTo>
                  <a:pt x="2306" y="2641"/>
                </a:lnTo>
                <a:lnTo>
                  <a:pt x="2320" y="2648"/>
                </a:lnTo>
                <a:lnTo>
                  <a:pt x="2320" y="2648"/>
                </a:lnTo>
                <a:lnTo>
                  <a:pt x="2365" y="2667"/>
                </a:lnTo>
                <a:lnTo>
                  <a:pt x="2410" y="2685"/>
                </a:lnTo>
                <a:lnTo>
                  <a:pt x="2454" y="2702"/>
                </a:lnTo>
                <a:lnTo>
                  <a:pt x="2499" y="2718"/>
                </a:lnTo>
                <a:lnTo>
                  <a:pt x="2544" y="2733"/>
                </a:lnTo>
                <a:lnTo>
                  <a:pt x="2589" y="2749"/>
                </a:lnTo>
                <a:lnTo>
                  <a:pt x="2683" y="2778"/>
                </a:lnTo>
                <a:lnTo>
                  <a:pt x="2782" y="2807"/>
                </a:lnTo>
                <a:lnTo>
                  <a:pt x="2889" y="2838"/>
                </a:lnTo>
                <a:lnTo>
                  <a:pt x="3005" y="2872"/>
                </a:lnTo>
                <a:lnTo>
                  <a:pt x="3133" y="2908"/>
                </a:lnTo>
                <a:lnTo>
                  <a:pt x="3133" y="2908"/>
                </a:lnTo>
                <a:lnTo>
                  <a:pt x="3205" y="2931"/>
                </a:lnTo>
                <a:lnTo>
                  <a:pt x="3273" y="2954"/>
                </a:lnTo>
                <a:lnTo>
                  <a:pt x="3305" y="2966"/>
                </a:lnTo>
                <a:lnTo>
                  <a:pt x="3333" y="2977"/>
                </a:lnTo>
                <a:lnTo>
                  <a:pt x="3358" y="2987"/>
                </a:lnTo>
                <a:lnTo>
                  <a:pt x="3377" y="2996"/>
                </a:lnTo>
                <a:lnTo>
                  <a:pt x="3377" y="2996"/>
                </a:lnTo>
                <a:lnTo>
                  <a:pt x="3383" y="2999"/>
                </a:lnTo>
                <a:lnTo>
                  <a:pt x="3389" y="3003"/>
                </a:lnTo>
                <a:lnTo>
                  <a:pt x="3393" y="3006"/>
                </a:lnTo>
                <a:lnTo>
                  <a:pt x="3397" y="3011"/>
                </a:lnTo>
                <a:lnTo>
                  <a:pt x="3399" y="3015"/>
                </a:lnTo>
                <a:lnTo>
                  <a:pt x="3401" y="3020"/>
                </a:lnTo>
                <a:lnTo>
                  <a:pt x="3402" y="3024"/>
                </a:lnTo>
                <a:lnTo>
                  <a:pt x="3402" y="3028"/>
                </a:lnTo>
                <a:lnTo>
                  <a:pt x="3401" y="3037"/>
                </a:lnTo>
                <a:lnTo>
                  <a:pt x="3397" y="3046"/>
                </a:lnTo>
                <a:lnTo>
                  <a:pt x="3392" y="3055"/>
                </a:lnTo>
                <a:lnTo>
                  <a:pt x="3386" y="3064"/>
                </a:lnTo>
                <a:lnTo>
                  <a:pt x="3378" y="3072"/>
                </a:lnTo>
                <a:lnTo>
                  <a:pt x="3371" y="3080"/>
                </a:lnTo>
                <a:lnTo>
                  <a:pt x="3357" y="3092"/>
                </a:lnTo>
                <a:lnTo>
                  <a:pt x="3346" y="3102"/>
                </a:lnTo>
                <a:lnTo>
                  <a:pt x="3341" y="3105"/>
                </a:lnTo>
                <a:lnTo>
                  <a:pt x="3341" y="3105"/>
                </a:lnTo>
                <a:lnTo>
                  <a:pt x="3355" y="3113"/>
                </a:lnTo>
                <a:lnTo>
                  <a:pt x="3371" y="3121"/>
                </a:lnTo>
                <a:lnTo>
                  <a:pt x="3411" y="3139"/>
                </a:lnTo>
                <a:lnTo>
                  <a:pt x="3435" y="3152"/>
                </a:lnTo>
                <a:lnTo>
                  <a:pt x="3461" y="3167"/>
                </a:lnTo>
                <a:lnTo>
                  <a:pt x="3492" y="3186"/>
                </a:lnTo>
                <a:lnTo>
                  <a:pt x="3527" y="3211"/>
                </a:lnTo>
                <a:lnTo>
                  <a:pt x="3527" y="3211"/>
                </a:lnTo>
                <a:lnTo>
                  <a:pt x="3545" y="3226"/>
                </a:lnTo>
                <a:lnTo>
                  <a:pt x="3563" y="3244"/>
                </a:lnTo>
                <a:lnTo>
                  <a:pt x="3580" y="3263"/>
                </a:lnTo>
                <a:lnTo>
                  <a:pt x="3595" y="3284"/>
                </a:lnTo>
                <a:lnTo>
                  <a:pt x="3608" y="3305"/>
                </a:lnTo>
                <a:lnTo>
                  <a:pt x="3622" y="3329"/>
                </a:lnTo>
                <a:lnTo>
                  <a:pt x="3634" y="3352"/>
                </a:lnTo>
                <a:lnTo>
                  <a:pt x="3645" y="3378"/>
                </a:lnTo>
                <a:lnTo>
                  <a:pt x="3655" y="3404"/>
                </a:lnTo>
                <a:lnTo>
                  <a:pt x="3665" y="3432"/>
                </a:lnTo>
                <a:lnTo>
                  <a:pt x="3674" y="3460"/>
                </a:lnTo>
                <a:lnTo>
                  <a:pt x="3682" y="3489"/>
                </a:lnTo>
                <a:lnTo>
                  <a:pt x="3698" y="3549"/>
                </a:lnTo>
                <a:lnTo>
                  <a:pt x="3714" y="3612"/>
                </a:lnTo>
                <a:lnTo>
                  <a:pt x="3714" y="3612"/>
                </a:lnTo>
                <a:lnTo>
                  <a:pt x="3725" y="3662"/>
                </a:lnTo>
                <a:lnTo>
                  <a:pt x="3734" y="3715"/>
                </a:lnTo>
                <a:lnTo>
                  <a:pt x="3742" y="3768"/>
                </a:lnTo>
                <a:lnTo>
                  <a:pt x="3744" y="3795"/>
                </a:lnTo>
                <a:lnTo>
                  <a:pt x="3746" y="3819"/>
                </a:lnTo>
                <a:lnTo>
                  <a:pt x="3748" y="3844"/>
                </a:lnTo>
                <a:lnTo>
                  <a:pt x="3749" y="3867"/>
                </a:lnTo>
                <a:lnTo>
                  <a:pt x="3748" y="3889"/>
                </a:lnTo>
                <a:lnTo>
                  <a:pt x="3745" y="3909"/>
                </a:lnTo>
                <a:lnTo>
                  <a:pt x="3742" y="3928"/>
                </a:lnTo>
                <a:lnTo>
                  <a:pt x="3737" y="3944"/>
                </a:lnTo>
                <a:lnTo>
                  <a:pt x="3731" y="3957"/>
                </a:lnTo>
                <a:lnTo>
                  <a:pt x="3728" y="3963"/>
                </a:lnTo>
                <a:lnTo>
                  <a:pt x="3724" y="3969"/>
                </a:lnTo>
                <a:lnTo>
                  <a:pt x="3724" y="3969"/>
                </a:lnTo>
                <a:lnTo>
                  <a:pt x="3715" y="3979"/>
                </a:lnTo>
                <a:lnTo>
                  <a:pt x="3705" y="3989"/>
                </a:lnTo>
                <a:lnTo>
                  <a:pt x="3691" y="3998"/>
                </a:lnTo>
                <a:lnTo>
                  <a:pt x="3683" y="4003"/>
                </a:lnTo>
                <a:lnTo>
                  <a:pt x="3673" y="4008"/>
                </a:lnTo>
                <a:lnTo>
                  <a:pt x="3663" y="4014"/>
                </a:lnTo>
                <a:lnTo>
                  <a:pt x="3650" y="4019"/>
                </a:lnTo>
                <a:lnTo>
                  <a:pt x="3621" y="4028"/>
                </a:lnTo>
                <a:lnTo>
                  <a:pt x="3582" y="4038"/>
                </a:lnTo>
                <a:lnTo>
                  <a:pt x="3535" y="4048"/>
                </a:lnTo>
                <a:lnTo>
                  <a:pt x="3560" y="4171"/>
                </a:lnTo>
                <a:lnTo>
                  <a:pt x="3560" y="4171"/>
                </a:lnTo>
                <a:lnTo>
                  <a:pt x="3579" y="4172"/>
                </a:lnTo>
                <a:lnTo>
                  <a:pt x="3597" y="4172"/>
                </a:lnTo>
                <a:lnTo>
                  <a:pt x="3615" y="4171"/>
                </a:lnTo>
                <a:lnTo>
                  <a:pt x="3631" y="4169"/>
                </a:lnTo>
                <a:lnTo>
                  <a:pt x="3646" y="4167"/>
                </a:lnTo>
                <a:lnTo>
                  <a:pt x="3662" y="4164"/>
                </a:lnTo>
                <a:lnTo>
                  <a:pt x="3688" y="4157"/>
                </a:lnTo>
                <a:lnTo>
                  <a:pt x="3711" y="4150"/>
                </a:lnTo>
                <a:lnTo>
                  <a:pt x="3728" y="4143"/>
                </a:lnTo>
                <a:lnTo>
                  <a:pt x="3742" y="4137"/>
                </a:lnTo>
                <a:lnTo>
                  <a:pt x="3742" y="4137"/>
                </a:lnTo>
                <a:lnTo>
                  <a:pt x="3736" y="4143"/>
                </a:lnTo>
                <a:lnTo>
                  <a:pt x="3730" y="4151"/>
                </a:lnTo>
                <a:lnTo>
                  <a:pt x="3722" y="4161"/>
                </a:lnTo>
                <a:lnTo>
                  <a:pt x="3722" y="4161"/>
                </a:lnTo>
                <a:lnTo>
                  <a:pt x="3711" y="4177"/>
                </a:lnTo>
                <a:lnTo>
                  <a:pt x="3700" y="4194"/>
                </a:lnTo>
                <a:lnTo>
                  <a:pt x="3692" y="4209"/>
                </a:lnTo>
                <a:lnTo>
                  <a:pt x="3685" y="4224"/>
                </a:lnTo>
                <a:lnTo>
                  <a:pt x="3680" y="4240"/>
                </a:lnTo>
                <a:lnTo>
                  <a:pt x="3675" y="4257"/>
                </a:lnTo>
                <a:lnTo>
                  <a:pt x="3672" y="4274"/>
                </a:lnTo>
                <a:lnTo>
                  <a:pt x="3669" y="4295"/>
                </a:lnTo>
                <a:lnTo>
                  <a:pt x="3799" y="4379"/>
                </a:lnTo>
                <a:lnTo>
                  <a:pt x="3799" y="4379"/>
                </a:lnTo>
                <a:lnTo>
                  <a:pt x="3812" y="4338"/>
                </a:lnTo>
                <a:lnTo>
                  <a:pt x="3826" y="4298"/>
                </a:lnTo>
                <a:lnTo>
                  <a:pt x="3841" y="4262"/>
                </a:lnTo>
                <a:lnTo>
                  <a:pt x="3855" y="4229"/>
                </a:lnTo>
                <a:lnTo>
                  <a:pt x="3870" y="4202"/>
                </a:lnTo>
                <a:lnTo>
                  <a:pt x="3877" y="4189"/>
                </a:lnTo>
                <a:lnTo>
                  <a:pt x="3885" y="4179"/>
                </a:lnTo>
                <a:lnTo>
                  <a:pt x="3892" y="4170"/>
                </a:lnTo>
                <a:lnTo>
                  <a:pt x="3899" y="4163"/>
                </a:lnTo>
                <a:lnTo>
                  <a:pt x="3906" y="4158"/>
                </a:lnTo>
                <a:lnTo>
                  <a:pt x="3913" y="4154"/>
                </a:lnTo>
                <a:lnTo>
                  <a:pt x="3913" y="4154"/>
                </a:lnTo>
                <a:lnTo>
                  <a:pt x="3919" y="4152"/>
                </a:lnTo>
                <a:lnTo>
                  <a:pt x="3926" y="4152"/>
                </a:lnTo>
                <a:lnTo>
                  <a:pt x="3935" y="4152"/>
                </a:lnTo>
                <a:lnTo>
                  <a:pt x="3944" y="4153"/>
                </a:lnTo>
                <a:lnTo>
                  <a:pt x="3954" y="4155"/>
                </a:lnTo>
                <a:lnTo>
                  <a:pt x="3965" y="4157"/>
                </a:lnTo>
                <a:lnTo>
                  <a:pt x="3990" y="4166"/>
                </a:lnTo>
                <a:lnTo>
                  <a:pt x="4017" y="4177"/>
                </a:lnTo>
                <a:lnTo>
                  <a:pt x="4047" y="4192"/>
                </a:lnTo>
                <a:lnTo>
                  <a:pt x="4078" y="4212"/>
                </a:lnTo>
                <a:lnTo>
                  <a:pt x="4110" y="4233"/>
                </a:lnTo>
                <a:lnTo>
                  <a:pt x="4127" y="4246"/>
                </a:lnTo>
                <a:lnTo>
                  <a:pt x="4143" y="4259"/>
                </a:lnTo>
                <a:lnTo>
                  <a:pt x="4160" y="4273"/>
                </a:lnTo>
                <a:lnTo>
                  <a:pt x="4176" y="4288"/>
                </a:lnTo>
                <a:lnTo>
                  <a:pt x="4192" y="4303"/>
                </a:lnTo>
                <a:lnTo>
                  <a:pt x="4208" y="4319"/>
                </a:lnTo>
                <a:lnTo>
                  <a:pt x="4224" y="4337"/>
                </a:lnTo>
                <a:lnTo>
                  <a:pt x="4239" y="4355"/>
                </a:lnTo>
                <a:lnTo>
                  <a:pt x="4254" y="4373"/>
                </a:lnTo>
                <a:lnTo>
                  <a:pt x="4268" y="4393"/>
                </a:lnTo>
                <a:lnTo>
                  <a:pt x="4282" y="4413"/>
                </a:lnTo>
                <a:lnTo>
                  <a:pt x="4296" y="4435"/>
                </a:lnTo>
                <a:lnTo>
                  <a:pt x="4308" y="4456"/>
                </a:lnTo>
                <a:lnTo>
                  <a:pt x="4320" y="4479"/>
                </a:lnTo>
                <a:lnTo>
                  <a:pt x="4331" y="4502"/>
                </a:lnTo>
                <a:lnTo>
                  <a:pt x="4342" y="4527"/>
                </a:lnTo>
                <a:lnTo>
                  <a:pt x="4342" y="4527"/>
                </a:lnTo>
                <a:lnTo>
                  <a:pt x="4347" y="4541"/>
                </a:lnTo>
                <a:lnTo>
                  <a:pt x="4352" y="4558"/>
                </a:lnTo>
                <a:lnTo>
                  <a:pt x="4356" y="4574"/>
                </a:lnTo>
                <a:lnTo>
                  <a:pt x="4360" y="4591"/>
                </a:lnTo>
                <a:lnTo>
                  <a:pt x="4363" y="4610"/>
                </a:lnTo>
                <a:lnTo>
                  <a:pt x="4366" y="4628"/>
                </a:lnTo>
                <a:lnTo>
                  <a:pt x="4370" y="4667"/>
                </a:lnTo>
                <a:lnTo>
                  <a:pt x="4372" y="4706"/>
                </a:lnTo>
                <a:lnTo>
                  <a:pt x="4371" y="4747"/>
                </a:lnTo>
                <a:lnTo>
                  <a:pt x="4370" y="4767"/>
                </a:lnTo>
                <a:lnTo>
                  <a:pt x="4369" y="4787"/>
                </a:lnTo>
                <a:lnTo>
                  <a:pt x="4366" y="4807"/>
                </a:lnTo>
                <a:lnTo>
                  <a:pt x="4363" y="4826"/>
                </a:lnTo>
                <a:lnTo>
                  <a:pt x="4360" y="4846"/>
                </a:lnTo>
                <a:lnTo>
                  <a:pt x="4356" y="4864"/>
                </a:lnTo>
                <a:lnTo>
                  <a:pt x="4351" y="4883"/>
                </a:lnTo>
                <a:lnTo>
                  <a:pt x="4345" y="4900"/>
                </a:lnTo>
                <a:lnTo>
                  <a:pt x="4339" y="4917"/>
                </a:lnTo>
                <a:lnTo>
                  <a:pt x="4332" y="4933"/>
                </a:lnTo>
                <a:lnTo>
                  <a:pt x="4324" y="4948"/>
                </a:lnTo>
                <a:lnTo>
                  <a:pt x="4316" y="4962"/>
                </a:lnTo>
                <a:lnTo>
                  <a:pt x="4307" y="4976"/>
                </a:lnTo>
                <a:lnTo>
                  <a:pt x="4298" y="4988"/>
                </a:lnTo>
                <a:lnTo>
                  <a:pt x="4287" y="4999"/>
                </a:lnTo>
                <a:lnTo>
                  <a:pt x="4276" y="5008"/>
                </a:lnTo>
                <a:lnTo>
                  <a:pt x="4264" y="5017"/>
                </a:lnTo>
                <a:lnTo>
                  <a:pt x="4252" y="5024"/>
                </a:lnTo>
                <a:lnTo>
                  <a:pt x="4238" y="5029"/>
                </a:lnTo>
                <a:lnTo>
                  <a:pt x="4224" y="5032"/>
                </a:lnTo>
                <a:lnTo>
                  <a:pt x="4224" y="5032"/>
                </a:lnTo>
                <a:lnTo>
                  <a:pt x="4216" y="5033"/>
                </a:lnTo>
                <a:lnTo>
                  <a:pt x="4208" y="5033"/>
                </a:lnTo>
                <a:lnTo>
                  <a:pt x="4198" y="5032"/>
                </a:lnTo>
                <a:lnTo>
                  <a:pt x="4188" y="5030"/>
                </a:lnTo>
                <a:lnTo>
                  <a:pt x="4168" y="5025"/>
                </a:lnTo>
                <a:lnTo>
                  <a:pt x="4145" y="5017"/>
                </a:lnTo>
                <a:lnTo>
                  <a:pt x="4123" y="5006"/>
                </a:lnTo>
                <a:lnTo>
                  <a:pt x="4099" y="4995"/>
                </a:lnTo>
                <a:lnTo>
                  <a:pt x="4051" y="4973"/>
                </a:lnTo>
                <a:lnTo>
                  <a:pt x="4028" y="4961"/>
                </a:lnTo>
                <a:lnTo>
                  <a:pt x="4005" y="4952"/>
                </a:lnTo>
                <a:lnTo>
                  <a:pt x="3984" y="4945"/>
                </a:lnTo>
                <a:lnTo>
                  <a:pt x="3964" y="4940"/>
                </a:lnTo>
                <a:lnTo>
                  <a:pt x="3955" y="4939"/>
                </a:lnTo>
                <a:lnTo>
                  <a:pt x="3947" y="4938"/>
                </a:lnTo>
                <a:lnTo>
                  <a:pt x="3939" y="4939"/>
                </a:lnTo>
                <a:lnTo>
                  <a:pt x="3932" y="4940"/>
                </a:lnTo>
                <a:lnTo>
                  <a:pt x="3924" y="4943"/>
                </a:lnTo>
                <a:lnTo>
                  <a:pt x="3919" y="4947"/>
                </a:lnTo>
                <a:lnTo>
                  <a:pt x="3914" y="4952"/>
                </a:lnTo>
                <a:lnTo>
                  <a:pt x="3909" y="4958"/>
                </a:lnTo>
                <a:lnTo>
                  <a:pt x="3909" y="4958"/>
                </a:lnTo>
                <a:lnTo>
                  <a:pt x="3905" y="4965"/>
                </a:lnTo>
                <a:lnTo>
                  <a:pt x="3900" y="4973"/>
                </a:lnTo>
                <a:lnTo>
                  <a:pt x="3893" y="4979"/>
                </a:lnTo>
                <a:lnTo>
                  <a:pt x="3886" y="4985"/>
                </a:lnTo>
                <a:lnTo>
                  <a:pt x="3869" y="4996"/>
                </a:lnTo>
                <a:lnTo>
                  <a:pt x="3851" y="5006"/>
                </a:lnTo>
                <a:lnTo>
                  <a:pt x="3810" y="5028"/>
                </a:lnTo>
                <a:lnTo>
                  <a:pt x="3789" y="5039"/>
                </a:lnTo>
                <a:lnTo>
                  <a:pt x="3770" y="5052"/>
                </a:lnTo>
                <a:lnTo>
                  <a:pt x="3761" y="5058"/>
                </a:lnTo>
                <a:lnTo>
                  <a:pt x="3752" y="5067"/>
                </a:lnTo>
                <a:lnTo>
                  <a:pt x="3743" y="5074"/>
                </a:lnTo>
                <a:lnTo>
                  <a:pt x="3735" y="5083"/>
                </a:lnTo>
                <a:lnTo>
                  <a:pt x="3728" y="5092"/>
                </a:lnTo>
                <a:lnTo>
                  <a:pt x="3722" y="5102"/>
                </a:lnTo>
                <a:lnTo>
                  <a:pt x="3717" y="5113"/>
                </a:lnTo>
                <a:lnTo>
                  <a:pt x="3713" y="5125"/>
                </a:lnTo>
                <a:lnTo>
                  <a:pt x="3710" y="5137"/>
                </a:lnTo>
                <a:lnTo>
                  <a:pt x="3708" y="5151"/>
                </a:lnTo>
                <a:lnTo>
                  <a:pt x="3707" y="5165"/>
                </a:lnTo>
                <a:lnTo>
                  <a:pt x="3707" y="5181"/>
                </a:lnTo>
                <a:lnTo>
                  <a:pt x="3709" y="5198"/>
                </a:lnTo>
                <a:lnTo>
                  <a:pt x="3713" y="5215"/>
                </a:lnTo>
                <a:lnTo>
                  <a:pt x="3718" y="5234"/>
                </a:lnTo>
                <a:lnTo>
                  <a:pt x="3724" y="5255"/>
                </a:lnTo>
                <a:lnTo>
                  <a:pt x="3724" y="5255"/>
                </a:lnTo>
                <a:lnTo>
                  <a:pt x="3741" y="5234"/>
                </a:lnTo>
                <a:lnTo>
                  <a:pt x="3759" y="5213"/>
                </a:lnTo>
                <a:lnTo>
                  <a:pt x="3776" y="5194"/>
                </a:lnTo>
                <a:lnTo>
                  <a:pt x="3794" y="5178"/>
                </a:lnTo>
                <a:lnTo>
                  <a:pt x="3802" y="5171"/>
                </a:lnTo>
                <a:lnTo>
                  <a:pt x="3811" y="5165"/>
                </a:lnTo>
                <a:lnTo>
                  <a:pt x="3819" y="5159"/>
                </a:lnTo>
                <a:lnTo>
                  <a:pt x="3827" y="5155"/>
                </a:lnTo>
                <a:lnTo>
                  <a:pt x="3835" y="5153"/>
                </a:lnTo>
                <a:lnTo>
                  <a:pt x="3843" y="5151"/>
                </a:lnTo>
                <a:lnTo>
                  <a:pt x="3850" y="5151"/>
                </a:lnTo>
                <a:lnTo>
                  <a:pt x="3857" y="5153"/>
                </a:lnTo>
                <a:lnTo>
                  <a:pt x="3857" y="5153"/>
                </a:lnTo>
                <a:lnTo>
                  <a:pt x="3861" y="5155"/>
                </a:lnTo>
                <a:lnTo>
                  <a:pt x="3864" y="5157"/>
                </a:lnTo>
                <a:lnTo>
                  <a:pt x="3870" y="5163"/>
                </a:lnTo>
                <a:lnTo>
                  <a:pt x="3875" y="5171"/>
                </a:lnTo>
                <a:lnTo>
                  <a:pt x="3879" y="5179"/>
                </a:lnTo>
                <a:lnTo>
                  <a:pt x="3888" y="5200"/>
                </a:lnTo>
                <a:lnTo>
                  <a:pt x="3894" y="5210"/>
                </a:lnTo>
                <a:lnTo>
                  <a:pt x="3901" y="5220"/>
                </a:lnTo>
                <a:lnTo>
                  <a:pt x="3901" y="5220"/>
                </a:lnTo>
                <a:lnTo>
                  <a:pt x="3904" y="5223"/>
                </a:lnTo>
                <a:lnTo>
                  <a:pt x="3908" y="5225"/>
                </a:lnTo>
                <a:lnTo>
                  <a:pt x="3913" y="5227"/>
                </a:lnTo>
                <a:lnTo>
                  <a:pt x="3919" y="5228"/>
                </a:lnTo>
                <a:lnTo>
                  <a:pt x="3934" y="5230"/>
                </a:lnTo>
                <a:lnTo>
                  <a:pt x="3950" y="5230"/>
                </a:lnTo>
                <a:lnTo>
                  <a:pt x="3968" y="5229"/>
                </a:lnTo>
                <a:lnTo>
                  <a:pt x="3989" y="5227"/>
                </a:lnTo>
                <a:lnTo>
                  <a:pt x="4032" y="5223"/>
                </a:lnTo>
                <a:lnTo>
                  <a:pt x="4074" y="5219"/>
                </a:lnTo>
                <a:lnTo>
                  <a:pt x="4093" y="5217"/>
                </a:lnTo>
                <a:lnTo>
                  <a:pt x="4110" y="5217"/>
                </a:lnTo>
                <a:lnTo>
                  <a:pt x="4126" y="5217"/>
                </a:lnTo>
                <a:lnTo>
                  <a:pt x="4137" y="5219"/>
                </a:lnTo>
                <a:lnTo>
                  <a:pt x="4142" y="5221"/>
                </a:lnTo>
                <a:lnTo>
                  <a:pt x="4146" y="5223"/>
                </a:lnTo>
                <a:lnTo>
                  <a:pt x="4148" y="5225"/>
                </a:lnTo>
                <a:lnTo>
                  <a:pt x="4150" y="5228"/>
                </a:lnTo>
                <a:lnTo>
                  <a:pt x="4150" y="5228"/>
                </a:lnTo>
                <a:lnTo>
                  <a:pt x="4151" y="5231"/>
                </a:lnTo>
                <a:lnTo>
                  <a:pt x="4150" y="5234"/>
                </a:lnTo>
                <a:lnTo>
                  <a:pt x="4149" y="5236"/>
                </a:lnTo>
                <a:lnTo>
                  <a:pt x="4148" y="5238"/>
                </a:lnTo>
                <a:lnTo>
                  <a:pt x="4143" y="5242"/>
                </a:lnTo>
                <a:lnTo>
                  <a:pt x="4136" y="5243"/>
                </a:lnTo>
                <a:lnTo>
                  <a:pt x="4118" y="5246"/>
                </a:lnTo>
                <a:lnTo>
                  <a:pt x="4100" y="5248"/>
                </a:lnTo>
                <a:lnTo>
                  <a:pt x="4100" y="5248"/>
                </a:lnTo>
                <a:lnTo>
                  <a:pt x="4021" y="5262"/>
                </a:lnTo>
                <a:lnTo>
                  <a:pt x="3981" y="5269"/>
                </a:lnTo>
                <a:lnTo>
                  <a:pt x="3943" y="5277"/>
                </a:lnTo>
                <a:lnTo>
                  <a:pt x="3925" y="5282"/>
                </a:lnTo>
                <a:lnTo>
                  <a:pt x="3909" y="5288"/>
                </a:lnTo>
                <a:lnTo>
                  <a:pt x="3894" y="5294"/>
                </a:lnTo>
                <a:lnTo>
                  <a:pt x="3881" y="5300"/>
                </a:lnTo>
                <a:lnTo>
                  <a:pt x="3869" y="5306"/>
                </a:lnTo>
                <a:lnTo>
                  <a:pt x="3860" y="5314"/>
                </a:lnTo>
                <a:lnTo>
                  <a:pt x="3853" y="5322"/>
                </a:lnTo>
                <a:lnTo>
                  <a:pt x="3850" y="5326"/>
                </a:lnTo>
                <a:lnTo>
                  <a:pt x="3848" y="5331"/>
                </a:lnTo>
                <a:lnTo>
                  <a:pt x="3848" y="5331"/>
                </a:lnTo>
                <a:lnTo>
                  <a:pt x="3846" y="5338"/>
                </a:lnTo>
                <a:lnTo>
                  <a:pt x="3846" y="5342"/>
                </a:lnTo>
                <a:lnTo>
                  <a:pt x="3847" y="5352"/>
                </a:lnTo>
                <a:lnTo>
                  <a:pt x="3847" y="5357"/>
                </a:lnTo>
                <a:lnTo>
                  <a:pt x="3846" y="5363"/>
                </a:lnTo>
                <a:lnTo>
                  <a:pt x="3845" y="5371"/>
                </a:lnTo>
                <a:lnTo>
                  <a:pt x="3842" y="5382"/>
                </a:lnTo>
                <a:lnTo>
                  <a:pt x="3842" y="5382"/>
                </a:lnTo>
                <a:lnTo>
                  <a:pt x="3837" y="5393"/>
                </a:lnTo>
                <a:lnTo>
                  <a:pt x="3831" y="5402"/>
                </a:lnTo>
                <a:lnTo>
                  <a:pt x="3823" y="5410"/>
                </a:lnTo>
                <a:lnTo>
                  <a:pt x="3815" y="5418"/>
                </a:lnTo>
                <a:lnTo>
                  <a:pt x="3796" y="5434"/>
                </a:lnTo>
                <a:lnTo>
                  <a:pt x="3786" y="5442"/>
                </a:lnTo>
                <a:lnTo>
                  <a:pt x="3776" y="5451"/>
                </a:lnTo>
                <a:lnTo>
                  <a:pt x="3767" y="5460"/>
                </a:lnTo>
                <a:lnTo>
                  <a:pt x="3758" y="5472"/>
                </a:lnTo>
                <a:lnTo>
                  <a:pt x="3750" y="5485"/>
                </a:lnTo>
                <a:lnTo>
                  <a:pt x="3742" y="5499"/>
                </a:lnTo>
                <a:lnTo>
                  <a:pt x="3736" y="5517"/>
                </a:lnTo>
                <a:lnTo>
                  <a:pt x="3732" y="5536"/>
                </a:lnTo>
                <a:lnTo>
                  <a:pt x="3730" y="5558"/>
                </a:lnTo>
                <a:lnTo>
                  <a:pt x="3730" y="5584"/>
                </a:lnTo>
                <a:lnTo>
                  <a:pt x="3730" y="5584"/>
                </a:lnTo>
                <a:lnTo>
                  <a:pt x="3732" y="5597"/>
                </a:lnTo>
                <a:lnTo>
                  <a:pt x="3735" y="5610"/>
                </a:lnTo>
                <a:lnTo>
                  <a:pt x="3739" y="5622"/>
                </a:lnTo>
                <a:lnTo>
                  <a:pt x="3744" y="5634"/>
                </a:lnTo>
                <a:lnTo>
                  <a:pt x="3751" y="5644"/>
                </a:lnTo>
                <a:lnTo>
                  <a:pt x="3757" y="5656"/>
                </a:lnTo>
                <a:lnTo>
                  <a:pt x="3763" y="5665"/>
                </a:lnTo>
                <a:lnTo>
                  <a:pt x="3770" y="5674"/>
                </a:lnTo>
                <a:lnTo>
                  <a:pt x="3784" y="5689"/>
                </a:lnTo>
                <a:lnTo>
                  <a:pt x="3797" y="5701"/>
                </a:lnTo>
                <a:lnTo>
                  <a:pt x="3807" y="5708"/>
                </a:lnTo>
                <a:lnTo>
                  <a:pt x="3810" y="5710"/>
                </a:lnTo>
                <a:lnTo>
                  <a:pt x="3813" y="5711"/>
                </a:lnTo>
                <a:lnTo>
                  <a:pt x="3813" y="5711"/>
                </a:lnTo>
                <a:lnTo>
                  <a:pt x="3814" y="5710"/>
                </a:lnTo>
                <a:lnTo>
                  <a:pt x="3815" y="5709"/>
                </a:lnTo>
                <a:lnTo>
                  <a:pt x="3816" y="5704"/>
                </a:lnTo>
                <a:lnTo>
                  <a:pt x="3818" y="5696"/>
                </a:lnTo>
                <a:lnTo>
                  <a:pt x="3818" y="5686"/>
                </a:lnTo>
                <a:lnTo>
                  <a:pt x="3820" y="5662"/>
                </a:lnTo>
                <a:lnTo>
                  <a:pt x="3823" y="5633"/>
                </a:lnTo>
                <a:lnTo>
                  <a:pt x="3825" y="5619"/>
                </a:lnTo>
                <a:lnTo>
                  <a:pt x="3828" y="5603"/>
                </a:lnTo>
                <a:lnTo>
                  <a:pt x="3831" y="5590"/>
                </a:lnTo>
                <a:lnTo>
                  <a:pt x="3836" y="5577"/>
                </a:lnTo>
                <a:lnTo>
                  <a:pt x="3843" y="5566"/>
                </a:lnTo>
                <a:lnTo>
                  <a:pt x="3847" y="5562"/>
                </a:lnTo>
                <a:lnTo>
                  <a:pt x="3851" y="5556"/>
                </a:lnTo>
                <a:lnTo>
                  <a:pt x="3855" y="5553"/>
                </a:lnTo>
                <a:lnTo>
                  <a:pt x="3860" y="5550"/>
                </a:lnTo>
                <a:lnTo>
                  <a:pt x="3865" y="5547"/>
                </a:lnTo>
                <a:lnTo>
                  <a:pt x="3871" y="5546"/>
                </a:lnTo>
                <a:lnTo>
                  <a:pt x="3871" y="5546"/>
                </a:lnTo>
                <a:lnTo>
                  <a:pt x="3877" y="5545"/>
                </a:lnTo>
                <a:lnTo>
                  <a:pt x="3882" y="5546"/>
                </a:lnTo>
                <a:lnTo>
                  <a:pt x="3888" y="5548"/>
                </a:lnTo>
                <a:lnTo>
                  <a:pt x="3892" y="5552"/>
                </a:lnTo>
                <a:lnTo>
                  <a:pt x="3902" y="5561"/>
                </a:lnTo>
                <a:lnTo>
                  <a:pt x="3911" y="5571"/>
                </a:lnTo>
                <a:lnTo>
                  <a:pt x="3921" y="5581"/>
                </a:lnTo>
                <a:lnTo>
                  <a:pt x="3926" y="5586"/>
                </a:lnTo>
                <a:lnTo>
                  <a:pt x="3933" y="5590"/>
                </a:lnTo>
                <a:lnTo>
                  <a:pt x="3940" y="5594"/>
                </a:lnTo>
                <a:lnTo>
                  <a:pt x="3946" y="5597"/>
                </a:lnTo>
                <a:lnTo>
                  <a:pt x="3954" y="5598"/>
                </a:lnTo>
                <a:lnTo>
                  <a:pt x="3962" y="5599"/>
                </a:lnTo>
                <a:lnTo>
                  <a:pt x="3962" y="5599"/>
                </a:lnTo>
                <a:lnTo>
                  <a:pt x="3970" y="5598"/>
                </a:lnTo>
                <a:lnTo>
                  <a:pt x="3979" y="5595"/>
                </a:lnTo>
                <a:lnTo>
                  <a:pt x="3987" y="5592"/>
                </a:lnTo>
                <a:lnTo>
                  <a:pt x="3996" y="5588"/>
                </a:lnTo>
                <a:lnTo>
                  <a:pt x="4005" y="5582"/>
                </a:lnTo>
                <a:lnTo>
                  <a:pt x="4014" y="5576"/>
                </a:lnTo>
                <a:lnTo>
                  <a:pt x="4035" y="5559"/>
                </a:lnTo>
                <a:lnTo>
                  <a:pt x="4055" y="5542"/>
                </a:lnTo>
                <a:lnTo>
                  <a:pt x="4077" y="5522"/>
                </a:lnTo>
                <a:lnTo>
                  <a:pt x="4122" y="5479"/>
                </a:lnTo>
                <a:lnTo>
                  <a:pt x="4144" y="5457"/>
                </a:lnTo>
                <a:lnTo>
                  <a:pt x="4166" y="5437"/>
                </a:lnTo>
                <a:lnTo>
                  <a:pt x="4187" y="5417"/>
                </a:lnTo>
                <a:lnTo>
                  <a:pt x="4208" y="5402"/>
                </a:lnTo>
                <a:lnTo>
                  <a:pt x="4227" y="5389"/>
                </a:lnTo>
                <a:lnTo>
                  <a:pt x="4236" y="5384"/>
                </a:lnTo>
                <a:lnTo>
                  <a:pt x="4245" y="5380"/>
                </a:lnTo>
                <a:lnTo>
                  <a:pt x="4254" y="5376"/>
                </a:lnTo>
                <a:lnTo>
                  <a:pt x="4262" y="5374"/>
                </a:lnTo>
                <a:lnTo>
                  <a:pt x="4270" y="5374"/>
                </a:lnTo>
                <a:lnTo>
                  <a:pt x="4277" y="5375"/>
                </a:lnTo>
                <a:lnTo>
                  <a:pt x="4277" y="5375"/>
                </a:lnTo>
                <a:lnTo>
                  <a:pt x="4278" y="5376"/>
                </a:lnTo>
                <a:lnTo>
                  <a:pt x="4279" y="5379"/>
                </a:lnTo>
                <a:lnTo>
                  <a:pt x="4278" y="5382"/>
                </a:lnTo>
                <a:lnTo>
                  <a:pt x="4277" y="5384"/>
                </a:lnTo>
                <a:lnTo>
                  <a:pt x="4272" y="5391"/>
                </a:lnTo>
                <a:lnTo>
                  <a:pt x="4264" y="5399"/>
                </a:lnTo>
                <a:lnTo>
                  <a:pt x="4241" y="5420"/>
                </a:lnTo>
                <a:lnTo>
                  <a:pt x="4212" y="5447"/>
                </a:lnTo>
                <a:lnTo>
                  <a:pt x="4181" y="5477"/>
                </a:lnTo>
                <a:lnTo>
                  <a:pt x="4167" y="5492"/>
                </a:lnTo>
                <a:lnTo>
                  <a:pt x="4152" y="5508"/>
                </a:lnTo>
                <a:lnTo>
                  <a:pt x="4140" y="5525"/>
                </a:lnTo>
                <a:lnTo>
                  <a:pt x="4129" y="5542"/>
                </a:lnTo>
                <a:lnTo>
                  <a:pt x="4121" y="5558"/>
                </a:lnTo>
                <a:lnTo>
                  <a:pt x="4118" y="5567"/>
                </a:lnTo>
                <a:lnTo>
                  <a:pt x="4116" y="5576"/>
                </a:lnTo>
                <a:lnTo>
                  <a:pt x="4116" y="5576"/>
                </a:lnTo>
                <a:lnTo>
                  <a:pt x="4114" y="5588"/>
                </a:lnTo>
                <a:lnTo>
                  <a:pt x="4114" y="5599"/>
                </a:lnTo>
                <a:lnTo>
                  <a:pt x="4115" y="5611"/>
                </a:lnTo>
                <a:lnTo>
                  <a:pt x="4119" y="5620"/>
                </a:lnTo>
                <a:lnTo>
                  <a:pt x="4123" y="5628"/>
                </a:lnTo>
                <a:lnTo>
                  <a:pt x="4129" y="5636"/>
                </a:lnTo>
                <a:lnTo>
                  <a:pt x="4135" y="5643"/>
                </a:lnTo>
                <a:lnTo>
                  <a:pt x="4142" y="5649"/>
                </a:lnTo>
                <a:lnTo>
                  <a:pt x="4157" y="5663"/>
                </a:lnTo>
                <a:lnTo>
                  <a:pt x="4163" y="5669"/>
                </a:lnTo>
                <a:lnTo>
                  <a:pt x="4169" y="5676"/>
                </a:lnTo>
                <a:lnTo>
                  <a:pt x="4175" y="5683"/>
                </a:lnTo>
                <a:lnTo>
                  <a:pt x="4179" y="5690"/>
                </a:lnTo>
                <a:lnTo>
                  <a:pt x="4182" y="5699"/>
                </a:lnTo>
                <a:lnTo>
                  <a:pt x="4183" y="5708"/>
                </a:lnTo>
                <a:lnTo>
                  <a:pt x="4183" y="5708"/>
                </a:lnTo>
                <a:lnTo>
                  <a:pt x="4184" y="5718"/>
                </a:lnTo>
                <a:lnTo>
                  <a:pt x="4186" y="5729"/>
                </a:lnTo>
                <a:lnTo>
                  <a:pt x="4189" y="5738"/>
                </a:lnTo>
                <a:lnTo>
                  <a:pt x="4193" y="5749"/>
                </a:lnTo>
                <a:lnTo>
                  <a:pt x="4198" y="5758"/>
                </a:lnTo>
                <a:lnTo>
                  <a:pt x="4205" y="5767"/>
                </a:lnTo>
                <a:lnTo>
                  <a:pt x="4212" y="5775"/>
                </a:lnTo>
                <a:lnTo>
                  <a:pt x="4220" y="5783"/>
                </a:lnTo>
                <a:lnTo>
                  <a:pt x="4228" y="5792"/>
                </a:lnTo>
                <a:lnTo>
                  <a:pt x="4237" y="5799"/>
                </a:lnTo>
                <a:lnTo>
                  <a:pt x="4257" y="5812"/>
                </a:lnTo>
                <a:lnTo>
                  <a:pt x="4278" y="5824"/>
                </a:lnTo>
                <a:lnTo>
                  <a:pt x="4300" y="5835"/>
                </a:lnTo>
                <a:lnTo>
                  <a:pt x="4322" y="5844"/>
                </a:lnTo>
                <a:lnTo>
                  <a:pt x="4344" y="5852"/>
                </a:lnTo>
                <a:lnTo>
                  <a:pt x="4364" y="5857"/>
                </a:lnTo>
                <a:lnTo>
                  <a:pt x="4382" y="5862"/>
                </a:lnTo>
                <a:lnTo>
                  <a:pt x="4399" y="5864"/>
                </a:lnTo>
                <a:lnTo>
                  <a:pt x="4412" y="5865"/>
                </a:lnTo>
                <a:lnTo>
                  <a:pt x="4421" y="5865"/>
                </a:lnTo>
                <a:lnTo>
                  <a:pt x="4424" y="5864"/>
                </a:lnTo>
                <a:lnTo>
                  <a:pt x="4426" y="5863"/>
                </a:lnTo>
                <a:lnTo>
                  <a:pt x="4426" y="5863"/>
                </a:lnTo>
                <a:lnTo>
                  <a:pt x="4427" y="5861"/>
                </a:lnTo>
                <a:lnTo>
                  <a:pt x="4427" y="5859"/>
                </a:lnTo>
                <a:lnTo>
                  <a:pt x="4425" y="5853"/>
                </a:lnTo>
                <a:lnTo>
                  <a:pt x="4420" y="5846"/>
                </a:lnTo>
                <a:lnTo>
                  <a:pt x="4412" y="5836"/>
                </a:lnTo>
                <a:lnTo>
                  <a:pt x="4393" y="5813"/>
                </a:lnTo>
                <a:lnTo>
                  <a:pt x="4369" y="5786"/>
                </a:lnTo>
                <a:lnTo>
                  <a:pt x="4358" y="5773"/>
                </a:lnTo>
                <a:lnTo>
                  <a:pt x="4348" y="5759"/>
                </a:lnTo>
                <a:lnTo>
                  <a:pt x="4339" y="5745"/>
                </a:lnTo>
                <a:lnTo>
                  <a:pt x="4330" y="5731"/>
                </a:lnTo>
                <a:lnTo>
                  <a:pt x="4325" y="5718"/>
                </a:lnTo>
                <a:lnTo>
                  <a:pt x="4324" y="5712"/>
                </a:lnTo>
                <a:lnTo>
                  <a:pt x="4323" y="5706"/>
                </a:lnTo>
                <a:lnTo>
                  <a:pt x="4323" y="5700"/>
                </a:lnTo>
                <a:lnTo>
                  <a:pt x="4324" y="5694"/>
                </a:lnTo>
                <a:lnTo>
                  <a:pt x="4326" y="5689"/>
                </a:lnTo>
                <a:lnTo>
                  <a:pt x="4329" y="5684"/>
                </a:lnTo>
                <a:lnTo>
                  <a:pt x="4329" y="5684"/>
                </a:lnTo>
                <a:lnTo>
                  <a:pt x="4333" y="5680"/>
                </a:lnTo>
                <a:lnTo>
                  <a:pt x="4337" y="5677"/>
                </a:lnTo>
                <a:lnTo>
                  <a:pt x="4343" y="5676"/>
                </a:lnTo>
                <a:lnTo>
                  <a:pt x="4347" y="5675"/>
                </a:lnTo>
                <a:lnTo>
                  <a:pt x="4352" y="5675"/>
                </a:lnTo>
                <a:lnTo>
                  <a:pt x="4358" y="5676"/>
                </a:lnTo>
                <a:lnTo>
                  <a:pt x="4370" y="5678"/>
                </a:lnTo>
                <a:lnTo>
                  <a:pt x="4384" y="5681"/>
                </a:lnTo>
                <a:lnTo>
                  <a:pt x="4392" y="5682"/>
                </a:lnTo>
                <a:lnTo>
                  <a:pt x="4399" y="5682"/>
                </a:lnTo>
                <a:lnTo>
                  <a:pt x="4408" y="5682"/>
                </a:lnTo>
                <a:lnTo>
                  <a:pt x="4416" y="5681"/>
                </a:lnTo>
                <a:lnTo>
                  <a:pt x="4425" y="5679"/>
                </a:lnTo>
                <a:lnTo>
                  <a:pt x="4436" y="5675"/>
                </a:lnTo>
                <a:lnTo>
                  <a:pt x="4436" y="5675"/>
                </a:lnTo>
                <a:lnTo>
                  <a:pt x="4437" y="5673"/>
                </a:lnTo>
                <a:lnTo>
                  <a:pt x="4438" y="5670"/>
                </a:lnTo>
                <a:lnTo>
                  <a:pt x="4438" y="5663"/>
                </a:lnTo>
                <a:lnTo>
                  <a:pt x="4436" y="5652"/>
                </a:lnTo>
                <a:lnTo>
                  <a:pt x="4434" y="5637"/>
                </a:lnTo>
                <a:lnTo>
                  <a:pt x="4431" y="5621"/>
                </a:lnTo>
                <a:lnTo>
                  <a:pt x="4428" y="5602"/>
                </a:lnTo>
                <a:lnTo>
                  <a:pt x="4426" y="5581"/>
                </a:lnTo>
                <a:lnTo>
                  <a:pt x="4426" y="5557"/>
                </a:lnTo>
                <a:lnTo>
                  <a:pt x="4428" y="5533"/>
                </a:lnTo>
                <a:lnTo>
                  <a:pt x="4431" y="5520"/>
                </a:lnTo>
                <a:lnTo>
                  <a:pt x="4434" y="5505"/>
                </a:lnTo>
                <a:lnTo>
                  <a:pt x="4437" y="5492"/>
                </a:lnTo>
                <a:lnTo>
                  <a:pt x="4441" y="5477"/>
                </a:lnTo>
                <a:lnTo>
                  <a:pt x="4446" y="5462"/>
                </a:lnTo>
                <a:lnTo>
                  <a:pt x="4453" y="5447"/>
                </a:lnTo>
                <a:lnTo>
                  <a:pt x="4460" y="5432"/>
                </a:lnTo>
                <a:lnTo>
                  <a:pt x="4469" y="5416"/>
                </a:lnTo>
                <a:lnTo>
                  <a:pt x="4479" y="5400"/>
                </a:lnTo>
                <a:lnTo>
                  <a:pt x="4490" y="5384"/>
                </a:lnTo>
                <a:lnTo>
                  <a:pt x="4503" y="5367"/>
                </a:lnTo>
                <a:lnTo>
                  <a:pt x="4516" y="5351"/>
                </a:lnTo>
                <a:lnTo>
                  <a:pt x="4533" y="5334"/>
                </a:lnTo>
                <a:lnTo>
                  <a:pt x="4550" y="5317"/>
                </a:lnTo>
                <a:lnTo>
                  <a:pt x="4550" y="5317"/>
                </a:lnTo>
                <a:lnTo>
                  <a:pt x="4557" y="5328"/>
                </a:lnTo>
                <a:lnTo>
                  <a:pt x="4566" y="5340"/>
                </a:lnTo>
                <a:lnTo>
                  <a:pt x="4578" y="5353"/>
                </a:lnTo>
                <a:lnTo>
                  <a:pt x="4586" y="5360"/>
                </a:lnTo>
                <a:lnTo>
                  <a:pt x="4594" y="5367"/>
                </a:lnTo>
                <a:lnTo>
                  <a:pt x="4603" y="5373"/>
                </a:lnTo>
                <a:lnTo>
                  <a:pt x="4614" y="5381"/>
                </a:lnTo>
                <a:lnTo>
                  <a:pt x="4624" y="5386"/>
                </a:lnTo>
                <a:lnTo>
                  <a:pt x="4636" y="5390"/>
                </a:lnTo>
                <a:lnTo>
                  <a:pt x="4648" y="5394"/>
                </a:lnTo>
                <a:lnTo>
                  <a:pt x="4662" y="5396"/>
                </a:lnTo>
                <a:lnTo>
                  <a:pt x="4662" y="5396"/>
                </a:lnTo>
                <a:lnTo>
                  <a:pt x="4668" y="5397"/>
                </a:lnTo>
                <a:lnTo>
                  <a:pt x="4673" y="5399"/>
                </a:lnTo>
                <a:lnTo>
                  <a:pt x="4677" y="5402"/>
                </a:lnTo>
                <a:lnTo>
                  <a:pt x="4681" y="5405"/>
                </a:lnTo>
                <a:lnTo>
                  <a:pt x="4685" y="5409"/>
                </a:lnTo>
                <a:lnTo>
                  <a:pt x="4688" y="5413"/>
                </a:lnTo>
                <a:lnTo>
                  <a:pt x="4692" y="5425"/>
                </a:lnTo>
                <a:lnTo>
                  <a:pt x="4696" y="5437"/>
                </a:lnTo>
                <a:lnTo>
                  <a:pt x="4698" y="5450"/>
                </a:lnTo>
                <a:lnTo>
                  <a:pt x="4698" y="5463"/>
                </a:lnTo>
                <a:lnTo>
                  <a:pt x="4698" y="5478"/>
                </a:lnTo>
                <a:lnTo>
                  <a:pt x="4696" y="5506"/>
                </a:lnTo>
                <a:lnTo>
                  <a:pt x="4694" y="5531"/>
                </a:lnTo>
                <a:lnTo>
                  <a:pt x="4692" y="5548"/>
                </a:lnTo>
                <a:lnTo>
                  <a:pt x="4692" y="5553"/>
                </a:lnTo>
                <a:lnTo>
                  <a:pt x="4693" y="5554"/>
                </a:lnTo>
                <a:lnTo>
                  <a:pt x="4694" y="5554"/>
                </a:lnTo>
                <a:lnTo>
                  <a:pt x="4694" y="5554"/>
                </a:lnTo>
                <a:lnTo>
                  <a:pt x="4697" y="5553"/>
                </a:lnTo>
                <a:lnTo>
                  <a:pt x="4702" y="5550"/>
                </a:lnTo>
                <a:lnTo>
                  <a:pt x="4708" y="5545"/>
                </a:lnTo>
                <a:lnTo>
                  <a:pt x="4714" y="5538"/>
                </a:lnTo>
                <a:lnTo>
                  <a:pt x="4721" y="5529"/>
                </a:lnTo>
                <a:lnTo>
                  <a:pt x="4729" y="5519"/>
                </a:lnTo>
                <a:lnTo>
                  <a:pt x="4736" y="5505"/>
                </a:lnTo>
                <a:lnTo>
                  <a:pt x="4743" y="5492"/>
                </a:lnTo>
                <a:lnTo>
                  <a:pt x="4751" y="5477"/>
                </a:lnTo>
                <a:lnTo>
                  <a:pt x="4758" y="5459"/>
                </a:lnTo>
                <a:lnTo>
                  <a:pt x="4763" y="5442"/>
                </a:lnTo>
                <a:lnTo>
                  <a:pt x="4768" y="5422"/>
                </a:lnTo>
                <a:lnTo>
                  <a:pt x="4771" y="5402"/>
                </a:lnTo>
                <a:lnTo>
                  <a:pt x="4773" y="5382"/>
                </a:lnTo>
                <a:lnTo>
                  <a:pt x="4772" y="5360"/>
                </a:lnTo>
                <a:lnTo>
                  <a:pt x="4770" y="5338"/>
                </a:lnTo>
                <a:lnTo>
                  <a:pt x="4770" y="5338"/>
                </a:lnTo>
                <a:lnTo>
                  <a:pt x="4778" y="5330"/>
                </a:lnTo>
                <a:lnTo>
                  <a:pt x="4798" y="5313"/>
                </a:lnTo>
                <a:lnTo>
                  <a:pt x="4809" y="5302"/>
                </a:lnTo>
                <a:lnTo>
                  <a:pt x="4819" y="5290"/>
                </a:lnTo>
                <a:lnTo>
                  <a:pt x="4827" y="5276"/>
                </a:lnTo>
                <a:lnTo>
                  <a:pt x="4830" y="5270"/>
                </a:lnTo>
                <a:lnTo>
                  <a:pt x="4832" y="5264"/>
                </a:lnTo>
                <a:lnTo>
                  <a:pt x="4832" y="5264"/>
                </a:lnTo>
                <a:lnTo>
                  <a:pt x="4834" y="5255"/>
                </a:lnTo>
                <a:lnTo>
                  <a:pt x="4835" y="5246"/>
                </a:lnTo>
                <a:lnTo>
                  <a:pt x="4836" y="5237"/>
                </a:lnTo>
                <a:lnTo>
                  <a:pt x="4835" y="5230"/>
                </a:lnTo>
                <a:lnTo>
                  <a:pt x="4834" y="5224"/>
                </a:lnTo>
                <a:lnTo>
                  <a:pt x="4832" y="5218"/>
                </a:lnTo>
                <a:lnTo>
                  <a:pt x="4830" y="5213"/>
                </a:lnTo>
                <a:lnTo>
                  <a:pt x="4827" y="5208"/>
                </a:lnTo>
                <a:lnTo>
                  <a:pt x="4819" y="5199"/>
                </a:lnTo>
                <a:lnTo>
                  <a:pt x="4810" y="5189"/>
                </a:lnTo>
                <a:lnTo>
                  <a:pt x="4800" y="5180"/>
                </a:lnTo>
                <a:lnTo>
                  <a:pt x="4789" y="5169"/>
                </a:lnTo>
                <a:lnTo>
                  <a:pt x="4778" y="5156"/>
                </a:lnTo>
                <a:lnTo>
                  <a:pt x="4772" y="5148"/>
                </a:lnTo>
                <a:lnTo>
                  <a:pt x="4767" y="5139"/>
                </a:lnTo>
                <a:lnTo>
                  <a:pt x="4762" y="5130"/>
                </a:lnTo>
                <a:lnTo>
                  <a:pt x="4757" y="5120"/>
                </a:lnTo>
                <a:lnTo>
                  <a:pt x="4753" y="5108"/>
                </a:lnTo>
                <a:lnTo>
                  <a:pt x="4749" y="5095"/>
                </a:lnTo>
                <a:lnTo>
                  <a:pt x="4744" y="5081"/>
                </a:lnTo>
                <a:lnTo>
                  <a:pt x="4741" y="5065"/>
                </a:lnTo>
                <a:lnTo>
                  <a:pt x="4738" y="5048"/>
                </a:lnTo>
                <a:lnTo>
                  <a:pt x="4736" y="5029"/>
                </a:lnTo>
                <a:lnTo>
                  <a:pt x="4735" y="5008"/>
                </a:lnTo>
                <a:lnTo>
                  <a:pt x="4734" y="4986"/>
                </a:lnTo>
                <a:lnTo>
                  <a:pt x="4734" y="4961"/>
                </a:lnTo>
                <a:lnTo>
                  <a:pt x="4735" y="4935"/>
                </a:lnTo>
                <a:lnTo>
                  <a:pt x="4735" y="4935"/>
                </a:lnTo>
                <a:lnTo>
                  <a:pt x="4735" y="4917"/>
                </a:lnTo>
                <a:lnTo>
                  <a:pt x="4734" y="4911"/>
                </a:lnTo>
                <a:lnTo>
                  <a:pt x="4733" y="4906"/>
                </a:lnTo>
                <a:lnTo>
                  <a:pt x="4731" y="4901"/>
                </a:lnTo>
                <a:lnTo>
                  <a:pt x="4729" y="4897"/>
                </a:lnTo>
                <a:lnTo>
                  <a:pt x="4727" y="4894"/>
                </a:lnTo>
                <a:lnTo>
                  <a:pt x="4724" y="4891"/>
                </a:lnTo>
                <a:lnTo>
                  <a:pt x="4716" y="4885"/>
                </a:lnTo>
                <a:lnTo>
                  <a:pt x="4706" y="4878"/>
                </a:lnTo>
                <a:lnTo>
                  <a:pt x="4693" y="4868"/>
                </a:lnTo>
                <a:lnTo>
                  <a:pt x="4679" y="4856"/>
                </a:lnTo>
                <a:lnTo>
                  <a:pt x="4679" y="4856"/>
                </a:lnTo>
                <a:lnTo>
                  <a:pt x="4671" y="4846"/>
                </a:lnTo>
                <a:lnTo>
                  <a:pt x="4664" y="4836"/>
                </a:lnTo>
                <a:lnTo>
                  <a:pt x="4659" y="4825"/>
                </a:lnTo>
                <a:lnTo>
                  <a:pt x="4655" y="4815"/>
                </a:lnTo>
                <a:lnTo>
                  <a:pt x="4654" y="4807"/>
                </a:lnTo>
                <a:lnTo>
                  <a:pt x="4654" y="4804"/>
                </a:lnTo>
                <a:lnTo>
                  <a:pt x="4654" y="4802"/>
                </a:lnTo>
                <a:lnTo>
                  <a:pt x="4657" y="4800"/>
                </a:lnTo>
                <a:lnTo>
                  <a:pt x="4659" y="4799"/>
                </a:lnTo>
                <a:lnTo>
                  <a:pt x="4661" y="4799"/>
                </a:lnTo>
                <a:lnTo>
                  <a:pt x="4665" y="4800"/>
                </a:lnTo>
                <a:lnTo>
                  <a:pt x="4665" y="4800"/>
                </a:lnTo>
                <a:lnTo>
                  <a:pt x="4679" y="4806"/>
                </a:lnTo>
                <a:lnTo>
                  <a:pt x="4693" y="4810"/>
                </a:lnTo>
                <a:lnTo>
                  <a:pt x="4708" y="4813"/>
                </a:lnTo>
                <a:lnTo>
                  <a:pt x="4723" y="4814"/>
                </a:lnTo>
                <a:lnTo>
                  <a:pt x="4737" y="4815"/>
                </a:lnTo>
                <a:lnTo>
                  <a:pt x="4752" y="4816"/>
                </a:lnTo>
                <a:lnTo>
                  <a:pt x="4765" y="4815"/>
                </a:lnTo>
                <a:lnTo>
                  <a:pt x="4778" y="4814"/>
                </a:lnTo>
                <a:lnTo>
                  <a:pt x="4802" y="4811"/>
                </a:lnTo>
                <a:lnTo>
                  <a:pt x="4819" y="4807"/>
                </a:lnTo>
                <a:lnTo>
                  <a:pt x="4835" y="4803"/>
                </a:lnTo>
                <a:lnTo>
                  <a:pt x="4835" y="4803"/>
                </a:lnTo>
                <a:lnTo>
                  <a:pt x="4844" y="4707"/>
                </a:lnTo>
                <a:lnTo>
                  <a:pt x="4849" y="4632"/>
                </a:lnTo>
                <a:lnTo>
                  <a:pt x="4851" y="4577"/>
                </a:lnTo>
                <a:lnTo>
                  <a:pt x="4851" y="4539"/>
                </a:lnTo>
                <a:lnTo>
                  <a:pt x="4849" y="4514"/>
                </a:lnTo>
                <a:lnTo>
                  <a:pt x="4847" y="4499"/>
                </a:lnTo>
                <a:lnTo>
                  <a:pt x="4845" y="4493"/>
                </a:lnTo>
                <a:lnTo>
                  <a:pt x="4844" y="4491"/>
                </a:lnTo>
                <a:lnTo>
                  <a:pt x="4844" y="4491"/>
                </a:lnTo>
                <a:lnTo>
                  <a:pt x="4825" y="4492"/>
                </a:lnTo>
                <a:lnTo>
                  <a:pt x="4808" y="4491"/>
                </a:lnTo>
                <a:lnTo>
                  <a:pt x="4791" y="4490"/>
                </a:lnTo>
                <a:lnTo>
                  <a:pt x="4776" y="4489"/>
                </a:lnTo>
                <a:lnTo>
                  <a:pt x="4763" y="4487"/>
                </a:lnTo>
                <a:lnTo>
                  <a:pt x="4750" y="4484"/>
                </a:lnTo>
                <a:lnTo>
                  <a:pt x="4737" y="4481"/>
                </a:lnTo>
                <a:lnTo>
                  <a:pt x="4726" y="4477"/>
                </a:lnTo>
                <a:lnTo>
                  <a:pt x="4716" y="4473"/>
                </a:lnTo>
                <a:lnTo>
                  <a:pt x="4707" y="4469"/>
                </a:lnTo>
                <a:lnTo>
                  <a:pt x="4698" y="4463"/>
                </a:lnTo>
                <a:lnTo>
                  <a:pt x="4690" y="4458"/>
                </a:lnTo>
                <a:lnTo>
                  <a:pt x="4683" y="4452"/>
                </a:lnTo>
                <a:lnTo>
                  <a:pt x="4676" y="4447"/>
                </a:lnTo>
                <a:lnTo>
                  <a:pt x="4665" y="4434"/>
                </a:lnTo>
                <a:lnTo>
                  <a:pt x="4665" y="4434"/>
                </a:lnTo>
                <a:lnTo>
                  <a:pt x="4677" y="4437"/>
                </a:lnTo>
                <a:lnTo>
                  <a:pt x="4690" y="4439"/>
                </a:lnTo>
                <a:lnTo>
                  <a:pt x="4717" y="4441"/>
                </a:lnTo>
                <a:lnTo>
                  <a:pt x="4742" y="4441"/>
                </a:lnTo>
                <a:lnTo>
                  <a:pt x="4768" y="4439"/>
                </a:lnTo>
                <a:lnTo>
                  <a:pt x="4790" y="4435"/>
                </a:lnTo>
                <a:lnTo>
                  <a:pt x="4812" y="4429"/>
                </a:lnTo>
                <a:lnTo>
                  <a:pt x="4821" y="4426"/>
                </a:lnTo>
                <a:lnTo>
                  <a:pt x="4829" y="4422"/>
                </a:lnTo>
                <a:lnTo>
                  <a:pt x="4838" y="4416"/>
                </a:lnTo>
                <a:lnTo>
                  <a:pt x="4844" y="4412"/>
                </a:lnTo>
                <a:lnTo>
                  <a:pt x="4844" y="4412"/>
                </a:lnTo>
                <a:lnTo>
                  <a:pt x="4843" y="4364"/>
                </a:lnTo>
                <a:lnTo>
                  <a:pt x="4841" y="4316"/>
                </a:lnTo>
                <a:lnTo>
                  <a:pt x="4838" y="4261"/>
                </a:lnTo>
                <a:lnTo>
                  <a:pt x="4833" y="4206"/>
                </a:lnTo>
                <a:lnTo>
                  <a:pt x="4831" y="4181"/>
                </a:lnTo>
                <a:lnTo>
                  <a:pt x="4828" y="4159"/>
                </a:lnTo>
                <a:lnTo>
                  <a:pt x="4825" y="4140"/>
                </a:lnTo>
                <a:lnTo>
                  <a:pt x="4822" y="4126"/>
                </a:lnTo>
                <a:lnTo>
                  <a:pt x="4820" y="4121"/>
                </a:lnTo>
                <a:lnTo>
                  <a:pt x="4818" y="4118"/>
                </a:lnTo>
                <a:lnTo>
                  <a:pt x="4816" y="4116"/>
                </a:lnTo>
                <a:lnTo>
                  <a:pt x="4814" y="4116"/>
                </a:lnTo>
                <a:lnTo>
                  <a:pt x="4814" y="4116"/>
                </a:lnTo>
                <a:lnTo>
                  <a:pt x="4786" y="4123"/>
                </a:lnTo>
                <a:lnTo>
                  <a:pt x="4760" y="4128"/>
                </a:lnTo>
                <a:lnTo>
                  <a:pt x="4746" y="4129"/>
                </a:lnTo>
                <a:lnTo>
                  <a:pt x="4734" y="4130"/>
                </a:lnTo>
                <a:lnTo>
                  <a:pt x="4722" y="4130"/>
                </a:lnTo>
                <a:lnTo>
                  <a:pt x="4711" y="4129"/>
                </a:lnTo>
                <a:lnTo>
                  <a:pt x="4698" y="4127"/>
                </a:lnTo>
                <a:lnTo>
                  <a:pt x="4687" y="4125"/>
                </a:lnTo>
                <a:lnTo>
                  <a:pt x="4675" y="4122"/>
                </a:lnTo>
                <a:lnTo>
                  <a:pt x="4664" y="4118"/>
                </a:lnTo>
                <a:lnTo>
                  <a:pt x="4652" y="4113"/>
                </a:lnTo>
                <a:lnTo>
                  <a:pt x="4640" y="4108"/>
                </a:lnTo>
                <a:lnTo>
                  <a:pt x="4629" y="4100"/>
                </a:lnTo>
                <a:lnTo>
                  <a:pt x="4618" y="4093"/>
                </a:lnTo>
                <a:lnTo>
                  <a:pt x="4618" y="4093"/>
                </a:lnTo>
                <a:lnTo>
                  <a:pt x="4613" y="4090"/>
                </a:lnTo>
                <a:lnTo>
                  <a:pt x="4608" y="4086"/>
                </a:lnTo>
                <a:lnTo>
                  <a:pt x="4602" y="4078"/>
                </a:lnTo>
                <a:lnTo>
                  <a:pt x="4597" y="4069"/>
                </a:lnTo>
                <a:lnTo>
                  <a:pt x="4594" y="4059"/>
                </a:lnTo>
                <a:lnTo>
                  <a:pt x="4592" y="4047"/>
                </a:lnTo>
                <a:lnTo>
                  <a:pt x="4591" y="4037"/>
                </a:lnTo>
                <a:lnTo>
                  <a:pt x="4590" y="4015"/>
                </a:lnTo>
                <a:lnTo>
                  <a:pt x="4589" y="3993"/>
                </a:lnTo>
                <a:lnTo>
                  <a:pt x="4587" y="3984"/>
                </a:lnTo>
                <a:lnTo>
                  <a:pt x="4585" y="3976"/>
                </a:lnTo>
                <a:lnTo>
                  <a:pt x="4581" y="3969"/>
                </a:lnTo>
                <a:lnTo>
                  <a:pt x="4575" y="3962"/>
                </a:lnTo>
                <a:lnTo>
                  <a:pt x="4571" y="3959"/>
                </a:lnTo>
                <a:lnTo>
                  <a:pt x="4567" y="3957"/>
                </a:lnTo>
                <a:lnTo>
                  <a:pt x="4561" y="3956"/>
                </a:lnTo>
                <a:lnTo>
                  <a:pt x="4556" y="3955"/>
                </a:lnTo>
                <a:lnTo>
                  <a:pt x="4556" y="3955"/>
                </a:lnTo>
                <a:lnTo>
                  <a:pt x="4534" y="3948"/>
                </a:lnTo>
                <a:lnTo>
                  <a:pt x="4511" y="3941"/>
                </a:lnTo>
                <a:lnTo>
                  <a:pt x="4489" y="3933"/>
                </a:lnTo>
                <a:lnTo>
                  <a:pt x="4468" y="3923"/>
                </a:lnTo>
                <a:lnTo>
                  <a:pt x="4448" y="3913"/>
                </a:lnTo>
                <a:lnTo>
                  <a:pt x="4428" y="3902"/>
                </a:lnTo>
                <a:lnTo>
                  <a:pt x="4410" y="3892"/>
                </a:lnTo>
                <a:lnTo>
                  <a:pt x="4394" y="3881"/>
                </a:lnTo>
                <a:lnTo>
                  <a:pt x="4377" y="3869"/>
                </a:lnTo>
                <a:lnTo>
                  <a:pt x="4363" y="3859"/>
                </a:lnTo>
                <a:lnTo>
                  <a:pt x="4337" y="3839"/>
                </a:lnTo>
                <a:lnTo>
                  <a:pt x="4318" y="3820"/>
                </a:lnTo>
                <a:lnTo>
                  <a:pt x="4306" y="3805"/>
                </a:lnTo>
                <a:lnTo>
                  <a:pt x="4306" y="3805"/>
                </a:lnTo>
                <a:lnTo>
                  <a:pt x="4297" y="3793"/>
                </a:lnTo>
                <a:lnTo>
                  <a:pt x="4288" y="3780"/>
                </a:lnTo>
                <a:lnTo>
                  <a:pt x="4282" y="3769"/>
                </a:lnTo>
                <a:lnTo>
                  <a:pt x="4277" y="3758"/>
                </a:lnTo>
                <a:lnTo>
                  <a:pt x="4273" y="3748"/>
                </a:lnTo>
                <a:lnTo>
                  <a:pt x="4270" y="3739"/>
                </a:lnTo>
                <a:lnTo>
                  <a:pt x="4266" y="3722"/>
                </a:lnTo>
                <a:lnTo>
                  <a:pt x="4265" y="3709"/>
                </a:lnTo>
                <a:lnTo>
                  <a:pt x="4265" y="3699"/>
                </a:lnTo>
                <a:lnTo>
                  <a:pt x="4266" y="3690"/>
                </a:lnTo>
                <a:lnTo>
                  <a:pt x="4266" y="3690"/>
                </a:lnTo>
                <a:lnTo>
                  <a:pt x="4284" y="3700"/>
                </a:lnTo>
                <a:lnTo>
                  <a:pt x="4302" y="3706"/>
                </a:lnTo>
                <a:lnTo>
                  <a:pt x="4321" y="3711"/>
                </a:lnTo>
                <a:lnTo>
                  <a:pt x="4340" y="3714"/>
                </a:lnTo>
                <a:lnTo>
                  <a:pt x="4358" y="3716"/>
                </a:lnTo>
                <a:lnTo>
                  <a:pt x="4377" y="3715"/>
                </a:lnTo>
                <a:lnTo>
                  <a:pt x="4396" y="3712"/>
                </a:lnTo>
                <a:lnTo>
                  <a:pt x="4414" y="3708"/>
                </a:lnTo>
                <a:lnTo>
                  <a:pt x="4434" y="3468"/>
                </a:lnTo>
                <a:lnTo>
                  <a:pt x="4434" y="3468"/>
                </a:lnTo>
                <a:lnTo>
                  <a:pt x="4425" y="3467"/>
                </a:lnTo>
                <a:lnTo>
                  <a:pt x="4405" y="3464"/>
                </a:lnTo>
                <a:lnTo>
                  <a:pt x="4392" y="3461"/>
                </a:lnTo>
                <a:lnTo>
                  <a:pt x="4377" y="3457"/>
                </a:lnTo>
                <a:lnTo>
                  <a:pt x="4362" y="3453"/>
                </a:lnTo>
                <a:lnTo>
                  <a:pt x="4348" y="3447"/>
                </a:lnTo>
                <a:lnTo>
                  <a:pt x="4348" y="3447"/>
                </a:lnTo>
                <a:lnTo>
                  <a:pt x="4339" y="3443"/>
                </a:lnTo>
                <a:lnTo>
                  <a:pt x="4331" y="3438"/>
                </a:lnTo>
                <a:lnTo>
                  <a:pt x="4323" y="3432"/>
                </a:lnTo>
                <a:lnTo>
                  <a:pt x="4316" y="3426"/>
                </a:lnTo>
                <a:lnTo>
                  <a:pt x="4302" y="3412"/>
                </a:lnTo>
                <a:lnTo>
                  <a:pt x="4289" y="3399"/>
                </a:lnTo>
                <a:lnTo>
                  <a:pt x="4280" y="3386"/>
                </a:lnTo>
                <a:lnTo>
                  <a:pt x="4273" y="3376"/>
                </a:lnTo>
                <a:lnTo>
                  <a:pt x="4267" y="3366"/>
                </a:lnTo>
                <a:lnTo>
                  <a:pt x="4267" y="3366"/>
                </a:lnTo>
                <a:lnTo>
                  <a:pt x="4274" y="3369"/>
                </a:lnTo>
                <a:lnTo>
                  <a:pt x="4293" y="3377"/>
                </a:lnTo>
                <a:lnTo>
                  <a:pt x="4321" y="3385"/>
                </a:lnTo>
                <a:lnTo>
                  <a:pt x="4339" y="3389"/>
                </a:lnTo>
                <a:lnTo>
                  <a:pt x="4356" y="3392"/>
                </a:lnTo>
                <a:lnTo>
                  <a:pt x="4356" y="3392"/>
                </a:lnTo>
                <a:lnTo>
                  <a:pt x="4375" y="3394"/>
                </a:lnTo>
                <a:lnTo>
                  <a:pt x="4392" y="3395"/>
                </a:lnTo>
                <a:lnTo>
                  <a:pt x="4407" y="3393"/>
                </a:lnTo>
                <a:lnTo>
                  <a:pt x="4419" y="3391"/>
                </a:lnTo>
                <a:lnTo>
                  <a:pt x="4430" y="3389"/>
                </a:lnTo>
                <a:lnTo>
                  <a:pt x="4438" y="3387"/>
                </a:lnTo>
                <a:lnTo>
                  <a:pt x="4444" y="3384"/>
                </a:lnTo>
                <a:lnTo>
                  <a:pt x="4477" y="3113"/>
                </a:lnTo>
                <a:lnTo>
                  <a:pt x="4477" y="3113"/>
                </a:lnTo>
                <a:lnTo>
                  <a:pt x="4451" y="3114"/>
                </a:lnTo>
                <a:lnTo>
                  <a:pt x="4427" y="3113"/>
                </a:lnTo>
                <a:lnTo>
                  <a:pt x="4408" y="3111"/>
                </a:lnTo>
                <a:lnTo>
                  <a:pt x="4392" y="3106"/>
                </a:lnTo>
                <a:lnTo>
                  <a:pt x="4377" y="3100"/>
                </a:lnTo>
                <a:lnTo>
                  <a:pt x="4365" y="3093"/>
                </a:lnTo>
                <a:lnTo>
                  <a:pt x="4356" y="3085"/>
                </a:lnTo>
                <a:lnTo>
                  <a:pt x="4348" y="3077"/>
                </a:lnTo>
                <a:lnTo>
                  <a:pt x="4343" y="3069"/>
                </a:lnTo>
                <a:lnTo>
                  <a:pt x="4337" y="3060"/>
                </a:lnTo>
                <a:lnTo>
                  <a:pt x="4335" y="3051"/>
                </a:lnTo>
                <a:lnTo>
                  <a:pt x="4333" y="3043"/>
                </a:lnTo>
                <a:lnTo>
                  <a:pt x="4332" y="3035"/>
                </a:lnTo>
                <a:lnTo>
                  <a:pt x="4331" y="3029"/>
                </a:lnTo>
                <a:lnTo>
                  <a:pt x="4332" y="3020"/>
                </a:lnTo>
                <a:lnTo>
                  <a:pt x="4332" y="3020"/>
                </a:lnTo>
                <a:lnTo>
                  <a:pt x="4357" y="3015"/>
                </a:lnTo>
                <a:lnTo>
                  <a:pt x="4381" y="3009"/>
                </a:lnTo>
                <a:lnTo>
                  <a:pt x="4405" y="3001"/>
                </a:lnTo>
                <a:lnTo>
                  <a:pt x="4428" y="2994"/>
                </a:lnTo>
                <a:lnTo>
                  <a:pt x="4451" y="2985"/>
                </a:lnTo>
                <a:lnTo>
                  <a:pt x="4473" y="2975"/>
                </a:lnTo>
                <a:lnTo>
                  <a:pt x="4495" y="2964"/>
                </a:lnTo>
                <a:lnTo>
                  <a:pt x="4515" y="2951"/>
                </a:lnTo>
                <a:lnTo>
                  <a:pt x="4536" y="2939"/>
                </a:lnTo>
                <a:lnTo>
                  <a:pt x="4555" y="2926"/>
                </a:lnTo>
                <a:lnTo>
                  <a:pt x="4574" y="2911"/>
                </a:lnTo>
                <a:lnTo>
                  <a:pt x="4592" y="2896"/>
                </a:lnTo>
                <a:lnTo>
                  <a:pt x="4609" y="2881"/>
                </a:lnTo>
                <a:lnTo>
                  <a:pt x="4627" y="2864"/>
                </a:lnTo>
                <a:lnTo>
                  <a:pt x="4642" y="2848"/>
                </a:lnTo>
                <a:lnTo>
                  <a:pt x="4659" y="2831"/>
                </a:lnTo>
                <a:lnTo>
                  <a:pt x="4673" y="2812"/>
                </a:lnTo>
                <a:lnTo>
                  <a:pt x="4688" y="2794"/>
                </a:lnTo>
                <a:lnTo>
                  <a:pt x="4702" y="2775"/>
                </a:lnTo>
                <a:lnTo>
                  <a:pt x="4715" y="2756"/>
                </a:lnTo>
                <a:lnTo>
                  <a:pt x="4727" y="2737"/>
                </a:lnTo>
                <a:lnTo>
                  <a:pt x="4738" y="2717"/>
                </a:lnTo>
                <a:lnTo>
                  <a:pt x="4750" y="2698"/>
                </a:lnTo>
                <a:lnTo>
                  <a:pt x="4760" y="2677"/>
                </a:lnTo>
                <a:lnTo>
                  <a:pt x="4770" y="2657"/>
                </a:lnTo>
                <a:lnTo>
                  <a:pt x="4779" y="2636"/>
                </a:lnTo>
                <a:lnTo>
                  <a:pt x="4787" y="2616"/>
                </a:lnTo>
                <a:lnTo>
                  <a:pt x="4796" y="2595"/>
                </a:lnTo>
                <a:lnTo>
                  <a:pt x="4803" y="2575"/>
                </a:lnTo>
                <a:lnTo>
                  <a:pt x="4809" y="2555"/>
                </a:lnTo>
                <a:lnTo>
                  <a:pt x="4815" y="2534"/>
                </a:lnTo>
                <a:lnTo>
                  <a:pt x="4820" y="2515"/>
                </a:lnTo>
                <a:lnTo>
                  <a:pt x="4820" y="2515"/>
                </a:lnTo>
                <a:lnTo>
                  <a:pt x="4831" y="2521"/>
                </a:lnTo>
                <a:lnTo>
                  <a:pt x="4847" y="2527"/>
                </a:lnTo>
                <a:lnTo>
                  <a:pt x="4864" y="2533"/>
                </a:lnTo>
                <a:lnTo>
                  <a:pt x="4882" y="2538"/>
                </a:lnTo>
                <a:lnTo>
                  <a:pt x="4903" y="2541"/>
                </a:lnTo>
                <a:lnTo>
                  <a:pt x="4913" y="2542"/>
                </a:lnTo>
                <a:lnTo>
                  <a:pt x="4923" y="2543"/>
                </a:lnTo>
                <a:lnTo>
                  <a:pt x="4935" y="2542"/>
                </a:lnTo>
                <a:lnTo>
                  <a:pt x="4945" y="2541"/>
                </a:lnTo>
                <a:lnTo>
                  <a:pt x="4955" y="2539"/>
                </a:lnTo>
                <a:lnTo>
                  <a:pt x="4965" y="2536"/>
                </a:lnTo>
                <a:lnTo>
                  <a:pt x="4965" y="2536"/>
                </a:lnTo>
                <a:lnTo>
                  <a:pt x="4967" y="2508"/>
                </a:lnTo>
                <a:lnTo>
                  <a:pt x="4970" y="2441"/>
                </a:lnTo>
                <a:lnTo>
                  <a:pt x="4972" y="2405"/>
                </a:lnTo>
                <a:lnTo>
                  <a:pt x="4973" y="2371"/>
                </a:lnTo>
                <a:lnTo>
                  <a:pt x="4972" y="2343"/>
                </a:lnTo>
                <a:lnTo>
                  <a:pt x="4972" y="2333"/>
                </a:lnTo>
                <a:lnTo>
                  <a:pt x="4970" y="2327"/>
                </a:lnTo>
                <a:lnTo>
                  <a:pt x="4970" y="2327"/>
                </a:lnTo>
                <a:lnTo>
                  <a:pt x="4955" y="2325"/>
                </a:lnTo>
                <a:lnTo>
                  <a:pt x="4938" y="2322"/>
                </a:lnTo>
                <a:lnTo>
                  <a:pt x="4919" y="2317"/>
                </a:lnTo>
                <a:lnTo>
                  <a:pt x="4911" y="2314"/>
                </a:lnTo>
                <a:lnTo>
                  <a:pt x="4902" y="2311"/>
                </a:lnTo>
                <a:lnTo>
                  <a:pt x="4893" y="2306"/>
                </a:lnTo>
                <a:lnTo>
                  <a:pt x="4885" y="2302"/>
                </a:lnTo>
                <a:lnTo>
                  <a:pt x="4876" y="2296"/>
                </a:lnTo>
                <a:lnTo>
                  <a:pt x="4868" y="2289"/>
                </a:lnTo>
                <a:lnTo>
                  <a:pt x="4861" y="2282"/>
                </a:lnTo>
                <a:lnTo>
                  <a:pt x="4854" y="2273"/>
                </a:lnTo>
                <a:lnTo>
                  <a:pt x="4848" y="2264"/>
                </a:lnTo>
                <a:lnTo>
                  <a:pt x="4842" y="225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86" name="Freeform 37"/>
          <p:cNvSpPr>
            <a:spLocks/>
          </p:cNvSpPr>
          <p:nvPr userDrawn="1"/>
        </p:nvSpPr>
        <p:spPr bwMode="auto">
          <a:xfrm>
            <a:off x="8332789" y="-385339"/>
            <a:ext cx="276225" cy="73025"/>
          </a:xfrm>
          <a:custGeom>
            <a:avLst/>
            <a:gdLst>
              <a:gd name="T0" fmla="*/ 0 w 349"/>
              <a:gd name="T1" fmla="*/ 34 h 91"/>
              <a:gd name="T2" fmla="*/ 0 w 349"/>
              <a:gd name="T3" fmla="*/ 34 h 91"/>
              <a:gd name="T4" fmla="*/ 20 w 349"/>
              <a:gd name="T5" fmla="*/ 49 h 91"/>
              <a:gd name="T6" fmla="*/ 38 w 349"/>
              <a:gd name="T7" fmla="*/ 60 h 91"/>
              <a:gd name="T8" fmla="*/ 38 w 349"/>
              <a:gd name="T9" fmla="*/ 60 h 91"/>
              <a:gd name="T10" fmla="*/ 69 w 349"/>
              <a:gd name="T11" fmla="*/ 71 h 91"/>
              <a:gd name="T12" fmla="*/ 89 w 349"/>
              <a:gd name="T13" fmla="*/ 78 h 91"/>
              <a:gd name="T14" fmla="*/ 111 w 349"/>
              <a:gd name="T15" fmla="*/ 84 h 91"/>
              <a:gd name="T16" fmla="*/ 137 w 349"/>
              <a:gd name="T17" fmla="*/ 87 h 91"/>
              <a:gd name="T18" fmla="*/ 164 w 349"/>
              <a:gd name="T19" fmla="*/ 91 h 91"/>
              <a:gd name="T20" fmla="*/ 194 w 349"/>
              <a:gd name="T21" fmla="*/ 91 h 91"/>
              <a:gd name="T22" fmla="*/ 226 w 349"/>
              <a:gd name="T23" fmla="*/ 89 h 91"/>
              <a:gd name="T24" fmla="*/ 226 w 349"/>
              <a:gd name="T25" fmla="*/ 89 h 91"/>
              <a:gd name="T26" fmla="*/ 256 w 349"/>
              <a:gd name="T27" fmla="*/ 86 h 91"/>
              <a:gd name="T28" fmla="*/ 279 w 349"/>
              <a:gd name="T29" fmla="*/ 80 h 91"/>
              <a:gd name="T30" fmla="*/ 301 w 349"/>
              <a:gd name="T31" fmla="*/ 75 h 91"/>
              <a:gd name="T32" fmla="*/ 318 w 349"/>
              <a:gd name="T33" fmla="*/ 69 h 91"/>
              <a:gd name="T34" fmla="*/ 342 w 349"/>
              <a:gd name="T35" fmla="*/ 56 h 91"/>
              <a:gd name="T36" fmla="*/ 349 w 349"/>
              <a:gd name="T37" fmla="*/ 53 h 91"/>
              <a:gd name="T38" fmla="*/ 349 w 349"/>
              <a:gd name="T39" fmla="*/ 53 h 91"/>
              <a:gd name="T40" fmla="*/ 338 w 349"/>
              <a:gd name="T41" fmla="*/ 49 h 91"/>
              <a:gd name="T42" fmla="*/ 329 w 349"/>
              <a:gd name="T43" fmla="*/ 44 h 91"/>
              <a:gd name="T44" fmla="*/ 314 w 349"/>
              <a:gd name="T45" fmla="*/ 31 h 91"/>
              <a:gd name="T46" fmla="*/ 314 w 349"/>
              <a:gd name="T47" fmla="*/ 31 h 91"/>
              <a:gd name="T48" fmla="*/ 312 w 349"/>
              <a:gd name="T49" fmla="*/ 38 h 91"/>
              <a:gd name="T50" fmla="*/ 312 w 349"/>
              <a:gd name="T51" fmla="*/ 38 h 91"/>
              <a:gd name="T52" fmla="*/ 311 w 349"/>
              <a:gd name="T53" fmla="*/ 51 h 91"/>
              <a:gd name="T54" fmla="*/ 311 w 349"/>
              <a:gd name="T55" fmla="*/ 51 h 91"/>
              <a:gd name="T56" fmla="*/ 303 w 349"/>
              <a:gd name="T57" fmla="*/ 49 h 91"/>
              <a:gd name="T58" fmla="*/ 303 w 349"/>
              <a:gd name="T59" fmla="*/ 49 h 91"/>
              <a:gd name="T60" fmla="*/ 298 w 349"/>
              <a:gd name="T61" fmla="*/ 45 h 91"/>
              <a:gd name="T62" fmla="*/ 292 w 349"/>
              <a:gd name="T63" fmla="*/ 40 h 91"/>
              <a:gd name="T64" fmla="*/ 289 w 349"/>
              <a:gd name="T65" fmla="*/ 33 h 91"/>
              <a:gd name="T66" fmla="*/ 287 w 349"/>
              <a:gd name="T67" fmla="*/ 23 h 91"/>
              <a:gd name="T68" fmla="*/ 287 w 349"/>
              <a:gd name="T69" fmla="*/ 23 h 91"/>
              <a:gd name="T70" fmla="*/ 287 w 349"/>
              <a:gd name="T71" fmla="*/ 22 h 91"/>
              <a:gd name="T72" fmla="*/ 287 w 349"/>
              <a:gd name="T73" fmla="*/ 22 h 91"/>
              <a:gd name="T74" fmla="*/ 272 w 349"/>
              <a:gd name="T75" fmla="*/ 27 h 91"/>
              <a:gd name="T76" fmla="*/ 252 w 349"/>
              <a:gd name="T77" fmla="*/ 33 h 91"/>
              <a:gd name="T78" fmla="*/ 228 w 349"/>
              <a:gd name="T79" fmla="*/ 38 h 91"/>
              <a:gd name="T80" fmla="*/ 205 w 349"/>
              <a:gd name="T81" fmla="*/ 40 h 91"/>
              <a:gd name="T82" fmla="*/ 205 w 349"/>
              <a:gd name="T83" fmla="*/ 40 h 91"/>
              <a:gd name="T84" fmla="*/ 161 w 349"/>
              <a:gd name="T85" fmla="*/ 38 h 91"/>
              <a:gd name="T86" fmla="*/ 139 w 349"/>
              <a:gd name="T87" fmla="*/ 36 h 91"/>
              <a:gd name="T88" fmla="*/ 117 w 349"/>
              <a:gd name="T89" fmla="*/ 33 h 91"/>
              <a:gd name="T90" fmla="*/ 95 w 349"/>
              <a:gd name="T91" fmla="*/ 29 h 91"/>
              <a:gd name="T92" fmla="*/ 73 w 349"/>
              <a:gd name="T93" fmla="*/ 22 h 91"/>
              <a:gd name="T94" fmla="*/ 51 w 349"/>
              <a:gd name="T95" fmla="*/ 14 h 91"/>
              <a:gd name="T96" fmla="*/ 31 w 349"/>
              <a:gd name="T97" fmla="*/ 7 h 91"/>
              <a:gd name="T98" fmla="*/ 31 w 349"/>
              <a:gd name="T99" fmla="*/ 7 h 91"/>
              <a:gd name="T100" fmla="*/ 15 w 349"/>
              <a:gd name="T101" fmla="*/ 0 h 91"/>
              <a:gd name="T102" fmla="*/ 15 w 349"/>
              <a:gd name="T103" fmla="*/ 0 h 91"/>
              <a:gd name="T104" fmla="*/ 15 w 349"/>
              <a:gd name="T105" fmla="*/ 1 h 91"/>
              <a:gd name="T106" fmla="*/ 15 w 349"/>
              <a:gd name="T107" fmla="*/ 5 h 91"/>
              <a:gd name="T108" fmla="*/ 18 w 349"/>
              <a:gd name="T109" fmla="*/ 14 h 91"/>
              <a:gd name="T110" fmla="*/ 25 w 349"/>
              <a:gd name="T111" fmla="*/ 25 h 91"/>
              <a:gd name="T112" fmla="*/ 25 w 349"/>
              <a:gd name="T113" fmla="*/ 25 h 91"/>
              <a:gd name="T114" fmla="*/ 16 w 349"/>
              <a:gd name="T115" fmla="*/ 23 h 91"/>
              <a:gd name="T116" fmla="*/ 7 w 349"/>
              <a:gd name="T117" fmla="*/ 27 h 91"/>
              <a:gd name="T118" fmla="*/ 7 w 349"/>
              <a:gd name="T119" fmla="*/ 27 h 91"/>
              <a:gd name="T120" fmla="*/ 2 w 349"/>
              <a:gd name="T121" fmla="*/ 31 h 91"/>
              <a:gd name="T122" fmla="*/ 0 w 349"/>
              <a:gd name="T123" fmla="*/ 3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9" h="91">
                <a:moveTo>
                  <a:pt x="0" y="34"/>
                </a:moveTo>
                <a:lnTo>
                  <a:pt x="0" y="34"/>
                </a:lnTo>
                <a:lnTo>
                  <a:pt x="20" y="49"/>
                </a:lnTo>
                <a:lnTo>
                  <a:pt x="38" y="60"/>
                </a:lnTo>
                <a:lnTo>
                  <a:pt x="38" y="60"/>
                </a:lnTo>
                <a:lnTo>
                  <a:pt x="69" y="71"/>
                </a:lnTo>
                <a:lnTo>
                  <a:pt x="89" y="78"/>
                </a:lnTo>
                <a:lnTo>
                  <a:pt x="111" y="84"/>
                </a:lnTo>
                <a:lnTo>
                  <a:pt x="137" y="87"/>
                </a:lnTo>
                <a:lnTo>
                  <a:pt x="164" y="91"/>
                </a:lnTo>
                <a:lnTo>
                  <a:pt x="194" y="91"/>
                </a:lnTo>
                <a:lnTo>
                  <a:pt x="226" y="89"/>
                </a:lnTo>
                <a:lnTo>
                  <a:pt x="226" y="89"/>
                </a:lnTo>
                <a:lnTo>
                  <a:pt x="256" y="86"/>
                </a:lnTo>
                <a:lnTo>
                  <a:pt x="279" y="80"/>
                </a:lnTo>
                <a:lnTo>
                  <a:pt x="301" y="75"/>
                </a:lnTo>
                <a:lnTo>
                  <a:pt x="318" y="69"/>
                </a:lnTo>
                <a:lnTo>
                  <a:pt x="342" y="56"/>
                </a:lnTo>
                <a:lnTo>
                  <a:pt x="349" y="53"/>
                </a:lnTo>
                <a:lnTo>
                  <a:pt x="349" y="53"/>
                </a:lnTo>
                <a:lnTo>
                  <a:pt x="338" y="49"/>
                </a:lnTo>
                <a:lnTo>
                  <a:pt x="329" y="44"/>
                </a:lnTo>
                <a:lnTo>
                  <a:pt x="314" y="31"/>
                </a:lnTo>
                <a:lnTo>
                  <a:pt x="314" y="31"/>
                </a:lnTo>
                <a:lnTo>
                  <a:pt x="312" y="38"/>
                </a:lnTo>
                <a:lnTo>
                  <a:pt x="312" y="38"/>
                </a:lnTo>
                <a:lnTo>
                  <a:pt x="311" y="51"/>
                </a:lnTo>
                <a:lnTo>
                  <a:pt x="311" y="51"/>
                </a:lnTo>
                <a:lnTo>
                  <a:pt x="303" y="49"/>
                </a:lnTo>
                <a:lnTo>
                  <a:pt x="303" y="49"/>
                </a:lnTo>
                <a:lnTo>
                  <a:pt x="298" y="45"/>
                </a:lnTo>
                <a:lnTo>
                  <a:pt x="292" y="40"/>
                </a:lnTo>
                <a:lnTo>
                  <a:pt x="289" y="33"/>
                </a:lnTo>
                <a:lnTo>
                  <a:pt x="287" y="23"/>
                </a:lnTo>
                <a:lnTo>
                  <a:pt x="287" y="23"/>
                </a:lnTo>
                <a:lnTo>
                  <a:pt x="287" y="22"/>
                </a:lnTo>
                <a:lnTo>
                  <a:pt x="287" y="22"/>
                </a:lnTo>
                <a:lnTo>
                  <a:pt x="272" y="27"/>
                </a:lnTo>
                <a:lnTo>
                  <a:pt x="252" y="33"/>
                </a:lnTo>
                <a:lnTo>
                  <a:pt x="228" y="38"/>
                </a:lnTo>
                <a:lnTo>
                  <a:pt x="205" y="40"/>
                </a:lnTo>
                <a:lnTo>
                  <a:pt x="205" y="40"/>
                </a:lnTo>
                <a:lnTo>
                  <a:pt x="161" y="38"/>
                </a:lnTo>
                <a:lnTo>
                  <a:pt x="139" y="36"/>
                </a:lnTo>
                <a:lnTo>
                  <a:pt x="117" y="33"/>
                </a:lnTo>
                <a:lnTo>
                  <a:pt x="95" y="29"/>
                </a:lnTo>
                <a:lnTo>
                  <a:pt x="73" y="22"/>
                </a:lnTo>
                <a:lnTo>
                  <a:pt x="51" y="14"/>
                </a:lnTo>
                <a:lnTo>
                  <a:pt x="31" y="7"/>
                </a:lnTo>
                <a:lnTo>
                  <a:pt x="31" y="7"/>
                </a:lnTo>
                <a:lnTo>
                  <a:pt x="15" y="0"/>
                </a:lnTo>
                <a:lnTo>
                  <a:pt x="15" y="0"/>
                </a:lnTo>
                <a:lnTo>
                  <a:pt x="15" y="1"/>
                </a:lnTo>
                <a:lnTo>
                  <a:pt x="15" y="5"/>
                </a:lnTo>
                <a:lnTo>
                  <a:pt x="18" y="14"/>
                </a:lnTo>
                <a:lnTo>
                  <a:pt x="25" y="25"/>
                </a:lnTo>
                <a:lnTo>
                  <a:pt x="25" y="25"/>
                </a:lnTo>
                <a:lnTo>
                  <a:pt x="16" y="23"/>
                </a:lnTo>
                <a:lnTo>
                  <a:pt x="7" y="27"/>
                </a:lnTo>
                <a:lnTo>
                  <a:pt x="7" y="27"/>
                </a:lnTo>
                <a:lnTo>
                  <a:pt x="2" y="31"/>
                </a:lnTo>
                <a:lnTo>
                  <a:pt x="0" y="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87" name="Freeform 38"/>
          <p:cNvSpPr>
            <a:spLocks/>
          </p:cNvSpPr>
          <p:nvPr userDrawn="1"/>
        </p:nvSpPr>
        <p:spPr bwMode="auto">
          <a:xfrm>
            <a:off x="8270876" y="-618703"/>
            <a:ext cx="282575" cy="201613"/>
          </a:xfrm>
          <a:custGeom>
            <a:avLst/>
            <a:gdLst>
              <a:gd name="T0" fmla="*/ 326 w 357"/>
              <a:gd name="T1" fmla="*/ 20 h 253"/>
              <a:gd name="T2" fmla="*/ 320 w 357"/>
              <a:gd name="T3" fmla="*/ 3 h 253"/>
              <a:gd name="T4" fmla="*/ 311 w 357"/>
              <a:gd name="T5" fmla="*/ 0 h 253"/>
              <a:gd name="T6" fmla="*/ 227 w 357"/>
              <a:gd name="T7" fmla="*/ 40 h 253"/>
              <a:gd name="T8" fmla="*/ 207 w 357"/>
              <a:gd name="T9" fmla="*/ 53 h 253"/>
              <a:gd name="T10" fmla="*/ 176 w 357"/>
              <a:gd name="T11" fmla="*/ 53 h 253"/>
              <a:gd name="T12" fmla="*/ 181 w 357"/>
              <a:gd name="T13" fmla="*/ 71 h 253"/>
              <a:gd name="T14" fmla="*/ 172 w 357"/>
              <a:gd name="T15" fmla="*/ 78 h 253"/>
              <a:gd name="T16" fmla="*/ 181 w 357"/>
              <a:gd name="T17" fmla="*/ 93 h 253"/>
              <a:gd name="T18" fmla="*/ 198 w 357"/>
              <a:gd name="T19" fmla="*/ 91 h 253"/>
              <a:gd name="T20" fmla="*/ 189 w 357"/>
              <a:gd name="T21" fmla="*/ 115 h 253"/>
              <a:gd name="T22" fmla="*/ 147 w 357"/>
              <a:gd name="T23" fmla="*/ 146 h 253"/>
              <a:gd name="T24" fmla="*/ 101 w 357"/>
              <a:gd name="T25" fmla="*/ 155 h 253"/>
              <a:gd name="T26" fmla="*/ 79 w 357"/>
              <a:gd name="T27" fmla="*/ 137 h 253"/>
              <a:gd name="T28" fmla="*/ 68 w 357"/>
              <a:gd name="T29" fmla="*/ 126 h 253"/>
              <a:gd name="T30" fmla="*/ 50 w 357"/>
              <a:gd name="T31" fmla="*/ 126 h 253"/>
              <a:gd name="T32" fmla="*/ 28 w 357"/>
              <a:gd name="T33" fmla="*/ 137 h 253"/>
              <a:gd name="T34" fmla="*/ 48 w 357"/>
              <a:gd name="T35" fmla="*/ 140 h 253"/>
              <a:gd name="T36" fmla="*/ 44 w 357"/>
              <a:gd name="T37" fmla="*/ 149 h 253"/>
              <a:gd name="T38" fmla="*/ 75 w 357"/>
              <a:gd name="T39" fmla="*/ 169 h 253"/>
              <a:gd name="T40" fmla="*/ 75 w 357"/>
              <a:gd name="T41" fmla="*/ 171 h 253"/>
              <a:gd name="T42" fmla="*/ 39 w 357"/>
              <a:gd name="T43" fmla="*/ 160 h 253"/>
              <a:gd name="T44" fmla="*/ 28 w 357"/>
              <a:gd name="T45" fmla="*/ 164 h 253"/>
              <a:gd name="T46" fmla="*/ 8 w 357"/>
              <a:gd name="T47" fmla="*/ 171 h 253"/>
              <a:gd name="T48" fmla="*/ 2 w 357"/>
              <a:gd name="T49" fmla="*/ 193 h 253"/>
              <a:gd name="T50" fmla="*/ 17 w 357"/>
              <a:gd name="T51" fmla="*/ 180 h 253"/>
              <a:gd name="T52" fmla="*/ 22 w 357"/>
              <a:gd name="T53" fmla="*/ 188 h 253"/>
              <a:gd name="T54" fmla="*/ 26 w 357"/>
              <a:gd name="T55" fmla="*/ 197 h 253"/>
              <a:gd name="T56" fmla="*/ 66 w 357"/>
              <a:gd name="T57" fmla="*/ 195 h 253"/>
              <a:gd name="T58" fmla="*/ 75 w 357"/>
              <a:gd name="T59" fmla="*/ 197 h 253"/>
              <a:gd name="T60" fmla="*/ 39 w 357"/>
              <a:gd name="T61" fmla="*/ 206 h 253"/>
              <a:gd name="T62" fmla="*/ 37 w 357"/>
              <a:gd name="T63" fmla="*/ 213 h 253"/>
              <a:gd name="T64" fmla="*/ 28 w 357"/>
              <a:gd name="T65" fmla="*/ 233 h 253"/>
              <a:gd name="T66" fmla="*/ 35 w 357"/>
              <a:gd name="T67" fmla="*/ 248 h 253"/>
              <a:gd name="T68" fmla="*/ 41 w 357"/>
              <a:gd name="T69" fmla="*/ 244 h 253"/>
              <a:gd name="T70" fmla="*/ 42 w 357"/>
              <a:gd name="T71" fmla="*/ 235 h 253"/>
              <a:gd name="T72" fmla="*/ 55 w 357"/>
              <a:gd name="T73" fmla="*/ 243 h 253"/>
              <a:gd name="T74" fmla="*/ 72 w 357"/>
              <a:gd name="T75" fmla="*/ 232 h 253"/>
              <a:gd name="T76" fmla="*/ 94 w 357"/>
              <a:gd name="T77" fmla="*/ 213 h 253"/>
              <a:gd name="T78" fmla="*/ 108 w 357"/>
              <a:gd name="T79" fmla="*/ 211 h 253"/>
              <a:gd name="T80" fmla="*/ 110 w 357"/>
              <a:gd name="T81" fmla="*/ 222 h 253"/>
              <a:gd name="T82" fmla="*/ 115 w 357"/>
              <a:gd name="T83" fmla="*/ 233 h 253"/>
              <a:gd name="T84" fmla="*/ 114 w 357"/>
              <a:gd name="T85" fmla="*/ 243 h 253"/>
              <a:gd name="T86" fmla="*/ 136 w 357"/>
              <a:gd name="T87" fmla="*/ 224 h 253"/>
              <a:gd name="T88" fmla="*/ 141 w 357"/>
              <a:gd name="T89" fmla="*/ 219 h 253"/>
              <a:gd name="T90" fmla="*/ 145 w 357"/>
              <a:gd name="T91" fmla="*/ 211 h 253"/>
              <a:gd name="T92" fmla="*/ 147 w 357"/>
              <a:gd name="T93" fmla="*/ 200 h 253"/>
              <a:gd name="T94" fmla="*/ 167 w 357"/>
              <a:gd name="T95" fmla="*/ 193 h 253"/>
              <a:gd name="T96" fmla="*/ 170 w 357"/>
              <a:gd name="T97" fmla="*/ 180 h 253"/>
              <a:gd name="T98" fmla="*/ 181 w 357"/>
              <a:gd name="T99" fmla="*/ 179 h 253"/>
              <a:gd name="T100" fmla="*/ 199 w 357"/>
              <a:gd name="T101" fmla="*/ 197 h 253"/>
              <a:gd name="T102" fmla="*/ 231 w 357"/>
              <a:gd name="T103" fmla="*/ 182 h 253"/>
              <a:gd name="T104" fmla="*/ 227 w 357"/>
              <a:gd name="T105" fmla="*/ 169 h 253"/>
              <a:gd name="T106" fmla="*/ 223 w 357"/>
              <a:gd name="T107" fmla="*/ 155 h 253"/>
              <a:gd name="T108" fmla="*/ 245 w 357"/>
              <a:gd name="T109" fmla="*/ 173 h 253"/>
              <a:gd name="T110" fmla="*/ 276 w 357"/>
              <a:gd name="T111" fmla="*/ 155 h 253"/>
              <a:gd name="T112" fmla="*/ 273 w 357"/>
              <a:gd name="T113" fmla="*/ 149 h 253"/>
              <a:gd name="T114" fmla="*/ 263 w 357"/>
              <a:gd name="T115" fmla="*/ 131 h 253"/>
              <a:gd name="T116" fmla="*/ 262 w 357"/>
              <a:gd name="T117" fmla="*/ 115 h 253"/>
              <a:gd name="T118" fmla="*/ 262 w 357"/>
              <a:gd name="T119" fmla="*/ 98 h 253"/>
              <a:gd name="T120" fmla="*/ 353 w 357"/>
              <a:gd name="T121" fmla="*/ 45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7" h="253">
                <a:moveTo>
                  <a:pt x="344" y="31"/>
                </a:moveTo>
                <a:lnTo>
                  <a:pt x="344" y="31"/>
                </a:lnTo>
                <a:lnTo>
                  <a:pt x="335" y="23"/>
                </a:lnTo>
                <a:lnTo>
                  <a:pt x="326" y="20"/>
                </a:lnTo>
                <a:lnTo>
                  <a:pt x="309" y="12"/>
                </a:lnTo>
                <a:lnTo>
                  <a:pt x="309" y="12"/>
                </a:lnTo>
                <a:lnTo>
                  <a:pt x="316" y="7"/>
                </a:lnTo>
                <a:lnTo>
                  <a:pt x="320" y="3"/>
                </a:lnTo>
                <a:lnTo>
                  <a:pt x="320" y="1"/>
                </a:lnTo>
                <a:lnTo>
                  <a:pt x="320" y="1"/>
                </a:lnTo>
                <a:lnTo>
                  <a:pt x="315" y="0"/>
                </a:lnTo>
                <a:lnTo>
                  <a:pt x="311" y="0"/>
                </a:lnTo>
                <a:lnTo>
                  <a:pt x="311" y="0"/>
                </a:lnTo>
                <a:lnTo>
                  <a:pt x="280" y="12"/>
                </a:lnTo>
                <a:lnTo>
                  <a:pt x="252" y="25"/>
                </a:lnTo>
                <a:lnTo>
                  <a:pt x="227" y="40"/>
                </a:lnTo>
                <a:lnTo>
                  <a:pt x="209" y="53"/>
                </a:lnTo>
                <a:lnTo>
                  <a:pt x="209" y="53"/>
                </a:lnTo>
                <a:lnTo>
                  <a:pt x="207" y="53"/>
                </a:lnTo>
                <a:lnTo>
                  <a:pt x="207" y="53"/>
                </a:lnTo>
                <a:lnTo>
                  <a:pt x="201" y="56"/>
                </a:lnTo>
                <a:lnTo>
                  <a:pt x="196" y="56"/>
                </a:lnTo>
                <a:lnTo>
                  <a:pt x="185" y="54"/>
                </a:lnTo>
                <a:lnTo>
                  <a:pt x="176" y="53"/>
                </a:lnTo>
                <a:lnTo>
                  <a:pt x="174" y="51"/>
                </a:lnTo>
                <a:lnTo>
                  <a:pt x="170" y="67"/>
                </a:lnTo>
                <a:lnTo>
                  <a:pt x="170" y="67"/>
                </a:lnTo>
                <a:lnTo>
                  <a:pt x="181" y="71"/>
                </a:lnTo>
                <a:lnTo>
                  <a:pt x="189" y="74"/>
                </a:lnTo>
                <a:lnTo>
                  <a:pt x="189" y="74"/>
                </a:lnTo>
                <a:lnTo>
                  <a:pt x="178" y="76"/>
                </a:lnTo>
                <a:lnTo>
                  <a:pt x="172" y="78"/>
                </a:lnTo>
                <a:lnTo>
                  <a:pt x="168" y="82"/>
                </a:lnTo>
                <a:lnTo>
                  <a:pt x="174" y="96"/>
                </a:lnTo>
                <a:lnTo>
                  <a:pt x="174" y="96"/>
                </a:lnTo>
                <a:lnTo>
                  <a:pt x="181" y="93"/>
                </a:lnTo>
                <a:lnTo>
                  <a:pt x="189" y="91"/>
                </a:lnTo>
                <a:lnTo>
                  <a:pt x="198" y="89"/>
                </a:lnTo>
                <a:lnTo>
                  <a:pt x="198" y="89"/>
                </a:lnTo>
                <a:lnTo>
                  <a:pt x="198" y="91"/>
                </a:lnTo>
                <a:lnTo>
                  <a:pt x="198" y="91"/>
                </a:lnTo>
                <a:lnTo>
                  <a:pt x="198" y="98"/>
                </a:lnTo>
                <a:lnTo>
                  <a:pt x="194" y="105"/>
                </a:lnTo>
                <a:lnTo>
                  <a:pt x="189" y="115"/>
                </a:lnTo>
                <a:lnTo>
                  <a:pt x="181" y="122"/>
                </a:lnTo>
                <a:lnTo>
                  <a:pt x="165" y="137"/>
                </a:lnTo>
                <a:lnTo>
                  <a:pt x="156" y="142"/>
                </a:lnTo>
                <a:lnTo>
                  <a:pt x="147" y="146"/>
                </a:lnTo>
                <a:lnTo>
                  <a:pt x="147" y="146"/>
                </a:lnTo>
                <a:lnTo>
                  <a:pt x="128" y="151"/>
                </a:lnTo>
                <a:lnTo>
                  <a:pt x="112" y="155"/>
                </a:lnTo>
                <a:lnTo>
                  <a:pt x="101" y="155"/>
                </a:lnTo>
                <a:lnTo>
                  <a:pt x="95" y="153"/>
                </a:lnTo>
                <a:lnTo>
                  <a:pt x="95" y="153"/>
                </a:lnTo>
                <a:lnTo>
                  <a:pt x="84" y="144"/>
                </a:lnTo>
                <a:lnTo>
                  <a:pt x="79" y="137"/>
                </a:lnTo>
                <a:lnTo>
                  <a:pt x="73" y="129"/>
                </a:lnTo>
                <a:lnTo>
                  <a:pt x="72" y="126"/>
                </a:lnTo>
                <a:lnTo>
                  <a:pt x="68" y="126"/>
                </a:lnTo>
                <a:lnTo>
                  <a:pt x="68" y="126"/>
                </a:lnTo>
                <a:lnTo>
                  <a:pt x="64" y="126"/>
                </a:lnTo>
                <a:lnTo>
                  <a:pt x="61" y="127"/>
                </a:lnTo>
                <a:lnTo>
                  <a:pt x="61" y="127"/>
                </a:lnTo>
                <a:lnTo>
                  <a:pt x="50" y="126"/>
                </a:lnTo>
                <a:lnTo>
                  <a:pt x="41" y="127"/>
                </a:lnTo>
                <a:lnTo>
                  <a:pt x="33" y="131"/>
                </a:lnTo>
                <a:lnTo>
                  <a:pt x="30" y="133"/>
                </a:lnTo>
                <a:lnTo>
                  <a:pt x="28" y="137"/>
                </a:lnTo>
                <a:lnTo>
                  <a:pt x="28" y="137"/>
                </a:lnTo>
                <a:lnTo>
                  <a:pt x="41" y="137"/>
                </a:lnTo>
                <a:lnTo>
                  <a:pt x="48" y="138"/>
                </a:lnTo>
                <a:lnTo>
                  <a:pt x="48" y="140"/>
                </a:lnTo>
                <a:lnTo>
                  <a:pt x="46" y="142"/>
                </a:lnTo>
                <a:lnTo>
                  <a:pt x="46" y="142"/>
                </a:lnTo>
                <a:lnTo>
                  <a:pt x="42" y="146"/>
                </a:lnTo>
                <a:lnTo>
                  <a:pt x="44" y="149"/>
                </a:lnTo>
                <a:lnTo>
                  <a:pt x="46" y="153"/>
                </a:lnTo>
                <a:lnTo>
                  <a:pt x="52" y="157"/>
                </a:lnTo>
                <a:lnTo>
                  <a:pt x="75" y="169"/>
                </a:lnTo>
                <a:lnTo>
                  <a:pt x="75" y="169"/>
                </a:lnTo>
                <a:lnTo>
                  <a:pt x="75" y="169"/>
                </a:lnTo>
                <a:lnTo>
                  <a:pt x="75" y="171"/>
                </a:lnTo>
                <a:lnTo>
                  <a:pt x="75" y="171"/>
                </a:lnTo>
                <a:lnTo>
                  <a:pt x="75" y="171"/>
                </a:lnTo>
                <a:lnTo>
                  <a:pt x="68" y="171"/>
                </a:lnTo>
                <a:lnTo>
                  <a:pt x="59" y="168"/>
                </a:lnTo>
                <a:lnTo>
                  <a:pt x="39" y="160"/>
                </a:lnTo>
                <a:lnTo>
                  <a:pt x="39" y="160"/>
                </a:lnTo>
                <a:lnTo>
                  <a:pt x="35" y="160"/>
                </a:lnTo>
                <a:lnTo>
                  <a:pt x="31" y="160"/>
                </a:lnTo>
                <a:lnTo>
                  <a:pt x="28" y="164"/>
                </a:lnTo>
                <a:lnTo>
                  <a:pt x="28" y="164"/>
                </a:lnTo>
                <a:lnTo>
                  <a:pt x="24" y="164"/>
                </a:lnTo>
                <a:lnTo>
                  <a:pt x="19" y="164"/>
                </a:lnTo>
                <a:lnTo>
                  <a:pt x="11" y="168"/>
                </a:lnTo>
                <a:lnTo>
                  <a:pt x="8" y="171"/>
                </a:lnTo>
                <a:lnTo>
                  <a:pt x="2" y="175"/>
                </a:lnTo>
                <a:lnTo>
                  <a:pt x="0" y="180"/>
                </a:lnTo>
                <a:lnTo>
                  <a:pt x="0" y="186"/>
                </a:lnTo>
                <a:lnTo>
                  <a:pt x="2" y="193"/>
                </a:lnTo>
                <a:lnTo>
                  <a:pt x="2" y="193"/>
                </a:lnTo>
                <a:lnTo>
                  <a:pt x="8" y="186"/>
                </a:lnTo>
                <a:lnTo>
                  <a:pt x="13" y="180"/>
                </a:lnTo>
                <a:lnTo>
                  <a:pt x="17" y="180"/>
                </a:lnTo>
                <a:lnTo>
                  <a:pt x="20" y="180"/>
                </a:lnTo>
                <a:lnTo>
                  <a:pt x="20" y="180"/>
                </a:lnTo>
                <a:lnTo>
                  <a:pt x="22" y="182"/>
                </a:lnTo>
                <a:lnTo>
                  <a:pt x="22" y="188"/>
                </a:lnTo>
                <a:lnTo>
                  <a:pt x="22" y="191"/>
                </a:lnTo>
                <a:lnTo>
                  <a:pt x="24" y="195"/>
                </a:lnTo>
                <a:lnTo>
                  <a:pt x="26" y="197"/>
                </a:lnTo>
                <a:lnTo>
                  <a:pt x="26" y="197"/>
                </a:lnTo>
                <a:lnTo>
                  <a:pt x="30" y="199"/>
                </a:lnTo>
                <a:lnTo>
                  <a:pt x="37" y="199"/>
                </a:lnTo>
                <a:lnTo>
                  <a:pt x="52" y="197"/>
                </a:lnTo>
                <a:lnTo>
                  <a:pt x="66" y="195"/>
                </a:lnTo>
                <a:lnTo>
                  <a:pt x="73" y="195"/>
                </a:lnTo>
                <a:lnTo>
                  <a:pt x="75" y="195"/>
                </a:lnTo>
                <a:lnTo>
                  <a:pt x="75" y="195"/>
                </a:lnTo>
                <a:lnTo>
                  <a:pt x="75" y="197"/>
                </a:lnTo>
                <a:lnTo>
                  <a:pt x="72" y="199"/>
                </a:lnTo>
                <a:lnTo>
                  <a:pt x="59" y="200"/>
                </a:lnTo>
                <a:lnTo>
                  <a:pt x="44" y="202"/>
                </a:lnTo>
                <a:lnTo>
                  <a:pt x="39" y="206"/>
                </a:lnTo>
                <a:lnTo>
                  <a:pt x="37" y="208"/>
                </a:lnTo>
                <a:lnTo>
                  <a:pt x="37" y="208"/>
                </a:lnTo>
                <a:lnTo>
                  <a:pt x="37" y="213"/>
                </a:lnTo>
                <a:lnTo>
                  <a:pt x="37" y="213"/>
                </a:lnTo>
                <a:lnTo>
                  <a:pt x="37" y="215"/>
                </a:lnTo>
                <a:lnTo>
                  <a:pt x="33" y="219"/>
                </a:lnTo>
                <a:lnTo>
                  <a:pt x="30" y="226"/>
                </a:lnTo>
                <a:lnTo>
                  <a:pt x="28" y="233"/>
                </a:lnTo>
                <a:lnTo>
                  <a:pt x="28" y="233"/>
                </a:lnTo>
                <a:lnTo>
                  <a:pt x="28" y="237"/>
                </a:lnTo>
                <a:lnTo>
                  <a:pt x="30" y="243"/>
                </a:lnTo>
                <a:lnTo>
                  <a:pt x="35" y="248"/>
                </a:lnTo>
                <a:lnTo>
                  <a:pt x="41" y="253"/>
                </a:lnTo>
                <a:lnTo>
                  <a:pt x="41" y="253"/>
                </a:lnTo>
                <a:lnTo>
                  <a:pt x="42" y="252"/>
                </a:lnTo>
                <a:lnTo>
                  <a:pt x="41" y="244"/>
                </a:lnTo>
                <a:lnTo>
                  <a:pt x="41" y="239"/>
                </a:lnTo>
                <a:lnTo>
                  <a:pt x="42" y="237"/>
                </a:lnTo>
                <a:lnTo>
                  <a:pt x="42" y="235"/>
                </a:lnTo>
                <a:lnTo>
                  <a:pt x="42" y="235"/>
                </a:lnTo>
                <a:lnTo>
                  <a:pt x="46" y="235"/>
                </a:lnTo>
                <a:lnTo>
                  <a:pt x="48" y="237"/>
                </a:lnTo>
                <a:lnTo>
                  <a:pt x="52" y="241"/>
                </a:lnTo>
                <a:lnTo>
                  <a:pt x="55" y="243"/>
                </a:lnTo>
                <a:lnTo>
                  <a:pt x="55" y="243"/>
                </a:lnTo>
                <a:lnTo>
                  <a:pt x="59" y="241"/>
                </a:lnTo>
                <a:lnTo>
                  <a:pt x="62" y="239"/>
                </a:lnTo>
                <a:lnTo>
                  <a:pt x="72" y="232"/>
                </a:lnTo>
                <a:lnTo>
                  <a:pt x="81" y="222"/>
                </a:lnTo>
                <a:lnTo>
                  <a:pt x="86" y="217"/>
                </a:lnTo>
                <a:lnTo>
                  <a:pt x="94" y="213"/>
                </a:lnTo>
                <a:lnTo>
                  <a:pt x="94" y="213"/>
                </a:lnTo>
                <a:lnTo>
                  <a:pt x="103" y="210"/>
                </a:lnTo>
                <a:lnTo>
                  <a:pt x="106" y="208"/>
                </a:lnTo>
                <a:lnTo>
                  <a:pt x="108" y="210"/>
                </a:lnTo>
                <a:lnTo>
                  <a:pt x="108" y="211"/>
                </a:lnTo>
                <a:lnTo>
                  <a:pt x="108" y="217"/>
                </a:lnTo>
                <a:lnTo>
                  <a:pt x="108" y="221"/>
                </a:lnTo>
                <a:lnTo>
                  <a:pt x="110" y="222"/>
                </a:lnTo>
                <a:lnTo>
                  <a:pt x="110" y="222"/>
                </a:lnTo>
                <a:lnTo>
                  <a:pt x="115" y="224"/>
                </a:lnTo>
                <a:lnTo>
                  <a:pt x="117" y="226"/>
                </a:lnTo>
                <a:lnTo>
                  <a:pt x="117" y="230"/>
                </a:lnTo>
                <a:lnTo>
                  <a:pt x="115" y="233"/>
                </a:lnTo>
                <a:lnTo>
                  <a:pt x="112" y="239"/>
                </a:lnTo>
                <a:lnTo>
                  <a:pt x="108" y="243"/>
                </a:lnTo>
                <a:lnTo>
                  <a:pt x="108" y="243"/>
                </a:lnTo>
                <a:lnTo>
                  <a:pt x="114" y="243"/>
                </a:lnTo>
                <a:lnTo>
                  <a:pt x="121" y="241"/>
                </a:lnTo>
                <a:lnTo>
                  <a:pt x="128" y="233"/>
                </a:lnTo>
                <a:lnTo>
                  <a:pt x="132" y="230"/>
                </a:lnTo>
                <a:lnTo>
                  <a:pt x="136" y="224"/>
                </a:lnTo>
                <a:lnTo>
                  <a:pt x="136" y="224"/>
                </a:lnTo>
                <a:lnTo>
                  <a:pt x="136" y="221"/>
                </a:lnTo>
                <a:lnTo>
                  <a:pt x="137" y="221"/>
                </a:lnTo>
                <a:lnTo>
                  <a:pt x="141" y="219"/>
                </a:lnTo>
                <a:lnTo>
                  <a:pt x="143" y="217"/>
                </a:lnTo>
                <a:lnTo>
                  <a:pt x="143" y="217"/>
                </a:lnTo>
                <a:lnTo>
                  <a:pt x="145" y="215"/>
                </a:lnTo>
                <a:lnTo>
                  <a:pt x="145" y="211"/>
                </a:lnTo>
                <a:lnTo>
                  <a:pt x="145" y="208"/>
                </a:lnTo>
                <a:lnTo>
                  <a:pt x="145" y="204"/>
                </a:lnTo>
                <a:lnTo>
                  <a:pt x="145" y="204"/>
                </a:lnTo>
                <a:lnTo>
                  <a:pt x="147" y="200"/>
                </a:lnTo>
                <a:lnTo>
                  <a:pt x="150" y="199"/>
                </a:lnTo>
                <a:lnTo>
                  <a:pt x="157" y="197"/>
                </a:lnTo>
                <a:lnTo>
                  <a:pt x="165" y="195"/>
                </a:lnTo>
                <a:lnTo>
                  <a:pt x="167" y="193"/>
                </a:lnTo>
                <a:lnTo>
                  <a:pt x="167" y="191"/>
                </a:lnTo>
                <a:lnTo>
                  <a:pt x="167" y="191"/>
                </a:lnTo>
                <a:lnTo>
                  <a:pt x="167" y="186"/>
                </a:lnTo>
                <a:lnTo>
                  <a:pt x="170" y="180"/>
                </a:lnTo>
                <a:lnTo>
                  <a:pt x="176" y="179"/>
                </a:lnTo>
                <a:lnTo>
                  <a:pt x="179" y="177"/>
                </a:lnTo>
                <a:lnTo>
                  <a:pt x="179" y="177"/>
                </a:lnTo>
                <a:lnTo>
                  <a:pt x="181" y="179"/>
                </a:lnTo>
                <a:lnTo>
                  <a:pt x="183" y="184"/>
                </a:lnTo>
                <a:lnTo>
                  <a:pt x="189" y="190"/>
                </a:lnTo>
                <a:lnTo>
                  <a:pt x="194" y="193"/>
                </a:lnTo>
                <a:lnTo>
                  <a:pt x="199" y="197"/>
                </a:lnTo>
                <a:lnTo>
                  <a:pt x="199" y="197"/>
                </a:lnTo>
                <a:lnTo>
                  <a:pt x="221" y="186"/>
                </a:lnTo>
                <a:lnTo>
                  <a:pt x="221" y="186"/>
                </a:lnTo>
                <a:lnTo>
                  <a:pt x="231" y="182"/>
                </a:lnTo>
                <a:lnTo>
                  <a:pt x="234" y="179"/>
                </a:lnTo>
                <a:lnTo>
                  <a:pt x="234" y="179"/>
                </a:lnTo>
                <a:lnTo>
                  <a:pt x="231" y="173"/>
                </a:lnTo>
                <a:lnTo>
                  <a:pt x="227" y="169"/>
                </a:lnTo>
                <a:lnTo>
                  <a:pt x="225" y="164"/>
                </a:lnTo>
                <a:lnTo>
                  <a:pt x="225" y="164"/>
                </a:lnTo>
                <a:lnTo>
                  <a:pt x="223" y="158"/>
                </a:lnTo>
                <a:lnTo>
                  <a:pt x="223" y="155"/>
                </a:lnTo>
                <a:lnTo>
                  <a:pt x="223" y="155"/>
                </a:lnTo>
                <a:lnTo>
                  <a:pt x="229" y="162"/>
                </a:lnTo>
                <a:lnTo>
                  <a:pt x="236" y="168"/>
                </a:lnTo>
                <a:lnTo>
                  <a:pt x="245" y="173"/>
                </a:lnTo>
                <a:lnTo>
                  <a:pt x="245" y="173"/>
                </a:lnTo>
                <a:lnTo>
                  <a:pt x="271" y="157"/>
                </a:lnTo>
                <a:lnTo>
                  <a:pt x="271" y="157"/>
                </a:lnTo>
                <a:lnTo>
                  <a:pt x="276" y="155"/>
                </a:lnTo>
                <a:lnTo>
                  <a:pt x="276" y="155"/>
                </a:lnTo>
                <a:lnTo>
                  <a:pt x="276" y="155"/>
                </a:lnTo>
                <a:lnTo>
                  <a:pt x="276" y="155"/>
                </a:lnTo>
                <a:lnTo>
                  <a:pt x="273" y="149"/>
                </a:lnTo>
                <a:lnTo>
                  <a:pt x="267" y="144"/>
                </a:lnTo>
                <a:lnTo>
                  <a:pt x="262" y="137"/>
                </a:lnTo>
                <a:lnTo>
                  <a:pt x="262" y="133"/>
                </a:lnTo>
                <a:lnTo>
                  <a:pt x="263" y="131"/>
                </a:lnTo>
                <a:lnTo>
                  <a:pt x="263" y="131"/>
                </a:lnTo>
                <a:lnTo>
                  <a:pt x="265" y="129"/>
                </a:lnTo>
                <a:lnTo>
                  <a:pt x="265" y="126"/>
                </a:lnTo>
                <a:lnTo>
                  <a:pt x="262" y="115"/>
                </a:lnTo>
                <a:lnTo>
                  <a:pt x="258" y="105"/>
                </a:lnTo>
                <a:lnTo>
                  <a:pt x="258" y="100"/>
                </a:lnTo>
                <a:lnTo>
                  <a:pt x="262" y="98"/>
                </a:lnTo>
                <a:lnTo>
                  <a:pt x="262" y="98"/>
                </a:lnTo>
                <a:lnTo>
                  <a:pt x="313" y="73"/>
                </a:lnTo>
                <a:lnTo>
                  <a:pt x="357" y="51"/>
                </a:lnTo>
                <a:lnTo>
                  <a:pt x="357" y="51"/>
                </a:lnTo>
                <a:lnTo>
                  <a:pt x="353" y="45"/>
                </a:lnTo>
                <a:lnTo>
                  <a:pt x="349" y="38"/>
                </a:lnTo>
                <a:lnTo>
                  <a:pt x="344" y="3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88" name="Freeform 39"/>
          <p:cNvSpPr>
            <a:spLocks/>
          </p:cNvSpPr>
          <p:nvPr userDrawn="1"/>
        </p:nvSpPr>
        <p:spPr bwMode="auto">
          <a:xfrm>
            <a:off x="8229601" y="-437728"/>
            <a:ext cx="120650" cy="115888"/>
          </a:xfrm>
          <a:custGeom>
            <a:avLst/>
            <a:gdLst>
              <a:gd name="T0" fmla="*/ 0 w 152"/>
              <a:gd name="T1" fmla="*/ 42 h 144"/>
              <a:gd name="T2" fmla="*/ 2 w 152"/>
              <a:gd name="T3" fmla="*/ 51 h 144"/>
              <a:gd name="T4" fmla="*/ 4 w 152"/>
              <a:gd name="T5" fmla="*/ 57 h 144"/>
              <a:gd name="T6" fmla="*/ 15 w 152"/>
              <a:gd name="T7" fmla="*/ 60 h 144"/>
              <a:gd name="T8" fmla="*/ 18 w 152"/>
              <a:gd name="T9" fmla="*/ 58 h 144"/>
              <a:gd name="T10" fmla="*/ 20 w 152"/>
              <a:gd name="T11" fmla="*/ 51 h 144"/>
              <a:gd name="T12" fmla="*/ 22 w 152"/>
              <a:gd name="T13" fmla="*/ 44 h 144"/>
              <a:gd name="T14" fmla="*/ 24 w 152"/>
              <a:gd name="T15" fmla="*/ 42 h 144"/>
              <a:gd name="T16" fmla="*/ 26 w 152"/>
              <a:gd name="T17" fmla="*/ 42 h 144"/>
              <a:gd name="T18" fmla="*/ 28 w 152"/>
              <a:gd name="T19" fmla="*/ 40 h 144"/>
              <a:gd name="T20" fmla="*/ 68 w 152"/>
              <a:gd name="T21" fmla="*/ 60 h 144"/>
              <a:gd name="T22" fmla="*/ 106 w 152"/>
              <a:gd name="T23" fmla="*/ 86 h 144"/>
              <a:gd name="T24" fmla="*/ 112 w 152"/>
              <a:gd name="T25" fmla="*/ 89 h 144"/>
              <a:gd name="T26" fmla="*/ 106 w 152"/>
              <a:gd name="T27" fmla="*/ 100 h 144"/>
              <a:gd name="T28" fmla="*/ 95 w 152"/>
              <a:gd name="T29" fmla="*/ 128 h 144"/>
              <a:gd name="T30" fmla="*/ 93 w 152"/>
              <a:gd name="T31" fmla="*/ 135 h 144"/>
              <a:gd name="T32" fmla="*/ 97 w 152"/>
              <a:gd name="T33" fmla="*/ 142 h 144"/>
              <a:gd name="T34" fmla="*/ 104 w 152"/>
              <a:gd name="T35" fmla="*/ 144 h 144"/>
              <a:gd name="T36" fmla="*/ 110 w 152"/>
              <a:gd name="T37" fmla="*/ 144 h 144"/>
              <a:gd name="T38" fmla="*/ 117 w 152"/>
              <a:gd name="T39" fmla="*/ 139 h 144"/>
              <a:gd name="T40" fmla="*/ 119 w 152"/>
              <a:gd name="T41" fmla="*/ 135 h 144"/>
              <a:gd name="T42" fmla="*/ 119 w 152"/>
              <a:gd name="T43" fmla="*/ 130 h 144"/>
              <a:gd name="T44" fmla="*/ 112 w 152"/>
              <a:gd name="T45" fmla="*/ 122 h 144"/>
              <a:gd name="T46" fmla="*/ 110 w 152"/>
              <a:gd name="T47" fmla="*/ 122 h 144"/>
              <a:gd name="T48" fmla="*/ 115 w 152"/>
              <a:gd name="T49" fmla="*/ 110 h 144"/>
              <a:gd name="T50" fmla="*/ 123 w 152"/>
              <a:gd name="T51" fmla="*/ 93 h 144"/>
              <a:gd name="T52" fmla="*/ 132 w 152"/>
              <a:gd name="T53" fmla="*/ 86 h 144"/>
              <a:gd name="T54" fmla="*/ 141 w 152"/>
              <a:gd name="T55" fmla="*/ 84 h 144"/>
              <a:gd name="T56" fmla="*/ 139 w 152"/>
              <a:gd name="T57" fmla="*/ 80 h 144"/>
              <a:gd name="T58" fmla="*/ 135 w 152"/>
              <a:gd name="T59" fmla="*/ 69 h 144"/>
              <a:gd name="T60" fmla="*/ 137 w 152"/>
              <a:gd name="T61" fmla="*/ 57 h 144"/>
              <a:gd name="T62" fmla="*/ 141 w 152"/>
              <a:gd name="T63" fmla="*/ 49 h 144"/>
              <a:gd name="T64" fmla="*/ 152 w 152"/>
              <a:gd name="T65" fmla="*/ 18 h 144"/>
              <a:gd name="T66" fmla="*/ 152 w 152"/>
              <a:gd name="T67" fmla="*/ 13 h 144"/>
              <a:gd name="T68" fmla="*/ 146 w 152"/>
              <a:gd name="T69" fmla="*/ 5 h 144"/>
              <a:gd name="T70" fmla="*/ 141 w 152"/>
              <a:gd name="T71" fmla="*/ 4 h 144"/>
              <a:gd name="T72" fmla="*/ 132 w 152"/>
              <a:gd name="T73" fmla="*/ 7 h 144"/>
              <a:gd name="T74" fmla="*/ 128 w 152"/>
              <a:gd name="T75" fmla="*/ 15 h 144"/>
              <a:gd name="T76" fmla="*/ 128 w 152"/>
              <a:gd name="T77" fmla="*/ 20 h 144"/>
              <a:gd name="T78" fmla="*/ 134 w 152"/>
              <a:gd name="T79" fmla="*/ 27 h 144"/>
              <a:gd name="T80" fmla="*/ 137 w 152"/>
              <a:gd name="T81" fmla="*/ 29 h 144"/>
              <a:gd name="T82" fmla="*/ 132 w 152"/>
              <a:gd name="T83" fmla="*/ 46 h 144"/>
              <a:gd name="T84" fmla="*/ 124 w 152"/>
              <a:gd name="T85" fmla="*/ 55 h 144"/>
              <a:gd name="T86" fmla="*/ 117 w 152"/>
              <a:gd name="T87" fmla="*/ 51 h 144"/>
              <a:gd name="T88" fmla="*/ 60 w 152"/>
              <a:gd name="T89" fmla="*/ 24 h 144"/>
              <a:gd name="T90" fmla="*/ 40 w 152"/>
              <a:gd name="T91" fmla="*/ 18 h 144"/>
              <a:gd name="T92" fmla="*/ 42 w 152"/>
              <a:gd name="T93" fmla="*/ 13 h 144"/>
              <a:gd name="T94" fmla="*/ 50 w 152"/>
              <a:gd name="T95" fmla="*/ 0 h 144"/>
              <a:gd name="T96" fmla="*/ 46 w 152"/>
              <a:gd name="T97" fmla="*/ 2 h 144"/>
              <a:gd name="T98" fmla="*/ 39 w 152"/>
              <a:gd name="T99" fmla="*/ 5 h 144"/>
              <a:gd name="T100" fmla="*/ 24 w 152"/>
              <a:gd name="T101" fmla="*/ 11 h 144"/>
              <a:gd name="T102" fmla="*/ 18 w 152"/>
              <a:gd name="T103" fmla="*/ 11 h 144"/>
              <a:gd name="T104" fmla="*/ 15 w 152"/>
              <a:gd name="T105" fmla="*/ 11 h 144"/>
              <a:gd name="T106" fmla="*/ 9 w 152"/>
              <a:gd name="T107" fmla="*/ 22 h 144"/>
              <a:gd name="T108" fmla="*/ 6 w 152"/>
              <a:gd name="T109" fmla="*/ 33 h 144"/>
              <a:gd name="T110" fmla="*/ 2 w 152"/>
              <a:gd name="T111" fmla="*/ 3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2" h="144">
                <a:moveTo>
                  <a:pt x="0" y="42"/>
                </a:moveTo>
                <a:lnTo>
                  <a:pt x="0" y="42"/>
                </a:lnTo>
                <a:lnTo>
                  <a:pt x="0" y="47"/>
                </a:lnTo>
                <a:lnTo>
                  <a:pt x="2" y="51"/>
                </a:lnTo>
                <a:lnTo>
                  <a:pt x="4" y="57"/>
                </a:lnTo>
                <a:lnTo>
                  <a:pt x="4" y="57"/>
                </a:lnTo>
                <a:lnTo>
                  <a:pt x="11" y="58"/>
                </a:lnTo>
                <a:lnTo>
                  <a:pt x="15" y="60"/>
                </a:lnTo>
                <a:lnTo>
                  <a:pt x="18" y="58"/>
                </a:lnTo>
                <a:lnTo>
                  <a:pt x="18" y="58"/>
                </a:lnTo>
                <a:lnTo>
                  <a:pt x="20" y="55"/>
                </a:lnTo>
                <a:lnTo>
                  <a:pt x="20" y="51"/>
                </a:lnTo>
                <a:lnTo>
                  <a:pt x="20" y="47"/>
                </a:lnTo>
                <a:lnTo>
                  <a:pt x="22" y="44"/>
                </a:lnTo>
                <a:lnTo>
                  <a:pt x="22" y="44"/>
                </a:lnTo>
                <a:lnTo>
                  <a:pt x="24" y="42"/>
                </a:lnTo>
                <a:lnTo>
                  <a:pt x="26" y="42"/>
                </a:lnTo>
                <a:lnTo>
                  <a:pt x="26" y="42"/>
                </a:lnTo>
                <a:lnTo>
                  <a:pt x="28" y="40"/>
                </a:lnTo>
                <a:lnTo>
                  <a:pt x="28" y="40"/>
                </a:lnTo>
                <a:lnTo>
                  <a:pt x="48" y="49"/>
                </a:lnTo>
                <a:lnTo>
                  <a:pt x="68" y="60"/>
                </a:lnTo>
                <a:lnTo>
                  <a:pt x="106" y="86"/>
                </a:lnTo>
                <a:lnTo>
                  <a:pt x="106" y="86"/>
                </a:lnTo>
                <a:lnTo>
                  <a:pt x="112" y="89"/>
                </a:lnTo>
                <a:lnTo>
                  <a:pt x="112" y="89"/>
                </a:lnTo>
                <a:lnTo>
                  <a:pt x="106" y="100"/>
                </a:lnTo>
                <a:lnTo>
                  <a:pt x="106" y="100"/>
                </a:lnTo>
                <a:lnTo>
                  <a:pt x="97" y="119"/>
                </a:lnTo>
                <a:lnTo>
                  <a:pt x="95" y="128"/>
                </a:lnTo>
                <a:lnTo>
                  <a:pt x="93" y="135"/>
                </a:lnTo>
                <a:lnTo>
                  <a:pt x="93" y="135"/>
                </a:lnTo>
                <a:lnTo>
                  <a:pt x="95" y="139"/>
                </a:lnTo>
                <a:lnTo>
                  <a:pt x="97" y="142"/>
                </a:lnTo>
                <a:lnTo>
                  <a:pt x="101" y="144"/>
                </a:lnTo>
                <a:lnTo>
                  <a:pt x="104" y="144"/>
                </a:lnTo>
                <a:lnTo>
                  <a:pt x="104" y="144"/>
                </a:lnTo>
                <a:lnTo>
                  <a:pt x="110" y="144"/>
                </a:lnTo>
                <a:lnTo>
                  <a:pt x="113" y="142"/>
                </a:lnTo>
                <a:lnTo>
                  <a:pt x="117" y="139"/>
                </a:lnTo>
                <a:lnTo>
                  <a:pt x="119" y="135"/>
                </a:lnTo>
                <a:lnTo>
                  <a:pt x="119" y="135"/>
                </a:lnTo>
                <a:lnTo>
                  <a:pt x="119" y="131"/>
                </a:lnTo>
                <a:lnTo>
                  <a:pt x="119" y="130"/>
                </a:lnTo>
                <a:lnTo>
                  <a:pt x="115" y="124"/>
                </a:lnTo>
                <a:lnTo>
                  <a:pt x="112" y="122"/>
                </a:lnTo>
                <a:lnTo>
                  <a:pt x="110" y="122"/>
                </a:lnTo>
                <a:lnTo>
                  <a:pt x="110" y="122"/>
                </a:lnTo>
                <a:lnTo>
                  <a:pt x="115" y="110"/>
                </a:lnTo>
                <a:lnTo>
                  <a:pt x="115" y="110"/>
                </a:lnTo>
                <a:lnTo>
                  <a:pt x="119" y="100"/>
                </a:lnTo>
                <a:lnTo>
                  <a:pt x="123" y="93"/>
                </a:lnTo>
                <a:lnTo>
                  <a:pt x="128" y="89"/>
                </a:lnTo>
                <a:lnTo>
                  <a:pt x="132" y="86"/>
                </a:lnTo>
                <a:lnTo>
                  <a:pt x="137" y="84"/>
                </a:lnTo>
                <a:lnTo>
                  <a:pt x="141" y="84"/>
                </a:lnTo>
                <a:lnTo>
                  <a:pt x="141" y="84"/>
                </a:lnTo>
                <a:lnTo>
                  <a:pt x="139" y="80"/>
                </a:lnTo>
                <a:lnTo>
                  <a:pt x="135" y="75"/>
                </a:lnTo>
                <a:lnTo>
                  <a:pt x="135" y="69"/>
                </a:lnTo>
                <a:lnTo>
                  <a:pt x="135" y="64"/>
                </a:lnTo>
                <a:lnTo>
                  <a:pt x="137" y="57"/>
                </a:lnTo>
                <a:lnTo>
                  <a:pt x="141" y="49"/>
                </a:lnTo>
                <a:lnTo>
                  <a:pt x="141" y="49"/>
                </a:lnTo>
                <a:lnTo>
                  <a:pt x="148" y="31"/>
                </a:lnTo>
                <a:lnTo>
                  <a:pt x="152" y="18"/>
                </a:lnTo>
                <a:lnTo>
                  <a:pt x="152" y="18"/>
                </a:lnTo>
                <a:lnTo>
                  <a:pt x="152" y="13"/>
                </a:lnTo>
                <a:lnTo>
                  <a:pt x="150" y="9"/>
                </a:lnTo>
                <a:lnTo>
                  <a:pt x="146" y="5"/>
                </a:lnTo>
                <a:lnTo>
                  <a:pt x="141" y="4"/>
                </a:lnTo>
                <a:lnTo>
                  <a:pt x="141" y="4"/>
                </a:lnTo>
                <a:lnTo>
                  <a:pt x="137" y="5"/>
                </a:lnTo>
                <a:lnTo>
                  <a:pt x="132" y="7"/>
                </a:lnTo>
                <a:lnTo>
                  <a:pt x="130" y="11"/>
                </a:lnTo>
                <a:lnTo>
                  <a:pt x="128" y="15"/>
                </a:lnTo>
                <a:lnTo>
                  <a:pt x="128" y="15"/>
                </a:lnTo>
                <a:lnTo>
                  <a:pt x="128" y="20"/>
                </a:lnTo>
                <a:lnTo>
                  <a:pt x="130" y="24"/>
                </a:lnTo>
                <a:lnTo>
                  <a:pt x="134" y="27"/>
                </a:lnTo>
                <a:lnTo>
                  <a:pt x="137" y="29"/>
                </a:lnTo>
                <a:lnTo>
                  <a:pt x="137" y="29"/>
                </a:lnTo>
                <a:lnTo>
                  <a:pt x="137" y="29"/>
                </a:lnTo>
                <a:lnTo>
                  <a:pt x="132" y="46"/>
                </a:lnTo>
                <a:lnTo>
                  <a:pt x="124" y="55"/>
                </a:lnTo>
                <a:lnTo>
                  <a:pt x="124" y="55"/>
                </a:lnTo>
                <a:lnTo>
                  <a:pt x="117" y="51"/>
                </a:lnTo>
                <a:lnTo>
                  <a:pt x="117" y="51"/>
                </a:lnTo>
                <a:lnTo>
                  <a:pt x="81" y="31"/>
                </a:lnTo>
                <a:lnTo>
                  <a:pt x="60" y="24"/>
                </a:lnTo>
                <a:lnTo>
                  <a:pt x="40" y="18"/>
                </a:lnTo>
                <a:lnTo>
                  <a:pt x="40" y="18"/>
                </a:lnTo>
                <a:lnTo>
                  <a:pt x="42" y="13"/>
                </a:lnTo>
                <a:lnTo>
                  <a:pt x="42" y="13"/>
                </a:lnTo>
                <a:lnTo>
                  <a:pt x="48" y="4"/>
                </a:lnTo>
                <a:lnTo>
                  <a:pt x="50" y="0"/>
                </a:lnTo>
                <a:lnTo>
                  <a:pt x="50" y="0"/>
                </a:lnTo>
                <a:lnTo>
                  <a:pt x="46" y="2"/>
                </a:lnTo>
                <a:lnTo>
                  <a:pt x="39" y="5"/>
                </a:lnTo>
                <a:lnTo>
                  <a:pt x="39" y="5"/>
                </a:lnTo>
                <a:lnTo>
                  <a:pt x="29" y="9"/>
                </a:lnTo>
                <a:lnTo>
                  <a:pt x="24" y="11"/>
                </a:lnTo>
                <a:lnTo>
                  <a:pt x="24" y="11"/>
                </a:lnTo>
                <a:lnTo>
                  <a:pt x="18" y="11"/>
                </a:lnTo>
                <a:lnTo>
                  <a:pt x="15" y="11"/>
                </a:lnTo>
                <a:lnTo>
                  <a:pt x="15" y="11"/>
                </a:lnTo>
                <a:lnTo>
                  <a:pt x="13" y="13"/>
                </a:lnTo>
                <a:lnTo>
                  <a:pt x="9" y="22"/>
                </a:lnTo>
                <a:lnTo>
                  <a:pt x="9" y="22"/>
                </a:lnTo>
                <a:lnTo>
                  <a:pt x="6" y="33"/>
                </a:lnTo>
                <a:lnTo>
                  <a:pt x="6" y="33"/>
                </a:lnTo>
                <a:lnTo>
                  <a:pt x="2" y="38"/>
                </a:lnTo>
                <a:lnTo>
                  <a:pt x="0" y="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89" name="Freeform 40"/>
          <p:cNvSpPr>
            <a:spLocks/>
          </p:cNvSpPr>
          <p:nvPr userDrawn="1"/>
        </p:nvSpPr>
        <p:spPr bwMode="auto">
          <a:xfrm>
            <a:off x="8226426" y="-921915"/>
            <a:ext cx="30163" cy="34925"/>
          </a:xfrm>
          <a:custGeom>
            <a:avLst/>
            <a:gdLst>
              <a:gd name="T0" fmla="*/ 12 w 36"/>
              <a:gd name="T1" fmla="*/ 44 h 44"/>
              <a:gd name="T2" fmla="*/ 12 w 36"/>
              <a:gd name="T3" fmla="*/ 44 h 44"/>
              <a:gd name="T4" fmla="*/ 27 w 36"/>
              <a:gd name="T5" fmla="*/ 42 h 44"/>
              <a:gd name="T6" fmla="*/ 36 w 36"/>
              <a:gd name="T7" fmla="*/ 40 h 44"/>
              <a:gd name="T8" fmla="*/ 36 w 36"/>
              <a:gd name="T9" fmla="*/ 3 h 44"/>
              <a:gd name="T10" fmla="*/ 36 w 36"/>
              <a:gd name="T11" fmla="*/ 3 h 44"/>
              <a:gd name="T12" fmla="*/ 16 w 36"/>
              <a:gd name="T13" fmla="*/ 0 h 44"/>
              <a:gd name="T14" fmla="*/ 16 w 36"/>
              <a:gd name="T15" fmla="*/ 0 h 44"/>
              <a:gd name="T16" fmla="*/ 11 w 36"/>
              <a:gd name="T17" fmla="*/ 0 h 44"/>
              <a:gd name="T18" fmla="*/ 7 w 36"/>
              <a:gd name="T19" fmla="*/ 2 h 44"/>
              <a:gd name="T20" fmla="*/ 3 w 36"/>
              <a:gd name="T21" fmla="*/ 3 h 44"/>
              <a:gd name="T22" fmla="*/ 1 w 36"/>
              <a:gd name="T23" fmla="*/ 7 h 44"/>
              <a:gd name="T24" fmla="*/ 0 w 36"/>
              <a:gd name="T25" fmla="*/ 13 h 44"/>
              <a:gd name="T26" fmla="*/ 0 w 36"/>
              <a:gd name="T27" fmla="*/ 16 h 44"/>
              <a:gd name="T28" fmla="*/ 0 w 36"/>
              <a:gd name="T29" fmla="*/ 27 h 44"/>
              <a:gd name="T30" fmla="*/ 0 w 36"/>
              <a:gd name="T31" fmla="*/ 27 h 44"/>
              <a:gd name="T32" fmla="*/ 1 w 36"/>
              <a:gd name="T33" fmla="*/ 34 h 44"/>
              <a:gd name="T34" fmla="*/ 5 w 36"/>
              <a:gd name="T35" fmla="*/ 40 h 44"/>
              <a:gd name="T36" fmla="*/ 9 w 36"/>
              <a:gd name="T37" fmla="*/ 42 h 44"/>
              <a:gd name="T38" fmla="*/ 12 w 36"/>
              <a:gd name="T3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 h="44">
                <a:moveTo>
                  <a:pt x="12" y="44"/>
                </a:moveTo>
                <a:lnTo>
                  <a:pt x="12" y="44"/>
                </a:lnTo>
                <a:lnTo>
                  <a:pt x="27" y="42"/>
                </a:lnTo>
                <a:lnTo>
                  <a:pt x="36" y="40"/>
                </a:lnTo>
                <a:lnTo>
                  <a:pt x="36" y="3"/>
                </a:lnTo>
                <a:lnTo>
                  <a:pt x="36" y="3"/>
                </a:lnTo>
                <a:lnTo>
                  <a:pt x="16" y="0"/>
                </a:lnTo>
                <a:lnTo>
                  <a:pt x="16" y="0"/>
                </a:lnTo>
                <a:lnTo>
                  <a:pt x="11" y="0"/>
                </a:lnTo>
                <a:lnTo>
                  <a:pt x="7" y="2"/>
                </a:lnTo>
                <a:lnTo>
                  <a:pt x="3" y="3"/>
                </a:lnTo>
                <a:lnTo>
                  <a:pt x="1" y="7"/>
                </a:lnTo>
                <a:lnTo>
                  <a:pt x="0" y="13"/>
                </a:lnTo>
                <a:lnTo>
                  <a:pt x="0" y="16"/>
                </a:lnTo>
                <a:lnTo>
                  <a:pt x="0" y="27"/>
                </a:lnTo>
                <a:lnTo>
                  <a:pt x="0" y="27"/>
                </a:lnTo>
                <a:lnTo>
                  <a:pt x="1" y="34"/>
                </a:lnTo>
                <a:lnTo>
                  <a:pt x="5" y="40"/>
                </a:lnTo>
                <a:lnTo>
                  <a:pt x="9" y="42"/>
                </a:lnTo>
                <a:lnTo>
                  <a:pt x="12" y="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0" name="Freeform 41"/>
          <p:cNvSpPr>
            <a:spLocks/>
          </p:cNvSpPr>
          <p:nvPr userDrawn="1"/>
        </p:nvSpPr>
        <p:spPr bwMode="auto">
          <a:xfrm>
            <a:off x="8262939" y="-928264"/>
            <a:ext cx="44450" cy="41275"/>
          </a:xfrm>
          <a:custGeom>
            <a:avLst/>
            <a:gdLst>
              <a:gd name="T0" fmla="*/ 55 w 55"/>
              <a:gd name="T1" fmla="*/ 38 h 53"/>
              <a:gd name="T2" fmla="*/ 55 w 55"/>
              <a:gd name="T3" fmla="*/ 27 h 53"/>
              <a:gd name="T4" fmla="*/ 55 w 55"/>
              <a:gd name="T5" fmla="*/ 7 h 53"/>
              <a:gd name="T6" fmla="*/ 55 w 55"/>
              <a:gd name="T7" fmla="*/ 1 h 53"/>
              <a:gd name="T8" fmla="*/ 53 w 55"/>
              <a:gd name="T9" fmla="*/ 0 h 53"/>
              <a:gd name="T10" fmla="*/ 46 w 55"/>
              <a:gd name="T11" fmla="*/ 0 h 53"/>
              <a:gd name="T12" fmla="*/ 40 w 55"/>
              <a:gd name="T13" fmla="*/ 0 h 53"/>
              <a:gd name="T14" fmla="*/ 29 w 55"/>
              <a:gd name="T15" fmla="*/ 0 h 53"/>
              <a:gd name="T16" fmla="*/ 28 w 55"/>
              <a:gd name="T17" fmla="*/ 7 h 53"/>
              <a:gd name="T18" fmla="*/ 26 w 55"/>
              <a:gd name="T19" fmla="*/ 0 h 53"/>
              <a:gd name="T20" fmla="*/ 17 w 55"/>
              <a:gd name="T21" fmla="*/ 0 h 53"/>
              <a:gd name="T22" fmla="*/ 11 w 55"/>
              <a:gd name="T23" fmla="*/ 0 h 53"/>
              <a:gd name="T24" fmla="*/ 4 w 55"/>
              <a:gd name="T25" fmla="*/ 0 h 53"/>
              <a:gd name="T26" fmla="*/ 2 w 55"/>
              <a:gd name="T27" fmla="*/ 1 h 53"/>
              <a:gd name="T28" fmla="*/ 0 w 55"/>
              <a:gd name="T29" fmla="*/ 7 h 53"/>
              <a:gd name="T30" fmla="*/ 0 w 55"/>
              <a:gd name="T31" fmla="*/ 27 h 53"/>
              <a:gd name="T32" fmla="*/ 0 w 55"/>
              <a:gd name="T33" fmla="*/ 49 h 53"/>
              <a:gd name="T34" fmla="*/ 6 w 55"/>
              <a:gd name="T35" fmla="*/ 49 h 53"/>
              <a:gd name="T36" fmla="*/ 9 w 55"/>
              <a:gd name="T37" fmla="*/ 47 h 53"/>
              <a:gd name="T38" fmla="*/ 13 w 55"/>
              <a:gd name="T39" fmla="*/ 40 h 53"/>
              <a:gd name="T40" fmla="*/ 13 w 55"/>
              <a:gd name="T41" fmla="*/ 53 h 53"/>
              <a:gd name="T42" fmla="*/ 17 w 55"/>
              <a:gd name="T43" fmla="*/ 53 h 53"/>
              <a:gd name="T44" fmla="*/ 24 w 55"/>
              <a:gd name="T45" fmla="*/ 49 h 53"/>
              <a:gd name="T46" fmla="*/ 26 w 55"/>
              <a:gd name="T47" fmla="*/ 43 h 53"/>
              <a:gd name="T48" fmla="*/ 28 w 55"/>
              <a:gd name="T49" fmla="*/ 40 h 53"/>
              <a:gd name="T50" fmla="*/ 28 w 55"/>
              <a:gd name="T51" fmla="*/ 53 h 53"/>
              <a:gd name="T52" fmla="*/ 39 w 55"/>
              <a:gd name="T53" fmla="*/ 49 h 53"/>
              <a:gd name="T54" fmla="*/ 42 w 55"/>
              <a:gd name="T55" fmla="*/ 43 h 53"/>
              <a:gd name="T56" fmla="*/ 42 w 55"/>
              <a:gd name="T57" fmla="*/ 40 h 53"/>
              <a:gd name="T58" fmla="*/ 42 w 55"/>
              <a:gd name="T59" fmla="*/ 49 h 53"/>
              <a:gd name="T60" fmla="*/ 46 w 55"/>
              <a:gd name="T61" fmla="*/ 47 h 53"/>
              <a:gd name="T62" fmla="*/ 51 w 55"/>
              <a:gd name="T63" fmla="*/ 45 h 53"/>
              <a:gd name="T64" fmla="*/ 55 w 55"/>
              <a:gd name="T65" fmla="*/ 38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5" h="53">
                <a:moveTo>
                  <a:pt x="55" y="38"/>
                </a:moveTo>
                <a:lnTo>
                  <a:pt x="55" y="38"/>
                </a:lnTo>
                <a:lnTo>
                  <a:pt x="55" y="27"/>
                </a:lnTo>
                <a:lnTo>
                  <a:pt x="55" y="27"/>
                </a:lnTo>
                <a:lnTo>
                  <a:pt x="55" y="7"/>
                </a:lnTo>
                <a:lnTo>
                  <a:pt x="55" y="7"/>
                </a:lnTo>
                <a:lnTo>
                  <a:pt x="55" y="3"/>
                </a:lnTo>
                <a:lnTo>
                  <a:pt x="55" y="1"/>
                </a:lnTo>
                <a:lnTo>
                  <a:pt x="53" y="0"/>
                </a:lnTo>
                <a:lnTo>
                  <a:pt x="53" y="0"/>
                </a:lnTo>
                <a:lnTo>
                  <a:pt x="46" y="0"/>
                </a:lnTo>
                <a:lnTo>
                  <a:pt x="46" y="0"/>
                </a:lnTo>
                <a:lnTo>
                  <a:pt x="42" y="7"/>
                </a:lnTo>
                <a:lnTo>
                  <a:pt x="40" y="0"/>
                </a:lnTo>
                <a:lnTo>
                  <a:pt x="40" y="0"/>
                </a:lnTo>
                <a:lnTo>
                  <a:pt x="29" y="0"/>
                </a:lnTo>
                <a:lnTo>
                  <a:pt x="29" y="0"/>
                </a:lnTo>
                <a:lnTo>
                  <a:pt x="28" y="7"/>
                </a:lnTo>
                <a:lnTo>
                  <a:pt x="26" y="0"/>
                </a:lnTo>
                <a:lnTo>
                  <a:pt x="26" y="0"/>
                </a:lnTo>
                <a:lnTo>
                  <a:pt x="17" y="0"/>
                </a:lnTo>
                <a:lnTo>
                  <a:pt x="17" y="0"/>
                </a:lnTo>
                <a:lnTo>
                  <a:pt x="13" y="7"/>
                </a:lnTo>
                <a:lnTo>
                  <a:pt x="11" y="0"/>
                </a:lnTo>
                <a:lnTo>
                  <a:pt x="11" y="0"/>
                </a:lnTo>
                <a:lnTo>
                  <a:pt x="4" y="0"/>
                </a:lnTo>
                <a:lnTo>
                  <a:pt x="4" y="0"/>
                </a:lnTo>
                <a:lnTo>
                  <a:pt x="2" y="1"/>
                </a:lnTo>
                <a:lnTo>
                  <a:pt x="0" y="3"/>
                </a:lnTo>
                <a:lnTo>
                  <a:pt x="0" y="7"/>
                </a:lnTo>
                <a:lnTo>
                  <a:pt x="0" y="7"/>
                </a:lnTo>
                <a:lnTo>
                  <a:pt x="0" y="27"/>
                </a:lnTo>
                <a:lnTo>
                  <a:pt x="0" y="27"/>
                </a:lnTo>
                <a:lnTo>
                  <a:pt x="0" y="49"/>
                </a:lnTo>
                <a:lnTo>
                  <a:pt x="0" y="49"/>
                </a:lnTo>
                <a:lnTo>
                  <a:pt x="6" y="49"/>
                </a:lnTo>
                <a:lnTo>
                  <a:pt x="9" y="47"/>
                </a:lnTo>
                <a:lnTo>
                  <a:pt x="9" y="47"/>
                </a:lnTo>
                <a:lnTo>
                  <a:pt x="11" y="42"/>
                </a:lnTo>
                <a:lnTo>
                  <a:pt x="13" y="40"/>
                </a:lnTo>
                <a:lnTo>
                  <a:pt x="13" y="40"/>
                </a:lnTo>
                <a:lnTo>
                  <a:pt x="13" y="53"/>
                </a:lnTo>
                <a:lnTo>
                  <a:pt x="13" y="53"/>
                </a:lnTo>
                <a:lnTo>
                  <a:pt x="17" y="53"/>
                </a:lnTo>
                <a:lnTo>
                  <a:pt x="20" y="51"/>
                </a:lnTo>
                <a:lnTo>
                  <a:pt x="24" y="49"/>
                </a:lnTo>
                <a:lnTo>
                  <a:pt x="24" y="49"/>
                </a:lnTo>
                <a:lnTo>
                  <a:pt x="26" y="43"/>
                </a:lnTo>
                <a:lnTo>
                  <a:pt x="28" y="40"/>
                </a:lnTo>
                <a:lnTo>
                  <a:pt x="28" y="40"/>
                </a:lnTo>
                <a:lnTo>
                  <a:pt x="28" y="53"/>
                </a:lnTo>
                <a:lnTo>
                  <a:pt x="28" y="53"/>
                </a:lnTo>
                <a:lnTo>
                  <a:pt x="33" y="51"/>
                </a:lnTo>
                <a:lnTo>
                  <a:pt x="39" y="49"/>
                </a:lnTo>
                <a:lnTo>
                  <a:pt x="39" y="49"/>
                </a:lnTo>
                <a:lnTo>
                  <a:pt x="42" y="43"/>
                </a:lnTo>
                <a:lnTo>
                  <a:pt x="42" y="40"/>
                </a:lnTo>
                <a:lnTo>
                  <a:pt x="42" y="40"/>
                </a:lnTo>
                <a:lnTo>
                  <a:pt x="42" y="49"/>
                </a:lnTo>
                <a:lnTo>
                  <a:pt x="42" y="49"/>
                </a:lnTo>
                <a:lnTo>
                  <a:pt x="46" y="47"/>
                </a:lnTo>
                <a:lnTo>
                  <a:pt x="46" y="47"/>
                </a:lnTo>
                <a:lnTo>
                  <a:pt x="51" y="45"/>
                </a:lnTo>
                <a:lnTo>
                  <a:pt x="51" y="45"/>
                </a:lnTo>
                <a:lnTo>
                  <a:pt x="53" y="43"/>
                </a:lnTo>
                <a:lnTo>
                  <a:pt x="55" y="3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1" name="Freeform 42"/>
          <p:cNvSpPr>
            <a:spLocks/>
          </p:cNvSpPr>
          <p:nvPr userDrawn="1"/>
        </p:nvSpPr>
        <p:spPr bwMode="auto">
          <a:xfrm>
            <a:off x="8269289" y="-926677"/>
            <a:ext cx="53975" cy="60325"/>
          </a:xfrm>
          <a:custGeom>
            <a:avLst/>
            <a:gdLst>
              <a:gd name="T0" fmla="*/ 67 w 67"/>
              <a:gd name="T1" fmla="*/ 57 h 77"/>
              <a:gd name="T2" fmla="*/ 67 w 67"/>
              <a:gd name="T3" fmla="*/ 44 h 77"/>
              <a:gd name="T4" fmla="*/ 67 w 67"/>
              <a:gd name="T5" fmla="*/ 44 h 77"/>
              <a:gd name="T6" fmla="*/ 65 w 67"/>
              <a:gd name="T7" fmla="*/ 42 h 77"/>
              <a:gd name="T8" fmla="*/ 63 w 67"/>
              <a:gd name="T9" fmla="*/ 37 h 77"/>
              <a:gd name="T10" fmla="*/ 63 w 67"/>
              <a:gd name="T11" fmla="*/ 30 h 77"/>
              <a:gd name="T12" fmla="*/ 63 w 67"/>
              <a:gd name="T13" fmla="*/ 30 h 77"/>
              <a:gd name="T14" fmla="*/ 63 w 67"/>
              <a:gd name="T15" fmla="*/ 26 h 77"/>
              <a:gd name="T16" fmla="*/ 65 w 67"/>
              <a:gd name="T17" fmla="*/ 21 h 77"/>
              <a:gd name="T18" fmla="*/ 67 w 67"/>
              <a:gd name="T19" fmla="*/ 17 h 77"/>
              <a:gd name="T20" fmla="*/ 67 w 67"/>
              <a:gd name="T21" fmla="*/ 6 h 77"/>
              <a:gd name="T22" fmla="*/ 67 w 67"/>
              <a:gd name="T23" fmla="*/ 6 h 77"/>
              <a:gd name="T24" fmla="*/ 63 w 67"/>
              <a:gd name="T25" fmla="*/ 2 h 77"/>
              <a:gd name="T26" fmla="*/ 60 w 67"/>
              <a:gd name="T27" fmla="*/ 0 h 77"/>
              <a:gd name="T28" fmla="*/ 56 w 67"/>
              <a:gd name="T29" fmla="*/ 0 h 77"/>
              <a:gd name="T30" fmla="*/ 56 w 67"/>
              <a:gd name="T31" fmla="*/ 41 h 77"/>
              <a:gd name="T32" fmla="*/ 56 w 67"/>
              <a:gd name="T33" fmla="*/ 41 h 77"/>
              <a:gd name="T34" fmla="*/ 54 w 67"/>
              <a:gd name="T35" fmla="*/ 46 h 77"/>
              <a:gd name="T36" fmla="*/ 51 w 67"/>
              <a:gd name="T37" fmla="*/ 52 h 77"/>
              <a:gd name="T38" fmla="*/ 45 w 67"/>
              <a:gd name="T39" fmla="*/ 55 h 77"/>
              <a:gd name="T40" fmla="*/ 38 w 67"/>
              <a:gd name="T41" fmla="*/ 57 h 77"/>
              <a:gd name="T42" fmla="*/ 38 w 67"/>
              <a:gd name="T43" fmla="*/ 57 h 77"/>
              <a:gd name="T44" fmla="*/ 23 w 67"/>
              <a:gd name="T45" fmla="*/ 59 h 77"/>
              <a:gd name="T46" fmla="*/ 10 w 67"/>
              <a:gd name="T47" fmla="*/ 61 h 77"/>
              <a:gd name="T48" fmla="*/ 0 w 67"/>
              <a:gd name="T49" fmla="*/ 61 h 77"/>
              <a:gd name="T50" fmla="*/ 0 w 67"/>
              <a:gd name="T51" fmla="*/ 61 h 77"/>
              <a:gd name="T52" fmla="*/ 1 w 67"/>
              <a:gd name="T53" fmla="*/ 70 h 77"/>
              <a:gd name="T54" fmla="*/ 1 w 67"/>
              <a:gd name="T55" fmla="*/ 70 h 77"/>
              <a:gd name="T56" fmla="*/ 5 w 67"/>
              <a:gd name="T57" fmla="*/ 75 h 77"/>
              <a:gd name="T58" fmla="*/ 7 w 67"/>
              <a:gd name="T59" fmla="*/ 77 h 77"/>
              <a:gd name="T60" fmla="*/ 54 w 67"/>
              <a:gd name="T61" fmla="*/ 77 h 77"/>
              <a:gd name="T62" fmla="*/ 67 w 67"/>
              <a:gd name="T63" fmla="*/ 5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7" h="77">
                <a:moveTo>
                  <a:pt x="67" y="57"/>
                </a:moveTo>
                <a:lnTo>
                  <a:pt x="67" y="44"/>
                </a:lnTo>
                <a:lnTo>
                  <a:pt x="67" y="44"/>
                </a:lnTo>
                <a:lnTo>
                  <a:pt x="65" y="42"/>
                </a:lnTo>
                <a:lnTo>
                  <a:pt x="63" y="37"/>
                </a:lnTo>
                <a:lnTo>
                  <a:pt x="63" y="30"/>
                </a:lnTo>
                <a:lnTo>
                  <a:pt x="63" y="30"/>
                </a:lnTo>
                <a:lnTo>
                  <a:pt x="63" y="26"/>
                </a:lnTo>
                <a:lnTo>
                  <a:pt x="65" y="21"/>
                </a:lnTo>
                <a:lnTo>
                  <a:pt x="67" y="17"/>
                </a:lnTo>
                <a:lnTo>
                  <a:pt x="67" y="6"/>
                </a:lnTo>
                <a:lnTo>
                  <a:pt x="67" y="6"/>
                </a:lnTo>
                <a:lnTo>
                  <a:pt x="63" y="2"/>
                </a:lnTo>
                <a:lnTo>
                  <a:pt x="60" y="0"/>
                </a:lnTo>
                <a:lnTo>
                  <a:pt x="56" y="0"/>
                </a:lnTo>
                <a:lnTo>
                  <a:pt x="56" y="41"/>
                </a:lnTo>
                <a:lnTo>
                  <a:pt x="56" y="41"/>
                </a:lnTo>
                <a:lnTo>
                  <a:pt x="54" y="46"/>
                </a:lnTo>
                <a:lnTo>
                  <a:pt x="51" y="52"/>
                </a:lnTo>
                <a:lnTo>
                  <a:pt x="45" y="55"/>
                </a:lnTo>
                <a:lnTo>
                  <a:pt x="38" y="57"/>
                </a:lnTo>
                <a:lnTo>
                  <a:pt x="38" y="57"/>
                </a:lnTo>
                <a:lnTo>
                  <a:pt x="23" y="59"/>
                </a:lnTo>
                <a:lnTo>
                  <a:pt x="10" y="61"/>
                </a:lnTo>
                <a:lnTo>
                  <a:pt x="0" y="61"/>
                </a:lnTo>
                <a:lnTo>
                  <a:pt x="0" y="61"/>
                </a:lnTo>
                <a:lnTo>
                  <a:pt x="1" y="70"/>
                </a:lnTo>
                <a:lnTo>
                  <a:pt x="1" y="70"/>
                </a:lnTo>
                <a:lnTo>
                  <a:pt x="5" y="75"/>
                </a:lnTo>
                <a:lnTo>
                  <a:pt x="7" y="77"/>
                </a:lnTo>
                <a:lnTo>
                  <a:pt x="54" y="77"/>
                </a:lnTo>
                <a:lnTo>
                  <a:pt x="67" y="5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2" name="Freeform 43"/>
          <p:cNvSpPr>
            <a:spLocks/>
          </p:cNvSpPr>
          <p:nvPr userDrawn="1"/>
        </p:nvSpPr>
        <p:spPr bwMode="auto">
          <a:xfrm>
            <a:off x="8272464" y="-858415"/>
            <a:ext cx="42863" cy="14288"/>
          </a:xfrm>
          <a:custGeom>
            <a:avLst/>
            <a:gdLst>
              <a:gd name="T0" fmla="*/ 4 w 55"/>
              <a:gd name="T1" fmla="*/ 19 h 19"/>
              <a:gd name="T2" fmla="*/ 51 w 55"/>
              <a:gd name="T3" fmla="*/ 19 h 19"/>
              <a:gd name="T4" fmla="*/ 51 w 55"/>
              <a:gd name="T5" fmla="*/ 19 h 19"/>
              <a:gd name="T6" fmla="*/ 55 w 55"/>
              <a:gd name="T7" fmla="*/ 9 h 19"/>
              <a:gd name="T8" fmla="*/ 53 w 55"/>
              <a:gd name="T9" fmla="*/ 0 h 19"/>
              <a:gd name="T10" fmla="*/ 4 w 55"/>
              <a:gd name="T11" fmla="*/ 0 h 19"/>
              <a:gd name="T12" fmla="*/ 0 w 55"/>
              <a:gd name="T13" fmla="*/ 9 h 19"/>
              <a:gd name="T14" fmla="*/ 4 w 55"/>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19">
                <a:moveTo>
                  <a:pt x="4" y="19"/>
                </a:moveTo>
                <a:lnTo>
                  <a:pt x="51" y="19"/>
                </a:lnTo>
                <a:lnTo>
                  <a:pt x="51" y="19"/>
                </a:lnTo>
                <a:lnTo>
                  <a:pt x="55" y="9"/>
                </a:lnTo>
                <a:lnTo>
                  <a:pt x="53" y="0"/>
                </a:lnTo>
                <a:lnTo>
                  <a:pt x="4" y="0"/>
                </a:lnTo>
                <a:lnTo>
                  <a:pt x="0" y="9"/>
                </a:lnTo>
                <a:lnTo>
                  <a:pt x="4" y="1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3" name="Freeform 44"/>
          <p:cNvSpPr>
            <a:spLocks/>
          </p:cNvSpPr>
          <p:nvPr userDrawn="1"/>
        </p:nvSpPr>
        <p:spPr bwMode="auto">
          <a:xfrm>
            <a:off x="8274051" y="-837778"/>
            <a:ext cx="44450" cy="50800"/>
          </a:xfrm>
          <a:custGeom>
            <a:avLst/>
            <a:gdLst>
              <a:gd name="T0" fmla="*/ 47 w 55"/>
              <a:gd name="T1" fmla="*/ 0 h 64"/>
              <a:gd name="T2" fmla="*/ 0 w 55"/>
              <a:gd name="T3" fmla="*/ 0 h 64"/>
              <a:gd name="T4" fmla="*/ 0 w 55"/>
              <a:gd name="T5" fmla="*/ 62 h 64"/>
              <a:gd name="T6" fmla="*/ 42 w 55"/>
              <a:gd name="T7" fmla="*/ 64 h 64"/>
              <a:gd name="T8" fmla="*/ 55 w 55"/>
              <a:gd name="T9" fmla="*/ 53 h 64"/>
              <a:gd name="T10" fmla="*/ 47 w 55"/>
              <a:gd name="T11" fmla="*/ 0 h 64"/>
            </a:gdLst>
            <a:ahLst/>
            <a:cxnLst>
              <a:cxn ang="0">
                <a:pos x="T0" y="T1"/>
              </a:cxn>
              <a:cxn ang="0">
                <a:pos x="T2" y="T3"/>
              </a:cxn>
              <a:cxn ang="0">
                <a:pos x="T4" y="T5"/>
              </a:cxn>
              <a:cxn ang="0">
                <a:pos x="T6" y="T7"/>
              </a:cxn>
              <a:cxn ang="0">
                <a:pos x="T8" y="T9"/>
              </a:cxn>
              <a:cxn ang="0">
                <a:pos x="T10" y="T11"/>
              </a:cxn>
            </a:cxnLst>
            <a:rect l="0" t="0" r="r" b="b"/>
            <a:pathLst>
              <a:path w="55" h="64">
                <a:moveTo>
                  <a:pt x="47" y="0"/>
                </a:moveTo>
                <a:lnTo>
                  <a:pt x="0" y="0"/>
                </a:lnTo>
                <a:lnTo>
                  <a:pt x="0" y="62"/>
                </a:lnTo>
                <a:lnTo>
                  <a:pt x="42" y="64"/>
                </a:lnTo>
                <a:lnTo>
                  <a:pt x="55" y="53"/>
                </a:lnTo>
                <a:lnTo>
                  <a:pt x="4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4" name="Freeform 45"/>
          <p:cNvSpPr>
            <a:spLocks/>
          </p:cNvSpPr>
          <p:nvPr userDrawn="1"/>
        </p:nvSpPr>
        <p:spPr bwMode="auto">
          <a:xfrm>
            <a:off x="8274050" y="-788565"/>
            <a:ext cx="57150" cy="50800"/>
          </a:xfrm>
          <a:custGeom>
            <a:avLst/>
            <a:gdLst>
              <a:gd name="T0" fmla="*/ 73 w 73"/>
              <a:gd name="T1" fmla="*/ 16 h 64"/>
              <a:gd name="T2" fmla="*/ 73 w 73"/>
              <a:gd name="T3" fmla="*/ 16 h 64"/>
              <a:gd name="T4" fmla="*/ 64 w 73"/>
              <a:gd name="T5" fmla="*/ 9 h 64"/>
              <a:gd name="T6" fmla="*/ 64 w 73"/>
              <a:gd name="T7" fmla="*/ 9 h 64"/>
              <a:gd name="T8" fmla="*/ 62 w 73"/>
              <a:gd name="T9" fmla="*/ 0 h 64"/>
              <a:gd name="T10" fmla="*/ 48 w 73"/>
              <a:gd name="T11" fmla="*/ 11 h 64"/>
              <a:gd name="T12" fmla="*/ 0 w 73"/>
              <a:gd name="T13" fmla="*/ 11 h 64"/>
              <a:gd name="T14" fmla="*/ 0 w 73"/>
              <a:gd name="T15" fmla="*/ 11 h 64"/>
              <a:gd name="T16" fmla="*/ 0 w 73"/>
              <a:gd name="T17" fmla="*/ 27 h 64"/>
              <a:gd name="T18" fmla="*/ 0 w 73"/>
              <a:gd name="T19" fmla="*/ 45 h 64"/>
              <a:gd name="T20" fmla="*/ 0 w 73"/>
              <a:gd name="T21" fmla="*/ 45 h 64"/>
              <a:gd name="T22" fmla="*/ 11 w 73"/>
              <a:gd name="T23" fmla="*/ 55 h 64"/>
              <a:gd name="T24" fmla="*/ 24 w 73"/>
              <a:gd name="T25" fmla="*/ 64 h 64"/>
              <a:gd name="T26" fmla="*/ 55 w 73"/>
              <a:gd name="T27" fmla="*/ 25 h 64"/>
              <a:gd name="T28" fmla="*/ 73 w 73"/>
              <a:gd name="T29"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64">
                <a:moveTo>
                  <a:pt x="73" y="16"/>
                </a:moveTo>
                <a:lnTo>
                  <a:pt x="73" y="16"/>
                </a:lnTo>
                <a:lnTo>
                  <a:pt x="64" y="9"/>
                </a:lnTo>
                <a:lnTo>
                  <a:pt x="64" y="9"/>
                </a:lnTo>
                <a:lnTo>
                  <a:pt x="62" y="0"/>
                </a:lnTo>
                <a:lnTo>
                  <a:pt x="48" y="11"/>
                </a:lnTo>
                <a:lnTo>
                  <a:pt x="0" y="11"/>
                </a:lnTo>
                <a:lnTo>
                  <a:pt x="0" y="11"/>
                </a:lnTo>
                <a:lnTo>
                  <a:pt x="0" y="27"/>
                </a:lnTo>
                <a:lnTo>
                  <a:pt x="0" y="45"/>
                </a:lnTo>
                <a:lnTo>
                  <a:pt x="0" y="45"/>
                </a:lnTo>
                <a:lnTo>
                  <a:pt x="11" y="55"/>
                </a:lnTo>
                <a:lnTo>
                  <a:pt x="24" y="64"/>
                </a:lnTo>
                <a:lnTo>
                  <a:pt x="55" y="25"/>
                </a:lnTo>
                <a:lnTo>
                  <a:pt x="73"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5" name="Freeform 46"/>
          <p:cNvSpPr>
            <a:spLocks/>
          </p:cNvSpPr>
          <p:nvPr userDrawn="1"/>
        </p:nvSpPr>
        <p:spPr bwMode="auto">
          <a:xfrm>
            <a:off x="8301038" y="-769515"/>
            <a:ext cx="85725" cy="50800"/>
          </a:xfrm>
          <a:custGeom>
            <a:avLst/>
            <a:gdLst>
              <a:gd name="T0" fmla="*/ 27 w 108"/>
              <a:gd name="T1" fmla="*/ 7 h 63"/>
              <a:gd name="T2" fmla="*/ 0 w 108"/>
              <a:gd name="T3" fmla="*/ 43 h 63"/>
              <a:gd name="T4" fmla="*/ 45 w 108"/>
              <a:gd name="T5" fmla="*/ 63 h 63"/>
              <a:gd name="T6" fmla="*/ 45 w 108"/>
              <a:gd name="T7" fmla="*/ 63 h 63"/>
              <a:gd name="T8" fmla="*/ 65 w 108"/>
              <a:gd name="T9" fmla="*/ 51 h 63"/>
              <a:gd name="T10" fmla="*/ 86 w 108"/>
              <a:gd name="T11" fmla="*/ 38 h 63"/>
              <a:gd name="T12" fmla="*/ 108 w 108"/>
              <a:gd name="T13" fmla="*/ 23 h 63"/>
              <a:gd name="T14" fmla="*/ 44 w 108"/>
              <a:gd name="T15" fmla="*/ 0 h 63"/>
              <a:gd name="T16" fmla="*/ 27 w 108"/>
              <a:gd name="T17" fmla="*/ 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63">
                <a:moveTo>
                  <a:pt x="27" y="7"/>
                </a:moveTo>
                <a:lnTo>
                  <a:pt x="0" y="43"/>
                </a:lnTo>
                <a:lnTo>
                  <a:pt x="45" y="63"/>
                </a:lnTo>
                <a:lnTo>
                  <a:pt x="45" y="63"/>
                </a:lnTo>
                <a:lnTo>
                  <a:pt x="65" y="51"/>
                </a:lnTo>
                <a:lnTo>
                  <a:pt x="86" y="38"/>
                </a:lnTo>
                <a:lnTo>
                  <a:pt x="108" y="23"/>
                </a:lnTo>
                <a:lnTo>
                  <a:pt x="44" y="0"/>
                </a:lnTo>
                <a:lnTo>
                  <a:pt x="2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6" name="Freeform 47"/>
          <p:cNvSpPr>
            <a:spLocks/>
          </p:cNvSpPr>
          <p:nvPr userDrawn="1"/>
        </p:nvSpPr>
        <p:spPr bwMode="auto">
          <a:xfrm>
            <a:off x="8324851" y="-952078"/>
            <a:ext cx="22225" cy="93663"/>
          </a:xfrm>
          <a:custGeom>
            <a:avLst/>
            <a:gdLst>
              <a:gd name="T0" fmla="*/ 22 w 27"/>
              <a:gd name="T1" fmla="*/ 50 h 117"/>
              <a:gd name="T2" fmla="*/ 22 w 27"/>
              <a:gd name="T3" fmla="*/ 50 h 117"/>
              <a:gd name="T4" fmla="*/ 22 w 27"/>
              <a:gd name="T5" fmla="*/ 11 h 117"/>
              <a:gd name="T6" fmla="*/ 22 w 27"/>
              <a:gd name="T7" fmla="*/ 11 h 117"/>
              <a:gd name="T8" fmla="*/ 24 w 27"/>
              <a:gd name="T9" fmla="*/ 8 h 117"/>
              <a:gd name="T10" fmla="*/ 24 w 27"/>
              <a:gd name="T11" fmla="*/ 8 h 117"/>
              <a:gd name="T12" fmla="*/ 24 w 27"/>
              <a:gd name="T13" fmla="*/ 4 h 117"/>
              <a:gd name="T14" fmla="*/ 24 w 27"/>
              <a:gd name="T15" fmla="*/ 0 h 117"/>
              <a:gd name="T16" fmla="*/ 2 w 27"/>
              <a:gd name="T17" fmla="*/ 0 h 117"/>
              <a:gd name="T18" fmla="*/ 2 w 27"/>
              <a:gd name="T19" fmla="*/ 0 h 117"/>
              <a:gd name="T20" fmla="*/ 2 w 27"/>
              <a:gd name="T21" fmla="*/ 6 h 117"/>
              <a:gd name="T22" fmla="*/ 2 w 27"/>
              <a:gd name="T23" fmla="*/ 6 h 117"/>
              <a:gd name="T24" fmla="*/ 2 w 27"/>
              <a:gd name="T25" fmla="*/ 9 h 117"/>
              <a:gd name="T26" fmla="*/ 3 w 27"/>
              <a:gd name="T27" fmla="*/ 11 h 117"/>
              <a:gd name="T28" fmla="*/ 3 w 27"/>
              <a:gd name="T29" fmla="*/ 50 h 117"/>
              <a:gd name="T30" fmla="*/ 3 w 27"/>
              <a:gd name="T31" fmla="*/ 50 h 117"/>
              <a:gd name="T32" fmla="*/ 2 w 27"/>
              <a:gd name="T33" fmla="*/ 52 h 117"/>
              <a:gd name="T34" fmla="*/ 0 w 27"/>
              <a:gd name="T35" fmla="*/ 61 h 117"/>
              <a:gd name="T36" fmla="*/ 0 w 27"/>
              <a:gd name="T37" fmla="*/ 61 h 117"/>
              <a:gd name="T38" fmla="*/ 0 w 27"/>
              <a:gd name="T39" fmla="*/ 66 h 117"/>
              <a:gd name="T40" fmla="*/ 2 w 27"/>
              <a:gd name="T41" fmla="*/ 72 h 117"/>
              <a:gd name="T42" fmla="*/ 5 w 27"/>
              <a:gd name="T43" fmla="*/ 75 h 117"/>
              <a:gd name="T44" fmla="*/ 3 w 27"/>
              <a:gd name="T45" fmla="*/ 106 h 117"/>
              <a:gd name="T46" fmla="*/ 3 w 27"/>
              <a:gd name="T47" fmla="*/ 106 h 117"/>
              <a:gd name="T48" fmla="*/ 3 w 27"/>
              <a:gd name="T49" fmla="*/ 108 h 117"/>
              <a:gd name="T50" fmla="*/ 2 w 27"/>
              <a:gd name="T51" fmla="*/ 112 h 117"/>
              <a:gd name="T52" fmla="*/ 2 w 27"/>
              <a:gd name="T53" fmla="*/ 112 h 117"/>
              <a:gd name="T54" fmla="*/ 2 w 27"/>
              <a:gd name="T55" fmla="*/ 117 h 117"/>
              <a:gd name="T56" fmla="*/ 24 w 27"/>
              <a:gd name="T57" fmla="*/ 117 h 117"/>
              <a:gd name="T58" fmla="*/ 24 w 27"/>
              <a:gd name="T59" fmla="*/ 117 h 117"/>
              <a:gd name="T60" fmla="*/ 24 w 27"/>
              <a:gd name="T61" fmla="*/ 110 h 117"/>
              <a:gd name="T62" fmla="*/ 24 w 27"/>
              <a:gd name="T63" fmla="*/ 110 h 117"/>
              <a:gd name="T64" fmla="*/ 22 w 27"/>
              <a:gd name="T65" fmla="*/ 106 h 117"/>
              <a:gd name="T66" fmla="*/ 22 w 27"/>
              <a:gd name="T67" fmla="*/ 75 h 117"/>
              <a:gd name="T68" fmla="*/ 22 w 27"/>
              <a:gd name="T69" fmla="*/ 75 h 117"/>
              <a:gd name="T70" fmla="*/ 25 w 27"/>
              <a:gd name="T71" fmla="*/ 70 h 117"/>
              <a:gd name="T72" fmla="*/ 25 w 27"/>
              <a:gd name="T73" fmla="*/ 66 h 117"/>
              <a:gd name="T74" fmla="*/ 27 w 27"/>
              <a:gd name="T75" fmla="*/ 62 h 117"/>
              <a:gd name="T76" fmla="*/ 27 w 27"/>
              <a:gd name="T77" fmla="*/ 62 h 117"/>
              <a:gd name="T78" fmla="*/ 24 w 27"/>
              <a:gd name="T79" fmla="*/ 53 h 117"/>
              <a:gd name="T80" fmla="*/ 22 w 27"/>
              <a:gd name="T81" fmla="*/ 5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7" h="117">
                <a:moveTo>
                  <a:pt x="22" y="50"/>
                </a:moveTo>
                <a:lnTo>
                  <a:pt x="22" y="50"/>
                </a:lnTo>
                <a:lnTo>
                  <a:pt x="22" y="11"/>
                </a:lnTo>
                <a:lnTo>
                  <a:pt x="22" y="11"/>
                </a:lnTo>
                <a:lnTo>
                  <a:pt x="24" y="8"/>
                </a:lnTo>
                <a:lnTo>
                  <a:pt x="24" y="8"/>
                </a:lnTo>
                <a:lnTo>
                  <a:pt x="24" y="4"/>
                </a:lnTo>
                <a:lnTo>
                  <a:pt x="24" y="0"/>
                </a:lnTo>
                <a:lnTo>
                  <a:pt x="2" y="0"/>
                </a:lnTo>
                <a:lnTo>
                  <a:pt x="2" y="0"/>
                </a:lnTo>
                <a:lnTo>
                  <a:pt x="2" y="6"/>
                </a:lnTo>
                <a:lnTo>
                  <a:pt x="2" y="6"/>
                </a:lnTo>
                <a:lnTo>
                  <a:pt x="2" y="9"/>
                </a:lnTo>
                <a:lnTo>
                  <a:pt x="3" y="11"/>
                </a:lnTo>
                <a:lnTo>
                  <a:pt x="3" y="50"/>
                </a:lnTo>
                <a:lnTo>
                  <a:pt x="3" y="50"/>
                </a:lnTo>
                <a:lnTo>
                  <a:pt x="2" y="52"/>
                </a:lnTo>
                <a:lnTo>
                  <a:pt x="0" y="61"/>
                </a:lnTo>
                <a:lnTo>
                  <a:pt x="0" y="61"/>
                </a:lnTo>
                <a:lnTo>
                  <a:pt x="0" y="66"/>
                </a:lnTo>
                <a:lnTo>
                  <a:pt x="2" y="72"/>
                </a:lnTo>
                <a:lnTo>
                  <a:pt x="5" y="75"/>
                </a:lnTo>
                <a:lnTo>
                  <a:pt x="3" y="106"/>
                </a:lnTo>
                <a:lnTo>
                  <a:pt x="3" y="106"/>
                </a:lnTo>
                <a:lnTo>
                  <a:pt x="3" y="108"/>
                </a:lnTo>
                <a:lnTo>
                  <a:pt x="2" y="112"/>
                </a:lnTo>
                <a:lnTo>
                  <a:pt x="2" y="112"/>
                </a:lnTo>
                <a:lnTo>
                  <a:pt x="2" y="117"/>
                </a:lnTo>
                <a:lnTo>
                  <a:pt x="24" y="117"/>
                </a:lnTo>
                <a:lnTo>
                  <a:pt x="24" y="117"/>
                </a:lnTo>
                <a:lnTo>
                  <a:pt x="24" y="110"/>
                </a:lnTo>
                <a:lnTo>
                  <a:pt x="24" y="110"/>
                </a:lnTo>
                <a:lnTo>
                  <a:pt x="22" y="106"/>
                </a:lnTo>
                <a:lnTo>
                  <a:pt x="22" y="75"/>
                </a:lnTo>
                <a:lnTo>
                  <a:pt x="22" y="75"/>
                </a:lnTo>
                <a:lnTo>
                  <a:pt x="25" y="70"/>
                </a:lnTo>
                <a:lnTo>
                  <a:pt x="25" y="66"/>
                </a:lnTo>
                <a:lnTo>
                  <a:pt x="27" y="62"/>
                </a:lnTo>
                <a:lnTo>
                  <a:pt x="27" y="62"/>
                </a:lnTo>
                <a:lnTo>
                  <a:pt x="24" y="53"/>
                </a:lnTo>
                <a:lnTo>
                  <a:pt x="22" y="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7" name="Freeform 48"/>
          <p:cNvSpPr>
            <a:spLocks/>
          </p:cNvSpPr>
          <p:nvPr userDrawn="1"/>
        </p:nvSpPr>
        <p:spPr bwMode="auto">
          <a:xfrm>
            <a:off x="8347076" y="-923502"/>
            <a:ext cx="60325" cy="42863"/>
          </a:xfrm>
          <a:custGeom>
            <a:avLst/>
            <a:gdLst>
              <a:gd name="T0" fmla="*/ 42 w 77"/>
              <a:gd name="T1" fmla="*/ 46 h 55"/>
              <a:gd name="T2" fmla="*/ 77 w 77"/>
              <a:gd name="T3" fmla="*/ 9 h 55"/>
              <a:gd name="T4" fmla="*/ 77 w 77"/>
              <a:gd name="T5" fmla="*/ 9 h 55"/>
              <a:gd name="T6" fmla="*/ 26 w 77"/>
              <a:gd name="T7" fmla="*/ 9 h 55"/>
              <a:gd name="T8" fmla="*/ 26 w 77"/>
              <a:gd name="T9" fmla="*/ 9 h 55"/>
              <a:gd name="T10" fmla="*/ 20 w 77"/>
              <a:gd name="T11" fmla="*/ 7 h 55"/>
              <a:gd name="T12" fmla="*/ 15 w 77"/>
              <a:gd name="T13" fmla="*/ 4 h 55"/>
              <a:gd name="T14" fmla="*/ 7 w 77"/>
              <a:gd name="T15" fmla="*/ 0 h 55"/>
              <a:gd name="T16" fmla="*/ 6 w 77"/>
              <a:gd name="T17" fmla="*/ 0 h 55"/>
              <a:gd name="T18" fmla="*/ 6 w 77"/>
              <a:gd name="T19" fmla="*/ 0 h 55"/>
              <a:gd name="T20" fmla="*/ 0 w 77"/>
              <a:gd name="T21" fmla="*/ 11 h 55"/>
              <a:gd name="T22" fmla="*/ 0 w 77"/>
              <a:gd name="T23" fmla="*/ 11 h 55"/>
              <a:gd name="T24" fmla="*/ 4 w 77"/>
              <a:gd name="T25" fmla="*/ 17 h 55"/>
              <a:gd name="T26" fmla="*/ 6 w 77"/>
              <a:gd name="T27" fmla="*/ 20 h 55"/>
              <a:gd name="T28" fmla="*/ 7 w 77"/>
              <a:gd name="T29" fmla="*/ 27 h 55"/>
              <a:gd name="T30" fmla="*/ 7 w 77"/>
              <a:gd name="T31" fmla="*/ 27 h 55"/>
              <a:gd name="T32" fmla="*/ 7 w 77"/>
              <a:gd name="T33" fmla="*/ 33 h 55"/>
              <a:gd name="T34" fmla="*/ 4 w 77"/>
              <a:gd name="T35" fmla="*/ 38 h 55"/>
              <a:gd name="T36" fmla="*/ 0 w 77"/>
              <a:gd name="T37" fmla="*/ 42 h 55"/>
              <a:gd name="T38" fmla="*/ 0 w 77"/>
              <a:gd name="T39" fmla="*/ 42 h 55"/>
              <a:gd name="T40" fmla="*/ 7 w 77"/>
              <a:gd name="T41" fmla="*/ 55 h 55"/>
              <a:gd name="T42" fmla="*/ 7 w 77"/>
              <a:gd name="T43" fmla="*/ 55 h 55"/>
              <a:gd name="T44" fmla="*/ 13 w 77"/>
              <a:gd name="T45" fmla="*/ 51 h 55"/>
              <a:gd name="T46" fmla="*/ 28 w 77"/>
              <a:gd name="T47" fmla="*/ 46 h 55"/>
              <a:gd name="T48" fmla="*/ 28 w 77"/>
              <a:gd name="T49" fmla="*/ 46 h 55"/>
              <a:gd name="T50" fmla="*/ 42 w 77"/>
              <a:gd name="T51" fmla="*/ 4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7" h="55">
                <a:moveTo>
                  <a:pt x="42" y="46"/>
                </a:moveTo>
                <a:lnTo>
                  <a:pt x="77" y="9"/>
                </a:lnTo>
                <a:lnTo>
                  <a:pt x="77" y="9"/>
                </a:lnTo>
                <a:lnTo>
                  <a:pt x="26" y="9"/>
                </a:lnTo>
                <a:lnTo>
                  <a:pt x="26" y="9"/>
                </a:lnTo>
                <a:lnTo>
                  <a:pt x="20" y="7"/>
                </a:lnTo>
                <a:lnTo>
                  <a:pt x="15" y="4"/>
                </a:lnTo>
                <a:lnTo>
                  <a:pt x="7" y="0"/>
                </a:lnTo>
                <a:lnTo>
                  <a:pt x="6" y="0"/>
                </a:lnTo>
                <a:lnTo>
                  <a:pt x="6" y="0"/>
                </a:lnTo>
                <a:lnTo>
                  <a:pt x="0" y="11"/>
                </a:lnTo>
                <a:lnTo>
                  <a:pt x="0" y="11"/>
                </a:lnTo>
                <a:lnTo>
                  <a:pt x="4" y="17"/>
                </a:lnTo>
                <a:lnTo>
                  <a:pt x="6" y="20"/>
                </a:lnTo>
                <a:lnTo>
                  <a:pt x="7" y="27"/>
                </a:lnTo>
                <a:lnTo>
                  <a:pt x="7" y="27"/>
                </a:lnTo>
                <a:lnTo>
                  <a:pt x="7" y="33"/>
                </a:lnTo>
                <a:lnTo>
                  <a:pt x="4" y="38"/>
                </a:lnTo>
                <a:lnTo>
                  <a:pt x="0" y="42"/>
                </a:lnTo>
                <a:lnTo>
                  <a:pt x="0" y="42"/>
                </a:lnTo>
                <a:lnTo>
                  <a:pt x="7" y="55"/>
                </a:lnTo>
                <a:lnTo>
                  <a:pt x="7" y="55"/>
                </a:lnTo>
                <a:lnTo>
                  <a:pt x="13" y="51"/>
                </a:lnTo>
                <a:lnTo>
                  <a:pt x="28" y="46"/>
                </a:lnTo>
                <a:lnTo>
                  <a:pt x="28" y="46"/>
                </a:lnTo>
                <a:lnTo>
                  <a:pt x="42" y="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8" name="Freeform 49"/>
          <p:cNvSpPr>
            <a:spLocks/>
          </p:cNvSpPr>
          <p:nvPr userDrawn="1"/>
        </p:nvSpPr>
        <p:spPr bwMode="auto">
          <a:xfrm>
            <a:off x="8423276" y="-982240"/>
            <a:ext cx="119063" cy="93663"/>
          </a:xfrm>
          <a:custGeom>
            <a:avLst/>
            <a:gdLst>
              <a:gd name="T0" fmla="*/ 152 w 152"/>
              <a:gd name="T1" fmla="*/ 60 h 119"/>
              <a:gd name="T2" fmla="*/ 148 w 152"/>
              <a:gd name="T3" fmla="*/ 58 h 119"/>
              <a:gd name="T4" fmla="*/ 139 w 152"/>
              <a:gd name="T5" fmla="*/ 62 h 119"/>
              <a:gd name="T6" fmla="*/ 135 w 152"/>
              <a:gd name="T7" fmla="*/ 64 h 119"/>
              <a:gd name="T8" fmla="*/ 134 w 152"/>
              <a:gd name="T9" fmla="*/ 75 h 119"/>
              <a:gd name="T10" fmla="*/ 130 w 152"/>
              <a:gd name="T11" fmla="*/ 71 h 119"/>
              <a:gd name="T12" fmla="*/ 121 w 152"/>
              <a:gd name="T13" fmla="*/ 69 h 119"/>
              <a:gd name="T14" fmla="*/ 113 w 152"/>
              <a:gd name="T15" fmla="*/ 71 h 119"/>
              <a:gd name="T16" fmla="*/ 117 w 152"/>
              <a:gd name="T17" fmla="*/ 80 h 119"/>
              <a:gd name="T18" fmla="*/ 113 w 152"/>
              <a:gd name="T19" fmla="*/ 90 h 119"/>
              <a:gd name="T20" fmla="*/ 110 w 152"/>
              <a:gd name="T21" fmla="*/ 90 h 119"/>
              <a:gd name="T22" fmla="*/ 103 w 152"/>
              <a:gd name="T23" fmla="*/ 84 h 119"/>
              <a:gd name="T24" fmla="*/ 103 w 152"/>
              <a:gd name="T25" fmla="*/ 79 h 119"/>
              <a:gd name="T26" fmla="*/ 93 w 152"/>
              <a:gd name="T27" fmla="*/ 82 h 119"/>
              <a:gd name="T28" fmla="*/ 88 w 152"/>
              <a:gd name="T29" fmla="*/ 79 h 119"/>
              <a:gd name="T30" fmla="*/ 90 w 152"/>
              <a:gd name="T31" fmla="*/ 69 h 119"/>
              <a:gd name="T32" fmla="*/ 104 w 152"/>
              <a:gd name="T33" fmla="*/ 66 h 119"/>
              <a:gd name="T34" fmla="*/ 103 w 152"/>
              <a:gd name="T35" fmla="*/ 60 h 119"/>
              <a:gd name="T36" fmla="*/ 97 w 152"/>
              <a:gd name="T37" fmla="*/ 53 h 119"/>
              <a:gd name="T38" fmla="*/ 92 w 152"/>
              <a:gd name="T39" fmla="*/ 51 h 119"/>
              <a:gd name="T40" fmla="*/ 82 w 152"/>
              <a:gd name="T41" fmla="*/ 53 h 119"/>
              <a:gd name="T42" fmla="*/ 86 w 152"/>
              <a:gd name="T43" fmla="*/ 51 h 119"/>
              <a:gd name="T44" fmla="*/ 90 w 152"/>
              <a:gd name="T45" fmla="*/ 44 h 119"/>
              <a:gd name="T46" fmla="*/ 90 w 152"/>
              <a:gd name="T47" fmla="*/ 35 h 119"/>
              <a:gd name="T48" fmla="*/ 84 w 152"/>
              <a:gd name="T49" fmla="*/ 26 h 119"/>
              <a:gd name="T50" fmla="*/ 84 w 152"/>
              <a:gd name="T51" fmla="*/ 26 h 119"/>
              <a:gd name="T52" fmla="*/ 79 w 152"/>
              <a:gd name="T53" fmla="*/ 27 h 119"/>
              <a:gd name="T54" fmla="*/ 68 w 152"/>
              <a:gd name="T55" fmla="*/ 33 h 119"/>
              <a:gd name="T56" fmla="*/ 66 w 152"/>
              <a:gd name="T57" fmla="*/ 38 h 119"/>
              <a:gd name="T58" fmla="*/ 66 w 152"/>
              <a:gd name="T59" fmla="*/ 46 h 119"/>
              <a:gd name="T60" fmla="*/ 62 w 152"/>
              <a:gd name="T61" fmla="*/ 40 h 119"/>
              <a:gd name="T62" fmla="*/ 55 w 152"/>
              <a:gd name="T63" fmla="*/ 35 h 119"/>
              <a:gd name="T64" fmla="*/ 50 w 152"/>
              <a:gd name="T65" fmla="*/ 35 h 119"/>
              <a:gd name="T66" fmla="*/ 42 w 152"/>
              <a:gd name="T67" fmla="*/ 38 h 119"/>
              <a:gd name="T68" fmla="*/ 48 w 152"/>
              <a:gd name="T69" fmla="*/ 46 h 119"/>
              <a:gd name="T70" fmla="*/ 48 w 152"/>
              <a:gd name="T71" fmla="*/ 57 h 119"/>
              <a:gd name="T72" fmla="*/ 42 w 152"/>
              <a:gd name="T73" fmla="*/ 58 h 119"/>
              <a:gd name="T74" fmla="*/ 35 w 152"/>
              <a:gd name="T75" fmla="*/ 53 h 119"/>
              <a:gd name="T76" fmla="*/ 33 w 152"/>
              <a:gd name="T77" fmla="*/ 47 h 119"/>
              <a:gd name="T78" fmla="*/ 26 w 152"/>
              <a:gd name="T79" fmla="*/ 53 h 119"/>
              <a:gd name="T80" fmla="*/ 20 w 152"/>
              <a:gd name="T81" fmla="*/ 51 h 119"/>
              <a:gd name="T82" fmla="*/ 17 w 152"/>
              <a:gd name="T83" fmla="*/ 42 h 119"/>
              <a:gd name="T84" fmla="*/ 31 w 152"/>
              <a:gd name="T85" fmla="*/ 35 h 119"/>
              <a:gd name="T86" fmla="*/ 29 w 152"/>
              <a:gd name="T87" fmla="*/ 33 h 119"/>
              <a:gd name="T88" fmla="*/ 22 w 152"/>
              <a:gd name="T89" fmla="*/ 24 h 119"/>
              <a:gd name="T90" fmla="*/ 15 w 152"/>
              <a:gd name="T91" fmla="*/ 24 h 119"/>
              <a:gd name="T92" fmla="*/ 18 w 152"/>
              <a:gd name="T93" fmla="*/ 18 h 119"/>
              <a:gd name="T94" fmla="*/ 20 w 152"/>
              <a:gd name="T95" fmla="*/ 9 h 119"/>
              <a:gd name="T96" fmla="*/ 18 w 152"/>
              <a:gd name="T97" fmla="*/ 5 h 119"/>
              <a:gd name="T98" fmla="*/ 13 w 152"/>
              <a:gd name="T99" fmla="*/ 0 h 119"/>
              <a:gd name="T100" fmla="*/ 35 w 152"/>
              <a:gd name="T101" fmla="*/ 88 h 119"/>
              <a:gd name="T102" fmla="*/ 46 w 152"/>
              <a:gd name="T103" fmla="*/ 82 h 119"/>
              <a:gd name="T104" fmla="*/ 51 w 152"/>
              <a:gd name="T105" fmla="*/ 79 h 119"/>
              <a:gd name="T106" fmla="*/ 66 w 152"/>
              <a:gd name="T107" fmla="*/ 80 h 119"/>
              <a:gd name="T108" fmla="*/ 71 w 152"/>
              <a:gd name="T109" fmla="*/ 82 h 119"/>
              <a:gd name="T110" fmla="*/ 82 w 152"/>
              <a:gd name="T111" fmla="*/ 90 h 119"/>
              <a:gd name="T112" fmla="*/ 84 w 152"/>
              <a:gd name="T113" fmla="*/ 99 h 119"/>
              <a:gd name="T114" fmla="*/ 84 w 152"/>
              <a:gd name="T115" fmla="*/ 104 h 119"/>
              <a:gd name="T116" fmla="*/ 106 w 152"/>
              <a:gd name="T117"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2" h="119">
                <a:moveTo>
                  <a:pt x="106" y="119"/>
                </a:moveTo>
                <a:lnTo>
                  <a:pt x="152" y="60"/>
                </a:lnTo>
                <a:lnTo>
                  <a:pt x="152" y="60"/>
                </a:lnTo>
                <a:lnTo>
                  <a:pt x="148" y="58"/>
                </a:lnTo>
                <a:lnTo>
                  <a:pt x="145" y="60"/>
                </a:lnTo>
                <a:lnTo>
                  <a:pt x="139" y="62"/>
                </a:lnTo>
                <a:lnTo>
                  <a:pt x="139" y="62"/>
                </a:lnTo>
                <a:lnTo>
                  <a:pt x="135" y="64"/>
                </a:lnTo>
                <a:lnTo>
                  <a:pt x="134" y="69"/>
                </a:lnTo>
                <a:lnTo>
                  <a:pt x="134" y="75"/>
                </a:lnTo>
                <a:lnTo>
                  <a:pt x="134" y="75"/>
                </a:lnTo>
                <a:lnTo>
                  <a:pt x="130" y="71"/>
                </a:lnTo>
                <a:lnTo>
                  <a:pt x="128" y="69"/>
                </a:lnTo>
                <a:lnTo>
                  <a:pt x="121" y="69"/>
                </a:lnTo>
                <a:lnTo>
                  <a:pt x="115" y="69"/>
                </a:lnTo>
                <a:lnTo>
                  <a:pt x="113" y="71"/>
                </a:lnTo>
                <a:lnTo>
                  <a:pt x="113" y="71"/>
                </a:lnTo>
                <a:lnTo>
                  <a:pt x="117" y="80"/>
                </a:lnTo>
                <a:lnTo>
                  <a:pt x="117" y="86"/>
                </a:lnTo>
                <a:lnTo>
                  <a:pt x="113" y="90"/>
                </a:lnTo>
                <a:lnTo>
                  <a:pt x="110" y="90"/>
                </a:lnTo>
                <a:lnTo>
                  <a:pt x="110" y="90"/>
                </a:lnTo>
                <a:lnTo>
                  <a:pt x="104" y="88"/>
                </a:lnTo>
                <a:lnTo>
                  <a:pt x="103" y="84"/>
                </a:lnTo>
                <a:lnTo>
                  <a:pt x="103" y="79"/>
                </a:lnTo>
                <a:lnTo>
                  <a:pt x="103" y="79"/>
                </a:lnTo>
                <a:lnTo>
                  <a:pt x="97" y="82"/>
                </a:lnTo>
                <a:lnTo>
                  <a:pt x="93" y="82"/>
                </a:lnTo>
                <a:lnTo>
                  <a:pt x="88" y="79"/>
                </a:lnTo>
                <a:lnTo>
                  <a:pt x="88" y="79"/>
                </a:lnTo>
                <a:lnTo>
                  <a:pt x="86" y="75"/>
                </a:lnTo>
                <a:lnTo>
                  <a:pt x="90" y="69"/>
                </a:lnTo>
                <a:lnTo>
                  <a:pt x="95" y="68"/>
                </a:lnTo>
                <a:lnTo>
                  <a:pt x="104" y="66"/>
                </a:lnTo>
                <a:lnTo>
                  <a:pt x="104" y="66"/>
                </a:lnTo>
                <a:lnTo>
                  <a:pt x="103" y="60"/>
                </a:lnTo>
                <a:lnTo>
                  <a:pt x="101" y="57"/>
                </a:lnTo>
                <a:lnTo>
                  <a:pt x="97" y="53"/>
                </a:lnTo>
                <a:lnTo>
                  <a:pt x="97" y="53"/>
                </a:lnTo>
                <a:lnTo>
                  <a:pt x="92" y="51"/>
                </a:lnTo>
                <a:lnTo>
                  <a:pt x="88" y="51"/>
                </a:lnTo>
                <a:lnTo>
                  <a:pt x="82" y="53"/>
                </a:lnTo>
                <a:lnTo>
                  <a:pt x="82" y="53"/>
                </a:lnTo>
                <a:lnTo>
                  <a:pt x="86" y="51"/>
                </a:lnTo>
                <a:lnTo>
                  <a:pt x="88" y="47"/>
                </a:lnTo>
                <a:lnTo>
                  <a:pt x="90" y="44"/>
                </a:lnTo>
                <a:lnTo>
                  <a:pt x="90" y="44"/>
                </a:lnTo>
                <a:lnTo>
                  <a:pt x="90" y="35"/>
                </a:lnTo>
                <a:lnTo>
                  <a:pt x="88" y="31"/>
                </a:lnTo>
                <a:lnTo>
                  <a:pt x="84" y="26"/>
                </a:lnTo>
                <a:lnTo>
                  <a:pt x="84" y="26"/>
                </a:lnTo>
                <a:lnTo>
                  <a:pt x="84" y="26"/>
                </a:lnTo>
                <a:lnTo>
                  <a:pt x="84" y="26"/>
                </a:lnTo>
                <a:lnTo>
                  <a:pt x="79" y="27"/>
                </a:lnTo>
                <a:lnTo>
                  <a:pt x="73" y="29"/>
                </a:lnTo>
                <a:lnTo>
                  <a:pt x="68" y="33"/>
                </a:lnTo>
                <a:lnTo>
                  <a:pt x="68" y="33"/>
                </a:lnTo>
                <a:lnTo>
                  <a:pt x="66" y="38"/>
                </a:lnTo>
                <a:lnTo>
                  <a:pt x="66" y="42"/>
                </a:lnTo>
                <a:lnTo>
                  <a:pt x="66" y="46"/>
                </a:lnTo>
                <a:lnTo>
                  <a:pt x="66" y="46"/>
                </a:lnTo>
                <a:lnTo>
                  <a:pt x="62" y="40"/>
                </a:lnTo>
                <a:lnTo>
                  <a:pt x="60" y="37"/>
                </a:lnTo>
                <a:lnTo>
                  <a:pt x="55" y="35"/>
                </a:lnTo>
                <a:lnTo>
                  <a:pt x="55" y="35"/>
                </a:lnTo>
                <a:lnTo>
                  <a:pt x="50" y="35"/>
                </a:lnTo>
                <a:lnTo>
                  <a:pt x="46" y="37"/>
                </a:lnTo>
                <a:lnTo>
                  <a:pt x="42" y="38"/>
                </a:lnTo>
                <a:lnTo>
                  <a:pt x="42" y="38"/>
                </a:lnTo>
                <a:lnTo>
                  <a:pt x="48" y="46"/>
                </a:lnTo>
                <a:lnTo>
                  <a:pt x="48" y="53"/>
                </a:lnTo>
                <a:lnTo>
                  <a:pt x="48" y="57"/>
                </a:lnTo>
                <a:lnTo>
                  <a:pt x="42" y="58"/>
                </a:lnTo>
                <a:lnTo>
                  <a:pt x="42" y="58"/>
                </a:lnTo>
                <a:lnTo>
                  <a:pt x="37" y="57"/>
                </a:lnTo>
                <a:lnTo>
                  <a:pt x="35" y="53"/>
                </a:lnTo>
                <a:lnTo>
                  <a:pt x="33" y="47"/>
                </a:lnTo>
                <a:lnTo>
                  <a:pt x="33" y="47"/>
                </a:lnTo>
                <a:lnTo>
                  <a:pt x="29" y="51"/>
                </a:lnTo>
                <a:lnTo>
                  <a:pt x="26" y="53"/>
                </a:lnTo>
                <a:lnTo>
                  <a:pt x="20" y="51"/>
                </a:lnTo>
                <a:lnTo>
                  <a:pt x="20" y="51"/>
                </a:lnTo>
                <a:lnTo>
                  <a:pt x="17" y="47"/>
                </a:lnTo>
                <a:lnTo>
                  <a:pt x="17" y="42"/>
                </a:lnTo>
                <a:lnTo>
                  <a:pt x="22" y="38"/>
                </a:lnTo>
                <a:lnTo>
                  <a:pt x="31" y="35"/>
                </a:lnTo>
                <a:lnTo>
                  <a:pt x="31" y="35"/>
                </a:lnTo>
                <a:lnTo>
                  <a:pt x="29" y="33"/>
                </a:lnTo>
                <a:lnTo>
                  <a:pt x="28" y="27"/>
                </a:lnTo>
                <a:lnTo>
                  <a:pt x="22" y="24"/>
                </a:lnTo>
                <a:lnTo>
                  <a:pt x="18" y="22"/>
                </a:lnTo>
                <a:lnTo>
                  <a:pt x="15" y="24"/>
                </a:lnTo>
                <a:lnTo>
                  <a:pt x="15" y="24"/>
                </a:lnTo>
                <a:lnTo>
                  <a:pt x="18" y="18"/>
                </a:lnTo>
                <a:lnTo>
                  <a:pt x="20" y="15"/>
                </a:lnTo>
                <a:lnTo>
                  <a:pt x="20" y="9"/>
                </a:lnTo>
                <a:lnTo>
                  <a:pt x="20" y="9"/>
                </a:lnTo>
                <a:lnTo>
                  <a:pt x="18" y="5"/>
                </a:lnTo>
                <a:lnTo>
                  <a:pt x="17" y="2"/>
                </a:lnTo>
                <a:lnTo>
                  <a:pt x="13" y="0"/>
                </a:lnTo>
                <a:lnTo>
                  <a:pt x="0" y="73"/>
                </a:lnTo>
                <a:lnTo>
                  <a:pt x="35" y="88"/>
                </a:lnTo>
                <a:lnTo>
                  <a:pt x="35" y="88"/>
                </a:lnTo>
                <a:lnTo>
                  <a:pt x="46" y="82"/>
                </a:lnTo>
                <a:lnTo>
                  <a:pt x="46" y="82"/>
                </a:lnTo>
                <a:lnTo>
                  <a:pt x="51" y="79"/>
                </a:lnTo>
                <a:lnTo>
                  <a:pt x="59" y="79"/>
                </a:lnTo>
                <a:lnTo>
                  <a:pt x="66" y="80"/>
                </a:lnTo>
                <a:lnTo>
                  <a:pt x="71" y="82"/>
                </a:lnTo>
                <a:lnTo>
                  <a:pt x="71" y="82"/>
                </a:lnTo>
                <a:lnTo>
                  <a:pt x="79" y="86"/>
                </a:lnTo>
                <a:lnTo>
                  <a:pt x="82" y="90"/>
                </a:lnTo>
                <a:lnTo>
                  <a:pt x="84" y="95"/>
                </a:lnTo>
                <a:lnTo>
                  <a:pt x="84" y="99"/>
                </a:lnTo>
                <a:lnTo>
                  <a:pt x="84" y="99"/>
                </a:lnTo>
                <a:lnTo>
                  <a:pt x="84" y="104"/>
                </a:lnTo>
                <a:lnTo>
                  <a:pt x="81" y="110"/>
                </a:lnTo>
                <a:lnTo>
                  <a:pt x="106" y="11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9" name="Freeform 50"/>
          <p:cNvSpPr>
            <a:spLocks/>
          </p:cNvSpPr>
          <p:nvPr userDrawn="1"/>
        </p:nvSpPr>
        <p:spPr bwMode="auto">
          <a:xfrm>
            <a:off x="8520113" y="-917153"/>
            <a:ext cx="142875" cy="25400"/>
          </a:xfrm>
          <a:custGeom>
            <a:avLst/>
            <a:gdLst>
              <a:gd name="T0" fmla="*/ 151 w 180"/>
              <a:gd name="T1" fmla="*/ 28 h 31"/>
              <a:gd name="T2" fmla="*/ 180 w 180"/>
              <a:gd name="T3" fmla="*/ 15 h 31"/>
              <a:gd name="T4" fmla="*/ 151 w 180"/>
              <a:gd name="T5" fmla="*/ 2 h 31"/>
              <a:gd name="T6" fmla="*/ 151 w 180"/>
              <a:gd name="T7" fmla="*/ 2 h 31"/>
              <a:gd name="T8" fmla="*/ 102 w 180"/>
              <a:gd name="T9" fmla="*/ 2 h 31"/>
              <a:gd name="T10" fmla="*/ 23 w 180"/>
              <a:gd name="T11" fmla="*/ 0 h 31"/>
              <a:gd name="T12" fmla="*/ 0 w 180"/>
              <a:gd name="T13" fmla="*/ 31 h 31"/>
              <a:gd name="T14" fmla="*/ 0 w 180"/>
              <a:gd name="T15" fmla="*/ 31 h 31"/>
              <a:gd name="T16" fmla="*/ 151 w 180"/>
              <a:gd name="T17"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31">
                <a:moveTo>
                  <a:pt x="151" y="28"/>
                </a:moveTo>
                <a:lnTo>
                  <a:pt x="180" y="15"/>
                </a:lnTo>
                <a:lnTo>
                  <a:pt x="151" y="2"/>
                </a:lnTo>
                <a:lnTo>
                  <a:pt x="151" y="2"/>
                </a:lnTo>
                <a:lnTo>
                  <a:pt x="102" y="2"/>
                </a:lnTo>
                <a:lnTo>
                  <a:pt x="23" y="0"/>
                </a:lnTo>
                <a:lnTo>
                  <a:pt x="0" y="31"/>
                </a:lnTo>
                <a:lnTo>
                  <a:pt x="0" y="31"/>
                </a:lnTo>
                <a:lnTo>
                  <a:pt x="151"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100" name="Freeform 51"/>
          <p:cNvSpPr>
            <a:spLocks/>
          </p:cNvSpPr>
          <p:nvPr userDrawn="1"/>
        </p:nvSpPr>
        <p:spPr bwMode="auto">
          <a:xfrm>
            <a:off x="8566151" y="-855240"/>
            <a:ext cx="85725" cy="84138"/>
          </a:xfrm>
          <a:custGeom>
            <a:avLst/>
            <a:gdLst>
              <a:gd name="T0" fmla="*/ 55 w 108"/>
              <a:gd name="T1" fmla="*/ 106 h 106"/>
              <a:gd name="T2" fmla="*/ 55 w 108"/>
              <a:gd name="T3" fmla="*/ 106 h 106"/>
              <a:gd name="T4" fmla="*/ 38 w 108"/>
              <a:gd name="T5" fmla="*/ 97 h 106"/>
              <a:gd name="T6" fmla="*/ 26 w 108"/>
              <a:gd name="T7" fmla="*/ 89 h 106"/>
              <a:gd name="T8" fmla="*/ 13 w 108"/>
              <a:gd name="T9" fmla="*/ 80 h 106"/>
              <a:gd name="T10" fmla="*/ 4 w 108"/>
              <a:gd name="T11" fmla="*/ 69 h 106"/>
              <a:gd name="T12" fmla="*/ 4 w 108"/>
              <a:gd name="T13" fmla="*/ 69 h 106"/>
              <a:gd name="T14" fmla="*/ 0 w 108"/>
              <a:gd name="T15" fmla="*/ 62 h 106"/>
              <a:gd name="T16" fmla="*/ 0 w 108"/>
              <a:gd name="T17" fmla="*/ 53 h 106"/>
              <a:gd name="T18" fmla="*/ 0 w 108"/>
              <a:gd name="T19" fmla="*/ 45 h 106"/>
              <a:gd name="T20" fmla="*/ 0 w 108"/>
              <a:gd name="T21" fmla="*/ 36 h 106"/>
              <a:gd name="T22" fmla="*/ 4 w 108"/>
              <a:gd name="T23" fmla="*/ 27 h 106"/>
              <a:gd name="T24" fmla="*/ 7 w 108"/>
              <a:gd name="T25" fmla="*/ 20 h 106"/>
              <a:gd name="T26" fmla="*/ 15 w 108"/>
              <a:gd name="T27" fmla="*/ 13 h 106"/>
              <a:gd name="T28" fmla="*/ 22 w 108"/>
              <a:gd name="T29" fmla="*/ 7 h 106"/>
              <a:gd name="T30" fmla="*/ 22 w 108"/>
              <a:gd name="T31" fmla="*/ 7 h 106"/>
              <a:gd name="T32" fmla="*/ 26 w 108"/>
              <a:gd name="T33" fmla="*/ 11 h 106"/>
              <a:gd name="T34" fmla="*/ 27 w 108"/>
              <a:gd name="T35" fmla="*/ 14 h 106"/>
              <a:gd name="T36" fmla="*/ 27 w 108"/>
              <a:gd name="T37" fmla="*/ 18 h 106"/>
              <a:gd name="T38" fmla="*/ 27 w 108"/>
              <a:gd name="T39" fmla="*/ 18 h 106"/>
              <a:gd name="T40" fmla="*/ 51 w 108"/>
              <a:gd name="T41" fmla="*/ 16 h 106"/>
              <a:gd name="T42" fmla="*/ 51 w 108"/>
              <a:gd name="T43" fmla="*/ 16 h 106"/>
              <a:gd name="T44" fmla="*/ 51 w 108"/>
              <a:gd name="T45" fmla="*/ 9 h 106"/>
              <a:gd name="T46" fmla="*/ 51 w 108"/>
              <a:gd name="T47" fmla="*/ 3 h 106"/>
              <a:gd name="T48" fmla="*/ 49 w 108"/>
              <a:gd name="T49" fmla="*/ 0 h 106"/>
              <a:gd name="T50" fmla="*/ 49 w 108"/>
              <a:gd name="T51" fmla="*/ 0 h 106"/>
              <a:gd name="T52" fmla="*/ 57 w 108"/>
              <a:gd name="T53" fmla="*/ 5 h 106"/>
              <a:gd name="T54" fmla="*/ 59 w 108"/>
              <a:gd name="T55" fmla="*/ 11 h 106"/>
              <a:gd name="T56" fmla="*/ 60 w 108"/>
              <a:gd name="T57" fmla="*/ 16 h 106"/>
              <a:gd name="T58" fmla="*/ 60 w 108"/>
              <a:gd name="T59" fmla="*/ 16 h 106"/>
              <a:gd name="T60" fmla="*/ 82 w 108"/>
              <a:gd name="T61" fmla="*/ 18 h 106"/>
              <a:gd name="T62" fmla="*/ 82 w 108"/>
              <a:gd name="T63" fmla="*/ 18 h 106"/>
              <a:gd name="T64" fmla="*/ 82 w 108"/>
              <a:gd name="T65" fmla="*/ 11 h 106"/>
              <a:gd name="T66" fmla="*/ 79 w 108"/>
              <a:gd name="T67" fmla="*/ 3 h 106"/>
              <a:gd name="T68" fmla="*/ 79 w 108"/>
              <a:gd name="T69" fmla="*/ 3 h 106"/>
              <a:gd name="T70" fmla="*/ 86 w 108"/>
              <a:gd name="T71" fmla="*/ 9 h 106"/>
              <a:gd name="T72" fmla="*/ 93 w 108"/>
              <a:gd name="T73" fmla="*/ 13 h 106"/>
              <a:gd name="T74" fmla="*/ 99 w 108"/>
              <a:gd name="T75" fmla="*/ 20 h 106"/>
              <a:gd name="T76" fmla="*/ 102 w 108"/>
              <a:gd name="T77" fmla="*/ 25 h 106"/>
              <a:gd name="T78" fmla="*/ 106 w 108"/>
              <a:gd name="T79" fmla="*/ 38 h 106"/>
              <a:gd name="T80" fmla="*/ 108 w 108"/>
              <a:gd name="T81" fmla="*/ 49 h 106"/>
              <a:gd name="T82" fmla="*/ 108 w 108"/>
              <a:gd name="T83" fmla="*/ 49 h 106"/>
              <a:gd name="T84" fmla="*/ 106 w 108"/>
              <a:gd name="T85" fmla="*/ 62 h 106"/>
              <a:gd name="T86" fmla="*/ 102 w 108"/>
              <a:gd name="T87" fmla="*/ 73 h 106"/>
              <a:gd name="T88" fmla="*/ 95 w 108"/>
              <a:gd name="T89" fmla="*/ 82 h 106"/>
              <a:gd name="T90" fmla="*/ 86 w 108"/>
              <a:gd name="T91" fmla="*/ 89 h 106"/>
              <a:gd name="T92" fmla="*/ 86 w 108"/>
              <a:gd name="T93" fmla="*/ 89 h 106"/>
              <a:gd name="T94" fmla="*/ 69 w 108"/>
              <a:gd name="T95" fmla="*/ 98 h 106"/>
              <a:gd name="T96" fmla="*/ 55 w 108"/>
              <a:gd name="T97"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 h="106">
                <a:moveTo>
                  <a:pt x="55" y="106"/>
                </a:moveTo>
                <a:lnTo>
                  <a:pt x="55" y="106"/>
                </a:lnTo>
                <a:lnTo>
                  <a:pt x="38" y="97"/>
                </a:lnTo>
                <a:lnTo>
                  <a:pt x="26" y="89"/>
                </a:lnTo>
                <a:lnTo>
                  <a:pt x="13" y="80"/>
                </a:lnTo>
                <a:lnTo>
                  <a:pt x="4" y="69"/>
                </a:lnTo>
                <a:lnTo>
                  <a:pt x="4" y="69"/>
                </a:lnTo>
                <a:lnTo>
                  <a:pt x="0" y="62"/>
                </a:lnTo>
                <a:lnTo>
                  <a:pt x="0" y="53"/>
                </a:lnTo>
                <a:lnTo>
                  <a:pt x="0" y="45"/>
                </a:lnTo>
                <a:lnTo>
                  <a:pt x="0" y="36"/>
                </a:lnTo>
                <a:lnTo>
                  <a:pt x="4" y="27"/>
                </a:lnTo>
                <a:lnTo>
                  <a:pt x="7" y="20"/>
                </a:lnTo>
                <a:lnTo>
                  <a:pt x="15" y="13"/>
                </a:lnTo>
                <a:lnTo>
                  <a:pt x="22" y="7"/>
                </a:lnTo>
                <a:lnTo>
                  <a:pt x="22" y="7"/>
                </a:lnTo>
                <a:lnTo>
                  <a:pt x="26" y="11"/>
                </a:lnTo>
                <a:lnTo>
                  <a:pt x="27" y="14"/>
                </a:lnTo>
                <a:lnTo>
                  <a:pt x="27" y="18"/>
                </a:lnTo>
                <a:lnTo>
                  <a:pt x="27" y="18"/>
                </a:lnTo>
                <a:lnTo>
                  <a:pt x="51" y="16"/>
                </a:lnTo>
                <a:lnTo>
                  <a:pt x="51" y="16"/>
                </a:lnTo>
                <a:lnTo>
                  <a:pt x="51" y="9"/>
                </a:lnTo>
                <a:lnTo>
                  <a:pt x="51" y="3"/>
                </a:lnTo>
                <a:lnTo>
                  <a:pt x="49" y="0"/>
                </a:lnTo>
                <a:lnTo>
                  <a:pt x="49" y="0"/>
                </a:lnTo>
                <a:lnTo>
                  <a:pt x="57" y="5"/>
                </a:lnTo>
                <a:lnTo>
                  <a:pt x="59" y="11"/>
                </a:lnTo>
                <a:lnTo>
                  <a:pt x="60" y="16"/>
                </a:lnTo>
                <a:lnTo>
                  <a:pt x="60" y="16"/>
                </a:lnTo>
                <a:lnTo>
                  <a:pt x="82" y="18"/>
                </a:lnTo>
                <a:lnTo>
                  <a:pt x="82" y="18"/>
                </a:lnTo>
                <a:lnTo>
                  <a:pt x="82" y="11"/>
                </a:lnTo>
                <a:lnTo>
                  <a:pt x="79" y="3"/>
                </a:lnTo>
                <a:lnTo>
                  <a:pt x="79" y="3"/>
                </a:lnTo>
                <a:lnTo>
                  <a:pt x="86" y="9"/>
                </a:lnTo>
                <a:lnTo>
                  <a:pt x="93" y="13"/>
                </a:lnTo>
                <a:lnTo>
                  <a:pt x="99" y="20"/>
                </a:lnTo>
                <a:lnTo>
                  <a:pt x="102" y="25"/>
                </a:lnTo>
                <a:lnTo>
                  <a:pt x="106" y="38"/>
                </a:lnTo>
                <a:lnTo>
                  <a:pt x="108" y="49"/>
                </a:lnTo>
                <a:lnTo>
                  <a:pt x="108" y="49"/>
                </a:lnTo>
                <a:lnTo>
                  <a:pt x="106" y="62"/>
                </a:lnTo>
                <a:lnTo>
                  <a:pt x="102" y="73"/>
                </a:lnTo>
                <a:lnTo>
                  <a:pt x="95" y="82"/>
                </a:lnTo>
                <a:lnTo>
                  <a:pt x="86" y="89"/>
                </a:lnTo>
                <a:lnTo>
                  <a:pt x="86" y="89"/>
                </a:lnTo>
                <a:lnTo>
                  <a:pt x="69" y="98"/>
                </a:lnTo>
                <a:lnTo>
                  <a:pt x="55" y="1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101" name="Freeform 52"/>
          <p:cNvSpPr>
            <a:spLocks/>
          </p:cNvSpPr>
          <p:nvPr userDrawn="1"/>
        </p:nvSpPr>
        <p:spPr bwMode="auto">
          <a:xfrm>
            <a:off x="8589963" y="-648865"/>
            <a:ext cx="1588" cy="1588"/>
          </a:xfrm>
          <a:custGeom>
            <a:avLst/>
            <a:gdLst>
              <a:gd name="T0" fmla="*/ 4 w 4"/>
              <a:gd name="T1" fmla="*/ 2 h 2"/>
              <a:gd name="T2" fmla="*/ 4 w 4"/>
              <a:gd name="T3" fmla="*/ 2 h 2"/>
              <a:gd name="T4" fmla="*/ 2 w 4"/>
              <a:gd name="T5" fmla="*/ 0 h 2"/>
              <a:gd name="T6" fmla="*/ 2 w 4"/>
              <a:gd name="T7" fmla="*/ 0 h 2"/>
              <a:gd name="T8" fmla="*/ 0 w 4"/>
              <a:gd name="T9" fmla="*/ 0 h 2"/>
              <a:gd name="T10" fmla="*/ 0 w 4"/>
              <a:gd name="T11" fmla="*/ 0 h 2"/>
              <a:gd name="T12" fmla="*/ 4 w 4"/>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2"/>
                </a:moveTo>
                <a:lnTo>
                  <a:pt x="4" y="2"/>
                </a:lnTo>
                <a:lnTo>
                  <a:pt x="2" y="0"/>
                </a:lnTo>
                <a:lnTo>
                  <a:pt x="2" y="0"/>
                </a:lnTo>
                <a:lnTo>
                  <a:pt x="0" y="0"/>
                </a:lnTo>
                <a:lnTo>
                  <a:pt x="0" y="0"/>
                </a:lnTo>
                <a:lnTo>
                  <a:pt x="4"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102" name="Freeform 53"/>
          <p:cNvSpPr>
            <a:spLocks/>
          </p:cNvSpPr>
          <p:nvPr userDrawn="1"/>
        </p:nvSpPr>
        <p:spPr bwMode="auto">
          <a:xfrm>
            <a:off x="8405814" y="-885403"/>
            <a:ext cx="15875" cy="9525"/>
          </a:xfrm>
          <a:custGeom>
            <a:avLst/>
            <a:gdLst>
              <a:gd name="T0" fmla="*/ 20 w 20"/>
              <a:gd name="T1" fmla="*/ 10 h 11"/>
              <a:gd name="T2" fmla="*/ 20 w 20"/>
              <a:gd name="T3" fmla="*/ 10 h 11"/>
              <a:gd name="T4" fmla="*/ 19 w 20"/>
              <a:gd name="T5" fmla="*/ 10 h 11"/>
              <a:gd name="T6" fmla="*/ 11 w 20"/>
              <a:gd name="T7" fmla="*/ 11 h 11"/>
              <a:gd name="T8" fmla="*/ 2 w 20"/>
              <a:gd name="T9" fmla="*/ 11 h 11"/>
              <a:gd name="T10" fmla="*/ 2 w 20"/>
              <a:gd name="T11" fmla="*/ 11 h 11"/>
              <a:gd name="T12" fmla="*/ 0 w 20"/>
              <a:gd name="T13" fmla="*/ 8 h 11"/>
              <a:gd name="T14" fmla="*/ 0 w 20"/>
              <a:gd name="T15" fmla="*/ 0 h 11"/>
              <a:gd name="T16" fmla="*/ 0 w 20"/>
              <a:gd name="T17" fmla="*/ 0 h 11"/>
              <a:gd name="T18" fmla="*/ 4 w 20"/>
              <a:gd name="T19" fmla="*/ 0 h 11"/>
              <a:gd name="T20" fmla="*/ 11 w 20"/>
              <a:gd name="T21" fmla="*/ 2 h 11"/>
              <a:gd name="T22" fmla="*/ 17 w 20"/>
              <a:gd name="T23" fmla="*/ 4 h 11"/>
              <a:gd name="T24" fmla="*/ 20 w 20"/>
              <a:gd name="T25"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1">
                <a:moveTo>
                  <a:pt x="20" y="10"/>
                </a:moveTo>
                <a:lnTo>
                  <a:pt x="20" y="10"/>
                </a:lnTo>
                <a:lnTo>
                  <a:pt x="19" y="10"/>
                </a:lnTo>
                <a:lnTo>
                  <a:pt x="11" y="11"/>
                </a:lnTo>
                <a:lnTo>
                  <a:pt x="2" y="11"/>
                </a:lnTo>
                <a:lnTo>
                  <a:pt x="2" y="11"/>
                </a:lnTo>
                <a:lnTo>
                  <a:pt x="0" y="8"/>
                </a:lnTo>
                <a:lnTo>
                  <a:pt x="0" y="0"/>
                </a:lnTo>
                <a:lnTo>
                  <a:pt x="0" y="0"/>
                </a:lnTo>
                <a:lnTo>
                  <a:pt x="4" y="0"/>
                </a:lnTo>
                <a:lnTo>
                  <a:pt x="11" y="2"/>
                </a:lnTo>
                <a:lnTo>
                  <a:pt x="17" y="4"/>
                </a:lnTo>
                <a:lnTo>
                  <a:pt x="20"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103" name="Freeform 54"/>
          <p:cNvSpPr>
            <a:spLocks/>
          </p:cNvSpPr>
          <p:nvPr userDrawn="1"/>
        </p:nvSpPr>
        <p:spPr bwMode="auto">
          <a:xfrm>
            <a:off x="8197851" y="-917153"/>
            <a:ext cx="492125" cy="579438"/>
          </a:xfrm>
          <a:custGeom>
            <a:avLst/>
            <a:gdLst>
              <a:gd name="T0" fmla="*/ 592 w 619"/>
              <a:gd name="T1" fmla="*/ 245 h 729"/>
              <a:gd name="T2" fmla="*/ 588 w 619"/>
              <a:gd name="T3" fmla="*/ 150 h 729"/>
              <a:gd name="T4" fmla="*/ 513 w 619"/>
              <a:gd name="T5" fmla="*/ 57 h 729"/>
              <a:gd name="T6" fmla="*/ 446 w 619"/>
              <a:gd name="T7" fmla="*/ 150 h 729"/>
              <a:gd name="T8" fmla="*/ 460 w 619"/>
              <a:gd name="T9" fmla="*/ 243 h 729"/>
              <a:gd name="T10" fmla="*/ 490 w 619"/>
              <a:gd name="T11" fmla="*/ 256 h 729"/>
              <a:gd name="T12" fmla="*/ 506 w 619"/>
              <a:gd name="T13" fmla="*/ 240 h 729"/>
              <a:gd name="T14" fmla="*/ 568 w 619"/>
              <a:gd name="T15" fmla="*/ 250 h 729"/>
              <a:gd name="T16" fmla="*/ 533 w 619"/>
              <a:gd name="T17" fmla="*/ 345 h 729"/>
              <a:gd name="T18" fmla="*/ 429 w 619"/>
              <a:gd name="T19" fmla="*/ 291 h 729"/>
              <a:gd name="T20" fmla="*/ 417 w 619"/>
              <a:gd name="T21" fmla="*/ 198 h 729"/>
              <a:gd name="T22" fmla="*/ 418 w 619"/>
              <a:gd name="T23" fmla="*/ 183 h 729"/>
              <a:gd name="T24" fmla="*/ 375 w 619"/>
              <a:gd name="T25" fmla="*/ 121 h 729"/>
              <a:gd name="T26" fmla="*/ 424 w 619"/>
              <a:gd name="T27" fmla="*/ 77 h 729"/>
              <a:gd name="T28" fmla="*/ 353 w 619"/>
              <a:gd name="T29" fmla="*/ 28 h 729"/>
              <a:gd name="T30" fmla="*/ 247 w 619"/>
              <a:gd name="T31" fmla="*/ 33 h 729"/>
              <a:gd name="T32" fmla="*/ 225 w 619"/>
              <a:gd name="T33" fmla="*/ 73 h 729"/>
              <a:gd name="T34" fmla="*/ 243 w 619"/>
              <a:gd name="T35" fmla="*/ 104 h 729"/>
              <a:gd name="T36" fmla="*/ 292 w 619"/>
              <a:gd name="T37" fmla="*/ 88 h 729"/>
              <a:gd name="T38" fmla="*/ 219 w 619"/>
              <a:gd name="T39" fmla="*/ 115 h 729"/>
              <a:gd name="T40" fmla="*/ 190 w 619"/>
              <a:gd name="T41" fmla="*/ 110 h 729"/>
              <a:gd name="T42" fmla="*/ 258 w 619"/>
              <a:gd name="T43" fmla="*/ 112 h 729"/>
              <a:gd name="T44" fmla="*/ 261 w 619"/>
              <a:gd name="T45" fmla="*/ 128 h 729"/>
              <a:gd name="T46" fmla="*/ 238 w 619"/>
              <a:gd name="T47" fmla="*/ 152 h 729"/>
              <a:gd name="T48" fmla="*/ 259 w 619"/>
              <a:gd name="T49" fmla="*/ 192 h 729"/>
              <a:gd name="T50" fmla="*/ 133 w 619"/>
              <a:gd name="T51" fmla="*/ 276 h 729"/>
              <a:gd name="T52" fmla="*/ 53 w 619"/>
              <a:gd name="T53" fmla="*/ 252 h 729"/>
              <a:gd name="T54" fmla="*/ 42 w 619"/>
              <a:gd name="T55" fmla="*/ 267 h 729"/>
              <a:gd name="T56" fmla="*/ 51 w 619"/>
              <a:gd name="T57" fmla="*/ 287 h 729"/>
              <a:gd name="T58" fmla="*/ 2 w 619"/>
              <a:gd name="T59" fmla="*/ 305 h 729"/>
              <a:gd name="T60" fmla="*/ 58 w 619"/>
              <a:gd name="T61" fmla="*/ 313 h 729"/>
              <a:gd name="T62" fmla="*/ 37 w 619"/>
              <a:gd name="T63" fmla="*/ 331 h 729"/>
              <a:gd name="T64" fmla="*/ 53 w 619"/>
              <a:gd name="T65" fmla="*/ 345 h 729"/>
              <a:gd name="T66" fmla="*/ 104 w 619"/>
              <a:gd name="T67" fmla="*/ 345 h 729"/>
              <a:gd name="T68" fmla="*/ 117 w 619"/>
              <a:gd name="T69" fmla="*/ 347 h 729"/>
              <a:gd name="T70" fmla="*/ 163 w 619"/>
              <a:gd name="T71" fmla="*/ 309 h 729"/>
              <a:gd name="T72" fmla="*/ 214 w 619"/>
              <a:gd name="T73" fmla="*/ 300 h 729"/>
              <a:gd name="T74" fmla="*/ 283 w 619"/>
              <a:gd name="T75" fmla="*/ 325 h 729"/>
              <a:gd name="T76" fmla="*/ 417 w 619"/>
              <a:gd name="T77" fmla="*/ 386 h 729"/>
              <a:gd name="T78" fmla="*/ 466 w 619"/>
              <a:gd name="T79" fmla="*/ 492 h 729"/>
              <a:gd name="T80" fmla="*/ 464 w 619"/>
              <a:gd name="T81" fmla="*/ 517 h 729"/>
              <a:gd name="T82" fmla="*/ 512 w 619"/>
              <a:gd name="T83" fmla="*/ 526 h 729"/>
              <a:gd name="T84" fmla="*/ 526 w 619"/>
              <a:gd name="T85" fmla="*/ 627 h 729"/>
              <a:gd name="T86" fmla="*/ 462 w 619"/>
              <a:gd name="T87" fmla="*/ 638 h 729"/>
              <a:gd name="T88" fmla="*/ 491 w 619"/>
              <a:gd name="T89" fmla="*/ 651 h 729"/>
              <a:gd name="T90" fmla="*/ 479 w 619"/>
              <a:gd name="T91" fmla="*/ 663 h 729"/>
              <a:gd name="T92" fmla="*/ 475 w 619"/>
              <a:gd name="T93" fmla="*/ 711 h 729"/>
              <a:gd name="T94" fmla="*/ 502 w 619"/>
              <a:gd name="T95" fmla="*/ 693 h 729"/>
              <a:gd name="T96" fmla="*/ 513 w 619"/>
              <a:gd name="T97" fmla="*/ 700 h 729"/>
              <a:gd name="T98" fmla="*/ 544 w 619"/>
              <a:gd name="T99" fmla="*/ 720 h 729"/>
              <a:gd name="T100" fmla="*/ 554 w 619"/>
              <a:gd name="T101" fmla="*/ 678 h 729"/>
              <a:gd name="T102" fmla="*/ 586 w 619"/>
              <a:gd name="T103" fmla="*/ 689 h 729"/>
              <a:gd name="T104" fmla="*/ 590 w 619"/>
              <a:gd name="T105" fmla="*/ 625 h 729"/>
              <a:gd name="T106" fmla="*/ 603 w 619"/>
              <a:gd name="T107" fmla="*/ 598 h 729"/>
              <a:gd name="T108" fmla="*/ 599 w 619"/>
              <a:gd name="T109" fmla="*/ 552 h 729"/>
              <a:gd name="T110" fmla="*/ 574 w 619"/>
              <a:gd name="T111" fmla="*/ 508 h 729"/>
              <a:gd name="T112" fmla="*/ 532 w 619"/>
              <a:gd name="T113" fmla="*/ 462 h 729"/>
              <a:gd name="T114" fmla="*/ 532 w 619"/>
              <a:gd name="T115" fmla="*/ 419 h 729"/>
              <a:gd name="T116" fmla="*/ 539 w 619"/>
              <a:gd name="T117" fmla="*/ 377 h 729"/>
              <a:gd name="T118" fmla="*/ 618 w 619"/>
              <a:gd name="T119" fmla="*/ 316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9" h="729">
                <a:moveTo>
                  <a:pt x="603" y="280"/>
                </a:moveTo>
                <a:lnTo>
                  <a:pt x="603" y="280"/>
                </a:lnTo>
                <a:lnTo>
                  <a:pt x="612" y="282"/>
                </a:lnTo>
                <a:lnTo>
                  <a:pt x="619" y="280"/>
                </a:lnTo>
                <a:lnTo>
                  <a:pt x="619" y="280"/>
                </a:lnTo>
                <a:lnTo>
                  <a:pt x="618" y="269"/>
                </a:lnTo>
                <a:lnTo>
                  <a:pt x="616" y="252"/>
                </a:lnTo>
                <a:lnTo>
                  <a:pt x="616" y="252"/>
                </a:lnTo>
                <a:lnTo>
                  <a:pt x="610" y="252"/>
                </a:lnTo>
                <a:lnTo>
                  <a:pt x="605" y="252"/>
                </a:lnTo>
                <a:lnTo>
                  <a:pt x="599" y="250"/>
                </a:lnTo>
                <a:lnTo>
                  <a:pt x="592" y="245"/>
                </a:lnTo>
                <a:lnTo>
                  <a:pt x="592" y="245"/>
                </a:lnTo>
                <a:lnTo>
                  <a:pt x="588" y="238"/>
                </a:lnTo>
                <a:lnTo>
                  <a:pt x="588" y="238"/>
                </a:lnTo>
                <a:lnTo>
                  <a:pt x="577" y="223"/>
                </a:lnTo>
                <a:lnTo>
                  <a:pt x="565" y="212"/>
                </a:lnTo>
                <a:lnTo>
                  <a:pt x="552" y="203"/>
                </a:lnTo>
                <a:lnTo>
                  <a:pt x="541" y="196"/>
                </a:lnTo>
                <a:lnTo>
                  <a:pt x="541" y="196"/>
                </a:lnTo>
                <a:lnTo>
                  <a:pt x="559" y="185"/>
                </a:lnTo>
                <a:lnTo>
                  <a:pt x="572" y="174"/>
                </a:lnTo>
                <a:lnTo>
                  <a:pt x="581" y="165"/>
                </a:lnTo>
                <a:lnTo>
                  <a:pt x="585" y="157"/>
                </a:lnTo>
                <a:lnTo>
                  <a:pt x="585" y="157"/>
                </a:lnTo>
                <a:lnTo>
                  <a:pt x="588" y="150"/>
                </a:lnTo>
                <a:lnTo>
                  <a:pt x="592" y="139"/>
                </a:lnTo>
                <a:lnTo>
                  <a:pt x="592" y="128"/>
                </a:lnTo>
                <a:lnTo>
                  <a:pt x="592" y="115"/>
                </a:lnTo>
                <a:lnTo>
                  <a:pt x="588" y="103"/>
                </a:lnTo>
                <a:lnTo>
                  <a:pt x="583" y="90"/>
                </a:lnTo>
                <a:lnTo>
                  <a:pt x="574" y="79"/>
                </a:lnTo>
                <a:lnTo>
                  <a:pt x="566" y="73"/>
                </a:lnTo>
                <a:lnTo>
                  <a:pt x="559" y="68"/>
                </a:lnTo>
                <a:lnTo>
                  <a:pt x="559" y="68"/>
                </a:lnTo>
                <a:lnTo>
                  <a:pt x="548" y="62"/>
                </a:lnTo>
                <a:lnTo>
                  <a:pt x="535" y="59"/>
                </a:lnTo>
                <a:lnTo>
                  <a:pt x="524" y="57"/>
                </a:lnTo>
                <a:lnTo>
                  <a:pt x="513" y="57"/>
                </a:lnTo>
                <a:lnTo>
                  <a:pt x="495" y="60"/>
                </a:lnTo>
                <a:lnTo>
                  <a:pt x="481" y="64"/>
                </a:lnTo>
                <a:lnTo>
                  <a:pt x="481" y="64"/>
                </a:lnTo>
                <a:lnTo>
                  <a:pt x="471" y="70"/>
                </a:lnTo>
                <a:lnTo>
                  <a:pt x="462" y="77"/>
                </a:lnTo>
                <a:lnTo>
                  <a:pt x="455" y="84"/>
                </a:lnTo>
                <a:lnTo>
                  <a:pt x="449" y="93"/>
                </a:lnTo>
                <a:lnTo>
                  <a:pt x="446" y="104"/>
                </a:lnTo>
                <a:lnTo>
                  <a:pt x="442" y="115"/>
                </a:lnTo>
                <a:lnTo>
                  <a:pt x="442" y="126"/>
                </a:lnTo>
                <a:lnTo>
                  <a:pt x="442" y="141"/>
                </a:lnTo>
                <a:lnTo>
                  <a:pt x="442" y="141"/>
                </a:lnTo>
                <a:lnTo>
                  <a:pt x="446" y="150"/>
                </a:lnTo>
                <a:lnTo>
                  <a:pt x="449" y="159"/>
                </a:lnTo>
                <a:lnTo>
                  <a:pt x="455" y="168"/>
                </a:lnTo>
                <a:lnTo>
                  <a:pt x="460" y="174"/>
                </a:lnTo>
                <a:lnTo>
                  <a:pt x="477" y="185"/>
                </a:lnTo>
                <a:lnTo>
                  <a:pt x="495" y="196"/>
                </a:lnTo>
                <a:lnTo>
                  <a:pt x="495" y="196"/>
                </a:lnTo>
                <a:lnTo>
                  <a:pt x="481" y="203"/>
                </a:lnTo>
                <a:lnTo>
                  <a:pt x="470" y="214"/>
                </a:lnTo>
                <a:lnTo>
                  <a:pt x="466" y="219"/>
                </a:lnTo>
                <a:lnTo>
                  <a:pt x="464" y="227"/>
                </a:lnTo>
                <a:lnTo>
                  <a:pt x="462" y="234"/>
                </a:lnTo>
                <a:lnTo>
                  <a:pt x="460" y="243"/>
                </a:lnTo>
                <a:lnTo>
                  <a:pt x="460" y="243"/>
                </a:lnTo>
                <a:lnTo>
                  <a:pt x="462" y="254"/>
                </a:lnTo>
                <a:lnTo>
                  <a:pt x="466" y="267"/>
                </a:lnTo>
                <a:lnTo>
                  <a:pt x="468" y="282"/>
                </a:lnTo>
                <a:lnTo>
                  <a:pt x="468" y="291"/>
                </a:lnTo>
                <a:lnTo>
                  <a:pt x="466" y="300"/>
                </a:lnTo>
                <a:lnTo>
                  <a:pt x="466" y="300"/>
                </a:lnTo>
                <a:lnTo>
                  <a:pt x="468" y="300"/>
                </a:lnTo>
                <a:lnTo>
                  <a:pt x="475" y="298"/>
                </a:lnTo>
                <a:lnTo>
                  <a:pt x="484" y="291"/>
                </a:lnTo>
                <a:lnTo>
                  <a:pt x="484" y="291"/>
                </a:lnTo>
                <a:lnTo>
                  <a:pt x="488" y="280"/>
                </a:lnTo>
                <a:lnTo>
                  <a:pt x="490" y="269"/>
                </a:lnTo>
                <a:lnTo>
                  <a:pt x="490" y="256"/>
                </a:lnTo>
                <a:lnTo>
                  <a:pt x="490" y="256"/>
                </a:lnTo>
                <a:lnTo>
                  <a:pt x="493" y="261"/>
                </a:lnTo>
                <a:lnTo>
                  <a:pt x="495" y="271"/>
                </a:lnTo>
                <a:lnTo>
                  <a:pt x="495" y="278"/>
                </a:lnTo>
                <a:lnTo>
                  <a:pt x="493" y="285"/>
                </a:lnTo>
                <a:lnTo>
                  <a:pt x="493" y="285"/>
                </a:lnTo>
                <a:lnTo>
                  <a:pt x="501" y="282"/>
                </a:lnTo>
                <a:lnTo>
                  <a:pt x="504" y="278"/>
                </a:lnTo>
                <a:lnTo>
                  <a:pt x="508" y="274"/>
                </a:lnTo>
                <a:lnTo>
                  <a:pt x="508" y="274"/>
                </a:lnTo>
                <a:lnTo>
                  <a:pt x="510" y="261"/>
                </a:lnTo>
                <a:lnTo>
                  <a:pt x="510" y="249"/>
                </a:lnTo>
                <a:lnTo>
                  <a:pt x="506" y="240"/>
                </a:lnTo>
                <a:lnTo>
                  <a:pt x="504" y="232"/>
                </a:lnTo>
                <a:lnTo>
                  <a:pt x="504" y="232"/>
                </a:lnTo>
                <a:lnTo>
                  <a:pt x="502" y="225"/>
                </a:lnTo>
                <a:lnTo>
                  <a:pt x="504" y="218"/>
                </a:lnTo>
                <a:lnTo>
                  <a:pt x="510" y="210"/>
                </a:lnTo>
                <a:lnTo>
                  <a:pt x="515" y="207"/>
                </a:lnTo>
                <a:lnTo>
                  <a:pt x="515" y="207"/>
                </a:lnTo>
                <a:lnTo>
                  <a:pt x="533" y="216"/>
                </a:lnTo>
                <a:lnTo>
                  <a:pt x="533" y="216"/>
                </a:lnTo>
                <a:lnTo>
                  <a:pt x="541" y="221"/>
                </a:lnTo>
                <a:lnTo>
                  <a:pt x="552" y="230"/>
                </a:lnTo>
                <a:lnTo>
                  <a:pt x="563" y="243"/>
                </a:lnTo>
                <a:lnTo>
                  <a:pt x="568" y="250"/>
                </a:lnTo>
                <a:lnTo>
                  <a:pt x="572" y="260"/>
                </a:lnTo>
                <a:lnTo>
                  <a:pt x="572" y="260"/>
                </a:lnTo>
                <a:lnTo>
                  <a:pt x="577" y="271"/>
                </a:lnTo>
                <a:lnTo>
                  <a:pt x="579" y="282"/>
                </a:lnTo>
                <a:lnTo>
                  <a:pt x="579" y="291"/>
                </a:lnTo>
                <a:lnTo>
                  <a:pt x="579" y="300"/>
                </a:lnTo>
                <a:lnTo>
                  <a:pt x="576" y="313"/>
                </a:lnTo>
                <a:lnTo>
                  <a:pt x="572" y="320"/>
                </a:lnTo>
                <a:lnTo>
                  <a:pt x="572" y="320"/>
                </a:lnTo>
                <a:lnTo>
                  <a:pt x="565" y="329"/>
                </a:lnTo>
                <a:lnTo>
                  <a:pt x="557" y="338"/>
                </a:lnTo>
                <a:lnTo>
                  <a:pt x="546" y="344"/>
                </a:lnTo>
                <a:lnTo>
                  <a:pt x="533" y="345"/>
                </a:lnTo>
                <a:lnTo>
                  <a:pt x="533" y="345"/>
                </a:lnTo>
                <a:lnTo>
                  <a:pt x="532" y="345"/>
                </a:lnTo>
                <a:lnTo>
                  <a:pt x="532" y="345"/>
                </a:lnTo>
                <a:lnTo>
                  <a:pt x="517" y="345"/>
                </a:lnTo>
                <a:lnTo>
                  <a:pt x="517" y="345"/>
                </a:lnTo>
                <a:lnTo>
                  <a:pt x="504" y="342"/>
                </a:lnTo>
                <a:lnTo>
                  <a:pt x="504" y="342"/>
                </a:lnTo>
                <a:lnTo>
                  <a:pt x="493" y="338"/>
                </a:lnTo>
                <a:lnTo>
                  <a:pt x="493" y="338"/>
                </a:lnTo>
                <a:lnTo>
                  <a:pt x="482" y="333"/>
                </a:lnTo>
                <a:lnTo>
                  <a:pt x="466" y="322"/>
                </a:lnTo>
                <a:lnTo>
                  <a:pt x="448" y="309"/>
                </a:lnTo>
                <a:lnTo>
                  <a:pt x="429" y="291"/>
                </a:lnTo>
                <a:lnTo>
                  <a:pt x="429" y="291"/>
                </a:lnTo>
                <a:lnTo>
                  <a:pt x="406" y="261"/>
                </a:lnTo>
                <a:lnTo>
                  <a:pt x="389" y="241"/>
                </a:lnTo>
                <a:lnTo>
                  <a:pt x="389" y="241"/>
                </a:lnTo>
                <a:lnTo>
                  <a:pt x="398" y="245"/>
                </a:lnTo>
                <a:lnTo>
                  <a:pt x="406" y="245"/>
                </a:lnTo>
                <a:lnTo>
                  <a:pt x="415" y="245"/>
                </a:lnTo>
                <a:lnTo>
                  <a:pt x="415" y="245"/>
                </a:lnTo>
                <a:lnTo>
                  <a:pt x="417" y="229"/>
                </a:lnTo>
                <a:lnTo>
                  <a:pt x="417" y="212"/>
                </a:lnTo>
                <a:lnTo>
                  <a:pt x="417" y="212"/>
                </a:lnTo>
                <a:lnTo>
                  <a:pt x="417" y="198"/>
                </a:lnTo>
                <a:lnTo>
                  <a:pt x="417" y="198"/>
                </a:lnTo>
                <a:lnTo>
                  <a:pt x="411" y="198"/>
                </a:lnTo>
                <a:lnTo>
                  <a:pt x="398" y="194"/>
                </a:lnTo>
                <a:lnTo>
                  <a:pt x="393" y="192"/>
                </a:lnTo>
                <a:lnTo>
                  <a:pt x="386" y="188"/>
                </a:lnTo>
                <a:lnTo>
                  <a:pt x="380" y="185"/>
                </a:lnTo>
                <a:lnTo>
                  <a:pt x="376" y="179"/>
                </a:lnTo>
                <a:lnTo>
                  <a:pt x="376" y="179"/>
                </a:lnTo>
                <a:lnTo>
                  <a:pt x="382" y="181"/>
                </a:lnTo>
                <a:lnTo>
                  <a:pt x="387" y="183"/>
                </a:lnTo>
                <a:lnTo>
                  <a:pt x="395" y="185"/>
                </a:lnTo>
                <a:lnTo>
                  <a:pt x="395" y="185"/>
                </a:lnTo>
                <a:lnTo>
                  <a:pt x="411" y="183"/>
                </a:lnTo>
                <a:lnTo>
                  <a:pt x="418" y="183"/>
                </a:lnTo>
                <a:lnTo>
                  <a:pt x="418" y="183"/>
                </a:lnTo>
                <a:lnTo>
                  <a:pt x="420" y="166"/>
                </a:lnTo>
                <a:lnTo>
                  <a:pt x="420" y="152"/>
                </a:lnTo>
                <a:lnTo>
                  <a:pt x="420" y="152"/>
                </a:lnTo>
                <a:lnTo>
                  <a:pt x="420" y="137"/>
                </a:lnTo>
                <a:lnTo>
                  <a:pt x="420" y="137"/>
                </a:lnTo>
                <a:lnTo>
                  <a:pt x="409" y="137"/>
                </a:lnTo>
                <a:lnTo>
                  <a:pt x="396" y="135"/>
                </a:lnTo>
                <a:lnTo>
                  <a:pt x="396" y="135"/>
                </a:lnTo>
                <a:lnTo>
                  <a:pt x="384" y="130"/>
                </a:lnTo>
                <a:lnTo>
                  <a:pt x="378" y="126"/>
                </a:lnTo>
                <a:lnTo>
                  <a:pt x="375" y="121"/>
                </a:lnTo>
                <a:lnTo>
                  <a:pt x="375" y="121"/>
                </a:lnTo>
                <a:lnTo>
                  <a:pt x="380" y="123"/>
                </a:lnTo>
                <a:lnTo>
                  <a:pt x="395" y="126"/>
                </a:lnTo>
                <a:lnTo>
                  <a:pt x="395" y="126"/>
                </a:lnTo>
                <a:lnTo>
                  <a:pt x="404" y="126"/>
                </a:lnTo>
                <a:lnTo>
                  <a:pt x="413" y="124"/>
                </a:lnTo>
                <a:lnTo>
                  <a:pt x="420" y="124"/>
                </a:lnTo>
                <a:lnTo>
                  <a:pt x="422" y="123"/>
                </a:lnTo>
                <a:lnTo>
                  <a:pt x="422" y="123"/>
                </a:lnTo>
                <a:lnTo>
                  <a:pt x="422" y="93"/>
                </a:lnTo>
                <a:lnTo>
                  <a:pt x="422" y="93"/>
                </a:lnTo>
                <a:lnTo>
                  <a:pt x="424" y="86"/>
                </a:lnTo>
                <a:lnTo>
                  <a:pt x="424" y="77"/>
                </a:lnTo>
                <a:lnTo>
                  <a:pt x="424" y="77"/>
                </a:lnTo>
                <a:lnTo>
                  <a:pt x="418" y="77"/>
                </a:lnTo>
                <a:lnTo>
                  <a:pt x="407" y="75"/>
                </a:lnTo>
                <a:lnTo>
                  <a:pt x="395" y="70"/>
                </a:lnTo>
                <a:lnTo>
                  <a:pt x="389" y="66"/>
                </a:lnTo>
                <a:lnTo>
                  <a:pt x="382" y="60"/>
                </a:lnTo>
                <a:lnTo>
                  <a:pt x="382" y="60"/>
                </a:lnTo>
                <a:lnTo>
                  <a:pt x="380" y="57"/>
                </a:lnTo>
                <a:lnTo>
                  <a:pt x="380" y="53"/>
                </a:lnTo>
                <a:lnTo>
                  <a:pt x="382" y="46"/>
                </a:lnTo>
                <a:lnTo>
                  <a:pt x="382" y="46"/>
                </a:lnTo>
                <a:lnTo>
                  <a:pt x="349" y="31"/>
                </a:lnTo>
                <a:lnTo>
                  <a:pt x="349" y="31"/>
                </a:lnTo>
                <a:lnTo>
                  <a:pt x="353" y="28"/>
                </a:lnTo>
                <a:lnTo>
                  <a:pt x="356" y="22"/>
                </a:lnTo>
                <a:lnTo>
                  <a:pt x="356" y="18"/>
                </a:lnTo>
                <a:lnTo>
                  <a:pt x="356" y="18"/>
                </a:lnTo>
                <a:lnTo>
                  <a:pt x="354" y="13"/>
                </a:lnTo>
                <a:lnTo>
                  <a:pt x="349" y="9"/>
                </a:lnTo>
                <a:lnTo>
                  <a:pt x="343" y="8"/>
                </a:lnTo>
                <a:lnTo>
                  <a:pt x="336" y="8"/>
                </a:lnTo>
                <a:lnTo>
                  <a:pt x="336" y="8"/>
                </a:lnTo>
                <a:lnTo>
                  <a:pt x="329" y="9"/>
                </a:lnTo>
                <a:lnTo>
                  <a:pt x="325" y="13"/>
                </a:lnTo>
                <a:lnTo>
                  <a:pt x="320" y="18"/>
                </a:lnTo>
                <a:lnTo>
                  <a:pt x="280" y="0"/>
                </a:lnTo>
                <a:lnTo>
                  <a:pt x="247" y="33"/>
                </a:lnTo>
                <a:lnTo>
                  <a:pt x="247" y="33"/>
                </a:lnTo>
                <a:lnTo>
                  <a:pt x="245" y="35"/>
                </a:lnTo>
                <a:lnTo>
                  <a:pt x="245" y="39"/>
                </a:lnTo>
                <a:lnTo>
                  <a:pt x="245" y="42"/>
                </a:lnTo>
                <a:lnTo>
                  <a:pt x="245" y="42"/>
                </a:lnTo>
                <a:lnTo>
                  <a:pt x="245" y="44"/>
                </a:lnTo>
                <a:lnTo>
                  <a:pt x="243" y="46"/>
                </a:lnTo>
                <a:lnTo>
                  <a:pt x="243" y="46"/>
                </a:lnTo>
                <a:lnTo>
                  <a:pt x="234" y="57"/>
                </a:lnTo>
                <a:lnTo>
                  <a:pt x="234" y="57"/>
                </a:lnTo>
                <a:lnTo>
                  <a:pt x="228" y="66"/>
                </a:lnTo>
                <a:lnTo>
                  <a:pt x="228" y="66"/>
                </a:lnTo>
                <a:lnTo>
                  <a:pt x="225" y="73"/>
                </a:lnTo>
                <a:lnTo>
                  <a:pt x="223" y="79"/>
                </a:lnTo>
                <a:lnTo>
                  <a:pt x="223" y="79"/>
                </a:lnTo>
                <a:lnTo>
                  <a:pt x="221" y="81"/>
                </a:lnTo>
                <a:lnTo>
                  <a:pt x="221" y="84"/>
                </a:lnTo>
                <a:lnTo>
                  <a:pt x="225" y="92"/>
                </a:lnTo>
                <a:lnTo>
                  <a:pt x="234" y="99"/>
                </a:lnTo>
                <a:lnTo>
                  <a:pt x="234" y="101"/>
                </a:lnTo>
                <a:lnTo>
                  <a:pt x="234" y="101"/>
                </a:lnTo>
                <a:lnTo>
                  <a:pt x="236" y="99"/>
                </a:lnTo>
                <a:lnTo>
                  <a:pt x="238" y="99"/>
                </a:lnTo>
                <a:lnTo>
                  <a:pt x="238" y="99"/>
                </a:lnTo>
                <a:lnTo>
                  <a:pt x="243" y="104"/>
                </a:lnTo>
                <a:lnTo>
                  <a:pt x="243" y="104"/>
                </a:lnTo>
                <a:lnTo>
                  <a:pt x="245" y="101"/>
                </a:lnTo>
                <a:lnTo>
                  <a:pt x="248" y="95"/>
                </a:lnTo>
                <a:lnTo>
                  <a:pt x="248" y="95"/>
                </a:lnTo>
                <a:lnTo>
                  <a:pt x="254" y="88"/>
                </a:lnTo>
                <a:lnTo>
                  <a:pt x="261" y="82"/>
                </a:lnTo>
                <a:lnTo>
                  <a:pt x="261" y="82"/>
                </a:lnTo>
                <a:lnTo>
                  <a:pt x="269" y="79"/>
                </a:lnTo>
                <a:lnTo>
                  <a:pt x="276" y="79"/>
                </a:lnTo>
                <a:lnTo>
                  <a:pt x="276" y="79"/>
                </a:lnTo>
                <a:lnTo>
                  <a:pt x="283" y="79"/>
                </a:lnTo>
                <a:lnTo>
                  <a:pt x="289" y="82"/>
                </a:lnTo>
                <a:lnTo>
                  <a:pt x="289" y="82"/>
                </a:lnTo>
                <a:lnTo>
                  <a:pt x="292" y="88"/>
                </a:lnTo>
                <a:lnTo>
                  <a:pt x="294" y="95"/>
                </a:lnTo>
                <a:lnTo>
                  <a:pt x="294" y="103"/>
                </a:lnTo>
                <a:lnTo>
                  <a:pt x="294" y="108"/>
                </a:lnTo>
                <a:lnTo>
                  <a:pt x="294" y="108"/>
                </a:lnTo>
                <a:lnTo>
                  <a:pt x="290" y="104"/>
                </a:lnTo>
                <a:lnTo>
                  <a:pt x="290" y="104"/>
                </a:lnTo>
                <a:lnTo>
                  <a:pt x="285" y="103"/>
                </a:lnTo>
                <a:lnTo>
                  <a:pt x="276" y="101"/>
                </a:lnTo>
                <a:lnTo>
                  <a:pt x="265" y="101"/>
                </a:lnTo>
                <a:lnTo>
                  <a:pt x="254" y="103"/>
                </a:lnTo>
                <a:lnTo>
                  <a:pt x="254" y="103"/>
                </a:lnTo>
                <a:lnTo>
                  <a:pt x="241" y="108"/>
                </a:lnTo>
                <a:lnTo>
                  <a:pt x="219" y="115"/>
                </a:lnTo>
                <a:lnTo>
                  <a:pt x="219" y="115"/>
                </a:lnTo>
                <a:lnTo>
                  <a:pt x="214" y="117"/>
                </a:lnTo>
                <a:lnTo>
                  <a:pt x="208" y="117"/>
                </a:lnTo>
                <a:lnTo>
                  <a:pt x="205" y="113"/>
                </a:lnTo>
                <a:lnTo>
                  <a:pt x="203" y="110"/>
                </a:lnTo>
                <a:lnTo>
                  <a:pt x="203" y="110"/>
                </a:lnTo>
                <a:lnTo>
                  <a:pt x="203" y="104"/>
                </a:lnTo>
                <a:lnTo>
                  <a:pt x="203" y="101"/>
                </a:lnTo>
                <a:lnTo>
                  <a:pt x="205" y="97"/>
                </a:lnTo>
                <a:lnTo>
                  <a:pt x="205" y="97"/>
                </a:lnTo>
                <a:lnTo>
                  <a:pt x="199" y="101"/>
                </a:lnTo>
                <a:lnTo>
                  <a:pt x="194" y="104"/>
                </a:lnTo>
                <a:lnTo>
                  <a:pt x="190" y="110"/>
                </a:lnTo>
                <a:lnTo>
                  <a:pt x="190" y="110"/>
                </a:lnTo>
                <a:lnTo>
                  <a:pt x="190" y="117"/>
                </a:lnTo>
                <a:lnTo>
                  <a:pt x="192" y="124"/>
                </a:lnTo>
                <a:lnTo>
                  <a:pt x="195" y="128"/>
                </a:lnTo>
                <a:lnTo>
                  <a:pt x="201" y="132"/>
                </a:lnTo>
                <a:lnTo>
                  <a:pt x="201" y="132"/>
                </a:lnTo>
                <a:lnTo>
                  <a:pt x="208" y="132"/>
                </a:lnTo>
                <a:lnTo>
                  <a:pt x="217" y="130"/>
                </a:lnTo>
                <a:lnTo>
                  <a:pt x="234" y="123"/>
                </a:lnTo>
                <a:lnTo>
                  <a:pt x="234" y="123"/>
                </a:lnTo>
                <a:lnTo>
                  <a:pt x="250" y="113"/>
                </a:lnTo>
                <a:lnTo>
                  <a:pt x="250" y="113"/>
                </a:lnTo>
                <a:lnTo>
                  <a:pt x="258" y="112"/>
                </a:lnTo>
                <a:lnTo>
                  <a:pt x="263" y="110"/>
                </a:lnTo>
                <a:lnTo>
                  <a:pt x="270" y="112"/>
                </a:lnTo>
                <a:lnTo>
                  <a:pt x="278" y="113"/>
                </a:lnTo>
                <a:lnTo>
                  <a:pt x="278" y="113"/>
                </a:lnTo>
                <a:lnTo>
                  <a:pt x="285" y="119"/>
                </a:lnTo>
                <a:lnTo>
                  <a:pt x="289" y="121"/>
                </a:lnTo>
                <a:lnTo>
                  <a:pt x="289" y="121"/>
                </a:lnTo>
                <a:lnTo>
                  <a:pt x="285" y="126"/>
                </a:lnTo>
                <a:lnTo>
                  <a:pt x="281" y="130"/>
                </a:lnTo>
                <a:lnTo>
                  <a:pt x="274" y="130"/>
                </a:lnTo>
                <a:lnTo>
                  <a:pt x="274" y="130"/>
                </a:lnTo>
                <a:lnTo>
                  <a:pt x="267" y="130"/>
                </a:lnTo>
                <a:lnTo>
                  <a:pt x="261" y="128"/>
                </a:lnTo>
                <a:lnTo>
                  <a:pt x="256" y="124"/>
                </a:lnTo>
                <a:lnTo>
                  <a:pt x="254" y="121"/>
                </a:lnTo>
                <a:lnTo>
                  <a:pt x="254" y="121"/>
                </a:lnTo>
                <a:lnTo>
                  <a:pt x="250" y="128"/>
                </a:lnTo>
                <a:lnTo>
                  <a:pt x="250" y="128"/>
                </a:lnTo>
                <a:lnTo>
                  <a:pt x="248" y="132"/>
                </a:lnTo>
                <a:lnTo>
                  <a:pt x="248" y="135"/>
                </a:lnTo>
                <a:lnTo>
                  <a:pt x="250" y="137"/>
                </a:lnTo>
                <a:lnTo>
                  <a:pt x="248" y="141"/>
                </a:lnTo>
                <a:lnTo>
                  <a:pt x="248" y="141"/>
                </a:lnTo>
                <a:lnTo>
                  <a:pt x="247" y="143"/>
                </a:lnTo>
                <a:lnTo>
                  <a:pt x="245" y="146"/>
                </a:lnTo>
                <a:lnTo>
                  <a:pt x="238" y="152"/>
                </a:lnTo>
                <a:lnTo>
                  <a:pt x="238" y="152"/>
                </a:lnTo>
                <a:lnTo>
                  <a:pt x="227" y="157"/>
                </a:lnTo>
                <a:lnTo>
                  <a:pt x="219" y="159"/>
                </a:lnTo>
                <a:lnTo>
                  <a:pt x="219" y="159"/>
                </a:lnTo>
                <a:lnTo>
                  <a:pt x="227" y="176"/>
                </a:lnTo>
                <a:lnTo>
                  <a:pt x="227" y="176"/>
                </a:lnTo>
                <a:lnTo>
                  <a:pt x="232" y="187"/>
                </a:lnTo>
                <a:lnTo>
                  <a:pt x="236" y="194"/>
                </a:lnTo>
                <a:lnTo>
                  <a:pt x="239" y="199"/>
                </a:lnTo>
                <a:lnTo>
                  <a:pt x="239" y="199"/>
                </a:lnTo>
                <a:lnTo>
                  <a:pt x="247" y="198"/>
                </a:lnTo>
                <a:lnTo>
                  <a:pt x="259" y="192"/>
                </a:lnTo>
                <a:lnTo>
                  <a:pt x="259" y="192"/>
                </a:lnTo>
                <a:lnTo>
                  <a:pt x="269" y="185"/>
                </a:lnTo>
                <a:lnTo>
                  <a:pt x="274" y="177"/>
                </a:lnTo>
                <a:lnTo>
                  <a:pt x="274" y="177"/>
                </a:lnTo>
                <a:lnTo>
                  <a:pt x="267" y="194"/>
                </a:lnTo>
                <a:lnTo>
                  <a:pt x="261" y="203"/>
                </a:lnTo>
                <a:lnTo>
                  <a:pt x="254" y="210"/>
                </a:lnTo>
                <a:lnTo>
                  <a:pt x="248" y="216"/>
                </a:lnTo>
                <a:lnTo>
                  <a:pt x="248" y="216"/>
                </a:lnTo>
                <a:lnTo>
                  <a:pt x="225" y="232"/>
                </a:lnTo>
                <a:lnTo>
                  <a:pt x="192" y="250"/>
                </a:lnTo>
                <a:lnTo>
                  <a:pt x="172" y="261"/>
                </a:lnTo>
                <a:lnTo>
                  <a:pt x="153" y="269"/>
                </a:lnTo>
                <a:lnTo>
                  <a:pt x="133" y="276"/>
                </a:lnTo>
                <a:lnTo>
                  <a:pt x="113" y="280"/>
                </a:lnTo>
                <a:lnTo>
                  <a:pt x="113" y="280"/>
                </a:lnTo>
                <a:lnTo>
                  <a:pt x="108" y="278"/>
                </a:lnTo>
                <a:lnTo>
                  <a:pt x="100" y="276"/>
                </a:lnTo>
                <a:lnTo>
                  <a:pt x="88" y="267"/>
                </a:lnTo>
                <a:lnTo>
                  <a:pt x="75" y="258"/>
                </a:lnTo>
                <a:lnTo>
                  <a:pt x="68" y="249"/>
                </a:lnTo>
                <a:lnTo>
                  <a:pt x="68" y="249"/>
                </a:lnTo>
                <a:lnTo>
                  <a:pt x="66" y="249"/>
                </a:lnTo>
                <a:lnTo>
                  <a:pt x="62" y="247"/>
                </a:lnTo>
                <a:lnTo>
                  <a:pt x="58" y="249"/>
                </a:lnTo>
                <a:lnTo>
                  <a:pt x="53" y="252"/>
                </a:lnTo>
                <a:lnTo>
                  <a:pt x="53" y="252"/>
                </a:lnTo>
                <a:lnTo>
                  <a:pt x="49" y="252"/>
                </a:lnTo>
                <a:lnTo>
                  <a:pt x="42" y="252"/>
                </a:lnTo>
                <a:lnTo>
                  <a:pt x="31" y="254"/>
                </a:lnTo>
                <a:lnTo>
                  <a:pt x="27" y="258"/>
                </a:lnTo>
                <a:lnTo>
                  <a:pt x="24" y="261"/>
                </a:lnTo>
                <a:lnTo>
                  <a:pt x="24" y="261"/>
                </a:lnTo>
                <a:lnTo>
                  <a:pt x="24" y="263"/>
                </a:lnTo>
                <a:lnTo>
                  <a:pt x="29" y="263"/>
                </a:lnTo>
                <a:lnTo>
                  <a:pt x="35" y="261"/>
                </a:lnTo>
                <a:lnTo>
                  <a:pt x="42" y="263"/>
                </a:lnTo>
                <a:lnTo>
                  <a:pt x="42" y="263"/>
                </a:lnTo>
                <a:lnTo>
                  <a:pt x="44" y="265"/>
                </a:lnTo>
                <a:lnTo>
                  <a:pt x="42" y="267"/>
                </a:lnTo>
                <a:lnTo>
                  <a:pt x="40" y="269"/>
                </a:lnTo>
                <a:lnTo>
                  <a:pt x="40" y="272"/>
                </a:lnTo>
                <a:lnTo>
                  <a:pt x="40" y="272"/>
                </a:lnTo>
                <a:lnTo>
                  <a:pt x="40" y="274"/>
                </a:lnTo>
                <a:lnTo>
                  <a:pt x="44" y="278"/>
                </a:lnTo>
                <a:lnTo>
                  <a:pt x="53" y="282"/>
                </a:lnTo>
                <a:lnTo>
                  <a:pt x="71" y="289"/>
                </a:lnTo>
                <a:lnTo>
                  <a:pt x="71" y="289"/>
                </a:lnTo>
                <a:lnTo>
                  <a:pt x="73" y="291"/>
                </a:lnTo>
                <a:lnTo>
                  <a:pt x="73" y="293"/>
                </a:lnTo>
                <a:lnTo>
                  <a:pt x="73" y="293"/>
                </a:lnTo>
                <a:lnTo>
                  <a:pt x="60" y="291"/>
                </a:lnTo>
                <a:lnTo>
                  <a:pt x="51" y="287"/>
                </a:lnTo>
                <a:lnTo>
                  <a:pt x="38" y="282"/>
                </a:lnTo>
                <a:lnTo>
                  <a:pt x="38" y="282"/>
                </a:lnTo>
                <a:lnTo>
                  <a:pt x="29" y="280"/>
                </a:lnTo>
                <a:lnTo>
                  <a:pt x="24" y="280"/>
                </a:lnTo>
                <a:lnTo>
                  <a:pt x="22" y="283"/>
                </a:lnTo>
                <a:lnTo>
                  <a:pt x="20" y="287"/>
                </a:lnTo>
                <a:lnTo>
                  <a:pt x="20" y="287"/>
                </a:lnTo>
                <a:lnTo>
                  <a:pt x="18" y="289"/>
                </a:lnTo>
                <a:lnTo>
                  <a:pt x="16" y="289"/>
                </a:lnTo>
                <a:lnTo>
                  <a:pt x="11" y="293"/>
                </a:lnTo>
                <a:lnTo>
                  <a:pt x="7" y="294"/>
                </a:lnTo>
                <a:lnTo>
                  <a:pt x="4" y="300"/>
                </a:lnTo>
                <a:lnTo>
                  <a:pt x="2" y="305"/>
                </a:lnTo>
                <a:lnTo>
                  <a:pt x="0" y="314"/>
                </a:lnTo>
                <a:lnTo>
                  <a:pt x="0" y="314"/>
                </a:lnTo>
                <a:lnTo>
                  <a:pt x="4" y="313"/>
                </a:lnTo>
                <a:lnTo>
                  <a:pt x="9" y="307"/>
                </a:lnTo>
                <a:lnTo>
                  <a:pt x="15" y="303"/>
                </a:lnTo>
                <a:lnTo>
                  <a:pt x="18" y="302"/>
                </a:lnTo>
                <a:lnTo>
                  <a:pt x="18" y="303"/>
                </a:lnTo>
                <a:lnTo>
                  <a:pt x="18" y="303"/>
                </a:lnTo>
                <a:lnTo>
                  <a:pt x="22" y="311"/>
                </a:lnTo>
                <a:lnTo>
                  <a:pt x="27" y="314"/>
                </a:lnTo>
                <a:lnTo>
                  <a:pt x="35" y="314"/>
                </a:lnTo>
                <a:lnTo>
                  <a:pt x="42" y="314"/>
                </a:lnTo>
                <a:lnTo>
                  <a:pt x="58" y="313"/>
                </a:lnTo>
                <a:lnTo>
                  <a:pt x="66" y="313"/>
                </a:lnTo>
                <a:lnTo>
                  <a:pt x="69" y="313"/>
                </a:lnTo>
                <a:lnTo>
                  <a:pt x="69" y="313"/>
                </a:lnTo>
                <a:lnTo>
                  <a:pt x="69" y="314"/>
                </a:lnTo>
                <a:lnTo>
                  <a:pt x="69" y="314"/>
                </a:lnTo>
                <a:lnTo>
                  <a:pt x="66" y="316"/>
                </a:lnTo>
                <a:lnTo>
                  <a:pt x="53" y="318"/>
                </a:lnTo>
                <a:lnTo>
                  <a:pt x="46" y="320"/>
                </a:lnTo>
                <a:lnTo>
                  <a:pt x="38" y="324"/>
                </a:lnTo>
                <a:lnTo>
                  <a:pt x="37" y="325"/>
                </a:lnTo>
                <a:lnTo>
                  <a:pt x="35" y="329"/>
                </a:lnTo>
                <a:lnTo>
                  <a:pt x="37" y="331"/>
                </a:lnTo>
                <a:lnTo>
                  <a:pt x="37" y="331"/>
                </a:lnTo>
                <a:lnTo>
                  <a:pt x="33" y="335"/>
                </a:lnTo>
                <a:lnTo>
                  <a:pt x="29" y="342"/>
                </a:lnTo>
                <a:lnTo>
                  <a:pt x="27" y="345"/>
                </a:lnTo>
                <a:lnTo>
                  <a:pt x="27" y="351"/>
                </a:lnTo>
                <a:lnTo>
                  <a:pt x="29" y="356"/>
                </a:lnTo>
                <a:lnTo>
                  <a:pt x="35" y="364"/>
                </a:lnTo>
                <a:lnTo>
                  <a:pt x="35" y="364"/>
                </a:lnTo>
                <a:lnTo>
                  <a:pt x="37" y="353"/>
                </a:lnTo>
                <a:lnTo>
                  <a:pt x="40" y="347"/>
                </a:lnTo>
                <a:lnTo>
                  <a:pt x="42" y="345"/>
                </a:lnTo>
                <a:lnTo>
                  <a:pt x="46" y="345"/>
                </a:lnTo>
                <a:lnTo>
                  <a:pt x="46" y="345"/>
                </a:lnTo>
                <a:lnTo>
                  <a:pt x="53" y="345"/>
                </a:lnTo>
                <a:lnTo>
                  <a:pt x="58" y="349"/>
                </a:lnTo>
                <a:lnTo>
                  <a:pt x="64" y="349"/>
                </a:lnTo>
                <a:lnTo>
                  <a:pt x="71" y="345"/>
                </a:lnTo>
                <a:lnTo>
                  <a:pt x="71" y="345"/>
                </a:lnTo>
                <a:lnTo>
                  <a:pt x="79" y="340"/>
                </a:lnTo>
                <a:lnTo>
                  <a:pt x="84" y="336"/>
                </a:lnTo>
                <a:lnTo>
                  <a:pt x="95" y="333"/>
                </a:lnTo>
                <a:lnTo>
                  <a:pt x="95" y="333"/>
                </a:lnTo>
                <a:lnTo>
                  <a:pt x="95" y="336"/>
                </a:lnTo>
                <a:lnTo>
                  <a:pt x="99" y="342"/>
                </a:lnTo>
                <a:lnTo>
                  <a:pt x="99" y="342"/>
                </a:lnTo>
                <a:lnTo>
                  <a:pt x="102" y="344"/>
                </a:lnTo>
                <a:lnTo>
                  <a:pt x="104" y="345"/>
                </a:lnTo>
                <a:lnTo>
                  <a:pt x="104" y="345"/>
                </a:lnTo>
                <a:lnTo>
                  <a:pt x="104" y="345"/>
                </a:lnTo>
                <a:lnTo>
                  <a:pt x="102" y="351"/>
                </a:lnTo>
                <a:lnTo>
                  <a:pt x="99" y="356"/>
                </a:lnTo>
                <a:lnTo>
                  <a:pt x="95" y="360"/>
                </a:lnTo>
                <a:lnTo>
                  <a:pt x="95" y="360"/>
                </a:lnTo>
                <a:lnTo>
                  <a:pt x="97" y="360"/>
                </a:lnTo>
                <a:lnTo>
                  <a:pt x="102" y="360"/>
                </a:lnTo>
                <a:lnTo>
                  <a:pt x="108" y="358"/>
                </a:lnTo>
                <a:lnTo>
                  <a:pt x="111" y="355"/>
                </a:lnTo>
                <a:lnTo>
                  <a:pt x="115" y="349"/>
                </a:lnTo>
                <a:lnTo>
                  <a:pt x="115" y="349"/>
                </a:lnTo>
                <a:lnTo>
                  <a:pt x="117" y="347"/>
                </a:lnTo>
                <a:lnTo>
                  <a:pt x="119" y="347"/>
                </a:lnTo>
                <a:lnTo>
                  <a:pt x="124" y="347"/>
                </a:lnTo>
                <a:lnTo>
                  <a:pt x="124" y="347"/>
                </a:lnTo>
                <a:lnTo>
                  <a:pt x="128" y="345"/>
                </a:lnTo>
                <a:lnTo>
                  <a:pt x="130" y="344"/>
                </a:lnTo>
                <a:lnTo>
                  <a:pt x="130" y="338"/>
                </a:lnTo>
                <a:lnTo>
                  <a:pt x="130" y="333"/>
                </a:lnTo>
                <a:lnTo>
                  <a:pt x="130" y="329"/>
                </a:lnTo>
                <a:lnTo>
                  <a:pt x="132" y="327"/>
                </a:lnTo>
                <a:lnTo>
                  <a:pt x="132" y="327"/>
                </a:lnTo>
                <a:lnTo>
                  <a:pt x="139" y="322"/>
                </a:lnTo>
                <a:lnTo>
                  <a:pt x="146" y="316"/>
                </a:lnTo>
                <a:lnTo>
                  <a:pt x="163" y="309"/>
                </a:lnTo>
                <a:lnTo>
                  <a:pt x="163" y="309"/>
                </a:lnTo>
                <a:lnTo>
                  <a:pt x="161" y="316"/>
                </a:lnTo>
                <a:lnTo>
                  <a:pt x="161" y="324"/>
                </a:lnTo>
                <a:lnTo>
                  <a:pt x="164" y="333"/>
                </a:lnTo>
                <a:lnTo>
                  <a:pt x="205" y="322"/>
                </a:lnTo>
                <a:lnTo>
                  <a:pt x="205" y="322"/>
                </a:lnTo>
                <a:lnTo>
                  <a:pt x="203" y="313"/>
                </a:lnTo>
                <a:lnTo>
                  <a:pt x="205" y="305"/>
                </a:lnTo>
                <a:lnTo>
                  <a:pt x="210" y="296"/>
                </a:lnTo>
                <a:lnTo>
                  <a:pt x="216" y="287"/>
                </a:lnTo>
                <a:lnTo>
                  <a:pt x="216" y="287"/>
                </a:lnTo>
                <a:lnTo>
                  <a:pt x="216" y="291"/>
                </a:lnTo>
                <a:lnTo>
                  <a:pt x="214" y="300"/>
                </a:lnTo>
                <a:lnTo>
                  <a:pt x="214" y="311"/>
                </a:lnTo>
                <a:lnTo>
                  <a:pt x="214" y="316"/>
                </a:lnTo>
                <a:lnTo>
                  <a:pt x="216" y="318"/>
                </a:lnTo>
                <a:lnTo>
                  <a:pt x="256" y="309"/>
                </a:lnTo>
                <a:lnTo>
                  <a:pt x="256" y="309"/>
                </a:lnTo>
                <a:lnTo>
                  <a:pt x="254" y="303"/>
                </a:lnTo>
                <a:lnTo>
                  <a:pt x="254" y="296"/>
                </a:lnTo>
                <a:lnTo>
                  <a:pt x="258" y="283"/>
                </a:lnTo>
                <a:lnTo>
                  <a:pt x="258" y="283"/>
                </a:lnTo>
                <a:lnTo>
                  <a:pt x="261" y="298"/>
                </a:lnTo>
                <a:lnTo>
                  <a:pt x="269" y="311"/>
                </a:lnTo>
                <a:lnTo>
                  <a:pt x="278" y="322"/>
                </a:lnTo>
                <a:lnTo>
                  <a:pt x="283" y="325"/>
                </a:lnTo>
                <a:lnTo>
                  <a:pt x="289" y="329"/>
                </a:lnTo>
                <a:lnTo>
                  <a:pt x="289" y="329"/>
                </a:lnTo>
                <a:lnTo>
                  <a:pt x="311" y="338"/>
                </a:lnTo>
                <a:lnTo>
                  <a:pt x="334" y="345"/>
                </a:lnTo>
                <a:lnTo>
                  <a:pt x="391" y="362"/>
                </a:lnTo>
                <a:lnTo>
                  <a:pt x="391" y="362"/>
                </a:lnTo>
                <a:lnTo>
                  <a:pt x="407" y="367"/>
                </a:lnTo>
                <a:lnTo>
                  <a:pt x="420" y="373"/>
                </a:lnTo>
                <a:lnTo>
                  <a:pt x="420" y="373"/>
                </a:lnTo>
                <a:lnTo>
                  <a:pt x="424" y="375"/>
                </a:lnTo>
                <a:lnTo>
                  <a:pt x="424" y="377"/>
                </a:lnTo>
                <a:lnTo>
                  <a:pt x="422" y="382"/>
                </a:lnTo>
                <a:lnTo>
                  <a:pt x="417" y="386"/>
                </a:lnTo>
                <a:lnTo>
                  <a:pt x="417" y="386"/>
                </a:lnTo>
                <a:lnTo>
                  <a:pt x="424" y="391"/>
                </a:lnTo>
                <a:lnTo>
                  <a:pt x="438" y="400"/>
                </a:lnTo>
                <a:lnTo>
                  <a:pt x="438" y="400"/>
                </a:lnTo>
                <a:lnTo>
                  <a:pt x="448" y="409"/>
                </a:lnTo>
                <a:lnTo>
                  <a:pt x="453" y="420"/>
                </a:lnTo>
                <a:lnTo>
                  <a:pt x="459" y="435"/>
                </a:lnTo>
                <a:lnTo>
                  <a:pt x="462" y="450"/>
                </a:lnTo>
                <a:lnTo>
                  <a:pt x="462" y="450"/>
                </a:lnTo>
                <a:lnTo>
                  <a:pt x="466" y="462"/>
                </a:lnTo>
                <a:lnTo>
                  <a:pt x="466" y="475"/>
                </a:lnTo>
                <a:lnTo>
                  <a:pt x="466" y="486"/>
                </a:lnTo>
                <a:lnTo>
                  <a:pt x="466" y="492"/>
                </a:lnTo>
                <a:lnTo>
                  <a:pt x="464" y="493"/>
                </a:lnTo>
                <a:lnTo>
                  <a:pt x="464" y="493"/>
                </a:lnTo>
                <a:lnTo>
                  <a:pt x="460" y="497"/>
                </a:lnTo>
                <a:lnTo>
                  <a:pt x="457" y="499"/>
                </a:lnTo>
                <a:lnTo>
                  <a:pt x="451" y="501"/>
                </a:lnTo>
                <a:lnTo>
                  <a:pt x="440" y="504"/>
                </a:lnTo>
                <a:lnTo>
                  <a:pt x="444" y="519"/>
                </a:lnTo>
                <a:lnTo>
                  <a:pt x="444" y="519"/>
                </a:lnTo>
                <a:lnTo>
                  <a:pt x="451" y="519"/>
                </a:lnTo>
                <a:lnTo>
                  <a:pt x="459" y="517"/>
                </a:lnTo>
                <a:lnTo>
                  <a:pt x="466" y="515"/>
                </a:lnTo>
                <a:lnTo>
                  <a:pt x="466" y="515"/>
                </a:lnTo>
                <a:lnTo>
                  <a:pt x="464" y="517"/>
                </a:lnTo>
                <a:lnTo>
                  <a:pt x="464" y="517"/>
                </a:lnTo>
                <a:lnTo>
                  <a:pt x="459" y="526"/>
                </a:lnTo>
                <a:lnTo>
                  <a:pt x="457" y="534"/>
                </a:lnTo>
                <a:lnTo>
                  <a:pt x="473" y="545"/>
                </a:lnTo>
                <a:lnTo>
                  <a:pt x="473" y="545"/>
                </a:lnTo>
                <a:lnTo>
                  <a:pt x="481" y="526"/>
                </a:lnTo>
                <a:lnTo>
                  <a:pt x="484" y="521"/>
                </a:lnTo>
                <a:lnTo>
                  <a:pt x="488" y="517"/>
                </a:lnTo>
                <a:lnTo>
                  <a:pt x="488" y="517"/>
                </a:lnTo>
                <a:lnTo>
                  <a:pt x="491" y="517"/>
                </a:lnTo>
                <a:lnTo>
                  <a:pt x="497" y="519"/>
                </a:lnTo>
                <a:lnTo>
                  <a:pt x="504" y="523"/>
                </a:lnTo>
                <a:lnTo>
                  <a:pt x="512" y="526"/>
                </a:lnTo>
                <a:lnTo>
                  <a:pt x="521" y="534"/>
                </a:lnTo>
                <a:lnTo>
                  <a:pt x="528" y="543"/>
                </a:lnTo>
                <a:lnTo>
                  <a:pt x="535" y="552"/>
                </a:lnTo>
                <a:lnTo>
                  <a:pt x="541" y="563"/>
                </a:lnTo>
                <a:lnTo>
                  <a:pt x="541" y="563"/>
                </a:lnTo>
                <a:lnTo>
                  <a:pt x="543" y="572"/>
                </a:lnTo>
                <a:lnTo>
                  <a:pt x="544" y="581"/>
                </a:lnTo>
                <a:lnTo>
                  <a:pt x="544" y="590"/>
                </a:lnTo>
                <a:lnTo>
                  <a:pt x="543" y="601"/>
                </a:lnTo>
                <a:lnTo>
                  <a:pt x="541" y="610"/>
                </a:lnTo>
                <a:lnTo>
                  <a:pt x="537" y="618"/>
                </a:lnTo>
                <a:lnTo>
                  <a:pt x="532" y="623"/>
                </a:lnTo>
                <a:lnTo>
                  <a:pt x="526" y="627"/>
                </a:lnTo>
                <a:lnTo>
                  <a:pt x="526" y="627"/>
                </a:lnTo>
                <a:lnTo>
                  <a:pt x="521" y="627"/>
                </a:lnTo>
                <a:lnTo>
                  <a:pt x="517" y="625"/>
                </a:lnTo>
                <a:lnTo>
                  <a:pt x="504" y="620"/>
                </a:lnTo>
                <a:lnTo>
                  <a:pt x="493" y="614"/>
                </a:lnTo>
                <a:lnTo>
                  <a:pt x="490" y="614"/>
                </a:lnTo>
                <a:lnTo>
                  <a:pt x="486" y="618"/>
                </a:lnTo>
                <a:lnTo>
                  <a:pt x="486" y="618"/>
                </a:lnTo>
                <a:lnTo>
                  <a:pt x="484" y="620"/>
                </a:lnTo>
                <a:lnTo>
                  <a:pt x="479" y="623"/>
                </a:lnTo>
                <a:lnTo>
                  <a:pt x="470" y="629"/>
                </a:lnTo>
                <a:lnTo>
                  <a:pt x="466" y="632"/>
                </a:lnTo>
                <a:lnTo>
                  <a:pt x="462" y="638"/>
                </a:lnTo>
                <a:lnTo>
                  <a:pt x="462" y="645"/>
                </a:lnTo>
                <a:lnTo>
                  <a:pt x="464" y="654"/>
                </a:lnTo>
                <a:lnTo>
                  <a:pt x="464" y="654"/>
                </a:lnTo>
                <a:lnTo>
                  <a:pt x="473" y="645"/>
                </a:lnTo>
                <a:lnTo>
                  <a:pt x="477" y="641"/>
                </a:lnTo>
                <a:lnTo>
                  <a:pt x="481" y="641"/>
                </a:lnTo>
                <a:lnTo>
                  <a:pt x="481" y="641"/>
                </a:lnTo>
                <a:lnTo>
                  <a:pt x="482" y="643"/>
                </a:lnTo>
                <a:lnTo>
                  <a:pt x="482" y="645"/>
                </a:lnTo>
                <a:lnTo>
                  <a:pt x="486" y="649"/>
                </a:lnTo>
                <a:lnTo>
                  <a:pt x="486" y="649"/>
                </a:lnTo>
                <a:lnTo>
                  <a:pt x="488" y="651"/>
                </a:lnTo>
                <a:lnTo>
                  <a:pt x="491" y="651"/>
                </a:lnTo>
                <a:lnTo>
                  <a:pt x="502" y="651"/>
                </a:lnTo>
                <a:lnTo>
                  <a:pt x="512" y="649"/>
                </a:lnTo>
                <a:lnTo>
                  <a:pt x="515" y="649"/>
                </a:lnTo>
                <a:lnTo>
                  <a:pt x="517" y="651"/>
                </a:lnTo>
                <a:lnTo>
                  <a:pt x="517" y="651"/>
                </a:lnTo>
                <a:lnTo>
                  <a:pt x="517" y="652"/>
                </a:lnTo>
                <a:lnTo>
                  <a:pt x="515" y="652"/>
                </a:lnTo>
                <a:lnTo>
                  <a:pt x="510" y="652"/>
                </a:lnTo>
                <a:lnTo>
                  <a:pt x="510" y="652"/>
                </a:lnTo>
                <a:lnTo>
                  <a:pt x="491" y="656"/>
                </a:lnTo>
                <a:lnTo>
                  <a:pt x="484" y="660"/>
                </a:lnTo>
                <a:lnTo>
                  <a:pt x="479" y="663"/>
                </a:lnTo>
                <a:lnTo>
                  <a:pt x="479" y="663"/>
                </a:lnTo>
                <a:lnTo>
                  <a:pt x="479" y="665"/>
                </a:lnTo>
                <a:lnTo>
                  <a:pt x="479" y="669"/>
                </a:lnTo>
                <a:lnTo>
                  <a:pt x="479" y="669"/>
                </a:lnTo>
                <a:lnTo>
                  <a:pt x="475" y="674"/>
                </a:lnTo>
                <a:lnTo>
                  <a:pt x="470" y="678"/>
                </a:lnTo>
                <a:lnTo>
                  <a:pt x="466" y="683"/>
                </a:lnTo>
                <a:lnTo>
                  <a:pt x="464" y="689"/>
                </a:lnTo>
                <a:lnTo>
                  <a:pt x="464" y="694"/>
                </a:lnTo>
                <a:lnTo>
                  <a:pt x="464" y="694"/>
                </a:lnTo>
                <a:lnTo>
                  <a:pt x="466" y="702"/>
                </a:lnTo>
                <a:lnTo>
                  <a:pt x="470" y="705"/>
                </a:lnTo>
                <a:lnTo>
                  <a:pt x="475" y="711"/>
                </a:lnTo>
                <a:lnTo>
                  <a:pt x="475" y="711"/>
                </a:lnTo>
                <a:lnTo>
                  <a:pt x="475" y="707"/>
                </a:lnTo>
                <a:lnTo>
                  <a:pt x="477" y="702"/>
                </a:lnTo>
                <a:lnTo>
                  <a:pt x="479" y="694"/>
                </a:lnTo>
                <a:lnTo>
                  <a:pt x="479" y="691"/>
                </a:lnTo>
                <a:lnTo>
                  <a:pt x="482" y="691"/>
                </a:lnTo>
                <a:lnTo>
                  <a:pt x="482" y="691"/>
                </a:lnTo>
                <a:lnTo>
                  <a:pt x="484" y="691"/>
                </a:lnTo>
                <a:lnTo>
                  <a:pt x="488" y="693"/>
                </a:lnTo>
                <a:lnTo>
                  <a:pt x="490" y="696"/>
                </a:lnTo>
                <a:lnTo>
                  <a:pt x="493" y="696"/>
                </a:lnTo>
                <a:lnTo>
                  <a:pt x="493" y="696"/>
                </a:lnTo>
                <a:lnTo>
                  <a:pt x="497" y="696"/>
                </a:lnTo>
                <a:lnTo>
                  <a:pt x="502" y="693"/>
                </a:lnTo>
                <a:lnTo>
                  <a:pt x="513" y="682"/>
                </a:lnTo>
                <a:lnTo>
                  <a:pt x="524" y="672"/>
                </a:lnTo>
                <a:lnTo>
                  <a:pt x="528" y="669"/>
                </a:lnTo>
                <a:lnTo>
                  <a:pt x="532" y="669"/>
                </a:lnTo>
                <a:lnTo>
                  <a:pt x="532" y="669"/>
                </a:lnTo>
                <a:lnTo>
                  <a:pt x="533" y="671"/>
                </a:lnTo>
                <a:lnTo>
                  <a:pt x="532" y="672"/>
                </a:lnTo>
                <a:lnTo>
                  <a:pt x="524" y="678"/>
                </a:lnTo>
                <a:lnTo>
                  <a:pt x="517" y="685"/>
                </a:lnTo>
                <a:lnTo>
                  <a:pt x="513" y="689"/>
                </a:lnTo>
                <a:lnTo>
                  <a:pt x="512" y="694"/>
                </a:lnTo>
                <a:lnTo>
                  <a:pt x="512" y="694"/>
                </a:lnTo>
                <a:lnTo>
                  <a:pt x="513" y="700"/>
                </a:lnTo>
                <a:lnTo>
                  <a:pt x="515" y="704"/>
                </a:lnTo>
                <a:lnTo>
                  <a:pt x="519" y="707"/>
                </a:lnTo>
                <a:lnTo>
                  <a:pt x="521" y="711"/>
                </a:lnTo>
                <a:lnTo>
                  <a:pt x="521" y="711"/>
                </a:lnTo>
                <a:lnTo>
                  <a:pt x="523" y="715"/>
                </a:lnTo>
                <a:lnTo>
                  <a:pt x="526" y="720"/>
                </a:lnTo>
                <a:lnTo>
                  <a:pt x="530" y="724"/>
                </a:lnTo>
                <a:lnTo>
                  <a:pt x="535" y="725"/>
                </a:lnTo>
                <a:lnTo>
                  <a:pt x="546" y="729"/>
                </a:lnTo>
                <a:lnTo>
                  <a:pt x="552" y="729"/>
                </a:lnTo>
                <a:lnTo>
                  <a:pt x="552" y="729"/>
                </a:lnTo>
                <a:lnTo>
                  <a:pt x="550" y="725"/>
                </a:lnTo>
                <a:lnTo>
                  <a:pt x="544" y="720"/>
                </a:lnTo>
                <a:lnTo>
                  <a:pt x="539" y="713"/>
                </a:lnTo>
                <a:lnTo>
                  <a:pt x="539" y="711"/>
                </a:lnTo>
                <a:lnTo>
                  <a:pt x="539" y="707"/>
                </a:lnTo>
                <a:lnTo>
                  <a:pt x="539" y="707"/>
                </a:lnTo>
                <a:lnTo>
                  <a:pt x="541" y="705"/>
                </a:lnTo>
                <a:lnTo>
                  <a:pt x="544" y="707"/>
                </a:lnTo>
                <a:lnTo>
                  <a:pt x="548" y="707"/>
                </a:lnTo>
                <a:lnTo>
                  <a:pt x="552" y="705"/>
                </a:lnTo>
                <a:lnTo>
                  <a:pt x="552" y="705"/>
                </a:lnTo>
                <a:lnTo>
                  <a:pt x="552" y="702"/>
                </a:lnTo>
                <a:lnTo>
                  <a:pt x="552" y="691"/>
                </a:lnTo>
                <a:lnTo>
                  <a:pt x="552" y="685"/>
                </a:lnTo>
                <a:lnTo>
                  <a:pt x="554" y="678"/>
                </a:lnTo>
                <a:lnTo>
                  <a:pt x="559" y="671"/>
                </a:lnTo>
                <a:lnTo>
                  <a:pt x="566" y="662"/>
                </a:lnTo>
                <a:lnTo>
                  <a:pt x="566" y="662"/>
                </a:lnTo>
                <a:lnTo>
                  <a:pt x="570" y="667"/>
                </a:lnTo>
                <a:lnTo>
                  <a:pt x="574" y="669"/>
                </a:lnTo>
                <a:lnTo>
                  <a:pt x="581" y="671"/>
                </a:lnTo>
                <a:lnTo>
                  <a:pt x="581" y="671"/>
                </a:lnTo>
                <a:lnTo>
                  <a:pt x="583" y="672"/>
                </a:lnTo>
                <a:lnTo>
                  <a:pt x="585" y="674"/>
                </a:lnTo>
                <a:lnTo>
                  <a:pt x="585" y="682"/>
                </a:lnTo>
                <a:lnTo>
                  <a:pt x="585" y="691"/>
                </a:lnTo>
                <a:lnTo>
                  <a:pt x="585" y="691"/>
                </a:lnTo>
                <a:lnTo>
                  <a:pt x="586" y="689"/>
                </a:lnTo>
                <a:lnTo>
                  <a:pt x="590" y="683"/>
                </a:lnTo>
                <a:lnTo>
                  <a:pt x="594" y="674"/>
                </a:lnTo>
                <a:lnTo>
                  <a:pt x="594" y="663"/>
                </a:lnTo>
                <a:lnTo>
                  <a:pt x="594" y="663"/>
                </a:lnTo>
                <a:lnTo>
                  <a:pt x="597" y="662"/>
                </a:lnTo>
                <a:lnTo>
                  <a:pt x="601" y="654"/>
                </a:lnTo>
                <a:lnTo>
                  <a:pt x="601" y="654"/>
                </a:lnTo>
                <a:lnTo>
                  <a:pt x="603" y="651"/>
                </a:lnTo>
                <a:lnTo>
                  <a:pt x="601" y="649"/>
                </a:lnTo>
                <a:lnTo>
                  <a:pt x="596" y="643"/>
                </a:lnTo>
                <a:lnTo>
                  <a:pt x="594" y="640"/>
                </a:lnTo>
                <a:lnTo>
                  <a:pt x="592" y="634"/>
                </a:lnTo>
                <a:lnTo>
                  <a:pt x="590" y="625"/>
                </a:lnTo>
                <a:lnTo>
                  <a:pt x="590" y="614"/>
                </a:lnTo>
                <a:lnTo>
                  <a:pt x="590" y="614"/>
                </a:lnTo>
                <a:lnTo>
                  <a:pt x="590" y="610"/>
                </a:lnTo>
                <a:lnTo>
                  <a:pt x="588" y="609"/>
                </a:lnTo>
                <a:lnTo>
                  <a:pt x="583" y="605"/>
                </a:lnTo>
                <a:lnTo>
                  <a:pt x="583" y="605"/>
                </a:lnTo>
                <a:lnTo>
                  <a:pt x="579" y="599"/>
                </a:lnTo>
                <a:lnTo>
                  <a:pt x="579" y="598"/>
                </a:lnTo>
                <a:lnTo>
                  <a:pt x="581" y="598"/>
                </a:lnTo>
                <a:lnTo>
                  <a:pt x="581" y="598"/>
                </a:lnTo>
                <a:lnTo>
                  <a:pt x="588" y="599"/>
                </a:lnTo>
                <a:lnTo>
                  <a:pt x="596" y="599"/>
                </a:lnTo>
                <a:lnTo>
                  <a:pt x="603" y="598"/>
                </a:lnTo>
                <a:lnTo>
                  <a:pt x="603" y="598"/>
                </a:lnTo>
                <a:lnTo>
                  <a:pt x="603" y="576"/>
                </a:lnTo>
                <a:lnTo>
                  <a:pt x="605" y="565"/>
                </a:lnTo>
                <a:lnTo>
                  <a:pt x="603" y="559"/>
                </a:lnTo>
                <a:lnTo>
                  <a:pt x="603" y="559"/>
                </a:lnTo>
                <a:lnTo>
                  <a:pt x="596" y="559"/>
                </a:lnTo>
                <a:lnTo>
                  <a:pt x="588" y="557"/>
                </a:lnTo>
                <a:lnTo>
                  <a:pt x="585" y="556"/>
                </a:lnTo>
                <a:lnTo>
                  <a:pt x="581" y="552"/>
                </a:lnTo>
                <a:lnTo>
                  <a:pt x="581" y="552"/>
                </a:lnTo>
                <a:lnTo>
                  <a:pt x="586" y="552"/>
                </a:lnTo>
                <a:lnTo>
                  <a:pt x="594" y="552"/>
                </a:lnTo>
                <a:lnTo>
                  <a:pt x="599" y="552"/>
                </a:lnTo>
                <a:lnTo>
                  <a:pt x="603" y="548"/>
                </a:lnTo>
                <a:lnTo>
                  <a:pt x="603" y="548"/>
                </a:lnTo>
                <a:lnTo>
                  <a:pt x="603" y="530"/>
                </a:lnTo>
                <a:lnTo>
                  <a:pt x="601" y="517"/>
                </a:lnTo>
                <a:lnTo>
                  <a:pt x="601" y="514"/>
                </a:lnTo>
                <a:lnTo>
                  <a:pt x="599" y="512"/>
                </a:lnTo>
                <a:lnTo>
                  <a:pt x="599" y="512"/>
                </a:lnTo>
                <a:lnTo>
                  <a:pt x="592" y="514"/>
                </a:lnTo>
                <a:lnTo>
                  <a:pt x="586" y="514"/>
                </a:lnTo>
                <a:lnTo>
                  <a:pt x="581" y="512"/>
                </a:lnTo>
                <a:lnTo>
                  <a:pt x="576" y="510"/>
                </a:lnTo>
                <a:lnTo>
                  <a:pt x="576" y="510"/>
                </a:lnTo>
                <a:lnTo>
                  <a:pt x="574" y="508"/>
                </a:lnTo>
                <a:lnTo>
                  <a:pt x="572" y="504"/>
                </a:lnTo>
                <a:lnTo>
                  <a:pt x="572" y="499"/>
                </a:lnTo>
                <a:lnTo>
                  <a:pt x="570" y="495"/>
                </a:lnTo>
                <a:lnTo>
                  <a:pt x="570" y="493"/>
                </a:lnTo>
                <a:lnTo>
                  <a:pt x="568" y="492"/>
                </a:lnTo>
                <a:lnTo>
                  <a:pt x="568" y="492"/>
                </a:lnTo>
                <a:lnTo>
                  <a:pt x="557" y="488"/>
                </a:lnTo>
                <a:lnTo>
                  <a:pt x="546" y="482"/>
                </a:lnTo>
                <a:lnTo>
                  <a:pt x="541" y="477"/>
                </a:lnTo>
                <a:lnTo>
                  <a:pt x="535" y="473"/>
                </a:lnTo>
                <a:lnTo>
                  <a:pt x="535" y="473"/>
                </a:lnTo>
                <a:lnTo>
                  <a:pt x="532" y="468"/>
                </a:lnTo>
                <a:lnTo>
                  <a:pt x="532" y="462"/>
                </a:lnTo>
                <a:lnTo>
                  <a:pt x="532" y="459"/>
                </a:lnTo>
                <a:lnTo>
                  <a:pt x="532" y="459"/>
                </a:lnTo>
                <a:lnTo>
                  <a:pt x="541" y="462"/>
                </a:lnTo>
                <a:lnTo>
                  <a:pt x="544" y="462"/>
                </a:lnTo>
                <a:lnTo>
                  <a:pt x="550" y="461"/>
                </a:lnTo>
                <a:lnTo>
                  <a:pt x="552" y="431"/>
                </a:lnTo>
                <a:lnTo>
                  <a:pt x="552" y="431"/>
                </a:lnTo>
                <a:lnTo>
                  <a:pt x="548" y="431"/>
                </a:lnTo>
                <a:lnTo>
                  <a:pt x="541" y="430"/>
                </a:lnTo>
                <a:lnTo>
                  <a:pt x="541" y="430"/>
                </a:lnTo>
                <a:lnTo>
                  <a:pt x="537" y="426"/>
                </a:lnTo>
                <a:lnTo>
                  <a:pt x="533" y="422"/>
                </a:lnTo>
                <a:lnTo>
                  <a:pt x="532" y="419"/>
                </a:lnTo>
                <a:lnTo>
                  <a:pt x="532" y="419"/>
                </a:lnTo>
                <a:lnTo>
                  <a:pt x="535" y="420"/>
                </a:lnTo>
                <a:lnTo>
                  <a:pt x="543" y="422"/>
                </a:lnTo>
                <a:lnTo>
                  <a:pt x="543" y="422"/>
                </a:lnTo>
                <a:lnTo>
                  <a:pt x="550" y="422"/>
                </a:lnTo>
                <a:lnTo>
                  <a:pt x="554" y="420"/>
                </a:lnTo>
                <a:lnTo>
                  <a:pt x="557" y="387"/>
                </a:lnTo>
                <a:lnTo>
                  <a:pt x="557" y="387"/>
                </a:lnTo>
                <a:lnTo>
                  <a:pt x="552" y="387"/>
                </a:lnTo>
                <a:lnTo>
                  <a:pt x="546" y="386"/>
                </a:lnTo>
                <a:lnTo>
                  <a:pt x="541" y="384"/>
                </a:lnTo>
                <a:lnTo>
                  <a:pt x="539" y="378"/>
                </a:lnTo>
                <a:lnTo>
                  <a:pt x="539" y="377"/>
                </a:lnTo>
                <a:lnTo>
                  <a:pt x="539" y="377"/>
                </a:lnTo>
                <a:lnTo>
                  <a:pt x="552" y="373"/>
                </a:lnTo>
                <a:lnTo>
                  <a:pt x="563" y="367"/>
                </a:lnTo>
                <a:lnTo>
                  <a:pt x="572" y="360"/>
                </a:lnTo>
                <a:lnTo>
                  <a:pt x="579" y="353"/>
                </a:lnTo>
                <a:lnTo>
                  <a:pt x="586" y="344"/>
                </a:lnTo>
                <a:lnTo>
                  <a:pt x="592" y="333"/>
                </a:lnTo>
                <a:lnTo>
                  <a:pt x="597" y="324"/>
                </a:lnTo>
                <a:lnTo>
                  <a:pt x="599" y="313"/>
                </a:lnTo>
                <a:lnTo>
                  <a:pt x="599" y="313"/>
                </a:lnTo>
                <a:lnTo>
                  <a:pt x="608" y="316"/>
                </a:lnTo>
                <a:lnTo>
                  <a:pt x="614" y="316"/>
                </a:lnTo>
                <a:lnTo>
                  <a:pt x="618" y="316"/>
                </a:lnTo>
                <a:lnTo>
                  <a:pt x="618" y="316"/>
                </a:lnTo>
                <a:lnTo>
                  <a:pt x="619" y="303"/>
                </a:lnTo>
                <a:lnTo>
                  <a:pt x="619" y="289"/>
                </a:lnTo>
                <a:lnTo>
                  <a:pt x="619" y="289"/>
                </a:lnTo>
                <a:lnTo>
                  <a:pt x="610" y="287"/>
                </a:lnTo>
                <a:lnTo>
                  <a:pt x="607" y="285"/>
                </a:lnTo>
                <a:lnTo>
                  <a:pt x="603" y="28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pic>
        <p:nvPicPr>
          <p:cNvPr id="53" name="Picture 3">
            <a:extLst>
              <a:ext uri="{FF2B5EF4-FFF2-40B4-BE49-F238E27FC236}">
                <a16:creationId xmlns:a16="http://schemas.microsoft.com/office/drawing/2014/main" id="{F1689B57-8BAA-BF42-B648-10782572357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804249" y="4443959"/>
            <a:ext cx="2088034" cy="397877"/>
          </a:xfrm>
          <a:prstGeom prst="rect">
            <a:avLst/>
          </a:prstGeom>
        </p:spPr>
      </p:pic>
      <p:pic>
        <p:nvPicPr>
          <p:cNvPr id="55" name="Picture 5">
            <a:extLst>
              <a:ext uri="{FF2B5EF4-FFF2-40B4-BE49-F238E27FC236}">
                <a16:creationId xmlns:a16="http://schemas.microsoft.com/office/drawing/2014/main" id="{4F591584-9FCE-5A4F-A985-77C337C3AB8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04449" y="235341"/>
            <a:ext cx="305495" cy="419486"/>
          </a:xfrm>
          <a:prstGeom prst="rect">
            <a:avLst/>
          </a:prstGeom>
        </p:spPr>
      </p:pic>
    </p:spTree>
    <p:extLst>
      <p:ext uri="{BB962C8B-B14F-4D97-AF65-F5344CB8AC3E}">
        <p14:creationId xmlns:p14="http://schemas.microsoft.com/office/powerpoint/2010/main" val="89433516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9_Väliotsikko">
    <p:spTree>
      <p:nvGrpSpPr>
        <p:cNvPr id="1" name=""/>
        <p:cNvGrpSpPr/>
        <p:nvPr/>
      </p:nvGrpSpPr>
      <p:grpSpPr>
        <a:xfrm>
          <a:off x="0" y="0"/>
          <a:ext cx="0" cy="0"/>
          <a:chOff x="0" y="0"/>
          <a:chExt cx="0" cy="0"/>
        </a:xfrm>
      </p:grpSpPr>
      <p:pic>
        <p:nvPicPr>
          <p:cNvPr id="3" name="Kuva 2"/>
          <p:cNvPicPr>
            <a:picLocks noChangeAspect="1"/>
          </p:cNvPicPr>
          <p:nvPr userDrawn="1"/>
        </p:nvPicPr>
        <p:blipFill rotWithShape="1">
          <a:blip r:embed="rId2" cstate="print">
            <a:extLst>
              <a:ext uri="{28A0092B-C50C-407E-A947-70E740481C1C}">
                <a14:useLocalDpi xmlns:a14="http://schemas.microsoft.com/office/drawing/2010/main" val="0"/>
              </a:ext>
            </a:extLst>
          </a:blip>
          <a:srcRect t="1946" r="8036" b="581"/>
          <a:stretch/>
        </p:blipFill>
        <p:spPr>
          <a:xfrm>
            <a:off x="1691680" y="-20538"/>
            <a:ext cx="7416824" cy="5184576"/>
          </a:xfrm>
          <a:prstGeom prst="rect">
            <a:avLst/>
          </a:prstGeom>
        </p:spPr>
      </p:pic>
      <p:sp>
        <p:nvSpPr>
          <p:cNvPr id="51" name="Rectangle 50"/>
          <p:cNvSpPr/>
          <p:nvPr userDrawn="1"/>
        </p:nvSpPr>
        <p:spPr>
          <a:xfrm rot="10800000" flipV="1">
            <a:off x="-10666" y="-21804"/>
            <a:ext cx="4582667" cy="5165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a:p>
        </p:txBody>
      </p:sp>
      <p:sp>
        <p:nvSpPr>
          <p:cNvPr id="58" name="Rectangle 57"/>
          <p:cNvSpPr/>
          <p:nvPr userDrawn="1"/>
        </p:nvSpPr>
        <p:spPr>
          <a:xfrm rot="10800000" flipV="1">
            <a:off x="4427983" y="-21804"/>
            <a:ext cx="4714430" cy="5165302"/>
          </a:xfrm>
          <a:prstGeom prst="rect">
            <a:avLst/>
          </a:pr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a:p>
        </p:txBody>
      </p:sp>
      <p:sp>
        <p:nvSpPr>
          <p:cNvPr id="54" name="Freeform 7"/>
          <p:cNvSpPr>
            <a:spLocks/>
          </p:cNvSpPr>
          <p:nvPr userDrawn="1"/>
        </p:nvSpPr>
        <p:spPr bwMode="auto">
          <a:xfrm rot="10800000" flipV="1">
            <a:off x="3392895" y="-21803"/>
            <a:ext cx="4279900" cy="5165302"/>
          </a:xfrm>
          <a:custGeom>
            <a:avLst/>
            <a:gdLst>
              <a:gd name="T0" fmla="*/ 2425 w 2696"/>
              <a:gd name="T1" fmla="*/ 3240 h 3240"/>
              <a:gd name="T2" fmla="*/ 2398 w 2696"/>
              <a:gd name="T3" fmla="*/ 3171 h 3240"/>
              <a:gd name="T4" fmla="*/ 2372 w 2696"/>
              <a:gd name="T5" fmla="*/ 3103 h 3240"/>
              <a:gd name="T6" fmla="*/ 2325 w 2696"/>
              <a:gd name="T7" fmla="*/ 2966 h 3240"/>
              <a:gd name="T8" fmla="*/ 2283 w 2696"/>
              <a:gd name="T9" fmla="*/ 2828 h 3240"/>
              <a:gd name="T10" fmla="*/ 2248 w 2696"/>
              <a:gd name="T11" fmla="*/ 2689 h 3240"/>
              <a:gd name="T12" fmla="*/ 2219 w 2696"/>
              <a:gd name="T13" fmla="*/ 2550 h 3240"/>
              <a:gd name="T14" fmla="*/ 2196 w 2696"/>
              <a:gd name="T15" fmla="*/ 2411 h 3240"/>
              <a:gd name="T16" fmla="*/ 2178 w 2696"/>
              <a:gd name="T17" fmla="*/ 2273 h 3240"/>
              <a:gd name="T18" fmla="*/ 2164 w 2696"/>
              <a:gd name="T19" fmla="*/ 2133 h 3240"/>
              <a:gd name="T20" fmla="*/ 2157 w 2696"/>
              <a:gd name="T21" fmla="*/ 1995 h 3240"/>
              <a:gd name="T22" fmla="*/ 2156 w 2696"/>
              <a:gd name="T23" fmla="*/ 1856 h 3240"/>
              <a:gd name="T24" fmla="*/ 2160 w 2696"/>
              <a:gd name="T25" fmla="*/ 1718 h 3240"/>
              <a:gd name="T26" fmla="*/ 2170 w 2696"/>
              <a:gd name="T27" fmla="*/ 1581 h 3240"/>
              <a:gd name="T28" fmla="*/ 2183 w 2696"/>
              <a:gd name="T29" fmla="*/ 1445 h 3240"/>
              <a:gd name="T30" fmla="*/ 2203 w 2696"/>
              <a:gd name="T31" fmla="*/ 1310 h 3240"/>
              <a:gd name="T32" fmla="*/ 2228 w 2696"/>
              <a:gd name="T33" fmla="*/ 1175 h 3240"/>
              <a:gd name="T34" fmla="*/ 2259 w 2696"/>
              <a:gd name="T35" fmla="*/ 1042 h 3240"/>
              <a:gd name="T36" fmla="*/ 2274 w 2696"/>
              <a:gd name="T37" fmla="*/ 977 h 3240"/>
              <a:gd name="T38" fmla="*/ 2313 w 2696"/>
              <a:gd name="T39" fmla="*/ 845 h 3240"/>
              <a:gd name="T40" fmla="*/ 2354 w 2696"/>
              <a:gd name="T41" fmla="*/ 716 h 3240"/>
              <a:gd name="T42" fmla="*/ 2400 w 2696"/>
              <a:gd name="T43" fmla="*/ 590 h 3240"/>
              <a:gd name="T44" fmla="*/ 2452 w 2696"/>
              <a:gd name="T45" fmla="*/ 466 h 3240"/>
              <a:gd name="T46" fmla="*/ 2507 w 2696"/>
              <a:gd name="T47" fmla="*/ 345 h 3240"/>
              <a:gd name="T48" fmla="*/ 2566 w 2696"/>
              <a:gd name="T49" fmla="*/ 227 h 3240"/>
              <a:gd name="T50" fmla="*/ 2630 w 2696"/>
              <a:gd name="T51" fmla="*/ 113 h 3240"/>
              <a:gd name="T52" fmla="*/ 2696 w 2696"/>
              <a:gd name="T53" fmla="*/ 0 h 3240"/>
              <a:gd name="T54" fmla="*/ 0 w 2696"/>
              <a:gd name="T55" fmla="*/ 0 h 3240"/>
              <a:gd name="T56" fmla="*/ 72 w 2696"/>
              <a:gd name="T57" fmla="*/ 207 h 3240"/>
              <a:gd name="T58" fmla="*/ 150 w 2696"/>
              <a:gd name="T59" fmla="*/ 414 h 3240"/>
              <a:gd name="T60" fmla="*/ 187 w 2696"/>
              <a:gd name="T61" fmla="*/ 510 h 3240"/>
              <a:gd name="T62" fmla="*/ 266 w 2696"/>
              <a:gd name="T63" fmla="*/ 701 h 3240"/>
              <a:gd name="T64" fmla="*/ 349 w 2696"/>
              <a:gd name="T65" fmla="*/ 890 h 3240"/>
              <a:gd name="T66" fmla="*/ 436 w 2696"/>
              <a:gd name="T67" fmla="*/ 1077 h 3240"/>
              <a:gd name="T68" fmla="*/ 527 w 2696"/>
              <a:gd name="T69" fmla="*/ 1262 h 3240"/>
              <a:gd name="T70" fmla="*/ 622 w 2696"/>
              <a:gd name="T71" fmla="*/ 1446 h 3240"/>
              <a:gd name="T72" fmla="*/ 722 w 2696"/>
              <a:gd name="T73" fmla="*/ 1627 h 3240"/>
              <a:gd name="T74" fmla="*/ 826 w 2696"/>
              <a:gd name="T75" fmla="*/ 1807 h 3240"/>
              <a:gd name="T76" fmla="*/ 934 w 2696"/>
              <a:gd name="T77" fmla="*/ 1983 h 3240"/>
              <a:gd name="T78" fmla="*/ 1046 w 2696"/>
              <a:gd name="T79" fmla="*/ 2159 h 3240"/>
              <a:gd name="T80" fmla="*/ 1162 w 2696"/>
              <a:gd name="T81" fmla="*/ 2332 h 3240"/>
              <a:gd name="T82" fmla="*/ 1282 w 2696"/>
              <a:gd name="T83" fmla="*/ 2503 h 3240"/>
              <a:gd name="T84" fmla="*/ 1406 w 2696"/>
              <a:gd name="T85" fmla="*/ 2671 h 3240"/>
              <a:gd name="T86" fmla="*/ 1535 w 2696"/>
              <a:gd name="T87" fmla="*/ 2837 h 3240"/>
              <a:gd name="T88" fmla="*/ 1667 w 2696"/>
              <a:gd name="T89" fmla="*/ 3000 h 3240"/>
              <a:gd name="T90" fmla="*/ 1804 w 2696"/>
              <a:gd name="T91" fmla="*/ 3160 h 3240"/>
              <a:gd name="T92" fmla="*/ 1874 w 2696"/>
              <a:gd name="T93" fmla="*/ 3240 h 3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96" h="3240">
                <a:moveTo>
                  <a:pt x="1874" y="3240"/>
                </a:moveTo>
                <a:lnTo>
                  <a:pt x="2425" y="3240"/>
                </a:lnTo>
                <a:lnTo>
                  <a:pt x="2425" y="3240"/>
                </a:lnTo>
                <a:lnTo>
                  <a:pt x="2398" y="3171"/>
                </a:lnTo>
                <a:lnTo>
                  <a:pt x="2398" y="3171"/>
                </a:lnTo>
                <a:lnTo>
                  <a:pt x="2372" y="3103"/>
                </a:lnTo>
                <a:lnTo>
                  <a:pt x="2347" y="3034"/>
                </a:lnTo>
                <a:lnTo>
                  <a:pt x="2325" y="2966"/>
                </a:lnTo>
                <a:lnTo>
                  <a:pt x="2304" y="2897"/>
                </a:lnTo>
                <a:lnTo>
                  <a:pt x="2283" y="2828"/>
                </a:lnTo>
                <a:lnTo>
                  <a:pt x="2265" y="2759"/>
                </a:lnTo>
                <a:lnTo>
                  <a:pt x="2248" y="2689"/>
                </a:lnTo>
                <a:lnTo>
                  <a:pt x="2233" y="2620"/>
                </a:lnTo>
                <a:lnTo>
                  <a:pt x="2219" y="2550"/>
                </a:lnTo>
                <a:lnTo>
                  <a:pt x="2207" y="2481"/>
                </a:lnTo>
                <a:lnTo>
                  <a:pt x="2196" y="2411"/>
                </a:lnTo>
                <a:lnTo>
                  <a:pt x="2185" y="2342"/>
                </a:lnTo>
                <a:lnTo>
                  <a:pt x="2178" y="2273"/>
                </a:lnTo>
                <a:lnTo>
                  <a:pt x="2170" y="2203"/>
                </a:lnTo>
                <a:lnTo>
                  <a:pt x="2164" y="2133"/>
                </a:lnTo>
                <a:lnTo>
                  <a:pt x="2161" y="2063"/>
                </a:lnTo>
                <a:lnTo>
                  <a:pt x="2157" y="1995"/>
                </a:lnTo>
                <a:lnTo>
                  <a:pt x="2156" y="1925"/>
                </a:lnTo>
                <a:lnTo>
                  <a:pt x="2156" y="1856"/>
                </a:lnTo>
                <a:lnTo>
                  <a:pt x="2157" y="1787"/>
                </a:lnTo>
                <a:lnTo>
                  <a:pt x="2160" y="1718"/>
                </a:lnTo>
                <a:lnTo>
                  <a:pt x="2164" y="1649"/>
                </a:lnTo>
                <a:lnTo>
                  <a:pt x="2170" y="1581"/>
                </a:lnTo>
                <a:lnTo>
                  <a:pt x="2175" y="1513"/>
                </a:lnTo>
                <a:lnTo>
                  <a:pt x="2183" y="1445"/>
                </a:lnTo>
                <a:lnTo>
                  <a:pt x="2193" y="1377"/>
                </a:lnTo>
                <a:lnTo>
                  <a:pt x="2203" y="1310"/>
                </a:lnTo>
                <a:lnTo>
                  <a:pt x="2215" y="1242"/>
                </a:lnTo>
                <a:lnTo>
                  <a:pt x="2228" y="1175"/>
                </a:lnTo>
                <a:lnTo>
                  <a:pt x="2243" y="1108"/>
                </a:lnTo>
                <a:lnTo>
                  <a:pt x="2259" y="1042"/>
                </a:lnTo>
                <a:lnTo>
                  <a:pt x="2274" y="977"/>
                </a:lnTo>
                <a:lnTo>
                  <a:pt x="2274" y="977"/>
                </a:lnTo>
                <a:lnTo>
                  <a:pt x="2293" y="910"/>
                </a:lnTo>
                <a:lnTo>
                  <a:pt x="2313" y="845"/>
                </a:lnTo>
                <a:lnTo>
                  <a:pt x="2333" y="780"/>
                </a:lnTo>
                <a:lnTo>
                  <a:pt x="2354" y="716"/>
                </a:lnTo>
                <a:lnTo>
                  <a:pt x="2377" y="653"/>
                </a:lnTo>
                <a:lnTo>
                  <a:pt x="2400" y="590"/>
                </a:lnTo>
                <a:lnTo>
                  <a:pt x="2426" y="528"/>
                </a:lnTo>
                <a:lnTo>
                  <a:pt x="2452" y="466"/>
                </a:lnTo>
                <a:lnTo>
                  <a:pt x="2479" y="405"/>
                </a:lnTo>
                <a:lnTo>
                  <a:pt x="2507" y="345"/>
                </a:lnTo>
                <a:lnTo>
                  <a:pt x="2536" y="286"/>
                </a:lnTo>
                <a:lnTo>
                  <a:pt x="2566" y="227"/>
                </a:lnTo>
                <a:lnTo>
                  <a:pt x="2597" y="169"/>
                </a:lnTo>
                <a:lnTo>
                  <a:pt x="2630" y="113"/>
                </a:lnTo>
                <a:lnTo>
                  <a:pt x="2662" y="55"/>
                </a:lnTo>
                <a:lnTo>
                  <a:pt x="2696" y="0"/>
                </a:lnTo>
                <a:lnTo>
                  <a:pt x="0" y="0"/>
                </a:lnTo>
                <a:lnTo>
                  <a:pt x="0" y="0"/>
                </a:lnTo>
                <a:lnTo>
                  <a:pt x="35" y="104"/>
                </a:lnTo>
                <a:lnTo>
                  <a:pt x="72" y="207"/>
                </a:lnTo>
                <a:lnTo>
                  <a:pt x="111" y="311"/>
                </a:lnTo>
                <a:lnTo>
                  <a:pt x="150" y="414"/>
                </a:lnTo>
                <a:lnTo>
                  <a:pt x="150" y="414"/>
                </a:lnTo>
                <a:lnTo>
                  <a:pt x="187" y="510"/>
                </a:lnTo>
                <a:lnTo>
                  <a:pt x="226" y="605"/>
                </a:lnTo>
                <a:lnTo>
                  <a:pt x="266" y="701"/>
                </a:lnTo>
                <a:lnTo>
                  <a:pt x="306" y="795"/>
                </a:lnTo>
                <a:lnTo>
                  <a:pt x="349" y="890"/>
                </a:lnTo>
                <a:lnTo>
                  <a:pt x="392" y="983"/>
                </a:lnTo>
                <a:lnTo>
                  <a:pt x="436" y="1077"/>
                </a:lnTo>
                <a:lnTo>
                  <a:pt x="481" y="1169"/>
                </a:lnTo>
                <a:lnTo>
                  <a:pt x="527" y="1262"/>
                </a:lnTo>
                <a:lnTo>
                  <a:pt x="574" y="1353"/>
                </a:lnTo>
                <a:lnTo>
                  <a:pt x="622" y="1446"/>
                </a:lnTo>
                <a:lnTo>
                  <a:pt x="672" y="1537"/>
                </a:lnTo>
                <a:lnTo>
                  <a:pt x="722" y="1627"/>
                </a:lnTo>
                <a:lnTo>
                  <a:pt x="773" y="1717"/>
                </a:lnTo>
                <a:lnTo>
                  <a:pt x="826" y="1807"/>
                </a:lnTo>
                <a:lnTo>
                  <a:pt x="879" y="1896"/>
                </a:lnTo>
                <a:lnTo>
                  <a:pt x="934" y="1983"/>
                </a:lnTo>
                <a:lnTo>
                  <a:pt x="989" y="2072"/>
                </a:lnTo>
                <a:lnTo>
                  <a:pt x="1046" y="2159"/>
                </a:lnTo>
                <a:lnTo>
                  <a:pt x="1104" y="2246"/>
                </a:lnTo>
                <a:lnTo>
                  <a:pt x="1162" y="2332"/>
                </a:lnTo>
                <a:lnTo>
                  <a:pt x="1222" y="2418"/>
                </a:lnTo>
                <a:lnTo>
                  <a:pt x="1282" y="2503"/>
                </a:lnTo>
                <a:lnTo>
                  <a:pt x="1344" y="2588"/>
                </a:lnTo>
                <a:lnTo>
                  <a:pt x="1406" y="2671"/>
                </a:lnTo>
                <a:lnTo>
                  <a:pt x="1470" y="2754"/>
                </a:lnTo>
                <a:lnTo>
                  <a:pt x="1535" y="2837"/>
                </a:lnTo>
                <a:lnTo>
                  <a:pt x="1601" y="2918"/>
                </a:lnTo>
                <a:lnTo>
                  <a:pt x="1667" y="3000"/>
                </a:lnTo>
                <a:lnTo>
                  <a:pt x="1736" y="3080"/>
                </a:lnTo>
                <a:lnTo>
                  <a:pt x="1804" y="3160"/>
                </a:lnTo>
                <a:lnTo>
                  <a:pt x="1874" y="3240"/>
                </a:lnTo>
                <a:lnTo>
                  <a:pt x="1874" y="3240"/>
                </a:lnTo>
                <a:close/>
              </a:path>
            </a:pathLst>
          </a:custGeom>
          <a:solidFill>
            <a:srgbClr val="EA006F"/>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10" name="Otsikko 1"/>
          <p:cNvSpPr>
            <a:spLocks noGrp="1"/>
          </p:cNvSpPr>
          <p:nvPr userDrawn="1">
            <p:ph type="ctrTitle"/>
          </p:nvPr>
        </p:nvSpPr>
        <p:spPr>
          <a:xfrm>
            <a:off x="366652" y="411510"/>
            <a:ext cx="3485269" cy="2967062"/>
          </a:xfrm>
        </p:spPr>
        <p:txBody>
          <a:bodyPr anchor="b" anchorCtr="0">
            <a:noAutofit/>
          </a:bodyPr>
          <a:lstStyle>
            <a:lvl1pPr algn="l">
              <a:defRPr sz="4000">
                <a:solidFill>
                  <a:schemeClr val="accent4"/>
                </a:solidFill>
              </a:defRPr>
            </a:lvl1pPr>
          </a:lstStyle>
          <a:p>
            <a:r>
              <a:rPr lang="en-US" dirty="0"/>
              <a:t>Click to edit Master title style</a:t>
            </a:r>
            <a:endParaRPr lang="fi-FI" dirty="0"/>
          </a:p>
        </p:txBody>
      </p:sp>
      <p:sp>
        <p:nvSpPr>
          <p:cNvPr id="11" name="Alaotsikko 2"/>
          <p:cNvSpPr>
            <a:spLocks noGrp="1"/>
          </p:cNvSpPr>
          <p:nvPr userDrawn="1">
            <p:ph type="subTitle" idx="1"/>
          </p:nvPr>
        </p:nvSpPr>
        <p:spPr>
          <a:xfrm>
            <a:off x="366652" y="3507854"/>
            <a:ext cx="3485270" cy="1512168"/>
          </a:xfrm>
        </p:spPr>
        <p:txBody>
          <a:bodyPr>
            <a:normAutofit/>
          </a:bodyPr>
          <a:lstStyle>
            <a:lvl1pPr marL="0" indent="0" algn="l">
              <a:spcBef>
                <a:spcPts val="0"/>
              </a:spcBef>
              <a:buNone/>
              <a:defRPr sz="1800">
                <a:solidFill>
                  <a:srgbClr val="595965"/>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endParaRPr lang="fi-FI" dirty="0"/>
          </a:p>
        </p:txBody>
      </p:sp>
      <p:sp>
        <p:nvSpPr>
          <p:cNvPr id="32" name="Freeform 30"/>
          <p:cNvSpPr>
            <a:spLocks/>
          </p:cNvSpPr>
          <p:nvPr userDrawn="1"/>
        </p:nvSpPr>
        <p:spPr bwMode="auto">
          <a:xfrm>
            <a:off x="7331075" y="1931691"/>
            <a:ext cx="371475" cy="98425"/>
          </a:xfrm>
          <a:custGeom>
            <a:avLst/>
            <a:gdLst>
              <a:gd name="T0" fmla="*/ 87 w 2807"/>
              <a:gd name="T1" fmla="*/ 343 h 743"/>
              <a:gd name="T2" fmla="*/ 203 w 2807"/>
              <a:gd name="T3" fmla="*/ 417 h 743"/>
              <a:gd name="T4" fmla="*/ 319 w 2807"/>
              <a:gd name="T5" fmla="*/ 479 h 743"/>
              <a:gd name="T6" fmla="*/ 430 w 2807"/>
              <a:gd name="T7" fmla="*/ 529 h 743"/>
              <a:gd name="T8" fmla="*/ 603 w 2807"/>
              <a:gd name="T9" fmla="*/ 595 h 743"/>
              <a:gd name="T10" fmla="*/ 724 w 2807"/>
              <a:gd name="T11" fmla="*/ 633 h 743"/>
              <a:gd name="T12" fmla="*/ 857 w 2807"/>
              <a:gd name="T13" fmla="*/ 666 h 743"/>
              <a:gd name="T14" fmla="*/ 1001 w 2807"/>
              <a:gd name="T15" fmla="*/ 696 h 743"/>
              <a:gd name="T16" fmla="*/ 1157 w 2807"/>
              <a:gd name="T17" fmla="*/ 719 h 743"/>
              <a:gd name="T18" fmla="*/ 1324 w 2807"/>
              <a:gd name="T19" fmla="*/ 736 h 743"/>
              <a:gd name="T20" fmla="*/ 1502 w 2807"/>
              <a:gd name="T21" fmla="*/ 743 h 743"/>
              <a:gd name="T22" fmla="*/ 1689 w 2807"/>
              <a:gd name="T23" fmla="*/ 738 h 743"/>
              <a:gd name="T24" fmla="*/ 1819 w 2807"/>
              <a:gd name="T25" fmla="*/ 729 h 743"/>
              <a:gd name="T26" fmla="*/ 1999 w 2807"/>
              <a:gd name="T27" fmla="*/ 706 h 743"/>
              <a:gd name="T28" fmla="*/ 2159 w 2807"/>
              <a:gd name="T29" fmla="*/ 678 h 743"/>
              <a:gd name="T30" fmla="*/ 2302 w 2807"/>
              <a:gd name="T31" fmla="*/ 643 h 743"/>
              <a:gd name="T32" fmla="*/ 2426 w 2807"/>
              <a:gd name="T33" fmla="*/ 605 h 743"/>
              <a:gd name="T34" fmla="*/ 2533 w 2807"/>
              <a:gd name="T35" fmla="*/ 566 h 743"/>
              <a:gd name="T36" fmla="*/ 2672 w 2807"/>
              <a:gd name="T37" fmla="*/ 505 h 743"/>
              <a:gd name="T38" fmla="*/ 2773 w 2807"/>
              <a:gd name="T39" fmla="*/ 449 h 743"/>
              <a:gd name="T40" fmla="*/ 2807 w 2807"/>
              <a:gd name="T41" fmla="*/ 426 h 743"/>
              <a:gd name="T42" fmla="*/ 2745 w 2807"/>
              <a:gd name="T43" fmla="*/ 402 h 743"/>
              <a:gd name="T44" fmla="*/ 2688 w 2807"/>
              <a:gd name="T45" fmla="*/ 372 h 743"/>
              <a:gd name="T46" fmla="*/ 2586 w 2807"/>
              <a:gd name="T47" fmla="*/ 303 h 743"/>
              <a:gd name="T48" fmla="*/ 2529 w 2807"/>
              <a:gd name="T49" fmla="*/ 256 h 743"/>
              <a:gd name="T50" fmla="*/ 2518 w 2807"/>
              <a:gd name="T51" fmla="*/ 294 h 743"/>
              <a:gd name="T52" fmla="*/ 2507 w 2807"/>
              <a:gd name="T53" fmla="*/ 381 h 743"/>
              <a:gd name="T54" fmla="*/ 2499 w 2807"/>
              <a:gd name="T55" fmla="*/ 413 h 743"/>
              <a:gd name="T56" fmla="*/ 2443 w 2807"/>
              <a:gd name="T57" fmla="*/ 391 h 743"/>
              <a:gd name="T58" fmla="*/ 2423 w 2807"/>
              <a:gd name="T59" fmla="*/ 381 h 743"/>
              <a:gd name="T60" fmla="*/ 2392 w 2807"/>
              <a:gd name="T61" fmla="*/ 357 h 743"/>
              <a:gd name="T62" fmla="*/ 2361 w 2807"/>
              <a:gd name="T63" fmla="*/ 324 h 743"/>
              <a:gd name="T64" fmla="*/ 2334 w 2807"/>
              <a:gd name="T65" fmla="*/ 283 h 743"/>
              <a:gd name="T66" fmla="*/ 2316 w 2807"/>
              <a:gd name="T67" fmla="*/ 235 h 743"/>
              <a:gd name="T68" fmla="*/ 2310 w 2807"/>
              <a:gd name="T69" fmla="*/ 199 h 743"/>
              <a:gd name="T70" fmla="*/ 2252 w 2807"/>
              <a:gd name="T71" fmla="*/ 195 h 743"/>
              <a:gd name="T72" fmla="*/ 2110 w 2807"/>
              <a:gd name="T73" fmla="*/ 243 h 743"/>
              <a:gd name="T74" fmla="*/ 1984 w 2807"/>
              <a:gd name="T75" fmla="*/ 277 h 743"/>
              <a:gd name="T76" fmla="*/ 1843 w 2807"/>
              <a:gd name="T77" fmla="*/ 303 h 743"/>
              <a:gd name="T78" fmla="*/ 1697 w 2807"/>
              <a:gd name="T79" fmla="*/ 319 h 743"/>
              <a:gd name="T80" fmla="*/ 1558 w 2807"/>
              <a:gd name="T81" fmla="*/ 322 h 743"/>
              <a:gd name="T82" fmla="*/ 1293 w 2807"/>
              <a:gd name="T83" fmla="*/ 312 h 743"/>
              <a:gd name="T84" fmla="*/ 1030 w 2807"/>
              <a:gd name="T85" fmla="*/ 282 h 743"/>
              <a:gd name="T86" fmla="*/ 855 w 2807"/>
              <a:gd name="T87" fmla="*/ 251 h 743"/>
              <a:gd name="T88" fmla="*/ 725 w 2807"/>
              <a:gd name="T89" fmla="*/ 221 h 743"/>
              <a:gd name="T90" fmla="*/ 594 w 2807"/>
              <a:gd name="T91" fmla="*/ 185 h 743"/>
              <a:gd name="T92" fmla="*/ 465 w 2807"/>
              <a:gd name="T93" fmla="*/ 143 h 743"/>
              <a:gd name="T94" fmla="*/ 336 w 2807"/>
              <a:gd name="T95" fmla="*/ 94 h 743"/>
              <a:gd name="T96" fmla="*/ 251 w 2807"/>
              <a:gd name="T97" fmla="*/ 58 h 743"/>
              <a:gd name="T98" fmla="*/ 122 w 2807"/>
              <a:gd name="T99" fmla="*/ 0 h 743"/>
              <a:gd name="T100" fmla="*/ 119 w 2807"/>
              <a:gd name="T101" fmla="*/ 19 h 743"/>
              <a:gd name="T102" fmla="*/ 121 w 2807"/>
              <a:gd name="T103" fmla="*/ 51 h 743"/>
              <a:gd name="T104" fmla="*/ 136 w 2807"/>
              <a:gd name="T105" fmla="*/ 96 h 743"/>
              <a:gd name="T106" fmla="*/ 171 w 2807"/>
              <a:gd name="T107" fmla="*/ 156 h 743"/>
              <a:gd name="T108" fmla="*/ 207 w 2807"/>
              <a:gd name="T109" fmla="*/ 204 h 743"/>
              <a:gd name="T110" fmla="*/ 151 w 2807"/>
              <a:gd name="T111" fmla="*/ 199 h 743"/>
              <a:gd name="T112" fmla="*/ 98 w 2807"/>
              <a:gd name="T113" fmla="*/ 204 h 743"/>
              <a:gd name="T114" fmla="*/ 69 w 2807"/>
              <a:gd name="T115" fmla="*/ 215 h 743"/>
              <a:gd name="T116" fmla="*/ 32 w 2807"/>
              <a:gd name="T117" fmla="*/ 244 h 743"/>
              <a:gd name="T118" fmla="*/ 7 w 2807"/>
              <a:gd name="T119" fmla="*/ 272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07" h="743">
                <a:moveTo>
                  <a:pt x="0" y="284"/>
                </a:moveTo>
                <a:lnTo>
                  <a:pt x="0" y="284"/>
                </a:lnTo>
                <a:lnTo>
                  <a:pt x="87" y="343"/>
                </a:lnTo>
                <a:lnTo>
                  <a:pt x="127" y="369"/>
                </a:lnTo>
                <a:lnTo>
                  <a:pt x="166" y="394"/>
                </a:lnTo>
                <a:lnTo>
                  <a:pt x="203" y="417"/>
                </a:lnTo>
                <a:lnTo>
                  <a:pt x="241" y="438"/>
                </a:lnTo>
                <a:lnTo>
                  <a:pt x="280" y="460"/>
                </a:lnTo>
                <a:lnTo>
                  <a:pt x="319" y="479"/>
                </a:lnTo>
                <a:lnTo>
                  <a:pt x="319" y="479"/>
                </a:lnTo>
                <a:lnTo>
                  <a:pt x="372" y="504"/>
                </a:lnTo>
                <a:lnTo>
                  <a:pt x="430" y="529"/>
                </a:lnTo>
                <a:lnTo>
                  <a:pt x="495" y="556"/>
                </a:lnTo>
                <a:lnTo>
                  <a:pt x="565" y="581"/>
                </a:lnTo>
                <a:lnTo>
                  <a:pt x="603" y="595"/>
                </a:lnTo>
                <a:lnTo>
                  <a:pt x="642" y="607"/>
                </a:lnTo>
                <a:lnTo>
                  <a:pt x="682" y="620"/>
                </a:lnTo>
                <a:lnTo>
                  <a:pt x="724" y="633"/>
                </a:lnTo>
                <a:lnTo>
                  <a:pt x="767" y="644"/>
                </a:lnTo>
                <a:lnTo>
                  <a:pt x="811" y="655"/>
                </a:lnTo>
                <a:lnTo>
                  <a:pt x="857" y="666"/>
                </a:lnTo>
                <a:lnTo>
                  <a:pt x="903" y="677"/>
                </a:lnTo>
                <a:lnTo>
                  <a:pt x="952" y="687"/>
                </a:lnTo>
                <a:lnTo>
                  <a:pt x="1001" y="696"/>
                </a:lnTo>
                <a:lnTo>
                  <a:pt x="1052" y="705"/>
                </a:lnTo>
                <a:lnTo>
                  <a:pt x="1104" y="713"/>
                </a:lnTo>
                <a:lnTo>
                  <a:pt x="1157" y="719"/>
                </a:lnTo>
                <a:lnTo>
                  <a:pt x="1212" y="727"/>
                </a:lnTo>
                <a:lnTo>
                  <a:pt x="1267" y="732"/>
                </a:lnTo>
                <a:lnTo>
                  <a:pt x="1324" y="736"/>
                </a:lnTo>
                <a:lnTo>
                  <a:pt x="1382" y="739"/>
                </a:lnTo>
                <a:lnTo>
                  <a:pt x="1442" y="741"/>
                </a:lnTo>
                <a:lnTo>
                  <a:pt x="1502" y="743"/>
                </a:lnTo>
                <a:lnTo>
                  <a:pt x="1563" y="742"/>
                </a:lnTo>
                <a:lnTo>
                  <a:pt x="1626" y="741"/>
                </a:lnTo>
                <a:lnTo>
                  <a:pt x="1689" y="738"/>
                </a:lnTo>
                <a:lnTo>
                  <a:pt x="1754" y="734"/>
                </a:lnTo>
                <a:lnTo>
                  <a:pt x="1819" y="729"/>
                </a:lnTo>
                <a:lnTo>
                  <a:pt x="1819" y="729"/>
                </a:lnTo>
                <a:lnTo>
                  <a:pt x="1881" y="723"/>
                </a:lnTo>
                <a:lnTo>
                  <a:pt x="1941" y="714"/>
                </a:lnTo>
                <a:lnTo>
                  <a:pt x="1999" y="706"/>
                </a:lnTo>
                <a:lnTo>
                  <a:pt x="2054" y="697"/>
                </a:lnTo>
                <a:lnTo>
                  <a:pt x="2108" y="688"/>
                </a:lnTo>
                <a:lnTo>
                  <a:pt x="2159" y="678"/>
                </a:lnTo>
                <a:lnTo>
                  <a:pt x="2209" y="666"/>
                </a:lnTo>
                <a:lnTo>
                  <a:pt x="2257" y="655"/>
                </a:lnTo>
                <a:lnTo>
                  <a:pt x="2302" y="643"/>
                </a:lnTo>
                <a:lnTo>
                  <a:pt x="2346" y="631"/>
                </a:lnTo>
                <a:lnTo>
                  <a:pt x="2387" y="618"/>
                </a:lnTo>
                <a:lnTo>
                  <a:pt x="2426" y="605"/>
                </a:lnTo>
                <a:lnTo>
                  <a:pt x="2464" y="593"/>
                </a:lnTo>
                <a:lnTo>
                  <a:pt x="2500" y="579"/>
                </a:lnTo>
                <a:lnTo>
                  <a:pt x="2533" y="566"/>
                </a:lnTo>
                <a:lnTo>
                  <a:pt x="2564" y="554"/>
                </a:lnTo>
                <a:lnTo>
                  <a:pt x="2622" y="528"/>
                </a:lnTo>
                <a:lnTo>
                  <a:pt x="2672" y="505"/>
                </a:lnTo>
                <a:lnTo>
                  <a:pt x="2713" y="483"/>
                </a:lnTo>
                <a:lnTo>
                  <a:pt x="2747" y="465"/>
                </a:lnTo>
                <a:lnTo>
                  <a:pt x="2773" y="449"/>
                </a:lnTo>
                <a:lnTo>
                  <a:pt x="2792" y="436"/>
                </a:lnTo>
                <a:lnTo>
                  <a:pt x="2807" y="426"/>
                </a:lnTo>
                <a:lnTo>
                  <a:pt x="2807" y="426"/>
                </a:lnTo>
                <a:lnTo>
                  <a:pt x="2786" y="419"/>
                </a:lnTo>
                <a:lnTo>
                  <a:pt x="2766" y="410"/>
                </a:lnTo>
                <a:lnTo>
                  <a:pt x="2745" y="402"/>
                </a:lnTo>
                <a:lnTo>
                  <a:pt x="2726" y="391"/>
                </a:lnTo>
                <a:lnTo>
                  <a:pt x="2706" y="382"/>
                </a:lnTo>
                <a:lnTo>
                  <a:pt x="2688" y="372"/>
                </a:lnTo>
                <a:lnTo>
                  <a:pt x="2651" y="349"/>
                </a:lnTo>
                <a:lnTo>
                  <a:pt x="2618" y="327"/>
                </a:lnTo>
                <a:lnTo>
                  <a:pt x="2586" y="303"/>
                </a:lnTo>
                <a:lnTo>
                  <a:pt x="2556" y="280"/>
                </a:lnTo>
                <a:lnTo>
                  <a:pt x="2529" y="256"/>
                </a:lnTo>
                <a:lnTo>
                  <a:pt x="2529" y="256"/>
                </a:lnTo>
                <a:lnTo>
                  <a:pt x="2524" y="266"/>
                </a:lnTo>
                <a:lnTo>
                  <a:pt x="2521" y="279"/>
                </a:lnTo>
                <a:lnTo>
                  <a:pt x="2518" y="294"/>
                </a:lnTo>
                <a:lnTo>
                  <a:pt x="2515" y="312"/>
                </a:lnTo>
                <a:lnTo>
                  <a:pt x="2515" y="312"/>
                </a:lnTo>
                <a:lnTo>
                  <a:pt x="2507" y="381"/>
                </a:lnTo>
                <a:lnTo>
                  <a:pt x="2503" y="414"/>
                </a:lnTo>
                <a:lnTo>
                  <a:pt x="2503" y="414"/>
                </a:lnTo>
                <a:lnTo>
                  <a:pt x="2499" y="413"/>
                </a:lnTo>
                <a:lnTo>
                  <a:pt x="2489" y="410"/>
                </a:lnTo>
                <a:lnTo>
                  <a:pt x="2470" y="403"/>
                </a:lnTo>
                <a:lnTo>
                  <a:pt x="2443" y="391"/>
                </a:lnTo>
                <a:lnTo>
                  <a:pt x="2443" y="391"/>
                </a:lnTo>
                <a:lnTo>
                  <a:pt x="2433" y="387"/>
                </a:lnTo>
                <a:lnTo>
                  <a:pt x="2423" y="381"/>
                </a:lnTo>
                <a:lnTo>
                  <a:pt x="2413" y="374"/>
                </a:lnTo>
                <a:lnTo>
                  <a:pt x="2403" y="366"/>
                </a:lnTo>
                <a:lnTo>
                  <a:pt x="2392" y="357"/>
                </a:lnTo>
                <a:lnTo>
                  <a:pt x="2381" y="347"/>
                </a:lnTo>
                <a:lnTo>
                  <a:pt x="2371" y="336"/>
                </a:lnTo>
                <a:lnTo>
                  <a:pt x="2361" y="324"/>
                </a:lnTo>
                <a:lnTo>
                  <a:pt x="2351" y="312"/>
                </a:lnTo>
                <a:lnTo>
                  <a:pt x="2342" y="297"/>
                </a:lnTo>
                <a:lnTo>
                  <a:pt x="2334" y="283"/>
                </a:lnTo>
                <a:lnTo>
                  <a:pt x="2326" y="268"/>
                </a:lnTo>
                <a:lnTo>
                  <a:pt x="2320" y="251"/>
                </a:lnTo>
                <a:lnTo>
                  <a:pt x="2316" y="235"/>
                </a:lnTo>
                <a:lnTo>
                  <a:pt x="2312" y="216"/>
                </a:lnTo>
                <a:lnTo>
                  <a:pt x="2310" y="199"/>
                </a:lnTo>
                <a:lnTo>
                  <a:pt x="2310" y="199"/>
                </a:lnTo>
                <a:lnTo>
                  <a:pt x="2309" y="174"/>
                </a:lnTo>
                <a:lnTo>
                  <a:pt x="2309" y="174"/>
                </a:lnTo>
                <a:lnTo>
                  <a:pt x="2252" y="195"/>
                </a:lnTo>
                <a:lnTo>
                  <a:pt x="2186" y="218"/>
                </a:lnTo>
                <a:lnTo>
                  <a:pt x="2149" y="231"/>
                </a:lnTo>
                <a:lnTo>
                  <a:pt x="2110" y="243"/>
                </a:lnTo>
                <a:lnTo>
                  <a:pt x="2069" y="254"/>
                </a:lnTo>
                <a:lnTo>
                  <a:pt x="2028" y="266"/>
                </a:lnTo>
                <a:lnTo>
                  <a:pt x="1984" y="277"/>
                </a:lnTo>
                <a:lnTo>
                  <a:pt x="1938" y="286"/>
                </a:lnTo>
                <a:lnTo>
                  <a:pt x="1892" y="295"/>
                </a:lnTo>
                <a:lnTo>
                  <a:pt x="1843" y="303"/>
                </a:lnTo>
                <a:lnTo>
                  <a:pt x="1795" y="311"/>
                </a:lnTo>
                <a:lnTo>
                  <a:pt x="1746" y="316"/>
                </a:lnTo>
                <a:lnTo>
                  <a:pt x="1697" y="319"/>
                </a:lnTo>
                <a:lnTo>
                  <a:pt x="1647" y="321"/>
                </a:lnTo>
                <a:lnTo>
                  <a:pt x="1647" y="321"/>
                </a:lnTo>
                <a:lnTo>
                  <a:pt x="1558" y="322"/>
                </a:lnTo>
                <a:lnTo>
                  <a:pt x="1470" y="321"/>
                </a:lnTo>
                <a:lnTo>
                  <a:pt x="1382" y="317"/>
                </a:lnTo>
                <a:lnTo>
                  <a:pt x="1293" y="312"/>
                </a:lnTo>
                <a:lnTo>
                  <a:pt x="1205" y="304"/>
                </a:lnTo>
                <a:lnTo>
                  <a:pt x="1118" y="294"/>
                </a:lnTo>
                <a:lnTo>
                  <a:pt x="1030" y="282"/>
                </a:lnTo>
                <a:lnTo>
                  <a:pt x="943" y="268"/>
                </a:lnTo>
                <a:lnTo>
                  <a:pt x="899" y="259"/>
                </a:lnTo>
                <a:lnTo>
                  <a:pt x="855" y="251"/>
                </a:lnTo>
                <a:lnTo>
                  <a:pt x="812" y="241"/>
                </a:lnTo>
                <a:lnTo>
                  <a:pt x="768" y="231"/>
                </a:lnTo>
                <a:lnTo>
                  <a:pt x="725" y="221"/>
                </a:lnTo>
                <a:lnTo>
                  <a:pt x="681" y="209"/>
                </a:lnTo>
                <a:lnTo>
                  <a:pt x="638" y="197"/>
                </a:lnTo>
                <a:lnTo>
                  <a:pt x="594" y="185"/>
                </a:lnTo>
                <a:lnTo>
                  <a:pt x="551" y="171"/>
                </a:lnTo>
                <a:lnTo>
                  <a:pt x="508" y="157"/>
                </a:lnTo>
                <a:lnTo>
                  <a:pt x="465" y="143"/>
                </a:lnTo>
                <a:lnTo>
                  <a:pt x="422" y="127"/>
                </a:lnTo>
                <a:lnTo>
                  <a:pt x="379" y="111"/>
                </a:lnTo>
                <a:lnTo>
                  <a:pt x="336" y="94"/>
                </a:lnTo>
                <a:lnTo>
                  <a:pt x="294" y="76"/>
                </a:lnTo>
                <a:lnTo>
                  <a:pt x="251" y="58"/>
                </a:lnTo>
                <a:lnTo>
                  <a:pt x="251" y="58"/>
                </a:lnTo>
                <a:lnTo>
                  <a:pt x="165" y="19"/>
                </a:lnTo>
                <a:lnTo>
                  <a:pt x="122" y="0"/>
                </a:lnTo>
                <a:lnTo>
                  <a:pt x="122" y="0"/>
                </a:lnTo>
                <a:lnTo>
                  <a:pt x="121" y="3"/>
                </a:lnTo>
                <a:lnTo>
                  <a:pt x="119" y="12"/>
                </a:lnTo>
                <a:lnTo>
                  <a:pt x="119" y="19"/>
                </a:lnTo>
                <a:lnTo>
                  <a:pt x="119" y="28"/>
                </a:lnTo>
                <a:lnTo>
                  <a:pt x="119" y="39"/>
                </a:lnTo>
                <a:lnTo>
                  <a:pt x="121" y="51"/>
                </a:lnTo>
                <a:lnTo>
                  <a:pt x="125" y="64"/>
                </a:lnTo>
                <a:lnTo>
                  <a:pt x="129" y="79"/>
                </a:lnTo>
                <a:lnTo>
                  <a:pt x="136" y="96"/>
                </a:lnTo>
                <a:lnTo>
                  <a:pt x="145" y="114"/>
                </a:lnTo>
                <a:lnTo>
                  <a:pt x="156" y="135"/>
                </a:lnTo>
                <a:lnTo>
                  <a:pt x="171" y="156"/>
                </a:lnTo>
                <a:lnTo>
                  <a:pt x="187" y="180"/>
                </a:lnTo>
                <a:lnTo>
                  <a:pt x="207" y="204"/>
                </a:lnTo>
                <a:lnTo>
                  <a:pt x="207" y="204"/>
                </a:lnTo>
                <a:lnTo>
                  <a:pt x="189" y="201"/>
                </a:lnTo>
                <a:lnTo>
                  <a:pt x="170" y="199"/>
                </a:lnTo>
                <a:lnTo>
                  <a:pt x="151" y="199"/>
                </a:lnTo>
                <a:lnTo>
                  <a:pt x="132" y="199"/>
                </a:lnTo>
                <a:lnTo>
                  <a:pt x="114" y="201"/>
                </a:lnTo>
                <a:lnTo>
                  <a:pt x="98" y="204"/>
                </a:lnTo>
                <a:lnTo>
                  <a:pt x="83" y="209"/>
                </a:lnTo>
                <a:lnTo>
                  <a:pt x="69" y="215"/>
                </a:lnTo>
                <a:lnTo>
                  <a:pt x="69" y="215"/>
                </a:lnTo>
                <a:lnTo>
                  <a:pt x="55" y="224"/>
                </a:lnTo>
                <a:lnTo>
                  <a:pt x="42" y="234"/>
                </a:lnTo>
                <a:lnTo>
                  <a:pt x="32" y="244"/>
                </a:lnTo>
                <a:lnTo>
                  <a:pt x="21" y="253"/>
                </a:lnTo>
                <a:lnTo>
                  <a:pt x="13" y="262"/>
                </a:lnTo>
                <a:lnTo>
                  <a:pt x="7" y="272"/>
                </a:lnTo>
                <a:lnTo>
                  <a:pt x="0" y="28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3" name="Freeform 31"/>
          <p:cNvSpPr>
            <a:spLocks/>
          </p:cNvSpPr>
          <p:nvPr userDrawn="1"/>
        </p:nvSpPr>
        <p:spPr bwMode="auto">
          <a:xfrm>
            <a:off x="7248526" y="1618954"/>
            <a:ext cx="377825" cy="271463"/>
          </a:xfrm>
          <a:custGeom>
            <a:avLst/>
            <a:gdLst>
              <a:gd name="T0" fmla="*/ 2491 w 2863"/>
              <a:gd name="T1" fmla="*/ 103 h 2054"/>
              <a:gd name="T2" fmla="*/ 2575 w 2863"/>
              <a:gd name="T3" fmla="*/ 23 h 2054"/>
              <a:gd name="T4" fmla="*/ 2196 w 2863"/>
              <a:gd name="T5" fmla="*/ 132 h 2054"/>
              <a:gd name="T6" fmla="*/ 1671 w 2863"/>
              <a:gd name="T7" fmla="*/ 429 h 2054"/>
              <a:gd name="T8" fmla="*/ 1528 w 2863"/>
              <a:gd name="T9" fmla="*/ 462 h 2054"/>
              <a:gd name="T10" fmla="*/ 1416 w 2863"/>
              <a:gd name="T11" fmla="*/ 568 h 2054"/>
              <a:gd name="T12" fmla="*/ 1409 w 2863"/>
              <a:gd name="T13" fmla="*/ 634 h 2054"/>
              <a:gd name="T14" fmla="*/ 1479 w 2863"/>
              <a:gd name="T15" fmla="*/ 748 h 2054"/>
              <a:gd name="T16" fmla="*/ 1586 w 2863"/>
              <a:gd name="T17" fmla="*/ 787 h 2054"/>
              <a:gd name="T18" fmla="*/ 1476 w 2863"/>
              <a:gd name="T19" fmla="*/ 974 h 2054"/>
              <a:gd name="T20" fmla="*/ 1133 w 2863"/>
              <a:gd name="T21" fmla="*/ 1199 h 2054"/>
              <a:gd name="T22" fmla="*/ 799 w 2863"/>
              <a:gd name="T23" fmla="*/ 1254 h 2054"/>
              <a:gd name="T24" fmla="*/ 634 w 2863"/>
              <a:gd name="T25" fmla="*/ 1102 h 2054"/>
              <a:gd name="T26" fmla="*/ 539 w 2863"/>
              <a:gd name="T27" fmla="*/ 1015 h 2054"/>
              <a:gd name="T28" fmla="*/ 406 w 2863"/>
              <a:gd name="T29" fmla="*/ 1023 h 2054"/>
              <a:gd name="T30" fmla="*/ 231 w 2863"/>
              <a:gd name="T31" fmla="*/ 1090 h 2054"/>
              <a:gd name="T32" fmla="*/ 382 w 2863"/>
              <a:gd name="T33" fmla="*/ 1121 h 2054"/>
              <a:gd name="T34" fmla="*/ 351 w 2863"/>
              <a:gd name="T35" fmla="*/ 1168 h 2054"/>
              <a:gd name="T36" fmla="*/ 418 w 2863"/>
              <a:gd name="T37" fmla="*/ 1270 h 2054"/>
              <a:gd name="T38" fmla="*/ 608 w 2863"/>
              <a:gd name="T39" fmla="*/ 1387 h 2054"/>
              <a:gd name="T40" fmla="*/ 314 w 2863"/>
              <a:gd name="T41" fmla="*/ 1296 h 2054"/>
              <a:gd name="T42" fmla="*/ 234 w 2863"/>
              <a:gd name="T43" fmla="*/ 1324 h 2054"/>
              <a:gd name="T44" fmla="*/ 77 w 2863"/>
              <a:gd name="T45" fmla="*/ 1367 h 2054"/>
              <a:gd name="T46" fmla="*/ 0 w 2863"/>
              <a:gd name="T47" fmla="*/ 1480 h 2054"/>
              <a:gd name="T48" fmla="*/ 63 w 2863"/>
              <a:gd name="T49" fmla="*/ 1501 h 2054"/>
              <a:gd name="T50" fmla="*/ 166 w 2863"/>
              <a:gd name="T51" fmla="*/ 1461 h 2054"/>
              <a:gd name="T52" fmla="*/ 187 w 2863"/>
              <a:gd name="T53" fmla="*/ 1573 h 2054"/>
              <a:gd name="T54" fmla="*/ 354 w 2863"/>
              <a:gd name="T55" fmla="*/ 1597 h 2054"/>
              <a:gd name="T56" fmla="*/ 616 w 2863"/>
              <a:gd name="T57" fmla="*/ 1588 h 2054"/>
              <a:gd name="T58" fmla="*/ 382 w 2863"/>
              <a:gd name="T59" fmla="*/ 1636 h 2054"/>
              <a:gd name="T60" fmla="*/ 295 w 2863"/>
              <a:gd name="T61" fmla="*/ 1696 h 2054"/>
              <a:gd name="T62" fmla="*/ 254 w 2863"/>
              <a:gd name="T63" fmla="*/ 1795 h 2054"/>
              <a:gd name="T64" fmla="*/ 239 w 2863"/>
              <a:gd name="T65" fmla="*/ 1953 h 2054"/>
              <a:gd name="T66" fmla="*/ 335 w 2863"/>
              <a:gd name="T67" fmla="*/ 2045 h 2054"/>
              <a:gd name="T68" fmla="*/ 341 w 2863"/>
              <a:gd name="T69" fmla="*/ 1906 h 2054"/>
              <a:gd name="T70" fmla="*/ 417 w 2863"/>
              <a:gd name="T71" fmla="*/ 1946 h 2054"/>
              <a:gd name="T72" fmla="*/ 509 w 2863"/>
              <a:gd name="T73" fmla="*/ 1935 h 2054"/>
              <a:gd name="T74" fmla="*/ 732 w 2863"/>
              <a:gd name="T75" fmla="*/ 1733 h 2054"/>
              <a:gd name="T76" fmla="*/ 874 w 2863"/>
              <a:gd name="T77" fmla="*/ 1691 h 2054"/>
              <a:gd name="T78" fmla="*/ 870 w 2863"/>
              <a:gd name="T79" fmla="*/ 1786 h 2054"/>
              <a:gd name="T80" fmla="*/ 945 w 2863"/>
              <a:gd name="T81" fmla="*/ 1834 h 2054"/>
              <a:gd name="T82" fmla="*/ 875 w 2863"/>
              <a:gd name="T83" fmla="*/ 1948 h 2054"/>
              <a:gd name="T84" fmla="*/ 1004 w 2863"/>
              <a:gd name="T85" fmla="*/ 1919 h 2054"/>
              <a:gd name="T86" fmla="*/ 1100 w 2863"/>
              <a:gd name="T87" fmla="*/ 1787 h 2054"/>
              <a:gd name="T88" fmla="*/ 1159 w 2863"/>
              <a:gd name="T89" fmla="*/ 1734 h 2054"/>
              <a:gd name="T90" fmla="*/ 1183 w 2863"/>
              <a:gd name="T91" fmla="*/ 1628 h 2054"/>
              <a:gd name="T92" fmla="*/ 1338 w 2863"/>
              <a:gd name="T93" fmla="*/ 1564 h 2054"/>
              <a:gd name="T94" fmla="*/ 1370 w 2863"/>
              <a:gd name="T95" fmla="*/ 1465 h 2054"/>
              <a:gd name="T96" fmla="*/ 1461 w 2863"/>
              <a:gd name="T97" fmla="*/ 1462 h 2054"/>
              <a:gd name="T98" fmla="*/ 1684 w 2863"/>
              <a:gd name="T99" fmla="*/ 1556 h 2054"/>
              <a:gd name="T100" fmla="*/ 1888 w 2863"/>
              <a:gd name="T101" fmla="*/ 1440 h 2054"/>
              <a:gd name="T102" fmla="*/ 1799 w 2863"/>
              <a:gd name="T103" fmla="*/ 1308 h 2054"/>
              <a:gd name="T104" fmla="*/ 1857 w 2863"/>
              <a:gd name="T105" fmla="*/ 1327 h 2054"/>
              <a:gd name="T106" fmla="*/ 2183 w 2863"/>
              <a:gd name="T107" fmla="*/ 1273 h 2054"/>
              <a:gd name="T108" fmla="*/ 2142 w 2863"/>
              <a:gd name="T109" fmla="*/ 1164 h 2054"/>
              <a:gd name="T110" fmla="*/ 2112 w 2863"/>
              <a:gd name="T111" fmla="*/ 1069 h 2054"/>
              <a:gd name="T112" fmla="*/ 2121 w 2863"/>
              <a:gd name="T113" fmla="*/ 977 h 2054"/>
              <a:gd name="T114" fmla="*/ 2085 w 2863"/>
              <a:gd name="T115" fmla="*/ 807 h 2054"/>
              <a:gd name="T116" fmla="*/ 2859 w 2863"/>
              <a:gd name="T117" fmla="*/ 408 h 2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63" h="2054">
                <a:moveTo>
                  <a:pt x="2759" y="252"/>
                </a:moveTo>
                <a:lnTo>
                  <a:pt x="2759" y="252"/>
                </a:lnTo>
                <a:lnTo>
                  <a:pt x="2742" y="239"/>
                </a:lnTo>
                <a:lnTo>
                  <a:pt x="2725" y="227"/>
                </a:lnTo>
                <a:lnTo>
                  <a:pt x="2708" y="214"/>
                </a:lnTo>
                <a:lnTo>
                  <a:pt x="2690" y="203"/>
                </a:lnTo>
                <a:lnTo>
                  <a:pt x="2655" y="184"/>
                </a:lnTo>
                <a:lnTo>
                  <a:pt x="2621" y="165"/>
                </a:lnTo>
                <a:lnTo>
                  <a:pt x="2586" y="148"/>
                </a:lnTo>
                <a:lnTo>
                  <a:pt x="2553" y="133"/>
                </a:lnTo>
                <a:lnTo>
                  <a:pt x="2522" y="118"/>
                </a:lnTo>
                <a:lnTo>
                  <a:pt x="2491" y="103"/>
                </a:lnTo>
                <a:lnTo>
                  <a:pt x="2491" y="103"/>
                </a:lnTo>
                <a:lnTo>
                  <a:pt x="2507" y="93"/>
                </a:lnTo>
                <a:lnTo>
                  <a:pt x="2523" y="82"/>
                </a:lnTo>
                <a:lnTo>
                  <a:pt x="2540" y="68"/>
                </a:lnTo>
                <a:lnTo>
                  <a:pt x="2556" y="54"/>
                </a:lnTo>
                <a:lnTo>
                  <a:pt x="2570" y="41"/>
                </a:lnTo>
                <a:lnTo>
                  <a:pt x="2574" y="35"/>
                </a:lnTo>
                <a:lnTo>
                  <a:pt x="2577" y="30"/>
                </a:lnTo>
                <a:lnTo>
                  <a:pt x="2577" y="26"/>
                </a:lnTo>
                <a:lnTo>
                  <a:pt x="2577" y="24"/>
                </a:lnTo>
                <a:lnTo>
                  <a:pt x="2575" y="23"/>
                </a:lnTo>
                <a:lnTo>
                  <a:pt x="2575" y="23"/>
                </a:lnTo>
                <a:lnTo>
                  <a:pt x="2562" y="16"/>
                </a:lnTo>
                <a:lnTo>
                  <a:pt x="2550" y="10"/>
                </a:lnTo>
                <a:lnTo>
                  <a:pt x="2538" y="6"/>
                </a:lnTo>
                <a:lnTo>
                  <a:pt x="2527" y="4"/>
                </a:lnTo>
                <a:lnTo>
                  <a:pt x="2508" y="1"/>
                </a:lnTo>
                <a:lnTo>
                  <a:pt x="2501" y="0"/>
                </a:lnTo>
                <a:lnTo>
                  <a:pt x="2501" y="0"/>
                </a:lnTo>
                <a:lnTo>
                  <a:pt x="2440" y="24"/>
                </a:lnTo>
                <a:lnTo>
                  <a:pt x="2377" y="50"/>
                </a:lnTo>
                <a:lnTo>
                  <a:pt x="2317" y="76"/>
                </a:lnTo>
                <a:lnTo>
                  <a:pt x="2256" y="103"/>
                </a:lnTo>
                <a:lnTo>
                  <a:pt x="2196" y="132"/>
                </a:lnTo>
                <a:lnTo>
                  <a:pt x="2138" y="160"/>
                </a:lnTo>
                <a:lnTo>
                  <a:pt x="2081" y="189"/>
                </a:lnTo>
                <a:lnTo>
                  <a:pt x="2026" y="219"/>
                </a:lnTo>
                <a:lnTo>
                  <a:pt x="1972" y="247"/>
                </a:lnTo>
                <a:lnTo>
                  <a:pt x="1921" y="276"/>
                </a:lnTo>
                <a:lnTo>
                  <a:pt x="1872" y="303"/>
                </a:lnTo>
                <a:lnTo>
                  <a:pt x="1825" y="331"/>
                </a:lnTo>
                <a:lnTo>
                  <a:pt x="1782" y="358"/>
                </a:lnTo>
                <a:lnTo>
                  <a:pt x="1741" y="383"/>
                </a:lnTo>
                <a:lnTo>
                  <a:pt x="1705" y="407"/>
                </a:lnTo>
                <a:lnTo>
                  <a:pt x="1671" y="429"/>
                </a:lnTo>
                <a:lnTo>
                  <a:pt x="1671" y="429"/>
                </a:lnTo>
                <a:lnTo>
                  <a:pt x="1666" y="432"/>
                </a:lnTo>
                <a:lnTo>
                  <a:pt x="1666" y="432"/>
                </a:lnTo>
                <a:lnTo>
                  <a:pt x="1654" y="439"/>
                </a:lnTo>
                <a:lnTo>
                  <a:pt x="1643" y="446"/>
                </a:lnTo>
                <a:lnTo>
                  <a:pt x="1632" y="451"/>
                </a:lnTo>
                <a:lnTo>
                  <a:pt x="1620" y="455"/>
                </a:lnTo>
                <a:lnTo>
                  <a:pt x="1608" y="458"/>
                </a:lnTo>
                <a:lnTo>
                  <a:pt x="1597" y="461"/>
                </a:lnTo>
                <a:lnTo>
                  <a:pt x="1585" y="462"/>
                </a:lnTo>
                <a:lnTo>
                  <a:pt x="1574" y="463"/>
                </a:lnTo>
                <a:lnTo>
                  <a:pt x="1550" y="464"/>
                </a:lnTo>
                <a:lnTo>
                  <a:pt x="1528" y="462"/>
                </a:lnTo>
                <a:lnTo>
                  <a:pt x="1505" y="459"/>
                </a:lnTo>
                <a:lnTo>
                  <a:pt x="1485" y="454"/>
                </a:lnTo>
                <a:lnTo>
                  <a:pt x="1465" y="449"/>
                </a:lnTo>
                <a:lnTo>
                  <a:pt x="1448" y="442"/>
                </a:lnTo>
                <a:lnTo>
                  <a:pt x="1433" y="436"/>
                </a:lnTo>
                <a:lnTo>
                  <a:pt x="1418" y="430"/>
                </a:lnTo>
                <a:lnTo>
                  <a:pt x="1399" y="420"/>
                </a:lnTo>
                <a:lnTo>
                  <a:pt x="1393" y="416"/>
                </a:lnTo>
                <a:lnTo>
                  <a:pt x="1372" y="544"/>
                </a:lnTo>
                <a:lnTo>
                  <a:pt x="1372" y="544"/>
                </a:lnTo>
                <a:lnTo>
                  <a:pt x="1395" y="557"/>
                </a:lnTo>
                <a:lnTo>
                  <a:pt x="1416" y="568"/>
                </a:lnTo>
                <a:lnTo>
                  <a:pt x="1437" y="577"/>
                </a:lnTo>
                <a:lnTo>
                  <a:pt x="1454" y="586"/>
                </a:lnTo>
                <a:lnTo>
                  <a:pt x="1470" y="592"/>
                </a:lnTo>
                <a:lnTo>
                  <a:pt x="1486" y="596"/>
                </a:lnTo>
                <a:lnTo>
                  <a:pt x="1499" y="600"/>
                </a:lnTo>
                <a:lnTo>
                  <a:pt x="1510" y="602"/>
                </a:lnTo>
                <a:lnTo>
                  <a:pt x="1510" y="602"/>
                </a:lnTo>
                <a:lnTo>
                  <a:pt x="1491" y="606"/>
                </a:lnTo>
                <a:lnTo>
                  <a:pt x="1470" y="611"/>
                </a:lnTo>
                <a:lnTo>
                  <a:pt x="1450" y="617"/>
                </a:lnTo>
                <a:lnTo>
                  <a:pt x="1428" y="625"/>
                </a:lnTo>
                <a:lnTo>
                  <a:pt x="1409" y="634"/>
                </a:lnTo>
                <a:lnTo>
                  <a:pt x="1391" y="645"/>
                </a:lnTo>
                <a:lnTo>
                  <a:pt x="1381" y="650"/>
                </a:lnTo>
                <a:lnTo>
                  <a:pt x="1373" y="656"/>
                </a:lnTo>
                <a:lnTo>
                  <a:pt x="1366" y="663"/>
                </a:lnTo>
                <a:lnTo>
                  <a:pt x="1360" y="670"/>
                </a:lnTo>
                <a:lnTo>
                  <a:pt x="1404" y="788"/>
                </a:lnTo>
                <a:lnTo>
                  <a:pt x="1404" y="788"/>
                </a:lnTo>
                <a:lnTo>
                  <a:pt x="1416" y="779"/>
                </a:lnTo>
                <a:lnTo>
                  <a:pt x="1432" y="770"/>
                </a:lnTo>
                <a:lnTo>
                  <a:pt x="1453" y="758"/>
                </a:lnTo>
                <a:lnTo>
                  <a:pt x="1465" y="753"/>
                </a:lnTo>
                <a:lnTo>
                  <a:pt x="1479" y="748"/>
                </a:lnTo>
                <a:lnTo>
                  <a:pt x="1494" y="743"/>
                </a:lnTo>
                <a:lnTo>
                  <a:pt x="1509" y="738"/>
                </a:lnTo>
                <a:lnTo>
                  <a:pt x="1527" y="734"/>
                </a:lnTo>
                <a:lnTo>
                  <a:pt x="1545" y="731"/>
                </a:lnTo>
                <a:lnTo>
                  <a:pt x="1564" y="729"/>
                </a:lnTo>
                <a:lnTo>
                  <a:pt x="1585" y="728"/>
                </a:lnTo>
                <a:lnTo>
                  <a:pt x="1585" y="728"/>
                </a:lnTo>
                <a:lnTo>
                  <a:pt x="1588" y="744"/>
                </a:lnTo>
                <a:lnTo>
                  <a:pt x="1588" y="744"/>
                </a:lnTo>
                <a:lnTo>
                  <a:pt x="1588" y="758"/>
                </a:lnTo>
                <a:lnTo>
                  <a:pt x="1588" y="773"/>
                </a:lnTo>
                <a:lnTo>
                  <a:pt x="1586" y="787"/>
                </a:lnTo>
                <a:lnTo>
                  <a:pt x="1583" y="802"/>
                </a:lnTo>
                <a:lnTo>
                  <a:pt x="1578" y="818"/>
                </a:lnTo>
                <a:lnTo>
                  <a:pt x="1573" y="833"/>
                </a:lnTo>
                <a:lnTo>
                  <a:pt x="1565" y="848"/>
                </a:lnTo>
                <a:lnTo>
                  <a:pt x="1557" y="864"/>
                </a:lnTo>
                <a:lnTo>
                  <a:pt x="1549" y="880"/>
                </a:lnTo>
                <a:lnTo>
                  <a:pt x="1539" y="895"/>
                </a:lnTo>
                <a:lnTo>
                  <a:pt x="1528" y="912"/>
                </a:lnTo>
                <a:lnTo>
                  <a:pt x="1516" y="927"/>
                </a:lnTo>
                <a:lnTo>
                  <a:pt x="1503" y="943"/>
                </a:lnTo>
                <a:lnTo>
                  <a:pt x="1490" y="959"/>
                </a:lnTo>
                <a:lnTo>
                  <a:pt x="1476" y="974"/>
                </a:lnTo>
                <a:lnTo>
                  <a:pt x="1461" y="989"/>
                </a:lnTo>
                <a:lnTo>
                  <a:pt x="1429" y="1020"/>
                </a:lnTo>
                <a:lnTo>
                  <a:pt x="1396" y="1049"/>
                </a:lnTo>
                <a:lnTo>
                  <a:pt x="1360" y="1076"/>
                </a:lnTo>
                <a:lnTo>
                  <a:pt x="1323" y="1102"/>
                </a:lnTo>
                <a:lnTo>
                  <a:pt x="1285" y="1126"/>
                </a:lnTo>
                <a:lnTo>
                  <a:pt x="1247" y="1148"/>
                </a:lnTo>
                <a:lnTo>
                  <a:pt x="1209" y="1167"/>
                </a:lnTo>
                <a:lnTo>
                  <a:pt x="1189" y="1177"/>
                </a:lnTo>
                <a:lnTo>
                  <a:pt x="1171" y="1185"/>
                </a:lnTo>
                <a:lnTo>
                  <a:pt x="1171" y="1185"/>
                </a:lnTo>
                <a:lnTo>
                  <a:pt x="1133" y="1199"/>
                </a:lnTo>
                <a:lnTo>
                  <a:pt x="1095" y="1211"/>
                </a:lnTo>
                <a:lnTo>
                  <a:pt x="1060" y="1223"/>
                </a:lnTo>
                <a:lnTo>
                  <a:pt x="1026" y="1232"/>
                </a:lnTo>
                <a:lnTo>
                  <a:pt x="993" y="1240"/>
                </a:lnTo>
                <a:lnTo>
                  <a:pt x="962" y="1246"/>
                </a:lnTo>
                <a:lnTo>
                  <a:pt x="933" y="1250"/>
                </a:lnTo>
                <a:lnTo>
                  <a:pt x="905" y="1254"/>
                </a:lnTo>
                <a:lnTo>
                  <a:pt x="879" y="1256"/>
                </a:lnTo>
                <a:lnTo>
                  <a:pt x="856" y="1257"/>
                </a:lnTo>
                <a:lnTo>
                  <a:pt x="834" y="1257"/>
                </a:lnTo>
                <a:lnTo>
                  <a:pt x="815" y="1256"/>
                </a:lnTo>
                <a:lnTo>
                  <a:pt x="799" y="1254"/>
                </a:lnTo>
                <a:lnTo>
                  <a:pt x="785" y="1251"/>
                </a:lnTo>
                <a:lnTo>
                  <a:pt x="774" y="1247"/>
                </a:lnTo>
                <a:lnTo>
                  <a:pt x="765" y="1243"/>
                </a:lnTo>
                <a:lnTo>
                  <a:pt x="765" y="1243"/>
                </a:lnTo>
                <a:lnTo>
                  <a:pt x="741" y="1227"/>
                </a:lnTo>
                <a:lnTo>
                  <a:pt x="720" y="1209"/>
                </a:lnTo>
                <a:lnTo>
                  <a:pt x="701" y="1191"/>
                </a:lnTo>
                <a:lnTo>
                  <a:pt x="685" y="1172"/>
                </a:lnTo>
                <a:lnTo>
                  <a:pt x="670" y="1155"/>
                </a:lnTo>
                <a:lnTo>
                  <a:pt x="656" y="1137"/>
                </a:lnTo>
                <a:lnTo>
                  <a:pt x="645" y="1119"/>
                </a:lnTo>
                <a:lnTo>
                  <a:pt x="634" y="1102"/>
                </a:lnTo>
                <a:lnTo>
                  <a:pt x="615" y="1071"/>
                </a:lnTo>
                <a:lnTo>
                  <a:pt x="605" y="1057"/>
                </a:lnTo>
                <a:lnTo>
                  <a:pt x="596" y="1045"/>
                </a:lnTo>
                <a:lnTo>
                  <a:pt x="587" y="1033"/>
                </a:lnTo>
                <a:lnTo>
                  <a:pt x="577" y="1025"/>
                </a:lnTo>
                <a:lnTo>
                  <a:pt x="565" y="1018"/>
                </a:lnTo>
                <a:lnTo>
                  <a:pt x="559" y="1015"/>
                </a:lnTo>
                <a:lnTo>
                  <a:pt x="553" y="1013"/>
                </a:lnTo>
                <a:lnTo>
                  <a:pt x="553" y="1013"/>
                </a:lnTo>
                <a:lnTo>
                  <a:pt x="549" y="1013"/>
                </a:lnTo>
                <a:lnTo>
                  <a:pt x="546" y="1013"/>
                </a:lnTo>
                <a:lnTo>
                  <a:pt x="539" y="1015"/>
                </a:lnTo>
                <a:lnTo>
                  <a:pt x="532" y="1018"/>
                </a:lnTo>
                <a:lnTo>
                  <a:pt x="524" y="1022"/>
                </a:lnTo>
                <a:lnTo>
                  <a:pt x="516" y="1026"/>
                </a:lnTo>
                <a:lnTo>
                  <a:pt x="507" y="1029"/>
                </a:lnTo>
                <a:lnTo>
                  <a:pt x="499" y="1031"/>
                </a:lnTo>
                <a:lnTo>
                  <a:pt x="494" y="1031"/>
                </a:lnTo>
                <a:lnTo>
                  <a:pt x="489" y="1031"/>
                </a:lnTo>
                <a:lnTo>
                  <a:pt x="489" y="1031"/>
                </a:lnTo>
                <a:lnTo>
                  <a:pt x="468" y="1028"/>
                </a:lnTo>
                <a:lnTo>
                  <a:pt x="448" y="1025"/>
                </a:lnTo>
                <a:lnTo>
                  <a:pt x="427" y="1024"/>
                </a:lnTo>
                <a:lnTo>
                  <a:pt x="406" y="1023"/>
                </a:lnTo>
                <a:lnTo>
                  <a:pt x="386" y="1023"/>
                </a:lnTo>
                <a:lnTo>
                  <a:pt x="366" y="1025"/>
                </a:lnTo>
                <a:lnTo>
                  <a:pt x="347" y="1027"/>
                </a:lnTo>
                <a:lnTo>
                  <a:pt x="327" y="1031"/>
                </a:lnTo>
                <a:lnTo>
                  <a:pt x="309" y="1035"/>
                </a:lnTo>
                <a:lnTo>
                  <a:pt x="292" y="1043"/>
                </a:lnTo>
                <a:lnTo>
                  <a:pt x="276" y="1050"/>
                </a:lnTo>
                <a:lnTo>
                  <a:pt x="262" y="1059"/>
                </a:lnTo>
                <a:lnTo>
                  <a:pt x="248" y="1070"/>
                </a:lnTo>
                <a:lnTo>
                  <a:pt x="242" y="1076"/>
                </a:lnTo>
                <a:lnTo>
                  <a:pt x="236" y="1082"/>
                </a:lnTo>
                <a:lnTo>
                  <a:pt x="231" y="1090"/>
                </a:lnTo>
                <a:lnTo>
                  <a:pt x="227" y="1098"/>
                </a:lnTo>
                <a:lnTo>
                  <a:pt x="223" y="1105"/>
                </a:lnTo>
                <a:lnTo>
                  <a:pt x="219" y="1114"/>
                </a:lnTo>
                <a:lnTo>
                  <a:pt x="219" y="1114"/>
                </a:lnTo>
                <a:lnTo>
                  <a:pt x="257" y="1112"/>
                </a:lnTo>
                <a:lnTo>
                  <a:pt x="292" y="1111"/>
                </a:lnTo>
                <a:lnTo>
                  <a:pt x="312" y="1111"/>
                </a:lnTo>
                <a:lnTo>
                  <a:pt x="331" y="1112"/>
                </a:lnTo>
                <a:lnTo>
                  <a:pt x="349" y="1113"/>
                </a:lnTo>
                <a:lnTo>
                  <a:pt x="364" y="1116"/>
                </a:lnTo>
                <a:lnTo>
                  <a:pt x="377" y="1119"/>
                </a:lnTo>
                <a:lnTo>
                  <a:pt x="382" y="1121"/>
                </a:lnTo>
                <a:lnTo>
                  <a:pt x="387" y="1123"/>
                </a:lnTo>
                <a:lnTo>
                  <a:pt x="389" y="1126"/>
                </a:lnTo>
                <a:lnTo>
                  <a:pt x="391" y="1130"/>
                </a:lnTo>
                <a:lnTo>
                  <a:pt x="391" y="1133"/>
                </a:lnTo>
                <a:lnTo>
                  <a:pt x="389" y="1137"/>
                </a:lnTo>
                <a:lnTo>
                  <a:pt x="386" y="1141"/>
                </a:lnTo>
                <a:lnTo>
                  <a:pt x="381" y="1146"/>
                </a:lnTo>
                <a:lnTo>
                  <a:pt x="374" y="1151"/>
                </a:lnTo>
                <a:lnTo>
                  <a:pt x="366" y="1156"/>
                </a:lnTo>
                <a:lnTo>
                  <a:pt x="366" y="1156"/>
                </a:lnTo>
                <a:lnTo>
                  <a:pt x="357" y="1162"/>
                </a:lnTo>
                <a:lnTo>
                  <a:pt x="351" y="1168"/>
                </a:lnTo>
                <a:lnTo>
                  <a:pt x="346" y="1175"/>
                </a:lnTo>
                <a:lnTo>
                  <a:pt x="344" y="1182"/>
                </a:lnTo>
                <a:lnTo>
                  <a:pt x="343" y="1189"/>
                </a:lnTo>
                <a:lnTo>
                  <a:pt x="344" y="1195"/>
                </a:lnTo>
                <a:lnTo>
                  <a:pt x="346" y="1202"/>
                </a:lnTo>
                <a:lnTo>
                  <a:pt x="349" y="1209"/>
                </a:lnTo>
                <a:lnTo>
                  <a:pt x="354" y="1217"/>
                </a:lnTo>
                <a:lnTo>
                  <a:pt x="360" y="1225"/>
                </a:lnTo>
                <a:lnTo>
                  <a:pt x="368" y="1232"/>
                </a:lnTo>
                <a:lnTo>
                  <a:pt x="376" y="1239"/>
                </a:lnTo>
                <a:lnTo>
                  <a:pt x="396" y="1254"/>
                </a:lnTo>
                <a:lnTo>
                  <a:pt x="418" y="1270"/>
                </a:lnTo>
                <a:lnTo>
                  <a:pt x="442" y="1285"/>
                </a:lnTo>
                <a:lnTo>
                  <a:pt x="467" y="1299"/>
                </a:lnTo>
                <a:lnTo>
                  <a:pt x="519" y="1327"/>
                </a:lnTo>
                <a:lnTo>
                  <a:pt x="565" y="1350"/>
                </a:lnTo>
                <a:lnTo>
                  <a:pt x="585" y="1361"/>
                </a:lnTo>
                <a:lnTo>
                  <a:pt x="601" y="1370"/>
                </a:lnTo>
                <a:lnTo>
                  <a:pt x="601" y="1370"/>
                </a:lnTo>
                <a:lnTo>
                  <a:pt x="608" y="1375"/>
                </a:lnTo>
                <a:lnTo>
                  <a:pt x="611" y="1379"/>
                </a:lnTo>
                <a:lnTo>
                  <a:pt x="613" y="1382"/>
                </a:lnTo>
                <a:lnTo>
                  <a:pt x="611" y="1385"/>
                </a:lnTo>
                <a:lnTo>
                  <a:pt x="608" y="1387"/>
                </a:lnTo>
                <a:lnTo>
                  <a:pt x="604" y="1389"/>
                </a:lnTo>
                <a:lnTo>
                  <a:pt x="598" y="1390"/>
                </a:lnTo>
                <a:lnTo>
                  <a:pt x="598" y="1390"/>
                </a:lnTo>
                <a:lnTo>
                  <a:pt x="588" y="1390"/>
                </a:lnTo>
                <a:lnTo>
                  <a:pt x="576" y="1388"/>
                </a:lnTo>
                <a:lnTo>
                  <a:pt x="561" y="1385"/>
                </a:lnTo>
                <a:lnTo>
                  <a:pt x="545" y="1380"/>
                </a:lnTo>
                <a:lnTo>
                  <a:pt x="509" y="1369"/>
                </a:lnTo>
                <a:lnTo>
                  <a:pt x="469" y="1354"/>
                </a:lnTo>
                <a:lnTo>
                  <a:pt x="387" y="1323"/>
                </a:lnTo>
                <a:lnTo>
                  <a:pt x="349" y="1307"/>
                </a:lnTo>
                <a:lnTo>
                  <a:pt x="314" y="1296"/>
                </a:lnTo>
                <a:lnTo>
                  <a:pt x="314" y="1296"/>
                </a:lnTo>
                <a:lnTo>
                  <a:pt x="303" y="1293"/>
                </a:lnTo>
                <a:lnTo>
                  <a:pt x="292" y="1291"/>
                </a:lnTo>
                <a:lnTo>
                  <a:pt x="283" y="1291"/>
                </a:lnTo>
                <a:lnTo>
                  <a:pt x="275" y="1292"/>
                </a:lnTo>
                <a:lnTo>
                  <a:pt x="268" y="1294"/>
                </a:lnTo>
                <a:lnTo>
                  <a:pt x="262" y="1297"/>
                </a:lnTo>
                <a:lnTo>
                  <a:pt x="257" y="1300"/>
                </a:lnTo>
                <a:lnTo>
                  <a:pt x="253" y="1303"/>
                </a:lnTo>
                <a:lnTo>
                  <a:pt x="244" y="1312"/>
                </a:lnTo>
                <a:lnTo>
                  <a:pt x="238" y="1319"/>
                </a:lnTo>
                <a:lnTo>
                  <a:pt x="234" y="1324"/>
                </a:lnTo>
                <a:lnTo>
                  <a:pt x="231" y="1325"/>
                </a:lnTo>
                <a:lnTo>
                  <a:pt x="229" y="1326"/>
                </a:lnTo>
                <a:lnTo>
                  <a:pt x="229" y="1326"/>
                </a:lnTo>
                <a:lnTo>
                  <a:pt x="220" y="1325"/>
                </a:lnTo>
                <a:lnTo>
                  <a:pt x="210" y="1324"/>
                </a:lnTo>
                <a:lnTo>
                  <a:pt x="198" y="1325"/>
                </a:lnTo>
                <a:lnTo>
                  <a:pt x="188" y="1325"/>
                </a:lnTo>
                <a:lnTo>
                  <a:pt x="166" y="1329"/>
                </a:lnTo>
                <a:lnTo>
                  <a:pt x="143" y="1335"/>
                </a:lnTo>
                <a:lnTo>
                  <a:pt x="121" y="1343"/>
                </a:lnTo>
                <a:lnTo>
                  <a:pt x="98" y="1353"/>
                </a:lnTo>
                <a:lnTo>
                  <a:pt x="77" y="1367"/>
                </a:lnTo>
                <a:lnTo>
                  <a:pt x="66" y="1374"/>
                </a:lnTo>
                <a:lnTo>
                  <a:pt x="57" y="1381"/>
                </a:lnTo>
                <a:lnTo>
                  <a:pt x="48" y="1389"/>
                </a:lnTo>
                <a:lnTo>
                  <a:pt x="40" y="1397"/>
                </a:lnTo>
                <a:lnTo>
                  <a:pt x="32" y="1407"/>
                </a:lnTo>
                <a:lnTo>
                  <a:pt x="25" y="1416"/>
                </a:lnTo>
                <a:lnTo>
                  <a:pt x="18" y="1426"/>
                </a:lnTo>
                <a:lnTo>
                  <a:pt x="12" y="1435"/>
                </a:lnTo>
                <a:lnTo>
                  <a:pt x="8" y="1446"/>
                </a:lnTo>
                <a:lnTo>
                  <a:pt x="4" y="1458"/>
                </a:lnTo>
                <a:lnTo>
                  <a:pt x="2" y="1469"/>
                </a:lnTo>
                <a:lnTo>
                  <a:pt x="0" y="1480"/>
                </a:lnTo>
                <a:lnTo>
                  <a:pt x="0" y="1492"/>
                </a:lnTo>
                <a:lnTo>
                  <a:pt x="0" y="1505"/>
                </a:lnTo>
                <a:lnTo>
                  <a:pt x="3" y="1518"/>
                </a:lnTo>
                <a:lnTo>
                  <a:pt x="6" y="1530"/>
                </a:lnTo>
                <a:lnTo>
                  <a:pt x="11" y="1544"/>
                </a:lnTo>
                <a:lnTo>
                  <a:pt x="17" y="1558"/>
                </a:lnTo>
                <a:lnTo>
                  <a:pt x="17" y="1558"/>
                </a:lnTo>
                <a:lnTo>
                  <a:pt x="20" y="1553"/>
                </a:lnTo>
                <a:lnTo>
                  <a:pt x="30" y="1540"/>
                </a:lnTo>
                <a:lnTo>
                  <a:pt x="45" y="1521"/>
                </a:lnTo>
                <a:lnTo>
                  <a:pt x="53" y="1511"/>
                </a:lnTo>
                <a:lnTo>
                  <a:pt x="63" y="1501"/>
                </a:lnTo>
                <a:lnTo>
                  <a:pt x="75" y="1490"/>
                </a:lnTo>
                <a:lnTo>
                  <a:pt x="86" y="1481"/>
                </a:lnTo>
                <a:lnTo>
                  <a:pt x="98" y="1473"/>
                </a:lnTo>
                <a:lnTo>
                  <a:pt x="111" y="1466"/>
                </a:lnTo>
                <a:lnTo>
                  <a:pt x="125" y="1461"/>
                </a:lnTo>
                <a:lnTo>
                  <a:pt x="131" y="1459"/>
                </a:lnTo>
                <a:lnTo>
                  <a:pt x="138" y="1458"/>
                </a:lnTo>
                <a:lnTo>
                  <a:pt x="145" y="1458"/>
                </a:lnTo>
                <a:lnTo>
                  <a:pt x="151" y="1458"/>
                </a:lnTo>
                <a:lnTo>
                  <a:pt x="159" y="1459"/>
                </a:lnTo>
                <a:lnTo>
                  <a:pt x="166" y="1461"/>
                </a:lnTo>
                <a:lnTo>
                  <a:pt x="166" y="1461"/>
                </a:lnTo>
                <a:lnTo>
                  <a:pt x="171" y="1463"/>
                </a:lnTo>
                <a:lnTo>
                  <a:pt x="174" y="1467"/>
                </a:lnTo>
                <a:lnTo>
                  <a:pt x="175" y="1473"/>
                </a:lnTo>
                <a:lnTo>
                  <a:pt x="176" y="1479"/>
                </a:lnTo>
                <a:lnTo>
                  <a:pt x="176" y="1496"/>
                </a:lnTo>
                <a:lnTo>
                  <a:pt x="174" y="1514"/>
                </a:lnTo>
                <a:lnTo>
                  <a:pt x="174" y="1524"/>
                </a:lnTo>
                <a:lnTo>
                  <a:pt x="174" y="1534"/>
                </a:lnTo>
                <a:lnTo>
                  <a:pt x="176" y="1545"/>
                </a:lnTo>
                <a:lnTo>
                  <a:pt x="178" y="1554"/>
                </a:lnTo>
                <a:lnTo>
                  <a:pt x="182" y="1564"/>
                </a:lnTo>
                <a:lnTo>
                  <a:pt x="187" y="1573"/>
                </a:lnTo>
                <a:lnTo>
                  <a:pt x="195" y="1581"/>
                </a:lnTo>
                <a:lnTo>
                  <a:pt x="205" y="1589"/>
                </a:lnTo>
                <a:lnTo>
                  <a:pt x="205" y="1589"/>
                </a:lnTo>
                <a:lnTo>
                  <a:pt x="213" y="1593"/>
                </a:lnTo>
                <a:lnTo>
                  <a:pt x="221" y="1596"/>
                </a:lnTo>
                <a:lnTo>
                  <a:pt x="231" y="1599"/>
                </a:lnTo>
                <a:lnTo>
                  <a:pt x="242" y="1600"/>
                </a:lnTo>
                <a:lnTo>
                  <a:pt x="254" y="1602"/>
                </a:lnTo>
                <a:lnTo>
                  <a:pt x="267" y="1602"/>
                </a:lnTo>
                <a:lnTo>
                  <a:pt x="293" y="1602"/>
                </a:lnTo>
                <a:lnTo>
                  <a:pt x="323" y="1600"/>
                </a:lnTo>
                <a:lnTo>
                  <a:pt x="354" y="1597"/>
                </a:lnTo>
                <a:lnTo>
                  <a:pt x="418" y="1589"/>
                </a:lnTo>
                <a:lnTo>
                  <a:pt x="481" y="1580"/>
                </a:lnTo>
                <a:lnTo>
                  <a:pt x="510" y="1576"/>
                </a:lnTo>
                <a:lnTo>
                  <a:pt x="538" y="1574"/>
                </a:lnTo>
                <a:lnTo>
                  <a:pt x="562" y="1573"/>
                </a:lnTo>
                <a:lnTo>
                  <a:pt x="583" y="1574"/>
                </a:lnTo>
                <a:lnTo>
                  <a:pt x="592" y="1575"/>
                </a:lnTo>
                <a:lnTo>
                  <a:pt x="600" y="1577"/>
                </a:lnTo>
                <a:lnTo>
                  <a:pt x="607" y="1580"/>
                </a:lnTo>
                <a:lnTo>
                  <a:pt x="613" y="1585"/>
                </a:lnTo>
                <a:lnTo>
                  <a:pt x="613" y="1585"/>
                </a:lnTo>
                <a:lnTo>
                  <a:pt x="616" y="1588"/>
                </a:lnTo>
                <a:lnTo>
                  <a:pt x="617" y="1591"/>
                </a:lnTo>
                <a:lnTo>
                  <a:pt x="616" y="1593"/>
                </a:lnTo>
                <a:lnTo>
                  <a:pt x="611" y="1596"/>
                </a:lnTo>
                <a:lnTo>
                  <a:pt x="607" y="1598"/>
                </a:lnTo>
                <a:lnTo>
                  <a:pt x="600" y="1601"/>
                </a:lnTo>
                <a:lnTo>
                  <a:pt x="583" y="1605"/>
                </a:lnTo>
                <a:lnTo>
                  <a:pt x="560" y="1609"/>
                </a:lnTo>
                <a:lnTo>
                  <a:pt x="535" y="1612"/>
                </a:lnTo>
                <a:lnTo>
                  <a:pt x="474" y="1620"/>
                </a:lnTo>
                <a:lnTo>
                  <a:pt x="443" y="1624"/>
                </a:lnTo>
                <a:lnTo>
                  <a:pt x="412" y="1629"/>
                </a:lnTo>
                <a:lnTo>
                  <a:pt x="382" y="1636"/>
                </a:lnTo>
                <a:lnTo>
                  <a:pt x="356" y="1642"/>
                </a:lnTo>
                <a:lnTo>
                  <a:pt x="344" y="1646"/>
                </a:lnTo>
                <a:lnTo>
                  <a:pt x="332" y="1650"/>
                </a:lnTo>
                <a:lnTo>
                  <a:pt x="322" y="1654"/>
                </a:lnTo>
                <a:lnTo>
                  <a:pt x="314" y="1659"/>
                </a:lnTo>
                <a:lnTo>
                  <a:pt x="307" y="1664"/>
                </a:lnTo>
                <a:lnTo>
                  <a:pt x="302" y="1669"/>
                </a:lnTo>
                <a:lnTo>
                  <a:pt x="298" y="1676"/>
                </a:lnTo>
                <a:lnTo>
                  <a:pt x="296" y="1682"/>
                </a:lnTo>
                <a:lnTo>
                  <a:pt x="296" y="1682"/>
                </a:lnTo>
                <a:lnTo>
                  <a:pt x="295" y="1687"/>
                </a:lnTo>
                <a:lnTo>
                  <a:pt x="295" y="1696"/>
                </a:lnTo>
                <a:lnTo>
                  <a:pt x="296" y="1707"/>
                </a:lnTo>
                <a:lnTo>
                  <a:pt x="298" y="1713"/>
                </a:lnTo>
                <a:lnTo>
                  <a:pt x="300" y="1718"/>
                </a:lnTo>
                <a:lnTo>
                  <a:pt x="300" y="1718"/>
                </a:lnTo>
                <a:lnTo>
                  <a:pt x="301" y="1725"/>
                </a:lnTo>
                <a:lnTo>
                  <a:pt x="301" y="1731"/>
                </a:lnTo>
                <a:lnTo>
                  <a:pt x="298" y="1737"/>
                </a:lnTo>
                <a:lnTo>
                  <a:pt x="293" y="1743"/>
                </a:lnTo>
                <a:lnTo>
                  <a:pt x="283" y="1757"/>
                </a:lnTo>
                <a:lnTo>
                  <a:pt x="269" y="1775"/>
                </a:lnTo>
                <a:lnTo>
                  <a:pt x="261" y="1785"/>
                </a:lnTo>
                <a:lnTo>
                  <a:pt x="254" y="1795"/>
                </a:lnTo>
                <a:lnTo>
                  <a:pt x="246" y="1807"/>
                </a:lnTo>
                <a:lnTo>
                  <a:pt x="240" y="1820"/>
                </a:lnTo>
                <a:lnTo>
                  <a:pt x="234" y="1834"/>
                </a:lnTo>
                <a:lnTo>
                  <a:pt x="230" y="1849"/>
                </a:lnTo>
                <a:lnTo>
                  <a:pt x="226" y="1866"/>
                </a:lnTo>
                <a:lnTo>
                  <a:pt x="225" y="1884"/>
                </a:lnTo>
                <a:lnTo>
                  <a:pt x="225" y="1884"/>
                </a:lnTo>
                <a:lnTo>
                  <a:pt x="225" y="1893"/>
                </a:lnTo>
                <a:lnTo>
                  <a:pt x="225" y="1902"/>
                </a:lnTo>
                <a:lnTo>
                  <a:pt x="228" y="1920"/>
                </a:lnTo>
                <a:lnTo>
                  <a:pt x="233" y="1937"/>
                </a:lnTo>
                <a:lnTo>
                  <a:pt x="239" y="1953"/>
                </a:lnTo>
                <a:lnTo>
                  <a:pt x="247" y="1968"/>
                </a:lnTo>
                <a:lnTo>
                  <a:pt x="257" y="1982"/>
                </a:lnTo>
                <a:lnTo>
                  <a:pt x="267" y="1995"/>
                </a:lnTo>
                <a:lnTo>
                  <a:pt x="277" y="2007"/>
                </a:lnTo>
                <a:lnTo>
                  <a:pt x="287" y="2017"/>
                </a:lnTo>
                <a:lnTo>
                  <a:pt x="298" y="2026"/>
                </a:lnTo>
                <a:lnTo>
                  <a:pt x="315" y="2042"/>
                </a:lnTo>
                <a:lnTo>
                  <a:pt x="327" y="2050"/>
                </a:lnTo>
                <a:lnTo>
                  <a:pt x="332" y="2054"/>
                </a:lnTo>
                <a:lnTo>
                  <a:pt x="332" y="2054"/>
                </a:lnTo>
                <a:lnTo>
                  <a:pt x="334" y="2050"/>
                </a:lnTo>
                <a:lnTo>
                  <a:pt x="335" y="2045"/>
                </a:lnTo>
                <a:lnTo>
                  <a:pt x="335" y="2036"/>
                </a:lnTo>
                <a:lnTo>
                  <a:pt x="334" y="2027"/>
                </a:lnTo>
                <a:lnTo>
                  <a:pt x="331" y="2006"/>
                </a:lnTo>
                <a:lnTo>
                  <a:pt x="328" y="1980"/>
                </a:lnTo>
                <a:lnTo>
                  <a:pt x="327" y="1968"/>
                </a:lnTo>
                <a:lnTo>
                  <a:pt x="326" y="1955"/>
                </a:lnTo>
                <a:lnTo>
                  <a:pt x="326" y="1943"/>
                </a:lnTo>
                <a:lnTo>
                  <a:pt x="328" y="1932"/>
                </a:lnTo>
                <a:lnTo>
                  <a:pt x="330" y="1922"/>
                </a:lnTo>
                <a:lnTo>
                  <a:pt x="334" y="1913"/>
                </a:lnTo>
                <a:lnTo>
                  <a:pt x="337" y="1910"/>
                </a:lnTo>
                <a:lnTo>
                  <a:pt x="341" y="1906"/>
                </a:lnTo>
                <a:lnTo>
                  <a:pt x="344" y="1904"/>
                </a:lnTo>
                <a:lnTo>
                  <a:pt x="348" y="1901"/>
                </a:lnTo>
                <a:lnTo>
                  <a:pt x="348" y="1901"/>
                </a:lnTo>
                <a:lnTo>
                  <a:pt x="353" y="1900"/>
                </a:lnTo>
                <a:lnTo>
                  <a:pt x="357" y="1900"/>
                </a:lnTo>
                <a:lnTo>
                  <a:pt x="362" y="1901"/>
                </a:lnTo>
                <a:lnTo>
                  <a:pt x="366" y="1905"/>
                </a:lnTo>
                <a:lnTo>
                  <a:pt x="375" y="1912"/>
                </a:lnTo>
                <a:lnTo>
                  <a:pt x="386" y="1921"/>
                </a:lnTo>
                <a:lnTo>
                  <a:pt x="397" y="1932"/>
                </a:lnTo>
                <a:lnTo>
                  <a:pt x="410" y="1941"/>
                </a:lnTo>
                <a:lnTo>
                  <a:pt x="417" y="1946"/>
                </a:lnTo>
                <a:lnTo>
                  <a:pt x="424" y="1950"/>
                </a:lnTo>
                <a:lnTo>
                  <a:pt x="434" y="1953"/>
                </a:lnTo>
                <a:lnTo>
                  <a:pt x="442" y="1955"/>
                </a:lnTo>
                <a:lnTo>
                  <a:pt x="442" y="1955"/>
                </a:lnTo>
                <a:lnTo>
                  <a:pt x="451" y="1955"/>
                </a:lnTo>
                <a:lnTo>
                  <a:pt x="460" y="1955"/>
                </a:lnTo>
                <a:lnTo>
                  <a:pt x="468" y="1954"/>
                </a:lnTo>
                <a:lnTo>
                  <a:pt x="478" y="1952"/>
                </a:lnTo>
                <a:lnTo>
                  <a:pt x="486" y="1948"/>
                </a:lnTo>
                <a:lnTo>
                  <a:pt x="494" y="1944"/>
                </a:lnTo>
                <a:lnTo>
                  <a:pt x="501" y="1940"/>
                </a:lnTo>
                <a:lnTo>
                  <a:pt x="509" y="1935"/>
                </a:lnTo>
                <a:lnTo>
                  <a:pt x="525" y="1923"/>
                </a:lnTo>
                <a:lnTo>
                  <a:pt x="539" y="1909"/>
                </a:lnTo>
                <a:lnTo>
                  <a:pt x="554" y="1892"/>
                </a:lnTo>
                <a:lnTo>
                  <a:pt x="571" y="1875"/>
                </a:lnTo>
                <a:lnTo>
                  <a:pt x="604" y="1836"/>
                </a:lnTo>
                <a:lnTo>
                  <a:pt x="624" y="1817"/>
                </a:lnTo>
                <a:lnTo>
                  <a:pt x="644" y="1797"/>
                </a:lnTo>
                <a:lnTo>
                  <a:pt x="667" y="1777"/>
                </a:lnTo>
                <a:lnTo>
                  <a:pt x="691" y="1758"/>
                </a:lnTo>
                <a:lnTo>
                  <a:pt x="705" y="1749"/>
                </a:lnTo>
                <a:lnTo>
                  <a:pt x="718" y="1741"/>
                </a:lnTo>
                <a:lnTo>
                  <a:pt x="732" y="1733"/>
                </a:lnTo>
                <a:lnTo>
                  <a:pt x="747" y="1725"/>
                </a:lnTo>
                <a:lnTo>
                  <a:pt x="747" y="1725"/>
                </a:lnTo>
                <a:lnTo>
                  <a:pt x="787" y="1706"/>
                </a:lnTo>
                <a:lnTo>
                  <a:pt x="819" y="1694"/>
                </a:lnTo>
                <a:lnTo>
                  <a:pt x="831" y="1689"/>
                </a:lnTo>
                <a:lnTo>
                  <a:pt x="843" y="1686"/>
                </a:lnTo>
                <a:lnTo>
                  <a:pt x="852" y="1685"/>
                </a:lnTo>
                <a:lnTo>
                  <a:pt x="859" y="1684"/>
                </a:lnTo>
                <a:lnTo>
                  <a:pt x="865" y="1684"/>
                </a:lnTo>
                <a:lnTo>
                  <a:pt x="869" y="1686"/>
                </a:lnTo>
                <a:lnTo>
                  <a:pt x="872" y="1688"/>
                </a:lnTo>
                <a:lnTo>
                  <a:pt x="874" y="1691"/>
                </a:lnTo>
                <a:lnTo>
                  <a:pt x="876" y="1694"/>
                </a:lnTo>
                <a:lnTo>
                  <a:pt x="876" y="1698"/>
                </a:lnTo>
                <a:lnTo>
                  <a:pt x="875" y="1708"/>
                </a:lnTo>
                <a:lnTo>
                  <a:pt x="872" y="1720"/>
                </a:lnTo>
                <a:lnTo>
                  <a:pt x="868" y="1734"/>
                </a:lnTo>
                <a:lnTo>
                  <a:pt x="865" y="1747"/>
                </a:lnTo>
                <a:lnTo>
                  <a:pt x="863" y="1759"/>
                </a:lnTo>
                <a:lnTo>
                  <a:pt x="863" y="1765"/>
                </a:lnTo>
                <a:lnTo>
                  <a:pt x="863" y="1772"/>
                </a:lnTo>
                <a:lnTo>
                  <a:pt x="865" y="1777"/>
                </a:lnTo>
                <a:lnTo>
                  <a:pt x="867" y="1782"/>
                </a:lnTo>
                <a:lnTo>
                  <a:pt x="870" y="1786"/>
                </a:lnTo>
                <a:lnTo>
                  <a:pt x="875" y="1790"/>
                </a:lnTo>
                <a:lnTo>
                  <a:pt x="881" y="1793"/>
                </a:lnTo>
                <a:lnTo>
                  <a:pt x="889" y="1795"/>
                </a:lnTo>
                <a:lnTo>
                  <a:pt x="889" y="1795"/>
                </a:lnTo>
                <a:lnTo>
                  <a:pt x="901" y="1799"/>
                </a:lnTo>
                <a:lnTo>
                  <a:pt x="912" y="1802"/>
                </a:lnTo>
                <a:lnTo>
                  <a:pt x="921" y="1807"/>
                </a:lnTo>
                <a:lnTo>
                  <a:pt x="928" y="1811"/>
                </a:lnTo>
                <a:lnTo>
                  <a:pt x="935" y="1817"/>
                </a:lnTo>
                <a:lnTo>
                  <a:pt x="940" y="1822"/>
                </a:lnTo>
                <a:lnTo>
                  <a:pt x="943" y="1828"/>
                </a:lnTo>
                <a:lnTo>
                  <a:pt x="945" y="1834"/>
                </a:lnTo>
                <a:lnTo>
                  <a:pt x="947" y="1840"/>
                </a:lnTo>
                <a:lnTo>
                  <a:pt x="947" y="1846"/>
                </a:lnTo>
                <a:lnTo>
                  <a:pt x="946" y="1853"/>
                </a:lnTo>
                <a:lnTo>
                  <a:pt x="945" y="1860"/>
                </a:lnTo>
                <a:lnTo>
                  <a:pt x="943" y="1867"/>
                </a:lnTo>
                <a:lnTo>
                  <a:pt x="940" y="1874"/>
                </a:lnTo>
                <a:lnTo>
                  <a:pt x="932" y="1887"/>
                </a:lnTo>
                <a:lnTo>
                  <a:pt x="922" y="1900"/>
                </a:lnTo>
                <a:lnTo>
                  <a:pt x="912" y="1913"/>
                </a:lnTo>
                <a:lnTo>
                  <a:pt x="902" y="1924"/>
                </a:lnTo>
                <a:lnTo>
                  <a:pt x="892" y="1934"/>
                </a:lnTo>
                <a:lnTo>
                  <a:pt x="875" y="1948"/>
                </a:lnTo>
                <a:lnTo>
                  <a:pt x="869" y="1955"/>
                </a:lnTo>
                <a:lnTo>
                  <a:pt x="869" y="1955"/>
                </a:lnTo>
                <a:lnTo>
                  <a:pt x="877" y="1959"/>
                </a:lnTo>
                <a:lnTo>
                  <a:pt x="888" y="1961"/>
                </a:lnTo>
                <a:lnTo>
                  <a:pt x="899" y="1962"/>
                </a:lnTo>
                <a:lnTo>
                  <a:pt x="912" y="1961"/>
                </a:lnTo>
                <a:lnTo>
                  <a:pt x="926" y="1958"/>
                </a:lnTo>
                <a:lnTo>
                  <a:pt x="941" y="1954"/>
                </a:lnTo>
                <a:lnTo>
                  <a:pt x="957" y="1947"/>
                </a:lnTo>
                <a:lnTo>
                  <a:pt x="972" y="1939"/>
                </a:lnTo>
                <a:lnTo>
                  <a:pt x="989" y="1930"/>
                </a:lnTo>
                <a:lnTo>
                  <a:pt x="1004" y="1919"/>
                </a:lnTo>
                <a:lnTo>
                  <a:pt x="1019" y="1906"/>
                </a:lnTo>
                <a:lnTo>
                  <a:pt x="1035" y="1891"/>
                </a:lnTo>
                <a:lnTo>
                  <a:pt x="1048" y="1874"/>
                </a:lnTo>
                <a:lnTo>
                  <a:pt x="1061" y="1855"/>
                </a:lnTo>
                <a:lnTo>
                  <a:pt x="1073" y="1835"/>
                </a:lnTo>
                <a:lnTo>
                  <a:pt x="1083" y="1814"/>
                </a:lnTo>
                <a:lnTo>
                  <a:pt x="1083" y="1814"/>
                </a:lnTo>
                <a:lnTo>
                  <a:pt x="1086" y="1805"/>
                </a:lnTo>
                <a:lnTo>
                  <a:pt x="1089" y="1799"/>
                </a:lnTo>
                <a:lnTo>
                  <a:pt x="1092" y="1794"/>
                </a:lnTo>
                <a:lnTo>
                  <a:pt x="1096" y="1790"/>
                </a:lnTo>
                <a:lnTo>
                  <a:pt x="1100" y="1787"/>
                </a:lnTo>
                <a:lnTo>
                  <a:pt x="1103" y="1784"/>
                </a:lnTo>
                <a:lnTo>
                  <a:pt x="1111" y="1781"/>
                </a:lnTo>
                <a:lnTo>
                  <a:pt x="1120" y="1778"/>
                </a:lnTo>
                <a:lnTo>
                  <a:pt x="1129" y="1774"/>
                </a:lnTo>
                <a:lnTo>
                  <a:pt x="1138" y="1768"/>
                </a:lnTo>
                <a:lnTo>
                  <a:pt x="1143" y="1763"/>
                </a:lnTo>
                <a:lnTo>
                  <a:pt x="1148" y="1758"/>
                </a:lnTo>
                <a:lnTo>
                  <a:pt x="1148" y="1758"/>
                </a:lnTo>
                <a:lnTo>
                  <a:pt x="1151" y="1752"/>
                </a:lnTo>
                <a:lnTo>
                  <a:pt x="1154" y="1746"/>
                </a:lnTo>
                <a:lnTo>
                  <a:pt x="1158" y="1740"/>
                </a:lnTo>
                <a:lnTo>
                  <a:pt x="1159" y="1734"/>
                </a:lnTo>
                <a:lnTo>
                  <a:pt x="1160" y="1719"/>
                </a:lnTo>
                <a:lnTo>
                  <a:pt x="1160" y="1705"/>
                </a:lnTo>
                <a:lnTo>
                  <a:pt x="1160" y="1690"/>
                </a:lnTo>
                <a:lnTo>
                  <a:pt x="1160" y="1676"/>
                </a:lnTo>
                <a:lnTo>
                  <a:pt x="1162" y="1661"/>
                </a:lnTo>
                <a:lnTo>
                  <a:pt x="1164" y="1655"/>
                </a:lnTo>
                <a:lnTo>
                  <a:pt x="1166" y="1649"/>
                </a:lnTo>
                <a:lnTo>
                  <a:pt x="1166" y="1649"/>
                </a:lnTo>
                <a:lnTo>
                  <a:pt x="1170" y="1643"/>
                </a:lnTo>
                <a:lnTo>
                  <a:pt x="1174" y="1638"/>
                </a:lnTo>
                <a:lnTo>
                  <a:pt x="1178" y="1633"/>
                </a:lnTo>
                <a:lnTo>
                  <a:pt x="1183" y="1628"/>
                </a:lnTo>
                <a:lnTo>
                  <a:pt x="1195" y="1620"/>
                </a:lnTo>
                <a:lnTo>
                  <a:pt x="1209" y="1614"/>
                </a:lnTo>
                <a:lnTo>
                  <a:pt x="1223" y="1609"/>
                </a:lnTo>
                <a:lnTo>
                  <a:pt x="1237" y="1605"/>
                </a:lnTo>
                <a:lnTo>
                  <a:pt x="1268" y="1597"/>
                </a:lnTo>
                <a:lnTo>
                  <a:pt x="1298" y="1591"/>
                </a:lnTo>
                <a:lnTo>
                  <a:pt x="1310" y="1587"/>
                </a:lnTo>
                <a:lnTo>
                  <a:pt x="1321" y="1581"/>
                </a:lnTo>
                <a:lnTo>
                  <a:pt x="1329" y="1575"/>
                </a:lnTo>
                <a:lnTo>
                  <a:pt x="1333" y="1572"/>
                </a:lnTo>
                <a:lnTo>
                  <a:pt x="1335" y="1568"/>
                </a:lnTo>
                <a:lnTo>
                  <a:pt x="1338" y="1564"/>
                </a:lnTo>
                <a:lnTo>
                  <a:pt x="1340" y="1559"/>
                </a:lnTo>
                <a:lnTo>
                  <a:pt x="1340" y="1554"/>
                </a:lnTo>
                <a:lnTo>
                  <a:pt x="1340" y="1549"/>
                </a:lnTo>
                <a:lnTo>
                  <a:pt x="1340" y="1549"/>
                </a:lnTo>
                <a:lnTo>
                  <a:pt x="1338" y="1534"/>
                </a:lnTo>
                <a:lnTo>
                  <a:pt x="1338" y="1521"/>
                </a:lnTo>
                <a:lnTo>
                  <a:pt x="1341" y="1509"/>
                </a:lnTo>
                <a:lnTo>
                  <a:pt x="1345" y="1499"/>
                </a:lnTo>
                <a:lnTo>
                  <a:pt x="1350" y="1488"/>
                </a:lnTo>
                <a:lnTo>
                  <a:pt x="1355" y="1480"/>
                </a:lnTo>
                <a:lnTo>
                  <a:pt x="1362" y="1472"/>
                </a:lnTo>
                <a:lnTo>
                  <a:pt x="1370" y="1465"/>
                </a:lnTo>
                <a:lnTo>
                  <a:pt x="1378" y="1459"/>
                </a:lnTo>
                <a:lnTo>
                  <a:pt x="1388" y="1453"/>
                </a:lnTo>
                <a:lnTo>
                  <a:pt x="1406" y="1443"/>
                </a:lnTo>
                <a:lnTo>
                  <a:pt x="1424" y="1435"/>
                </a:lnTo>
                <a:lnTo>
                  <a:pt x="1441" y="1428"/>
                </a:lnTo>
                <a:lnTo>
                  <a:pt x="1441" y="1428"/>
                </a:lnTo>
                <a:lnTo>
                  <a:pt x="1443" y="1428"/>
                </a:lnTo>
                <a:lnTo>
                  <a:pt x="1444" y="1429"/>
                </a:lnTo>
                <a:lnTo>
                  <a:pt x="1447" y="1431"/>
                </a:lnTo>
                <a:lnTo>
                  <a:pt x="1449" y="1436"/>
                </a:lnTo>
                <a:lnTo>
                  <a:pt x="1453" y="1443"/>
                </a:lnTo>
                <a:lnTo>
                  <a:pt x="1461" y="1462"/>
                </a:lnTo>
                <a:lnTo>
                  <a:pt x="1467" y="1473"/>
                </a:lnTo>
                <a:lnTo>
                  <a:pt x="1474" y="1485"/>
                </a:lnTo>
                <a:lnTo>
                  <a:pt x="1484" y="1498"/>
                </a:lnTo>
                <a:lnTo>
                  <a:pt x="1494" y="1511"/>
                </a:lnTo>
                <a:lnTo>
                  <a:pt x="1506" y="1525"/>
                </a:lnTo>
                <a:lnTo>
                  <a:pt x="1522" y="1539"/>
                </a:lnTo>
                <a:lnTo>
                  <a:pt x="1539" y="1552"/>
                </a:lnTo>
                <a:lnTo>
                  <a:pt x="1559" y="1564"/>
                </a:lnTo>
                <a:lnTo>
                  <a:pt x="1583" y="1576"/>
                </a:lnTo>
                <a:lnTo>
                  <a:pt x="1609" y="1587"/>
                </a:lnTo>
                <a:lnTo>
                  <a:pt x="1609" y="1587"/>
                </a:lnTo>
                <a:lnTo>
                  <a:pt x="1684" y="1556"/>
                </a:lnTo>
                <a:lnTo>
                  <a:pt x="1730" y="1534"/>
                </a:lnTo>
                <a:lnTo>
                  <a:pt x="1757" y="1521"/>
                </a:lnTo>
                <a:lnTo>
                  <a:pt x="1786" y="1506"/>
                </a:lnTo>
                <a:lnTo>
                  <a:pt x="1786" y="1506"/>
                </a:lnTo>
                <a:lnTo>
                  <a:pt x="1818" y="1489"/>
                </a:lnTo>
                <a:lnTo>
                  <a:pt x="1848" y="1472"/>
                </a:lnTo>
                <a:lnTo>
                  <a:pt x="1860" y="1464"/>
                </a:lnTo>
                <a:lnTo>
                  <a:pt x="1871" y="1457"/>
                </a:lnTo>
                <a:lnTo>
                  <a:pt x="1881" y="1449"/>
                </a:lnTo>
                <a:lnTo>
                  <a:pt x="1889" y="1442"/>
                </a:lnTo>
                <a:lnTo>
                  <a:pt x="1889" y="1442"/>
                </a:lnTo>
                <a:lnTo>
                  <a:pt x="1888" y="1440"/>
                </a:lnTo>
                <a:lnTo>
                  <a:pt x="1887" y="1438"/>
                </a:lnTo>
                <a:lnTo>
                  <a:pt x="1879" y="1431"/>
                </a:lnTo>
                <a:lnTo>
                  <a:pt x="1868" y="1420"/>
                </a:lnTo>
                <a:lnTo>
                  <a:pt x="1855" y="1406"/>
                </a:lnTo>
                <a:lnTo>
                  <a:pt x="1840" y="1388"/>
                </a:lnTo>
                <a:lnTo>
                  <a:pt x="1825" y="1369"/>
                </a:lnTo>
                <a:lnTo>
                  <a:pt x="1818" y="1358"/>
                </a:lnTo>
                <a:lnTo>
                  <a:pt x="1812" y="1345"/>
                </a:lnTo>
                <a:lnTo>
                  <a:pt x="1807" y="1334"/>
                </a:lnTo>
                <a:lnTo>
                  <a:pt x="1802" y="1321"/>
                </a:lnTo>
                <a:lnTo>
                  <a:pt x="1802" y="1321"/>
                </a:lnTo>
                <a:lnTo>
                  <a:pt x="1799" y="1308"/>
                </a:lnTo>
                <a:lnTo>
                  <a:pt x="1796" y="1297"/>
                </a:lnTo>
                <a:lnTo>
                  <a:pt x="1794" y="1288"/>
                </a:lnTo>
                <a:lnTo>
                  <a:pt x="1794" y="1279"/>
                </a:lnTo>
                <a:lnTo>
                  <a:pt x="1794" y="1272"/>
                </a:lnTo>
                <a:lnTo>
                  <a:pt x="1794" y="1267"/>
                </a:lnTo>
                <a:lnTo>
                  <a:pt x="1795" y="1263"/>
                </a:lnTo>
                <a:lnTo>
                  <a:pt x="1796" y="1261"/>
                </a:lnTo>
                <a:lnTo>
                  <a:pt x="1796" y="1261"/>
                </a:lnTo>
                <a:lnTo>
                  <a:pt x="1809" y="1278"/>
                </a:lnTo>
                <a:lnTo>
                  <a:pt x="1824" y="1295"/>
                </a:lnTo>
                <a:lnTo>
                  <a:pt x="1845" y="1316"/>
                </a:lnTo>
                <a:lnTo>
                  <a:pt x="1857" y="1327"/>
                </a:lnTo>
                <a:lnTo>
                  <a:pt x="1869" y="1338"/>
                </a:lnTo>
                <a:lnTo>
                  <a:pt x="1883" y="1349"/>
                </a:lnTo>
                <a:lnTo>
                  <a:pt x="1899" y="1361"/>
                </a:lnTo>
                <a:lnTo>
                  <a:pt x="1915" y="1372"/>
                </a:lnTo>
                <a:lnTo>
                  <a:pt x="1932" y="1381"/>
                </a:lnTo>
                <a:lnTo>
                  <a:pt x="1949" y="1390"/>
                </a:lnTo>
                <a:lnTo>
                  <a:pt x="1967" y="1398"/>
                </a:lnTo>
                <a:lnTo>
                  <a:pt x="1967" y="1398"/>
                </a:lnTo>
                <a:lnTo>
                  <a:pt x="2021" y="1370"/>
                </a:lnTo>
                <a:lnTo>
                  <a:pt x="2075" y="1340"/>
                </a:lnTo>
                <a:lnTo>
                  <a:pt x="2129" y="1307"/>
                </a:lnTo>
                <a:lnTo>
                  <a:pt x="2183" y="1273"/>
                </a:lnTo>
                <a:lnTo>
                  <a:pt x="2183" y="1273"/>
                </a:lnTo>
                <a:lnTo>
                  <a:pt x="2218" y="1249"/>
                </a:lnTo>
                <a:lnTo>
                  <a:pt x="2218" y="1249"/>
                </a:lnTo>
                <a:lnTo>
                  <a:pt x="2219" y="1248"/>
                </a:lnTo>
                <a:lnTo>
                  <a:pt x="2219" y="1248"/>
                </a:lnTo>
                <a:lnTo>
                  <a:pt x="2220" y="1246"/>
                </a:lnTo>
                <a:lnTo>
                  <a:pt x="2219" y="1244"/>
                </a:lnTo>
                <a:lnTo>
                  <a:pt x="2215" y="1237"/>
                </a:lnTo>
                <a:lnTo>
                  <a:pt x="2207" y="1228"/>
                </a:lnTo>
                <a:lnTo>
                  <a:pt x="2196" y="1217"/>
                </a:lnTo>
                <a:lnTo>
                  <a:pt x="2171" y="1193"/>
                </a:lnTo>
                <a:lnTo>
                  <a:pt x="2142" y="1164"/>
                </a:lnTo>
                <a:lnTo>
                  <a:pt x="2129" y="1150"/>
                </a:lnTo>
                <a:lnTo>
                  <a:pt x="2118" y="1136"/>
                </a:lnTo>
                <a:lnTo>
                  <a:pt x="2108" y="1121"/>
                </a:lnTo>
                <a:lnTo>
                  <a:pt x="2104" y="1114"/>
                </a:lnTo>
                <a:lnTo>
                  <a:pt x="2101" y="1108"/>
                </a:lnTo>
                <a:lnTo>
                  <a:pt x="2100" y="1101"/>
                </a:lnTo>
                <a:lnTo>
                  <a:pt x="2099" y="1095"/>
                </a:lnTo>
                <a:lnTo>
                  <a:pt x="2099" y="1089"/>
                </a:lnTo>
                <a:lnTo>
                  <a:pt x="2100" y="1084"/>
                </a:lnTo>
                <a:lnTo>
                  <a:pt x="2102" y="1078"/>
                </a:lnTo>
                <a:lnTo>
                  <a:pt x="2106" y="1073"/>
                </a:lnTo>
                <a:lnTo>
                  <a:pt x="2112" y="1069"/>
                </a:lnTo>
                <a:lnTo>
                  <a:pt x="2119" y="1065"/>
                </a:lnTo>
                <a:lnTo>
                  <a:pt x="2119" y="1065"/>
                </a:lnTo>
                <a:lnTo>
                  <a:pt x="2125" y="1061"/>
                </a:lnTo>
                <a:lnTo>
                  <a:pt x="2130" y="1056"/>
                </a:lnTo>
                <a:lnTo>
                  <a:pt x="2133" y="1051"/>
                </a:lnTo>
                <a:lnTo>
                  <a:pt x="2135" y="1045"/>
                </a:lnTo>
                <a:lnTo>
                  <a:pt x="2136" y="1039"/>
                </a:lnTo>
                <a:lnTo>
                  <a:pt x="2136" y="1030"/>
                </a:lnTo>
                <a:lnTo>
                  <a:pt x="2136" y="1023"/>
                </a:lnTo>
                <a:lnTo>
                  <a:pt x="2134" y="1014"/>
                </a:lnTo>
                <a:lnTo>
                  <a:pt x="2129" y="997"/>
                </a:lnTo>
                <a:lnTo>
                  <a:pt x="2121" y="977"/>
                </a:lnTo>
                <a:lnTo>
                  <a:pt x="2102" y="935"/>
                </a:lnTo>
                <a:lnTo>
                  <a:pt x="2093" y="914"/>
                </a:lnTo>
                <a:lnTo>
                  <a:pt x="2085" y="893"/>
                </a:lnTo>
                <a:lnTo>
                  <a:pt x="2078" y="873"/>
                </a:lnTo>
                <a:lnTo>
                  <a:pt x="2076" y="863"/>
                </a:lnTo>
                <a:lnTo>
                  <a:pt x="2074" y="853"/>
                </a:lnTo>
                <a:lnTo>
                  <a:pt x="2074" y="844"/>
                </a:lnTo>
                <a:lnTo>
                  <a:pt x="2074" y="836"/>
                </a:lnTo>
                <a:lnTo>
                  <a:pt x="2075" y="828"/>
                </a:lnTo>
                <a:lnTo>
                  <a:pt x="2077" y="821"/>
                </a:lnTo>
                <a:lnTo>
                  <a:pt x="2080" y="814"/>
                </a:lnTo>
                <a:lnTo>
                  <a:pt x="2085" y="807"/>
                </a:lnTo>
                <a:lnTo>
                  <a:pt x="2091" y="801"/>
                </a:lnTo>
                <a:lnTo>
                  <a:pt x="2099" y="797"/>
                </a:lnTo>
                <a:lnTo>
                  <a:pt x="2099" y="797"/>
                </a:lnTo>
                <a:lnTo>
                  <a:pt x="2200" y="744"/>
                </a:lnTo>
                <a:lnTo>
                  <a:pt x="2306" y="693"/>
                </a:lnTo>
                <a:lnTo>
                  <a:pt x="2410" y="642"/>
                </a:lnTo>
                <a:lnTo>
                  <a:pt x="2513" y="592"/>
                </a:lnTo>
                <a:lnTo>
                  <a:pt x="2705" y="501"/>
                </a:lnTo>
                <a:lnTo>
                  <a:pt x="2788" y="461"/>
                </a:lnTo>
                <a:lnTo>
                  <a:pt x="2863" y="424"/>
                </a:lnTo>
                <a:lnTo>
                  <a:pt x="2863" y="424"/>
                </a:lnTo>
                <a:lnTo>
                  <a:pt x="2859" y="408"/>
                </a:lnTo>
                <a:lnTo>
                  <a:pt x="2853" y="389"/>
                </a:lnTo>
                <a:lnTo>
                  <a:pt x="2843" y="366"/>
                </a:lnTo>
                <a:lnTo>
                  <a:pt x="2836" y="354"/>
                </a:lnTo>
                <a:lnTo>
                  <a:pt x="2829" y="339"/>
                </a:lnTo>
                <a:lnTo>
                  <a:pt x="2821" y="325"/>
                </a:lnTo>
                <a:lnTo>
                  <a:pt x="2812" y="311"/>
                </a:lnTo>
                <a:lnTo>
                  <a:pt x="2801" y="296"/>
                </a:lnTo>
                <a:lnTo>
                  <a:pt x="2788" y="281"/>
                </a:lnTo>
                <a:lnTo>
                  <a:pt x="2774" y="267"/>
                </a:lnTo>
                <a:lnTo>
                  <a:pt x="2759" y="25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5" name="Freeform 32"/>
          <p:cNvSpPr>
            <a:spLocks/>
          </p:cNvSpPr>
          <p:nvPr userDrawn="1"/>
        </p:nvSpPr>
        <p:spPr bwMode="auto">
          <a:xfrm>
            <a:off x="7194551" y="1861841"/>
            <a:ext cx="161925" cy="153988"/>
          </a:xfrm>
          <a:custGeom>
            <a:avLst/>
            <a:gdLst>
              <a:gd name="T0" fmla="*/ 2 w 1226"/>
              <a:gd name="T1" fmla="*/ 386 h 1168"/>
              <a:gd name="T2" fmla="*/ 22 w 1226"/>
              <a:gd name="T3" fmla="*/ 434 h 1168"/>
              <a:gd name="T4" fmla="*/ 61 w 1226"/>
              <a:gd name="T5" fmla="*/ 466 h 1168"/>
              <a:gd name="T6" fmla="*/ 120 w 1226"/>
              <a:gd name="T7" fmla="*/ 479 h 1168"/>
              <a:gd name="T8" fmla="*/ 142 w 1226"/>
              <a:gd name="T9" fmla="*/ 469 h 1168"/>
              <a:gd name="T10" fmla="*/ 160 w 1226"/>
              <a:gd name="T11" fmla="*/ 436 h 1168"/>
              <a:gd name="T12" fmla="*/ 164 w 1226"/>
              <a:gd name="T13" fmla="*/ 370 h 1168"/>
              <a:gd name="T14" fmla="*/ 174 w 1226"/>
              <a:gd name="T15" fmla="*/ 344 h 1168"/>
              <a:gd name="T16" fmla="*/ 198 w 1226"/>
              <a:gd name="T17" fmla="*/ 331 h 1168"/>
              <a:gd name="T18" fmla="*/ 223 w 1226"/>
              <a:gd name="T19" fmla="*/ 318 h 1168"/>
              <a:gd name="T20" fmla="*/ 427 w 1226"/>
              <a:gd name="T21" fmla="*/ 416 h 1168"/>
              <a:gd name="T22" fmla="*/ 628 w 1226"/>
              <a:gd name="T23" fmla="*/ 534 h 1168"/>
              <a:gd name="T24" fmla="*/ 876 w 1226"/>
              <a:gd name="T25" fmla="*/ 703 h 1168"/>
              <a:gd name="T26" fmla="*/ 868 w 1226"/>
              <a:gd name="T27" fmla="*/ 783 h 1168"/>
              <a:gd name="T28" fmla="*/ 779 w 1226"/>
              <a:gd name="T29" fmla="*/ 957 h 1168"/>
              <a:gd name="T30" fmla="*/ 753 w 1226"/>
              <a:gd name="T31" fmla="*/ 1040 h 1168"/>
              <a:gd name="T32" fmla="*/ 754 w 1226"/>
              <a:gd name="T33" fmla="*/ 1090 h 1168"/>
              <a:gd name="T34" fmla="*/ 771 w 1226"/>
              <a:gd name="T35" fmla="*/ 1130 h 1168"/>
              <a:gd name="T36" fmla="*/ 801 w 1226"/>
              <a:gd name="T37" fmla="*/ 1157 h 1168"/>
              <a:gd name="T38" fmla="*/ 842 w 1226"/>
              <a:gd name="T39" fmla="*/ 1168 h 1168"/>
              <a:gd name="T40" fmla="*/ 880 w 1226"/>
              <a:gd name="T41" fmla="*/ 1163 h 1168"/>
              <a:gd name="T42" fmla="*/ 919 w 1226"/>
              <a:gd name="T43" fmla="*/ 1140 h 1168"/>
              <a:gd name="T44" fmla="*/ 944 w 1226"/>
              <a:gd name="T45" fmla="*/ 1107 h 1168"/>
              <a:gd name="T46" fmla="*/ 952 w 1226"/>
              <a:gd name="T47" fmla="*/ 1060 h 1168"/>
              <a:gd name="T48" fmla="*/ 930 w 1226"/>
              <a:gd name="T49" fmla="*/ 1010 h 1168"/>
              <a:gd name="T50" fmla="*/ 885 w 1226"/>
              <a:gd name="T51" fmla="*/ 989 h 1168"/>
              <a:gd name="T52" fmla="*/ 919 w 1226"/>
              <a:gd name="T53" fmla="*/ 879 h 1168"/>
              <a:gd name="T54" fmla="*/ 954 w 1226"/>
              <a:gd name="T55" fmla="*/ 807 h 1168"/>
              <a:gd name="T56" fmla="*/ 1024 w 1226"/>
              <a:gd name="T57" fmla="*/ 715 h 1168"/>
              <a:gd name="T58" fmla="*/ 1095 w 1226"/>
              <a:gd name="T59" fmla="*/ 673 h 1168"/>
              <a:gd name="T60" fmla="*/ 1125 w 1226"/>
              <a:gd name="T61" fmla="*/ 670 h 1168"/>
              <a:gd name="T62" fmla="*/ 1099 w 1226"/>
              <a:gd name="T63" fmla="*/ 633 h 1168"/>
              <a:gd name="T64" fmla="*/ 1083 w 1226"/>
              <a:gd name="T65" fmla="*/ 543 h 1168"/>
              <a:gd name="T66" fmla="*/ 1096 w 1226"/>
              <a:gd name="T67" fmla="*/ 477 h 1168"/>
              <a:gd name="T68" fmla="*/ 1132 w 1226"/>
              <a:gd name="T69" fmla="*/ 395 h 1168"/>
              <a:gd name="T70" fmla="*/ 1195 w 1226"/>
              <a:gd name="T71" fmla="*/ 258 h 1168"/>
              <a:gd name="T72" fmla="*/ 1225 w 1226"/>
              <a:gd name="T73" fmla="*/ 141 h 1168"/>
              <a:gd name="T74" fmla="*/ 1217 w 1226"/>
              <a:gd name="T75" fmla="*/ 95 h 1168"/>
              <a:gd name="T76" fmla="*/ 1187 w 1226"/>
              <a:gd name="T77" fmla="*/ 55 h 1168"/>
              <a:gd name="T78" fmla="*/ 1144 w 1226"/>
              <a:gd name="T79" fmla="*/ 34 h 1168"/>
              <a:gd name="T80" fmla="*/ 1104 w 1226"/>
              <a:gd name="T81" fmla="*/ 35 h 1168"/>
              <a:gd name="T82" fmla="*/ 1061 w 1226"/>
              <a:gd name="T83" fmla="*/ 57 h 1168"/>
              <a:gd name="T84" fmla="*/ 1033 w 1226"/>
              <a:gd name="T85" fmla="*/ 94 h 1168"/>
              <a:gd name="T86" fmla="*/ 1025 w 1226"/>
              <a:gd name="T87" fmla="*/ 139 h 1168"/>
              <a:gd name="T88" fmla="*/ 1048 w 1226"/>
              <a:gd name="T89" fmla="*/ 205 h 1168"/>
              <a:gd name="T90" fmla="*/ 1095 w 1226"/>
              <a:gd name="T91" fmla="*/ 230 h 1168"/>
              <a:gd name="T92" fmla="*/ 1107 w 1226"/>
              <a:gd name="T93" fmla="*/ 240 h 1168"/>
              <a:gd name="T94" fmla="*/ 1044 w 1226"/>
              <a:gd name="T95" fmla="*/ 390 h 1168"/>
              <a:gd name="T96" fmla="*/ 975 w 1226"/>
              <a:gd name="T97" fmla="*/ 431 h 1168"/>
              <a:gd name="T98" fmla="*/ 717 w 1226"/>
              <a:gd name="T99" fmla="*/ 289 h 1168"/>
              <a:gd name="T100" fmla="*/ 529 w 1226"/>
              <a:gd name="T101" fmla="*/ 205 h 1168"/>
              <a:gd name="T102" fmla="*/ 317 w 1226"/>
              <a:gd name="T103" fmla="*/ 140 h 1168"/>
              <a:gd name="T104" fmla="*/ 378 w 1226"/>
              <a:gd name="T105" fmla="*/ 31 h 1168"/>
              <a:gd name="T106" fmla="*/ 389 w 1226"/>
              <a:gd name="T107" fmla="*/ 0 h 1168"/>
              <a:gd name="T108" fmla="*/ 367 w 1226"/>
              <a:gd name="T109" fmla="*/ 10 h 1168"/>
              <a:gd name="T110" fmla="*/ 285 w 1226"/>
              <a:gd name="T111" fmla="*/ 57 h 1168"/>
              <a:gd name="T112" fmla="*/ 211 w 1226"/>
              <a:gd name="T113" fmla="*/ 85 h 1168"/>
              <a:gd name="T114" fmla="*/ 147 w 1226"/>
              <a:gd name="T115" fmla="*/ 85 h 1168"/>
              <a:gd name="T116" fmla="*/ 114 w 1226"/>
              <a:gd name="T117" fmla="*/ 85 h 1168"/>
              <a:gd name="T118" fmla="*/ 87 w 1226"/>
              <a:gd name="T119" fmla="*/ 134 h 1168"/>
              <a:gd name="T120" fmla="*/ 42 w 1226"/>
              <a:gd name="T121" fmla="*/ 261 h 1168"/>
              <a:gd name="T122" fmla="*/ 6 w 1226"/>
              <a:gd name="T123" fmla="*/ 327 h 1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6" h="1168">
                <a:moveTo>
                  <a:pt x="1" y="345"/>
                </a:moveTo>
                <a:lnTo>
                  <a:pt x="1" y="345"/>
                </a:lnTo>
                <a:lnTo>
                  <a:pt x="0" y="359"/>
                </a:lnTo>
                <a:lnTo>
                  <a:pt x="0" y="370"/>
                </a:lnTo>
                <a:lnTo>
                  <a:pt x="2" y="386"/>
                </a:lnTo>
                <a:lnTo>
                  <a:pt x="5" y="401"/>
                </a:lnTo>
                <a:lnTo>
                  <a:pt x="8" y="409"/>
                </a:lnTo>
                <a:lnTo>
                  <a:pt x="11" y="417"/>
                </a:lnTo>
                <a:lnTo>
                  <a:pt x="16" y="425"/>
                </a:lnTo>
                <a:lnTo>
                  <a:pt x="22" y="434"/>
                </a:lnTo>
                <a:lnTo>
                  <a:pt x="28" y="442"/>
                </a:lnTo>
                <a:lnTo>
                  <a:pt x="36" y="449"/>
                </a:lnTo>
                <a:lnTo>
                  <a:pt x="36" y="449"/>
                </a:lnTo>
                <a:lnTo>
                  <a:pt x="48" y="458"/>
                </a:lnTo>
                <a:lnTo>
                  <a:pt x="61" y="466"/>
                </a:lnTo>
                <a:lnTo>
                  <a:pt x="76" y="473"/>
                </a:lnTo>
                <a:lnTo>
                  <a:pt x="91" y="478"/>
                </a:lnTo>
                <a:lnTo>
                  <a:pt x="105" y="480"/>
                </a:lnTo>
                <a:lnTo>
                  <a:pt x="113" y="480"/>
                </a:lnTo>
                <a:lnTo>
                  <a:pt x="120" y="479"/>
                </a:lnTo>
                <a:lnTo>
                  <a:pt x="126" y="478"/>
                </a:lnTo>
                <a:lnTo>
                  <a:pt x="132" y="476"/>
                </a:lnTo>
                <a:lnTo>
                  <a:pt x="137" y="473"/>
                </a:lnTo>
                <a:lnTo>
                  <a:pt x="142" y="469"/>
                </a:lnTo>
                <a:lnTo>
                  <a:pt x="142" y="469"/>
                </a:lnTo>
                <a:lnTo>
                  <a:pt x="147" y="464"/>
                </a:lnTo>
                <a:lnTo>
                  <a:pt x="152" y="457"/>
                </a:lnTo>
                <a:lnTo>
                  <a:pt x="155" y="451"/>
                </a:lnTo>
                <a:lnTo>
                  <a:pt x="158" y="444"/>
                </a:lnTo>
                <a:lnTo>
                  <a:pt x="160" y="436"/>
                </a:lnTo>
                <a:lnTo>
                  <a:pt x="161" y="428"/>
                </a:lnTo>
                <a:lnTo>
                  <a:pt x="162" y="411"/>
                </a:lnTo>
                <a:lnTo>
                  <a:pt x="162" y="395"/>
                </a:lnTo>
                <a:lnTo>
                  <a:pt x="163" y="378"/>
                </a:lnTo>
                <a:lnTo>
                  <a:pt x="164" y="370"/>
                </a:lnTo>
                <a:lnTo>
                  <a:pt x="166" y="362"/>
                </a:lnTo>
                <a:lnTo>
                  <a:pt x="168" y="355"/>
                </a:lnTo>
                <a:lnTo>
                  <a:pt x="172" y="347"/>
                </a:lnTo>
                <a:lnTo>
                  <a:pt x="172" y="347"/>
                </a:lnTo>
                <a:lnTo>
                  <a:pt x="174" y="344"/>
                </a:lnTo>
                <a:lnTo>
                  <a:pt x="178" y="341"/>
                </a:lnTo>
                <a:lnTo>
                  <a:pt x="187" y="335"/>
                </a:lnTo>
                <a:lnTo>
                  <a:pt x="195" y="332"/>
                </a:lnTo>
                <a:lnTo>
                  <a:pt x="198" y="331"/>
                </a:lnTo>
                <a:lnTo>
                  <a:pt x="198" y="331"/>
                </a:lnTo>
                <a:lnTo>
                  <a:pt x="205" y="329"/>
                </a:lnTo>
                <a:lnTo>
                  <a:pt x="211" y="326"/>
                </a:lnTo>
                <a:lnTo>
                  <a:pt x="217" y="323"/>
                </a:lnTo>
                <a:lnTo>
                  <a:pt x="223" y="318"/>
                </a:lnTo>
                <a:lnTo>
                  <a:pt x="223" y="318"/>
                </a:lnTo>
                <a:lnTo>
                  <a:pt x="264" y="337"/>
                </a:lnTo>
                <a:lnTo>
                  <a:pt x="305" y="355"/>
                </a:lnTo>
                <a:lnTo>
                  <a:pt x="347" y="374"/>
                </a:lnTo>
                <a:lnTo>
                  <a:pt x="388" y="395"/>
                </a:lnTo>
                <a:lnTo>
                  <a:pt x="427" y="416"/>
                </a:lnTo>
                <a:lnTo>
                  <a:pt x="468" y="439"/>
                </a:lnTo>
                <a:lnTo>
                  <a:pt x="509" y="461"/>
                </a:lnTo>
                <a:lnTo>
                  <a:pt x="549" y="485"/>
                </a:lnTo>
                <a:lnTo>
                  <a:pt x="589" y="509"/>
                </a:lnTo>
                <a:lnTo>
                  <a:pt x="628" y="534"/>
                </a:lnTo>
                <a:lnTo>
                  <a:pt x="706" y="584"/>
                </a:lnTo>
                <a:lnTo>
                  <a:pt x="782" y="636"/>
                </a:lnTo>
                <a:lnTo>
                  <a:pt x="857" y="689"/>
                </a:lnTo>
                <a:lnTo>
                  <a:pt x="857" y="689"/>
                </a:lnTo>
                <a:lnTo>
                  <a:pt x="876" y="703"/>
                </a:lnTo>
                <a:lnTo>
                  <a:pt x="894" y="714"/>
                </a:lnTo>
                <a:lnTo>
                  <a:pt x="894" y="714"/>
                </a:lnTo>
                <a:lnTo>
                  <a:pt x="887" y="736"/>
                </a:lnTo>
                <a:lnTo>
                  <a:pt x="878" y="759"/>
                </a:lnTo>
                <a:lnTo>
                  <a:pt x="868" y="783"/>
                </a:lnTo>
                <a:lnTo>
                  <a:pt x="856" y="809"/>
                </a:lnTo>
                <a:lnTo>
                  <a:pt x="856" y="809"/>
                </a:lnTo>
                <a:lnTo>
                  <a:pt x="816" y="885"/>
                </a:lnTo>
                <a:lnTo>
                  <a:pt x="797" y="921"/>
                </a:lnTo>
                <a:lnTo>
                  <a:pt x="779" y="957"/>
                </a:lnTo>
                <a:lnTo>
                  <a:pt x="772" y="975"/>
                </a:lnTo>
                <a:lnTo>
                  <a:pt x="766" y="992"/>
                </a:lnTo>
                <a:lnTo>
                  <a:pt x="760" y="1008"/>
                </a:lnTo>
                <a:lnTo>
                  <a:pt x="756" y="1025"/>
                </a:lnTo>
                <a:lnTo>
                  <a:pt x="753" y="1040"/>
                </a:lnTo>
                <a:lnTo>
                  <a:pt x="751" y="1054"/>
                </a:lnTo>
                <a:lnTo>
                  <a:pt x="751" y="1069"/>
                </a:lnTo>
                <a:lnTo>
                  <a:pt x="752" y="1081"/>
                </a:lnTo>
                <a:lnTo>
                  <a:pt x="752" y="1081"/>
                </a:lnTo>
                <a:lnTo>
                  <a:pt x="754" y="1090"/>
                </a:lnTo>
                <a:lnTo>
                  <a:pt x="756" y="1099"/>
                </a:lnTo>
                <a:lnTo>
                  <a:pt x="759" y="1107"/>
                </a:lnTo>
                <a:lnTo>
                  <a:pt x="762" y="1116"/>
                </a:lnTo>
                <a:lnTo>
                  <a:pt x="766" y="1123"/>
                </a:lnTo>
                <a:lnTo>
                  <a:pt x="771" y="1130"/>
                </a:lnTo>
                <a:lnTo>
                  <a:pt x="776" y="1136"/>
                </a:lnTo>
                <a:lnTo>
                  <a:pt x="781" y="1142"/>
                </a:lnTo>
                <a:lnTo>
                  <a:pt x="787" y="1147"/>
                </a:lnTo>
                <a:lnTo>
                  <a:pt x="794" y="1152"/>
                </a:lnTo>
                <a:lnTo>
                  <a:pt x="801" y="1157"/>
                </a:lnTo>
                <a:lnTo>
                  <a:pt x="808" y="1160"/>
                </a:lnTo>
                <a:lnTo>
                  <a:pt x="816" y="1163"/>
                </a:lnTo>
                <a:lnTo>
                  <a:pt x="824" y="1165"/>
                </a:lnTo>
                <a:lnTo>
                  <a:pt x="833" y="1167"/>
                </a:lnTo>
                <a:lnTo>
                  <a:pt x="842" y="1168"/>
                </a:lnTo>
                <a:lnTo>
                  <a:pt x="842" y="1168"/>
                </a:lnTo>
                <a:lnTo>
                  <a:pt x="852" y="1168"/>
                </a:lnTo>
                <a:lnTo>
                  <a:pt x="862" y="1167"/>
                </a:lnTo>
                <a:lnTo>
                  <a:pt x="871" y="1165"/>
                </a:lnTo>
                <a:lnTo>
                  <a:pt x="880" y="1163"/>
                </a:lnTo>
                <a:lnTo>
                  <a:pt x="889" y="1160"/>
                </a:lnTo>
                <a:lnTo>
                  <a:pt x="897" y="1155"/>
                </a:lnTo>
                <a:lnTo>
                  <a:pt x="905" y="1151"/>
                </a:lnTo>
                <a:lnTo>
                  <a:pt x="912" y="1146"/>
                </a:lnTo>
                <a:lnTo>
                  <a:pt x="919" y="1140"/>
                </a:lnTo>
                <a:lnTo>
                  <a:pt x="925" y="1135"/>
                </a:lnTo>
                <a:lnTo>
                  <a:pt x="931" y="1129"/>
                </a:lnTo>
                <a:lnTo>
                  <a:pt x="936" y="1122"/>
                </a:lnTo>
                <a:lnTo>
                  <a:pt x="940" y="1115"/>
                </a:lnTo>
                <a:lnTo>
                  <a:pt x="944" y="1107"/>
                </a:lnTo>
                <a:lnTo>
                  <a:pt x="947" y="1100"/>
                </a:lnTo>
                <a:lnTo>
                  <a:pt x="949" y="1092"/>
                </a:lnTo>
                <a:lnTo>
                  <a:pt x="949" y="1092"/>
                </a:lnTo>
                <a:lnTo>
                  <a:pt x="951" y="1076"/>
                </a:lnTo>
                <a:lnTo>
                  <a:pt x="952" y="1060"/>
                </a:lnTo>
                <a:lnTo>
                  <a:pt x="950" y="1048"/>
                </a:lnTo>
                <a:lnTo>
                  <a:pt x="947" y="1036"/>
                </a:lnTo>
                <a:lnTo>
                  <a:pt x="942" y="1027"/>
                </a:lnTo>
                <a:lnTo>
                  <a:pt x="937" y="1017"/>
                </a:lnTo>
                <a:lnTo>
                  <a:pt x="930" y="1010"/>
                </a:lnTo>
                <a:lnTo>
                  <a:pt x="922" y="1005"/>
                </a:lnTo>
                <a:lnTo>
                  <a:pt x="915" y="1000"/>
                </a:lnTo>
                <a:lnTo>
                  <a:pt x="908" y="996"/>
                </a:lnTo>
                <a:lnTo>
                  <a:pt x="894" y="991"/>
                </a:lnTo>
                <a:lnTo>
                  <a:pt x="885" y="989"/>
                </a:lnTo>
                <a:lnTo>
                  <a:pt x="880" y="989"/>
                </a:lnTo>
                <a:lnTo>
                  <a:pt x="880" y="989"/>
                </a:lnTo>
                <a:lnTo>
                  <a:pt x="896" y="944"/>
                </a:lnTo>
                <a:lnTo>
                  <a:pt x="908" y="908"/>
                </a:lnTo>
                <a:lnTo>
                  <a:pt x="919" y="879"/>
                </a:lnTo>
                <a:lnTo>
                  <a:pt x="919" y="879"/>
                </a:lnTo>
                <a:lnTo>
                  <a:pt x="927" y="859"/>
                </a:lnTo>
                <a:lnTo>
                  <a:pt x="937" y="841"/>
                </a:lnTo>
                <a:lnTo>
                  <a:pt x="945" y="823"/>
                </a:lnTo>
                <a:lnTo>
                  <a:pt x="954" y="807"/>
                </a:lnTo>
                <a:lnTo>
                  <a:pt x="962" y="792"/>
                </a:lnTo>
                <a:lnTo>
                  <a:pt x="971" y="777"/>
                </a:lnTo>
                <a:lnTo>
                  <a:pt x="989" y="753"/>
                </a:lnTo>
                <a:lnTo>
                  <a:pt x="1006" y="732"/>
                </a:lnTo>
                <a:lnTo>
                  <a:pt x="1024" y="715"/>
                </a:lnTo>
                <a:lnTo>
                  <a:pt x="1040" y="702"/>
                </a:lnTo>
                <a:lnTo>
                  <a:pt x="1055" y="690"/>
                </a:lnTo>
                <a:lnTo>
                  <a:pt x="1070" y="683"/>
                </a:lnTo>
                <a:lnTo>
                  <a:pt x="1083" y="677"/>
                </a:lnTo>
                <a:lnTo>
                  <a:pt x="1095" y="673"/>
                </a:lnTo>
                <a:lnTo>
                  <a:pt x="1105" y="671"/>
                </a:lnTo>
                <a:lnTo>
                  <a:pt x="1114" y="670"/>
                </a:lnTo>
                <a:lnTo>
                  <a:pt x="1120" y="670"/>
                </a:lnTo>
                <a:lnTo>
                  <a:pt x="1125" y="670"/>
                </a:lnTo>
                <a:lnTo>
                  <a:pt x="1125" y="670"/>
                </a:lnTo>
                <a:lnTo>
                  <a:pt x="1121" y="666"/>
                </a:lnTo>
                <a:lnTo>
                  <a:pt x="1116" y="661"/>
                </a:lnTo>
                <a:lnTo>
                  <a:pt x="1111" y="653"/>
                </a:lnTo>
                <a:lnTo>
                  <a:pt x="1104" y="644"/>
                </a:lnTo>
                <a:lnTo>
                  <a:pt x="1099" y="633"/>
                </a:lnTo>
                <a:lnTo>
                  <a:pt x="1093" y="620"/>
                </a:lnTo>
                <a:lnTo>
                  <a:pt x="1088" y="603"/>
                </a:lnTo>
                <a:lnTo>
                  <a:pt x="1085" y="586"/>
                </a:lnTo>
                <a:lnTo>
                  <a:pt x="1083" y="566"/>
                </a:lnTo>
                <a:lnTo>
                  <a:pt x="1083" y="543"/>
                </a:lnTo>
                <a:lnTo>
                  <a:pt x="1084" y="531"/>
                </a:lnTo>
                <a:lnTo>
                  <a:pt x="1086" y="519"/>
                </a:lnTo>
                <a:lnTo>
                  <a:pt x="1088" y="505"/>
                </a:lnTo>
                <a:lnTo>
                  <a:pt x="1092" y="491"/>
                </a:lnTo>
                <a:lnTo>
                  <a:pt x="1096" y="477"/>
                </a:lnTo>
                <a:lnTo>
                  <a:pt x="1101" y="461"/>
                </a:lnTo>
                <a:lnTo>
                  <a:pt x="1107" y="446"/>
                </a:lnTo>
                <a:lnTo>
                  <a:pt x="1115" y="430"/>
                </a:lnTo>
                <a:lnTo>
                  <a:pt x="1123" y="412"/>
                </a:lnTo>
                <a:lnTo>
                  <a:pt x="1132" y="395"/>
                </a:lnTo>
                <a:lnTo>
                  <a:pt x="1132" y="395"/>
                </a:lnTo>
                <a:lnTo>
                  <a:pt x="1152" y="358"/>
                </a:lnTo>
                <a:lnTo>
                  <a:pt x="1169" y="322"/>
                </a:lnTo>
                <a:lnTo>
                  <a:pt x="1184" y="289"/>
                </a:lnTo>
                <a:lnTo>
                  <a:pt x="1195" y="258"/>
                </a:lnTo>
                <a:lnTo>
                  <a:pt x="1206" y="227"/>
                </a:lnTo>
                <a:lnTo>
                  <a:pt x="1214" y="197"/>
                </a:lnTo>
                <a:lnTo>
                  <a:pt x="1220" y="169"/>
                </a:lnTo>
                <a:lnTo>
                  <a:pt x="1225" y="141"/>
                </a:lnTo>
                <a:lnTo>
                  <a:pt x="1225" y="141"/>
                </a:lnTo>
                <a:lnTo>
                  <a:pt x="1226" y="132"/>
                </a:lnTo>
                <a:lnTo>
                  <a:pt x="1225" y="123"/>
                </a:lnTo>
                <a:lnTo>
                  <a:pt x="1224" y="114"/>
                </a:lnTo>
                <a:lnTo>
                  <a:pt x="1221" y="104"/>
                </a:lnTo>
                <a:lnTo>
                  <a:pt x="1217" y="95"/>
                </a:lnTo>
                <a:lnTo>
                  <a:pt x="1213" y="87"/>
                </a:lnTo>
                <a:lnTo>
                  <a:pt x="1208" y="78"/>
                </a:lnTo>
                <a:lnTo>
                  <a:pt x="1202" y="70"/>
                </a:lnTo>
                <a:lnTo>
                  <a:pt x="1194" y="63"/>
                </a:lnTo>
                <a:lnTo>
                  <a:pt x="1187" y="55"/>
                </a:lnTo>
                <a:lnTo>
                  <a:pt x="1179" y="49"/>
                </a:lnTo>
                <a:lnTo>
                  <a:pt x="1171" y="44"/>
                </a:lnTo>
                <a:lnTo>
                  <a:pt x="1163" y="39"/>
                </a:lnTo>
                <a:lnTo>
                  <a:pt x="1153" y="36"/>
                </a:lnTo>
                <a:lnTo>
                  <a:pt x="1144" y="34"/>
                </a:lnTo>
                <a:lnTo>
                  <a:pt x="1134" y="32"/>
                </a:lnTo>
                <a:lnTo>
                  <a:pt x="1134" y="32"/>
                </a:lnTo>
                <a:lnTo>
                  <a:pt x="1124" y="32"/>
                </a:lnTo>
                <a:lnTo>
                  <a:pt x="1115" y="33"/>
                </a:lnTo>
                <a:lnTo>
                  <a:pt x="1104" y="35"/>
                </a:lnTo>
                <a:lnTo>
                  <a:pt x="1095" y="38"/>
                </a:lnTo>
                <a:lnTo>
                  <a:pt x="1086" y="42"/>
                </a:lnTo>
                <a:lnTo>
                  <a:pt x="1078" y="46"/>
                </a:lnTo>
                <a:lnTo>
                  <a:pt x="1070" y="52"/>
                </a:lnTo>
                <a:lnTo>
                  <a:pt x="1061" y="57"/>
                </a:lnTo>
                <a:lnTo>
                  <a:pt x="1054" y="65"/>
                </a:lnTo>
                <a:lnTo>
                  <a:pt x="1048" y="71"/>
                </a:lnTo>
                <a:lnTo>
                  <a:pt x="1042" y="78"/>
                </a:lnTo>
                <a:lnTo>
                  <a:pt x="1037" y="86"/>
                </a:lnTo>
                <a:lnTo>
                  <a:pt x="1033" y="94"/>
                </a:lnTo>
                <a:lnTo>
                  <a:pt x="1029" y="102"/>
                </a:lnTo>
                <a:lnTo>
                  <a:pt x="1027" y="111"/>
                </a:lnTo>
                <a:lnTo>
                  <a:pt x="1026" y="119"/>
                </a:lnTo>
                <a:lnTo>
                  <a:pt x="1026" y="119"/>
                </a:lnTo>
                <a:lnTo>
                  <a:pt x="1025" y="139"/>
                </a:lnTo>
                <a:lnTo>
                  <a:pt x="1026" y="158"/>
                </a:lnTo>
                <a:lnTo>
                  <a:pt x="1030" y="173"/>
                </a:lnTo>
                <a:lnTo>
                  <a:pt x="1035" y="185"/>
                </a:lnTo>
                <a:lnTo>
                  <a:pt x="1041" y="195"/>
                </a:lnTo>
                <a:lnTo>
                  <a:pt x="1048" y="205"/>
                </a:lnTo>
                <a:lnTo>
                  <a:pt x="1056" y="212"/>
                </a:lnTo>
                <a:lnTo>
                  <a:pt x="1065" y="217"/>
                </a:lnTo>
                <a:lnTo>
                  <a:pt x="1073" y="221"/>
                </a:lnTo>
                <a:lnTo>
                  <a:pt x="1081" y="225"/>
                </a:lnTo>
                <a:lnTo>
                  <a:pt x="1095" y="230"/>
                </a:lnTo>
                <a:lnTo>
                  <a:pt x="1101" y="232"/>
                </a:lnTo>
                <a:lnTo>
                  <a:pt x="1104" y="234"/>
                </a:lnTo>
                <a:lnTo>
                  <a:pt x="1107" y="237"/>
                </a:lnTo>
                <a:lnTo>
                  <a:pt x="1107" y="240"/>
                </a:lnTo>
                <a:lnTo>
                  <a:pt x="1107" y="240"/>
                </a:lnTo>
                <a:lnTo>
                  <a:pt x="1096" y="276"/>
                </a:lnTo>
                <a:lnTo>
                  <a:pt x="1084" y="309"/>
                </a:lnTo>
                <a:lnTo>
                  <a:pt x="1071" y="339"/>
                </a:lnTo>
                <a:lnTo>
                  <a:pt x="1057" y="365"/>
                </a:lnTo>
                <a:lnTo>
                  <a:pt x="1044" y="390"/>
                </a:lnTo>
                <a:lnTo>
                  <a:pt x="1031" y="411"/>
                </a:lnTo>
                <a:lnTo>
                  <a:pt x="1016" y="431"/>
                </a:lnTo>
                <a:lnTo>
                  <a:pt x="1002" y="447"/>
                </a:lnTo>
                <a:lnTo>
                  <a:pt x="1002" y="447"/>
                </a:lnTo>
                <a:lnTo>
                  <a:pt x="975" y="431"/>
                </a:lnTo>
                <a:lnTo>
                  <a:pt x="942" y="411"/>
                </a:lnTo>
                <a:lnTo>
                  <a:pt x="942" y="411"/>
                </a:lnTo>
                <a:lnTo>
                  <a:pt x="865" y="369"/>
                </a:lnTo>
                <a:lnTo>
                  <a:pt x="790" y="328"/>
                </a:lnTo>
                <a:lnTo>
                  <a:pt x="717" y="289"/>
                </a:lnTo>
                <a:lnTo>
                  <a:pt x="680" y="271"/>
                </a:lnTo>
                <a:lnTo>
                  <a:pt x="643" y="254"/>
                </a:lnTo>
                <a:lnTo>
                  <a:pt x="606" y="236"/>
                </a:lnTo>
                <a:lnTo>
                  <a:pt x="568" y="221"/>
                </a:lnTo>
                <a:lnTo>
                  <a:pt x="529" y="205"/>
                </a:lnTo>
                <a:lnTo>
                  <a:pt x="489" y="190"/>
                </a:lnTo>
                <a:lnTo>
                  <a:pt x="448" y="176"/>
                </a:lnTo>
                <a:lnTo>
                  <a:pt x="406" y="164"/>
                </a:lnTo>
                <a:lnTo>
                  <a:pt x="362" y="151"/>
                </a:lnTo>
                <a:lnTo>
                  <a:pt x="317" y="140"/>
                </a:lnTo>
                <a:lnTo>
                  <a:pt x="317" y="140"/>
                </a:lnTo>
                <a:lnTo>
                  <a:pt x="334" y="107"/>
                </a:lnTo>
                <a:lnTo>
                  <a:pt x="334" y="107"/>
                </a:lnTo>
                <a:lnTo>
                  <a:pt x="360" y="63"/>
                </a:lnTo>
                <a:lnTo>
                  <a:pt x="378" y="31"/>
                </a:lnTo>
                <a:lnTo>
                  <a:pt x="385" y="20"/>
                </a:lnTo>
                <a:lnTo>
                  <a:pt x="389" y="10"/>
                </a:lnTo>
                <a:lnTo>
                  <a:pt x="391" y="4"/>
                </a:lnTo>
                <a:lnTo>
                  <a:pt x="390" y="2"/>
                </a:lnTo>
                <a:lnTo>
                  <a:pt x="389" y="0"/>
                </a:lnTo>
                <a:lnTo>
                  <a:pt x="389" y="0"/>
                </a:lnTo>
                <a:lnTo>
                  <a:pt x="388" y="0"/>
                </a:lnTo>
                <a:lnTo>
                  <a:pt x="387" y="0"/>
                </a:lnTo>
                <a:lnTo>
                  <a:pt x="381" y="1"/>
                </a:lnTo>
                <a:lnTo>
                  <a:pt x="367" y="10"/>
                </a:lnTo>
                <a:lnTo>
                  <a:pt x="343" y="26"/>
                </a:lnTo>
                <a:lnTo>
                  <a:pt x="326" y="35"/>
                </a:lnTo>
                <a:lnTo>
                  <a:pt x="307" y="46"/>
                </a:lnTo>
                <a:lnTo>
                  <a:pt x="307" y="46"/>
                </a:lnTo>
                <a:lnTo>
                  <a:pt x="285" y="57"/>
                </a:lnTo>
                <a:lnTo>
                  <a:pt x="267" y="67"/>
                </a:lnTo>
                <a:lnTo>
                  <a:pt x="252" y="73"/>
                </a:lnTo>
                <a:lnTo>
                  <a:pt x="237" y="78"/>
                </a:lnTo>
                <a:lnTo>
                  <a:pt x="224" y="82"/>
                </a:lnTo>
                <a:lnTo>
                  <a:pt x="211" y="85"/>
                </a:lnTo>
                <a:lnTo>
                  <a:pt x="183" y="89"/>
                </a:lnTo>
                <a:lnTo>
                  <a:pt x="183" y="89"/>
                </a:lnTo>
                <a:lnTo>
                  <a:pt x="174" y="89"/>
                </a:lnTo>
                <a:lnTo>
                  <a:pt x="165" y="88"/>
                </a:lnTo>
                <a:lnTo>
                  <a:pt x="147" y="85"/>
                </a:lnTo>
                <a:lnTo>
                  <a:pt x="132" y="81"/>
                </a:lnTo>
                <a:lnTo>
                  <a:pt x="125" y="81"/>
                </a:lnTo>
                <a:lnTo>
                  <a:pt x="120" y="82"/>
                </a:lnTo>
                <a:lnTo>
                  <a:pt x="120" y="82"/>
                </a:lnTo>
                <a:lnTo>
                  <a:pt x="114" y="85"/>
                </a:lnTo>
                <a:lnTo>
                  <a:pt x="107" y="91"/>
                </a:lnTo>
                <a:lnTo>
                  <a:pt x="102" y="98"/>
                </a:lnTo>
                <a:lnTo>
                  <a:pt x="97" y="107"/>
                </a:lnTo>
                <a:lnTo>
                  <a:pt x="92" y="120"/>
                </a:lnTo>
                <a:lnTo>
                  <a:pt x="87" y="134"/>
                </a:lnTo>
                <a:lnTo>
                  <a:pt x="74" y="171"/>
                </a:lnTo>
                <a:lnTo>
                  <a:pt x="74" y="171"/>
                </a:lnTo>
                <a:lnTo>
                  <a:pt x="49" y="242"/>
                </a:lnTo>
                <a:lnTo>
                  <a:pt x="42" y="261"/>
                </a:lnTo>
                <a:lnTo>
                  <a:pt x="42" y="261"/>
                </a:lnTo>
                <a:lnTo>
                  <a:pt x="34" y="279"/>
                </a:lnTo>
                <a:lnTo>
                  <a:pt x="27" y="293"/>
                </a:lnTo>
                <a:lnTo>
                  <a:pt x="14" y="312"/>
                </a:lnTo>
                <a:lnTo>
                  <a:pt x="10" y="320"/>
                </a:lnTo>
                <a:lnTo>
                  <a:pt x="6" y="327"/>
                </a:lnTo>
                <a:lnTo>
                  <a:pt x="3" y="335"/>
                </a:lnTo>
                <a:lnTo>
                  <a:pt x="1" y="34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6" name="Freeform 33"/>
          <p:cNvSpPr>
            <a:spLocks/>
          </p:cNvSpPr>
          <p:nvPr userDrawn="1"/>
        </p:nvSpPr>
        <p:spPr bwMode="auto">
          <a:xfrm>
            <a:off x="7189787" y="1214140"/>
            <a:ext cx="39688" cy="46038"/>
          </a:xfrm>
          <a:custGeom>
            <a:avLst/>
            <a:gdLst>
              <a:gd name="T0" fmla="*/ 103 w 296"/>
              <a:gd name="T1" fmla="*/ 350 h 350"/>
              <a:gd name="T2" fmla="*/ 103 w 296"/>
              <a:gd name="T3" fmla="*/ 350 h 350"/>
              <a:gd name="T4" fmla="*/ 132 w 296"/>
              <a:gd name="T5" fmla="*/ 349 h 350"/>
              <a:gd name="T6" fmla="*/ 164 w 296"/>
              <a:gd name="T7" fmla="*/ 346 h 350"/>
              <a:gd name="T8" fmla="*/ 196 w 296"/>
              <a:gd name="T9" fmla="*/ 343 h 350"/>
              <a:gd name="T10" fmla="*/ 226 w 296"/>
              <a:gd name="T11" fmla="*/ 339 h 350"/>
              <a:gd name="T12" fmla="*/ 276 w 296"/>
              <a:gd name="T13" fmla="*/ 333 h 350"/>
              <a:gd name="T14" fmla="*/ 296 w 296"/>
              <a:gd name="T15" fmla="*/ 329 h 350"/>
              <a:gd name="T16" fmla="*/ 293 w 296"/>
              <a:gd name="T17" fmla="*/ 25 h 350"/>
              <a:gd name="T18" fmla="*/ 293 w 296"/>
              <a:gd name="T19" fmla="*/ 25 h 350"/>
              <a:gd name="T20" fmla="*/ 244 w 296"/>
              <a:gd name="T21" fmla="*/ 18 h 350"/>
              <a:gd name="T22" fmla="*/ 142 w 296"/>
              <a:gd name="T23" fmla="*/ 2 h 350"/>
              <a:gd name="T24" fmla="*/ 142 w 296"/>
              <a:gd name="T25" fmla="*/ 2 h 350"/>
              <a:gd name="T26" fmla="*/ 129 w 296"/>
              <a:gd name="T27" fmla="*/ 1 h 350"/>
              <a:gd name="T28" fmla="*/ 117 w 296"/>
              <a:gd name="T29" fmla="*/ 0 h 350"/>
              <a:gd name="T30" fmla="*/ 105 w 296"/>
              <a:gd name="T31" fmla="*/ 0 h 350"/>
              <a:gd name="T32" fmla="*/ 94 w 296"/>
              <a:gd name="T33" fmla="*/ 1 h 350"/>
              <a:gd name="T34" fmla="*/ 84 w 296"/>
              <a:gd name="T35" fmla="*/ 3 h 350"/>
              <a:gd name="T36" fmla="*/ 75 w 296"/>
              <a:gd name="T37" fmla="*/ 6 h 350"/>
              <a:gd name="T38" fmla="*/ 66 w 296"/>
              <a:gd name="T39" fmla="*/ 9 h 350"/>
              <a:gd name="T40" fmla="*/ 59 w 296"/>
              <a:gd name="T41" fmla="*/ 13 h 350"/>
              <a:gd name="T42" fmla="*/ 51 w 296"/>
              <a:gd name="T43" fmla="*/ 17 h 350"/>
              <a:gd name="T44" fmla="*/ 44 w 296"/>
              <a:gd name="T45" fmla="*/ 22 h 350"/>
              <a:gd name="T46" fmla="*/ 38 w 296"/>
              <a:gd name="T47" fmla="*/ 27 h 350"/>
              <a:gd name="T48" fmla="*/ 33 w 296"/>
              <a:gd name="T49" fmla="*/ 32 h 350"/>
              <a:gd name="T50" fmla="*/ 24 w 296"/>
              <a:gd name="T51" fmla="*/ 45 h 350"/>
              <a:gd name="T52" fmla="*/ 17 w 296"/>
              <a:gd name="T53" fmla="*/ 57 h 350"/>
              <a:gd name="T54" fmla="*/ 11 w 296"/>
              <a:gd name="T55" fmla="*/ 70 h 350"/>
              <a:gd name="T56" fmla="*/ 6 w 296"/>
              <a:gd name="T57" fmla="*/ 83 h 350"/>
              <a:gd name="T58" fmla="*/ 3 w 296"/>
              <a:gd name="T59" fmla="*/ 96 h 350"/>
              <a:gd name="T60" fmla="*/ 1 w 296"/>
              <a:gd name="T61" fmla="*/ 106 h 350"/>
              <a:gd name="T62" fmla="*/ 0 w 296"/>
              <a:gd name="T63" fmla="*/ 123 h 350"/>
              <a:gd name="T64" fmla="*/ 0 w 296"/>
              <a:gd name="T65" fmla="*/ 129 h 350"/>
              <a:gd name="T66" fmla="*/ 4 w 296"/>
              <a:gd name="T67" fmla="*/ 213 h 350"/>
              <a:gd name="T68" fmla="*/ 4 w 296"/>
              <a:gd name="T69" fmla="*/ 213 h 350"/>
              <a:gd name="T70" fmla="*/ 4 w 296"/>
              <a:gd name="T71" fmla="*/ 219 h 350"/>
              <a:gd name="T72" fmla="*/ 6 w 296"/>
              <a:gd name="T73" fmla="*/ 235 h 350"/>
              <a:gd name="T74" fmla="*/ 11 w 296"/>
              <a:gd name="T75" fmla="*/ 256 h 350"/>
              <a:gd name="T76" fmla="*/ 15 w 296"/>
              <a:gd name="T77" fmla="*/ 268 h 350"/>
              <a:gd name="T78" fmla="*/ 19 w 296"/>
              <a:gd name="T79" fmla="*/ 282 h 350"/>
              <a:gd name="T80" fmla="*/ 24 w 296"/>
              <a:gd name="T81" fmla="*/ 294 h 350"/>
              <a:gd name="T82" fmla="*/ 31 w 296"/>
              <a:gd name="T83" fmla="*/ 306 h 350"/>
              <a:gd name="T84" fmla="*/ 39 w 296"/>
              <a:gd name="T85" fmla="*/ 319 h 350"/>
              <a:gd name="T86" fmla="*/ 48 w 296"/>
              <a:gd name="T87" fmla="*/ 329 h 350"/>
              <a:gd name="T88" fmla="*/ 53 w 296"/>
              <a:gd name="T89" fmla="*/ 333 h 350"/>
              <a:gd name="T90" fmla="*/ 60 w 296"/>
              <a:gd name="T91" fmla="*/ 337 h 350"/>
              <a:gd name="T92" fmla="*/ 66 w 296"/>
              <a:gd name="T93" fmla="*/ 341 h 350"/>
              <a:gd name="T94" fmla="*/ 72 w 296"/>
              <a:gd name="T95" fmla="*/ 344 h 350"/>
              <a:gd name="T96" fmla="*/ 79 w 296"/>
              <a:gd name="T97" fmla="*/ 346 h 350"/>
              <a:gd name="T98" fmla="*/ 86 w 296"/>
              <a:gd name="T99" fmla="*/ 348 h 350"/>
              <a:gd name="T100" fmla="*/ 94 w 296"/>
              <a:gd name="T101" fmla="*/ 349 h 350"/>
              <a:gd name="T102" fmla="*/ 103 w 296"/>
              <a:gd name="T103" fmla="*/ 35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6" h="350">
                <a:moveTo>
                  <a:pt x="103" y="350"/>
                </a:moveTo>
                <a:lnTo>
                  <a:pt x="103" y="350"/>
                </a:lnTo>
                <a:lnTo>
                  <a:pt x="132" y="349"/>
                </a:lnTo>
                <a:lnTo>
                  <a:pt x="164" y="346"/>
                </a:lnTo>
                <a:lnTo>
                  <a:pt x="196" y="343"/>
                </a:lnTo>
                <a:lnTo>
                  <a:pt x="226" y="339"/>
                </a:lnTo>
                <a:lnTo>
                  <a:pt x="276" y="333"/>
                </a:lnTo>
                <a:lnTo>
                  <a:pt x="296" y="329"/>
                </a:lnTo>
                <a:lnTo>
                  <a:pt x="293" y="25"/>
                </a:lnTo>
                <a:lnTo>
                  <a:pt x="293" y="25"/>
                </a:lnTo>
                <a:lnTo>
                  <a:pt x="244" y="18"/>
                </a:lnTo>
                <a:lnTo>
                  <a:pt x="142" y="2"/>
                </a:lnTo>
                <a:lnTo>
                  <a:pt x="142" y="2"/>
                </a:lnTo>
                <a:lnTo>
                  <a:pt x="129" y="1"/>
                </a:lnTo>
                <a:lnTo>
                  <a:pt x="117" y="0"/>
                </a:lnTo>
                <a:lnTo>
                  <a:pt x="105" y="0"/>
                </a:lnTo>
                <a:lnTo>
                  <a:pt x="94" y="1"/>
                </a:lnTo>
                <a:lnTo>
                  <a:pt x="84" y="3"/>
                </a:lnTo>
                <a:lnTo>
                  <a:pt x="75" y="6"/>
                </a:lnTo>
                <a:lnTo>
                  <a:pt x="66" y="9"/>
                </a:lnTo>
                <a:lnTo>
                  <a:pt x="59" y="13"/>
                </a:lnTo>
                <a:lnTo>
                  <a:pt x="51" y="17"/>
                </a:lnTo>
                <a:lnTo>
                  <a:pt x="44" y="22"/>
                </a:lnTo>
                <a:lnTo>
                  <a:pt x="38" y="27"/>
                </a:lnTo>
                <a:lnTo>
                  <a:pt x="33" y="32"/>
                </a:lnTo>
                <a:lnTo>
                  <a:pt x="24" y="45"/>
                </a:lnTo>
                <a:lnTo>
                  <a:pt x="17" y="57"/>
                </a:lnTo>
                <a:lnTo>
                  <a:pt x="11" y="70"/>
                </a:lnTo>
                <a:lnTo>
                  <a:pt x="6" y="83"/>
                </a:lnTo>
                <a:lnTo>
                  <a:pt x="3" y="96"/>
                </a:lnTo>
                <a:lnTo>
                  <a:pt x="1" y="106"/>
                </a:lnTo>
                <a:lnTo>
                  <a:pt x="0" y="123"/>
                </a:lnTo>
                <a:lnTo>
                  <a:pt x="0" y="129"/>
                </a:lnTo>
                <a:lnTo>
                  <a:pt x="4" y="213"/>
                </a:lnTo>
                <a:lnTo>
                  <a:pt x="4" y="213"/>
                </a:lnTo>
                <a:lnTo>
                  <a:pt x="4" y="219"/>
                </a:lnTo>
                <a:lnTo>
                  <a:pt x="6" y="235"/>
                </a:lnTo>
                <a:lnTo>
                  <a:pt x="11" y="256"/>
                </a:lnTo>
                <a:lnTo>
                  <a:pt x="15" y="268"/>
                </a:lnTo>
                <a:lnTo>
                  <a:pt x="19" y="282"/>
                </a:lnTo>
                <a:lnTo>
                  <a:pt x="24" y="294"/>
                </a:lnTo>
                <a:lnTo>
                  <a:pt x="31" y="306"/>
                </a:lnTo>
                <a:lnTo>
                  <a:pt x="39" y="319"/>
                </a:lnTo>
                <a:lnTo>
                  <a:pt x="48" y="329"/>
                </a:lnTo>
                <a:lnTo>
                  <a:pt x="53" y="333"/>
                </a:lnTo>
                <a:lnTo>
                  <a:pt x="60" y="337"/>
                </a:lnTo>
                <a:lnTo>
                  <a:pt x="66" y="341"/>
                </a:lnTo>
                <a:lnTo>
                  <a:pt x="72" y="344"/>
                </a:lnTo>
                <a:lnTo>
                  <a:pt x="79" y="346"/>
                </a:lnTo>
                <a:lnTo>
                  <a:pt x="86" y="348"/>
                </a:lnTo>
                <a:lnTo>
                  <a:pt x="94" y="349"/>
                </a:lnTo>
                <a:lnTo>
                  <a:pt x="103" y="3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7" name="Freeform 34"/>
          <p:cNvSpPr>
            <a:spLocks/>
          </p:cNvSpPr>
          <p:nvPr userDrawn="1"/>
        </p:nvSpPr>
        <p:spPr bwMode="auto">
          <a:xfrm>
            <a:off x="7237413" y="1203028"/>
            <a:ext cx="60325" cy="57150"/>
          </a:xfrm>
          <a:custGeom>
            <a:avLst/>
            <a:gdLst>
              <a:gd name="T0" fmla="*/ 450 w 450"/>
              <a:gd name="T1" fmla="*/ 290 h 425"/>
              <a:gd name="T2" fmla="*/ 450 w 450"/>
              <a:gd name="T3" fmla="*/ 225 h 425"/>
              <a:gd name="T4" fmla="*/ 449 w 450"/>
              <a:gd name="T5" fmla="*/ 54 h 425"/>
              <a:gd name="T6" fmla="*/ 444 w 450"/>
              <a:gd name="T7" fmla="*/ 20 h 425"/>
              <a:gd name="T8" fmla="*/ 436 w 450"/>
              <a:gd name="T9" fmla="*/ 3 h 425"/>
              <a:gd name="T10" fmla="*/ 429 w 450"/>
              <a:gd name="T11" fmla="*/ 0 h 425"/>
              <a:gd name="T12" fmla="*/ 367 w 450"/>
              <a:gd name="T13" fmla="*/ 2 h 425"/>
              <a:gd name="T14" fmla="*/ 362 w 450"/>
              <a:gd name="T15" fmla="*/ 14 h 425"/>
              <a:gd name="T16" fmla="*/ 347 w 450"/>
              <a:gd name="T17" fmla="*/ 59 h 425"/>
              <a:gd name="T18" fmla="*/ 325 w 450"/>
              <a:gd name="T19" fmla="*/ 2 h 425"/>
              <a:gd name="T20" fmla="*/ 261 w 450"/>
              <a:gd name="T21" fmla="*/ 2 h 425"/>
              <a:gd name="T22" fmla="*/ 242 w 450"/>
              <a:gd name="T23" fmla="*/ 16 h 425"/>
              <a:gd name="T24" fmla="*/ 224 w 450"/>
              <a:gd name="T25" fmla="*/ 64 h 425"/>
              <a:gd name="T26" fmla="*/ 192 w 450"/>
              <a:gd name="T27" fmla="*/ 4 h 425"/>
              <a:gd name="T28" fmla="*/ 135 w 450"/>
              <a:gd name="T29" fmla="*/ 6 h 425"/>
              <a:gd name="T30" fmla="*/ 127 w 450"/>
              <a:gd name="T31" fmla="*/ 11 h 425"/>
              <a:gd name="T32" fmla="*/ 110 w 450"/>
              <a:gd name="T33" fmla="*/ 53 h 425"/>
              <a:gd name="T34" fmla="*/ 86 w 450"/>
              <a:gd name="T35" fmla="*/ 6 h 425"/>
              <a:gd name="T36" fmla="*/ 38 w 450"/>
              <a:gd name="T37" fmla="*/ 6 h 425"/>
              <a:gd name="T38" fmla="*/ 25 w 450"/>
              <a:gd name="T39" fmla="*/ 10 h 425"/>
              <a:gd name="T40" fmla="*/ 10 w 450"/>
              <a:gd name="T41" fmla="*/ 28 h 425"/>
              <a:gd name="T42" fmla="*/ 1 w 450"/>
              <a:gd name="T43" fmla="*/ 55 h 425"/>
              <a:gd name="T44" fmla="*/ 1 w 450"/>
              <a:gd name="T45" fmla="*/ 141 h 425"/>
              <a:gd name="T46" fmla="*/ 5 w 450"/>
              <a:gd name="T47" fmla="*/ 324 h 425"/>
              <a:gd name="T48" fmla="*/ 27 w 450"/>
              <a:gd name="T49" fmla="*/ 401 h 425"/>
              <a:gd name="T50" fmla="*/ 54 w 450"/>
              <a:gd name="T51" fmla="*/ 396 h 425"/>
              <a:gd name="T52" fmla="*/ 74 w 450"/>
              <a:gd name="T53" fmla="*/ 384 h 425"/>
              <a:gd name="T54" fmla="*/ 83 w 450"/>
              <a:gd name="T55" fmla="*/ 374 h 425"/>
              <a:gd name="T56" fmla="*/ 100 w 450"/>
              <a:gd name="T57" fmla="*/ 341 h 425"/>
              <a:gd name="T58" fmla="*/ 105 w 450"/>
              <a:gd name="T59" fmla="*/ 317 h 425"/>
              <a:gd name="T60" fmla="*/ 105 w 450"/>
              <a:gd name="T61" fmla="*/ 367 h 425"/>
              <a:gd name="T62" fmla="*/ 108 w 450"/>
              <a:gd name="T63" fmla="*/ 420 h 425"/>
              <a:gd name="T64" fmla="*/ 116 w 450"/>
              <a:gd name="T65" fmla="*/ 424 h 425"/>
              <a:gd name="T66" fmla="*/ 150 w 450"/>
              <a:gd name="T67" fmla="*/ 423 h 425"/>
              <a:gd name="T68" fmla="*/ 176 w 450"/>
              <a:gd name="T69" fmla="*/ 412 h 425"/>
              <a:gd name="T70" fmla="*/ 189 w 450"/>
              <a:gd name="T71" fmla="*/ 402 h 425"/>
              <a:gd name="T72" fmla="*/ 209 w 450"/>
              <a:gd name="T73" fmla="*/ 368 h 425"/>
              <a:gd name="T74" fmla="*/ 224 w 450"/>
              <a:gd name="T75" fmla="*/ 317 h 425"/>
              <a:gd name="T76" fmla="*/ 225 w 450"/>
              <a:gd name="T77" fmla="*/ 381 h 425"/>
              <a:gd name="T78" fmla="*/ 229 w 450"/>
              <a:gd name="T79" fmla="*/ 419 h 425"/>
              <a:gd name="T80" fmla="*/ 237 w 450"/>
              <a:gd name="T81" fmla="*/ 421 h 425"/>
              <a:gd name="T82" fmla="*/ 266 w 450"/>
              <a:gd name="T83" fmla="*/ 418 h 425"/>
              <a:gd name="T84" fmla="*/ 300 w 450"/>
              <a:gd name="T85" fmla="*/ 405 h 425"/>
              <a:gd name="T86" fmla="*/ 309 w 450"/>
              <a:gd name="T87" fmla="*/ 397 h 425"/>
              <a:gd name="T88" fmla="*/ 331 w 450"/>
              <a:gd name="T89" fmla="*/ 367 h 425"/>
              <a:gd name="T90" fmla="*/ 342 w 450"/>
              <a:gd name="T91" fmla="*/ 334 h 425"/>
              <a:gd name="T92" fmla="*/ 345 w 450"/>
              <a:gd name="T93" fmla="*/ 346 h 425"/>
              <a:gd name="T94" fmla="*/ 348 w 450"/>
              <a:gd name="T95" fmla="*/ 391 h 425"/>
              <a:gd name="T96" fmla="*/ 379 w 450"/>
              <a:gd name="T97" fmla="*/ 386 h 425"/>
              <a:gd name="T98" fmla="*/ 404 w 450"/>
              <a:gd name="T99" fmla="*/ 375 h 425"/>
              <a:gd name="T100" fmla="*/ 425 w 450"/>
              <a:gd name="T101" fmla="*/ 360 h 425"/>
              <a:gd name="T102" fmla="*/ 439 w 450"/>
              <a:gd name="T103" fmla="*/ 342 h 425"/>
              <a:gd name="T104" fmla="*/ 448 w 450"/>
              <a:gd name="T105" fmla="*/ 311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0" h="425">
                <a:moveTo>
                  <a:pt x="448" y="311"/>
                </a:moveTo>
                <a:lnTo>
                  <a:pt x="448" y="311"/>
                </a:lnTo>
                <a:lnTo>
                  <a:pt x="450" y="290"/>
                </a:lnTo>
                <a:lnTo>
                  <a:pt x="450" y="268"/>
                </a:lnTo>
                <a:lnTo>
                  <a:pt x="450" y="225"/>
                </a:lnTo>
                <a:lnTo>
                  <a:pt x="450" y="225"/>
                </a:lnTo>
                <a:lnTo>
                  <a:pt x="449" y="64"/>
                </a:lnTo>
                <a:lnTo>
                  <a:pt x="449" y="64"/>
                </a:lnTo>
                <a:lnTo>
                  <a:pt x="449" y="54"/>
                </a:lnTo>
                <a:lnTo>
                  <a:pt x="448" y="44"/>
                </a:lnTo>
                <a:lnTo>
                  <a:pt x="447" y="33"/>
                </a:lnTo>
                <a:lnTo>
                  <a:pt x="444" y="20"/>
                </a:lnTo>
                <a:lnTo>
                  <a:pt x="441" y="10"/>
                </a:lnTo>
                <a:lnTo>
                  <a:pt x="439" y="6"/>
                </a:lnTo>
                <a:lnTo>
                  <a:pt x="436" y="3"/>
                </a:lnTo>
                <a:lnTo>
                  <a:pt x="433" y="1"/>
                </a:lnTo>
                <a:lnTo>
                  <a:pt x="429" y="0"/>
                </a:lnTo>
                <a:lnTo>
                  <a:pt x="429" y="0"/>
                </a:lnTo>
                <a:lnTo>
                  <a:pt x="396" y="0"/>
                </a:lnTo>
                <a:lnTo>
                  <a:pt x="378" y="1"/>
                </a:lnTo>
                <a:lnTo>
                  <a:pt x="367" y="2"/>
                </a:lnTo>
                <a:lnTo>
                  <a:pt x="367" y="2"/>
                </a:lnTo>
                <a:lnTo>
                  <a:pt x="364" y="7"/>
                </a:lnTo>
                <a:lnTo>
                  <a:pt x="362" y="14"/>
                </a:lnTo>
                <a:lnTo>
                  <a:pt x="356" y="33"/>
                </a:lnTo>
                <a:lnTo>
                  <a:pt x="350" y="52"/>
                </a:lnTo>
                <a:lnTo>
                  <a:pt x="347" y="59"/>
                </a:lnTo>
                <a:lnTo>
                  <a:pt x="345" y="64"/>
                </a:lnTo>
                <a:lnTo>
                  <a:pt x="325" y="2"/>
                </a:lnTo>
                <a:lnTo>
                  <a:pt x="325" y="2"/>
                </a:lnTo>
                <a:lnTo>
                  <a:pt x="309" y="1"/>
                </a:lnTo>
                <a:lnTo>
                  <a:pt x="286" y="1"/>
                </a:lnTo>
                <a:lnTo>
                  <a:pt x="261" y="2"/>
                </a:lnTo>
                <a:lnTo>
                  <a:pt x="247" y="4"/>
                </a:lnTo>
                <a:lnTo>
                  <a:pt x="247" y="4"/>
                </a:lnTo>
                <a:lnTo>
                  <a:pt x="242" y="16"/>
                </a:lnTo>
                <a:lnTo>
                  <a:pt x="236" y="34"/>
                </a:lnTo>
                <a:lnTo>
                  <a:pt x="229" y="52"/>
                </a:lnTo>
                <a:lnTo>
                  <a:pt x="224" y="64"/>
                </a:lnTo>
                <a:lnTo>
                  <a:pt x="205" y="5"/>
                </a:lnTo>
                <a:lnTo>
                  <a:pt x="205" y="5"/>
                </a:lnTo>
                <a:lnTo>
                  <a:pt x="192" y="4"/>
                </a:lnTo>
                <a:lnTo>
                  <a:pt x="168" y="4"/>
                </a:lnTo>
                <a:lnTo>
                  <a:pt x="144" y="5"/>
                </a:lnTo>
                <a:lnTo>
                  <a:pt x="135" y="6"/>
                </a:lnTo>
                <a:lnTo>
                  <a:pt x="131" y="6"/>
                </a:lnTo>
                <a:lnTo>
                  <a:pt x="131" y="6"/>
                </a:lnTo>
                <a:lnTo>
                  <a:pt x="127" y="11"/>
                </a:lnTo>
                <a:lnTo>
                  <a:pt x="124" y="18"/>
                </a:lnTo>
                <a:lnTo>
                  <a:pt x="117" y="36"/>
                </a:lnTo>
                <a:lnTo>
                  <a:pt x="110" y="53"/>
                </a:lnTo>
                <a:lnTo>
                  <a:pt x="105" y="64"/>
                </a:lnTo>
                <a:lnTo>
                  <a:pt x="86" y="6"/>
                </a:lnTo>
                <a:lnTo>
                  <a:pt x="86" y="6"/>
                </a:lnTo>
                <a:lnTo>
                  <a:pt x="69" y="6"/>
                </a:lnTo>
                <a:lnTo>
                  <a:pt x="38" y="6"/>
                </a:lnTo>
                <a:lnTo>
                  <a:pt x="38" y="6"/>
                </a:lnTo>
                <a:lnTo>
                  <a:pt x="33" y="7"/>
                </a:lnTo>
                <a:lnTo>
                  <a:pt x="29" y="8"/>
                </a:lnTo>
                <a:lnTo>
                  <a:pt x="25" y="10"/>
                </a:lnTo>
                <a:lnTo>
                  <a:pt x="21" y="12"/>
                </a:lnTo>
                <a:lnTo>
                  <a:pt x="15" y="19"/>
                </a:lnTo>
                <a:lnTo>
                  <a:pt x="10" y="28"/>
                </a:lnTo>
                <a:lnTo>
                  <a:pt x="5" y="36"/>
                </a:lnTo>
                <a:lnTo>
                  <a:pt x="2" y="46"/>
                </a:lnTo>
                <a:lnTo>
                  <a:pt x="1" y="55"/>
                </a:lnTo>
                <a:lnTo>
                  <a:pt x="0" y="63"/>
                </a:lnTo>
                <a:lnTo>
                  <a:pt x="0" y="63"/>
                </a:lnTo>
                <a:lnTo>
                  <a:pt x="1" y="141"/>
                </a:lnTo>
                <a:lnTo>
                  <a:pt x="2" y="220"/>
                </a:lnTo>
                <a:lnTo>
                  <a:pt x="2" y="220"/>
                </a:lnTo>
                <a:lnTo>
                  <a:pt x="5" y="324"/>
                </a:lnTo>
                <a:lnTo>
                  <a:pt x="8" y="402"/>
                </a:lnTo>
                <a:lnTo>
                  <a:pt x="8" y="402"/>
                </a:lnTo>
                <a:lnTo>
                  <a:pt x="27" y="401"/>
                </a:lnTo>
                <a:lnTo>
                  <a:pt x="37" y="399"/>
                </a:lnTo>
                <a:lnTo>
                  <a:pt x="45" y="398"/>
                </a:lnTo>
                <a:lnTo>
                  <a:pt x="54" y="396"/>
                </a:lnTo>
                <a:lnTo>
                  <a:pt x="62" y="393"/>
                </a:lnTo>
                <a:lnTo>
                  <a:pt x="68" y="388"/>
                </a:lnTo>
                <a:lnTo>
                  <a:pt x="74" y="384"/>
                </a:lnTo>
                <a:lnTo>
                  <a:pt x="74" y="384"/>
                </a:lnTo>
                <a:lnTo>
                  <a:pt x="79" y="379"/>
                </a:lnTo>
                <a:lnTo>
                  <a:pt x="83" y="374"/>
                </a:lnTo>
                <a:lnTo>
                  <a:pt x="90" y="363"/>
                </a:lnTo>
                <a:lnTo>
                  <a:pt x="95" y="352"/>
                </a:lnTo>
                <a:lnTo>
                  <a:pt x="100" y="341"/>
                </a:lnTo>
                <a:lnTo>
                  <a:pt x="103" y="331"/>
                </a:lnTo>
                <a:lnTo>
                  <a:pt x="104" y="324"/>
                </a:lnTo>
                <a:lnTo>
                  <a:pt x="105" y="317"/>
                </a:lnTo>
                <a:lnTo>
                  <a:pt x="105" y="317"/>
                </a:lnTo>
                <a:lnTo>
                  <a:pt x="105" y="337"/>
                </a:lnTo>
                <a:lnTo>
                  <a:pt x="105" y="367"/>
                </a:lnTo>
                <a:lnTo>
                  <a:pt x="106" y="397"/>
                </a:lnTo>
                <a:lnTo>
                  <a:pt x="108" y="420"/>
                </a:lnTo>
                <a:lnTo>
                  <a:pt x="108" y="420"/>
                </a:lnTo>
                <a:lnTo>
                  <a:pt x="108" y="421"/>
                </a:lnTo>
                <a:lnTo>
                  <a:pt x="110" y="422"/>
                </a:lnTo>
                <a:lnTo>
                  <a:pt x="116" y="424"/>
                </a:lnTo>
                <a:lnTo>
                  <a:pt x="125" y="425"/>
                </a:lnTo>
                <a:lnTo>
                  <a:pt x="136" y="425"/>
                </a:lnTo>
                <a:lnTo>
                  <a:pt x="150" y="423"/>
                </a:lnTo>
                <a:lnTo>
                  <a:pt x="163" y="418"/>
                </a:lnTo>
                <a:lnTo>
                  <a:pt x="169" y="415"/>
                </a:lnTo>
                <a:lnTo>
                  <a:pt x="176" y="412"/>
                </a:lnTo>
                <a:lnTo>
                  <a:pt x="182" y="407"/>
                </a:lnTo>
                <a:lnTo>
                  <a:pt x="189" y="402"/>
                </a:lnTo>
                <a:lnTo>
                  <a:pt x="189" y="402"/>
                </a:lnTo>
                <a:lnTo>
                  <a:pt x="197" y="392"/>
                </a:lnTo>
                <a:lnTo>
                  <a:pt x="204" y="380"/>
                </a:lnTo>
                <a:lnTo>
                  <a:pt x="209" y="368"/>
                </a:lnTo>
                <a:lnTo>
                  <a:pt x="213" y="356"/>
                </a:lnTo>
                <a:lnTo>
                  <a:pt x="220" y="333"/>
                </a:lnTo>
                <a:lnTo>
                  <a:pt x="224" y="317"/>
                </a:lnTo>
                <a:lnTo>
                  <a:pt x="224" y="317"/>
                </a:lnTo>
                <a:lnTo>
                  <a:pt x="224" y="348"/>
                </a:lnTo>
                <a:lnTo>
                  <a:pt x="225" y="381"/>
                </a:lnTo>
                <a:lnTo>
                  <a:pt x="227" y="408"/>
                </a:lnTo>
                <a:lnTo>
                  <a:pt x="228" y="417"/>
                </a:lnTo>
                <a:lnTo>
                  <a:pt x="229" y="419"/>
                </a:lnTo>
                <a:lnTo>
                  <a:pt x="230" y="420"/>
                </a:lnTo>
                <a:lnTo>
                  <a:pt x="230" y="420"/>
                </a:lnTo>
                <a:lnTo>
                  <a:pt x="237" y="421"/>
                </a:lnTo>
                <a:lnTo>
                  <a:pt x="245" y="421"/>
                </a:lnTo>
                <a:lnTo>
                  <a:pt x="255" y="420"/>
                </a:lnTo>
                <a:lnTo>
                  <a:pt x="266" y="418"/>
                </a:lnTo>
                <a:lnTo>
                  <a:pt x="277" y="415"/>
                </a:lnTo>
                <a:lnTo>
                  <a:pt x="289" y="411"/>
                </a:lnTo>
                <a:lnTo>
                  <a:pt x="300" y="405"/>
                </a:lnTo>
                <a:lnTo>
                  <a:pt x="305" y="401"/>
                </a:lnTo>
                <a:lnTo>
                  <a:pt x="309" y="397"/>
                </a:lnTo>
                <a:lnTo>
                  <a:pt x="309" y="397"/>
                </a:lnTo>
                <a:lnTo>
                  <a:pt x="317" y="387"/>
                </a:lnTo>
                <a:lnTo>
                  <a:pt x="325" y="377"/>
                </a:lnTo>
                <a:lnTo>
                  <a:pt x="331" y="367"/>
                </a:lnTo>
                <a:lnTo>
                  <a:pt x="336" y="356"/>
                </a:lnTo>
                <a:lnTo>
                  <a:pt x="339" y="345"/>
                </a:lnTo>
                <a:lnTo>
                  <a:pt x="342" y="334"/>
                </a:lnTo>
                <a:lnTo>
                  <a:pt x="345" y="317"/>
                </a:lnTo>
                <a:lnTo>
                  <a:pt x="345" y="317"/>
                </a:lnTo>
                <a:lnTo>
                  <a:pt x="345" y="346"/>
                </a:lnTo>
                <a:lnTo>
                  <a:pt x="346" y="370"/>
                </a:lnTo>
                <a:lnTo>
                  <a:pt x="348" y="391"/>
                </a:lnTo>
                <a:lnTo>
                  <a:pt x="348" y="391"/>
                </a:lnTo>
                <a:lnTo>
                  <a:pt x="362" y="390"/>
                </a:lnTo>
                <a:lnTo>
                  <a:pt x="371" y="388"/>
                </a:lnTo>
                <a:lnTo>
                  <a:pt x="379" y="386"/>
                </a:lnTo>
                <a:lnTo>
                  <a:pt x="379" y="386"/>
                </a:lnTo>
                <a:lnTo>
                  <a:pt x="393" y="380"/>
                </a:lnTo>
                <a:lnTo>
                  <a:pt x="404" y="375"/>
                </a:lnTo>
                <a:lnTo>
                  <a:pt x="415" y="368"/>
                </a:lnTo>
                <a:lnTo>
                  <a:pt x="415" y="368"/>
                </a:lnTo>
                <a:lnTo>
                  <a:pt x="425" y="360"/>
                </a:lnTo>
                <a:lnTo>
                  <a:pt x="430" y="355"/>
                </a:lnTo>
                <a:lnTo>
                  <a:pt x="435" y="349"/>
                </a:lnTo>
                <a:lnTo>
                  <a:pt x="439" y="342"/>
                </a:lnTo>
                <a:lnTo>
                  <a:pt x="443" y="333"/>
                </a:lnTo>
                <a:lnTo>
                  <a:pt x="446" y="323"/>
                </a:lnTo>
                <a:lnTo>
                  <a:pt x="448" y="3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8" name="Freeform 35"/>
          <p:cNvSpPr>
            <a:spLocks/>
          </p:cNvSpPr>
          <p:nvPr userDrawn="1"/>
        </p:nvSpPr>
        <p:spPr bwMode="auto">
          <a:xfrm>
            <a:off x="7245351" y="1206204"/>
            <a:ext cx="73025" cy="80963"/>
          </a:xfrm>
          <a:custGeom>
            <a:avLst/>
            <a:gdLst>
              <a:gd name="T0" fmla="*/ 554 w 554"/>
              <a:gd name="T1" fmla="*/ 356 h 620"/>
              <a:gd name="T2" fmla="*/ 549 w 554"/>
              <a:gd name="T3" fmla="*/ 350 h 620"/>
              <a:gd name="T4" fmla="*/ 535 w 554"/>
              <a:gd name="T5" fmla="*/ 331 h 620"/>
              <a:gd name="T6" fmla="*/ 525 w 554"/>
              <a:gd name="T7" fmla="*/ 306 h 620"/>
              <a:gd name="T8" fmla="*/ 520 w 554"/>
              <a:gd name="T9" fmla="*/ 285 h 620"/>
              <a:gd name="T10" fmla="*/ 516 w 554"/>
              <a:gd name="T11" fmla="*/ 258 h 620"/>
              <a:gd name="T12" fmla="*/ 515 w 554"/>
              <a:gd name="T13" fmla="*/ 243 h 620"/>
              <a:gd name="T14" fmla="*/ 516 w 554"/>
              <a:gd name="T15" fmla="*/ 222 h 620"/>
              <a:gd name="T16" fmla="*/ 520 w 554"/>
              <a:gd name="T17" fmla="*/ 202 h 620"/>
              <a:gd name="T18" fmla="*/ 532 w 554"/>
              <a:gd name="T19" fmla="*/ 167 h 620"/>
              <a:gd name="T20" fmla="*/ 546 w 554"/>
              <a:gd name="T21" fmla="*/ 142 h 620"/>
              <a:gd name="T22" fmla="*/ 551 w 554"/>
              <a:gd name="T23" fmla="*/ 43 h 620"/>
              <a:gd name="T24" fmla="*/ 542 w 554"/>
              <a:gd name="T25" fmla="*/ 36 h 620"/>
              <a:gd name="T26" fmla="*/ 504 w 554"/>
              <a:gd name="T27" fmla="*/ 13 h 620"/>
              <a:gd name="T28" fmla="*/ 482 w 554"/>
              <a:gd name="T29" fmla="*/ 2 h 620"/>
              <a:gd name="T30" fmla="*/ 470 w 554"/>
              <a:gd name="T31" fmla="*/ 0 h 620"/>
              <a:gd name="T32" fmla="*/ 465 w 554"/>
              <a:gd name="T33" fmla="*/ 327 h 620"/>
              <a:gd name="T34" fmla="*/ 465 w 554"/>
              <a:gd name="T35" fmla="*/ 339 h 620"/>
              <a:gd name="T36" fmla="*/ 458 w 554"/>
              <a:gd name="T37" fmla="*/ 360 h 620"/>
              <a:gd name="T38" fmla="*/ 444 w 554"/>
              <a:gd name="T39" fmla="*/ 382 h 620"/>
              <a:gd name="T40" fmla="*/ 426 w 554"/>
              <a:gd name="T41" fmla="*/ 402 h 620"/>
              <a:gd name="T42" fmla="*/ 405 w 554"/>
              <a:gd name="T43" fmla="*/ 421 h 620"/>
              <a:gd name="T44" fmla="*/ 380 w 554"/>
              <a:gd name="T45" fmla="*/ 437 h 620"/>
              <a:gd name="T46" fmla="*/ 353 w 554"/>
              <a:gd name="T47" fmla="*/ 449 h 620"/>
              <a:gd name="T48" fmla="*/ 327 w 554"/>
              <a:gd name="T49" fmla="*/ 458 h 620"/>
              <a:gd name="T50" fmla="*/ 314 w 554"/>
              <a:gd name="T51" fmla="*/ 461 h 620"/>
              <a:gd name="T52" fmla="*/ 255 w 554"/>
              <a:gd name="T53" fmla="*/ 471 h 620"/>
              <a:gd name="T54" fmla="*/ 199 w 554"/>
              <a:gd name="T55" fmla="*/ 477 h 620"/>
              <a:gd name="T56" fmla="*/ 98 w 554"/>
              <a:gd name="T57" fmla="*/ 482 h 620"/>
              <a:gd name="T58" fmla="*/ 27 w 554"/>
              <a:gd name="T59" fmla="*/ 482 h 620"/>
              <a:gd name="T60" fmla="*/ 0 w 554"/>
              <a:gd name="T61" fmla="*/ 481 h 620"/>
              <a:gd name="T62" fmla="*/ 4 w 554"/>
              <a:gd name="T63" fmla="*/ 508 h 620"/>
              <a:gd name="T64" fmla="*/ 13 w 554"/>
              <a:gd name="T65" fmla="*/ 550 h 620"/>
              <a:gd name="T66" fmla="*/ 18 w 554"/>
              <a:gd name="T67" fmla="*/ 566 h 620"/>
              <a:gd name="T68" fmla="*/ 29 w 554"/>
              <a:gd name="T69" fmla="*/ 586 h 620"/>
              <a:gd name="T70" fmla="*/ 44 w 554"/>
              <a:gd name="T71" fmla="*/ 604 h 620"/>
              <a:gd name="T72" fmla="*/ 62 w 554"/>
              <a:gd name="T73" fmla="*/ 620 h 620"/>
              <a:gd name="T74" fmla="*/ 554 w 554"/>
              <a:gd name="T75" fmla="*/ 450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4" h="620">
                <a:moveTo>
                  <a:pt x="554" y="450"/>
                </a:moveTo>
                <a:lnTo>
                  <a:pt x="554" y="356"/>
                </a:lnTo>
                <a:lnTo>
                  <a:pt x="554" y="356"/>
                </a:lnTo>
                <a:lnTo>
                  <a:pt x="549" y="350"/>
                </a:lnTo>
                <a:lnTo>
                  <a:pt x="543" y="342"/>
                </a:lnTo>
                <a:lnTo>
                  <a:pt x="535" y="331"/>
                </a:lnTo>
                <a:lnTo>
                  <a:pt x="528" y="315"/>
                </a:lnTo>
                <a:lnTo>
                  <a:pt x="525" y="306"/>
                </a:lnTo>
                <a:lnTo>
                  <a:pt x="522" y="296"/>
                </a:lnTo>
                <a:lnTo>
                  <a:pt x="520" y="285"/>
                </a:lnTo>
                <a:lnTo>
                  <a:pt x="517" y="271"/>
                </a:lnTo>
                <a:lnTo>
                  <a:pt x="516" y="258"/>
                </a:lnTo>
                <a:lnTo>
                  <a:pt x="515" y="243"/>
                </a:lnTo>
                <a:lnTo>
                  <a:pt x="515" y="243"/>
                </a:lnTo>
                <a:lnTo>
                  <a:pt x="515" y="232"/>
                </a:lnTo>
                <a:lnTo>
                  <a:pt x="516" y="222"/>
                </a:lnTo>
                <a:lnTo>
                  <a:pt x="517" y="212"/>
                </a:lnTo>
                <a:lnTo>
                  <a:pt x="520" y="202"/>
                </a:lnTo>
                <a:lnTo>
                  <a:pt x="526" y="183"/>
                </a:lnTo>
                <a:lnTo>
                  <a:pt x="532" y="167"/>
                </a:lnTo>
                <a:lnTo>
                  <a:pt x="540" y="154"/>
                </a:lnTo>
                <a:lnTo>
                  <a:pt x="546" y="142"/>
                </a:lnTo>
                <a:lnTo>
                  <a:pt x="552" y="133"/>
                </a:lnTo>
                <a:lnTo>
                  <a:pt x="551" y="43"/>
                </a:lnTo>
                <a:lnTo>
                  <a:pt x="551" y="43"/>
                </a:lnTo>
                <a:lnTo>
                  <a:pt x="542" y="36"/>
                </a:lnTo>
                <a:lnTo>
                  <a:pt x="518" y="21"/>
                </a:lnTo>
                <a:lnTo>
                  <a:pt x="504" y="13"/>
                </a:lnTo>
                <a:lnTo>
                  <a:pt x="489" y="5"/>
                </a:lnTo>
                <a:lnTo>
                  <a:pt x="482" y="2"/>
                </a:lnTo>
                <a:lnTo>
                  <a:pt x="476" y="1"/>
                </a:lnTo>
                <a:lnTo>
                  <a:pt x="470" y="0"/>
                </a:lnTo>
                <a:lnTo>
                  <a:pt x="464" y="0"/>
                </a:lnTo>
                <a:lnTo>
                  <a:pt x="465" y="327"/>
                </a:lnTo>
                <a:lnTo>
                  <a:pt x="465" y="327"/>
                </a:lnTo>
                <a:lnTo>
                  <a:pt x="465" y="339"/>
                </a:lnTo>
                <a:lnTo>
                  <a:pt x="462" y="349"/>
                </a:lnTo>
                <a:lnTo>
                  <a:pt x="458" y="360"/>
                </a:lnTo>
                <a:lnTo>
                  <a:pt x="452" y="370"/>
                </a:lnTo>
                <a:lnTo>
                  <a:pt x="444" y="382"/>
                </a:lnTo>
                <a:lnTo>
                  <a:pt x="436" y="392"/>
                </a:lnTo>
                <a:lnTo>
                  <a:pt x="426" y="402"/>
                </a:lnTo>
                <a:lnTo>
                  <a:pt x="416" y="411"/>
                </a:lnTo>
                <a:lnTo>
                  <a:pt x="405" y="421"/>
                </a:lnTo>
                <a:lnTo>
                  <a:pt x="392" y="429"/>
                </a:lnTo>
                <a:lnTo>
                  <a:pt x="380" y="437"/>
                </a:lnTo>
                <a:lnTo>
                  <a:pt x="367" y="443"/>
                </a:lnTo>
                <a:lnTo>
                  <a:pt x="353" y="449"/>
                </a:lnTo>
                <a:lnTo>
                  <a:pt x="340" y="454"/>
                </a:lnTo>
                <a:lnTo>
                  <a:pt x="327" y="458"/>
                </a:lnTo>
                <a:lnTo>
                  <a:pt x="314" y="461"/>
                </a:lnTo>
                <a:lnTo>
                  <a:pt x="314" y="461"/>
                </a:lnTo>
                <a:lnTo>
                  <a:pt x="284" y="467"/>
                </a:lnTo>
                <a:lnTo>
                  <a:pt x="255" y="471"/>
                </a:lnTo>
                <a:lnTo>
                  <a:pt x="227" y="474"/>
                </a:lnTo>
                <a:lnTo>
                  <a:pt x="199" y="477"/>
                </a:lnTo>
                <a:lnTo>
                  <a:pt x="146" y="480"/>
                </a:lnTo>
                <a:lnTo>
                  <a:pt x="98" y="482"/>
                </a:lnTo>
                <a:lnTo>
                  <a:pt x="58" y="482"/>
                </a:lnTo>
                <a:lnTo>
                  <a:pt x="27" y="482"/>
                </a:lnTo>
                <a:lnTo>
                  <a:pt x="0" y="481"/>
                </a:lnTo>
                <a:lnTo>
                  <a:pt x="0" y="481"/>
                </a:lnTo>
                <a:lnTo>
                  <a:pt x="1" y="488"/>
                </a:lnTo>
                <a:lnTo>
                  <a:pt x="4" y="508"/>
                </a:lnTo>
                <a:lnTo>
                  <a:pt x="10" y="535"/>
                </a:lnTo>
                <a:lnTo>
                  <a:pt x="13" y="550"/>
                </a:lnTo>
                <a:lnTo>
                  <a:pt x="18" y="566"/>
                </a:lnTo>
                <a:lnTo>
                  <a:pt x="18" y="566"/>
                </a:lnTo>
                <a:lnTo>
                  <a:pt x="23" y="576"/>
                </a:lnTo>
                <a:lnTo>
                  <a:pt x="29" y="586"/>
                </a:lnTo>
                <a:lnTo>
                  <a:pt x="36" y="595"/>
                </a:lnTo>
                <a:lnTo>
                  <a:pt x="44" y="604"/>
                </a:lnTo>
                <a:lnTo>
                  <a:pt x="57" y="616"/>
                </a:lnTo>
                <a:lnTo>
                  <a:pt x="62" y="620"/>
                </a:lnTo>
                <a:lnTo>
                  <a:pt x="451" y="620"/>
                </a:lnTo>
                <a:lnTo>
                  <a:pt x="554" y="4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9" name="Freeform 36"/>
          <p:cNvSpPr>
            <a:spLocks/>
          </p:cNvSpPr>
          <p:nvPr userDrawn="1"/>
        </p:nvSpPr>
        <p:spPr bwMode="auto">
          <a:xfrm>
            <a:off x="7251700" y="1298279"/>
            <a:ext cx="57150" cy="17463"/>
          </a:xfrm>
          <a:custGeom>
            <a:avLst/>
            <a:gdLst>
              <a:gd name="T0" fmla="*/ 20 w 435"/>
              <a:gd name="T1" fmla="*/ 142 h 142"/>
              <a:gd name="T2" fmla="*/ 411 w 435"/>
              <a:gd name="T3" fmla="*/ 142 h 142"/>
              <a:gd name="T4" fmla="*/ 411 w 435"/>
              <a:gd name="T5" fmla="*/ 142 h 142"/>
              <a:gd name="T6" fmla="*/ 422 w 435"/>
              <a:gd name="T7" fmla="*/ 109 h 142"/>
              <a:gd name="T8" fmla="*/ 430 w 435"/>
              <a:gd name="T9" fmla="*/ 83 h 142"/>
              <a:gd name="T10" fmla="*/ 433 w 435"/>
              <a:gd name="T11" fmla="*/ 72 h 142"/>
              <a:gd name="T12" fmla="*/ 435 w 435"/>
              <a:gd name="T13" fmla="*/ 63 h 142"/>
              <a:gd name="T14" fmla="*/ 417 w 435"/>
              <a:gd name="T15" fmla="*/ 0 h 142"/>
              <a:gd name="T16" fmla="*/ 22 w 435"/>
              <a:gd name="T17" fmla="*/ 0 h 142"/>
              <a:gd name="T18" fmla="*/ 0 w 435"/>
              <a:gd name="T19" fmla="*/ 65 h 142"/>
              <a:gd name="T20" fmla="*/ 20 w 435"/>
              <a:gd name="T2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5" h="142">
                <a:moveTo>
                  <a:pt x="20" y="142"/>
                </a:moveTo>
                <a:lnTo>
                  <a:pt x="411" y="142"/>
                </a:lnTo>
                <a:lnTo>
                  <a:pt x="411" y="142"/>
                </a:lnTo>
                <a:lnTo>
                  <a:pt x="422" y="109"/>
                </a:lnTo>
                <a:lnTo>
                  <a:pt x="430" y="83"/>
                </a:lnTo>
                <a:lnTo>
                  <a:pt x="433" y="72"/>
                </a:lnTo>
                <a:lnTo>
                  <a:pt x="435" y="63"/>
                </a:lnTo>
                <a:lnTo>
                  <a:pt x="417" y="0"/>
                </a:lnTo>
                <a:lnTo>
                  <a:pt x="22" y="0"/>
                </a:lnTo>
                <a:lnTo>
                  <a:pt x="0" y="65"/>
                </a:lnTo>
                <a:lnTo>
                  <a:pt x="20" y="1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0" name="Freeform 37"/>
          <p:cNvSpPr>
            <a:spLocks/>
          </p:cNvSpPr>
          <p:nvPr userDrawn="1"/>
        </p:nvSpPr>
        <p:spPr bwMode="auto">
          <a:xfrm>
            <a:off x="7254875" y="1326854"/>
            <a:ext cx="57150" cy="66675"/>
          </a:xfrm>
          <a:custGeom>
            <a:avLst/>
            <a:gdLst>
              <a:gd name="T0" fmla="*/ 384 w 436"/>
              <a:gd name="T1" fmla="*/ 0 h 514"/>
              <a:gd name="T2" fmla="*/ 2 w 436"/>
              <a:gd name="T3" fmla="*/ 0 h 514"/>
              <a:gd name="T4" fmla="*/ 0 w 436"/>
              <a:gd name="T5" fmla="*/ 505 h 514"/>
              <a:gd name="T6" fmla="*/ 331 w 436"/>
              <a:gd name="T7" fmla="*/ 514 h 514"/>
              <a:gd name="T8" fmla="*/ 436 w 436"/>
              <a:gd name="T9" fmla="*/ 431 h 514"/>
              <a:gd name="T10" fmla="*/ 384 w 436"/>
              <a:gd name="T11" fmla="*/ 0 h 514"/>
            </a:gdLst>
            <a:ahLst/>
            <a:cxnLst>
              <a:cxn ang="0">
                <a:pos x="T0" y="T1"/>
              </a:cxn>
              <a:cxn ang="0">
                <a:pos x="T2" y="T3"/>
              </a:cxn>
              <a:cxn ang="0">
                <a:pos x="T4" y="T5"/>
              </a:cxn>
              <a:cxn ang="0">
                <a:pos x="T6" y="T7"/>
              </a:cxn>
              <a:cxn ang="0">
                <a:pos x="T8" y="T9"/>
              </a:cxn>
              <a:cxn ang="0">
                <a:pos x="T10" y="T11"/>
              </a:cxn>
            </a:cxnLst>
            <a:rect l="0" t="0" r="r" b="b"/>
            <a:pathLst>
              <a:path w="436" h="514">
                <a:moveTo>
                  <a:pt x="384" y="0"/>
                </a:moveTo>
                <a:lnTo>
                  <a:pt x="2" y="0"/>
                </a:lnTo>
                <a:lnTo>
                  <a:pt x="0" y="505"/>
                </a:lnTo>
                <a:lnTo>
                  <a:pt x="331" y="514"/>
                </a:lnTo>
                <a:lnTo>
                  <a:pt x="436" y="431"/>
                </a:lnTo>
                <a:lnTo>
                  <a:pt x="3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1" name="Freeform 38"/>
          <p:cNvSpPr>
            <a:spLocks/>
          </p:cNvSpPr>
          <p:nvPr userDrawn="1"/>
        </p:nvSpPr>
        <p:spPr bwMode="auto">
          <a:xfrm>
            <a:off x="7251701" y="1391941"/>
            <a:ext cx="77788" cy="68263"/>
          </a:xfrm>
          <a:custGeom>
            <a:avLst/>
            <a:gdLst>
              <a:gd name="T0" fmla="*/ 586 w 586"/>
              <a:gd name="T1" fmla="*/ 139 h 523"/>
              <a:gd name="T2" fmla="*/ 586 w 586"/>
              <a:gd name="T3" fmla="*/ 139 h 523"/>
              <a:gd name="T4" fmla="*/ 552 w 586"/>
              <a:gd name="T5" fmla="*/ 115 h 523"/>
              <a:gd name="T6" fmla="*/ 527 w 586"/>
              <a:gd name="T7" fmla="*/ 97 h 523"/>
              <a:gd name="T8" fmla="*/ 519 w 586"/>
              <a:gd name="T9" fmla="*/ 90 h 523"/>
              <a:gd name="T10" fmla="*/ 514 w 586"/>
              <a:gd name="T11" fmla="*/ 85 h 523"/>
              <a:gd name="T12" fmla="*/ 514 w 586"/>
              <a:gd name="T13" fmla="*/ 85 h 523"/>
              <a:gd name="T14" fmla="*/ 512 w 586"/>
              <a:gd name="T15" fmla="*/ 79 h 523"/>
              <a:gd name="T16" fmla="*/ 510 w 586"/>
              <a:gd name="T17" fmla="*/ 69 h 523"/>
              <a:gd name="T18" fmla="*/ 506 w 586"/>
              <a:gd name="T19" fmla="*/ 40 h 523"/>
              <a:gd name="T20" fmla="*/ 503 w 586"/>
              <a:gd name="T21" fmla="*/ 0 h 523"/>
              <a:gd name="T22" fmla="*/ 381 w 586"/>
              <a:gd name="T23" fmla="*/ 98 h 523"/>
              <a:gd name="T24" fmla="*/ 8 w 586"/>
              <a:gd name="T25" fmla="*/ 97 h 523"/>
              <a:gd name="T26" fmla="*/ 8 w 586"/>
              <a:gd name="T27" fmla="*/ 97 h 523"/>
              <a:gd name="T28" fmla="*/ 8 w 586"/>
              <a:gd name="T29" fmla="*/ 98 h 523"/>
              <a:gd name="T30" fmla="*/ 7 w 586"/>
              <a:gd name="T31" fmla="*/ 100 h 523"/>
              <a:gd name="T32" fmla="*/ 5 w 586"/>
              <a:gd name="T33" fmla="*/ 108 h 523"/>
              <a:gd name="T34" fmla="*/ 3 w 586"/>
              <a:gd name="T35" fmla="*/ 139 h 523"/>
              <a:gd name="T36" fmla="*/ 2 w 586"/>
              <a:gd name="T37" fmla="*/ 183 h 523"/>
              <a:gd name="T38" fmla="*/ 1 w 586"/>
              <a:gd name="T39" fmla="*/ 233 h 523"/>
              <a:gd name="T40" fmla="*/ 0 w 586"/>
              <a:gd name="T41" fmla="*/ 327 h 523"/>
              <a:gd name="T42" fmla="*/ 0 w 586"/>
              <a:gd name="T43" fmla="*/ 369 h 523"/>
              <a:gd name="T44" fmla="*/ 0 w 586"/>
              <a:gd name="T45" fmla="*/ 369 h 523"/>
              <a:gd name="T46" fmla="*/ 29 w 586"/>
              <a:gd name="T47" fmla="*/ 395 h 523"/>
              <a:gd name="T48" fmla="*/ 95 w 586"/>
              <a:gd name="T49" fmla="*/ 448 h 523"/>
              <a:gd name="T50" fmla="*/ 131 w 586"/>
              <a:gd name="T51" fmla="*/ 477 h 523"/>
              <a:gd name="T52" fmla="*/ 162 w 586"/>
              <a:gd name="T53" fmla="*/ 501 h 523"/>
              <a:gd name="T54" fmla="*/ 186 w 586"/>
              <a:gd name="T55" fmla="*/ 517 h 523"/>
              <a:gd name="T56" fmla="*/ 193 w 586"/>
              <a:gd name="T57" fmla="*/ 522 h 523"/>
              <a:gd name="T58" fmla="*/ 195 w 586"/>
              <a:gd name="T59" fmla="*/ 523 h 523"/>
              <a:gd name="T60" fmla="*/ 197 w 586"/>
              <a:gd name="T61" fmla="*/ 523 h 523"/>
              <a:gd name="T62" fmla="*/ 448 w 586"/>
              <a:gd name="T63" fmla="*/ 206 h 523"/>
              <a:gd name="T64" fmla="*/ 586 w 586"/>
              <a:gd name="T65" fmla="*/ 139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86" h="523">
                <a:moveTo>
                  <a:pt x="586" y="139"/>
                </a:moveTo>
                <a:lnTo>
                  <a:pt x="586" y="139"/>
                </a:lnTo>
                <a:lnTo>
                  <a:pt x="552" y="115"/>
                </a:lnTo>
                <a:lnTo>
                  <a:pt x="527" y="97"/>
                </a:lnTo>
                <a:lnTo>
                  <a:pt x="519" y="90"/>
                </a:lnTo>
                <a:lnTo>
                  <a:pt x="514" y="85"/>
                </a:lnTo>
                <a:lnTo>
                  <a:pt x="514" y="85"/>
                </a:lnTo>
                <a:lnTo>
                  <a:pt x="512" y="79"/>
                </a:lnTo>
                <a:lnTo>
                  <a:pt x="510" y="69"/>
                </a:lnTo>
                <a:lnTo>
                  <a:pt x="506" y="40"/>
                </a:lnTo>
                <a:lnTo>
                  <a:pt x="503" y="0"/>
                </a:lnTo>
                <a:lnTo>
                  <a:pt x="381" y="98"/>
                </a:lnTo>
                <a:lnTo>
                  <a:pt x="8" y="97"/>
                </a:lnTo>
                <a:lnTo>
                  <a:pt x="8" y="97"/>
                </a:lnTo>
                <a:lnTo>
                  <a:pt x="8" y="98"/>
                </a:lnTo>
                <a:lnTo>
                  <a:pt x="7" y="100"/>
                </a:lnTo>
                <a:lnTo>
                  <a:pt x="5" y="108"/>
                </a:lnTo>
                <a:lnTo>
                  <a:pt x="3" y="139"/>
                </a:lnTo>
                <a:lnTo>
                  <a:pt x="2" y="183"/>
                </a:lnTo>
                <a:lnTo>
                  <a:pt x="1" y="233"/>
                </a:lnTo>
                <a:lnTo>
                  <a:pt x="0" y="327"/>
                </a:lnTo>
                <a:lnTo>
                  <a:pt x="0" y="369"/>
                </a:lnTo>
                <a:lnTo>
                  <a:pt x="0" y="369"/>
                </a:lnTo>
                <a:lnTo>
                  <a:pt x="29" y="395"/>
                </a:lnTo>
                <a:lnTo>
                  <a:pt x="95" y="448"/>
                </a:lnTo>
                <a:lnTo>
                  <a:pt x="131" y="477"/>
                </a:lnTo>
                <a:lnTo>
                  <a:pt x="162" y="501"/>
                </a:lnTo>
                <a:lnTo>
                  <a:pt x="186" y="517"/>
                </a:lnTo>
                <a:lnTo>
                  <a:pt x="193" y="522"/>
                </a:lnTo>
                <a:lnTo>
                  <a:pt x="195" y="523"/>
                </a:lnTo>
                <a:lnTo>
                  <a:pt x="197" y="523"/>
                </a:lnTo>
                <a:lnTo>
                  <a:pt x="448" y="206"/>
                </a:lnTo>
                <a:lnTo>
                  <a:pt x="586" y="13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2" name="Freeform 39"/>
          <p:cNvSpPr>
            <a:spLocks/>
          </p:cNvSpPr>
          <p:nvPr userDrawn="1"/>
        </p:nvSpPr>
        <p:spPr bwMode="auto">
          <a:xfrm>
            <a:off x="7288212" y="1417340"/>
            <a:ext cx="115888" cy="66675"/>
          </a:xfrm>
          <a:custGeom>
            <a:avLst/>
            <a:gdLst>
              <a:gd name="T0" fmla="*/ 226 w 879"/>
              <a:gd name="T1" fmla="*/ 65 h 509"/>
              <a:gd name="T2" fmla="*/ 0 w 879"/>
              <a:gd name="T3" fmla="*/ 355 h 509"/>
              <a:gd name="T4" fmla="*/ 369 w 879"/>
              <a:gd name="T5" fmla="*/ 509 h 509"/>
              <a:gd name="T6" fmla="*/ 369 w 879"/>
              <a:gd name="T7" fmla="*/ 509 h 509"/>
              <a:gd name="T8" fmla="*/ 409 w 879"/>
              <a:gd name="T9" fmla="*/ 487 h 509"/>
              <a:gd name="T10" fmla="*/ 452 w 879"/>
              <a:gd name="T11" fmla="*/ 464 h 509"/>
              <a:gd name="T12" fmla="*/ 495 w 879"/>
              <a:gd name="T13" fmla="*/ 439 h 509"/>
              <a:gd name="T14" fmla="*/ 538 w 879"/>
              <a:gd name="T15" fmla="*/ 413 h 509"/>
              <a:gd name="T16" fmla="*/ 623 w 879"/>
              <a:gd name="T17" fmla="*/ 361 h 509"/>
              <a:gd name="T18" fmla="*/ 703 w 879"/>
              <a:gd name="T19" fmla="*/ 311 h 509"/>
              <a:gd name="T20" fmla="*/ 773 w 879"/>
              <a:gd name="T21" fmla="*/ 266 h 509"/>
              <a:gd name="T22" fmla="*/ 829 w 879"/>
              <a:gd name="T23" fmla="*/ 229 h 509"/>
              <a:gd name="T24" fmla="*/ 879 w 879"/>
              <a:gd name="T25" fmla="*/ 196 h 509"/>
              <a:gd name="T26" fmla="*/ 359 w 879"/>
              <a:gd name="T27" fmla="*/ 0 h 509"/>
              <a:gd name="T28" fmla="*/ 226 w 879"/>
              <a:gd name="T29" fmla="*/ 65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9" h="509">
                <a:moveTo>
                  <a:pt x="226" y="65"/>
                </a:moveTo>
                <a:lnTo>
                  <a:pt x="0" y="355"/>
                </a:lnTo>
                <a:lnTo>
                  <a:pt x="369" y="509"/>
                </a:lnTo>
                <a:lnTo>
                  <a:pt x="369" y="509"/>
                </a:lnTo>
                <a:lnTo>
                  <a:pt x="409" y="487"/>
                </a:lnTo>
                <a:lnTo>
                  <a:pt x="452" y="464"/>
                </a:lnTo>
                <a:lnTo>
                  <a:pt x="495" y="439"/>
                </a:lnTo>
                <a:lnTo>
                  <a:pt x="538" y="413"/>
                </a:lnTo>
                <a:lnTo>
                  <a:pt x="623" y="361"/>
                </a:lnTo>
                <a:lnTo>
                  <a:pt x="703" y="311"/>
                </a:lnTo>
                <a:lnTo>
                  <a:pt x="773" y="266"/>
                </a:lnTo>
                <a:lnTo>
                  <a:pt x="829" y="229"/>
                </a:lnTo>
                <a:lnTo>
                  <a:pt x="879" y="196"/>
                </a:lnTo>
                <a:lnTo>
                  <a:pt x="359" y="0"/>
                </a:lnTo>
                <a:lnTo>
                  <a:pt x="226" y="6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3" name="Freeform 40"/>
          <p:cNvSpPr>
            <a:spLocks/>
          </p:cNvSpPr>
          <p:nvPr userDrawn="1"/>
        </p:nvSpPr>
        <p:spPr bwMode="auto">
          <a:xfrm>
            <a:off x="7323137" y="1172866"/>
            <a:ext cx="26988" cy="123825"/>
          </a:xfrm>
          <a:custGeom>
            <a:avLst/>
            <a:gdLst>
              <a:gd name="T0" fmla="*/ 170 w 211"/>
              <a:gd name="T1" fmla="*/ 388 h 928"/>
              <a:gd name="T2" fmla="*/ 169 w 211"/>
              <a:gd name="T3" fmla="*/ 133 h 928"/>
              <a:gd name="T4" fmla="*/ 171 w 211"/>
              <a:gd name="T5" fmla="*/ 84 h 928"/>
              <a:gd name="T6" fmla="*/ 172 w 211"/>
              <a:gd name="T7" fmla="*/ 79 h 928"/>
              <a:gd name="T8" fmla="*/ 182 w 211"/>
              <a:gd name="T9" fmla="*/ 64 h 928"/>
              <a:gd name="T10" fmla="*/ 188 w 211"/>
              <a:gd name="T11" fmla="*/ 53 h 928"/>
              <a:gd name="T12" fmla="*/ 192 w 211"/>
              <a:gd name="T13" fmla="*/ 36 h 928"/>
              <a:gd name="T14" fmla="*/ 191 w 211"/>
              <a:gd name="T15" fmla="*/ 18 h 928"/>
              <a:gd name="T16" fmla="*/ 188 w 211"/>
              <a:gd name="T17" fmla="*/ 0 h 928"/>
              <a:gd name="T18" fmla="*/ 6 w 211"/>
              <a:gd name="T19" fmla="*/ 0 h 928"/>
              <a:gd name="T20" fmla="*/ 4 w 211"/>
              <a:gd name="T21" fmla="*/ 8 h 928"/>
              <a:gd name="T22" fmla="*/ 5 w 211"/>
              <a:gd name="T23" fmla="*/ 33 h 928"/>
              <a:gd name="T24" fmla="*/ 7 w 211"/>
              <a:gd name="T25" fmla="*/ 43 h 928"/>
              <a:gd name="T26" fmla="*/ 17 w 211"/>
              <a:gd name="T27" fmla="*/ 65 h 928"/>
              <a:gd name="T28" fmla="*/ 28 w 211"/>
              <a:gd name="T29" fmla="*/ 80 h 928"/>
              <a:gd name="T30" fmla="*/ 33 w 211"/>
              <a:gd name="T31" fmla="*/ 388 h 928"/>
              <a:gd name="T32" fmla="*/ 29 w 211"/>
              <a:gd name="T33" fmla="*/ 395 h 928"/>
              <a:gd name="T34" fmla="*/ 19 w 211"/>
              <a:gd name="T35" fmla="*/ 412 h 928"/>
              <a:gd name="T36" fmla="*/ 9 w 211"/>
              <a:gd name="T37" fmla="*/ 443 h 928"/>
              <a:gd name="T38" fmla="*/ 0 w 211"/>
              <a:gd name="T39" fmla="*/ 487 h 928"/>
              <a:gd name="T40" fmla="*/ 0 w 211"/>
              <a:gd name="T41" fmla="*/ 498 h 928"/>
              <a:gd name="T42" fmla="*/ 1 w 211"/>
              <a:gd name="T43" fmla="*/ 518 h 928"/>
              <a:gd name="T44" fmla="*/ 10 w 211"/>
              <a:gd name="T45" fmla="*/ 546 h 928"/>
              <a:gd name="T46" fmla="*/ 23 w 211"/>
              <a:gd name="T47" fmla="*/ 576 h 928"/>
              <a:gd name="T48" fmla="*/ 35 w 211"/>
              <a:gd name="T49" fmla="*/ 594 h 928"/>
              <a:gd name="T50" fmla="*/ 31 w 211"/>
              <a:gd name="T51" fmla="*/ 850 h 928"/>
              <a:gd name="T52" fmla="*/ 23 w 211"/>
              <a:gd name="T53" fmla="*/ 859 h 928"/>
              <a:gd name="T54" fmla="*/ 18 w 211"/>
              <a:gd name="T55" fmla="*/ 871 h 928"/>
              <a:gd name="T56" fmla="*/ 14 w 211"/>
              <a:gd name="T57" fmla="*/ 888 h 928"/>
              <a:gd name="T58" fmla="*/ 14 w 211"/>
              <a:gd name="T59" fmla="*/ 898 h 928"/>
              <a:gd name="T60" fmla="*/ 15 w 211"/>
              <a:gd name="T61" fmla="*/ 919 h 928"/>
              <a:gd name="T62" fmla="*/ 18 w 211"/>
              <a:gd name="T63" fmla="*/ 928 h 928"/>
              <a:gd name="T64" fmla="*/ 188 w 211"/>
              <a:gd name="T65" fmla="*/ 928 h 928"/>
              <a:gd name="T66" fmla="*/ 191 w 211"/>
              <a:gd name="T67" fmla="*/ 906 h 928"/>
              <a:gd name="T68" fmla="*/ 190 w 211"/>
              <a:gd name="T69" fmla="*/ 881 h 928"/>
              <a:gd name="T70" fmla="*/ 188 w 211"/>
              <a:gd name="T71" fmla="*/ 873 h 928"/>
              <a:gd name="T72" fmla="*/ 179 w 211"/>
              <a:gd name="T73" fmla="*/ 857 h 928"/>
              <a:gd name="T74" fmla="*/ 169 w 211"/>
              <a:gd name="T75" fmla="*/ 846 h 928"/>
              <a:gd name="T76" fmla="*/ 168 w 211"/>
              <a:gd name="T77" fmla="*/ 594 h 928"/>
              <a:gd name="T78" fmla="*/ 190 w 211"/>
              <a:gd name="T79" fmla="*/ 561 h 928"/>
              <a:gd name="T80" fmla="*/ 202 w 211"/>
              <a:gd name="T81" fmla="*/ 537 h 928"/>
              <a:gd name="T82" fmla="*/ 210 w 211"/>
              <a:gd name="T83" fmla="*/ 507 h 928"/>
              <a:gd name="T84" fmla="*/ 211 w 211"/>
              <a:gd name="T85" fmla="*/ 491 h 928"/>
              <a:gd name="T86" fmla="*/ 211 w 211"/>
              <a:gd name="T87" fmla="*/ 482 h 928"/>
              <a:gd name="T88" fmla="*/ 206 w 211"/>
              <a:gd name="T89" fmla="*/ 458 h 928"/>
              <a:gd name="T90" fmla="*/ 195 w 211"/>
              <a:gd name="T91" fmla="*/ 428 h 928"/>
              <a:gd name="T92" fmla="*/ 181 w 211"/>
              <a:gd name="T93" fmla="*/ 405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1" h="928">
                <a:moveTo>
                  <a:pt x="170" y="388"/>
                </a:moveTo>
                <a:lnTo>
                  <a:pt x="170" y="388"/>
                </a:lnTo>
                <a:lnTo>
                  <a:pt x="169" y="238"/>
                </a:lnTo>
                <a:lnTo>
                  <a:pt x="169" y="133"/>
                </a:lnTo>
                <a:lnTo>
                  <a:pt x="170" y="96"/>
                </a:lnTo>
                <a:lnTo>
                  <a:pt x="171" y="84"/>
                </a:lnTo>
                <a:lnTo>
                  <a:pt x="172" y="79"/>
                </a:lnTo>
                <a:lnTo>
                  <a:pt x="172" y="79"/>
                </a:lnTo>
                <a:lnTo>
                  <a:pt x="177" y="71"/>
                </a:lnTo>
                <a:lnTo>
                  <a:pt x="182" y="64"/>
                </a:lnTo>
                <a:lnTo>
                  <a:pt x="188" y="53"/>
                </a:lnTo>
                <a:lnTo>
                  <a:pt x="188" y="53"/>
                </a:lnTo>
                <a:lnTo>
                  <a:pt x="191" y="45"/>
                </a:lnTo>
                <a:lnTo>
                  <a:pt x="192" y="36"/>
                </a:lnTo>
                <a:lnTo>
                  <a:pt x="192" y="28"/>
                </a:lnTo>
                <a:lnTo>
                  <a:pt x="191" y="18"/>
                </a:lnTo>
                <a:lnTo>
                  <a:pt x="189" y="5"/>
                </a:lnTo>
                <a:lnTo>
                  <a:pt x="188" y="0"/>
                </a:lnTo>
                <a:lnTo>
                  <a:pt x="6" y="0"/>
                </a:lnTo>
                <a:lnTo>
                  <a:pt x="6" y="0"/>
                </a:lnTo>
                <a:lnTo>
                  <a:pt x="5" y="4"/>
                </a:lnTo>
                <a:lnTo>
                  <a:pt x="4" y="8"/>
                </a:lnTo>
                <a:lnTo>
                  <a:pt x="4" y="20"/>
                </a:lnTo>
                <a:lnTo>
                  <a:pt x="5" y="33"/>
                </a:lnTo>
                <a:lnTo>
                  <a:pt x="7" y="43"/>
                </a:lnTo>
                <a:lnTo>
                  <a:pt x="7" y="43"/>
                </a:lnTo>
                <a:lnTo>
                  <a:pt x="11" y="54"/>
                </a:lnTo>
                <a:lnTo>
                  <a:pt x="17" y="65"/>
                </a:lnTo>
                <a:lnTo>
                  <a:pt x="24" y="76"/>
                </a:lnTo>
                <a:lnTo>
                  <a:pt x="28" y="80"/>
                </a:lnTo>
                <a:lnTo>
                  <a:pt x="33" y="83"/>
                </a:lnTo>
                <a:lnTo>
                  <a:pt x="33" y="388"/>
                </a:lnTo>
                <a:lnTo>
                  <a:pt x="33" y="388"/>
                </a:lnTo>
                <a:lnTo>
                  <a:pt x="29" y="395"/>
                </a:lnTo>
                <a:lnTo>
                  <a:pt x="24" y="402"/>
                </a:lnTo>
                <a:lnTo>
                  <a:pt x="19" y="412"/>
                </a:lnTo>
                <a:lnTo>
                  <a:pt x="14" y="426"/>
                </a:lnTo>
                <a:lnTo>
                  <a:pt x="9" y="443"/>
                </a:lnTo>
                <a:lnTo>
                  <a:pt x="4" y="463"/>
                </a:lnTo>
                <a:lnTo>
                  <a:pt x="0" y="487"/>
                </a:lnTo>
                <a:lnTo>
                  <a:pt x="0" y="487"/>
                </a:lnTo>
                <a:lnTo>
                  <a:pt x="0" y="498"/>
                </a:lnTo>
                <a:lnTo>
                  <a:pt x="0" y="508"/>
                </a:lnTo>
                <a:lnTo>
                  <a:pt x="1" y="518"/>
                </a:lnTo>
                <a:lnTo>
                  <a:pt x="4" y="529"/>
                </a:lnTo>
                <a:lnTo>
                  <a:pt x="10" y="546"/>
                </a:lnTo>
                <a:lnTo>
                  <a:pt x="16" y="562"/>
                </a:lnTo>
                <a:lnTo>
                  <a:pt x="23" y="576"/>
                </a:lnTo>
                <a:lnTo>
                  <a:pt x="29" y="585"/>
                </a:lnTo>
                <a:lnTo>
                  <a:pt x="35" y="594"/>
                </a:lnTo>
                <a:lnTo>
                  <a:pt x="31" y="850"/>
                </a:lnTo>
                <a:lnTo>
                  <a:pt x="31" y="850"/>
                </a:lnTo>
                <a:lnTo>
                  <a:pt x="29" y="852"/>
                </a:lnTo>
                <a:lnTo>
                  <a:pt x="23" y="859"/>
                </a:lnTo>
                <a:lnTo>
                  <a:pt x="20" y="864"/>
                </a:lnTo>
                <a:lnTo>
                  <a:pt x="18" y="871"/>
                </a:lnTo>
                <a:lnTo>
                  <a:pt x="15" y="879"/>
                </a:lnTo>
                <a:lnTo>
                  <a:pt x="14" y="888"/>
                </a:lnTo>
                <a:lnTo>
                  <a:pt x="14" y="888"/>
                </a:lnTo>
                <a:lnTo>
                  <a:pt x="14" y="898"/>
                </a:lnTo>
                <a:lnTo>
                  <a:pt x="14" y="906"/>
                </a:lnTo>
                <a:lnTo>
                  <a:pt x="15" y="919"/>
                </a:lnTo>
                <a:lnTo>
                  <a:pt x="17" y="926"/>
                </a:lnTo>
                <a:lnTo>
                  <a:pt x="18" y="928"/>
                </a:lnTo>
                <a:lnTo>
                  <a:pt x="188" y="928"/>
                </a:lnTo>
                <a:lnTo>
                  <a:pt x="188" y="928"/>
                </a:lnTo>
                <a:lnTo>
                  <a:pt x="190" y="920"/>
                </a:lnTo>
                <a:lnTo>
                  <a:pt x="191" y="906"/>
                </a:lnTo>
                <a:lnTo>
                  <a:pt x="190" y="889"/>
                </a:lnTo>
                <a:lnTo>
                  <a:pt x="190" y="881"/>
                </a:lnTo>
                <a:lnTo>
                  <a:pt x="188" y="873"/>
                </a:lnTo>
                <a:lnTo>
                  <a:pt x="188" y="873"/>
                </a:lnTo>
                <a:lnTo>
                  <a:pt x="185" y="864"/>
                </a:lnTo>
                <a:lnTo>
                  <a:pt x="179" y="857"/>
                </a:lnTo>
                <a:lnTo>
                  <a:pt x="174" y="851"/>
                </a:lnTo>
                <a:lnTo>
                  <a:pt x="169" y="846"/>
                </a:lnTo>
                <a:lnTo>
                  <a:pt x="168" y="594"/>
                </a:lnTo>
                <a:lnTo>
                  <a:pt x="168" y="594"/>
                </a:lnTo>
                <a:lnTo>
                  <a:pt x="181" y="573"/>
                </a:lnTo>
                <a:lnTo>
                  <a:pt x="190" y="561"/>
                </a:lnTo>
                <a:lnTo>
                  <a:pt x="196" y="550"/>
                </a:lnTo>
                <a:lnTo>
                  <a:pt x="202" y="537"/>
                </a:lnTo>
                <a:lnTo>
                  <a:pt x="207" y="522"/>
                </a:lnTo>
                <a:lnTo>
                  <a:pt x="210" y="507"/>
                </a:lnTo>
                <a:lnTo>
                  <a:pt x="211" y="499"/>
                </a:lnTo>
                <a:lnTo>
                  <a:pt x="211" y="491"/>
                </a:lnTo>
                <a:lnTo>
                  <a:pt x="211" y="491"/>
                </a:lnTo>
                <a:lnTo>
                  <a:pt x="211" y="482"/>
                </a:lnTo>
                <a:lnTo>
                  <a:pt x="210" y="473"/>
                </a:lnTo>
                <a:lnTo>
                  <a:pt x="206" y="458"/>
                </a:lnTo>
                <a:lnTo>
                  <a:pt x="201" y="443"/>
                </a:lnTo>
                <a:lnTo>
                  <a:pt x="195" y="428"/>
                </a:lnTo>
                <a:lnTo>
                  <a:pt x="189" y="416"/>
                </a:lnTo>
                <a:lnTo>
                  <a:pt x="181" y="405"/>
                </a:lnTo>
                <a:lnTo>
                  <a:pt x="170" y="3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4" name="Freeform 41"/>
          <p:cNvSpPr>
            <a:spLocks/>
          </p:cNvSpPr>
          <p:nvPr userDrawn="1"/>
        </p:nvSpPr>
        <p:spPr bwMode="auto">
          <a:xfrm>
            <a:off x="7351713" y="1209378"/>
            <a:ext cx="80963" cy="58738"/>
          </a:xfrm>
          <a:custGeom>
            <a:avLst/>
            <a:gdLst>
              <a:gd name="T0" fmla="*/ 617 w 617"/>
              <a:gd name="T1" fmla="*/ 73 h 442"/>
              <a:gd name="T2" fmla="*/ 433 w 617"/>
              <a:gd name="T3" fmla="*/ 70 h 442"/>
              <a:gd name="T4" fmla="*/ 202 w 617"/>
              <a:gd name="T5" fmla="*/ 68 h 442"/>
              <a:gd name="T6" fmla="*/ 195 w 617"/>
              <a:gd name="T7" fmla="*/ 67 h 442"/>
              <a:gd name="T8" fmla="*/ 174 w 617"/>
              <a:gd name="T9" fmla="*/ 61 h 442"/>
              <a:gd name="T10" fmla="*/ 137 w 617"/>
              <a:gd name="T11" fmla="*/ 44 h 442"/>
              <a:gd name="T12" fmla="*/ 84 w 617"/>
              <a:gd name="T13" fmla="*/ 16 h 442"/>
              <a:gd name="T14" fmla="*/ 53 w 617"/>
              <a:gd name="T15" fmla="*/ 2 h 442"/>
              <a:gd name="T16" fmla="*/ 40 w 617"/>
              <a:gd name="T17" fmla="*/ 0 h 442"/>
              <a:gd name="T18" fmla="*/ 37 w 617"/>
              <a:gd name="T19" fmla="*/ 2 h 442"/>
              <a:gd name="T20" fmla="*/ 22 w 617"/>
              <a:gd name="T21" fmla="*/ 38 h 442"/>
              <a:gd name="T22" fmla="*/ 1 w 617"/>
              <a:gd name="T23" fmla="*/ 91 h 442"/>
              <a:gd name="T24" fmla="*/ 19 w 617"/>
              <a:gd name="T25" fmla="*/ 113 h 442"/>
              <a:gd name="T26" fmla="*/ 38 w 617"/>
              <a:gd name="T27" fmla="*/ 147 h 442"/>
              <a:gd name="T28" fmla="*/ 47 w 617"/>
              <a:gd name="T29" fmla="*/ 169 h 442"/>
              <a:gd name="T30" fmla="*/ 52 w 617"/>
              <a:gd name="T31" fmla="*/ 191 h 442"/>
              <a:gd name="T32" fmla="*/ 55 w 617"/>
              <a:gd name="T33" fmla="*/ 216 h 442"/>
              <a:gd name="T34" fmla="*/ 53 w 617"/>
              <a:gd name="T35" fmla="*/ 235 h 442"/>
              <a:gd name="T36" fmla="*/ 48 w 617"/>
              <a:gd name="T37" fmla="*/ 265 h 442"/>
              <a:gd name="T38" fmla="*/ 42 w 617"/>
              <a:gd name="T39" fmla="*/ 283 h 442"/>
              <a:gd name="T40" fmla="*/ 32 w 617"/>
              <a:gd name="T41" fmla="*/ 304 h 442"/>
              <a:gd name="T42" fmla="*/ 19 w 617"/>
              <a:gd name="T43" fmla="*/ 324 h 442"/>
              <a:gd name="T44" fmla="*/ 0 w 617"/>
              <a:gd name="T45" fmla="*/ 345 h 442"/>
              <a:gd name="T46" fmla="*/ 23 w 617"/>
              <a:gd name="T47" fmla="*/ 391 h 442"/>
              <a:gd name="T48" fmla="*/ 47 w 617"/>
              <a:gd name="T49" fmla="*/ 435 h 442"/>
              <a:gd name="T50" fmla="*/ 52 w 617"/>
              <a:gd name="T51" fmla="*/ 442 h 442"/>
              <a:gd name="T52" fmla="*/ 84 w 617"/>
              <a:gd name="T53" fmla="*/ 423 h 442"/>
              <a:gd name="T54" fmla="*/ 129 w 617"/>
              <a:gd name="T55" fmla="*/ 400 h 442"/>
              <a:gd name="T56" fmla="*/ 183 w 617"/>
              <a:gd name="T57" fmla="*/ 378 h 442"/>
              <a:gd name="T58" fmla="*/ 211 w 617"/>
              <a:gd name="T59" fmla="*/ 371 h 442"/>
              <a:gd name="T60" fmla="*/ 224 w 617"/>
              <a:gd name="T61" fmla="*/ 369 h 442"/>
              <a:gd name="T62" fmla="*/ 330 w 617"/>
              <a:gd name="T63" fmla="*/ 363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17" h="442">
                <a:moveTo>
                  <a:pt x="330" y="363"/>
                </a:moveTo>
                <a:lnTo>
                  <a:pt x="617" y="73"/>
                </a:lnTo>
                <a:lnTo>
                  <a:pt x="617" y="73"/>
                </a:lnTo>
                <a:lnTo>
                  <a:pt x="433" y="70"/>
                </a:lnTo>
                <a:lnTo>
                  <a:pt x="324" y="69"/>
                </a:lnTo>
                <a:lnTo>
                  <a:pt x="202" y="68"/>
                </a:lnTo>
                <a:lnTo>
                  <a:pt x="202" y="68"/>
                </a:lnTo>
                <a:lnTo>
                  <a:pt x="195" y="67"/>
                </a:lnTo>
                <a:lnTo>
                  <a:pt x="185" y="65"/>
                </a:lnTo>
                <a:lnTo>
                  <a:pt x="174" y="61"/>
                </a:lnTo>
                <a:lnTo>
                  <a:pt x="163" y="56"/>
                </a:lnTo>
                <a:lnTo>
                  <a:pt x="137" y="44"/>
                </a:lnTo>
                <a:lnTo>
                  <a:pt x="110" y="30"/>
                </a:lnTo>
                <a:lnTo>
                  <a:pt x="84" y="16"/>
                </a:lnTo>
                <a:lnTo>
                  <a:pt x="63" y="6"/>
                </a:lnTo>
                <a:lnTo>
                  <a:pt x="53" y="2"/>
                </a:lnTo>
                <a:lnTo>
                  <a:pt x="45" y="1"/>
                </a:lnTo>
                <a:lnTo>
                  <a:pt x="40" y="0"/>
                </a:lnTo>
                <a:lnTo>
                  <a:pt x="38" y="1"/>
                </a:lnTo>
                <a:lnTo>
                  <a:pt x="37" y="2"/>
                </a:lnTo>
                <a:lnTo>
                  <a:pt x="37" y="2"/>
                </a:lnTo>
                <a:lnTo>
                  <a:pt x="22" y="38"/>
                </a:lnTo>
                <a:lnTo>
                  <a:pt x="1" y="91"/>
                </a:lnTo>
                <a:lnTo>
                  <a:pt x="1" y="91"/>
                </a:lnTo>
                <a:lnTo>
                  <a:pt x="10" y="101"/>
                </a:lnTo>
                <a:lnTo>
                  <a:pt x="19" y="113"/>
                </a:lnTo>
                <a:lnTo>
                  <a:pt x="29" y="129"/>
                </a:lnTo>
                <a:lnTo>
                  <a:pt x="38" y="147"/>
                </a:lnTo>
                <a:lnTo>
                  <a:pt x="43" y="157"/>
                </a:lnTo>
                <a:lnTo>
                  <a:pt x="47" y="169"/>
                </a:lnTo>
                <a:lnTo>
                  <a:pt x="50" y="180"/>
                </a:lnTo>
                <a:lnTo>
                  <a:pt x="52" y="191"/>
                </a:lnTo>
                <a:lnTo>
                  <a:pt x="55" y="203"/>
                </a:lnTo>
                <a:lnTo>
                  <a:pt x="55" y="216"/>
                </a:lnTo>
                <a:lnTo>
                  <a:pt x="55" y="216"/>
                </a:lnTo>
                <a:lnTo>
                  <a:pt x="53" y="235"/>
                </a:lnTo>
                <a:lnTo>
                  <a:pt x="51" y="248"/>
                </a:lnTo>
                <a:lnTo>
                  <a:pt x="48" y="265"/>
                </a:lnTo>
                <a:lnTo>
                  <a:pt x="45" y="274"/>
                </a:lnTo>
                <a:lnTo>
                  <a:pt x="42" y="283"/>
                </a:lnTo>
                <a:lnTo>
                  <a:pt x="38" y="293"/>
                </a:lnTo>
                <a:lnTo>
                  <a:pt x="32" y="304"/>
                </a:lnTo>
                <a:lnTo>
                  <a:pt x="26" y="313"/>
                </a:lnTo>
                <a:lnTo>
                  <a:pt x="19" y="324"/>
                </a:lnTo>
                <a:lnTo>
                  <a:pt x="11" y="334"/>
                </a:lnTo>
                <a:lnTo>
                  <a:pt x="0" y="345"/>
                </a:lnTo>
                <a:lnTo>
                  <a:pt x="0" y="345"/>
                </a:lnTo>
                <a:lnTo>
                  <a:pt x="23" y="391"/>
                </a:lnTo>
                <a:lnTo>
                  <a:pt x="40" y="423"/>
                </a:lnTo>
                <a:lnTo>
                  <a:pt x="47" y="435"/>
                </a:lnTo>
                <a:lnTo>
                  <a:pt x="52" y="442"/>
                </a:lnTo>
                <a:lnTo>
                  <a:pt x="52" y="442"/>
                </a:lnTo>
                <a:lnTo>
                  <a:pt x="67" y="433"/>
                </a:lnTo>
                <a:lnTo>
                  <a:pt x="84" y="423"/>
                </a:lnTo>
                <a:lnTo>
                  <a:pt x="105" y="412"/>
                </a:lnTo>
                <a:lnTo>
                  <a:pt x="129" y="400"/>
                </a:lnTo>
                <a:lnTo>
                  <a:pt x="156" y="388"/>
                </a:lnTo>
                <a:lnTo>
                  <a:pt x="183" y="378"/>
                </a:lnTo>
                <a:lnTo>
                  <a:pt x="198" y="374"/>
                </a:lnTo>
                <a:lnTo>
                  <a:pt x="211" y="371"/>
                </a:lnTo>
                <a:lnTo>
                  <a:pt x="211" y="371"/>
                </a:lnTo>
                <a:lnTo>
                  <a:pt x="224" y="369"/>
                </a:lnTo>
                <a:lnTo>
                  <a:pt x="248" y="367"/>
                </a:lnTo>
                <a:lnTo>
                  <a:pt x="330" y="36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5" name="Freeform 42"/>
          <p:cNvSpPr>
            <a:spLocks/>
          </p:cNvSpPr>
          <p:nvPr userDrawn="1"/>
        </p:nvSpPr>
        <p:spPr bwMode="auto">
          <a:xfrm>
            <a:off x="7453312" y="1131591"/>
            <a:ext cx="158750" cy="127000"/>
          </a:xfrm>
          <a:custGeom>
            <a:avLst/>
            <a:gdLst>
              <a:gd name="T0" fmla="*/ 1179 w 1207"/>
              <a:gd name="T1" fmla="*/ 480 h 962"/>
              <a:gd name="T2" fmla="*/ 1115 w 1207"/>
              <a:gd name="T3" fmla="*/ 496 h 962"/>
              <a:gd name="T4" fmla="*/ 1079 w 1207"/>
              <a:gd name="T5" fmla="*/ 532 h 962"/>
              <a:gd name="T6" fmla="*/ 1057 w 1207"/>
              <a:gd name="T7" fmla="*/ 600 h 962"/>
              <a:gd name="T8" fmla="*/ 1046 w 1207"/>
              <a:gd name="T9" fmla="*/ 585 h 962"/>
              <a:gd name="T10" fmla="*/ 1007 w 1207"/>
              <a:gd name="T11" fmla="*/ 556 h 962"/>
              <a:gd name="T12" fmla="*/ 935 w 1207"/>
              <a:gd name="T13" fmla="*/ 562 h 962"/>
              <a:gd name="T14" fmla="*/ 930 w 1207"/>
              <a:gd name="T15" fmla="*/ 613 h 962"/>
              <a:gd name="T16" fmla="*/ 935 w 1207"/>
              <a:gd name="T17" fmla="*/ 696 h 962"/>
              <a:gd name="T18" fmla="*/ 890 w 1207"/>
              <a:gd name="T19" fmla="*/ 725 h 962"/>
              <a:gd name="T20" fmla="*/ 842 w 1207"/>
              <a:gd name="T21" fmla="*/ 709 h 962"/>
              <a:gd name="T22" fmla="*/ 816 w 1207"/>
              <a:gd name="T23" fmla="*/ 658 h 962"/>
              <a:gd name="T24" fmla="*/ 805 w 1207"/>
              <a:gd name="T25" fmla="*/ 643 h 962"/>
              <a:gd name="T26" fmla="*/ 749 w 1207"/>
              <a:gd name="T27" fmla="*/ 659 h 962"/>
              <a:gd name="T28" fmla="*/ 701 w 1207"/>
              <a:gd name="T29" fmla="*/ 634 h 962"/>
              <a:gd name="T30" fmla="*/ 694 w 1207"/>
              <a:gd name="T31" fmla="*/ 581 h 962"/>
              <a:gd name="T32" fmla="*/ 754 w 1207"/>
              <a:gd name="T33" fmla="*/ 540 h 962"/>
              <a:gd name="T34" fmla="*/ 824 w 1207"/>
              <a:gd name="T35" fmla="*/ 520 h 962"/>
              <a:gd name="T36" fmla="*/ 805 w 1207"/>
              <a:gd name="T37" fmla="*/ 460 h 962"/>
              <a:gd name="T38" fmla="*/ 764 w 1207"/>
              <a:gd name="T39" fmla="*/ 421 h 962"/>
              <a:gd name="T40" fmla="*/ 698 w 1207"/>
              <a:gd name="T41" fmla="*/ 414 h 962"/>
              <a:gd name="T42" fmla="*/ 672 w 1207"/>
              <a:gd name="T43" fmla="*/ 415 h 962"/>
              <a:gd name="T44" fmla="*/ 712 w 1207"/>
              <a:gd name="T45" fmla="*/ 360 h 962"/>
              <a:gd name="T46" fmla="*/ 709 w 1207"/>
              <a:gd name="T47" fmla="*/ 285 h 962"/>
              <a:gd name="T48" fmla="*/ 668 w 1207"/>
              <a:gd name="T49" fmla="*/ 214 h 962"/>
              <a:gd name="T50" fmla="*/ 606 w 1207"/>
              <a:gd name="T51" fmla="*/ 224 h 962"/>
              <a:gd name="T52" fmla="*/ 535 w 1207"/>
              <a:gd name="T53" fmla="*/ 272 h 962"/>
              <a:gd name="T54" fmla="*/ 516 w 1207"/>
              <a:gd name="T55" fmla="*/ 334 h 962"/>
              <a:gd name="T56" fmla="*/ 508 w 1207"/>
              <a:gd name="T57" fmla="*/ 341 h 962"/>
              <a:gd name="T58" fmla="*/ 458 w 1207"/>
              <a:gd name="T59" fmla="*/ 287 h 962"/>
              <a:gd name="T60" fmla="*/ 404 w 1207"/>
              <a:gd name="T61" fmla="*/ 278 h 962"/>
              <a:gd name="T62" fmla="*/ 345 w 1207"/>
              <a:gd name="T63" fmla="*/ 300 h 962"/>
              <a:gd name="T64" fmla="*/ 362 w 1207"/>
              <a:gd name="T65" fmla="*/ 357 h 962"/>
              <a:gd name="T66" fmla="*/ 382 w 1207"/>
              <a:gd name="T67" fmla="*/ 432 h 962"/>
              <a:gd name="T68" fmla="*/ 347 w 1207"/>
              <a:gd name="T69" fmla="*/ 472 h 962"/>
              <a:gd name="T70" fmla="*/ 292 w 1207"/>
              <a:gd name="T71" fmla="*/ 462 h 962"/>
              <a:gd name="T72" fmla="*/ 262 w 1207"/>
              <a:gd name="T73" fmla="*/ 417 h 962"/>
              <a:gd name="T74" fmla="*/ 249 w 1207"/>
              <a:gd name="T75" fmla="*/ 398 h 962"/>
              <a:gd name="T76" fmla="*/ 194 w 1207"/>
              <a:gd name="T77" fmla="*/ 421 h 962"/>
              <a:gd name="T78" fmla="*/ 147 w 1207"/>
              <a:gd name="T79" fmla="*/ 404 h 962"/>
              <a:gd name="T80" fmla="*/ 128 w 1207"/>
              <a:gd name="T81" fmla="*/ 354 h 962"/>
              <a:gd name="T82" fmla="*/ 178 w 1207"/>
              <a:gd name="T83" fmla="*/ 300 h 962"/>
              <a:gd name="T84" fmla="*/ 233 w 1207"/>
              <a:gd name="T85" fmla="*/ 262 h 962"/>
              <a:gd name="T86" fmla="*/ 195 w 1207"/>
              <a:gd name="T87" fmla="*/ 203 h 962"/>
              <a:gd name="T88" fmla="*/ 145 w 1207"/>
              <a:gd name="T89" fmla="*/ 185 h 962"/>
              <a:gd name="T90" fmla="*/ 115 w 1207"/>
              <a:gd name="T91" fmla="*/ 191 h 962"/>
              <a:gd name="T92" fmla="*/ 153 w 1207"/>
              <a:gd name="T93" fmla="*/ 136 h 962"/>
              <a:gd name="T94" fmla="*/ 157 w 1207"/>
              <a:gd name="T95" fmla="*/ 76 h 962"/>
              <a:gd name="T96" fmla="*/ 134 w 1207"/>
              <a:gd name="T97" fmla="*/ 28 h 962"/>
              <a:gd name="T98" fmla="*/ 269 w 1207"/>
              <a:gd name="T99" fmla="*/ 712 h 962"/>
              <a:gd name="T100" fmla="*/ 354 w 1207"/>
              <a:gd name="T101" fmla="*/ 656 h 962"/>
              <a:gd name="T102" fmla="*/ 437 w 1207"/>
              <a:gd name="T103" fmla="*/ 636 h 962"/>
              <a:gd name="T104" fmla="*/ 517 w 1207"/>
              <a:gd name="T105" fmla="*/ 643 h 962"/>
              <a:gd name="T106" fmla="*/ 610 w 1207"/>
              <a:gd name="T107" fmla="*/ 683 h 962"/>
              <a:gd name="T108" fmla="*/ 658 w 1207"/>
              <a:gd name="T109" fmla="*/ 735 h 962"/>
              <a:gd name="T110" fmla="*/ 673 w 1207"/>
              <a:gd name="T111" fmla="*/ 793 h 962"/>
              <a:gd name="T112" fmla="*/ 646 w 1207"/>
              <a:gd name="T113" fmla="*/ 877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07" h="962">
                <a:moveTo>
                  <a:pt x="841" y="962"/>
                </a:moveTo>
                <a:lnTo>
                  <a:pt x="1207" y="484"/>
                </a:lnTo>
                <a:lnTo>
                  <a:pt x="1207" y="484"/>
                </a:lnTo>
                <a:lnTo>
                  <a:pt x="1200" y="482"/>
                </a:lnTo>
                <a:lnTo>
                  <a:pt x="1190" y="481"/>
                </a:lnTo>
                <a:lnTo>
                  <a:pt x="1179" y="480"/>
                </a:lnTo>
                <a:lnTo>
                  <a:pt x="1166" y="480"/>
                </a:lnTo>
                <a:lnTo>
                  <a:pt x="1149" y="483"/>
                </a:lnTo>
                <a:lnTo>
                  <a:pt x="1141" y="485"/>
                </a:lnTo>
                <a:lnTo>
                  <a:pt x="1133" y="488"/>
                </a:lnTo>
                <a:lnTo>
                  <a:pt x="1124" y="492"/>
                </a:lnTo>
                <a:lnTo>
                  <a:pt x="1115" y="496"/>
                </a:lnTo>
                <a:lnTo>
                  <a:pt x="1115" y="496"/>
                </a:lnTo>
                <a:lnTo>
                  <a:pt x="1106" y="502"/>
                </a:lnTo>
                <a:lnTo>
                  <a:pt x="1097" y="508"/>
                </a:lnTo>
                <a:lnTo>
                  <a:pt x="1090" y="515"/>
                </a:lnTo>
                <a:lnTo>
                  <a:pt x="1084" y="523"/>
                </a:lnTo>
                <a:lnTo>
                  <a:pt x="1079" y="532"/>
                </a:lnTo>
                <a:lnTo>
                  <a:pt x="1074" y="540"/>
                </a:lnTo>
                <a:lnTo>
                  <a:pt x="1070" y="548"/>
                </a:lnTo>
                <a:lnTo>
                  <a:pt x="1067" y="557"/>
                </a:lnTo>
                <a:lnTo>
                  <a:pt x="1062" y="574"/>
                </a:lnTo>
                <a:lnTo>
                  <a:pt x="1058" y="589"/>
                </a:lnTo>
                <a:lnTo>
                  <a:pt x="1057" y="600"/>
                </a:lnTo>
                <a:lnTo>
                  <a:pt x="1058" y="605"/>
                </a:lnTo>
                <a:lnTo>
                  <a:pt x="1059" y="608"/>
                </a:lnTo>
                <a:lnTo>
                  <a:pt x="1059" y="608"/>
                </a:lnTo>
                <a:lnTo>
                  <a:pt x="1055" y="599"/>
                </a:lnTo>
                <a:lnTo>
                  <a:pt x="1051" y="592"/>
                </a:lnTo>
                <a:lnTo>
                  <a:pt x="1046" y="585"/>
                </a:lnTo>
                <a:lnTo>
                  <a:pt x="1041" y="579"/>
                </a:lnTo>
                <a:lnTo>
                  <a:pt x="1036" y="574"/>
                </a:lnTo>
                <a:lnTo>
                  <a:pt x="1031" y="568"/>
                </a:lnTo>
                <a:lnTo>
                  <a:pt x="1025" y="564"/>
                </a:lnTo>
                <a:lnTo>
                  <a:pt x="1020" y="561"/>
                </a:lnTo>
                <a:lnTo>
                  <a:pt x="1007" y="556"/>
                </a:lnTo>
                <a:lnTo>
                  <a:pt x="994" y="554"/>
                </a:lnTo>
                <a:lnTo>
                  <a:pt x="982" y="553"/>
                </a:lnTo>
                <a:lnTo>
                  <a:pt x="970" y="554"/>
                </a:lnTo>
                <a:lnTo>
                  <a:pt x="957" y="556"/>
                </a:lnTo>
                <a:lnTo>
                  <a:pt x="946" y="558"/>
                </a:lnTo>
                <a:lnTo>
                  <a:pt x="935" y="562"/>
                </a:lnTo>
                <a:lnTo>
                  <a:pt x="927" y="565"/>
                </a:lnTo>
                <a:lnTo>
                  <a:pt x="913" y="572"/>
                </a:lnTo>
                <a:lnTo>
                  <a:pt x="908" y="574"/>
                </a:lnTo>
                <a:lnTo>
                  <a:pt x="908" y="574"/>
                </a:lnTo>
                <a:lnTo>
                  <a:pt x="920" y="594"/>
                </a:lnTo>
                <a:lnTo>
                  <a:pt x="930" y="613"/>
                </a:lnTo>
                <a:lnTo>
                  <a:pt x="936" y="632"/>
                </a:lnTo>
                <a:lnTo>
                  <a:pt x="940" y="647"/>
                </a:lnTo>
                <a:lnTo>
                  <a:pt x="941" y="663"/>
                </a:lnTo>
                <a:lnTo>
                  <a:pt x="941" y="675"/>
                </a:lnTo>
                <a:lnTo>
                  <a:pt x="939" y="687"/>
                </a:lnTo>
                <a:lnTo>
                  <a:pt x="935" y="696"/>
                </a:lnTo>
                <a:lnTo>
                  <a:pt x="930" y="705"/>
                </a:lnTo>
                <a:lnTo>
                  <a:pt x="924" y="712"/>
                </a:lnTo>
                <a:lnTo>
                  <a:pt x="915" y="718"/>
                </a:lnTo>
                <a:lnTo>
                  <a:pt x="907" y="722"/>
                </a:lnTo>
                <a:lnTo>
                  <a:pt x="899" y="724"/>
                </a:lnTo>
                <a:lnTo>
                  <a:pt x="890" y="725"/>
                </a:lnTo>
                <a:lnTo>
                  <a:pt x="881" y="725"/>
                </a:lnTo>
                <a:lnTo>
                  <a:pt x="871" y="724"/>
                </a:lnTo>
                <a:lnTo>
                  <a:pt x="871" y="724"/>
                </a:lnTo>
                <a:lnTo>
                  <a:pt x="859" y="720"/>
                </a:lnTo>
                <a:lnTo>
                  <a:pt x="850" y="715"/>
                </a:lnTo>
                <a:lnTo>
                  <a:pt x="842" y="709"/>
                </a:lnTo>
                <a:lnTo>
                  <a:pt x="835" y="702"/>
                </a:lnTo>
                <a:lnTo>
                  <a:pt x="829" y="695"/>
                </a:lnTo>
                <a:lnTo>
                  <a:pt x="825" y="688"/>
                </a:lnTo>
                <a:lnTo>
                  <a:pt x="821" y="680"/>
                </a:lnTo>
                <a:lnTo>
                  <a:pt x="819" y="673"/>
                </a:lnTo>
                <a:lnTo>
                  <a:pt x="816" y="658"/>
                </a:lnTo>
                <a:lnTo>
                  <a:pt x="816" y="646"/>
                </a:lnTo>
                <a:lnTo>
                  <a:pt x="816" y="638"/>
                </a:lnTo>
                <a:lnTo>
                  <a:pt x="816" y="635"/>
                </a:lnTo>
                <a:lnTo>
                  <a:pt x="816" y="635"/>
                </a:lnTo>
                <a:lnTo>
                  <a:pt x="813" y="637"/>
                </a:lnTo>
                <a:lnTo>
                  <a:pt x="805" y="643"/>
                </a:lnTo>
                <a:lnTo>
                  <a:pt x="793" y="650"/>
                </a:lnTo>
                <a:lnTo>
                  <a:pt x="785" y="653"/>
                </a:lnTo>
                <a:lnTo>
                  <a:pt x="777" y="656"/>
                </a:lnTo>
                <a:lnTo>
                  <a:pt x="768" y="658"/>
                </a:lnTo>
                <a:lnTo>
                  <a:pt x="759" y="659"/>
                </a:lnTo>
                <a:lnTo>
                  <a:pt x="749" y="659"/>
                </a:lnTo>
                <a:lnTo>
                  <a:pt x="739" y="658"/>
                </a:lnTo>
                <a:lnTo>
                  <a:pt x="729" y="655"/>
                </a:lnTo>
                <a:lnTo>
                  <a:pt x="720" y="650"/>
                </a:lnTo>
                <a:lnTo>
                  <a:pt x="710" y="643"/>
                </a:lnTo>
                <a:lnTo>
                  <a:pt x="701" y="634"/>
                </a:lnTo>
                <a:lnTo>
                  <a:pt x="701" y="634"/>
                </a:lnTo>
                <a:lnTo>
                  <a:pt x="694" y="625"/>
                </a:lnTo>
                <a:lnTo>
                  <a:pt x="690" y="616"/>
                </a:lnTo>
                <a:lnTo>
                  <a:pt x="688" y="607"/>
                </a:lnTo>
                <a:lnTo>
                  <a:pt x="689" y="598"/>
                </a:lnTo>
                <a:lnTo>
                  <a:pt x="690" y="589"/>
                </a:lnTo>
                <a:lnTo>
                  <a:pt x="694" y="581"/>
                </a:lnTo>
                <a:lnTo>
                  <a:pt x="701" y="572"/>
                </a:lnTo>
                <a:lnTo>
                  <a:pt x="708" y="564"/>
                </a:lnTo>
                <a:lnTo>
                  <a:pt x="717" y="557"/>
                </a:lnTo>
                <a:lnTo>
                  <a:pt x="727" y="550"/>
                </a:lnTo>
                <a:lnTo>
                  <a:pt x="740" y="544"/>
                </a:lnTo>
                <a:lnTo>
                  <a:pt x="754" y="540"/>
                </a:lnTo>
                <a:lnTo>
                  <a:pt x="769" y="536"/>
                </a:lnTo>
                <a:lnTo>
                  <a:pt x="786" y="533"/>
                </a:lnTo>
                <a:lnTo>
                  <a:pt x="804" y="532"/>
                </a:lnTo>
                <a:lnTo>
                  <a:pt x="823" y="531"/>
                </a:lnTo>
                <a:lnTo>
                  <a:pt x="823" y="531"/>
                </a:lnTo>
                <a:lnTo>
                  <a:pt x="824" y="520"/>
                </a:lnTo>
                <a:lnTo>
                  <a:pt x="823" y="509"/>
                </a:lnTo>
                <a:lnTo>
                  <a:pt x="820" y="494"/>
                </a:lnTo>
                <a:lnTo>
                  <a:pt x="817" y="486"/>
                </a:lnTo>
                <a:lnTo>
                  <a:pt x="814" y="477"/>
                </a:lnTo>
                <a:lnTo>
                  <a:pt x="810" y="469"/>
                </a:lnTo>
                <a:lnTo>
                  <a:pt x="805" y="460"/>
                </a:lnTo>
                <a:lnTo>
                  <a:pt x="799" y="451"/>
                </a:lnTo>
                <a:lnTo>
                  <a:pt x="792" y="443"/>
                </a:lnTo>
                <a:lnTo>
                  <a:pt x="782" y="435"/>
                </a:lnTo>
                <a:lnTo>
                  <a:pt x="772" y="426"/>
                </a:lnTo>
                <a:lnTo>
                  <a:pt x="772" y="426"/>
                </a:lnTo>
                <a:lnTo>
                  <a:pt x="764" y="421"/>
                </a:lnTo>
                <a:lnTo>
                  <a:pt x="755" y="417"/>
                </a:lnTo>
                <a:lnTo>
                  <a:pt x="745" y="415"/>
                </a:lnTo>
                <a:lnTo>
                  <a:pt x="735" y="413"/>
                </a:lnTo>
                <a:lnTo>
                  <a:pt x="725" y="412"/>
                </a:lnTo>
                <a:lnTo>
                  <a:pt x="716" y="412"/>
                </a:lnTo>
                <a:lnTo>
                  <a:pt x="698" y="414"/>
                </a:lnTo>
                <a:lnTo>
                  <a:pt x="681" y="418"/>
                </a:lnTo>
                <a:lnTo>
                  <a:pt x="668" y="421"/>
                </a:lnTo>
                <a:lnTo>
                  <a:pt x="657" y="425"/>
                </a:lnTo>
                <a:lnTo>
                  <a:pt x="657" y="425"/>
                </a:lnTo>
                <a:lnTo>
                  <a:pt x="664" y="421"/>
                </a:lnTo>
                <a:lnTo>
                  <a:pt x="672" y="415"/>
                </a:lnTo>
                <a:lnTo>
                  <a:pt x="681" y="408"/>
                </a:lnTo>
                <a:lnTo>
                  <a:pt x="691" y="397"/>
                </a:lnTo>
                <a:lnTo>
                  <a:pt x="701" y="384"/>
                </a:lnTo>
                <a:lnTo>
                  <a:pt x="705" y="376"/>
                </a:lnTo>
                <a:lnTo>
                  <a:pt x="709" y="369"/>
                </a:lnTo>
                <a:lnTo>
                  <a:pt x="712" y="360"/>
                </a:lnTo>
                <a:lnTo>
                  <a:pt x="714" y="351"/>
                </a:lnTo>
                <a:lnTo>
                  <a:pt x="714" y="351"/>
                </a:lnTo>
                <a:lnTo>
                  <a:pt x="716" y="336"/>
                </a:lnTo>
                <a:lnTo>
                  <a:pt x="715" y="320"/>
                </a:lnTo>
                <a:lnTo>
                  <a:pt x="713" y="303"/>
                </a:lnTo>
                <a:lnTo>
                  <a:pt x="709" y="285"/>
                </a:lnTo>
                <a:lnTo>
                  <a:pt x="702" y="267"/>
                </a:lnTo>
                <a:lnTo>
                  <a:pt x="693" y="249"/>
                </a:lnTo>
                <a:lnTo>
                  <a:pt x="682" y="232"/>
                </a:lnTo>
                <a:lnTo>
                  <a:pt x="676" y="223"/>
                </a:lnTo>
                <a:lnTo>
                  <a:pt x="669" y="216"/>
                </a:lnTo>
                <a:lnTo>
                  <a:pt x="668" y="214"/>
                </a:lnTo>
                <a:lnTo>
                  <a:pt x="665" y="214"/>
                </a:lnTo>
                <a:lnTo>
                  <a:pt x="665" y="214"/>
                </a:lnTo>
                <a:lnTo>
                  <a:pt x="655" y="214"/>
                </a:lnTo>
                <a:lnTo>
                  <a:pt x="644" y="215"/>
                </a:lnTo>
                <a:lnTo>
                  <a:pt x="624" y="219"/>
                </a:lnTo>
                <a:lnTo>
                  <a:pt x="606" y="224"/>
                </a:lnTo>
                <a:lnTo>
                  <a:pt x="587" y="232"/>
                </a:lnTo>
                <a:lnTo>
                  <a:pt x="572" y="240"/>
                </a:lnTo>
                <a:lnTo>
                  <a:pt x="557" y="250"/>
                </a:lnTo>
                <a:lnTo>
                  <a:pt x="545" y="261"/>
                </a:lnTo>
                <a:lnTo>
                  <a:pt x="535" y="272"/>
                </a:lnTo>
                <a:lnTo>
                  <a:pt x="535" y="272"/>
                </a:lnTo>
                <a:lnTo>
                  <a:pt x="530" y="280"/>
                </a:lnTo>
                <a:lnTo>
                  <a:pt x="526" y="288"/>
                </a:lnTo>
                <a:lnTo>
                  <a:pt x="523" y="297"/>
                </a:lnTo>
                <a:lnTo>
                  <a:pt x="520" y="305"/>
                </a:lnTo>
                <a:lnTo>
                  <a:pt x="517" y="320"/>
                </a:lnTo>
                <a:lnTo>
                  <a:pt x="516" y="334"/>
                </a:lnTo>
                <a:lnTo>
                  <a:pt x="516" y="347"/>
                </a:lnTo>
                <a:lnTo>
                  <a:pt x="517" y="357"/>
                </a:lnTo>
                <a:lnTo>
                  <a:pt x="519" y="365"/>
                </a:lnTo>
                <a:lnTo>
                  <a:pt x="519" y="365"/>
                </a:lnTo>
                <a:lnTo>
                  <a:pt x="513" y="354"/>
                </a:lnTo>
                <a:lnTo>
                  <a:pt x="508" y="341"/>
                </a:lnTo>
                <a:lnTo>
                  <a:pt x="499" y="327"/>
                </a:lnTo>
                <a:lnTo>
                  <a:pt x="488" y="313"/>
                </a:lnTo>
                <a:lnTo>
                  <a:pt x="482" y="306"/>
                </a:lnTo>
                <a:lnTo>
                  <a:pt x="475" y="299"/>
                </a:lnTo>
                <a:lnTo>
                  <a:pt x="467" y="292"/>
                </a:lnTo>
                <a:lnTo>
                  <a:pt x="458" y="287"/>
                </a:lnTo>
                <a:lnTo>
                  <a:pt x="450" y="283"/>
                </a:lnTo>
                <a:lnTo>
                  <a:pt x="440" y="281"/>
                </a:lnTo>
                <a:lnTo>
                  <a:pt x="440" y="281"/>
                </a:lnTo>
                <a:lnTo>
                  <a:pt x="428" y="278"/>
                </a:lnTo>
                <a:lnTo>
                  <a:pt x="415" y="278"/>
                </a:lnTo>
                <a:lnTo>
                  <a:pt x="404" y="278"/>
                </a:lnTo>
                <a:lnTo>
                  <a:pt x="393" y="279"/>
                </a:lnTo>
                <a:lnTo>
                  <a:pt x="384" y="281"/>
                </a:lnTo>
                <a:lnTo>
                  <a:pt x="374" y="284"/>
                </a:lnTo>
                <a:lnTo>
                  <a:pt x="365" y="287"/>
                </a:lnTo>
                <a:lnTo>
                  <a:pt x="358" y="291"/>
                </a:lnTo>
                <a:lnTo>
                  <a:pt x="345" y="300"/>
                </a:lnTo>
                <a:lnTo>
                  <a:pt x="336" y="307"/>
                </a:lnTo>
                <a:lnTo>
                  <a:pt x="328" y="314"/>
                </a:lnTo>
                <a:lnTo>
                  <a:pt x="328" y="314"/>
                </a:lnTo>
                <a:lnTo>
                  <a:pt x="342" y="328"/>
                </a:lnTo>
                <a:lnTo>
                  <a:pt x="353" y="343"/>
                </a:lnTo>
                <a:lnTo>
                  <a:pt x="362" y="357"/>
                </a:lnTo>
                <a:lnTo>
                  <a:pt x="369" y="371"/>
                </a:lnTo>
                <a:lnTo>
                  <a:pt x="375" y="384"/>
                </a:lnTo>
                <a:lnTo>
                  <a:pt x="380" y="398"/>
                </a:lnTo>
                <a:lnTo>
                  <a:pt x="382" y="410"/>
                </a:lnTo>
                <a:lnTo>
                  <a:pt x="383" y="421"/>
                </a:lnTo>
                <a:lnTo>
                  <a:pt x="382" y="432"/>
                </a:lnTo>
                <a:lnTo>
                  <a:pt x="380" y="442"/>
                </a:lnTo>
                <a:lnTo>
                  <a:pt x="375" y="451"/>
                </a:lnTo>
                <a:lnTo>
                  <a:pt x="370" y="458"/>
                </a:lnTo>
                <a:lnTo>
                  <a:pt x="363" y="464"/>
                </a:lnTo>
                <a:lnTo>
                  <a:pt x="356" y="469"/>
                </a:lnTo>
                <a:lnTo>
                  <a:pt x="347" y="472"/>
                </a:lnTo>
                <a:lnTo>
                  <a:pt x="337" y="473"/>
                </a:lnTo>
                <a:lnTo>
                  <a:pt x="337" y="473"/>
                </a:lnTo>
                <a:lnTo>
                  <a:pt x="322" y="473"/>
                </a:lnTo>
                <a:lnTo>
                  <a:pt x="311" y="471"/>
                </a:lnTo>
                <a:lnTo>
                  <a:pt x="301" y="467"/>
                </a:lnTo>
                <a:lnTo>
                  <a:pt x="292" y="462"/>
                </a:lnTo>
                <a:lnTo>
                  <a:pt x="283" y="456"/>
                </a:lnTo>
                <a:lnTo>
                  <a:pt x="277" y="449"/>
                </a:lnTo>
                <a:lnTo>
                  <a:pt x="272" y="441"/>
                </a:lnTo>
                <a:lnTo>
                  <a:pt x="268" y="432"/>
                </a:lnTo>
                <a:lnTo>
                  <a:pt x="264" y="424"/>
                </a:lnTo>
                <a:lnTo>
                  <a:pt x="262" y="417"/>
                </a:lnTo>
                <a:lnTo>
                  <a:pt x="259" y="403"/>
                </a:lnTo>
                <a:lnTo>
                  <a:pt x="257" y="393"/>
                </a:lnTo>
                <a:lnTo>
                  <a:pt x="257" y="390"/>
                </a:lnTo>
                <a:lnTo>
                  <a:pt x="257" y="390"/>
                </a:lnTo>
                <a:lnTo>
                  <a:pt x="255" y="392"/>
                </a:lnTo>
                <a:lnTo>
                  <a:pt x="249" y="398"/>
                </a:lnTo>
                <a:lnTo>
                  <a:pt x="239" y="405"/>
                </a:lnTo>
                <a:lnTo>
                  <a:pt x="227" y="413"/>
                </a:lnTo>
                <a:lnTo>
                  <a:pt x="220" y="416"/>
                </a:lnTo>
                <a:lnTo>
                  <a:pt x="212" y="419"/>
                </a:lnTo>
                <a:lnTo>
                  <a:pt x="204" y="420"/>
                </a:lnTo>
                <a:lnTo>
                  <a:pt x="194" y="421"/>
                </a:lnTo>
                <a:lnTo>
                  <a:pt x="185" y="421"/>
                </a:lnTo>
                <a:lnTo>
                  <a:pt x="175" y="419"/>
                </a:lnTo>
                <a:lnTo>
                  <a:pt x="165" y="415"/>
                </a:lnTo>
                <a:lnTo>
                  <a:pt x="155" y="409"/>
                </a:lnTo>
                <a:lnTo>
                  <a:pt x="155" y="409"/>
                </a:lnTo>
                <a:lnTo>
                  <a:pt x="147" y="404"/>
                </a:lnTo>
                <a:lnTo>
                  <a:pt x="140" y="397"/>
                </a:lnTo>
                <a:lnTo>
                  <a:pt x="135" y="390"/>
                </a:lnTo>
                <a:lnTo>
                  <a:pt x="131" y="381"/>
                </a:lnTo>
                <a:lnTo>
                  <a:pt x="129" y="372"/>
                </a:lnTo>
                <a:lnTo>
                  <a:pt x="128" y="363"/>
                </a:lnTo>
                <a:lnTo>
                  <a:pt x="128" y="354"/>
                </a:lnTo>
                <a:lnTo>
                  <a:pt x="131" y="345"/>
                </a:lnTo>
                <a:lnTo>
                  <a:pt x="136" y="334"/>
                </a:lnTo>
                <a:lnTo>
                  <a:pt x="142" y="325"/>
                </a:lnTo>
                <a:lnTo>
                  <a:pt x="153" y="316"/>
                </a:lnTo>
                <a:lnTo>
                  <a:pt x="164" y="308"/>
                </a:lnTo>
                <a:lnTo>
                  <a:pt x="178" y="300"/>
                </a:lnTo>
                <a:lnTo>
                  <a:pt x="195" y="292"/>
                </a:lnTo>
                <a:lnTo>
                  <a:pt x="216" y="286"/>
                </a:lnTo>
                <a:lnTo>
                  <a:pt x="239" y="280"/>
                </a:lnTo>
                <a:lnTo>
                  <a:pt x="239" y="280"/>
                </a:lnTo>
                <a:lnTo>
                  <a:pt x="238" y="275"/>
                </a:lnTo>
                <a:lnTo>
                  <a:pt x="233" y="262"/>
                </a:lnTo>
                <a:lnTo>
                  <a:pt x="230" y="253"/>
                </a:lnTo>
                <a:lnTo>
                  <a:pt x="225" y="242"/>
                </a:lnTo>
                <a:lnTo>
                  <a:pt x="220" y="232"/>
                </a:lnTo>
                <a:lnTo>
                  <a:pt x="213" y="222"/>
                </a:lnTo>
                <a:lnTo>
                  <a:pt x="205" y="213"/>
                </a:lnTo>
                <a:lnTo>
                  <a:pt x="195" y="203"/>
                </a:lnTo>
                <a:lnTo>
                  <a:pt x="185" y="196"/>
                </a:lnTo>
                <a:lnTo>
                  <a:pt x="173" y="190"/>
                </a:lnTo>
                <a:lnTo>
                  <a:pt x="167" y="188"/>
                </a:lnTo>
                <a:lnTo>
                  <a:pt x="161" y="187"/>
                </a:lnTo>
                <a:lnTo>
                  <a:pt x="154" y="186"/>
                </a:lnTo>
                <a:lnTo>
                  <a:pt x="145" y="185"/>
                </a:lnTo>
                <a:lnTo>
                  <a:pt x="138" y="186"/>
                </a:lnTo>
                <a:lnTo>
                  <a:pt x="129" y="187"/>
                </a:lnTo>
                <a:lnTo>
                  <a:pt x="121" y="190"/>
                </a:lnTo>
                <a:lnTo>
                  <a:pt x="112" y="193"/>
                </a:lnTo>
                <a:lnTo>
                  <a:pt x="112" y="193"/>
                </a:lnTo>
                <a:lnTo>
                  <a:pt x="115" y="191"/>
                </a:lnTo>
                <a:lnTo>
                  <a:pt x="119" y="188"/>
                </a:lnTo>
                <a:lnTo>
                  <a:pt x="127" y="180"/>
                </a:lnTo>
                <a:lnTo>
                  <a:pt x="136" y="168"/>
                </a:lnTo>
                <a:lnTo>
                  <a:pt x="144" y="153"/>
                </a:lnTo>
                <a:lnTo>
                  <a:pt x="148" y="144"/>
                </a:lnTo>
                <a:lnTo>
                  <a:pt x="153" y="136"/>
                </a:lnTo>
                <a:lnTo>
                  <a:pt x="156" y="127"/>
                </a:lnTo>
                <a:lnTo>
                  <a:pt x="158" y="117"/>
                </a:lnTo>
                <a:lnTo>
                  <a:pt x="159" y="106"/>
                </a:lnTo>
                <a:lnTo>
                  <a:pt x="160" y="97"/>
                </a:lnTo>
                <a:lnTo>
                  <a:pt x="159" y="86"/>
                </a:lnTo>
                <a:lnTo>
                  <a:pt x="157" y="76"/>
                </a:lnTo>
                <a:lnTo>
                  <a:pt x="157" y="76"/>
                </a:lnTo>
                <a:lnTo>
                  <a:pt x="155" y="66"/>
                </a:lnTo>
                <a:lnTo>
                  <a:pt x="150" y="57"/>
                </a:lnTo>
                <a:lnTo>
                  <a:pt x="147" y="49"/>
                </a:lnTo>
                <a:lnTo>
                  <a:pt x="143" y="41"/>
                </a:lnTo>
                <a:lnTo>
                  <a:pt x="134" y="28"/>
                </a:lnTo>
                <a:lnTo>
                  <a:pt x="125" y="17"/>
                </a:lnTo>
                <a:lnTo>
                  <a:pt x="117" y="9"/>
                </a:lnTo>
                <a:lnTo>
                  <a:pt x="110" y="4"/>
                </a:lnTo>
                <a:lnTo>
                  <a:pt x="103" y="0"/>
                </a:lnTo>
                <a:lnTo>
                  <a:pt x="0" y="593"/>
                </a:lnTo>
                <a:lnTo>
                  <a:pt x="269" y="712"/>
                </a:lnTo>
                <a:lnTo>
                  <a:pt x="269" y="712"/>
                </a:lnTo>
                <a:lnTo>
                  <a:pt x="293" y="693"/>
                </a:lnTo>
                <a:lnTo>
                  <a:pt x="315" y="677"/>
                </a:lnTo>
                <a:lnTo>
                  <a:pt x="336" y="665"/>
                </a:lnTo>
                <a:lnTo>
                  <a:pt x="354" y="656"/>
                </a:lnTo>
                <a:lnTo>
                  <a:pt x="354" y="656"/>
                </a:lnTo>
                <a:lnTo>
                  <a:pt x="367" y="650"/>
                </a:lnTo>
                <a:lnTo>
                  <a:pt x="382" y="646"/>
                </a:lnTo>
                <a:lnTo>
                  <a:pt x="396" y="642"/>
                </a:lnTo>
                <a:lnTo>
                  <a:pt x="409" y="639"/>
                </a:lnTo>
                <a:lnTo>
                  <a:pt x="423" y="637"/>
                </a:lnTo>
                <a:lnTo>
                  <a:pt x="437" y="636"/>
                </a:lnTo>
                <a:lnTo>
                  <a:pt x="450" y="635"/>
                </a:lnTo>
                <a:lnTo>
                  <a:pt x="464" y="635"/>
                </a:lnTo>
                <a:lnTo>
                  <a:pt x="478" y="636"/>
                </a:lnTo>
                <a:lnTo>
                  <a:pt x="491" y="638"/>
                </a:lnTo>
                <a:lnTo>
                  <a:pt x="504" y="640"/>
                </a:lnTo>
                <a:lnTo>
                  <a:pt x="517" y="643"/>
                </a:lnTo>
                <a:lnTo>
                  <a:pt x="542" y="650"/>
                </a:lnTo>
                <a:lnTo>
                  <a:pt x="566" y="658"/>
                </a:lnTo>
                <a:lnTo>
                  <a:pt x="566" y="658"/>
                </a:lnTo>
                <a:lnTo>
                  <a:pt x="582" y="667"/>
                </a:lnTo>
                <a:lnTo>
                  <a:pt x="596" y="675"/>
                </a:lnTo>
                <a:lnTo>
                  <a:pt x="610" y="683"/>
                </a:lnTo>
                <a:lnTo>
                  <a:pt x="621" y="691"/>
                </a:lnTo>
                <a:lnTo>
                  <a:pt x="631" y="699"/>
                </a:lnTo>
                <a:lnTo>
                  <a:pt x="639" y="709"/>
                </a:lnTo>
                <a:lnTo>
                  <a:pt x="646" y="717"/>
                </a:lnTo>
                <a:lnTo>
                  <a:pt x="653" y="726"/>
                </a:lnTo>
                <a:lnTo>
                  <a:pt x="658" y="735"/>
                </a:lnTo>
                <a:lnTo>
                  <a:pt x="662" y="743"/>
                </a:lnTo>
                <a:lnTo>
                  <a:pt x="665" y="753"/>
                </a:lnTo>
                <a:lnTo>
                  <a:pt x="668" y="761"/>
                </a:lnTo>
                <a:lnTo>
                  <a:pt x="671" y="778"/>
                </a:lnTo>
                <a:lnTo>
                  <a:pt x="673" y="793"/>
                </a:lnTo>
                <a:lnTo>
                  <a:pt x="673" y="793"/>
                </a:lnTo>
                <a:lnTo>
                  <a:pt x="672" y="804"/>
                </a:lnTo>
                <a:lnTo>
                  <a:pt x="670" y="815"/>
                </a:lnTo>
                <a:lnTo>
                  <a:pt x="667" y="827"/>
                </a:lnTo>
                <a:lnTo>
                  <a:pt x="663" y="839"/>
                </a:lnTo>
                <a:lnTo>
                  <a:pt x="654" y="863"/>
                </a:lnTo>
                <a:lnTo>
                  <a:pt x="646" y="877"/>
                </a:lnTo>
                <a:lnTo>
                  <a:pt x="841" y="96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6" name="Freeform 43"/>
          <p:cNvSpPr>
            <a:spLocks/>
          </p:cNvSpPr>
          <p:nvPr userDrawn="1"/>
        </p:nvSpPr>
        <p:spPr bwMode="auto">
          <a:xfrm>
            <a:off x="7581901" y="1218904"/>
            <a:ext cx="193675" cy="33338"/>
          </a:xfrm>
          <a:custGeom>
            <a:avLst/>
            <a:gdLst>
              <a:gd name="T0" fmla="*/ 1228 w 1463"/>
              <a:gd name="T1" fmla="*/ 227 h 256"/>
              <a:gd name="T2" fmla="*/ 1463 w 1463"/>
              <a:gd name="T3" fmla="*/ 113 h 256"/>
              <a:gd name="T4" fmla="*/ 1225 w 1463"/>
              <a:gd name="T5" fmla="*/ 14 h 256"/>
              <a:gd name="T6" fmla="*/ 1225 w 1463"/>
              <a:gd name="T7" fmla="*/ 14 h 256"/>
              <a:gd name="T8" fmla="*/ 1152 w 1463"/>
              <a:gd name="T9" fmla="*/ 15 h 256"/>
              <a:gd name="T10" fmla="*/ 1060 w 1463"/>
              <a:gd name="T11" fmla="*/ 16 h 256"/>
              <a:gd name="T12" fmla="*/ 949 w 1463"/>
              <a:gd name="T13" fmla="*/ 15 h 256"/>
              <a:gd name="T14" fmla="*/ 824 w 1463"/>
              <a:gd name="T15" fmla="*/ 13 h 256"/>
              <a:gd name="T16" fmla="*/ 531 w 1463"/>
              <a:gd name="T17" fmla="*/ 7 h 256"/>
              <a:gd name="T18" fmla="*/ 197 w 1463"/>
              <a:gd name="T19" fmla="*/ 0 h 256"/>
              <a:gd name="T20" fmla="*/ 0 w 1463"/>
              <a:gd name="T21" fmla="*/ 256 h 256"/>
              <a:gd name="T22" fmla="*/ 0 w 1463"/>
              <a:gd name="T23" fmla="*/ 256 h 256"/>
              <a:gd name="T24" fmla="*/ 734 w 1463"/>
              <a:gd name="T25" fmla="*/ 240 h 256"/>
              <a:gd name="T26" fmla="*/ 1024 w 1463"/>
              <a:gd name="T27" fmla="*/ 234 h 256"/>
              <a:gd name="T28" fmla="*/ 1228 w 1463"/>
              <a:gd name="T29" fmla="*/ 22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3" h="256">
                <a:moveTo>
                  <a:pt x="1228" y="227"/>
                </a:moveTo>
                <a:lnTo>
                  <a:pt x="1463" y="113"/>
                </a:lnTo>
                <a:lnTo>
                  <a:pt x="1225" y="14"/>
                </a:lnTo>
                <a:lnTo>
                  <a:pt x="1225" y="14"/>
                </a:lnTo>
                <a:lnTo>
                  <a:pt x="1152" y="15"/>
                </a:lnTo>
                <a:lnTo>
                  <a:pt x="1060" y="16"/>
                </a:lnTo>
                <a:lnTo>
                  <a:pt x="949" y="15"/>
                </a:lnTo>
                <a:lnTo>
                  <a:pt x="824" y="13"/>
                </a:lnTo>
                <a:lnTo>
                  <a:pt x="531" y="7"/>
                </a:lnTo>
                <a:lnTo>
                  <a:pt x="197" y="0"/>
                </a:lnTo>
                <a:lnTo>
                  <a:pt x="0" y="256"/>
                </a:lnTo>
                <a:lnTo>
                  <a:pt x="0" y="256"/>
                </a:lnTo>
                <a:lnTo>
                  <a:pt x="734" y="240"/>
                </a:lnTo>
                <a:lnTo>
                  <a:pt x="1024" y="234"/>
                </a:lnTo>
                <a:lnTo>
                  <a:pt x="1228" y="22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7" name="Freeform 44"/>
          <p:cNvSpPr>
            <a:spLocks/>
          </p:cNvSpPr>
          <p:nvPr userDrawn="1"/>
        </p:nvSpPr>
        <p:spPr bwMode="auto">
          <a:xfrm>
            <a:off x="7643812" y="1301453"/>
            <a:ext cx="114300" cy="112713"/>
          </a:xfrm>
          <a:custGeom>
            <a:avLst/>
            <a:gdLst>
              <a:gd name="T0" fmla="*/ 386 w 869"/>
              <a:gd name="T1" fmla="*/ 818 h 851"/>
              <a:gd name="T2" fmla="*/ 235 w 869"/>
              <a:gd name="T3" fmla="*/ 737 h 851"/>
              <a:gd name="T4" fmla="*/ 156 w 869"/>
              <a:gd name="T5" fmla="*/ 685 h 851"/>
              <a:gd name="T6" fmla="*/ 90 w 869"/>
              <a:gd name="T7" fmla="*/ 626 h 851"/>
              <a:gd name="T8" fmla="*/ 37 w 869"/>
              <a:gd name="T9" fmla="*/ 557 h 851"/>
              <a:gd name="T10" fmla="*/ 24 w 869"/>
              <a:gd name="T11" fmla="*/ 531 h 851"/>
              <a:gd name="T12" fmla="*/ 10 w 869"/>
              <a:gd name="T13" fmla="*/ 487 h 851"/>
              <a:gd name="T14" fmla="*/ 2 w 869"/>
              <a:gd name="T15" fmla="*/ 439 h 851"/>
              <a:gd name="T16" fmla="*/ 0 w 869"/>
              <a:gd name="T17" fmla="*/ 389 h 851"/>
              <a:gd name="T18" fmla="*/ 5 w 869"/>
              <a:gd name="T19" fmla="*/ 336 h 851"/>
              <a:gd name="T20" fmla="*/ 15 w 869"/>
              <a:gd name="T21" fmla="*/ 283 h 851"/>
              <a:gd name="T22" fmla="*/ 34 w 869"/>
              <a:gd name="T23" fmla="*/ 231 h 851"/>
              <a:gd name="T24" fmla="*/ 59 w 869"/>
              <a:gd name="T25" fmla="*/ 182 h 851"/>
              <a:gd name="T26" fmla="*/ 93 w 869"/>
              <a:gd name="T27" fmla="*/ 136 h 851"/>
              <a:gd name="T28" fmla="*/ 134 w 869"/>
              <a:gd name="T29" fmla="*/ 94 h 851"/>
              <a:gd name="T30" fmla="*/ 183 w 869"/>
              <a:gd name="T31" fmla="*/ 59 h 851"/>
              <a:gd name="T32" fmla="*/ 198 w 869"/>
              <a:gd name="T33" fmla="*/ 75 h 851"/>
              <a:gd name="T34" fmla="*/ 217 w 869"/>
              <a:gd name="T35" fmla="*/ 106 h 851"/>
              <a:gd name="T36" fmla="*/ 227 w 869"/>
              <a:gd name="T37" fmla="*/ 141 h 851"/>
              <a:gd name="T38" fmla="*/ 247 w 869"/>
              <a:gd name="T39" fmla="*/ 150 h 851"/>
              <a:gd name="T40" fmla="*/ 379 w 869"/>
              <a:gd name="T41" fmla="*/ 144 h 851"/>
              <a:gd name="T42" fmla="*/ 424 w 869"/>
              <a:gd name="T43" fmla="*/ 143 h 851"/>
              <a:gd name="T44" fmla="*/ 424 w 869"/>
              <a:gd name="T45" fmla="*/ 94 h 851"/>
              <a:gd name="T46" fmla="*/ 414 w 869"/>
              <a:gd name="T47" fmla="*/ 37 h 851"/>
              <a:gd name="T48" fmla="*/ 397 w 869"/>
              <a:gd name="T49" fmla="*/ 0 h 851"/>
              <a:gd name="T50" fmla="*/ 431 w 869"/>
              <a:gd name="T51" fmla="*/ 27 h 851"/>
              <a:gd name="T52" fmla="*/ 459 w 869"/>
              <a:gd name="T53" fmla="*/ 55 h 851"/>
              <a:gd name="T54" fmla="*/ 475 w 869"/>
              <a:gd name="T55" fmla="*/ 82 h 851"/>
              <a:gd name="T56" fmla="*/ 487 w 869"/>
              <a:gd name="T57" fmla="*/ 116 h 851"/>
              <a:gd name="T58" fmla="*/ 493 w 869"/>
              <a:gd name="T59" fmla="*/ 143 h 851"/>
              <a:gd name="T60" fmla="*/ 671 w 869"/>
              <a:gd name="T61" fmla="*/ 133 h 851"/>
              <a:gd name="T62" fmla="*/ 662 w 869"/>
              <a:gd name="T63" fmla="*/ 88 h 851"/>
              <a:gd name="T64" fmla="*/ 643 w 869"/>
              <a:gd name="T65" fmla="*/ 50 h 851"/>
              <a:gd name="T66" fmla="*/ 651 w 869"/>
              <a:gd name="T67" fmla="*/ 46 h 851"/>
              <a:gd name="T68" fmla="*/ 699 w 869"/>
              <a:gd name="T69" fmla="*/ 73 h 851"/>
              <a:gd name="T70" fmla="*/ 740 w 869"/>
              <a:gd name="T71" fmla="*/ 104 h 851"/>
              <a:gd name="T72" fmla="*/ 775 w 869"/>
              <a:gd name="T73" fmla="*/ 138 h 851"/>
              <a:gd name="T74" fmla="*/ 803 w 869"/>
              <a:gd name="T75" fmla="*/ 175 h 851"/>
              <a:gd name="T76" fmla="*/ 837 w 869"/>
              <a:gd name="T77" fmla="*/ 238 h 851"/>
              <a:gd name="T78" fmla="*/ 861 w 869"/>
              <a:gd name="T79" fmla="*/ 312 h 851"/>
              <a:gd name="T80" fmla="*/ 869 w 869"/>
              <a:gd name="T81" fmla="*/ 379 h 851"/>
              <a:gd name="T82" fmla="*/ 869 w 869"/>
              <a:gd name="T83" fmla="*/ 423 h 851"/>
              <a:gd name="T84" fmla="*/ 859 w 869"/>
              <a:gd name="T85" fmla="*/ 499 h 851"/>
              <a:gd name="T86" fmla="*/ 834 w 869"/>
              <a:gd name="T87" fmla="*/ 569 h 851"/>
              <a:gd name="T88" fmla="*/ 796 w 869"/>
              <a:gd name="T89" fmla="*/ 631 h 851"/>
              <a:gd name="T90" fmla="*/ 749 w 869"/>
              <a:gd name="T91" fmla="*/ 684 h 851"/>
              <a:gd name="T92" fmla="*/ 693 w 869"/>
              <a:gd name="T93" fmla="*/ 727 h 851"/>
              <a:gd name="T94" fmla="*/ 626 w 869"/>
              <a:gd name="T95" fmla="*/ 766 h 851"/>
              <a:gd name="T96" fmla="*/ 506 w 869"/>
              <a:gd name="T97" fmla="*/ 826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9" h="851">
                <a:moveTo>
                  <a:pt x="452" y="851"/>
                </a:moveTo>
                <a:lnTo>
                  <a:pt x="452" y="851"/>
                </a:lnTo>
                <a:lnTo>
                  <a:pt x="386" y="818"/>
                </a:lnTo>
                <a:lnTo>
                  <a:pt x="323" y="785"/>
                </a:lnTo>
                <a:lnTo>
                  <a:pt x="264" y="754"/>
                </a:lnTo>
                <a:lnTo>
                  <a:pt x="235" y="737"/>
                </a:lnTo>
                <a:lnTo>
                  <a:pt x="207" y="720"/>
                </a:lnTo>
                <a:lnTo>
                  <a:pt x="181" y="703"/>
                </a:lnTo>
                <a:lnTo>
                  <a:pt x="156" y="685"/>
                </a:lnTo>
                <a:lnTo>
                  <a:pt x="133" y="666"/>
                </a:lnTo>
                <a:lnTo>
                  <a:pt x="110" y="646"/>
                </a:lnTo>
                <a:lnTo>
                  <a:pt x="90" y="626"/>
                </a:lnTo>
                <a:lnTo>
                  <a:pt x="70" y="605"/>
                </a:lnTo>
                <a:lnTo>
                  <a:pt x="53" y="581"/>
                </a:lnTo>
                <a:lnTo>
                  <a:pt x="37" y="557"/>
                </a:lnTo>
                <a:lnTo>
                  <a:pt x="37" y="557"/>
                </a:lnTo>
                <a:lnTo>
                  <a:pt x="31" y="544"/>
                </a:lnTo>
                <a:lnTo>
                  <a:pt x="24" y="531"/>
                </a:lnTo>
                <a:lnTo>
                  <a:pt x="19" y="517"/>
                </a:lnTo>
                <a:lnTo>
                  <a:pt x="14" y="502"/>
                </a:lnTo>
                <a:lnTo>
                  <a:pt x="10" y="487"/>
                </a:lnTo>
                <a:lnTo>
                  <a:pt x="7" y="472"/>
                </a:lnTo>
                <a:lnTo>
                  <a:pt x="4" y="455"/>
                </a:lnTo>
                <a:lnTo>
                  <a:pt x="2" y="439"/>
                </a:lnTo>
                <a:lnTo>
                  <a:pt x="1" y="423"/>
                </a:lnTo>
                <a:lnTo>
                  <a:pt x="0" y="405"/>
                </a:lnTo>
                <a:lnTo>
                  <a:pt x="0" y="389"/>
                </a:lnTo>
                <a:lnTo>
                  <a:pt x="1" y="371"/>
                </a:lnTo>
                <a:lnTo>
                  <a:pt x="2" y="353"/>
                </a:lnTo>
                <a:lnTo>
                  <a:pt x="5" y="336"/>
                </a:lnTo>
                <a:lnTo>
                  <a:pt x="7" y="318"/>
                </a:lnTo>
                <a:lnTo>
                  <a:pt x="11" y="301"/>
                </a:lnTo>
                <a:lnTo>
                  <a:pt x="15" y="283"/>
                </a:lnTo>
                <a:lnTo>
                  <a:pt x="21" y="266"/>
                </a:lnTo>
                <a:lnTo>
                  <a:pt x="26" y="249"/>
                </a:lnTo>
                <a:lnTo>
                  <a:pt x="34" y="231"/>
                </a:lnTo>
                <a:lnTo>
                  <a:pt x="42" y="215"/>
                </a:lnTo>
                <a:lnTo>
                  <a:pt x="50" y="199"/>
                </a:lnTo>
                <a:lnTo>
                  <a:pt x="59" y="182"/>
                </a:lnTo>
                <a:lnTo>
                  <a:pt x="69" y="166"/>
                </a:lnTo>
                <a:lnTo>
                  <a:pt x="81" y="151"/>
                </a:lnTo>
                <a:lnTo>
                  <a:pt x="93" y="136"/>
                </a:lnTo>
                <a:lnTo>
                  <a:pt x="105" y="122"/>
                </a:lnTo>
                <a:lnTo>
                  <a:pt x="120" y="108"/>
                </a:lnTo>
                <a:lnTo>
                  <a:pt x="134" y="94"/>
                </a:lnTo>
                <a:lnTo>
                  <a:pt x="149" y="82"/>
                </a:lnTo>
                <a:lnTo>
                  <a:pt x="166" y="70"/>
                </a:lnTo>
                <a:lnTo>
                  <a:pt x="183" y="59"/>
                </a:lnTo>
                <a:lnTo>
                  <a:pt x="183" y="59"/>
                </a:lnTo>
                <a:lnTo>
                  <a:pt x="191" y="67"/>
                </a:lnTo>
                <a:lnTo>
                  <a:pt x="198" y="75"/>
                </a:lnTo>
                <a:lnTo>
                  <a:pt x="203" y="82"/>
                </a:lnTo>
                <a:lnTo>
                  <a:pt x="208" y="90"/>
                </a:lnTo>
                <a:lnTo>
                  <a:pt x="217" y="106"/>
                </a:lnTo>
                <a:lnTo>
                  <a:pt x="222" y="120"/>
                </a:lnTo>
                <a:lnTo>
                  <a:pt x="225" y="132"/>
                </a:lnTo>
                <a:lnTo>
                  <a:pt x="227" y="141"/>
                </a:lnTo>
                <a:lnTo>
                  <a:pt x="227" y="150"/>
                </a:lnTo>
                <a:lnTo>
                  <a:pt x="227" y="150"/>
                </a:lnTo>
                <a:lnTo>
                  <a:pt x="247" y="150"/>
                </a:lnTo>
                <a:lnTo>
                  <a:pt x="272" y="150"/>
                </a:lnTo>
                <a:lnTo>
                  <a:pt x="325" y="146"/>
                </a:lnTo>
                <a:lnTo>
                  <a:pt x="379" y="144"/>
                </a:lnTo>
                <a:lnTo>
                  <a:pt x="404" y="143"/>
                </a:lnTo>
                <a:lnTo>
                  <a:pt x="424" y="143"/>
                </a:lnTo>
                <a:lnTo>
                  <a:pt x="424" y="143"/>
                </a:lnTo>
                <a:lnTo>
                  <a:pt x="425" y="129"/>
                </a:lnTo>
                <a:lnTo>
                  <a:pt x="425" y="112"/>
                </a:lnTo>
                <a:lnTo>
                  <a:pt x="424" y="94"/>
                </a:lnTo>
                <a:lnTo>
                  <a:pt x="422" y="76"/>
                </a:lnTo>
                <a:lnTo>
                  <a:pt x="419" y="56"/>
                </a:lnTo>
                <a:lnTo>
                  <a:pt x="414" y="37"/>
                </a:lnTo>
                <a:lnTo>
                  <a:pt x="407" y="19"/>
                </a:lnTo>
                <a:lnTo>
                  <a:pt x="402" y="9"/>
                </a:lnTo>
                <a:lnTo>
                  <a:pt x="397" y="0"/>
                </a:lnTo>
                <a:lnTo>
                  <a:pt x="397" y="0"/>
                </a:lnTo>
                <a:lnTo>
                  <a:pt x="415" y="14"/>
                </a:lnTo>
                <a:lnTo>
                  <a:pt x="431" y="27"/>
                </a:lnTo>
                <a:lnTo>
                  <a:pt x="446" y="40"/>
                </a:lnTo>
                <a:lnTo>
                  <a:pt x="453" y="47"/>
                </a:lnTo>
                <a:lnTo>
                  <a:pt x="459" y="55"/>
                </a:lnTo>
                <a:lnTo>
                  <a:pt x="465" y="64"/>
                </a:lnTo>
                <a:lnTo>
                  <a:pt x="470" y="73"/>
                </a:lnTo>
                <a:lnTo>
                  <a:pt x="475" y="82"/>
                </a:lnTo>
                <a:lnTo>
                  <a:pt x="479" y="92"/>
                </a:lnTo>
                <a:lnTo>
                  <a:pt x="484" y="104"/>
                </a:lnTo>
                <a:lnTo>
                  <a:pt x="487" y="116"/>
                </a:lnTo>
                <a:lnTo>
                  <a:pt x="490" y="129"/>
                </a:lnTo>
                <a:lnTo>
                  <a:pt x="493" y="143"/>
                </a:lnTo>
                <a:lnTo>
                  <a:pt x="493" y="143"/>
                </a:lnTo>
                <a:lnTo>
                  <a:pt x="671" y="150"/>
                </a:lnTo>
                <a:lnTo>
                  <a:pt x="671" y="150"/>
                </a:lnTo>
                <a:lnTo>
                  <a:pt x="671" y="133"/>
                </a:lnTo>
                <a:lnTo>
                  <a:pt x="670" y="118"/>
                </a:lnTo>
                <a:lnTo>
                  <a:pt x="667" y="103"/>
                </a:lnTo>
                <a:lnTo>
                  <a:pt x="662" y="88"/>
                </a:lnTo>
                <a:lnTo>
                  <a:pt x="657" y="75"/>
                </a:lnTo>
                <a:lnTo>
                  <a:pt x="651" y="62"/>
                </a:lnTo>
                <a:lnTo>
                  <a:pt x="643" y="50"/>
                </a:lnTo>
                <a:lnTo>
                  <a:pt x="634" y="38"/>
                </a:lnTo>
                <a:lnTo>
                  <a:pt x="634" y="38"/>
                </a:lnTo>
                <a:lnTo>
                  <a:pt x="651" y="46"/>
                </a:lnTo>
                <a:lnTo>
                  <a:pt x="669" y="54"/>
                </a:lnTo>
                <a:lnTo>
                  <a:pt x="684" y="64"/>
                </a:lnTo>
                <a:lnTo>
                  <a:pt x="699" y="73"/>
                </a:lnTo>
                <a:lnTo>
                  <a:pt x="714" y="83"/>
                </a:lnTo>
                <a:lnTo>
                  <a:pt x="728" y="93"/>
                </a:lnTo>
                <a:lnTo>
                  <a:pt x="740" y="104"/>
                </a:lnTo>
                <a:lnTo>
                  <a:pt x="752" y="115"/>
                </a:lnTo>
                <a:lnTo>
                  <a:pt x="764" y="126"/>
                </a:lnTo>
                <a:lnTo>
                  <a:pt x="775" y="138"/>
                </a:lnTo>
                <a:lnTo>
                  <a:pt x="785" y="151"/>
                </a:lnTo>
                <a:lnTo>
                  <a:pt x="794" y="163"/>
                </a:lnTo>
                <a:lnTo>
                  <a:pt x="803" y="175"/>
                </a:lnTo>
                <a:lnTo>
                  <a:pt x="811" y="187"/>
                </a:lnTo>
                <a:lnTo>
                  <a:pt x="825" y="213"/>
                </a:lnTo>
                <a:lnTo>
                  <a:pt x="837" y="238"/>
                </a:lnTo>
                <a:lnTo>
                  <a:pt x="848" y="263"/>
                </a:lnTo>
                <a:lnTo>
                  <a:pt x="855" y="289"/>
                </a:lnTo>
                <a:lnTo>
                  <a:pt x="861" y="312"/>
                </a:lnTo>
                <a:lnTo>
                  <a:pt x="865" y="336"/>
                </a:lnTo>
                <a:lnTo>
                  <a:pt x="868" y="358"/>
                </a:lnTo>
                <a:lnTo>
                  <a:pt x="869" y="379"/>
                </a:lnTo>
                <a:lnTo>
                  <a:pt x="869" y="397"/>
                </a:lnTo>
                <a:lnTo>
                  <a:pt x="869" y="397"/>
                </a:lnTo>
                <a:lnTo>
                  <a:pt x="869" y="423"/>
                </a:lnTo>
                <a:lnTo>
                  <a:pt x="868" y="449"/>
                </a:lnTo>
                <a:lnTo>
                  <a:pt x="864" y="474"/>
                </a:lnTo>
                <a:lnTo>
                  <a:pt x="859" y="499"/>
                </a:lnTo>
                <a:lnTo>
                  <a:pt x="852" y="523"/>
                </a:lnTo>
                <a:lnTo>
                  <a:pt x="843" y="546"/>
                </a:lnTo>
                <a:lnTo>
                  <a:pt x="834" y="569"/>
                </a:lnTo>
                <a:lnTo>
                  <a:pt x="823" y="590"/>
                </a:lnTo>
                <a:lnTo>
                  <a:pt x="811" y="612"/>
                </a:lnTo>
                <a:lnTo>
                  <a:pt x="796" y="631"/>
                </a:lnTo>
                <a:lnTo>
                  <a:pt x="782" y="651"/>
                </a:lnTo>
                <a:lnTo>
                  <a:pt x="766" y="668"/>
                </a:lnTo>
                <a:lnTo>
                  <a:pt x="749" y="684"/>
                </a:lnTo>
                <a:lnTo>
                  <a:pt x="731" y="700"/>
                </a:lnTo>
                <a:lnTo>
                  <a:pt x="713" y="714"/>
                </a:lnTo>
                <a:lnTo>
                  <a:pt x="693" y="727"/>
                </a:lnTo>
                <a:lnTo>
                  <a:pt x="693" y="727"/>
                </a:lnTo>
                <a:lnTo>
                  <a:pt x="658" y="748"/>
                </a:lnTo>
                <a:lnTo>
                  <a:pt x="626" y="766"/>
                </a:lnTo>
                <a:lnTo>
                  <a:pt x="594" y="783"/>
                </a:lnTo>
                <a:lnTo>
                  <a:pt x="563" y="799"/>
                </a:lnTo>
                <a:lnTo>
                  <a:pt x="506" y="826"/>
                </a:lnTo>
                <a:lnTo>
                  <a:pt x="452" y="85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8" name="Freeform 45"/>
          <p:cNvSpPr>
            <a:spLocks/>
          </p:cNvSpPr>
          <p:nvPr userDrawn="1"/>
        </p:nvSpPr>
        <p:spPr bwMode="auto">
          <a:xfrm>
            <a:off x="7677150" y="1579265"/>
            <a:ext cx="1588" cy="0"/>
          </a:xfrm>
          <a:custGeom>
            <a:avLst/>
            <a:gdLst>
              <a:gd name="T0" fmla="*/ 22 w 22"/>
              <a:gd name="T1" fmla="*/ 9 h 9"/>
              <a:gd name="T2" fmla="*/ 22 w 22"/>
              <a:gd name="T3" fmla="*/ 9 h 9"/>
              <a:gd name="T4" fmla="*/ 3 w 22"/>
              <a:gd name="T5" fmla="*/ 2 h 9"/>
              <a:gd name="T6" fmla="*/ 3 w 22"/>
              <a:gd name="T7" fmla="*/ 2 h 9"/>
              <a:gd name="T8" fmla="*/ 0 w 22"/>
              <a:gd name="T9" fmla="*/ 0 h 9"/>
              <a:gd name="T10" fmla="*/ 0 w 22"/>
              <a:gd name="T11" fmla="*/ 0 h 9"/>
              <a:gd name="T12" fmla="*/ 22 w 22"/>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22" h="9">
                <a:moveTo>
                  <a:pt x="22" y="9"/>
                </a:moveTo>
                <a:lnTo>
                  <a:pt x="22" y="9"/>
                </a:lnTo>
                <a:lnTo>
                  <a:pt x="3" y="2"/>
                </a:lnTo>
                <a:lnTo>
                  <a:pt x="3" y="2"/>
                </a:lnTo>
                <a:lnTo>
                  <a:pt x="0" y="0"/>
                </a:lnTo>
                <a:lnTo>
                  <a:pt x="0" y="0"/>
                </a:lnTo>
                <a:lnTo>
                  <a:pt x="22"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9" name="Freeform 46"/>
          <p:cNvSpPr>
            <a:spLocks/>
          </p:cNvSpPr>
          <p:nvPr userDrawn="1"/>
        </p:nvSpPr>
        <p:spPr bwMode="auto">
          <a:xfrm>
            <a:off x="7429500" y="1261766"/>
            <a:ext cx="20638" cy="12700"/>
          </a:xfrm>
          <a:custGeom>
            <a:avLst/>
            <a:gdLst>
              <a:gd name="T0" fmla="*/ 166 w 166"/>
              <a:gd name="T1" fmla="*/ 69 h 96"/>
              <a:gd name="T2" fmla="*/ 166 w 166"/>
              <a:gd name="T3" fmla="*/ 69 h 96"/>
              <a:gd name="T4" fmla="*/ 166 w 166"/>
              <a:gd name="T5" fmla="*/ 70 h 96"/>
              <a:gd name="T6" fmla="*/ 165 w 166"/>
              <a:gd name="T7" fmla="*/ 72 h 96"/>
              <a:gd name="T8" fmla="*/ 161 w 166"/>
              <a:gd name="T9" fmla="*/ 74 h 96"/>
              <a:gd name="T10" fmla="*/ 155 w 166"/>
              <a:gd name="T11" fmla="*/ 77 h 96"/>
              <a:gd name="T12" fmla="*/ 145 w 166"/>
              <a:gd name="T13" fmla="*/ 79 h 96"/>
              <a:gd name="T14" fmla="*/ 123 w 166"/>
              <a:gd name="T15" fmla="*/ 85 h 96"/>
              <a:gd name="T16" fmla="*/ 95 w 166"/>
              <a:gd name="T17" fmla="*/ 90 h 96"/>
              <a:gd name="T18" fmla="*/ 68 w 166"/>
              <a:gd name="T19" fmla="*/ 94 h 96"/>
              <a:gd name="T20" fmla="*/ 42 w 166"/>
              <a:gd name="T21" fmla="*/ 96 h 96"/>
              <a:gd name="T22" fmla="*/ 24 w 166"/>
              <a:gd name="T23" fmla="*/ 96 h 96"/>
              <a:gd name="T24" fmla="*/ 17 w 166"/>
              <a:gd name="T25" fmla="*/ 95 h 96"/>
              <a:gd name="T26" fmla="*/ 13 w 166"/>
              <a:gd name="T27" fmla="*/ 94 h 96"/>
              <a:gd name="T28" fmla="*/ 13 w 166"/>
              <a:gd name="T29" fmla="*/ 94 h 96"/>
              <a:gd name="T30" fmla="*/ 10 w 166"/>
              <a:gd name="T31" fmla="*/ 92 h 96"/>
              <a:gd name="T32" fmla="*/ 8 w 166"/>
              <a:gd name="T33" fmla="*/ 88 h 96"/>
              <a:gd name="T34" fmla="*/ 5 w 166"/>
              <a:gd name="T35" fmla="*/ 77 h 96"/>
              <a:gd name="T36" fmla="*/ 2 w 166"/>
              <a:gd name="T37" fmla="*/ 65 h 96"/>
              <a:gd name="T38" fmla="*/ 0 w 166"/>
              <a:gd name="T39" fmla="*/ 51 h 96"/>
              <a:gd name="T40" fmla="*/ 0 w 166"/>
              <a:gd name="T41" fmla="*/ 36 h 96"/>
              <a:gd name="T42" fmla="*/ 0 w 166"/>
              <a:gd name="T43" fmla="*/ 23 h 96"/>
              <a:gd name="T44" fmla="*/ 1 w 166"/>
              <a:gd name="T45" fmla="*/ 13 h 96"/>
              <a:gd name="T46" fmla="*/ 2 w 166"/>
              <a:gd name="T47" fmla="*/ 8 h 96"/>
              <a:gd name="T48" fmla="*/ 4 w 166"/>
              <a:gd name="T49" fmla="*/ 5 h 96"/>
              <a:gd name="T50" fmla="*/ 4 w 166"/>
              <a:gd name="T51" fmla="*/ 5 h 96"/>
              <a:gd name="T52" fmla="*/ 5 w 166"/>
              <a:gd name="T53" fmla="*/ 4 h 96"/>
              <a:gd name="T54" fmla="*/ 7 w 166"/>
              <a:gd name="T55" fmla="*/ 2 h 96"/>
              <a:gd name="T56" fmla="*/ 13 w 166"/>
              <a:gd name="T57" fmla="*/ 1 h 96"/>
              <a:gd name="T58" fmla="*/ 22 w 166"/>
              <a:gd name="T59" fmla="*/ 0 h 96"/>
              <a:gd name="T60" fmla="*/ 32 w 166"/>
              <a:gd name="T61" fmla="*/ 0 h 96"/>
              <a:gd name="T62" fmla="*/ 43 w 166"/>
              <a:gd name="T63" fmla="*/ 1 h 96"/>
              <a:gd name="T64" fmla="*/ 55 w 166"/>
              <a:gd name="T65" fmla="*/ 3 h 96"/>
              <a:gd name="T66" fmla="*/ 69 w 166"/>
              <a:gd name="T67" fmla="*/ 6 h 96"/>
              <a:gd name="T68" fmla="*/ 83 w 166"/>
              <a:gd name="T69" fmla="*/ 10 h 96"/>
              <a:gd name="T70" fmla="*/ 96 w 166"/>
              <a:gd name="T71" fmla="*/ 15 h 96"/>
              <a:gd name="T72" fmla="*/ 110 w 166"/>
              <a:gd name="T73" fmla="*/ 20 h 96"/>
              <a:gd name="T74" fmla="*/ 123 w 166"/>
              <a:gd name="T75" fmla="*/ 27 h 96"/>
              <a:gd name="T76" fmla="*/ 135 w 166"/>
              <a:gd name="T77" fmla="*/ 34 h 96"/>
              <a:gd name="T78" fmla="*/ 145 w 166"/>
              <a:gd name="T79" fmla="*/ 42 h 96"/>
              <a:gd name="T80" fmla="*/ 155 w 166"/>
              <a:gd name="T81" fmla="*/ 51 h 96"/>
              <a:gd name="T82" fmla="*/ 162 w 166"/>
              <a:gd name="T83" fmla="*/ 60 h 96"/>
              <a:gd name="T84" fmla="*/ 164 w 166"/>
              <a:gd name="T85" fmla="*/ 64 h 96"/>
              <a:gd name="T86" fmla="*/ 166 w 166"/>
              <a:gd name="T87" fmla="*/ 6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6" h="96">
                <a:moveTo>
                  <a:pt x="166" y="69"/>
                </a:moveTo>
                <a:lnTo>
                  <a:pt x="166" y="69"/>
                </a:lnTo>
                <a:lnTo>
                  <a:pt x="166" y="70"/>
                </a:lnTo>
                <a:lnTo>
                  <a:pt x="165" y="72"/>
                </a:lnTo>
                <a:lnTo>
                  <a:pt x="161" y="74"/>
                </a:lnTo>
                <a:lnTo>
                  <a:pt x="155" y="77"/>
                </a:lnTo>
                <a:lnTo>
                  <a:pt x="145" y="79"/>
                </a:lnTo>
                <a:lnTo>
                  <a:pt x="123" y="85"/>
                </a:lnTo>
                <a:lnTo>
                  <a:pt x="95" y="90"/>
                </a:lnTo>
                <a:lnTo>
                  <a:pt x="68" y="94"/>
                </a:lnTo>
                <a:lnTo>
                  <a:pt x="42" y="96"/>
                </a:lnTo>
                <a:lnTo>
                  <a:pt x="24" y="96"/>
                </a:lnTo>
                <a:lnTo>
                  <a:pt x="17" y="95"/>
                </a:lnTo>
                <a:lnTo>
                  <a:pt x="13" y="94"/>
                </a:lnTo>
                <a:lnTo>
                  <a:pt x="13" y="94"/>
                </a:lnTo>
                <a:lnTo>
                  <a:pt x="10" y="92"/>
                </a:lnTo>
                <a:lnTo>
                  <a:pt x="8" y="88"/>
                </a:lnTo>
                <a:lnTo>
                  <a:pt x="5" y="77"/>
                </a:lnTo>
                <a:lnTo>
                  <a:pt x="2" y="65"/>
                </a:lnTo>
                <a:lnTo>
                  <a:pt x="0" y="51"/>
                </a:lnTo>
                <a:lnTo>
                  <a:pt x="0" y="36"/>
                </a:lnTo>
                <a:lnTo>
                  <a:pt x="0" y="23"/>
                </a:lnTo>
                <a:lnTo>
                  <a:pt x="1" y="13"/>
                </a:lnTo>
                <a:lnTo>
                  <a:pt x="2" y="8"/>
                </a:lnTo>
                <a:lnTo>
                  <a:pt x="4" y="5"/>
                </a:lnTo>
                <a:lnTo>
                  <a:pt x="4" y="5"/>
                </a:lnTo>
                <a:lnTo>
                  <a:pt x="5" y="4"/>
                </a:lnTo>
                <a:lnTo>
                  <a:pt x="7" y="2"/>
                </a:lnTo>
                <a:lnTo>
                  <a:pt x="13" y="1"/>
                </a:lnTo>
                <a:lnTo>
                  <a:pt x="22" y="0"/>
                </a:lnTo>
                <a:lnTo>
                  <a:pt x="32" y="0"/>
                </a:lnTo>
                <a:lnTo>
                  <a:pt x="43" y="1"/>
                </a:lnTo>
                <a:lnTo>
                  <a:pt x="55" y="3"/>
                </a:lnTo>
                <a:lnTo>
                  <a:pt x="69" y="6"/>
                </a:lnTo>
                <a:lnTo>
                  <a:pt x="83" y="10"/>
                </a:lnTo>
                <a:lnTo>
                  <a:pt x="96" y="15"/>
                </a:lnTo>
                <a:lnTo>
                  <a:pt x="110" y="20"/>
                </a:lnTo>
                <a:lnTo>
                  <a:pt x="123" y="27"/>
                </a:lnTo>
                <a:lnTo>
                  <a:pt x="135" y="34"/>
                </a:lnTo>
                <a:lnTo>
                  <a:pt x="145" y="42"/>
                </a:lnTo>
                <a:lnTo>
                  <a:pt x="155" y="51"/>
                </a:lnTo>
                <a:lnTo>
                  <a:pt x="162" y="60"/>
                </a:lnTo>
                <a:lnTo>
                  <a:pt x="164" y="64"/>
                </a:lnTo>
                <a:lnTo>
                  <a:pt x="166" y="6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50" name="Freeform 47"/>
          <p:cNvSpPr>
            <a:spLocks/>
          </p:cNvSpPr>
          <p:nvPr userDrawn="1"/>
        </p:nvSpPr>
        <p:spPr bwMode="auto">
          <a:xfrm>
            <a:off x="7151687" y="1218904"/>
            <a:ext cx="657225" cy="776288"/>
          </a:xfrm>
          <a:custGeom>
            <a:avLst/>
            <a:gdLst>
              <a:gd name="T0" fmla="*/ 4703 w 4973"/>
              <a:gd name="T1" fmla="*/ 1877 h 5865"/>
              <a:gd name="T2" fmla="*/ 4733 w 4973"/>
              <a:gd name="T3" fmla="*/ 1183 h 5865"/>
              <a:gd name="T4" fmla="*/ 4302 w 4973"/>
              <a:gd name="T5" fmla="*/ 476 h 5865"/>
              <a:gd name="T6" fmla="*/ 3581 w 4973"/>
              <a:gd name="T7" fmla="*/ 813 h 5865"/>
              <a:gd name="T8" fmla="*/ 3899 w 4973"/>
              <a:gd name="T9" fmla="*/ 1529 h 5865"/>
              <a:gd name="T10" fmla="*/ 3757 w 4973"/>
              <a:gd name="T11" fmla="*/ 2227 h 5865"/>
              <a:gd name="T12" fmla="*/ 3939 w 4973"/>
              <a:gd name="T13" fmla="*/ 2068 h 5865"/>
              <a:gd name="T14" fmla="*/ 4069 w 4973"/>
              <a:gd name="T15" fmla="*/ 1928 h 5865"/>
              <a:gd name="T16" fmla="*/ 4545 w 4973"/>
              <a:gd name="T17" fmla="*/ 1985 h 5865"/>
              <a:gd name="T18" fmla="*/ 4487 w 4973"/>
              <a:gd name="T19" fmla="*/ 2697 h 5865"/>
              <a:gd name="T20" fmla="*/ 3601 w 4973"/>
              <a:gd name="T21" fmla="*/ 2477 h 5865"/>
              <a:gd name="T22" fmla="*/ 3285 w 4973"/>
              <a:gd name="T23" fmla="*/ 1581 h 5865"/>
              <a:gd name="T24" fmla="*/ 3364 w 4973"/>
              <a:gd name="T25" fmla="*/ 1421 h 5865"/>
              <a:gd name="T26" fmla="*/ 3101 w 4973"/>
              <a:gd name="T27" fmla="*/ 996 h 5865"/>
              <a:gd name="T28" fmla="*/ 3251 w 4973"/>
              <a:gd name="T29" fmla="*/ 599 h 5865"/>
              <a:gd name="T30" fmla="*/ 2863 w 4973"/>
              <a:gd name="T31" fmla="*/ 144 h 5865"/>
              <a:gd name="T32" fmla="*/ 1960 w 4973"/>
              <a:gd name="T33" fmla="*/ 304 h 5865"/>
              <a:gd name="T34" fmla="*/ 1819 w 4973"/>
              <a:gd name="T35" fmla="*/ 748 h 5865"/>
              <a:gd name="T36" fmla="*/ 2202 w 4973"/>
              <a:gd name="T37" fmla="*/ 626 h 5865"/>
              <a:gd name="T38" fmla="*/ 2215 w 4973"/>
              <a:gd name="T39" fmla="*/ 803 h 5865"/>
              <a:gd name="T40" fmla="*/ 1623 w 4973"/>
              <a:gd name="T41" fmla="*/ 851 h 5865"/>
              <a:gd name="T42" fmla="*/ 1602 w 4973"/>
              <a:gd name="T43" fmla="*/ 1055 h 5865"/>
              <a:gd name="T44" fmla="*/ 2246 w 4973"/>
              <a:gd name="T45" fmla="*/ 924 h 5865"/>
              <a:gd name="T46" fmla="*/ 2036 w 4973"/>
              <a:gd name="T47" fmla="*/ 981 h 5865"/>
              <a:gd name="T48" fmla="*/ 1754 w 4973"/>
              <a:gd name="T49" fmla="*/ 1278 h 5865"/>
              <a:gd name="T50" fmla="*/ 2105 w 4973"/>
              <a:gd name="T51" fmla="*/ 1619 h 5865"/>
              <a:gd name="T52" fmla="*/ 863 w 4973"/>
              <a:gd name="T53" fmla="*/ 2239 h 5865"/>
              <a:gd name="T54" fmla="*/ 310 w 4973"/>
              <a:gd name="T55" fmla="*/ 2027 h 5865"/>
              <a:gd name="T56" fmla="*/ 319 w 4973"/>
              <a:gd name="T57" fmla="*/ 2172 h 5865"/>
              <a:gd name="T58" fmla="*/ 380 w 4973"/>
              <a:gd name="T59" fmla="*/ 2295 h 5865"/>
              <a:gd name="T60" fmla="*/ 39 w 4973"/>
              <a:gd name="T61" fmla="*/ 2396 h 5865"/>
              <a:gd name="T62" fmla="*/ 189 w 4973"/>
              <a:gd name="T63" fmla="*/ 2511 h 5865"/>
              <a:gd name="T64" fmla="*/ 322 w 4973"/>
              <a:gd name="T65" fmla="*/ 2588 h 5865"/>
              <a:gd name="T66" fmla="*/ 272 w 4973"/>
              <a:gd name="T67" fmla="*/ 2893 h 5865"/>
              <a:gd name="T68" fmla="*/ 630 w 4973"/>
              <a:gd name="T69" fmla="*/ 2730 h 5865"/>
              <a:gd name="T70" fmla="*/ 811 w 4973"/>
              <a:gd name="T71" fmla="*/ 2843 h 5865"/>
              <a:gd name="T72" fmla="*/ 1024 w 4973"/>
              <a:gd name="T73" fmla="*/ 2773 h 5865"/>
              <a:gd name="T74" fmla="*/ 1290 w 4973"/>
              <a:gd name="T75" fmla="*/ 2556 h 5865"/>
              <a:gd name="T76" fmla="*/ 1713 w 4973"/>
              <a:gd name="T77" fmla="*/ 2519 h 5865"/>
              <a:gd name="T78" fmla="*/ 2306 w 4973"/>
              <a:gd name="T79" fmla="*/ 2641 h 5865"/>
              <a:gd name="T80" fmla="*/ 3357 w 4973"/>
              <a:gd name="T81" fmla="*/ 3092 h 5865"/>
              <a:gd name="T82" fmla="*/ 3742 w 4973"/>
              <a:gd name="T83" fmla="*/ 3928 h 5865"/>
              <a:gd name="T84" fmla="*/ 3685 w 4973"/>
              <a:gd name="T85" fmla="*/ 4224 h 5865"/>
              <a:gd name="T86" fmla="*/ 4224 w 4973"/>
              <a:gd name="T87" fmla="*/ 4337 h 5865"/>
              <a:gd name="T88" fmla="*/ 4264 w 4973"/>
              <a:gd name="T89" fmla="*/ 5017 h 5865"/>
              <a:gd name="T90" fmla="*/ 3761 w 4973"/>
              <a:gd name="T91" fmla="*/ 5058 h 5865"/>
              <a:gd name="T92" fmla="*/ 3894 w 4973"/>
              <a:gd name="T93" fmla="*/ 5210 h 5865"/>
              <a:gd name="T94" fmla="*/ 3894 w 4973"/>
              <a:gd name="T95" fmla="*/ 5294 h 5865"/>
              <a:gd name="T96" fmla="*/ 3751 w 4973"/>
              <a:gd name="T97" fmla="*/ 5644 h 5865"/>
              <a:gd name="T98" fmla="*/ 3926 w 4973"/>
              <a:gd name="T99" fmla="*/ 5586 h 5865"/>
              <a:gd name="T100" fmla="*/ 4212 w 4973"/>
              <a:gd name="T101" fmla="*/ 5447 h 5865"/>
              <a:gd name="T102" fmla="*/ 4257 w 4973"/>
              <a:gd name="T103" fmla="*/ 5812 h 5865"/>
              <a:gd name="T104" fmla="*/ 4352 w 4973"/>
              <a:gd name="T105" fmla="*/ 5675 h 5865"/>
              <a:gd name="T106" fmla="*/ 4557 w 4973"/>
              <a:gd name="T107" fmla="*/ 5328 h 5865"/>
              <a:gd name="T108" fmla="*/ 4736 w 4973"/>
              <a:gd name="T109" fmla="*/ 5505 h 5865"/>
              <a:gd name="T110" fmla="*/ 4753 w 4973"/>
              <a:gd name="T111" fmla="*/ 5108 h 5865"/>
              <a:gd name="T112" fmla="*/ 4693 w 4973"/>
              <a:gd name="T113" fmla="*/ 4810 h 5865"/>
              <a:gd name="T114" fmla="*/ 4677 w 4973"/>
              <a:gd name="T115" fmla="*/ 4437 h 5865"/>
              <a:gd name="T116" fmla="*/ 4640 w 4973"/>
              <a:gd name="T117" fmla="*/ 4108 h 5865"/>
              <a:gd name="T118" fmla="*/ 4297 w 4973"/>
              <a:gd name="T119" fmla="*/ 3793 h 5865"/>
              <a:gd name="T120" fmla="*/ 4267 w 4973"/>
              <a:gd name="T121" fmla="*/ 3366 h 5865"/>
              <a:gd name="T122" fmla="*/ 4428 w 4973"/>
              <a:gd name="T123" fmla="*/ 2994 h 5865"/>
              <a:gd name="T124" fmla="*/ 4923 w 4973"/>
              <a:gd name="T125" fmla="*/ 2543 h 5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973" h="5865">
                <a:moveTo>
                  <a:pt x="4842" y="2253"/>
                </a:moveTo>
                <a:lnTo>
                  <a:pt x="4842" y="2253"/>
                </a:lnTo>
                <a:lnTo>
                  <a:pt x="4862" y="2257"/>
                </a:lnTo>
                <a:lnTo>
                  <a:pt x="4881" y="2259"/>
                </a:lnTo>
                <a:lnTo>
                  <a:pt x="4900" y="2260"/>
                </a:lnTo>
                <a:lnTo>
                  <a:pt x="4916" y="2259"/>
                </a:lnTo>
                <a:lnTo>
                  <a:pt x="4932" y="2257"/>
                </a:lnTo>
                <a:lnTo>
                  <a:pt x="4946" y="2254"/>
                </a:lnTo>
                <a:lnTo>
                  <a:pt x="4958" y="2249"/>
                </a:lnTo>
                <a:lnTo>
                  <a:pt x="4969" y="2243"/>
                </a:lnTo>
                <a:lnTo>
                  <a:pt x="4969" y="2243"/>
                </a:lnTo>
                <a:lnTo>
                  <a:pt x="4967" y="2217"/>
                </a:lnTo>
                <a:lnTo>
                  <a:pt x="4960" y="2157"/>
                </a:lnTo>
                <a:lnTo>
                  <a:pt x="4951" y="2084"/>
                </a:lnTo>
                <a:lnTo>
                  <a:pt x="4946" y="2052"/>
                </a:lnTo>
                <a:lnTo>
                  <a:pt x="4940" y="2024"/>
                </a:lnTo>
                <a:lnTo>
                  <a:pt x="4940" y="2024"/>
                </a:lnTo>
                <a:lnTo>
                  <a:pt x="4922" y="2027"/>
                </a:lnTo>
                <a:lnTo>
                  <a:pt x="4902" y="2030"/>
                </a:lnTo>
                <a:lnTo>
                  <a:pt x="4891" y="2030"/>
                </a:lnTo>
                <a:lnTo>
                  <a:pt x="4879" y="2030"/>
                </a:lnTo>
                <a:lnTo>
                  <a:pt x="4867" y="2029"/>
                </a:lnTo>
                <a:lnTo>
                  <a:pt x="4855" y="2027"/>
                </a:lnTo>
                <a:lnTo>
                  <a:pt x="4843" y="2024"/>
                </a:lnTo>
                <a:lnTo>
                  <a:pt x="4830" y="2020"/>
                </a:lnTo>
                <a:lnTo>
                  <a:pt x="4818" y="2015"/>
                </a:lnTo>
                <a:lnTo>
                  <a:pt x="4806" y="2008"/>
                </a:lnTo>
                <a:lnTo>
                  <a:pt x="4794" y="1998"/>
                </a:lnTo>
                <a:lnTo>
                  <a:pt x="4782" y="1988"/>
                </a:lnTo>
                <a:lnTo>
                  <a:pt x="4771" y="1976"/>
                </a:lnTo>
                <a:lnTo>
                  <a:pt x="4761" y="1962"/>
                </a:lnTo>
                <a:lnTo>
                  <a:pt x="4761" y="1962"/>
                </a:lnTo>
                <a:lnTo>
                  <a:pt x="4743" y="1933"/>
                </a:lnTo>
                <a:lnTo>
                  <a:pt x="4724" y="1905"/>
                </a:lnTo>
                <a:lnTo>
                  <a:pt x="4724" y="1905"/>
                </a:lnTo>
                <a:lnTo>
                  <a:pt x="4703" y="1877"/>
                </a:lnTo>
                <a:lnTo>
                  <a:pt x="4680" y="1849"/>
                </a:lnTo>
                <a:lnTo>
                  <a:pt x="4658" y="1823"/>
                </a:lnTo>
                <a:lnTo>
                  <a:pt x="4634" y="1797"/>
                </a:lnTo>
                <a:lnTo>
                  <a:pt x="4611" y="1773"/>
                </a:lnTo>
                <a:lnTo>
                  <a:pt x="4586" y="1750"/>
                </a:lnTo>
                <a:lnTo>
                  <a:pt x="4562" y="1727"/>
                </a:lnTo>
                <a:lnTo>
                  <a:pt x="4538" y="1707"/>
                </a:lnTo>
                <a:lnTo>
                  <a:pt x="4513" y="1687"/>
                </a:lnTo>
                <a:lnTo>
                  <a:pt x="4489" y="1667"/>
                </a:lnTo>
                <a:lnTo>
                  <a:pt x="4463" y="1649"/>
                </a:lnTo>
                <a:lnTo>
                  <a:pt x="4439" y="1630"/>
                </a:lnTo>
                <a:lnTo>
                  <a:pt x="4413" y="1614"/>
                </a:lnTo>
                <a:lnTo>
                  <a:pt x="4389" y="1598"/>
                </a:lnTo>
                <a:lnTo>
                  <a:pt x="4337" y="1566"/>
                </a:lnTo>
                <a:lnTo>
                  <a:pt x="4337" y="1566"/>
                </a:lnTo>
                <a:lnTo>
                  <a:pt x="4381" y="1543"/>
                </a:lnTo>
                <a:lnTo>
                  <a:pt x="4422" y="1521"/>
                </a:lnTo>
                <a:lnTo>
                  <a:pt x="4459" y="1498"/>
                </a:lnTo>
                <a:lnTo>
                  <a:pt x="4492" y="1477"/>
                </a:lnTo>
                <a:lnTo>
                  <a:pt x="4523" y="1455"/>
                </a:lnTo>
                <a:lnTo>
                  <a:pt x="4549" y="1434"/>
                </a:lnTo>
                <a:lnTo>
                  <a:pt x="4574" y="1414"/>
                </a:lnTo>
                <a:lnTo>
                  <a:pt x="4595" y="1393"/>
                </a:lnTo>
                <a:lnTo>
                  <a:pt x="4615" y="1374"/>
                </a:lnTo>
                <a:lnTo>
                  <a:pt x="4632" y="1355"/>
                </a:lnTo>
                <a:lnTo>
                  <a:pt x="4647" y="1337"/>
                </a:lnTo>
                <a:lnTo>
                  <a:pt x="4661" y="1319"/>
                </a:lnTo>
                <a:lnTo>
                  <a:pt x="4673" y="1303"/>
                </a:lnTo>
                <a:lnTo>
                  <a:pt x="4683" y="1288"/>
                </a:lnTo>
                <a:lnTo>
                  <a:pt x="4700" y="1260"/>
                </a:lnTo>
                <a:lnTo>
                  <a:pt x="4700" y="1260"/>
                </a:lnTo>
                <a:lnTo>
                  <a:pt x="4708" y="1248"/>
                </a:lnTo>
                <a:lnTo>
                  <a:pt x="4714" y="1234"/>
                </a:lnTo>
                <a:lnTo>
                  <a:pt x="4721" y="1218"/>
                </a:lnTo>
                <a:lnTo>
                  <a:pt x="4727" y="1202"/>
                </a:lnTo>
                <a:lnTo>
                  <a:pt x="4733" y="1183"/>
                </a:lnTo>
                <a:lnTo>
                  <a:pt x="4739" y="1164"/>
                </a:lnTo>
                <a:lnTo>
                  <a:pt x="4743" y="1144"/>
                </a:lnTo>
                <a:lnTo>
                  <a:pt x="4749" y="1123"/>
                </a:lnTo>
                <a:lnTo>
                  <a:pt x="4753" y="1101"/>
                </a:lnTo>
                <a:lnTo>
                  <a:pt x="4756" y="1078"/>
                </a:lnTo>
                <a:lnTo>
                  <a:pt x="4758" y="1054"/>
                </a:lnTo>
                <a:lnTo>
                  <a:pt x="4759" y="1030"/>
                </a:lnTo>
                <a:lnTo>
                  <a:pt x="4760" y="1005"/>
                </a:lnTo>
                <a:lnTo>
                  <a:pt x="4759" y="980"/>
                </a:lnTo>
                <a:lnTo>
                  <a:pt x="4758" y="954"/>
                </a:lnTo>
                <a:lnTo>
                  <a:pt x="4755" y="928"/>
                </a:lnTo>
                <a:lnTo>
                  <a:pt x="4751" y="902"/>
                </a:lnTo>
                <a:lnTo>
                  <a:pt x="4745" y="876"/>
                </a:lnTo>
                <a:lnTo>
                  <a:pt x="4738" y="849"/>
                </a:lnTo>
                <a:lnTo>
                  <a:pt x="4730" y="824"/>
                </a:lnTo>
                <a:lnTo>
                  <a:pt x="4720" y="797"/>
                </a:lnTo>
                <a:lnTo>
                  <a:pt x="4709" y="771"/>
                </a:lnTo>
                <a:lnTo>
                  <a:pt x="4695" y="746"/>
                </a:lnTo>
                <a:lnTo>
                  <a:pt x="4681" y="721"/>
                </a:lnTo>
                <a:lnTo>
                  <a:pt x="4665" y="697"/>
                </a:lnTo>
                <a:lnTo>
                  <a:pt x="4646" y="672"/>
                </a:lnTo>
                <a:lnTo>
                  <a:pt x="4625" y="649"/>
                </a:lnTo>
                <a:lnTo>
                  <a:pt x="4602" y="626"/>
                </a:lnTo>
                <a:lnTo>
                  <a:pt x="4578" y="605"/>
                </a:lnTo>
                <a:lnTo>
                  <a:pt x="4551" y="584"/>
                </a:lnTo>
                <a:lnTo>
                  <a:pt x="4522" y="565"/>
                </a:lnTo>
                <a:lnTo>
                  <a:pt x="4490" y="545"/>
                </a:lnTo>
                <a:lnTo>
                  <a:pt x="4490" y="545"/>
                </a:lnTo>
                <a:lnTo>
                  <a:pt x="4466" y="533"/>
                </a:lnTo>
                <a:lnTo>
                  <a:pt x="4443" y="522"/>
                </a:lnTo>
                <a:lnTo>
                  <a:pt x="4419" y="512"/>
                </a:lnTo>
                <a:lnTo>
                  <a:pt x="4396" y="503"/>
                </a:lnTo>
                <a:lnTo>
                  <a:pt x="4372" y="494"/>
                </a:lnTo>
                <a:lnTo>
                  <a:pt x="4348" y="487"/>
                </a:lnTo>
                <a:lnTo>
                  <a:pt x="4325" y="481"/>
                </a:lnTo>
                <a:lnTo>
                  <a:pt x="4302" y="476"/>
                </a:lnTo>
                <a:lnTo>
                  <a:pt x="4278" y="471"/>
                </a:lnTo>
                <a:lnTo>
                  <a:pt x="4256" y="468"/>
                </a:lnTo>
                <a:lnTo>
                  <a:pt x="4233" y="465"/>
                </a:lnTo>
                <a:lnTo>
                  <a:pt x="4211" y="463"/>
                </a:lnTo>
                <a:lnTo>
                  <a:pt x="4188" y="461"/>
                </a:lnTo>
                <a:lnTo>
                  <a:pt x="4167" y="461"/>
                </a:lnTo>
                <a:lnTo>
                  <a:pt x="4145" y="461"/>
                </a:lnTo>
                <a:lnTo>
                  <a:pt x="4124" y="461"/>
                </a:lnTo>
                <a:lnTo>
                  <a:pt x="4083" y="464"/>
                </a:lnTo>
                <a:lnTo>
                  <a:pt x="4044" y="468"/>
                </a:lnTo>
                <a:lnTo>
                  <a:pt x="4007" y="474"/>
                </a:lnTo>
                <a:lnTo>
                  <a:pt x="3973" y="482"/>
                </a:lnTo>
                <a:lnTo>
                  <a:pt x="3941" y="490"/>
                </a:lnTo>
                <a:lnTo>
                  <a:pt x="3912" y="499"/>
                </a:lnTo>
                <a:lnTo>
                  <a:pt x="3887" y="510"/>
                </a:lnTo>
                <a:lnTo>
                  <a:pt x="3864" y="519"/>
                </a:lnTo>
                <a:lnTo>
                  <a:pt x="3864" y="519"/>
                </a:lnTo>
                <a:lnTo>
                  <a:pt x="3844" y="529"/>
                </a:lnTo>
                <a:lnTo>
                  <a:pt x="3824" y="539"/>
                </a:lnTo>
                <a:lnTo>
                  <a:pt x="3806" y="551"/>
                </a:lnTo>
                <a:lnTo>
                  <a:pt x="3787" y="562"/>
                </a:lnTo>
                <a:lnTo>
                  <a:pt x="3769" y="575"/>
                </a:lnTo>
                <a:lnTo>
                  <a:pt x="3752" y="587"/>
                </a:lnTo>
                <a:lnTo>
                  <a:pt x="3735" y="602"/>
                </a:lnTo>
                <a:lnTo>
                  <a:pt x="3719" y="616"/>
                </a:lnTo>
                <a:lnTo>
                  <a:pt x="3703" y="631"/>
                </a:lnTo>
                <a:lnTo>
                  <a:pt x="3687" y="647"/>
                </a:lnTo>
                <a:lnTo>
                  <a:pt x="3673" y="663"/>
                </a:lnTo>
                <a:lnTo>
                  <a:pt x="3659" y="679"/>
                </a:lnTo>
                <a:lnTo>
                  <a:pt x="3645" y="697"/>
                </a:lnTo>
                <a:lnTo>
                  <a:pt x="3633" y="715"/>
                </a:lnTo>
                <a:lnTo>
                  <a:pt x="3621" y="734"/>
                </a:lnTo>
                <a:lnTo>
                  <a:pt x="3609" y="753"/>
                </a:lnTo>
                <a:lnTo>
                  <a:pt x="3599" y="772"/>
                </a:lnTo>
                <a:lnTo>
                  <a:pt x="3589" y="793"/>
                </a:lnTo>
                <a:lnTo>
                  <a:pt x="3581" y="813"/>
                </a:lnTo>
                <a:lnTo>
                  <a:pt x="3573" y="835"/>
                </a:lnTo>
                <a:lnTo>
                  <a:pt x="3565" y="856"/>
                </a:lnTo>
                <a:lnTo>
                  <a:pt x="3559" y="879"/>
                </a:lnTo>
                <a:lnTo>
                  <a:pt x="3554" y="901"/>
                </a:lnTo>
                <a:lnTo>
                  <a:pt x="3550" y="924"/>
                </a:lnTo>
                <a:lnTo>
                  <a:pt x="3547" y="947"/>
                </a:lnTo>
                <a:lnTo>
                  <a:pt x="3545" y="972"/>
                </a:lnTo>
                <a:lnTo>
                  <a:pt x="3544" y="996"/>
                </a:lnTo>
                <a:lnTo>
                  <a:pt x="3543" y="1021"/>
                </a:lnTo>
                <a:lnTo>
                  <a:pt x="3544" y="1046"/>
                </a:lnTo>
                <a:lnTo>
                  <a:pt x="3546" y="1072"/>
                </a:lnTo>
                <a:lnTo>
                  <a:pt x="3550" y="1098"/>
                </a:lnTo>
                <a:lnTo>
                  <a:pt x="3554" y="1124"/>
                </a:lnTo>
                <a:lnTo>
                  <a:pt x="3554" y="1124"/>
                </a:lnTo>
                <a:lnTo>
                  <a:pt x="3559" y="1148"/>
                </a:lnTo>
                <a:lnTo>
                  <a:pt x="3564" y="1169"/>
                </a:lnTo>
                <a:lnTo>
                  <a:pt x="3571" y="1191"/>
                </a:lnTo>
                <a:lnTo>
                  <a:pt x="3577" y="1211"/>
                </a:lnTo>
                <a:lnTo>
                  <a:pt x="3585" y="1231"/>
                </a:lnTo>
                <a:lnTo>
                  <a:pt x="3592" y="1249"/>
                </a:lnTo>
                <a:lnTo>
                  <a:pt x="3601" y="1267"/>
                </a:lnTo>
                <a:lnTo>
                  <a:pt x="3610" y="1285"/>
                </a:lnTo>
                <a:lnTo>
                  <a:pt x="3620" y="1301"/>
                </a:lnTo>
                <a:lnTo>
                  <a:pt x="3631" y="1316"/>
                </a:lnTo>
                <a:lnTo>
                  <a:pt x="3641" y="1332"/>
                </a:lnTo>
                <a:lnTo>
                  <a:pt x="3652" y="1347"/>
                </a:lnTo>
                <a:lnTo>
                  <a:pt x="3665" y="1361"/>
                </a:lnTo>
                <a:lnTo>
                  <a:pt x="3677" y="1375"/>
                </a:lnTo>
                <a:lnTo>
                  <a:pt x="3690" y="1388"/>
                </a:lnTo>
                <a:lnTo>
                  <a:pt x="3704" y="1400"/>
                </a:lnTo>
                <a:lnTo>
                  <a:pt x="3732" y="1425"/>
                </a:lnTo>
                <a:lnTo>
                  <a:pt x="3763" y="1447"/>
                </a:lnTo>
                <a:lnTo>
                  <a:pt x="3795" y="1469"/>
                </a:lnTo>
                <a:lnTo>
                  <a:pt x="3828" y="1489"/>
                </a:lnTo>
                <a:lnTo>
                  <a:pt x="3863" y="1510"/>
                </a:lnTo>
                <a:lnTo>
                  <a:pt x="3899" y="1529"/>
                </a:lnTo>
                <a:lnTo>
                  <a:pt x="3976" y="1567"/>
                </a:lnTo>
                <a:lnTo>
                  <a:pt x="3976" y="1567"/>
                </a:lnTo>
                <a:lnTo>
                  <a:pt x="3945" y="1584"/>
                </a:lnTo>
                <a:lnTo>
                  <a:pt x="3916" y="1601"/>
                </a:lnTo>
                <a:lnTo>
                  <a:pt x="3890" y="1618"/>
                </a:lnTo>
                <a:lnTo>
                  <a:pt x="3864" y="1636"/>
                </a:lnTo>
                <a:lnTo>
                  <a:pt x="3840" y="1656"/>
                </a:lnTo>
                <a:lnTo>
                  <a:pt x="3817" y="1675"/>
                </a:lnTo>
                <a:lnTo>
                  <a:pt x="3797" y="1696"/>
                </a:lnTo>
                <a:lnTo>
                  <a:pt x="3778" y="1717"/>
                </a:lnTo>
                <a:lnTo>
                  <a:pt x="3761" y="1741"/>
                </a:lnTo>
                <a:lnTo>
                  <a:pt x="3754" y="1753"/>
                </a:lnTo>
                <a:lnTo>
                  <a:pt x="3746" y="1765"/>
                </a:lnTo>
                <a:lnTo>
                  <a:pt x="3739" y="1778"/>
                </a:lnTo>
                <a:lnTo>
                  <a:pt x="3733" y="1791"/>
                </a:lnTo>
                <a:lnTo>
                  <a:pt x="3728" y="1804"/>
                </a:lnTo>
                <a:lnTo>
                  <a:pt x="3723" y="1818"/>
                </a:lnTo>
                <a:lnTo>
                  <a:pt x="3718" y="1833"/>
                </a:lnTo>
                <a:lnTo>
                  <a:pt x="3714" y="1848"/>
                </a:lnTo>
                <a:lnTo>
                  <a:pt x="3711" y="1863"/>
                </a:lnTo>
                <a:lnTo>
                  <a:pt x="3708" y="1879"/>
                </a:lnTo>
                <a:lnTo>
                  <a:pt x="3706" y="1895"/>
                </a:lnTo>
                <a:lnTo>
                  <a:pt x="3705" y="1912"/>
                </a:lnTo>
                <a:lnTo>
                  <a:pt x="3704" y="1930"/>
                </a:lnTo>
                <a:lnTo>
                  <a:pt x="3703" y="1947"/>
                </a:lnTo>
                <a:lnTo>
                  <a:pt x="3703" y="1947"/>
                </a:lnTo>
                <a:lnTo>
                  <a:pt x="3704" y="1970"/>
                </a:lnTo>
                <a:lnTo>
                  <a:pt x="3707" y="1993"/>
                </a:lnTo>
                <a:lnTo>
                  <a:pt x="3711" y="2016"/>
                </a:lnTo>
                <a:lnTo>
                  <a:pt x="3716" y="2039"/>
                </a:lnTo>
                <a:lnTo>
                  <a:pt x="3729" y="2087"/>
                </a:lnTo>
                <a:lnTo>
                  <a:pt x="3736" y="2113"/>
                </a:lnTo>
                <a:lnTo>
                  <a:pt x="3742" y="2139"/>
                </a:lnTo>
                <a:lnTo>
                  <a:pt x="3749" y="2168"/>
                </a:lnTo>
                <a:lnTo>
                  <a:pt x="3753" y="2197"/>
                </a:lnTo>
                <a:lnTo>
                  <a:pt x="3757" y="2227"/>
                </a:lnTo>
                <a:lnTo>
                  <a:pt x="3758" y="2260"/>
                </a:lnTo>
                <a:lnTo>
                  <a:pt x="3758" y="2295"/>
                </a:lnTo>
                <a:lnTo>
                  <a:pt x="3757" y="2313"/>
                </a:lnTo>
                <a:lnTo>
                  <a:pt x="3755" y="2332"/>
                </a:lnTo>
                <a:lnTo>
                  <a:pt x="3753" y="2350"/>
                </a:lnTo>
                <a:lnTo>
                  <a:pt x="3750" y="2371"/>
                </a:lnTo>
                <a:lnTo>
                  <a:pt x="3745" y="2391"/>
                </a:lnTo>
                <a:lnTo>
                  <a:pt x="3741" y="2411"/>
                </a:lnTo>
                <a:lnTo>
                  <a:pt x="3741" y="2411"/>
                </a:lnTo>
                <a:lnTo>
                  <a:pt x="3741" y="2413"/>
                </a:lnTo>
                <a:lnTo>
                  <a:pt x="3741" y="2414"/>
                </a:lnTo>
                <a:lnTo>
                  <a:pt x="3743" y="2414"/>
                </a:lnTo>
                <a:lnTo>
                  <a:pt x="3745" y="2416"/>
                </a:lnTo>
                <a:lnTo>
                  <a:pt x="3753" y="2413"/>
                </a:lnTo>
                <a:lnTo>
                  <a:pt x="3762" y="2411"/>
                </a:lnTo>
                <a:lnTo>
                  <a:pt x="3785" y="2401"/>
                </a:lnTo>
                <a:lnTo>
                  <a:pt x="3814" y="2389"/>
                </a:lnTo>
                <a:lnTo>
                  <a:pt x="3842" y="2374"/>
                </a:lnTo>
                <a:lnTo>
                  <a:pt x="3867" y="2360"/>
                </a:lnTo>
                <a:lnTo>
                  <a:pt x="3886" y="2349"/>
                </a:lnTo>
                <a:lnTo>
                  <a:pt x="3891" y="2345"/>
                </a:lnTo>
                <a:lnTo>
                  <a:pt x="3894" y="2343"/>
                </a:lnTo>
                <a:lnTo>
                  <a:pt x="3894" y="2343"/>
                </a:lnTo>
                <a:lnTo>
                  <a:pt x="3903" y="2319"/>
                </a:lnTo>
                <a:lnTo>
                  <a:pt x="3910" y="2296"/>
                </a:lnTo>
                <a:lnTo>
                  <a:pt x="3916" y="2272"/>
                </a:lnTo>
                <a:lnTo>
                  <a:pt x="3921" y="2248"/>
                </a:lnTo>
                <a:lnTo>
                  <a:pt x="3925" y="2224"/>
                </a:lnTo>
                <a:lnTo>
                  <a:pt x="3928" y="2201"/>
                </a:lnTo>
                <a:lnTo>
                  <a:pt x="3930" y="2178"/>
                </a:lnTo>
                <a:lnTo>
                  <a:pt x="3932" y="2156"/>
                </a:lnTo>
                <a:lnTo>
                  <a:pt x="3932" y="2117"/>
                </a:lnTo>
                <a:lnTo>
                  <a:pt x="3931" y="2086"/>
                </a:lnTo>
                <a:lnTo>
                  <a:pt x="3928" y="2059"/>
                </a:lnTo>
                <a:lnTo>
                  <a:pt x="3928" y="2059"/>
                </a:lnTo>
                <a:lnTo>
                  <a:pt x="3939" y="2068"/>
                </a:lnTo>
                <a:lnTo>
                  <a:pt x="3947" y="2079"/>
                </a:lnTo>
                <a:lnTo>
                  <a:pt x="3954" y="2091"/>
                </a:lnTo>
                <a:lnTo>
                  <a:pt x="3960" y="2105"/>
                </a:lnTo>
                <a:lnTo>
                  <a:pt x="3964" y="2120"/>
                </a:lnTo>
                <a:lnTo>
                  <a:pt x="3968" y="2135"/>
                </a:lnTo>
                <a:lnTo>
                  <a:pt x="3971" y="2152"/>
                </a:lnTo>
                <a:lnTo>
                  <a:pt x="3973" y="2168"/>
                </a:lnTo>
                <a:lnTo>
                  <a:pt x="3975" y="2185"/>
                </a:lnTo>
                <a:lnTo>
                  <a:pt x="3976" y="2203"/>
                </a:lnTo>
                <a:lnTo>
                  <a:pt x="3976" y="2219"/>
                </a:lnTo>
                <a:lnTo>
                  <a:pt x="3975" y="2237"/>
                </a:lnTo>
                <a:lnTo>
                  <a:pt x="3971" y="2268"/>
                </a:lnTo>
                <a:lnTo>
                  <a:pt x="3965" y="2297"/>
                </a:lnTo>
                <a:lnTo>
                  <a:pt x="3965" y="2297"/>
                </a:lnTo>
                <a:lnTo>
                  <a:pt x="3982" y="2288"/>
                </a:lnTo>
                <a:lnTo>
                  <a:pt x="3998" y="2276"/>
                </a:lnTo>
                <a:lnTo>
                  <a:pt x="4016" y="2263"/>
                </a:lnTo>
                <a:lnTo>
                  <a:pt x="4036" y="2249"/>
                </a:lnTo>
                <a:lnTo>
                  <a:pt x="4053" y="2234"/>
                </a:lnTo>
                <a:lnTo>
                  <a:pt x="4061" y="2226"/>
                </a:lnTo>
                <a:lnTo>
                  <a:pt x="4068" y="2219"/>
                </a:lnTo>
                <a:lnTo>
                  <a:pt x="4072" y="2212"/>
                </a:lnTo>
                <a:lnTo>
                  <a:pt x="4075" y="2206"/>
                </a:lnTo>
                <a:lnTo>
                  <a:pt x="4075" y="2206"/>
                </a:lnTo>
                <a:lnTo>
                  <a:pt x="4083" y="2176"/>
                </a:lnTo>
                <a:lnTo>
                  <a:pt x="4090" y="2148"/>
                </a:lnTo>
                <a:lnTo>
                  <a:pt x="4094" y="2121"/>
                </a:lnTo>
                <a:lnTo>
                  <a:pt x="4096" y="2095"/>
                </a:lnTo>
                <a:lnTo>
                  <a:pt x="4096" y="2071"/>
                </a:lnTo>
                <a:lnTo>
                  <a:pt x="4095" y="2047"/>
                </a:lnTo>
                <a:lnTo>
                  <a:pt x="4093" y="2025"/>
                </a:lnTo>
                <a:lnTo>
                  <a:pt x="4090" y="2003"/>
                </a:lnTo>
                <a:lnTo>
                  <a:pt x="4085" y="1983"/>
                </a:lnTo>
                <a:lnTo>
                  <a:pt x="4080" y="1964"/>
                </a:lnTo>
                <a:lnTo>
                  <a:pt x="4075" y="1945"/>
                </a:lnTo>
                <a:lnTo>
                  <a:pt x="4069" y="1928"/>
                </a:lnTo>
                <a:lnTo>
                  <a:pt x="4055" y="1894"/>
                </a:lnTo>
                <a:lnTo>
                  <a:pt x="4043" y="1862"/>
                </a:lnTo>
                <a:lnTo>
                  <a:pt x="4043" y="1862"/>
                </a:lnTo>
                <a:lnTo>
                  <a:pt x="4038" y="1847"/>
                </a:lnTo>
                <a:lnTo>
                  <a:pt x="4035" y="1832"/>
                </a:lnTo>
                <a:lnTo>
                  <a:pt x="4034" y="1817"/>
                </a:lnTo>
                <a:lnTo>
                  <a:pt x="4035" y="1802"/>
                </a:lnTo>
                <a:lnTo>
                  <a:pt x="4037" y="1788"/>
                </a:lnTo>
                <a:lnTo>
                  <a:pt x="4041" y="1773"/>
                </a:lnTo>
                <a:lnTo>
                  <a:pt x="4046" y="1759"/>
                </a:lnTo>
                <a:lnTo>
                  <a:pt x="4053" y="1746"/>
                </a:lnTo>
                <a:lnTo>
                  <a:pt x="4061" y="1733"/>
                </a:lnTo>
                <a:lnTo>
                  <a:pt x="4071" y="1719"/>
                </a:lnTo>
                <a:lnTo>
                  <a:pt x="4081" y="1707"/>
                </a:lnTo>
                <a:lnTo>
                  <a:pt x="4092" y="1696"/>
                </a:lnTo>
                <a:lnTo>
                  <a:pt x="4103" y="1684"/>
                </a:lnTo>
                <a:lnTo>
                  <a:pt x="4117" y="1673"/>
                </a:lnTo>
                <a:lnTo>
                  <a:pt x="4130" y="1664"/>
                </a:lnTo>
                <a:lnTo>
                  <a:pt x="4145" y="1655"/>
                </a:lnTo>
                <a:lnTo>
                  <a:pt x="4145" y="1655"/>
                </a:lnTo>
                <a:lnTo>
                  <a:pt x="4180" y="1674"/>
                </a:lnTo>
                <a:lnTo>
                  <a:pt x="4215" y="1695"/>
                </a:lnTo>
                <a:lnTo>
                  <a:pt x="4251" y="1716"/>
                </a:lnTo>
                <a:lnTo>
                  <a:pt x="4286" y="1740"/>
                </a:lnTo>
                <a:lnTo>
                  <a:pt x="4286" y="1740"/>
                </a:lnTo>
                <a:lnTo>
                  <a:pt x="4307" y="1754"/>
                </a:lnTo>
                <a:lnTo>
                  <a:pt x="4341" y="1779"/>
                </a:lnTo>
                <a:lnTo>
                  <a:pt x="4361" y="1794"/>
                </a:lnTo>
                <a:lnTo>
                  <a:pt x="4382" y="1812"/>
                </a:lnTo>
                <a:lnTo>
                  <a:pt x="4405" y="1832"/>
                </a:lnTo>
                <a:lnTo>
                  <a:pt x="4430" y="1853"/>
                </a:lnTo>
                <a:lnTo>
                  <a:pt x="4453" y="1877"/>
                </a:lnTo>
                <a:lnTo>
                  <a:pt x="4478" y="1901"/>
                </a:lnTo>
                <a:lnTo>
                  <a:pt x="4501" y="1928"/>
                </a:lnTo>
                <a:lnTo>
                  <a:pt x="4524" y="1956"/>
                </a:lnTo>
                <a:lnTo>
                  <a:pt x="4545" y="1985"/>
                </a:lnTo>
                <a:lnTo>
                  <a:pt x="4564" y="2016"/>
                </a:lnTo>
                <a:lnTo>
                  <a:pt x="4574" y="2031"/>
                </a:lnTo>
                <a:lnTo>
                  <a:pt x="4582" y="2047"/>
                </a:lnTo>
                <a:lnTo>
                  <a:pt x="4590" y="2064"/>
                </a:lnTo>
                <a:lnTo>
                  <a:pt x="4596" y="2080"/>
                </a:lnTo>
                <a:lnTo>
                  <a:pt x="4596" y="2080"/>
                </a:lnTo>
                <a:lnTo>
                  <a:pt x="4606" y="2106"/>
                </a:lnTo>
                <a:lnTo>
                  <a:pt x="4616" y="2130"/>
                </a:lnTo>
                <a:lnTo>
                  <a:pt x="4624" y="2155"/>
                </a:lnTo>
                <a:lnTo>
                  <a:pt x="4630" y="2178"/>
                </a:lnTo>
                <a:lnTo>
                  <a:pt x="4636" y="2202"/>
                </a:lnTo>
                <a:lnTo>
                  <a:pt x="4641" y="2224"/>
                </a:lnTo>
                <a:lnTo>
                  <a:pt x="4645" y="2246"/>
                </a:lnTo>
                <a:lnTo>
                  <a:pt x="4649" y="2266"/>
                </a:lnTo>
                <a:lnTo>
                  <a:pt x="4651" y="2287"/>
                </a:lnTo>
                <a:lnTo>
                  <a:pt x="4653" y="2306"/>
                </a:lnTo>
                <a:lnTo>
                  <a:pt x="4654" y="2325"/>
                </a:lnTo>
                <a:lnTo>
                  <a:pt x="4655" y="2343"/>
                </a:lnTo>
                <a:lnTo>
                  <a:pt x="4654" y="2377"/>
                </a:lnTo>
                <a:lnTo>
                  <a:pt x="4652" y="2408"/>
                </a:lnTo>
                <a:lnTo>
                  <a:pt x="4648" y="2437"/>
                </a:lnTo>
                <a:lnTo>
                  <a:pt x="4642" y="2464"/>
                </a:lnTo>
                <a:lnTo>
                  <a:pt x="4635" y="2487"/>
                </a:lnTo>
                <a:lnTo>
                  <a:pt x="4628" y="2509"/>
                </a:lnTo>
                <a:lnTo>
                  <a:pt x="4620" y="2527"/>
                </a:lnTo>
                <a:lnTo>
                  <a:pt x="4612" y="2544"/>
                </a:lnTo>
                <a:lnTo>
                  <a:pt x="4603" y="2559"/>
                </a:lnTo>
                <a:lnTo>
                  <a:pt x="4596" y="2570"/>
                </a:lnTo>
                <a:lnTo>
                  <a:pt x="4596" y="2570"/>
                </a:lnTo>
                <a:lnTo>
                  <a:pt x="4582" y="2590"/>
                </a:lnTo>
                <a:lnTo>
                  <a:pt x="4568" y="2611"/>
                </a:lnTo>
                <a:lnTo>
                  <a:pt x="4553" y="2629"/>
                </a:lnTo>
                <a:lnTo>
                  <a:pt x="4538" y="2648"/>
                </a:lnTo>
                <a:lnTo>
                  <a:pt x="4522" y="2665"/>
                </a:lnTo>
                <a:lnTo>
                  <a:pt x="4505" y="2681"/>
                </a:lnTo>
                <a:lnTo>
                  <a:pt x="4487" y="2697"/>
                </a:lnTo>
                <a:lnTo>
                  <a:pt x="4469" y="2711"/>
                </a:lnTo>
                <a:lnTo>
                  <a:pt x="4450" y="2724"/>
                </a:lnTo>
                <a:lnTo>
                  <a:pt x="4430" y="2736"/>
                </a:lnTo>
                <a:lnTo>
                  <a:pt x="4409" y="2747"/>
                </a:lnTo>
                <a:lnTo>
                  <a:pt x="4388" y="2756"/>
                </a:lnTo>
                <a:lnTo>
                  <a:pt x="4364" y="2764"/>
                </a:lnTo>
                <a:lnTo>
                  <a:pt x="4341" y="2771"/>
                </a:lnTo>
                <a:lnTo>
                  <a:pt x="4316" y="2776"/>
                </a:lnTo>
                <a:lnTo>
                  <a:pt x="4290" y="2779"/>
                </a:lnTo>
                <a:lnTo>
                  <a:pt x="4290" y="2779"/>
                </a:lnTo>
                <a:lnTo>
                  <a:pt x="4283" y="2778"/>
                </a:lnTo>
                <a:lnTo>
                  <a:pt x="4275" y="2778"/>
                </a:lnTo>
                <a:lnTo>
                  <a:pt x="4275" y="2778"/>
                </a:lnTo>
                <a:lnTo>
                  <a:pt x="4242" y="2779"/>
                </a:lnTo>
                <a:lnTo>
                  <a:pt x="4213" y="2779"/>
                </a:lnTo>
                <a:lnTo>
                  <a:pt x="4185" y="2778"/>
                </a:lnTo>
                <a:lnTo>
                  <a:pt x="4159" y="2775"/>
                </a:lnTo>
                <a:lnTo>
                  <a:pt x="4159" y="2775"/>
                </a:lnTo>
                <a:lnTo>
                  <a:pt x="4131" y="2770"/>
                </a:lnTo>
                <a:lnTo>
                  <a:pt x="4103" y="2765"/>
                </a:lnTo>
                <a:lnTo>
                  <a:pt x="4077" y="2758"/>
                </a:lnTo>
                <a:lnTo>
                  <a:pt x="4052" y="2751"/>
                </a:lnTo>
                <a:lnTo>
                  <a:pt x="4052" y="2751"/>
                </a:lnTo>
                <a:lnTo>
                  <a:pt x="4009" y="2736"/>
                </a:lnTo>
                <a:lnTo>
                  <a:pt x="3965" y="2717"/>
                </a:lnTo>
                <a:lnTo>
                  <a:pt x="3965" y="2717"/>
                </a:lnTo>
                <a:lnTo>
                  <a:pt x="3925" y="2697"/>
                </a:lnTo>
                <a:lnTo>
                  <a:pt x="3874" y="2669"/>
                </a:lnTo>
                <a:lnTo>
                  <a:pt x="3846" y="2652"/>
                </a:lnTo>
                <a:lnTo>
                  <a:pt x="3815" y="2632"/>
                </a:lnTo>
                <a:lnTo>
                  <a:pt x="3782" y="2612"/>
                </a:lnTo>
                <a:lnTo>
                  <a:pt x="3748" y="2588"/>
                </a:lnTo>
                <a:lnTo>
                  <a:pt x="3712" y="2564"/>
                </a:lnTo>
                <a:lnTo>
                  <a:pt x="3676" y="2536"/>
                </a:lnTo>
                <a:lnTo>
                  <a:pt x="3638" y="2508"/>
                </a:lnTo>
                <a:lnTo>
                  <a:pt x="3601" y="2477"/>
                </a:lnTo>
                <a:lnTo>
                  <a:pt x="3563" y="2444"/>
                </a:lnTo>
                <a:lnTo>
                  <a:pt x="3526" y="2409"/>
                </a:lnTo>
                <a:lnTo>
                  <a:pt x="3488" y="2373"/>
                </a:lnTo>
                <a:lnTo>
                  <a:pt x="3451" y="2335"/>
                </a:lnTo>
                <a:lnTo>
                  <a:pt x="3451" y="2335"/>
                </a:lnTo>
                <a:lnTo>
                  <a:pt x="3394" y="2271"/>
                </a:lnTo>
                <a:lnTo>
                  <a:pt x="3342" y="2212"/>
                </a:lnTo>
                <a:lnTo>
                  <a:pt x="3295" y="2157"/>
                </a:lnTo>
                <a:lnTo>
                  <a:pt x="3253" y="2107"/>
                </a:lnTo>
                <a:lnTo>
                  <a:pt x="3215" y="2060"/>
                </a:lnTo>
                <a:lnTo>
                  <a:pt x="3180" y="2017"/>
                </a:lnTo>
                <a:lnTo>
                  <a:pt x="3120" y="1940"/>
                </a:lnTo>
                <a:lnTo>
                  <a:pt x="3120" y="1940"/>
                </a:lnTo>
                <a:lnTo>
                  <a:pt x="3138" y="1947"/>
                </a:lnTo>
                <a:lnTo>
                  <a:pt x="3156" y="1953"/>
                </a:lnTo>
                <a:lnTo>
                  <a:pt x="3175" y="1958"/>
                </a:lnTo>
                <a:lnTo>
                  <a:pt x="3193" y="1963"/>
                </a:lnTo>
                <a:lnTo>
                  <a:pt x="3211" y="1966"/>
                </a:lnTo>
                <a:lnTo>
                  <a:pt x="3229" y="1968"/>
                </a:lnTo>
                <a:lnTo>
                  <a:pt x="3262" y="1971"/>
                </a:lnTo>
                <a:lnTo>
                  <a:pt x="3289" y="1971"/>
                </a:lnTo>
                <a:lnTo>
                  <a:pt x="3312" y="1970"/>
                </a:lnTo>
                <a:lnTo>
                  <a:pt x="3332" y="1968"/>
                </a:lnTo>
                <a:lnTo>
                  <a:pt x="3332" y="1968"/>
                </a:lnTo>
                <a:lnTo>
                  <a:pt x="3336" y="1918"/>
                </a:lnTo>
                <a:lnTo>
                  <a:pt x="3338" y="1873"/>
                </a:lnTo>
                <a:lnTo>
                  <a:pt x="3340" y="1833"/>
                </a:lnTo>
                <a:lnTo>
                  <a:pt x="3346" y="1698"/>
                </a:lnTo>
                <a:lnTo>
                  <a:pt x="3346" y="1698"/>
                </a:lnTo>
                <a:lnTo>
                  <a:pt x="3349" y="1661"/>
                </a:lnTo>
                <a:lnTo>
                  <a:pt x="3351" y="1626"/>
                </a:lnTo>
                <a:lnTo>
                  <a:pt x="3352" y="1589"/>
                </a:lnTo>
                <a:lnTo>
                  <a:pt x="3352" y="1589"/>
                </a:lnTo>
                <a:lnTo>
                  <a:pt x="3340" y="1588"/>
                </a:lnTo>
                <a:lnTo>
                  <a:pt x="3307" y="1584"/>
                </a:lnTo>
                <a:lnTo>
                  <a:pt x="3285" y="1581"/>
                </a:lnTo>
                <a:lnTo>
                  <a:pt x="3260" y="1576"/>
                </a:lnTo>
                <a:lnTo>
                  <a:pt x="3233" y="1571"/>
                </a:lnTo>
                <a:lnTo>
                  <a:pt x="3206" y="1564"/>
                </a:lnTo>
                <a:lnTo>
                  <a:pt x="3176" y="1555"/>
                </a:lnTo>
                <a:lnTo>
                  <a:pt x="3147" y="1544"/>
                </a:lnTo>
                <a:lnTo>
                  <a:pt x="3120" y="1532"/>
                </a:lnTo>
                <a:lnTo>
                  <a:pt x="3106" y="1526"/>
                </a:lnTo>
                <a:lnTo>
                  <a:pt x="3093" y="1519"/>
                </a:lnTo>
                <a:lnTo>
                  <a:pt x="3081" y="1511"/>
                </a:lnTo>
                <a:lnTo>
                  <a:pt x="3070" y="1502"/>
                </a:lnTo>
                <a:lnTo>
                  <a:pt x="3058" y="1493"/>
                </a:lnTo>
                <a:lnTo>
                  <a:pt x="3049" y="1484"/>
                </a:lnTo>
                <a:lnTo>
                  <a:pt x="3040" y="1474"/>
                </a:lnTo>
                <a:lnTo>
                  <a:pt x="3032" y="1463"/>
                </a:lnTo>
                <a:lnTo>
                  <a:pt x="3025" y="1451"/>
                </a:lnTo>
                <a:lnTo>
                  <a:pt x="3019" y="1439"/>
                </a:lnTo>
                <a:lnTo>
                  <a:pt x="3019" y="1439"/>
                </a:lnTo>
                <a:lnTo>
                  <a:pt x="3030" y="1445"/>
                </a:lnTo>
                <a:lnTo>
                  <a:pt x="3042" y="1450"/>
                </a:lnTo>
                <a:lnTo>
                  <a:pt x="3059" y="1457"/>
                </a:lnTo>
                <a:lnTo>
                  <a:pt x="3081" y="1465"/>
                </a:lnTo>
                <a:lnTo>
                  <a:pt x="3106" y="1472"/>
                </a:lnTo>
                <a:lnTo>
                  <a:pt x="3136" y="1477"/>
                </a:lnTo>
                <a:lnTo>
                  <a:pt x="3152" y="1479"/>
                </a:lnTo>
                <a:lnTo>
                  <a:pt x="3169" y="1480"/>
                </a:lnTo>
                <a:lnTo>
                  <a:pt x="3169" y="1480"/>
                </a:lnTo>
                <a:lnTo>
                  <a:pt x="3201" y="1481"/>
                </a:lnTo>
                <a:lnTo>
                  <a:pt x="3234" y="1481"/>
                </a:lnTo>
                <a:lnTo>
                  <a:pt x="3266" y="1479"/>
                </a:lnTo>
                <a:lnTo>
                  <a:pt x="3295" y="1477"/>
                </a:lnTo>
                <a:lnTo>
                  <a:pt x="3340" y="1471"/>
                </a:lnTo>
                <a:lnTo>
                  <a:pt x="3357" y="1469"/>
                </a:lnTo>
                <a:lnTo>
                  <a:pt x="3357" y="1469"/>
                </a:lnTo>
                <a:lnTo>
                  <a:pt x="3359" y="1463"/>
                </a:lnTo>
                <a:lnTo>
                  <a:pt x="3361" y="1451"/>
                </a:lnTo>
                <a:lnTo>
                  <a:pt x="3364" y="1421"/>
                </a:lnTo>
                <a:lnTo>
                  <a:pt x="3367" y="1381"/>
                </a:lnTo>
                <a:lnTo>
                  <a:pt x="3369" y="1337"/>
                </a:lnTo>
                <a:lnTo>
                  <a:pt x="3373" y="1257"/>
                </a:lnTo>
                <a:lnTo>
                  <a:pt x="3375" y="1222"/>
                </a:lnTo>
                <a:lnTo>
                  <a:pt x="3375" y="1222"/>
                </a:lnTo>
                <a:lnTo>
                  <a:pt x="3376" y="1194"/>
                </a:lnTo>
                <a:lnTo>
                  <a:pt x="3377" y="1154"/>
                </a:lnTo>
                <a:lnTo>
                  <a:pt x="3377" y="1105"/>
                </a:lnTo>
                <a:lnTo>
                  <a:pt x="3377" y="1105"/>
                </a:lnTo>
                <a:lnTo>
                  <a:pt x="3369" y="1107"/>
                </a:lnTo>
                <a:lnTo>
                  <a:pt x="3359" y="1108"/>
                </a:lnTo>
                <a:lnTo>
                  <a:pt x="3338" y="1110"/>
                </a:lnTo>
                <a:lnTo>
                  <a:pt x="3315" y="1109"/>
                </a:lnTo>
                <a:lnTo>
                  <a:pt x="3290" y="1107"/>
                </a:lnTo>
                <a:lnTo>
                  <a:pt x="3264" y="1104"/>
                </a:lnTo>
                <a:lnTo>
                  <a:pt x="3236" y="1100"/>
                </a:lnTo>
                <a:lnTo>
                  <a:pt x="3208" y="1094"/>
                </a:lnTo>
                <a:lnTo>
                  <a:pt x="3178" y="1086"/>
                </a:lnTo>
                <a:lnTo>
                  <a:pt x="3178" y="1086"/>
                </a:lnTo>
                <a:lnTo>
                  <a:pt x="3158" y="1080"/>
                </a:lnTo>
                <a:lnTo>
                  <a:pt x="3135" y="1071"/>
                </a:lnTo>
                <a:lnTo>
                  <a:pt x="3112" y="1059"/>
                </a:lnTo>
                <a:lnTo>
                  <a:pt x="3088" y="1044"/>
                </a:lnTo>
                <a:lnTo>
                  <a:pt x="3064" y="1028"/>
                </a:lnTo>
                <a:lnTo>
                  <a:pt x="3053" y="1019"/>
                </a:lnTo>
                <a:lnTo>
                  <a:pt x="3043" y="1010"/>
                </a:lnTo>
                <a:lnTo>
                  <a:pt x="3034" y="999"/>
                </a:lnTo>
                <a:lnTo>
                  <a:pt x="3025" y="990"/>
                </a:lnTo>
                <a:lnTo>
                  <a:pt x="3017" y="980"/>
                </a:lnTo>
                <a:lnTo>
                  <a:pt x="3010" y="969"/>
                </a:lnTo>
                <a:lnTo>
                  <a:pt x="3010" y="969"/>
                </a:lnTo>
                <a:lnTo>
                  <a:pt x="3022" y="974"/>
                </a:lnTo>
                <a:lnTo>
                  <a:pt x="3035" y="978"/>
                </a:lnTo>
                <a:lnTo>
                  <a:pt x="3052" y="984"/>
                </a:lnTo>
                <a:lnTo>
                  <a:pt x="3075" y="990"/>
                </a:lnTo>
                <a:lnTo>
                  <a:pt x="3101" y="996"/>
                </a:lnTo>
                <a:lnTo>
                  <a:pt x="3132" y="1003"/>
                </a:lnTo>
                <a:lnTo>
                  <a:pt x="3167" y="1008"/>
                </a:lnTo>
                <a:lnTo>
                  <a:pt x="3167" y="1008"/>
                </a:lnTo>
                <a:lnTo>
                  <a:pt x="3187" y="1010"/>
                </a:lnTo>
                <a:lnTo>
                  <a:pt x="3207" y="1011"/>
                </a:lnTo>
                <a:lnTo>
                  <a:pt x="3226" y="1012"/>
                </a:lnTo>
                <a:lnTo>
                  <a:pt x="3245" y="1012"/>
                </a:lnTo>
                <a:lnTo>
                  <a:pt x="3283" y="1010"/>
                </a:lnTo>
                <a:lnTo>
                  <a:pt x="3317" y="1007"/>
                </a:lnTo>
                <a:lnTo>
                  <a:pt x="3346" y="1001"/>
                </a:lnTo>
                <a:lnTo>
                  <a:pt x="3369" y="996"/>
                </a:lnTo>
                <a:lnTo>
                  <a:pt x="3377" y="993"/>
                </a:lnTo>
                <a:lnTo>
                  <a:pt x="3383" y="991"/>
                </a:lnTo>
                <a:lnTo>
                  <a:pt x="3388" y="988"/>
                </a:lnTo>
                <a:lnTo>
                  <a:pt x="3390" y="985"/>
                </a:lnTo>
                <a:lnTo>
                  <a:pt x="3390" y="985"/>
                </a:lnTo>
                <a:lnTo>
                  <a:pt x="3392" y="959"/>
                </a:lnTo>
                <a:lnTo>
                  <a:pt x="3393" y="925"/>
                </a:lnTo>
                <a:lnTo>
                  <a:pt x="3394" y="848"/>
                </a:lnTo>
                <a:lnTo>
                  <a:pt x="3394" y="750"/>
                </a:lnTo>
                <a:lnTo>
                  <a:pt x="3394" y="750"/>
                </a:lnTo>
                <a:lnTo>
                  <a:pt x="3399" y="686"/>
                </a:lnTo>
                <a:lnTo>
                  <a:pt x="3400" y="642"/>
                </a:lnTo>
                <a:lnTo>
                  <a:pt x="3400" y="627"/>
                </a:lnTo>
                <a:lnTo>
                  <a:pt x="3399" y="623"/>
                </a:lnTo>
                <a:lnTo>
                  <a:pt x="3398" y="622"/>
                </a:lnTo>
                <a:lnTo>
                  <a:pt x="3398" y="622"/>
                </a:lnTo>
                <a:lnTo>
                  <a:pt x="3392" y="622"/>
                </a:lnTo>
                <a:lnTo>
                  <a:pt x="3381" y="623"/>
                </a:lnTo>
                <a:lnTo>
                  <a:pt x="3368" y="623"/>
                </a:lnTo>
                <a:lnTo>
                  <a:pt x="3354" y="622"/>
                </a:lnTo>
                <a:lnTo>
                  <a:pt x="3336" y="620"/>
                </a:lnTo>
                <a:lnTo>
                  <a:pt x="3317" y="617"/>
                </a:lnTo>
                <a:lnTo>
                  <a:pt x="3297" y="612"/>
                </a:lnTo>
                <a:lnTo>
                  <a:pt x="3274" y="607"/>
                </a:lnTo>
                <a:lnTo>
                  <a:pt x="3251" y="599"/>
                </a:lnTo>
                <a:lnTo>
                  <a:pt x="3226" y="589"/>
                </a:lnTo>
                <a:lnTo>
                  <a:pt x="3200" y="578"/>
                </a:lnTo>
                <a:lnTo>
                  <a:pt x="3175" y="564"/>
                </a:lnTo>
                <a:lnTo>
                  <a:pt x="3149" y="548"/>
                </a:lnTo>
                <a:lnTo>
                  <a:pt x="3123" y="529"/>
                </a:lnTo>
                <a:lnTo>
                  <a:pt x="3110" y="519"/>
                </a:lnTo>
                <a:lnTo>
                  <a:pt x="3097" y="508"/>
                </a:lnTo>
                <a:lnTo>
                  <a:pt x="3085" y="495"/>
                </a:lnTo>
                <a:lnTo>
                  <a:pt x="3073" y="483"/>
                </a:lnTo>
                <a:lnTo>
                  <a:pt x="3073" y="483"/>
                </a:lnTo>
                <a:lnTo>
                  <a:pt x="3071" y="481"/>
                </a:lnTo>
                <a:lnTo>
                  <a:pt x="3065" y="476"/>
                </a:lnTo>
                <a:lnTo>
                  <a:pt x="3059" y="467"/>
                </a:lnTo>
                <a:lnTo>
                  <a:pt x="3056" y="461"/>
                </a:lnTo>
                <a:lnTo>
                  <a:pt x="3053" y="454"/>
                </a:lnTo>
                <a:lnTo>
                  <a:pt x="3051" y="447"/>
                </a:lnTo>
                <a:lnTo>
                  <a:pt x="3050" y="439"/>
                </a:lnTo>
                <a:lnTo>
                  <a:pt x="3049" y="430"/>
                </a:lnTo>
                <a:lnTo>
                  <a:pt x="3050" y="420"/>
                </a:lnTo>
                <a:lnTo>
                  <a:pt x="3053" y="410"/>
                </a:lnTo>
                <a:lnTo>
                  <a:pt x="3056" y="398"/>
                </a:lnTo>
                <a:lnTo>
                  <a:pt x="3062" y="386"/>
                </a:lnTo>
                <a:lnTo>
                  <a:pt x="3071" y="373"/>
                </a:lnTo>
                <a:lnTo>
                  <a:pt x="3071" y="373"/>
                </a:lnTo>
                <a:lnTo>
                  <a:pt x="2806" y="254"/>
                </a:lnTo>
                <a:lnTo>
                  <a:pt x="2806" y="254"/>
                </a:lnTo>
                <a:lnTo>
                  <a:pt x="2815" y="245"/>
                </a:lnTo>
                <a:lnTo>
                  <a:pt x="2824" y="234"/>
                </a:lnTo>
                <a:lnTo>
                  <a:pt x="2834" y="219"/>
                </a:lnTo>
                <a:lnTo>
                  <a:pt x="2845" y="203"/>
                </a:lnTo>
                <a:lnTo>
                  <a:pt x="2850" y="194"/>
                </a:lnTo>
                <a:lnTo>
                  <a:pt x="2854" y="185"/>
                </a:lnTo>
                <a:lnTo>
                  <a:pt x="2858" y="174"/>
                </a:lnTo>
                <a:lnTo>
                  <a:pt x="2861" y="164"/>
                </a:lnTo>
                <a:lnTo>
                  <a:pt x="2863" y="154"/>
                </a:lnTo>
                <a:lnTo>
                  <a:pt x="2863" y="144"/>
                </a:lnTo>
                <a:lnTo>
                  <a:pt x="2863" y="144"/>
                </a:lnTo>
                <a:lnTo>
                  <a:pt x="2863" y="132"/>
                </a:lnTo>
                <a:lnTo>
                  <a:pt x="2860" y="122"/>
                </a:lnTo>
                <a:lnTo>
                  <a:pt x="2855" y="112"/>
                </a:lnTo>
                <a:lnTo>
                  <a:pt x="2849" y="103"/>
                </a:lnTo>
                <a:lnTo>
                  <a:pt x="2841" y="94"/>
                </a:lnTo>
                <a:lnTo>
                  <a:pt x="2830" y="86"/>
                </a:lnTo>
                <a:lnTo>
                  <a:pt x="2820" y="79"/>
                </a:lnTo>
                <a:lnTo>
                  <a:pt x="2808" y="73"/>
                </a:lnTo>
                <a:lnTo>
                  <a:pt x="2795" y="68"/>
                </a:lnTo>
                <a:lnTo>
                  <a:pt x="2781" y="64"/>
                </a:lnTo>
                <a:lnTo>
                  <a:pt x="2767" y="60"/>
                </a:lnTo>
                <a:lnTo>
                  <a:pt x="2753" y="58"/>
                </a:lnTo>
                <a:lnTo>
                  <a:pt x="2738" y="56"/>
                </a:lnTo>
                <a:lnTo>
                  <a:pt x="2723" y="56"/>
                </a:lnTo>
                <a:lnTo>
                  <a:pt x="2709" y="57"/>
                </a:lnTo>
                <a:lnTo>
                  <a:pt x="2694" y="59"/>
                </a:lnTo>
                <a:lnTo>
                  <a:pt x="2694" y="59"/>
                </a:lnTo>
                <a:lnTo>
                  <a:pt x="2681" y="62"/>
                </a:lnTo>
                <a:lnTo>
                  <a:pt x="2669" y="66"/>
                </a:lnTo>
                <a:lnTo>
                  <a:pt x="2656" y="71"/>
                </a:lnTo>
                <a:lnTo>
                  <a:pt x="2644" y="77"/>
                </a:lnTo>
                <a:lnTo>
                  <a:pt x="2634" y="84"/>
                </a:lnTo>
                <a:lnTo>
                  <a:pt x="2623" y="92"/>
                </a:lnTo>
                <a:lnTo>
                  <a:pt x="2604" y="107"/>
                </a:lnTo>
                <a:lnTo>
                  <a:pt x="2589" y="122"/>
                </a:lnTo>
                <a:lnTo>
                  <a:pt x="2578" y="134"/>
                </a:lnTo>
                <a:lnTo>
                  <a:pt x="2569" y="147"/>
                </a:lnTo>
                <a:lnTo>
                  <a:pt x="2238" y="0"/>
                </a:lnTo>
                <a:lnTo>
                  <a:pt x="1977" y="263"/>
                </a:lnTo>
                <a:lnTo>
                  <a:pt x="1977" y="263"/>
                </a:lnTo>
                <a:lnTo>
                  <a:pt x="1972" y="268"/>
                </a:lnTo>
                <a:lnTo>
                  <a:pt x="1966" y="280"/>
                </a:lnTo>
                <a:lnTo>
                  <a:pt x="1963" y="287"/>
                </a:lnTo>
                <a:lnTo>
                  <a:pt x="1961" y="295"/>
                </a:lnTo>
                <a:lnTo>
                  <a:pt x="1960" y="304"/>
                </a:lnTo>
                <a:lnTo>
                  <a:pt x="1960" y="313"/>
                </a:lnTo>
                <a:lnTo>
                  <a:pt x="1964" y="337"/>
                </a:lnTo>
                <a:lnTo>
                  <a:pt x="1964" y="337"/>
                </a:lnTo>
                <a:lnTo>
                  <a:pt x="1964" y="343"/>
                </a:lnTo>
                <a:lnTo>
                  <a:pt x="1963" y="349"/>
                </a:lnTo>
                <a:lnTo>
                  <a:pt x="1962" y="354"/>
                </a:lnTo>
                <a:lnTo>
                  <a:pt x="1961" y="358"/>
                </a:lnTo>
                <a:lnTo>
                  <a:pt x="1957" y="366"/>
                </a:lnTo>
                <a:lnTo>
                  <a:pt x="1955" y="370"/>
                </a:lnTo>
                <a:lnTo>
                  <a:pt x="1955" y="370"/>
                </a:lnTo>
                <a:lnTo>
                  <a:pt x="1936" y="392"/>
                </a:lnTo>
                <a:lnTo>
                  <a:pt x="1916" y="416"/>
                </a:lnTo>
                <a:lnTo>
                  <a:pt x="1896" y="438"/>
                </a:lnTo>
                <a:lnTo>
                  <a:pt x="1876" y="461"/>
                </a:lnTo>
                <a:lnTo>
                  <a:pt x="1876" y="461"/>
                </a:lnTo>
                <a:lnTo>
                  <a:pt x="1847" y="499"/>
                </a:lnTo>
                <a:lnTo>
                  <a:pt x="1836" y="515"/>
                </a:lnTo>
                <a:lnTo>
                  <a:pt x="1828" y="527"/>
                </a:lnTo>
                <a:lnTo>
                  <a:pt x="1828" y="527"/>
                </a:lnTo>
                <a:lnTo>
                  <a:pt x="1819" y="542"/>
                </a:lnTo>
                <a:lnTo>
                  <a:pt x="1811" y="558"/>
                </a:lnTo>
                <a:lnTo>
                  <a:pt x="1799" y="583"/>
                </a:lnTo>
                <a:lnTo>
                  <a:pt x="1789" y="607"/>
                </a:lnTo>
                <a:lnTo>
                  <a:pt x="1781" y="628"/>
                </a:lnTo>
                <a:lnTo>
                  <a:pt x="1781" y="628"/>
                </a:lnTo>
                <a:lnTo>
                  <a:pt x="1780" y="631"/>
                </a:lnTo>
                <a:lnTo>
                  <a:pt x="1778" y="642"/>
                </a:lnTo>
                <a:lnTo>
                  <a:pt x="1778" y="649"/>
                </a:lnTo>
                <a:lnTo>
                  <a:pt x="1777" y="657"/>
                </a:lnTo>
                <a:lnTo>
                  <a:pt x="1778" y="666"/>
                </a:lnTo>
                <a:lnTo>
                  <a:pt x="1780" y="677"/>
                </a:lnTo>
                <a:lnTo>
                  <a:pt x="1784" y="690"/>
                </a:lnTo>
                <a:lnTo>
                  <a:pt x="1789" y="703"/>
                </a:lnTo>
                <a:lnTo>
                  <a:pt x="1797" y="716"/>
                </a:lnTo>
                <a:lnTo>
                  <a:pt x="1807" y="732"/>
                </a:lnTo>
                <a:lnTo>
                  <a:pt x="1819" y="748"/>
                </a:lnTo>
                <a:lnTo>
                  <a:pt x="1833" y="764"/>
                </a:lnTo>
                <a:lnTo>
                  <a:pt x="1852" y="782"/>
                </a:lnTo>
                <a:lnTo>
                  <a:pt x="1874" y="800"/>
                </a:lnTo>
                <a:lnTo>
                  <a:pt x="1881" y="806"/>
                </a:lnTo>
                <a:lnTo>
                  <a:pt x="1881" y="806"/>
                </a:lnTo>
                <a:lnTo>
                  <a:pt x="1894" y="789"/>
                </a:lnTo>
                <a:lnTo>
                  <a:pt x="1905" y="800"/>
                </a:lnTo>
                <a:lnTo>
                  <a:pt x="1905" y="800"/>
                </a:lnTo>
                <a:lnTo>
                  <a:pt x="1914" y="809"/>
                </a:lnTo>
                <a:lnTo>
                  <a:pt x="1926" y="820"/>
                </a:lnTo>
                <a:lnTo>
                  <a:pt x="1941" y="832"/>
                </a:lnTo>
                <a:lnTo>
                  <a:pt x="1957" y="842"/>
                </a:lnTo>
                <a:lnTo>
                  <a:pt x="1957" y="842"/>
                </a:lnTo>
                <a:lnTo>
                  <a:pt x="1959" y="835"/>
                </a:lnTo>
                <a:lnTo>
                  <a:pt x="1964" y="815"/>
                </a:lnTo>
                <a:lnTo>
                  <a:pt x="1969" y="802"/>
                </a:lnTo>
                <a:lnTo>
                  <a:pt x="1975" y="789"/>
                </a:lnTo>
                <a:lnTo>
                  <a:pt x="1983" y="775"/>
                </a:lnTo>
                <a:lnTo>
                  <a:pt x="1991" y="760"/>
                </a:lnTo>
                <a:lnTo>
                  <a:pt x="1991" y="760"/>
                </a:lnTo>
                <a:lnTo>
                  <a:pt x="2000" y="748"/>
                </a:lnTo>
                <a:lnTo>
                  <a:pt x="2011" y="736"/>
                </a:lnTo>
                <a:lnTo>
                  <a:pt x="2025" y="722"/>
                </a:lnTo>
                <a:lnTo>
                  <a:pt x="2038" y="709"/>
                </a:lnTo>
                <a:lnTo>
                  <a:pt x="2052" y="697"/>
                </a:lnTo>
                <a:lnTo>
                  <a:pt x="2065" y="686"/>
                </a:lnTo>
                <a:lnTo>
                  <a:pt x="2080" y="675"/>
                </a:lnTo>
                <a:lnTo>
                  <a:pt x="2092" y="667"/>
                </a:lnTo>
                <a:lnTo>
                  <a:pt x="2092" y="667"/>
                </a:lnTo>
                <a:lnTo>
                  <a:pt x="2107" y="658"/>
                </a:lnTo>
                <a:lnTo>
                  <a:pt x="2123" y="650"/>
                </a:lnTo>
                <a:lnTo>
                  <a:pt x="2138" y="643"/>
                </a:lnTo>
                <a:lnTo>
                  <a:pt x="2154" y="636"/>
                </a:lnTo>
                <a:lnTo>
                  <a:pt x="2170" y="632"/>
                </a:lnTo>
                <a:lnTo>
                  <a:pt x="2186" y="629"/>
                </a:lnTo>
                <a:lnTo>
                  <a:pt x="2202" y="626"/>
                </a:lnTo>
                <a:lnTo>
                  <a:pt x="2220" y="625"/>
                </a:lnTo>
                <a:lnTo>
                  <a:pt x="2220" y="625"/>
                </a:lnTo>
                <a:lnTo>
                  <a:pt x="2234" y="626"/>
                </a:lnTo>
                <a:lnTo>
                  <a:pt x="2247" y="627"/>
                </a:lnTo>
                <a:lnTo>
                  <a:pt x="2261" y="630"/>
                </a:lnTo>
                <a:lnTo>
                  <a:pt x="2272" y="635"/>
                </a:lnTo>
                <a:lnTo>
                  <a:pt x="2283" y="642"/>
                </a:lnTo>
                <a:lnTo>
                  <a:pt x="2295" y="649"/>
                </a:lnTo>
                <a:lnTo>
                  <a:pt x="2305" y="658"/>
                </a:lnTo>
                <a:lnTo>
                  <a:pt x="2316" y="668"/>
                </a:lnTo>
                <a:lnTo>
                  <a:pt x="2316" y="668"/>
                </a:lnTo>
                <a:lnTo>
                  <a:pt x="2323" y="676"/>
                </a:lnTo>
                <a:lnTo>
                  <a:pt x="2330" y="687"/>
                </a:lnTo>
                <a:lnTo>
                  <a:pt x="2336" y="698"/>
                </a:lnTo>
                <a:lnTo>
                  <a:pt x="2342" y="710"/>
                </a:lnTo>
                <a:lnTo>
                  <a:pt x="2347" y="722"/>
                </a:lnTo>
                <a:lnTo>
                  <a:pt x="2351" y="736"/>
                </a:lnTo>
                <a:lnTo>
                  <a:pt x="2355" y="750"/>
                </a:lnTo>
                <a:lnTo>
                  <a:pt x="2358" y="764"/>
                </a:lnTo>
                <a:lnTo>
                  <a:pt x="2360" y="778"/>
                </a:lnTo>
                <a:lnTo>
                  <a:pt x="2362" y="792"/>
                </a:lnTo>
                <a:lnTo>
                  <a:pt x="2363" y="805"/>
                </a:lnTo>
                <a:lnTo>
                  <a:pt x="2364" y="818"/>
                </a:lnTo>
                <a:lnTo>
                  <a:pt x="2364" y="831"/>
                </a:lnTo>
                <a:lnTo>
                  <a:pt x="2363" y="842"/>
                </a:lnTo>
                <a:lnTo>
                  <a:pt x="2361" y="852"/>
                </a:lnTo>
                <a:lnTo>
                  <a:pt x="2359" y="861"/>
                </a:lnTo>
                <a:lnTo>
                  <a:pt x="2359" y="861"/>
                </a:lnTo>
                <a:lnTo>
                  <a:pt x="2330" y="843"/>
                </a:lnTo>
                <a:lnTo>
                  <a:pt x="2330" y="843"/>
                </a:lnTo>
                <a:lnTo>
                  <a:pt x="2309" y="832"/>
                </a:lnTo>
                <a:lnTo>
                  <a:pt x="2281" y="822"/>
                </a:lnTo>
                <a:lnTo>
                  <a:pt x="2266" y="815"/>
                </a:lnTo>
                <a:lnTo>
                  <a:pt x="2251" y="811"/>
                </a:lnTo>
                <a:lnTo>
                  <a:pt x="2233" y="807"/>
                </a:lnTo>
                <a:lnTo>
                  <a:pt x="2215" y="803"/>
                </a:lnTo>
                <a:lnTo>
                  <a:pt x="2195" y="801"/>
                </a:lnTo>
                <a:lnTo>
                  <a:pt x="2175" y="800"/>
                </a:lnTo>
                <a:lnTo>
                  <a:pt x="2154" y="800"/>
                </a:lnTo>
                <a:lnTo>
                  <a:pt x="2132" y="802"/>
                </a:lnTo>
                <a:lnTo>
                  <a:pt x="2109" y="805"/>
                </a:lnTo>
                <a:lnTo>
                  <a:pt x="2086" y="810"/>
                </a:lnTo>
                <a:lnTo>
                  <a:pt x="2062" y="818"/>
                </a:lnTo>
                <a:lnTo>
                  <a:pt x="2037" y="829"/>
                </a:lnTo>
                <a:lnTo>
                  <a:pt x="2037" y="829"/>
                </a:lnTo>
                <a:lnTo>
                  <a:pt x="1995" y="847"/>
                </a:lnTo>
                <a:lnTo>
                  <a:pt x="1967" y="859"/>
                </a:lnTo>
                <a:lnTo>
                  <a:pt x="1936" y="872"/>
                </a:lnTo>
                <a:lnTo>
                  <a:pt x="1900" y="886"/>
                </a:lnTo>
                <a:lnTo>
                  <a:pt x="1860" y="900"/>
                </a:lnTo>
                <a:lnTo>
                  <a:pt x="1814" y="916"/>
                </a:lnTo>
                <a:lnTo>
                  <a:pt x="1764" y="931"/>
                </a:lnTo>
                <a:lnTo>
                  <a:pt x="1764" y="931"/>
                </a:lnTo>
                <a:lnTo>
                  <a:pt x="1737" y="938"/>
                </a:lnTo>
                <a:lnTo>
                  <a:pt x="1725" y="940"/>
                </a:lnTo>
                <a:lnTo>
                  <a:pt x="1713" y="941"/>
                </a:lnTo>
                <a:lnTo>
                  <a:pt x="1701" y="941"/>
                </a:lnTo>
                <a:lnTo>
                  <a:pt x="1691" y="941"/>
                </a:lnTo>
                <a:lnTo>
                  <a:pt x="1681" y="940"/>
                </a:lnTo>
                <a:lnTo>
                  <a:pt x="1672" y="938"/>
                </a:lnTo>
                <a:lnTo>
                  <a:pt x="1664" y="935"/>
                </a:lnTo>
                <a:lnTo>
                  <a:pt x="1655" y="930"/>
                </a:lnTo>
                <a:lnTo>
                  <a:pt x="1649" y="925"/>
                </a:lnTo>
                <a:lnTo>
                  <a:pt x="1642" y="919"/>
                </a:lnTo>
                <a:lnTo>
                  <a:pt x="1637" y="912"/>
                </a:lnTo>
                <a:lnTo>
                  <a:pt x="1633" y="902"/>
                </a:lnTo>
                <a:lnTo>
                  <a:pt x="1629" y="892"/>
                </a:lnTo>
                <a:lnTo>
                  <a:pt x="1626" y="881"/>
                </a:lnTo>
                <a:lnTo>
                  <a:pt x="1626" y="881"/>
                </a:lnTo>
                <a:lnTo>
                  <a:pt x="1624" y="871"/>
                </a:lnTo>
                <a:lnTo>
                  <a:pt x="1623" y="860"/>
                </a:lnTo>
                <a:lnTo>
                  <a:pt x="1623" y="851"/>
                </a:lnTo>
                <a:lnTo>
                  <a:pt x="1623" y="842"/>
                </a:lnTo>
                <a:lnTo>
                  <a:pt x="1625" y="826"/>
                </a:lnTo>
                <a:lnTo>
                  <a:pt x="1629" y="811"/>
                </a:lnTo>
                <a:lnTo>
                  <a:pt x="1633" y="800"/>
                </a:lnTo>
                <a:lnTo>
                  <a:pt x="1636" y="792"/>
                </a:lnTo>
                <a:lnTo>
                  <a:pt x="1640" y="784"/>
                </a:lnTo>
                <a:lnTo>
                  <a:pt x="1640" y="784"/>
                </a:lnTo>
                <a:lnTo>
                  <a:pt x="1636" y="785"/>
                </a:lnTo>
                <a:lnTo>
                  <a:pt x="1626" y="788"/>
                </a:lnTo>
                <a:lnTo>
                  <a:pt x="1610" y="794"/>
                </a:lnTo>
                <a:lnTo>
                  <a:pt x="1601" y="797"/>
                </a:lnTo>
                <a:lnTo>
                  <a:pt x="1592" y="802"/>
                </a:lnTo>
                <a:lnTo>
                  <a:pt x="1582" y="808"/>
                </a:lnTo>
                <a:lnTo>
                  <a:pt x="1573" y="814"/>
                </a:lnTo>
                <a:lnTo>
                  <a:pt x="1563" y="823"/>
                </a:lnTo>
                <a:lnTo>
                  <a:pt x="1554" y="832"/>
                </a:lnTo>
                <a:lnTo>
                  <a:pt x="1546" y="842"/>
                </a:lnTo>
                <a:lnTo>
                  <a:pt x="1539" y="853"/>
                </a:lnTo>
                <a:lnTo>
                  <a:pt x="1533" y="867"/>
                </a:lnTo>
                <a:lnTo>
                  <a:pt x="1528" y="881"/>
                </a:lnTo>
                <a:lnTo>
                  <a:pt x="1528" y="881"/>
                </a:lnTo>
                <a:lnTo>
                  <a:pt x="1525" y="896"/>
                </a:lnTo>
                <a:lnTo>
                  <a:pt x="1523" y="912"/>
                </a:lnTo>
                <a:lnTo>
                  <a:pt x="1523" y="927"/>
                </a:lnTo>
                <a:lnTo>
                  <a:pt x="1523" y="941"/>
                </a:lnTo>
                <a:lnTo>
                  <a:pt x="1524" y="954"/>
                </a:lnTo>
                <a:lnTo>
                  <a:pt x="1527" y="969"/>
                </a:lnTo>
                <a:lnTo>
                  <a:pt x="1531" y="981"/>
                </a:lnTo>
                <a:lnTo>
                  <a:pt x="1536" y="993"/>
                </a:lnTo>
                <a:lnTo>
                  <a:pt x="1542" y="1006"/>
                </a:lnTo>
                <a:lnTo>
                  <a:pt x="1549" y="1016"/>
                </a:lnTo>
                <a:lnTo>
                  <a:pt x="1557" y="1026"/>
                </a:lnTo>
                <a:lnTo>
                  <a:pt x="1568" y="1034"/>
                </a:lnTo>
                <a:lnTo>
                  <a:pt x="1578" y="1042"/>
                </a:lnTo>
                <a:lnTo>
                  <a:pt x="1590" y="1049"/>
                </a:lnTo>
                <a:lnTo>
                  <a:pt x="1602" y="1055"/>
                </a:lnTo>
                <a:lnTo>
                  <a:pt x="1617" y="1059"/>
                </a:lnTo>
                <a:lnTo>
                  <a:pt x="1617" y="1059"/>
                </a:lnTo>
                <a:lnTo>
                  <a:pt x="1630" y="1062"/>
                </a:lnTo>
                <a:lnTo>
                  <a:pt x="1644" y="1063"/>
                </a:lnTo>
                <a:lnTo>
                  <a:pt x="1660" y="1062"/>
                </a:lnTo>
                <a:lnTo>
                  <a:pt x="1676" y="1060"/>
                </a:lnTo>
                <a:lnTo>
                  <a:pt x="1692" y="1058"/>
                </a:lnTo>
                <a:lnTo>
                  <a:pt x="1710" y="1054"/>
                </a:lnTo>
                <a:lnTo>
                  <a:pt x="1727" y="1049"/>
                </a:lnTo>
                <a:lnTo>
                  <a:pt x="1744" y="1043"/>
                </a:lnTo>
                <a:lnTo>
                  <a:pt x="1779" y="1029"/>
                </a:lnTo>
                <a:lnTo>
                  <a:pt x="1815" y="1014"/>
                </a:lnTo>
                <a:lnTo>
                  <a:pt x="1849" y="997"/>
                </a:lnTo>
                <a:lnTo>
                  <a:pt x="1880" y="981"/>
                </a:lnTo>
                <a:lnTo>
                  <a:pt x="1880" y="981"/>
                </a:lnTo>
                <a:lnTo>
                  <a:pt x="1942" y="949"/>
                </a:lnTo>
                <a:lnTo>
                  <a:pt x="1979" y="931"/>
                </a:lnTo>
                <a:lnTo>
                  <a:pt x="2013" y="915"/>
                </a:lnTo>
                <a:lnTo>
                  <a:pt x="2013" y="915"/>
                </a:lnTo>
                <a:lnTo>
                  <a:pt x="2041" y="903"/>
                </a:lnTo>
                <a:lnTo>
                  <a:pt x="2054" y="899"/>
                </a:lnTo>
                <a:lnTo>
                  <a:pt x="2068" y="895"/>
                </a:lnTo>
                <a:lnTo>
                  <a:pt x="2081" y="892"/>
                </a:lnTo>
                <a:lnTo>
                  <a:pt x="2093" y="890"/>
                </a:lnTo>
                <a:lnTo>
                  <a:pt x="2105" y="888"/>
                </a:lnTo>
                <a:lnTo>
                  <a:pt x="2119" y="888"/>
                </a:lnTo>
                <a:lnTo>
                  <a:pt x="2131" y="888"/>
                </a:lnTo>
                <a:lnTo>
                  <a:pt x="2143" y="889"/>
                </a:lnTo>
                <a:lnTo>
                  <a:pt x="2156" y="891"/>
                </a:lnTo>
                <a:lnTo>
                  <a:pt x="2170" y="893"/>
                </a:lnTo>
                <a:lnTo>
                  <a:pt x="2183" y="897"/>
                </a:lnTo>
                <a:lnTo>
                  <a:pt x="2196" y="901"/>
                </a:lnTo>
                <a:lnTo>
                  <a:pt x="2211" y="907"/>
                </a:lnTo>
                <a:lnTo>
                  <a:pt x="2226" y="914"/>
                </a:lnTo>
                <a:lnTo>
                  <a:pt x="2226" y="914"/>
                </a:lnTo>
                <a:lnTo>
                  <a:pt x="2246" y="924"/>
                </a:lnTo>
                <a:lnTo>
                  <a:pt x="2265" y="934"/>
                </a:lnTo>
                <a:lnTo>
                  <a:pt x="2281" y="945"/>
                </a:lnTo>
                <a:lnTo>
                  <a:pt x="2295" y="954"/>
                </a:lnTo>
                <a:lnTo>
                  <a:pt x="2305" y="964"/>
                </a:lnTo>
                <a:lnTo>
                  <a:pt x="2312" y="971"/>
                </a:lnTo>
                <a:lnTo>
                  <a:pt x="2319" y="977"/>
                </a:lnTo>
                <a:lnTo>
                  <a:pt x="2319" y="977"/>
                </a:lnTo>
                <a:lnTo>
                  <a:pt x="2317" y="980"/>
                </a:lnTo>
                <a:lnTo>
                  <a:pt x="2313" y="987"/>
                </a:lnTo>
                <a:lnTo>
                  <a:pt x="2305" y="998"/>
                </a:lnTo>
                <a:lnTo>
                  <a:pt x="2300" y="1005"/>
                </a:lnTo>
                <a:lnTo>
                  <a:pt x="2293" y="1012"/>
                </a:lnTo>
                <a:lnTo>
                  <a:pt x="2285" y="1018"/>
                </a:lnTo>
                <a:lnTo>
                  <a:pt x="2276" y="1025"/>
                </a:lnTo>
                <a:lnTo>
                  <a:pt x="2267" y="1031"/>
                </a:lnTo>
                <a:lnTo>
                  <a:pt x="2255" y="1036"/>
                </a:lnTo>
                <a:lnTo>
                  <a:pt x="2242" y="1041"/>
                </a:lnTo>
                <a:lnTo>
                  <a:pt x="2228" y="1045"/>
                </a:lnTo>
                <a:lnTo>
                  <a:pt x="2212" y="1049"/>
                </a:lnTo>
                <a:lnTo>
                  <a:pt x="2194" y="1050"/>
                </a:lnTo>
                <a:lnTo>
                  <a:pt x="2194" y="1050"/>
                </a:lnTo>
                <a:lnTo>
                  <a:pt x="2180" y="1051"/>
                </a:lnTo>
                <a:lnTo>
                  <a:pt x="2166" y="1050"/>
                </a:lnTo>
                <a:lnTo>
                  <a:pt x="2152" y="1048"/>
                </a:lnTo>
                <a:lnTo>
                  <a:pt x="2139" y="1044"/>
                </a:lnTo>
                <a:lnTo>
                  <a:pt x="2127" y="1041"/>
                </a:lnTo>
                <a:lnTo>
                  <a:pt x="2115" y="1037"/>
                </a:lnTo>
                <a:lnTo>
                  <a:pt x="2103" y="1033"/>
                </a:lnTo>
                <a:lnTo>
                  <a:pt x="2092" y="1027"/>
                </a:lnTo>
                <a:lnTo>
                  <a:pt x="2082" y="1022"/>
                </a:lnTo>
                <a:lnTo>
                  <a:pt x="2073" y="1016"/>
                </a:lnTo>
                <a:lnTo>
                  <a:pt x="2064" y="1010"/>
                </a:lnTo>
                <a:lnTo>
                  <a:pt x="2056" y="1003"/>
                </a:lnTo>
                <a:lnTo>
                  <a:pt x="2048" y="995"/>
                </a:lnTo>
                <a:lnTo>
                  <a:pt x="2042" y="988"/>
                </a:lnTo>
                <a:lnTo>
                  <a:pt x="2036" y="981"/>
                </a:lnTo>
                <a:lnTo>
                  <a:pt x="2031" y="974"/>
                </a:lnTo>
                <a:lnTo>
                  <a:pt x="2031" y="974"/>
                </a:lnTo>
                <a:lnTo>
                  <a:pt x="2022" y="996"/>
                </a:lnTo>
                <a:lnTo>
                  <a:pt x="2013" y="1014"/>
                </a:lnTo>
                <a:lnTo>
                  <a:pt x="2007" y="1027"/>
                </a:lnTo>
                <a:lnTo>
                  <a:pt x="2007" y="1027"/>
                </a:lnTo>
                <a:lnTo>
                  <a:pt x="2003" y="1035"/>
                </a:lnTo>
                <a:lnTo>
                  <a:pt x="2000" y="1042"/>
                </a:lnTo>
                <a:lnTo>
                  <a:pt x="1998" y="1051"/>
                </a:lnTo>
                <a:lnTo>
                  <a:pt x="1997" y="1057"/>
                </a:lnTo>
                <a:lnTo>
                  <a:pt x="1997" y="1064"/>
                </a:lnTo>
                <a:lnTo>
                  <a:pt x="1997" y="1070"/>
                </a:lnTo>
                <a:lnTo>
                  <a:pt x="1999" y="1082"/>
                </a:lnTo>
                <a:lnTo>
                  <a:pt x="2001" y="1094"/>
                </a:lnTo>
                <a:lnTo>
                  <a:pt x="2003" y="1104"/>
                </a:lnTo>
                <a:lnTo>
                  <a:pt x="2004" y="1115"/>
                </a:lnTo>
                <a:lnTo>
                  <a:pt x="2003" y="1121"/>
                </a:lnTo>
                <a:lnTo>
                  <a:pt x="2001" y="1126"/>
                </a:lnTo>
                <a:lnTo>
                  <a:pt x="2001" y="1126"/>
                </a:lnTo>
                <a:lnTo>
                  <a:pt x="1999" y="1132"/>
                </a:lnTo>
                <a:lnTo>
                  <a:pt x="1995" y="1138"/>
                </a:lnTo>
                <a:lnTo>
                  <a:pt x="1986" y="1151"/>
                </a:lnTo>
                <a:lnTo>
                  <a:pt x="1973" y="1163"/>
                </a:lnTo>
                <a:lnTo>
                  <a:pt x="1960" y="1175"/>
                </a:lnTo>
                <a:lnTo>
                  <a:pt x="1945" y="1187"/>
                </a:lnTo>
                <a:lnTo>
                  <a:pt x="1931" y="1198"/>
                </a:lnTo>
                <a:lnTo>
                  <a:pt x="1904" y="1216"/>
                </a:lnTo>
                <a:lnTo>
                  <a:pt x="1904" y="1216"/>
                </a:lnTo>
                <a:lnTo>
                  <a:pt x="1886" y="1227"/>
                </a:lnTo>
                <a:lnTo>
                  <a:pt x="1864" y="1239"/>
                </a:lnTo>
                <a:lnTo>
                  <a:pt x="1842" y="1249"/>
                </a:lnTo>
                <a:lnTo>
                  <a:pt x="1819" y="1257"/>
                </a:lnTo>
                <a:lnTo>
                  <a:pt x="1798" y="1264"/>
                </a:lnTo>
                <a:lnTo>
                  <a:pt x="1779" y="1270"/>
                </a:lnTo>
                <a:lnTo>
                  <a:pt x="1754" y="1278"/>
                </a:lnTo>
                <a:lnTo>
                  <a:pt x="1754" y="1278"/>
                </a:lnTo>
                <a:lnTo>
                  <a:pt x="1779" y="1336"/>
                </a:lnTo>
                <a:lnTo>
                  <a:pt x="1811" y="1404"/>
                </a:lnTo>
                <a:lnTo>
                  <a:pt x="1811" y="1404"/>
                </a:lnTo>
                <a:lnTo>
                  <a:pt x="1833" y="1449"/>
                </a:lnTo>
                <a:lnTo>
                  <a:pt x="1862" y="1504"/>
                </a:lnTo>
                <a:lnTo>
                  <a:pt x="1877" y="1531"/>
                </a:lnTo>
                <a:lnTo>
                  <a:pt x="1893" y="1557"/>
                </a:lnTo>
                <a:lnTo>
                  <a:pt x="1909" y="1578"/>
                </a:lnTo>
                <a:lnTo>
                  <a:pt x="1916" y="1588"/>
                </a:lnTo>
                <a:lnTo>
                  <a:pt x="1924" y="1597"/>
                </a:lnTo>
                <a:lnTo>
                  <a:pt x="1924" y="1597"/>
                </a:lnTo>
                <a:lnTo>
                  <a:pt x="1940" y="1592"/>
                </a:lnTo>
                <a:lnTo>
                  <a:pt x="1957" y="1587"/>
                </a:lnTo>
                <a:lnTo>
                  <a:pt x="1980" y="1581"/>
                </a:lnTo>
                <a:lnTo>
                  <a:pt x="2004" y="1573"/>
                </a:lnTo>
                <a:lnTo>
                  <a:pt x="2031" y="1563"/>
                </a:lnTo>
                <a:lnTo>
                  <a:pt x="2057" y="1551"/>
                </a:lnTo>
                <a:lnTo>
                  <a:pt x="2071" y="1544"/>
                </a:lnTo>
                <a:lnTo>
                  <a:pt x="2083" y="1537"/>
                </a:lnTo>
                <a:lnTo>
                  <a:pt x="2083" y="1537"/>
                </a:lnTo>
                <a:lnTo>
                  <a:pt x="2105" y="1524"/>
                </a:lnTo>
                <a:lnTo>
                  <a:pt x="2126" y="1510"/>
                </a:lnTo>
                <a:lnTo>
                  <a:pt x="2145" y="1495"/>
                </a:lnTo>
                <a:lnTo>
                  <a:pt x="2162" y="1480"/>
                </a:lnTo>
                <a:lnTo>
                  <a:pt x="2177" y="1466"/>
                </a:lnTo>
                <a:lnTo>
                  <a:pt x="2189" y="1451"/>
                </a:lnTo>
                <a:lnTo>
                  <a:pt x="2199" y="1437"/>
                </a:lnTo>
                <a:lnTo>
                  <a:pt x="2207" y="1424"/>
                </a:lnTo>
                <a:lnTo>
                  <a:pt x="2207" y="1424"/>
                </a:lnTo>
                <a:lnTo>
                  <a:pt x="2190" y="1460"/>
                </a:lnTo>
                <a:lnTo>
                  <a:pt x="2175" y="1493"/>
                </a:lnTo>
                <a:lnTo>
                  <a:pt x="2161" y="1523"/>
                </a:lnTo>
                <a:lnTo>
                  <a:pt x="2146" y="1551"/>
                </a:lnTo>
                <a:lnTo>
                  <a:pt x="2132" y="1576"/>
                </a:lnTo>
                <a:lnTo>
                  <a:pt x="2119" y="1599"/>
                </a:lnTo>
                <a:lnTo>
                  <a:pt x="2105" y="1619"/>
                </a:lnTo>
                <a:lnTo>
                  <a:pt x="2092" y="1637"/>
                </a:lnTo>
                <a:lnTo>
                  <a:pt x="2080" y="1655"/>
                </a:lnTo>
                <a:lnTo>
                  <a:pt x="2068" y="1669"/>
                </a:lnTo>
                <a:lnTo>
                  <a:pt x="2055" y="1682"/>
                </a:lnTo>
                <a:lnTo>
                  <a:pt x="2044" y="1694"/>
                </a:lnTo>
                <a:lnTo>
                  <a:pt x="2033" y="1705"/>
                </a:lnTo>
                <a:lnTo>
                  <a:pt x="2022" y="1714"/>
                </a:lnTo>
                <a:lnTo>
                  <a:pt x="2011" y="1721"/>
                </a:lnTo>
                <a:lnTo>
                  <a:pt x="2000" y="1729"/>
                </a:lnTo>
                <a:lnTo>
                  <a:pt x="2000" y="1729"/>
                </a:lnTo>
                <a:lnTo>
                  <a:pt x="1907" y="1790"/>
                </a:lnTo>
                <a:lnTo>
                  <a:pt x="1797" y="1862"/>
                </a:lnTo>
                <a:lnTo>
                  <a:pt x="1735" y="1901"/>
                </a:lnTo>
                <a:lnTo>
                  <a:pt x="1671" y="1940"/>
                </a:lnTo>
                <a:lnTo>
                  <a:pt x="1602" y="1980"/>
                </a:lnTo>
                <a:lnTo>
                  <a:pt x="1532" y="2020"/>
                </a:lnTo>
                <a:lnTo>
                  <a:pt x="1459" y="2058"/>
                </a:lnTo>
                <a:lnTo>
                  <a:pt x="1422" y="2077"/>
                </a:lnTo>
                <a:lnTo>
                  <a:pt x="1384" y="2094"/>
                </a:lnTo>
                <a:lnTo>
                  <a:pt x="1347" y="2112"/>
                </a:lnTo>
                <a:lnTo>
                  <a:pt x="1308" y="2129"/>
                </a:lnTo>
                <a:lnTo>
                  <a:pt x="1269" y="2146"/>
                </a:lnTo>
                <a:lnTo>
                  <a:pt x="1230" y="2161"/>
                </a:lnTo>
                <a:lnTo>
                  <a:pt x="1190" y="2175"/>
                </a:lnTo>
                <a:lnTo>
                  <a:pt x="1151" y="2189"/>
                </a:lnTo>
                <a:lnTo>
                  <a:pt x="1111" y="2202"/>
                </a:lnTo>
                <a:lnTo>
                  <a:pt x="1072" y="2213"/>
                </a:lnTo>
                <a:lnTo>
                  <a:pt x="1032" y="2223"/>
                </a:lnTo>
                <a:lnTo>
                  <a:pt x="992" y="2231"/>
                </a:lnTo>
                <a:lnTo>
                  <a:pt x="952" y="2240"/>
                </a:lnTo>
                <a:lnTo>
                  <a:pt x="913" y="2246"/>
                </a:lnTo>
                <a:lnTo>
                  <a:pt x="913" y="2246"/>
                </a:lnTo>
                <a:lnTo>
                  <a:pt x="901" y="2246"/>
                </a:lnTo>
                <a:lnTo>
                  <a:pt x="889" y="2245"/>
                </a:lnTo>
                <a:lnTo>
                  <a:pt x="876" y="2242"/>
                </a:lnTo>
                <a:lnTo>
                  <a:pt x="863" y="2239"/>
                </a:lnTo>
                <a:lnTo>
                  <a:pt x="850" y="2236"/>
                </a:lnTo>
                <a:lnTo>
                  <a:pt x="836" y="2230"/>
                </a:lnTo>
                <a:lnTo>
                  <a:pt x="809" y="2218"/>
                </a:lnTo>
                <a:lnTo>
                  <a:pt x="781" y="2204"/>
                </a:lnTo>
                <a:lnTo>
                  <a:pt x="754" y="2188"/>
                </a:lnTo>
                <a:lnTo>
                  <a:pt x="726" y="2170"/>
                </a:lnTo>
                <a:lnTo>
                  <a:pt x="698" y="2151"/>
                </a:lnTo>
                <a:lnTo>
                  <a:pt x="672" y="2130"/>
                </a:lnTo>
                <a:lnTo>
                  <a:pt x="646" y="2110"/>
                </a:lnTo>
                <a:lnTo>
                  <a:pt x="623" y="2089"/>
                </a:lnTo>
                <a:lnTo>
                  <a:pt x="600" y="2069"/>
                </a:lnTo>
                <a:lnTo>
                  <a:pt x="581" y="2049"/>
                </a:lnTo>
                <a:lnTo>
                  <a:pt x="563" y="2032"/>
                </a:lnTo>
                <a:lnTo>
                  <a:pt x="548" y="2017"/>
                </a:lnTo>
                <a:lnTo>
                  <a:pt x="537" y="2003"/>
                </a:lnTo>
                <a:lnTo>
                  <a:pt x="537" y="2003"/>
                </a:lnTo>
                <a:lnTo>
                  <a:pt x="533" y="1999"/>
                </a:lnTo>
                <a:lnTo>
                  <a:pt x="530" y="1995"/>
                </a:lnTo>
                <a:lnTo>
                  <a:pt x="520" y="1990"/>
                </a:lnTo>
                <a:lnTo>
                  <a:pt x="512" y="1988"/>
                </a:lnTo>
                <a:lnTo>
                  <a:pt x="502" y="1987"/>
                </a:lnTo>
                <a:lnTo>
                  <a:pt x="493" y="1987"/>
                </a:lnTo>
                <a:lnTo>
                  <a:pt x="483" y="1989"/>
                </a:lnTo>
                <a:lnTo>
                  <a:pt x="473" y="1992"/>
                </a:lnTo>
                <a:lnTo>
                  <a:pt x="464" y="1996"/>
                </a:lnTo>
                <a:lnTo>
                  <a:pt x="447" y="2004"/>
                </a:lnTo>
                <a:lnTo>
                  <a:pt x="433" y="2014"/>
                </a:lnTo>
                <a:lnTo>
                  <a:pt x="419" y="2024"/>
                </a:lnTo>
                <a:lnTo>
                  <a:pt x="419" y="2024"/>
                </a:lnTo>
                <a:lnTo>
                  <a:pt x="412" y="2023"/>
                </a:lnTo>
                <a:lnTo>
                  <a:pt x="393" y="2021"/>
                </a:lnTo>
                <a:lnTo>
                  <a:pt x="379" y="2021"/>
                </a:lnTo>
                <a:lnTo>
                  <a:pt x="364" y="2021"/>
                </a:lnTo>
                <a:lnTo>
                  <a:pt x="348" y="2022"/>
                </a:lnTo>
                <a:lnTo>
                  <a:pt x="329" y="2024"/>
                </a:lnTo>
                <a:lnTo>
                  <a:pt x="310" y="2027"/>
                </a:lnTo>
                <a:lnTo>
                  <a:pt x="290" y="2032"/>
                </a:lnTo>
                <a:lnTo>
                  <a:pt x="271" y="2038"/>
                </a:lnTo>
                <a:lnTo>
                  <a:pt x="252" y="2047"/>
                </a:lnTo>
                <a:lnTo>
                  <a:pt x="242" y="2053"/>
                </a:lnTo>
                <a:lnTo>
                  <a:pt x="233" y="2058"/>
                </a:lnTo>
                <a:lnTo>
                  <a:pt x="224" y="2064"/>
                </a:lnTo>
                <a:lnTo>
                  <a:pt x="216" y="2071"/>
                </a:lnTo>
                <a:lnTo>
                  <a:pt x="207" y="2079"/>
                </a:lnTo>
                <a:lnTo>
                  <a:pt x="199" y="2087"/>
                </a:lnTo>
                <a:lnTo>
                  <a:pt x="191" y="2097"/>
                </a:lnTo>
                <a:lnTo>
                  <a:pt x="184" y="2106"/>
                </a:lnTo>
                <a:lnTo>
                  <a:pt x="184" y="2106"/>
                </a:lnTo>
                <a:lnTo>
                  <a:pt x="183" y="2109"/>
                </a:lnTo>
                <a:lnTo>
                  <a:pt x="185" y="2111"/>
                </a:lnTo>
                <a:lnTo>
                  <a:pt x="188" y="2112"/>
                </a:lnTo>
                <a:lnTo>
                  <a:pt x="193" y="2112"/>
                </a:lnTo>
                <a:lnTo>
                  <a:pt x="210" y="2110"/>
                </a:lnTo>
                <a:lnTo>
                  <a:pt x="230" y="2108"/>
                </a:lnTo>
                <a:lnTo>
                  <a:pt x="255" y="2106"/>
                </a:lnTo>
                <a:lnTo>
                  <a:pt x="280" y="2105"/>
                </a:lnTo>
                <a:lnTo>
                  <a:pt x="293" y="2106"/>
                </a:lnTo>
                <a:lnTo>
                  <a:pt x="307" y="2107"/>
                </a:lnTo>
                <a:lnTo>
                  <a:pt x="319" y="2109"/>
                </a:lnTo>
                <a:lnTo>
                  <a:pt x="331" y="2112"/>
                </a:lnTo>
                <a:lnTo>
                  <a:pt x="331" y="2112"/>
                </a:lnTo>
                <a:lnTo>
                  <a:pt x="338" y="2115"/>
                </a:lnTo>
                <a:lnTo>
                  <a:pt x="343" y="2118"/>
                </a:lnTo>
                <a:lnTo>
                  <a:pt x="346" y="2121"/>
                </a:lnTo>
                <a:lnTo>
                  <a:pt x="347" y="2124"/>
                </a:lnTo>
                <a:lnTo>
                  <a:pt x="347" y="2127"/>
                </a:lnTo>
                <a:lnTo>
                  <a:pt x="345" y="2131"/>
                </a:lnTo>
                <a:lnTo>
                  <a:pt x="339" y="2139"/>
                </a:lnTo>
                <a:lnTo>
                  <a:pt x="332" y="2149"/>
                </a:lnTo>
                <a:lnTo>
                  <a:pt x="325" y="2160"/>
                </a:lnTo>
                <a:lnTo>
                  <a:pt x="321" y="2166"/>
                </a:lnTo>
                <a:lnTo>
                  <a:pt x="319" y="2172"/>
                </a:lnTo>
                <a:lnTo>
                  <a:pt x="317" y="2178"/>
                </a:lnTo>
                <a:lnTo>
                  <a:pt x="317" y="2185"/>
                </a:lnTo>
                <a:lnTo>
                  <a:pt x="317" y="2185"/>
                </a:lnTo>
                <a:lnTo>
                  <a:pt x="317" y="2191"/>
                </a:lnTo>
                <a:lnTo>
                  <a:pt x="319" y="2197"/>
                </a:lnTo>
                <a:lnTo>
                  <a:pt x="321" y="2202"/>
                </a:lnTo>
                <a:lnTo>
                  <a:pt x="324" y="2207"/>
                </a:lnTo>
                <a:lnTo>
                  <a:pt x="328" y="2212"/>
                </a:lnTo>
                <a:lnTo>
                  <a:pt x="333" y="2217"/>
                </a:lnTo>
                <a:lnTo>
                  <a:pt x="346" y="2227"/>
                </a:lnTo>
                <a:lnTo>
                  <a:pt x="361" y="2237"/>
                </a:lnTo>
                <a:lnTo>
                  <a:pt x="377" y="2246"/>
                </a:lnTo>
                <a:lnTo>
                  <a:pt x="397" y="2255"/>
                </a:lnTo>
                <a:lnTo>
                  <a:pt x="416" y="2263"/>
                </a:lnTo>
                <a:lnTo>
                  <a:pt x="458" y="2279"/>
                </a:lnTo>
                <a:lnTo>
                  <a:pt x="500" y="2293"/>
                </a:lnTo>
                <a:lnTo>
                  <a:pt x="571" y="2314"/>
                </a:lnTo>
                <a:lnTo>
                  <a:pt x="571" y="2314"/>
                </a:lnTo>
                <a:lnTo>
                  <a:pt x="579" y="2318"/>
                </a:lnTo>
                <a:lnTo>
                  <a:pt x="585" y="2322"/>
                </a:lnTo>
                <a:lnTo>
                  <a:pt x="588" y="2328"/>
                </a:lnTo>
                <a:lnTo>
                  <a:pt x="590" y="2333"/>
                </a:lnTo>
                <a:lnTo>
                  <a:pt x="590" y="2337"/>
                </a:lnTo>
                <a:lnTo>
                  <a:pt x="588" y="2341"/>
                </a:lnTo>
                <a:lnTo>
                  <a:pt x="585" y="2343"/>
                </a:lnTo>
                <a:lnTo>
                  <a:pt x="581" y="2344"/>
                </a:lnTo>
                <a:lnTo>
                  <a:pt x="581" y="2344"/>
                </a:lnTo>
                <a:lnTo>
                  <a:pt x="556" y="2343"/>
                </a:lnTo>
                <a:lnTo>
                  <a:pt x="532" y="2340"/>
                </a:lnTo>
                <a:lnTo>
                  <a:pt x="509" y="2337"/>
                </a:lnTo>
                <a:lnTo>
                  <a:pt x="488" y="2332"/>
                </a:lnTo>
                <a:lnTo>
                  <a:pt x="467" y="2327"/>
                </a:lnTo>
                <a:lnTo>
                  <a:pt x="448" y="2320"/>
                </a:lnTo>
                <a:lnTo>
                  <a:pt x="429" y="2314"/>
                </a:lnTo>
                <a:lnTo>
                  <a:pt x="412" y="2308"/>
                </a:lnTo>
                <a:lnTo>
                  <a:pt x="380" y="2295"/>
                </a:lnTo>
                <a:lnTo>
                  <a:pt x="352" y="2283"/>
                </a:lnTo>
                <a:lnTo>
                  <a:pt x="327" y="2271"/>
                </a:lnTo>
                <a:lnTo>
                  <a:pt x="316" y="2267"/>
                </a:lnTo>
                <a:lnTo>
                  <a:pt x="305" y="2263"/>
                </a:lnTo>
                <a:lnTo>
                  <a:pt x="305" y="2263"/>
                </a:lnTo>
                <a:lnTo>
                  <a:pt x="286" y="2258"/>
                </a:lnTo>
                <a:lnTo>
                  <a:pt x="268" y="2254"/>
                </a:lnTo>
                <a:lnTo>
                  <a:pt x="253" y="2251"/>
                </a:lnTo>
                <a:lnTo>
                  <a:pt x="237" y="2249"/>
                </a:lnTo>
                <a:lnTo>
                  <a:pt x="224" y="2248"/>
                </a:lnTo>
                <a:lnTo>
                  <a:pt x="213" y="2249"/>
                </a:lnTo>
                <a:lnTo>
                  <a:pt x="202" y="2250"/>
                </a:lnTo>
                <a:lnTo>
                  <a:pt x="192" y="2252"/>
                </a:lnTo>
                <a:lnTo>
                  <a:pt x="185" y="2256"/>
                </a:lnTo>
                <a:lnTo>
                  <a:pt x="178" y="2260"/>
                </a:lnTo>
                <a:lnTo>
                  <a:pt x="172" y="2265"/>
                </a:lnTo>
                <a:lnTo>
                  <a:pt x="167" y="2271"/>
                </a:lnTo>
                <a:lnTo>
                  <a:pt x="163" y="2277"/>
                </a:lnTo>
                <a:lnTo>
                  <a:pt x="160" y="2286"/>
                </a:lnTo>
                <a:lnTo>
                  <a:pt x="156" y="2294"/>
                </a:lnTo>
                <a:lnTo>
                  <a:pt x="155" y="2303"/>
                </a:lnTo>
                <a:lnTo>
                  <a:pt x="155" y="2303"/>
                </a:lnTo>
                <a:lnTo>
                  <a:pt x="154" y="2306"/>
                </a:lnTo>
                <a:lnTo>
                  <a:pt x="152" y="2309"/>
                </a:lnTo>
                <a:lnTo>
                  <a:pt x="150" y="2312"/>
                </a:lnTo>
                <a:lnTo>
                  <a:pt x="147" y="2314"/>
                </a:lnTo>
                <a:lnTo>
                  <a:pt x="140" y="2318"/>
                </a:lnTo>
                <a:lnTo>
                  <a:pt x="132" y="2323"/>
                </a:lnTo>
                <a:lnTo>
                  <a:pt x="109" y="2333"/>
                </a:lnTo>
                <a:lnTo>
                  <a:pt x="97" y="2339"/>
                </a:lnTo>
                <a:lnTo>
                  <a:pt x="84" y="2347"/>
                </a:lnTo>
                <a:lnTo>
                  <a:pt x="71" y="2357"/>
                </a:lnTo>
                <a:lnTo>
                  <a:pt x="57" y="2371"/>
                </a:lnTo>
                <a:lnTo>
                  <a:pt x="51" y="2378"/>
                </a:lnTo>
                <a:lnTo>
                  <a:pt x="45" y="2386"/>
                </a:lnTo>
                <a:lnTo>
                  <a:pt x="39" y="2396"/>
                </a:lnTo>
                <a:lnTo>
                  <a:pt x="33" y="2406"/>
                </a:lnTo>
                <a:lnTo>
                  <a:pt x="28" y="2418"/>
                </a:lnTo>
                <a:lnTo>
                  <a:pt x="22" y="2430"/>
                </a:lnTo>
                <a:lnTo>
                  <a:pt x="17" y="2444"/>
                </a:lnTo>
                <a:lnTo>
                  <a:pt x="13" y="2458"/>
                </a:lnTo>
                <a:lnTo>
                  <a:pt x="9" y="2475"/>
                </a:lnTo>
                <a:lnTo>
                  <a:pt x="6" y="2492"/>
                </a:lnTo>
                <a:lnTo>
                  <a:pt x="3" y="2512"/>
                </a:lnTo>
                <a:lnTo>
                  <a:pt x="0" y="2532"/>
                </a:lnTo>
                <a:lnTo>
                  <a:pt x="0" y="2532"/>
                </a:lnTo>
                <a:lnTo>
                  <a:pt x="1" y="2533"/>
                </a:lnTo>
                <a:lnTo>
                  <a:pt x="2" y="2534"/>
                </a:lnTo>
                <a:lnTo>
                  <a:pt x="6" y="2532"/>
                </a:lnTo>
                <a:lnTo>
                  <a:pt x="12" y="2527"/>
                </a:lnTo>
                <a:lnTo>
                  <a:pt x="20" y="2519"/>
                </a:lnTo>
                <a:lnTo>
                  <a:pt x="43" y="2496"/>
                </a:lnTo>
                <a:lnTo>
                  <a:pt x="69" y="2472"/>
                </a:lnTo>
                <a:lnTo>
                  <a:pt x="82" y="2459"/>
                </a:lnTo>
                <a:lnTo>
                  <a:pt x="95" y="2448"/>
                </a:lnTo>
                <a:lnTo>
                  <a:pt x="107" y="2439"/>
                </a:lnTo>
                <a:lnTo>
                  <a:pt x="119" y="2432"/>
                </a:lnTo>
                <a:lnTo>
                  <a:pt x="124" y="2429"/>
                </a:lnTo>
                <a:lnTo>
                  <a:pt x="129" y="2428"/>
                </a:lnTo>
                <a:lnTo>
                  <a:pt x="133" y="2427"/>
                </a:lnTo>
                <a:lnTo>
                  <a:pt x="137" y="2427"/>
                </a:lnTo>
                <a:lnTo>
                  <a:pt x="140" y="2429"/>
                </a:lnTo>
                <a:lnTo>
                  <a:pt x="143" y="2431"/>
                </a:lnTo>
                <a:lnTo>
                  <a:pt x="144" y="2435"/>
                </a:lnTo>
                <a:lnTo>
                  <a:pt x="146" y="2439"/>
                </a:lnTo>
                <a:lnTo>
                  <a:pt x="146" y="2439"/>
                </a:lnTo>
                <a:lnTo>
                  <a:pt x="149" y="2455"/>
                </a:lnTo>
                <a:lnTo>
                  <a:pt x="154" y="2470"/>
                </a:lnTo>
                <a:lnTo>
                  <a:pt x="162" y="2483"/>
                </a:lnTo>
                <a:lnTo>
                  <a:pt x="170" y="2493"/>
                </a:lnTo>
                <a:lnTo>
                  <a:pt x="179" y="2503"/>
                </a:lnTo>
                <a:lnTo>
                  <a:pt x="189" y="2511"/>
                </a:lnTo>
                <a:lnTo>
                  <a:pt x="200" y="2518"/>
                </a:lnTo>
                <a:lnTo>
                  <a:pt x="214" y="2523"/>
                </a:lnTo>
                <a:lnTo>
                  <a:pt x="227" y="2527"/>
                </a:lnTo>
                <a:lnTo>
                  <a:pt x="241" y="2529"/>
                </a:lnTo>
                <a:lnTo>
                  <a:pt x="256" y="2531"/>
                </a:lnTo>
                <a:lnTo>
                  <a:pt x="271" y="2532"/>
                </a:lnTo>
                <a:lnTo>
                  <a:pt x="287" y="2533"/>
                </a:lnTo>
                <a:lnTo>
                  <a:pt x="304" y="2532"/>
                </a:lnTo>
                <a:lnTo>
                  <a:pt x="337" y="2530"/>
                </a:lnTo>
                <a:lnTo>
                  <a:pt x="371" y="2526"/>
                </a:lnTo>
                <a:lnTo>
                  <a:pt x="405" y="2521"/>
                </a:lnTo>
                <a:lnTo>
                  <a:pt x="438" y="2516"/>
                </a:lnTo>
                <a:lnTo>
                  <a:pt x="468" y="2512"/>
                </a:lnTo>
                <a:lnTo>
                  <a:pt x="496" y="2510"/>
                </a:lnTo>
                <a:lnTo>
                  <a:pt x="509" y="2509"/>
                </a:lnTo>
                <a:lnTo>
                  <a:pt x="520" y="2509"/>
                </a:lnTo>
                <a:lnTo>
                  <a:pt x="531" y="2510"/>
                </a:lnTo>
                <a:lnTo>
                  <a:pt x="541" y="2512"/>
                </a:lnTo>
                <a:lnTo>
                  <a:pt x="549" y="2515"/>
                </a:lnTo>
                <a:lnTo>
                  <a:pt x="555" y="2519"/>
                </a:lnTo>
                <a:lnTo>
                  <a:pt x="555" y="2519"/>
                </a:lnTo>
                <a:lnTo>
                  <a:pt x="558" y="2522"/>
                </a:lnTo>
                <a:lnTo>
                  <a:pt x="559" y="2524"/>
                </a:lnTo>
                <a:lnTo>
                  <a:pt x="557" y="2527"/>
                </a:lnTo>
                <a:lnTo>
                  <a:pt x="554" y="2529"/>
                </a:lnTo>
                <a:lnTo>
                  <a:pt x="549" y="2532"/>
                </a:lnTo>
                <a:lnTo>
                  <a:pt x="542" y="2534"/>
                </a:lnTo>
                <a:lnTo>
                  <a:pt x="525" y="2538"/>
                </a:lnTo>
                <a:lnTo>
                  <a:pt x="475" y="2547"/>
                </a:lnTo>
                <a:lnTo>
                  <a:pt x="447" y="2553"/>
                </a:lnTo>
                <a:lnTo>
                  <a:pt x="417" y="2559"/>
                </a:lnTo>
                <a:lnTo>
                  <a:pt x="388" y="2566"/>
                </a:lnTo>
                <a:lnTo>
                  <a:pt x="359" y="2574"/>
                </a:lnTo>
                <a:lnTo>
                  <a:pt x="346" y="2578"/>
                </a:lnTo>
                <a:lnTo>
                  <a:pt x="333" y="2583"/>
                </a:lnTo>
                <a:lnTo>
                  <a:pt x="322" y="2588"/>
                </a:lnTo>
                <a:lnTo>
                  <a:pt x="312" y="2594"/>
                </a:lnTo>
                <a:lnTo>
                  <a:pt x="303" y="2601"/>
                </a:lnTo>
                <a:lnTo>
                  <a:pt x="294" y="2607"/>
                </a:lnTo>
                <a:lnTo>
                  <a:pt x="288" y="2614"/>
                </a:lnTo>
                <a:lnTo>
                  <a:pt x="284" y="2622"/>
                </a:lnTo>
                <a:lnTo>
                  <a:pt x="282" y="2630"/>
                </a:lnTo>
                <a:lnTo>
                  <a:pt x="281" y="2638"/>
                </a:lnTo>
                <a:lnTo>
                  <a:pt x="283" y="2649"/>
                </a:lnTo>
                <a:lnTo>
                  <a:pt x="287" y="2659"/>
                </a:lnTo>
                <a:lnTo>
                  <a:pt x="287" y="2659"/>
                </a:lnTo>
                <a:lnTo>
                  <a:pt x="287" y="2660"/>
                </a:lnTo>
                <a:lnTo>
                  <a:pt x="286" y="2663"/>
                </a:lnTo>
                <a:lnTo>
                  <a:pt x="283" y="2669"/>
                </a:lnTo>
                <a:lnTo>
                  <a:pt x="268" y="2686"/>
                </a:lnTo>
                <a:lnTo>
                  <a:pt x="258" y="2699"/>
                </a:lnTo>
                <a:lnTo>
                  <a:pt x="247" y="2712"/>
                </a:lnTo>
                <a:lnTo>
                  <a:pt x="237" y="2727"/>
                </a:lnTo>
                <a:lnTo>
                  <a:pt x="228" y="2744"/>
                </a:lnTo>
                <a:lnTo>
                  <a:pt x="220" y="2761"/>
                </a:lnTo>
                <a:lnTo>
                  <a:pt x="217" y="2770"/>
                </a:lnTo>
                <a:lnTo>
                  <a:pt x="214" y="2781"/>
                </a:lnTo>
                <a:lnTo>
                  <a:pt x="213" y="2790"/>
                </a:lnTo>
                <a:lnTo>
                  <a:pt x="212" y="2801"/>
                </a:lnTo>
                <a:lnTo>
                  <a:pt x="212" y="2811"/>
                </a:lnTo>
                <a:lnTo>
                  <a:pt x="213" y="2821"/>
                </a:lnTo>
                <a:lnTo>
                  <a:pt x="215" y="2833"/>
                </a:lnTo>
                <a:lnTo>
                  <a:pt x="219" y="2844"/>
                </a:lnTo>
                <a:lnTo>
                  <a:pt x="223" y="2856"/>
                </a:lnTo>
                <a:lnTo>
                  <a:pt x="229" y="2867"/>
                </a:lnTo>
                <a:lnTo>
                  <a:pt x="237" y="2880"/>
                </a:lnTo>
                <a:lnTo>
                  <a:pt x="246" y="2892"/>
                </a:lnTo>
                <a:lnTo>
                  <a:pt x="257" y="2904"/>
                </a:lnTo>
                <a:lnTo>
                  <a:pt x="270" y="2917"/>
                </a:lnTo>
                <a:lnTo>
                  <a:pt x="270" y="2917"/>
                </a:lnTo>
                <a:lnTo>
                  <a:pt x="270" y="2910"/>
                </a:lnTo>
                <a:lnTo>
                  <a:pt x="272" y="2893"/>
                </a:lnTo>
                <a:lnTo>
                  <a:pt x="277" y="2868"/>
                </a:lnTo>
                <a:lnTo>
                  <a:pt x="281" y="2855"/>
                </a:lnTo>
                <a:lnTo>
                  <a:pt x="285" y="2841"/>
                </a:lnTo>
                <a:lnTo>
                  <a:pt x="291" y="2828"/>
                </a:lnTo>
                <a:lnTo>
                  <a:pt x="298" y="2814"/>
                </a:lnTo>
                <a:lnTo>
                  <a:pt x="306" y="2801"/>
                </a:lnTo>
                <a:lnTo>
                  <a:pt x="315" y="2791"/>
                </a:lnTo>
                <a:lnTo>
                  <a:pt x="321" y="2786"/>
                </a:lnTo>
                <a:lnTo>
                  <a:pt x="326" y="2782"/>
                </a:lnTo>
                <a:lnTo>
                  <a:pt x="332" y="2777"/>
                </a:lnTo>
                <a:lnTo>
                  <a:pt x="339" y="2774"/>
                </a:lnTo>
                <a:lnTo>
                  <a:pt x="346" y="2772"/>
                </a:lnTo>
                <a:lnTo>
                  <a:pt x="354" y="2770"/>
                </a:lnTo>
                <a:lnTo>
                  <a:pt x="361" y="2770"/>
                </a:lnTo>
                <a:lnTo>
                  <a:pt x="369" y="2770"/>
                </a:lnTo>
                <a:lnTo>
                  <a:pt x="369" y="2770"/>
                </a:lnTo>
                <a:lnTo>
                  <a:pt x="383" y="2771"/>
                </a:lnTo>
                <a:lnTo>
                  <a:pt x="396" y="2774"/>
                </a:lnTo>
                <a:lnTo>
                  <a:pt x="408" y="2778"/>
                </a:lnTo>
                <a:lnTo>
                  <a:pt x="420" y="2783"/>
                </a:lnTo>
                <a:lnTo>
                  <a:pt x="443" y="2793"/>
                </a:lnTo>
                <a:lnTo>
                  <a:pt x="454" y="2797"/>
                </a:lnTo>
                <a:lnTo>
                  <a:pt x="465" y="2801"/>
                </a:lnTo>
                <a:lnTo>
                  <a:pt x="476" y="2804"/>
                </a:lnTo>
                <a:lnTo>
                  <a:pt x="489" y="2806"/>
                </a:lnTo>
                <a:lnTo>
                  <a:pt x="501" y="2807"/>
                </a:lnTo>
                <a:lnTo>
                  <a:pt x="514" y="2805"/>
                </a:lnTo>
                <a:lnTo>
                  <a:pt x="528" y="2802"/>
                </a:lnTo>
                <a:lnTo>
                  <a:pt x="542" y="2796"/>
                </a:lnTo>
                <a:lnTo>
                  <a:pt x="558" y="2788"/>
                </a:lnTo>
                <a:lnTo>
                  <a:pt x="575" y="2775"/>
                </a:lnTo>
                <a:lnTo>
                  <a:pt x="575" y="2775"/>
                </a:lnTo>
                <a:lnTo>
                  <a:pt x="588" y="2766"/>
                </a:lnTo>
                <a:lnTo>
                  <a:pt x="600" y="2755"/>
                </a:lnTo>
                <a:lnTo>
                  <a:pt x="614" y="2743"/>
                </a:lnTo>
                <a:lnTo>
                  <a:pt x="630" y="2730"/>
                </a:lnTo>
                <a:lnTo>
                  <a:pt x="651" y="2718"/>
                </a:lnTo>
                <a:lnTo>
                  <a:pt x="664" y="2711"/>
                </a:lnTo>
                <a:lnTo>
                  <a:pt x="678" y="2705"/>
                </a:lnTo>
                <a:lnTo>
                  <a:pt x="693" y="2698"/>
                </a:lnTo>
                <a:lnTo>
                  <a:pt x="712" y="2692"/>
                </a:lnTo>
                <a:lnTo>
                  <a:pt x="732" y="2684"/>
                </a:lnTo>
                <a:lnTo>
                  <a:pt x="754" y="2677"/>
                </a:lnTo>
                <a:lnTo>
                  <a:pt x="754" y="2677"/>
                </a:lnTo>
                <a:lnTo>
                  <a:pt x="756" y="2677"/>
                </a:lnTo>
                <a:lnTo>
                  <a:pt x="757" y="2678"/>
                </a:lnTo>
                <a:lnTo>
                  <a:pt x="760" y="2683"/>
                </a:lnTo>
                <a:lnTo>
                  <a:pt x="762" y="2692"/>
                </a:lnTo>
                <a:lnTo>
                  <a:pt x="765" y="2701"/>
                </a:lnTo>
                <a:lnTo>
                  <a:pt x="768" y="2713"/>
                </a:lnTo>
                <a:lnTo>
                  <a:pt x="772" y="2725"/>
                </a:lnTo>
                <a:lnTo>
                  <a:pt x="777" y="2738"/>
                </a:lnTo>
                <a:lnTo>
                  <a:pt x="783" y="2750"/>
                </a:lnTo>
                <a:lnTo>
                  <a:pt x="783" y="2750"/>
                </a:lnTo>
                <a:lnTo>
                  <a:pt x="786" y="2753"/>
                </a:lnTo>
                <a:lnTo>
                  <a:pt x="789" y="2755"/>
                </a:lnTo>
                <a:lnTo>
                  <a:pt x="797" y="2760"/>
                </a:lnTo>
                <a:lnTo>
                  <a:pt x="805" y="2763"/>
                </a:lnTo>
                <a:lnTo>
                  <a:pt x="813" y="2767"/>
                </a:lnTo>
                <a:lnTo>
                  <a:pt x="821" y="2770"/>
                </a:lnTo>
                <a:lnTo>
                  <a:pt x="827" y="2773"/>
                </a:lnTo>
                <a:lnTo>
                  <a:pt x="830" y="2775"/>
                </a:lnTo>
                <a:lnTo>
                  <a:pt x="831" y="2777"/>
                </a:lnTo>
                <a:lnTo>
                  <a:pt x="833" y="2781"/>
                </a:lnTo>
                <a:lnTo>
                  <a:pt x="833" y="2784"/>
                </a:lnTo>
                <a:lnTo>
                  <a:pt x="833" y="2784"/>
                </a:lnTo>
                <a:lnTo>
                  <a:pt x="832" y="2794"/>
                </a:lnTo>
                <a:lnTo>
                  <a:pt x="830" y="2805"/>
                </a:lnTo>
                <a:lnTo>
                  <a:pt x="826" y="2815"/>
                </a:lnTo>
                <a:lnTo>
                  <a:pt x="822" y="2824"/>
                </a:lnTo>
                <a:lnTo>
                  <a:pt x="817" y="2834"/>
                </a:lnTo>
                <a:lnTo>
                  <a:pt x="811" y="2843"/>
                </a:lnTo>
                <a:lnTo>
                  <a:pt x="798" y="2859"/>
                </a:lnTo>
                <a:lnTo>
                  <a:pt x="784" y="2873"/>
                </a:lnTo>
                <a:lnTo>
                  <a:pt x="773" y="2884"/>
                </a:lnTo>
                <a:lnTo>
                  <a:pt x="765" y="2890"/>
                </a:lnTo>
                <a:lnTo>
                  <a:pt x="763" y="2893"/>
                </a:lnTo>
                <a:lnTo>
                  <a:pt x="763" y="2893"/>
                </a:lnTo>
                <a:lnTo>
                  <a:pt x="767" y="2896"/>
                </a:lnTo>
                <a:lnTo>
                  <a:pt x="778" y="2899"/>
                </a:lnTo>
                <a:lnTo>
                  <a:pt x="785" y="2900"/>
                </a:lnTo>
                <a:lnTo>
                  <a:pt x="794" y="2901"/>
                </a:lnTo>
                <a:lnTo>
                  <a:pt x="804" y="2901"/>
                </a:lnTo>
                <a:lnTo>
                  <a:pt x="815" y="2899"/>
                </a:lnTo>
                <a:lnTo>
                  <a:pt x="826" y="2896"/>
                </a:lnTo>
                <a:lnTo>
                  <a:pt x="839" y="2891"/>
                </a:lnTo>
                <a:lnTo>
                  <a:pt x="852" y="2884"/>
                </a:lnTo>
                <a:lnTo>
                  <a:pt x="865" y="2874"/>
                </a:lnTo>
                <a:lnTo>
                  <a:pt x="879" y="2860"/>
                </a:lnTo>
                <a:lnTo>
                  <a:pt x="894" y="2844"/>
                </a:lnTo>
                <a:lnTo>
                  <a:pt x="907" y="2824"/>
                </a:lnTo>
                <a:lnTo>
                  <a:pt x="921" y="2801"/>
                </a:lnTo>
                <a:lnTo>
                  <a:pt x="921" y="2801"/>
                </a:lnTo>
                <a:lnTo>
                  <a:pt x="924" y="2797"/>
                </a:lnTo>
                <a:lnTo>
                  <a:pt x="927" y="2793"/>
                </a:lnTo>
                <a:lnTo>
                  <a:pt x="930" y="2791"/>
                </a:lnTo>
                <a:lnTo>
                  <a:pt x="935" y="2789"/>
                </a:lnTo>
                <a:lnTo>
                  <a:pt x="939" y="2788"/>
                </a:lnTo>
                <a:lnTo>
                  <a:pt x="943" y="2788"/>
                </a:lnTo>
                <a:lnTo>
                  <a:pt x="951" y="2788"/>
                </a:lnTo>
                <a:lnTo>
                  <a:pt x="970" y="2790"/>
                </a:lnTo>
                <a:lnTo>
                  <a:pt x="982" y="2790"/>
                </a:lnTo>
                <a:lnTo>
                  <a:pt x="987" y="2789"/>
                </a:lnTo>
                <a:lnTo>
                  <a:pt x="992" y="2788"/>
                </a:lnTo>
                <a:lnTo>
                  <a:pt x="992" y="2788"/>
                </a:lnTo>
                <a:lnTo>
                  <a:pt x="1010" y="2782"/>
                </a:lnTo>
                <a:lnTo>
                  <a:pt x="1017" y="2777"/>
                </a:lnTo>
                <a:lnTo>
                  <a:pt x="1024" y="2773"/>
                </a:lnTo>
                <a:lnTo>
                  <a:pt x="1029" y="2770"/>
                </a:lnTo>
                <a:lnTo>
                  <a:pt x="1033" y="2766"/>
                </a:lnTo>
                <a:lnTo>
                  <a:pt x="1036" y="2762"/>
                </a:lnTo>
                <a:lnTo>
                  <a:pt x="1039" y="2757"/>
                </a:lnTo>
                <a:lnTo>
                  <a:pt x="1041" y="2753"/>
                </a:lnTo>
                <a:lnTo>
                  <a:pt x="1042" y="2748"/>
                </a:lnTo>
                <a:lnTo>
                  <a:pt x="1043" y="2739"/>
                </a:lnTo>
                <a:lnTo>
                  <a:pt x="1042" y="2728"/>
                </a:lnTo>
                <a:lnTo>
                  <a:pt x="1040" y="2718"/>
                </a:lnTo>
                <a:lnTo>
                  <a:pt x="1035" y="2696"/>
                </a:lnTo>
                <a:lnTo>
                  <a:pt x="1034" y="2685"/>
                </a:lnTo>
                <a:lnTo>
                  <a:pt x="1033" y="2673"/>
                </a:lnTo>
                <a:lnTo>
                  <a:pt x="1034" y="2662"/>
                </a:lnTo>
                <a:lnTo>
                  <a:pt x="1036" y="2657"/>
                </a:lnTo>
                <a:lnTo>
                  <a:pt x="1038" y="2651"/>
                </a:lnTo>
                <a:lnTo>
                  <a:pt x="1040" y="2646"/>
                </a:lnTo>
                <a:lnTo>
                  <a:pt x="1044" y="2640"/>
                </a:lnTo>
                <a:lnTo>
                  <a:pt x="1048" y="2634"/>
                </a:lnTo>
                <a:lnTo>
                  <a:pt x="1054" y="2629"/>
                </a:lnTo>
                <a:lnTo>
                  <a:pt x="1054" y="2629"/>
                </a:lnTo>
                <a:lnTo>
                  <a:pt x="1069" y="2616"/>
                </a:lnTo>
                <a:lnTo>
                  <a:pt x="1084" y="2603"/>
                </a:lnTo>
                <a:lnTo>
                  <a:pt x="1099" y="2591"/>
                </a:lnTo>
                <a:lnTo>
                  <a:pt x="1115" y="2579"/>
                </a:lnTo>
                <a:lnTo>
                  <a:pt x="1146" y="2559"/>
                </a:lnTo>
                <a:lnTo>
                  <a:pt x="1178" y="2540"/>
                </a:lnTo>
                <a:lnTo>
                  <a:pt x="1210" y="2524"/>
                </a:lnTo>
                <a:lnTo>
                  <a:pt x="1241" y="2509"/>
                </a:lnTo>
                <a:lnTo>
                  <a:pt x="1273" y="2494"/>
                </a:lnTo>
                <a:lnTo>
                  <a:pt x="1304" y="2482"/>
                </a:lnTo>
                <a:lnTo>
                  <a:pt x="1304" y="2482"/>
                </a:lnTo>
                <a:lnTo>
                  <a:pt x="1303" y="2486"/>
                </a:lnTo>
                <a:lnTo>
                  <a:pt x="1299" y="2498"/>
                </a:lnTo>
                <a:lnTo>
                  <a:pt x="1294" y="2518"/>
                </a:lnTo>
                <a:lnTo>
                  <a:pt x="1291" y="2541"/>
                </a:lnTo>
                <a:lnTo>
                  <a:pt x="1290" y="2556"/>
                </a:lnTo>
                <a:lnTo>
                  <a:pt x="1290" y="2570"/>
                </a:lnTo>
                <a:lnTo>
                  <a:pt x="1291" y="2585"/>
                </a:lnTo>
                <a:lnTo>
                  <a:pt x="1292" y="2602"/>
                </a:lnTo>
                <a:lnTo>
                  <a:pt x="1296" y="2618"/>
                </a:lnTo>
                <a:lnTo>
                  <a:pt x="1301" y="2634"/>
                </a:lnTo>
                <a:lnTo>
                  <a:pt x="1306" y="2652"/>
                </a:lnTo>
                <a:lnTo>
                  <a:pt x="1314" y="2669"/>
                </a:lnTo>
                <a:lnTo>
                  <a:pt x="1640" y="2585"/>
                </a:lnTo>
                <a:lnTo>
                  <a:pt x="1640" y="2585"/>
                </a:lnTo>
                <a:lnTo>
                  <a:pt x="1634" y="2569"/>
                </a:lnTo>
                <a:lnTo>
                  <a:pt x="1631" y="2553"/>
                </a:lnTo>
                <a:lnTo>
                  <a:pt x="1629" y="2535"/>
                </a:lnTo>
                <a:lnTo>
                  <a:pt x="1629" y="2518"/>
                </a:lnTo>
                <a:lnTo>
                  <a:pt x="1631" y="2500"/>
                </a:lnTo>
                <a:lnTo>
                  <a:pt x="1634" y="2483"/>
                </a:lnTo>
                <a:lnTo>
                  <a:pt x="1638" y="2466"/>
                </a:lnTo>
                <a:lnTo>
                  <a:pt x="1644" y="2447"/>
                </a:lnTo>
                <a:lnTo>
                  <a:pt x="1651" y="2430"/>
                </a:lnTo>
                <a:lnTo>
                  <a:pt x="1660" y="2411"/>
                </a:lnTo>
                <a:lnTo>
                  <a:pt x="1669" y="2394"/>
                </a:lnTo>
                <a:lnTo>
                  <a:pt x="1679" y="2377"/>
                </a:lnTo>
                <a:lnTo>
                  <a:pt x="1689" y="2359"/>
                </a:lnTo>
                <a:lnTo>
                  <a:pt x="1701" y="2342"/>
                </a:lnTo>
                <a:lnTo>
                  <a:pt x="1725" y="2310"/>
                </a:lnTo>
                <a:lnTo>
                  <a:pt x="1725" y="2310"/>
                </a:lnTo>
                <a:lnTo>
                  <a:pt x="1726" y="2309"/>
                </a:lnTo>
                <a:lnTo>
                  <a:pt x="1727" y="2309"/>
                </a:lnTo>
                <a:lnTo>
                  <a:pt x="1728" y="2313"/>
                </a:lnTo>
                <a:lnTo>
                  <a:pt x="1725" y="2335"/>
                </a:lnTo>
                <a:lnTo>
                  <a:pt x="1721" y="2368"/>
                </a:lnTo>
                <a:lnTo>
                  <a:pt x="1715" y="2410"/>
                </a:lnTo>
                <a:lnTo>
                  <a:pt x="1713" y="2433"/>
                </a:lnTo>
                <a:lnTo>
                  <a:pt x="1711" y="2456"/>
                </a:lnTo>
                <a:lnTo>
                  <a:pt x="1711" y="2478"/>
                </a:lnTo>
                <a:lnTo>
                  <a:pt x="1711" y="2499"/>
                </a:lnTo>
                <a:lnTo>
                  <a:pt x="1713" y="2519"/>
                </a:lnTo>
                <a:lnTo>
                  <a:pt x="1716" y="2536"/>
                </a:lnTo>
                <a:lnTo>
                  <a:pt x="1719" y="2544"/>
                </a:lnTo>
                <a:lnTo>
                  <a:pt x="1722" y="2551"/>
                </a:lnTo>
                <a:lnTo>
                  <a:pt x="1726" y="2557"/>
                </a:lnTo>
                <a:lnTo>
                  <a:pt x="1730" y="2562"/>
                </a:lnTo>
                <a:lnTo>
                  <a:pt x="2050" y="2479"/>
                </a:lnTo>
                <a:lnTo>
                  <a:pt x="2050" y="2479"/>
                </a:lnTo>
                <a:lnTo>
                  <a:pt x="2046" y="2469"/>
                </a:lnTo>
                <a:lnTo>
                  <a:pt x="2043" y="2457"/>
                </a:lnTo>
                <a:lnTo>
                  <a:pt x="2041" y="2446"/>
                </a:lnTo>
                <a:lnTo>
                  <a:pt x="2039" y="2434"/>
                </a:lnTo>
                <a:lnTo>
                  <a:pt x="2038" y="2422"/>
                </a:lnTo>
                <a:lnTo>
                  <a:pt x="2038" y="2409"/>
                </a:lnTo>
                <a:lnTo>
                  <a:pt x="2039" y="2383"/>
                </a:lnTo>
                <a:lnTo>
                  <a:pt x="2043" y="2356"/>
                </a:lnTo>
                <a:lnTo>
                  <a:pt x="2048" y="2330"/>
                </a:lnTo>
                <a:lnTo>
                  <a:pt x="2055" y="2303"/>
                </a:lnTo>
                <a:lnTo>
                  <a:pt x="2064" y="2279"/>
                </a:lnTo>
                <a:lnTo>
                  <a:pt x="2064" y="2279"/>
                </a:lnTo>
                <a:lnTo>
                  <a:pt x="2072" y="2306"/>
                </a:lnTo>
                <a:lnTo>
                  <a:pt x="2079" y="2335"/>
                </a:lnTo>
                <a:lnTo>
                  <a:pt x="2088" y="2362"/>
                </a:lnTo>
                <a:lnTo>
                  <a:pt x="2098" y="2390"/>
                </a:lnTo>
                <a:lnTo>
                  <a:pt x="2108" y="2417"/>
                </a:lnTo>
                <a:lnTo>
                  <a:pt x="2121" y="2443"/>
                </a:lnTo>
                <a:lnTo>
                  <a:pt x="2135" y="2469"/>
                </a:lnTo>
                <a:lnTo>
                  <a:pt x="2149" y="2494"/>
                </a:lnTo>
                <a:lnTo>
                  <a:pt x="2166" y="2519"/>
                </a:lnTo>
                <a:lnTo>
                  <a:pt x="2183" y="2541"/>
                </a:lnTo>
                <a:lnTo>
                  <a:pt x="2201" y="2563"/>
                </a:lnTo>
                <a:lnTo>
                  <a:pt x="2222" y="2583"/>
                </a:lnTo>
                <a:lnTo>
                  <a:pt x="2244" y="2603"/>
                </a:lnTo>
                <a:lnTo>
                  <a:pt x="2268" y="2619"/>
                </a:lnTo>
                <a:lnTo>
                  <a:pt x="2280" y="2627"/>
                </a:lnTo>
                <a:lnTo>
                  <a:pt x="2292" y="2634"/>
                </a:lnTo>
                <a:lnTo>
                  <a:pt x="2306" y="2641"/>
                </a:lnTo>
                <a:lnTo>
                  <a:pt x="2320" y="2648"/>
                </a:lnTo>
                <a:lnTo>
                  <a:pt x="2320" y="2648"/>
                </a:lnTo>
                <a:lnTo>
                  <a:pt x="2365" y="2667"/>
                </a:lnTo>
                <a:lnTo>
                  <a:pt x="2410" y="2685"/>
                </a:lnTo>
                <a:lnTo>
                  <a:pt x="2454" y="2702"/>
                </a:lnTo>
                <a:lnTo>
                  <a:pt x="2499" y="2718"/>
                </a:lnTo>
                <a:lnTo>
                  <a:pt x="2544" y="2733"/>
                </a:lnTo>
                <a:lnTo>
                  <a:pt x="2589" y="2749"/>
                </a:lnTo>
                <a:lnTo>
                  <a:pt x="2683" y="2778"/>
                </a:lnTo>
                <a:lnTo>
                  <a:pt x="2782" y="2807"/>
                </a:lnTo>
                <a:lnTo>
                  <a:pt x="2889" y="2838"/>
                </a:lnTo>
                <a:lnTo>
                  <a:pt x="3005" y="2872"/>
                </a:lnTo>
                <a:lnTo>
                  <a:pt x="3133" y="2908"/>
                </a:lnTo>
                <a:lnTo>
                  <a:pt x="3133" y="2908"/>
                </a:lnTo>
                <a:lnTo>
                  <a:pt x="3205" y="2931"/>
                </a:lnTo>
                <a:lnTo>
                  <a:pt x="3273" y="2954"/>
                </a:lnTo>
                <a:lnTo>
                  <a:pt x="3305" y="2966"/>
                </a:lnTo>
                <a:lnTo>
                  <a:pt x="3333" y="2977"/>
                </a:lnTo>
                <a:lnTo>
                  <a:pt x="3358" y="2987"/>
                </a:lnTo>
                <a:lnTo>
                  <a:pt x="3377" y="2996"/>
                </a:lnTo>
                <a:lnTo>
                  <a:pt x="3377" y="2996"/>
                </a:lnTo>
                <a:lnTo>
                  <a:pt x="3383" y="2999"/>
                </a:lnTo>
                <a:lnTo>
                  <a:pt x="3389" y="3003"/>
                </a:lnTo>
                <a:lnTo>
                  <a:pt x="3393" y="3006"/>
                </a:lnTo>
                <a:lnTo>
                  <a:pt x="3397" y="3011"/>
                </a:lnTo>
                <a:lnTo>
                  <a:pt x="3399" y="3015"/>
                </a:lnTo>
                <a:lnTo>
                  <a:pt x="3401" y="3020"/>
                </a:lnTo>
                <a:lnTo>
                  <a:pt x="3402" y="3024"/>
                </a:lnTo>
                <a:lnTo>
                  <a:pt x="3402" y="3028"/>
                </a:lnTo>
                <a:lnTo>
                  <a:pt x="3401" y="3037"/>
                </a:lnTo>
                <a:lnTo>
                  <a:pt x="3397" y="3046"/>
                </a:lnTo>
                <a:lnTo>
                  <a:pt x="3392" y="3055"/>
                </a:lnTo>
                <a:lnTo>
                  <a:pt x="3386" y="3064"/>
                </a:lnTo>
                <a:lnTo>
                  <a:pt x="3378" y="3072"/>
                </a:lnTo>
                <a:lnTo>
                  <a:pt x="3371" y="3080"/>
                </a:lnTo>
                <a:lnTo>
                  <a:pt x="3357" y="3092"/>
                </a:lnTo>
                <a:lnTo>
                  <a:pt x="3346" y="3102"/>
                </a:lnTo>
                <a:lnTo>
                  <a:pt x="3341" y="3105"/>
                </a:lnTo>
                <a:lnTo>
                  <a:pt x="3341" y="3105"/>
                </a:lnTo>
                <a:lnTo>
                  <a:pt x="3355" y="3113"/>
                </a:lnTo>
                <a:lnTo>
                  <a:pt x="3371" y="3121"/>
                </a:lnTo>
                <a:lnTo>
                  <a:pt x="3411" y="3139"/>
                </a:lnTo>
                <a:lnTo>
                  <a:pt x="3435" y="3152"/>
                </a:lnTo>
                <a:lnTo>
                  <a:pt x="3461" y="3167"/>
                </a:lnTo>
                <a:lnTo>
                  <a:pt x="3492" y="3186"/>
                </a:lnTo>
                <a:lnTo>
                  <a:pt x="3527" y="3211"/>
                </a:lnTo>
                <a:lnTo>
                  <a:pt x="3527" y="3211"/>
                </a:lnTo>
                <a:lnTo>
                  <a:pt x="3545" y="3226"/>
                </a:lnTo>
                <a:lnTo>
                  <a:pt x="3563" y="3244"/>
                </a:lnTo>
                <a:lnTo>
                  <a:pt x="3580" y="3263"/>
                </a:lnTo>
                <a:lnTo>
                  <a:pt x="3595" y="3284"/>
                </a:lnTo>
                <a:lnTo>
                  <a:pt x="3608" y="3305"/>
                </a:lnTo>
                <a:lnTo>
                  <a:pt x="3622" y="3329"/>
                </a:lnTo>
                <a:lnTo>
                  <a:pt x="3634" y="3352"/>
                </a:lnTo>
                <a:lnTo>
                  <a:pt x="3645" y="3378"/>
                </a:lnTo>
                <a:lnTo>
                  <a:pt x="3655" y="3404"/>
                </a:lnTo>
                <a:lnTo>
                  <a:pt x="3665" y="3432"/>
                </a:lnTo>
                <a:lnTo>
                  <a:pt x="3674" y="3460"/>
                </a:lnTo>
                <a:lnTo>
                  <a:pt x="3682" y="3489"/>
                </a:lnTo>
                <a:lnTo>
                  <a:pt x="3698" y="3549"/>
                </a:lnTo>
                <a:lnTo>
                  <a:pt x="3714" y="3612"/>
                </a:lnTo>
                <a:lnTo>
                  <a:pt x="3714" y="3612"/>
                </a:lnTo>
                <a:lnTo>
                  <a:pt x="3725" y="3662"/>
                </a:lnTo>
                <a:lnTo>
                  <a:pt x="3734" y="3715"/>
                </a:lnTo>
                <a:lnTo>
                  <a:pt x="3742" y="3768"/>
                </a:lnTo>
                <a:lnTo>
                  <a:pt x="3744" y="3795"/>
                </a:lnTo>
                <a:lnTo>
                  <a:pt x="3746" y="3819"/>
                </a:lnTo>
                <a:lnTo>
                  <a:pt x="3748" y="3844"/>
                </a:lnTo>
                <a:lnTo>
                  <a:pt x="3749" y="3867"/>
                </a:lnTo>
                <a:lnTo>
                  <a:pt x="3748" y="3889"/>
                </a:lnTo>
                <a:lnTo>
                  <a:pt x="3745" y="3909"/>
                </a:lnTo>
                <a:lnTo>
                  <a:pt x="3742" y="3928"/>
                </a:lnTo>
                <a:lnTo>
                  <a:pt x="3737" y="3944"/>
                </a:lnTo>
                <a:lnTo>
                  <a:pt x="3731" y="3957"/>
                </a:lnTo>
                <a:lnTo>
                  <a:pt x="3728" y="3963"/>
                </a:lnTo>
                <a:lnTo>
                  <a:pt x="3724" y="3969"/>
                </a:lnTo>
                <a:lnTo>
                  <a:pt x="3724" y="3969"/>
                </a:lnTo>
                <a:lnTo>
                  <a:pt x="3715" y="3979"/>
                </a:lnTo>
                <a:lnTo>
                  <a:pt x="3705" y="3989"/>
                </a:lnTo>
                <a:lnTo>
                  <a:pt x="3691" y="3998"/>
                </a:lnTo>
                <a:lnTo>
                  <a:pt x="3683" y="4003"/>
                </a:lnTo>
                <a:lnTo>
                  <a:pt x="3673" y="4008"/>
                </a:lnTo>
                <a:lnTo>
                  <a:pt x="3663" y="4014"/>
                </a:lnTo>
                <a:lnTo>
                  <a:pt x="3650" y="4019"/>
                </a:lnTo>
                <a:lnTo>
                  <a:pt x="3621" y="4028"/>
                </a:lnTo>
                <a:lnTo>
                  <a:pt x="3582" y="4038"/>
                </a:lnTo>
                <a:lnTo>
                  <a:pt x="3535" y="4048"/>
                </a:lnTo>
                <a:lnTo>
                  <a:pt x="3560" y="4171"/>
                </a:lnTo>
                <a:lnTo>
                  <a:pt x="3560" y="4171"/>
                </a:lnTo>
                <a:lnTo>
                  <a:pt x="3579" y="4172"/>
                </a:lnTo>
                <a:lnTo>
                  <a:pt x="3597" y="4172"/>
                </a:lnTo>
                <a:lnTo>
                  <a:pt x="3615" y="4171"/>
                </a:lnTo>
                <a:lnTo>
                  <a:pt x="3631" y="4169"/>
                </a:lnTo>
                <a:lnTo>
                  <a:pt x="3646" y="4167"/>
                </a:lnTo>
                <a:lnTo>
                  <a:pt x="3662" y="4164"/>
                </a:lnTo>
                <a:lnTo>
                  <a:pt x="3688" y="4157"/>
                </a:lnTo>
                <a:lnTo>
                  <a:pt x="3711" y="4150"/>
                </a:lnTo>
                <a:lnTo>
                  <a:pt x="3728" y="4143"/>
                </a:lnTo>
                <a:lnTo>
                  <a:pt x="3742" y="4137"/>
                </a:lnTo>
                <a:lnTo>
                  <a:pt x="3742" y="4137"/>
                </a:lnTo>
                <a:lnTo>
                  <a:pt x="3736" y="4143"/>
                </a:lnTo>
                <a:lnTo>
                  <a:pt x="3730" y="4151"/>
                </a:lnTo>
                <a:lnTo>
                  <a:pt x="3722" y="4161"/>
                </a:lnTo>
                <a:lnTo>
                  <a:pt x="3722" y="4161"/>
                </a:lnTo>
                <a:lnTo>
                  <a:pt x="3711" y="4177"/>
                </a:lnTo>
                <a:lnTo>
                  <a:pt x="3700" y="4194"/>
                </a:lnTo>
                <a:lnTo>
                  <a:pt x="3692" y="4209"/>
                </a:lnTo>
                <a:lnTo>
                  <a:pt x="3685" y="4224"/>
                </a:lnTo>
                <a:lnTo>
                  <a:pt x="3680" y="4240"/>
                </a:lnTo>
                <a:lnTo>
                  <a:pt x="3675" y="4257"/>
                </a:lnTo>
                <a:lnTo>
                  <a:pt x="3672" y="4274"/>
                </a:lnTo>
                <a:lnTo>
                  <a:pt x="3669" y="4295"/>
                </a:lnTo>
                <a:lnTo>
                  <a:pt x="3799" y="4379"/>
                </a:lnTo>
                <a:lnTo>
                  <a:pt x="3799" y="4379"/>
                </a:lnTo>
                <a:lnTo>
                  <a:pt x="3812" y="4338"/>
                </a:lnTo>
                <a:lnTo>
                  <a:pt x="3826" y="4298"/>
                </a:lnTo>
                <a:lnTo>
                  <a:pt x="3841" y="4262"/>
                </a:lnTo>
                <a:lnTo>
                  <a:pt x="3855" y="4229"/>
                </a:lnTo>
                <a:lnTo>
                  <a:pt x="3870" y="4202"/>
                </a:lnTo>
                <a:lnTo>
                  <a:pt x="3877" y="4189"/>
                </a:lnTo>
                <a:lnTo>
                  <a:pt x="3885" y="4179"/>
                </a:lnTo>
                <a:lnTo>
                  <a:pt x="3892" y="4170"/>
                </a:lnTo>
                <a:lnTo>
                  <a:pt x="3899" y="4163"/>
                </a:lnTo>
                <a:lnTo>
                  <a:pt x="3906" y="4158"/>
                </a:lnTo>
                <a:lnTo>
                  <a:pt x="3913" y="4154"/>
                </a:lnTo>
                <a:lnTo>
                  <a:pt x="3913" y="4154"/>
                </a:lnTo>
                <a:lnTo>
                  <a:pt x="3919" y="4152"/>
                </a:lnTo>
                <a:lnTo>
                  <a:pt x="3926" y="4152"/>
                </a:lnTo>
                <a:lnTo>
                  <a:pt x="3935" y="4152"/>
                </a:lnTo>
                <a:lnTo>
                  <a:pt x="3944" y="4153"/>
                </a:lnTo>
                <a:lnTo>
                  <a:pt x="3954" y="4155"/>
                </a:lnTo>
                <a:lnTo>
                  <a:pt x="3965" y="4157"/>
                </a:lnTo>
                <a:lnTo>
                  <a:pt x="3990" y="4166"/>
                </a:lnTo>
                <a:lnTo>
                  <a:pt x="4017" y="4177"/>
                </a:lnTo>
                <a:lnTo>
                  <a:pt x="4047" y="4192"/>
                </a:lnTo>
                <a:lnTo>
                  <a:pt x="4078" y="4212"/>
                </a:lnTo>
                <a:lnTo>
                  <a:pt x="4110" y="4233"/>
                </a:lnTo>
                <a:lnTo>
                  <a:pt x="4127" y="4246"/>
                </a:lnTo>
                <a:lnTo>
                  <a:pt x="4143" y="4259"/>
                </a:lnTo>
                <a:lnTo>
                  <a:pt x="4160" y="4273"/>
                </a:lnTo>
                <a:lnTo>
                  <a:pt x="4176" y="4288"/>
                </a:lnTo>
                <a:lnTo>
                  <a:pt x="4192" y="4303"/>
                </a:lnTo>
                <a:lnTo>
                  <a:pt x="4208" y="4319"/>
                </a:lnTo>
                <a:lnTo>
                  <a:pt x="4224" y="4337"/>
                </a:lnTo>
                <a:lnTo>
                  <a:pt x="4239" y="4355"/>
                </a:lnTo>
                <a:lnTo>
                  <a:pt x="4254" y="4373"/>
                </a:lnTo>
                <a:lnTo>
                  <a:pt x="4268" y="4393"/>
                </a:lnTo>
                <a:lnTo>
                  <a:pt x="4282" y="4413"/>
                </a:lnTo>
                <a:lnTo>
                  <a:pt x="4296" y="4435"/>
                </a:lnTo>
                <a:lnTo>
                  <a:pt x="4308" y="4456"/>
                </a:lnTo>
                <a:lnTo>
                  <a:pt x="4320" y="4479"/>
                </a:lnTo>
                <a:lnTo>
                  <a:pt x="4331" y="4502"/>
                </a:lnTo>
                <a:lnTo>
                  <a:pt x="4342" y="4527"/>
                </a:lnTo>
                <a:lnTo>
                  <a:pt x="4342" y="4527"/>
                </a:lnTo>
                <a:lnTo>
                  <a:pt x="4347" y="4541"/>
                </a:lnTo>
                <a:lnTo>
                  <a:pt x="4352" y="4558"/>
                </a:lnTo>
                <a:lnTo>
                  <a:pt x="4356" y="4574"/>
                </a:lnTo>
                <a:lnTo>
                  <a:pt x="4360" y="4591"/>
                </a:lnTo>
                <a:lnTo>
                  <a:pt x="4363" y="4610"/>
                </a:lnTo>
                <a:lnTo>
                  <a:pt x="4366" y="4628"/>
                </a:lnTo>
                <a:lnTo>
                  <a:pt x="4370" y="4667"/>
                </a:lnTo>
                <a:lnTo>
                  <a:pt x="4372" y="4706"/>
                </a:lnTo>
                <a:lnTo>
                  <a:pt x="4371" y="4747"/>
                </a:lnTo>
                <a:lnTo>
                  <a:pt x="4370" y="4767"/>
                </a:lnTo>
                <a:lnTo>
                  <a:pt x="4369" y="4787"/>
                </a:lnTo>
                <a:lnTo>
                  <a:pt x="4366" y="4807"/>
                </a:lnTo>
                <a:lnTo>
                  <a:pt x="4363" y="4826"/>
                </a:lnTo>
                <a:lnTo>
                  <a:pt x="4360" y="4846"/>
                </a:lnTo>
                <a:lnTo>
                  <a:pt x="4356" y="4864"/>
                </a:lnTo>
                <a:lnTo>
                  <a:pt x="4351" y="4883"/>
                </a:lnTo>
                <a:lnTo>
                  <a:pt x="4345" y="4900"/>
                </a:lnTo>
                <a:lnTo>
                  <a:pt x="4339" y="4917"/>
                </a:lnTo>
                <a:lnTo>
                  <a:pt x="4332" y="4933"/>
                </a:lnTo>
                <a:lnTo>
                  <a:pt x="4324" y="4948"/>
                </a:lnTo>
                <a:lnTo>
                  <a:pt x="4316" y="4962"/>
                </a:lnTo>
                <a:lnTo>
                  <a:pt x="4307" y="4976"/>
                </a:lnTo>
                <a:lnTo>
                  <a:pt x="4298" y="4988"/>
                </a:lnTo>
                <a:lnTo>
                  <a:pt x="4287" y="4999"/>
                </a:lnTo>
                <a:lnTo>
                  <a:pt x="4276" y="5008"/>
                </a:lnTo>
                <a:lnTo>
                  <a:pt x="4264" y="5017"/>
                </a:lnTo>
                <a:lnTo>
                  <a:pt x="4252" y="5024"/>
                </a:lnTo>
                <a:lnTo>
                  <a:pt x="4238" y="5029"/>
                </a:lnTo>
                <a:lnTo>
                  <a:pt x="4224" y="5032"/>
                </a:lnTo>
                <a:lnTo>
                  <a:pt x="4224" y="5032"/>
                </a:lnTo>
                <a:lnTo>
                  <a:pt x="4216" y="5033"/>
                </a:lnTo>
                <a:lnTo>
                  <a:pt x="4208" y="5033"/>
                </a:lnTo>
                <a:lnTo>
                  <a:pt x="4198" y="5032"/>
                </a:lnTo>
                <a:lnTo>
                  <a:pt x="4188" y="5030"/>
                </a:lnTo>
                <a:lnTo>
                  <a:pt x="4168" y="5025"/>
                </a:lnTo>
                <a:lnTo>
                  <a:pt x="4145" y="5017"/>
                </a:lnTo>
                <a:lnTo>
                  <a:pt x="4123" y="5006"/>
                </a:lnTo>
                <a:lnTo>
                  <a:pt x="4099" y="4995"/>
                </a:lnTo>
                <a:lnTo>
                  <a:pt x="4051" y="4973"/>
                </a:lnTo>
                <a:lnTo>
                  <a:pt x="4028" y="4961"/>
                </a:lnTo>
                <a:lnTo>
                  <a:pt x="4005" y="4952"/>
                </a:lnTo>
                <a:lnTo>
                  <a:pt x="3984" y="4945"/>
                </a:lnTo>
                <a:lnTo>
                  <a:pt x="3964" y="4940"/>
                </a:lnTo>
                <a:lnTo>
                  <a:pt x="3955" y="4939"/>
                </a:lnTo>
                <a:lnTo>
                  <a:pt x="3947" y="4938"/>
                </a:lnTo>
                <a:lnTo>
                  <a:pt x="3939" y="4939"/>
                </a:lnTo>
                <a:lnTo>
                  <a:pt x="3932" y="4940"/>
                </a:lnTo>
                <a:lnTo>
                  <a:pt x="3924" y="4943"/>
                </a:lnTo>
                <a:lnTo>
                  <a:pt x="3919" y="4947"/>
                </a:lnTo>
                <a:lnTo>
                  <a:pt x="3914" y="4952"/>
                </a:lnTo>
                <a:lnTo>
                  <a:pt x="3909" y="4958"/>
                </a:lnTo>
                <a:lnTo>
                  <a:pt x="3909" y="4958"/>
                </a:lnTo>
                <a:lnTo>
                  <a:pt x="3905" y="4965"/>
                </a:lnTo>
                <a:lnTo>
                  <a:pt x="3900" y="4973"/>
                </a:lnTo>
                <a:lnTo>
                  <a:pt x="3893" y="4979"/>
                </a:lnTo>
                <a:lnTo>
                  <a:pt x="3886" y="4985"/>
                </a:lnTo>
                <a:lnTo>
                  <a:pt x="3869" y="4996"/>
                </a:lnTo>
                <a:lnTo>
                  <a:pt x="3851" y="5006"/>
                </a:lnTo>
                <a:lnTo>
                  <a:pt x="3810" y="5028"/>
                </a:lnTo>
                <a:lnTo>
                  <a:pt x="3789" y="5039"/>
                </a:lnTo>
                <a:lnTo>
                  <a:pt x="3770" y="5052"/>
                </a:lnTo>
                <a:lnTo>
                  <a:pt x="3761" y="5058"/>
                </a:lnTo>
                <a:lnTo>
                  <a:pt x="3752" y="5067"/>
                </a:lnTo>
                <a:lnTo>
                  <a:pt x="3743" y="5074"/>
                </a:lnTo>
                <a:lnTo>
                  <a:pt x="3735" y="5083"/>
                </a:lnTo>
                <a:lnTo>
                  <a:pt x="3728" y="5092"/>
                </a:lnTo>
                <a:lnTo>
                  <a:pt x="3722" y="5102"/>
                </a:lnTo>
                <a:lnTo>
                  <a:pt x="3717" y="5113"/>
                </a:lnTo>
                <a:lnTo>
                  <a:pt x="3713" y="5125"/>
                </a:lnTo>
                <a:lnTo>
                  <a:pt x="3710" y="5137"/>
                </a:lnTo>
                <a:lnTo>
                  <a:pt x="3708" y="5151"/>
                </a:lnTo>
                <a:lnTo>
                  <a:pt x="3707" y="5165"/>
                </a:lnTo>
                <a:lnTo>
                  <a:pt x="3707" y="5181"/>
                </a:lnTo>
                <a:lnTo>
                  <a:pt x="3709" y="5198"/>
                </a:lnTo>
                <a:lnTo>
                  <a:pt x="3713" y="5215"/>
                </a:lnTo>
                <a:lnTo>
                  <a:pt x="3718" y="5234"/>
                </a:lnTo>
                <a:lnTo>
                  <a:pt x="3724" y="5255"/>
                </a:lnTo>
                <a:lnTo>
                  <a:pt x="3724" y="5255"/>
                </a:lnTo>
                <a:lnTo>
                  <a:pt x="3741" y="5234"/>
                </a:lnTo>
                <a:lnTo>
                  <a:pt x="3759" y="5213"/>
                </a:lnTo>
                <a:lnTo>
                  <a:pt x="3776" y="5194"/>
                </a:lnTo>
                <a:lnTo>
                  <a:pt x="3794" y="5178"/>
                </a:lnTo>
                <a:lnTo>
                  <a:pt x="3802" y="5171"/>
                </a:lnTo>
                <a:lnTo>
                  <a:pt x="3811" y="5165"/>
                </a:lnTo>
                <a:lnTo>
                  <a:pt x="3819" y="5159"/>
                </a:lnTo>
                <a:lnTo>
                  <a:pt x="3827" y="5155"/>
                </a:lnTo>
                <a:lnTo>
                  <a:pt x="3835" y="5153"/>
                </a:lnTo>
                <a:lnTo>
                  <a:pt x="3843" y="5151"/>
                </a:lnTo>
                <a:lnTo>
                  <a:pt x="3850" y="5151"/>
                </a:lnTo>
                <a:lnTo>
                  <a:pt x="3857" y="5153"/>
                </a:lnTo>
                <a:lnTo>
                  <a:pt x="3857" y="5153"/>
                </a:lnTo>
                <a:lnTo>
                  <a:pt x="3861" y="5155"/>
                </a:lnTo>
                <a:lnTo>
                  <a:pt x="3864" y="5157"/>
                </a:lnTo>
                <a:lnTo>
                  <a:pt x="3870" y="5163"/>
                </a:lnTo>
                <a:lnTo>
                  <a:pt x="3875" y="5171"/>
                </a:lnTo>
                <a:lnTo>
                  <a:pt x="3879" y="5179"/>
                </a:lnTo>
                <a:lnTo>
                  <a:pt x="3888" y="5200"/>
                </a:lnTo>
                <a:lnTo>
                  <a:pt x="3894" y="5210"/>
                </a:lnTo>
                <a:lnTo>
                  <a:pt x="3901" y="5220"/>
                </a:lnTo>
                <a:lnTo>
                  <a:pt x="3901" y="5220"/>
                </a:lnTo>
                <a:lnTo>
                  <a:pt x="3904" y="5223"/>
                </a:lnTo>
                <a:lnTo>
                  <a:pt x="3908" y="5225"/>
                </a:lnTo>
                <a:lnTo>
                  <a:pt x="3913" y="5227"/>
                </a:lnTo>
                <a:lnTo>
                  <a:pt x="3919" y="5228"/>
                </a:lnTo>
                <a:lnTo>
                  <a:pt x="3934" y="5230"/>
                </a:lnTo>
                <a:lnTo>
                  <a:pt x="3950" y="5230"/>
                </a:lnTo>
                <a:lnTo>
                  <a:pt x="3968" y="5229"/>
                </a:lnTo>
                <a:lnTo>
                  <a:pt x="3989" y="5227"/>
                </a:lnTo>
                <a:lnTo>
                  <a:pt x="4032" y="5223"/>
                </a:lnTo>
                <a:lnTo>
                  <a:pt x="4074" y="5219"/>
                </a:lnTo>
                <a:lnTo>
                  <a:pt x="4093" y="5217"/>
                </a:lnTo>
                <a:lnTo>
                  <a:pt x="4110" y="5217"/>
                </a:lnTo>
                <a:lnTo>
                  <a:pt x="4126" y="5217"/>
                </a:lnTo>
                <a:lnTo>
                  <a:pt x="4137" y="5219"/>
                </a:lnTo>
                <a:lnTo>
                  <a:pt x="4142" y="5221"/>
                </a:lnTo>
                <a:lnTo>
                  <a:pt x="4146" y="5223"/>
                </a:lnTo>
                <a:lnTo>
                  <a:pt x="4148" y="5225"/>
                </a:lnTo>
                <a:lnTo>
                  <a:pt x="4150" y="5228"/>
                </a:lnTo>
                <a:lnTo>
                  <a:pt x="4150" y="5228"/>
                </a:lnTo>
                <a:lnTo>
                  <a:pt x="4151" y="5231"/>
                </a:lnTo>
                <a:lnTo>
                  <a:pt x="4150" y="5234"/>
                </a:lnTo>
                <a:lnTo>
                  <a:pt x="4149" y="5236"/>
                </a:lnTo>
                <a:lnTo>
                  <a:pt x="4148" y="5238"/>
                </a:lnTo>
                <a:lnTo>
                  <a:pt x="4143" y="5242"/>
                </a:lnTo>
                <a:lnTo>
                  <a:pt x="4136" y="5243"/>
                </a:lnTo>
                <a:lnTo>
                  <a:pt x="4118" y="5246"/>
                </a:lnTo>
                <a:lnTo>
                  <a:pt x="4100" y="5248"/>
                </a:lnTo>
                <a:lnTo>
                  <a:pt x="4100" y="5248"/>
                </a:lnTo>
                <a:lnTo>
                  <a:pt x="4021" y="5262"/>
                </a:lnTo>
                <a:lnTo>
                  <a:pt x="3981" y="5269"/>
                </a:lnTo>
                <a:lnTo>
                  <a:pt x="3943" y="5277"/>
                </a:lnTo>
                <a:lnTo>
                  <a:pt x="3925" y="5282"/>
                </a:lnTo>
                <a:lnTo>
                  <a:pt x="3909" y="5288"/>
                </a:lnTo>
                <a:lnTo>
                  <a:pt x="3894" y="5294"/>
                </a:lnTo>
                <a:lnTo>
                  <a:pt x="3881" y="5300"/>
                </a:lnTo>
                <a:lnTo>
                  <a:pt x="3869" y="5306"/>
                </a:lnTo>
                <a:lnTo>
                  <a:pt x="3860" y="5314"/>
                </a:lnTo>
                <a:lnTo>
                  <a:pt x="3853" y="5322"/>
                </a:lnTo>
                <a:lnTo>
                  <a:pt x="3850" y="5326"/>
                </a:lnTo>
                <a:lnTo>
                  <a:pt x="3848" y="5331"/>
                </a:lnTo>
                <a:lnTo>
                  <a:pt x="3848" y="5331"/>
                </a:lnTo>
                <a:lnTo>
                  <a:pt x="3846" y="5338"/>
                </a:lnTo>
                <a:lnTo>
                  <a:pt x="3846" y="5342"/>
                </a:lnTo>
                <a:lnTo>
                  <a:pt x="3847" y="5352"/>
                </a:lnTo>
                <a:lnTo>
                  <a:pt x="3847" y="5357"/>
                </a:lnTo>
                <a:lnTo>
                  <a:pt x="3846" y="5363"/>
                </a:lnTo>
                <a:lnTo>
                  <a:pt x="3845" y="5371"/>
                </a:lnTo>
                <a:lnTo>
                  <a:pt x="3842" y="5382"/>
                </a:lnTo>
                <a:lnTo>
                  <a:pt x="3842" y="5382"/>
                </a:lnTo>
                <a:lnTo>
                  <a:pt x="3837" y="5393"/>
                </a:lnTo>
                <a:lnTo>
                  <a:pt x="3831" y="5402"/>
                </a:lnTo>
                <a:lnTo>
                  <a:pt x="3823" y="5410"/>
                </a:lnTo>
                <a:lnTo>
                  <a:pt x="3815" y="5418"/>
                </a:lnTo>
                <a:lnTo>
                  <a:pt x="3796" y="5434"/>
                </a:lnTo>
                <a:lnTo>
                  <a:pt x="3786" y="5442"/>
                </a:lnTo>
                <a:lnTo>
                  <a:pt x="3776" y="5451"/>
                </a:lnTo>
                <a:lnTo>
                  <a:pt x="3767" y="5460"/>
                </a:lnTo>
                <a:lnTo>
                  <a:pt x="3758" y="5472"/>
                </a:lnTo>
                <a:lnTo>
                  <a:pt x="3750" y="5485"/>
                </a:lnTo>
                <a:lnTo>
                  <a:pt x="3742" y="5499"/>
                </a:lnTo>
                <a:lnTo>
                  <a:pt x="3736" y="5517"/>
                </a:lnTo>
                <a:lnTo>
                  <a:pt x="3732" y="5536"/>
                </a:lnTo>
                <a:lnTo>
                  <a:pt x="3730" y="5558"/>
                </a:lnTo>
                <a:lnTo>
                  <a:pt x="3730" y="5584"/>
                </a:lnTo>
                <a:lnTo>
                  <a:pt x="3730" y="5584"/>
                </a:lnTo>
                <a:lnTo>
                  <a:pt x="3732" y="5597"/>
                </a:lnTo>
                <a:lnTo>
                  <a:pt x="3735" y="5610"/>
                </a:lnTo>
                <a:lnTo>
                  <a:pt x="3739" y="5622"/>
                </a:lnTo>
                <a:lnTo>
                  <a:pt x="3744" y="5634"/>
                </a:lnTo>
                <a:lnTo>
                  <a:pt x="3751" y="5644"/>
                </a:lnTo>
                <a:lnTo>
                  <a:pt x="3757" y="5656"/>
                </a:lnTo>
                <a:lnTo>
                  <a:pt x="3763" y="5665"/>
                </a:lnTo>
                <a:lnTo>
                  <a:pt x="3770" y="5674"/>
                </a:lnTo>
                <a:lnTo>
                  <a:pt x="3784" y="5689"/>
                </a:lnTo>
                <a:lnTo>
                  <a:pt x="3797" y="5701"/>
                </a:lnTo>
                <a:lnTo>
                  <a:pt x="3807" y="5708"/>
                </a:lnTo>
                <a:lnTo>
                  <a:pt x="3810" y="5710"/>
                </a:lnTo>
                <a:lnTo>
                  <a:pt x="3813" y="5711"/>
                </a:lnTo>
                <a:lnTo>
                  <a:pt x="3813" y="5711"/>
                </a:lnTo>
                <a:lnTo>
                  <a:pt x="3814" y="5710"/>
                </a:lnTo>
                <a:lnTo>
                  <a:pt x="3815" y="5709"/>
                </a:lnTo>
                <a:lnTo>
                  <a:pt x="3816" y="5704"/>
                </a:lnTo>
                <a:lnTo>
                  <a:pt x="3818" y="5696"/>
                </a:lnTo>
                <a:lnTo>
                  <a:pt x="3818" y="5686"/>
                </a:lnTo>
                <a:lnTo>
                  <a:pt x="3820" y="5662"/>
                </a:lnTo>
                <a:lnTo>
                  <a:pt x="3823" y="5633"/>
                </a:lnTo>
                <a:lnTo>
                  <a:pt x="3825" y="5619"/>
                </a:lnTo>
                <a:lnTo>
                  <a:pt x="3828" y="5603"/>
                </a:lnTo>
                <a:lnTo>
                  <a:pt x="3831" y="5590"/>
                </a:lnTo>
                <a:lnTo>
                  <a:pt x="3836" y="5577"/>
                </a:lnTo>
                <a:lnTo>
                  <a:pt x="3843" y="5566"/>
                </a:lnTo>
                <a:lnTo>
                  <a:pt x="3847" y="5562"/>
                </a:lnTo>
                <a:lnTo>
                  <a:pt x="3851" y="5556"/>
                </a:lnTo>
                <a:lnTo>
                  <a:pt x="3855" y="5553"/>
                </a:lnTo>
                <a:lnTo>
                  <a:pt x="3860" y="5550"/>
                </a:lnTo>
                <a:lnTo>
                  <a:pt x="3865" y="5547"/>
                </a:lnTo>
                <a:lnTo>
                  <a:pt x="3871" y="5546"/>
                </a:lnTo>
                <a:lnTo>
                  <a:pt x="3871" y="5546"/>
                </a:lnTo>
                <a:lnTo>
                  <a:pt x="3877" y="5545"/>
                </a:lnTo>
                <a:lnTo>
                  <a:pt x="3882" y="5546"/>
                </a:lnTo>
                <a:lnTo>
                  <a:pt x="3888" y="5548"/>
                </a:lnTo>
                <a:lnTo>
                  <a:pt x="3892" y="5552"/>
                </a:lnTo>
                <a:lnTo>
                  <a:pt x="3902" y="5561"/>
                </a:lnTo>
                <a:lnTo>
                  <a:pt x="3911" y="5571"/>
                </a:lnTo>
                <a:lnTo>
                  <a:pt x="3921" y="5581"/>
                </a:lnTo>
                <a:lnTo>
                  <a:pt x="3926" y="5586"/>
                </a:lnTo>
                <a:lnTo>
                  <a:pt x="3933" y="5590"/>
                </a:lnTo>
                <a:lnTo>
                  <a:pt x="3940" y="5594"/>
                </a:lnTo>
                <a:lnTo>
                  <a:pt x="3946" y="5597"/>
                </a:lnTo>
                <a:lnTo>
                  <a:pt x="3954" y="5598"/>
                </a:lnTo>
                <a:lnTo>
                  <a:pt x="3962" y="5599"/>
                </a:lnTo>
                <a:lnTo>
                  <a:pt x="3962" y="5599"/>
                </a:lnTo>
                <a:lnTo>
                  <a:pt x="3970" y="5598"/>
                </a:lnTo>
                <a:lnTo>
                  <a:pt x="3979" y="5595"/>
                </a:lnTo>
                <a:lnTo>
                  <a:pt x="3987" y="5592"/>
                </a:lnTo>
                <a:lnTo>
                  <a:pt x="3996" y="5588"/>
                </a:lnTo>
                <a:lnTo>
                  <a:pt x="4005" y="5582"/>
                </a:lnTo>
                <a:lnTo>
                  <a:pt x="4014" y="5576"/>
                </a:lnTo>
                <a:lnTo>
                  <a:pt x="4035" y="5559"/>
                </a:lnTo>
                <a:lnTo>
                  <a:pt x="4055" y="5542"/>
                </a:lnTo>
                <a:lnTo>
                  <a:pt x="4077" y="5522"/>
                </a:lnTo>
                <a:lnTo>
                  <a:pt x="4122" y="5479"/>
                </a:lnTo>
                <a:lnTo>
                  <a:pt x="4144" y="5457"/>
                </a:lnTo>
                <a:lnTo>
                  <a:pt x="4166" y="5437"/>
                </a:lnTo>
                <a:lnTo>
                  <a:pt x="4187" y="5417"/>
                </a:lnTo>
                <a:lnTo>
                  <a:pt x="4208" y="5402"/>
                </a:lnTo>
                <a:lnTo>
                  <a:pt x="4227" y="5389"/>
                </a:lnTo>
                <a:lnTo>
                  <a:pt x="4236" y="5384"/>
                </a:lnTo>
                <a:lnTo>
                  <a:pt x="4245" y="5380"/>
                </a:lnTo>
                <a:lnTo>
                  <a:pt x="4254" y="5376"/>
                </a:lnTo>
                <a:lnTo>
                  <a:pt x="4262" y="5374"/>
                </a:lnTo>
                <a:lnTo>
                  <a:pt x="4270" y="5374"/>
                </a:lnTo>
                <a:lnTo>
                  <a:pt x="4277" y="5375"/>
                </a:lnTo>
                <a:lnTo>
                  <a:pt x="4277" y="5375"/>
                </a:lnTo>
                <a:lnTo>
                  <a:pt x="4278" y="5376"/>
                </a:lnTo>
                <a:lnTo>
                  <a:pt x="4279" y="5379"/>
                </a:lnTo>
                <a:lnTo>
                  <a:pt x="4278" y="5382"/>
                </a:lnTo>
                <a:lnTo>
                  <a:pt x="4277" y="5384"/>
                </a:lnTo>
                <a:lnTo>
                  <a:pt x="4272" y="5391"/>
                </a:lnTo>
                <a:lnTo>
                  <a:pt x="4264" y="5399"/>
                </a:lnTo>
                <a:lnTo>
                  <a:pt x="4241" y="5420"/>
                </a:lnTo>
                <a:lnTo>
                  <a:pt x="4212" y="5447"/>
                </a:lnTo>
                <a:lnTo>
                  <a:pt x="4181" y="5477"/>
                </a:lnTo>
                <a:lnTo>
                  <a:pt x="4167" y="5492"/>
                </a:lnTo>
                <a:lnTo>
                  <a:pt x="4152" y="5508"/>
                </a:lnTo>
                <a:lnTo>
                  <a:pt x="4140" y="5525"/>
                </a:lnTo>
                <a:lnTo>
                  <a:pt x="4129" y="5542"/>
                </a:lnTo>
                <a:lnTo>
                  <a:pt x="4121" y="5558"/>
                </a:lnTo>
                <a:lnTo>
                  <a:pt x="4118" y="5567"/>
                </a:lnTo>
                <a:lnTo>
                  <a:pt x="4116" y="5576"/>
                </a:lnTo>
                <a:lnTo>
                  <a:pt x="4116" y="5576"/>
                </a:lnTo>
                <a:lnTo>
                  <a:pt x="4114" y="5588"/>
                </a:lnTo>
                <a:lnTo>
                  <a:pt x="4114" y="5599"/>
                </a:lnTo>
                <a:lnTo>
                  <a:pt x="4115" y="5611"/>
                </a:lnTo>
                <a:lnTo>
                  <a:pt x="4119" y="5620"/>
                </a:lnTo>
                <a:lnTo>
                  <a:pt x="4123" y="5628"/>
                </a:lnTo>
                <a:lnTo>
                  <a:pt x="4129" y="5636"/>
                </a:lnTo>
                <a:lnTo>
                  <a:pt x="4135" y="5643"/>
                </a:lnTo>
                <a:lnTo>
                  <a:pt x="4142" y="5649"/>
                </a:lnTo>
                <a:lnTo>
                  <a:pt x="4157" y="5663"/>
                </a:lnTo>
                <a:lnTo>
                  <a:pt x="4163" y="5669"/>
                </a:lnTo>
                <a:lnTo>
                  <a:pt x="4169" y="5676"/>
                </a:lnTo>
                <a:lnTo>
                  <a:pt x="4175" y="5683"/>
                </a:lnTo>
                <a:lnTo>
                  <a:pt x="4179" y="5690"/>
                </a:lnTo>
                <a:lnTo>
                  <a:pt x="4182" y="5699"/>
                </a:lnTo>
                <a:lnTo>
                  <a:pt x="4183" y="5708"/>
                </a:lnTo>
                <a:lnTo>
                  <a:pt x="4183" y="5708"/>
                </a:lnTo>
                <a:lnTo>
                  <a:pt x="4184" y="5718"/>
                </a:lnTo>
                <a:lnTo>
                  <a:pt x="4186" y="5729"/>
                </a:lnTo>
                <a:lnTo>
                  <a:pt x="4189" y="5738"/>
                </a:lnTo>
                <a:lnTo>
                  <a:pt x="4193" y="5749"/>
                </a:lnTo>
                <a:lnTo>
                  <a:pt x="4198" y="5758"/>
                </a:lnTo>
                <a:lnTo>
                  <a:pt x="4205" y="5767"/>
                </a:lnTo>
                <a:lnTo>
                  <a:pt x="4212" y="5775"/>
                </a:lnTo>
                <a:lnTo>
                  <a:pt x="4220" y="5783"/>
                </a:lnTo>
                <a:lnTo>
                  <a:pt x="4228" y="5792"/>
                </a:lnTo>
                <a:lnTo>
                  <a:pt x="4237" y="5799"/>
                </a:lnTo>
                <a:lnTo>
                  <a:pt x="4257" y="5812"/>
                </a:lnTo>
                <a:lnTo>
                  <a:pt x="4278" y="5824"/>
                </a:lnTo>
                <a:lnTo>
                  <a:pt x="4300" y="5835"/>
                </a:lnTo>
                <a:lnTo>
                  <a:pt x="4322" y="5844"/>
                </a:lnTo>
                <a:lnTo>
                  <a:pt x="4344" y="5852"/>
                </a:lnTo>
                <a:lnTo>
                  <a:pt x="4364" y="5857"/>
                </a:lnTo>
                <a:lnTo>
                  <a:pt x="4382" y="5862"/>
                </a:lnTo>
                <a:lnTo>
                  <a:pt x="4399" y="5864"/>
                </a:lnTo>
                <a:lnTo>
                  <a:pt x="4412" y="5865"/>
                </a:lnTo>
                <a:lnTo>
                  <a:pt x="4421" y="5865"/>
                </a:lnTo>
                <a:lnTo>
                  <a:pt x="4424" y="5864"/>
                </a:lnTo>
                <a:lnTo>
                  <a:pt x="4426" y="5863"/>
                </a:lnTo>
                <a:lnTo>
                  <a:pt x="4426" y="5863"/>
                </a:lnTo>
                <a:lnTo>
                  <a:pt x="4427" y="5861"/>
                </a:lnTo>
                <a:lnTo>
                  <a:pt x="4427" y="5859"/>
                </a:lnTo>
                <a:lnTo>
                  <a:pt x="4425" y="5853"/>
                </a:lnTo>
                <a:lnTo>
                  <a:pt x="4420" y="5846"/>
                </a:lnTo>
                <a:lnTo>
                  <a:pt x="4412" y="5836"/>
                </a:lnTo>
                <a:lnTo>
                  <a:pt x="4393" y="5813"/>
                </a:lnTo>
                <a:lnTo>
                  <a:pt x="4369" y="5786"/>
                </a:lnTo>
                <a:lnTo>
                  <a:pt x="4358" y="5773"/>
                </a:lnTo>
                <a:lnTo>
                  <a:pt x="4348" y="5759"/>
                </a:lnTo>
                <a:lnTo>
                  <a:pt x="4339" y="5745"/>
                </a:lnTo>
                <a:lnTo>
                  <a:pt x="4330" y="5731"/>
                </a:lnTo>
                <a:lnTo>
                  <a:pt x="4325" y="5718"/>
                </a:lnTo>
                <a:lnTo>
                  <a:pt x="4324" y="5712"/>
                </a:lnTo>
                <a:lnTo>
                  <a:pt x="4323" y="5706"/>
                </a:lnTo>
                <a:lnTo>
                  <a:pt x="4323" y="5700"/>
                </a:lnTo>
                <a:lnTo>
                  <a:pt x="4324" y="5694"/>
                </a:lnTo>
                <a:lnTo>
                  <a:pt x="4326" y="5689"/>
                </a:lnTo>
                <a:lnTo>
                  <a:pt x="4329" y="5684"/>
                </a:lnTo>
                <a:lnTo>
                  <a:pt x="4329" y="5684"/>
                </a:lnTo>
                <a:lnTo>
                  <a:pt x="4333" y="5680"/>
                </a:lnTo>
                <a:lnTo>
                  <a:pt x="4337" y="5677"/>
                </a:lnTo>
                <a:lnTo>
                  <a:pt x="4343" y="5676"/>
                </a:lnTo>
                <a:lnTo>
                  <a:pt x="4347" y="5675"/>
                </a:lnTo>
                <a:lnTo>
                  <a:pt x="4352" y="5675"/>
                </a:lnTo>
                <a:lnTo>
                  <a:pt x="4358" y="5676"/>
                </a:lnTo>
                <a:lnTo>
                  <a:pt x="4370" y="5678"/>
                </a:lnTo>
                <a:lnTo>
                  <a:pt x="4384" y="5681"/>
                </a:lnTo>
                <a:lnTo>
                  <a:pt x="4392" y="5682"/>
                </a:lnTo>
                <a:lnTo>
                  <a:pt x="4399" y="5682"/>
                </a:lnTo>
                <a:lnTo>
                  <a:pt x="4408" y="5682"/>
                </a:lnTo>
                <a:lnTo>
                  <a:pt x="4416" y="5681"/>
                </a:lnTo>
                <a:lnTo>
                  <a:pt x="4425" y="5679"/>
                </a:lnTo>
                <a:lnTo>
                  <a:pt x="4436" y="5675"/>
                </a:lnTo>
                <a:lnTo>
                  <a:pt x="4436" y="5675"/>
                </a:lnTo>
                <a:lnTo>
                  <a:pt x="4437" y="5673"/>
                </a:lnTo>
                <a:lnTo>
                  <a:pt x="4438" y="5670"/>
                </a:lnTo>
                <a:lnTo>
                  <a:pt x="4438" y="5663"/>
                </a:lnTo>
                <a:lnTo>
                  <a:pt x="4436" y="5652"/>
                </a:lnTo>
                <a:lnTo>
                  <a:pt x="4434" y="5637"/>
                </a:lnTo>
                <a:lnTo>
                  <a:pt x="4431" y="5621"/>
                </a:lnTo>
                <a:lnTo>
                  <a:pt x="4428" y="5602"/>
                </a:lnTo>
                <a:lnTo>
                  <a:pt x="4426" y="5581"/>
                </a:lnTo>
                <a:lnTo>
                  <a:pt x="4426" y="5557"/>
                </a:lnTo>
                <a:lnTo>
                  <a:pt x="4428" y="5533"/>
                </a:lnTo>
                <a:lnTo>
                  <a:pt x="4431" y="5520"/>
                </a:lnTo>
                <a:lnTo>
                  <a:pt x="4434" y="5505"/>
                </a:lnTo>
                <a:lnTo>
                  <a:pt x="4437" y="5492"/>
                </a:lnTo>
                <a:lnTo>
                  <a:pt x="4441" y="5477"/>
                </a:lnTo>
                <a:lnTo>
                  <a:pt x="4446" y="5462"/>
                </a:lnTo>
                <a:lnTo>
                  <a:pt x="4453" y="5447"/>
                </a:lnTo>
                <a:lnTo>
                  <a:pt x="4460" y="5432"/>
                </a:lnTo>
                <a:lnTo>
                  <a:pt x="4469" y="5416"/>
                </a:lnTo>
                <a:lnTo>
                  <a:pt x="4479" y="5400"/>
                </a:lnTo>
                <a:lnTo>
                  <a:pt x="4490" y="5384"/>
                </a:lnTo>
                <a:lnTo>
                  <a:pt x="4503" y="5367"/>
                </a:lnTo>
                <a:lnTo>
                  <a:pt x="4516" y="5351"/>
                </a:lnTo>
                <a:lnTo>
                  <a:pt x="4533" y="5334"/>
                </a:lnTo>
                <a:lnTo>
                  <a:pt x="4550" y="5317"/>
                </a:lnTo>
                <a:lnTo>
                  <a:pt x="4550" y="5317"/>
                </a:lnTo>
                <a:lnTo>
                  <a:pt x="4557" y="5328"/>
                </a:lnTo>
                <a:lnTo>
                  <a:pt x="4566" y="5340"/>
                </a:lnTo>
                <a:lnTo>
                  <a:pt x="4578" y="5353"/>
                </a:lnTo>
                <a:lnTo>
                  <a:pt x="4586" y="5360"/>
                </a:lnTo>
                <a:lnTo>
                  <a:pt x="4594" y="5367"/>
                </a:lnTo>
                <a:lnTo>
                  <a:pt x="4603" y="5373"/>
                </a:lnTo>
                <a:lnTo>
                  <a:pt x="4614" y="5381"/>
                </a:lnTo>
                <a:lnTo>
                  <a:pt x="4624" y="5386"/>
                </a:lnTo>
                <a:lnTo>
                  <a:pt x="4636" y="5390"/>
                </a:lnTo>
                <a:lnTo>
                  <a:pt x="4648" y="5394"/>
                </a:lnTo>
                <a:lnTo>
                  <a:pt x="4662" y="5396"/>
                </a:lnTo>
                <a:lnTo>
                  <a:pt x="4662" y="5396"/>
                </a:lnTo>
                <a:lnTo>
                  <a:pt x="4668" y="5397"/>
                </a:lnTo>
                <a:lnTo>
                  <a:pt x="4673" y="5399"/>
                </a:lnTo>
                <a:lnTo>
                  <a:pt x="4677" y="5402"/>
                </a:lnTo>
                <a:lnTo>
                  <a:pt x="4681" y="5405"/>
                </a:lnTo>
                <a:lnTo>
                  <a:pt x="4685" y="5409"/>
                </a:lnTo>
                <a:lnTo>
                  <a:pt x="4688" y="5413"/>
                </a:lnTo>
                <a:lnTo>
                  <a:pt x="4692" y="5425"/>
                </a:lnTo>
                <a:lnTo>
                  <a:pt x="4696" y="5437"/>
                </a:lnTo>
                <a:lnTo>
                  <a:pt x="4698" y="5450"/>
                </a:lnTo>
                <a:lnTo>
                  <a:pt x="4698" y="5463"/>
                </a:lnTo>
                <a:lnTo>
                  <a:pt x="4698" y="5478"/>
                </a:lnTo>
                <a:lnTo>
                  <a:pt x="4696" y="5506"/>
                </a:lnTo>
                <a:lnTo>
                  <a:pt x="4694" y="5531"/>
                </a:lnTo>
                <a:lnTo>
                  <a:pt x="4692" y="5548"/>
                </a:lnTo>
                <a:lnTo>
                  <a:pt x="4692" y="5553"/>
                </a:lnTo>
                <a:lnTo>
                  <a:pt x="4693" y="5554"/>
                </a:lnTo>
                <a:lnTo>
                  <a:pt x="4694" y="5554"/>
                </a:lnTo>
                <a:lnTo>
                  <a:pt x="4694" y="5554"/>
                </a:lnTo>
                <a:lnTo>
                  <a:pt x="4697" y="5553"/>
                </a:lnTo>
                <a:lnTo>
                  <a:pt x="4702" y="5550"/>
                </a:lnTo>
                <a:lnTo>
                  <a:pt x="4708" y="5545"/>
                </a:lnTo>
                <a:lnTo>
                  <a:pt x="4714" y="5538"/>
                </a:lnTo>
                <a:lnTo>
                  <a:pt x="4721" y="5529"/>
                </a:lnTo>
                <a:lnTo>
                  <a:pt x="4729" y="5519"/>
                </a:lnTo>
                <a:lnTo>
                  <a:pt x="4736" y="5505"/>
                </a:lnTo>
                <a:lnTo>
                  <a:pt x="4743" y="5492"/>
                </a:lnTo>
                <a:lnTo>
                  <a:pt x="4751" y="5477"/>
                </a:lnTo>
                <a:lnTo>
                  <a:pt x="4758" y="5459"/>
                </a:lnTo>
                <a:lnTo>
                  <a:pt x="4763" y="5442"/>
                </a:lnTo>
                <a:lnTo>
                  <a:pt x="4768" y="5422"/>
                </a:lnTo>
                <a:lnTo>
                  <a:pt x="4771" y="5402"/>
                </a:lnTo>
                <a:lnTo>
                  <a:pt x="4773" y="5382"/>
                </a:lnTo>
                <a:lnTo>
                  <a:pt x="4772" y="5360"/>
                </a:lnTo>
                <a:lnTo>
                  <a:pt x="4770" y="5338"/>
                </a:lnTo>
                <a:lnTo>
                  <a:pt x="4770" y="5338"/>
                </a:lnTo>
                <a:lnTo>
                  <a:pt x="4778" y="5330"/>
                </a:lnTo>
                <a:lnTo>
                  <a:pt x="4798" y="5313"/>
                </a:lnTo>
                <a:lnTo>
                  <a:pt x="4809" y="5302"/>
                </a:lnTo>
                <a:lnTo>
                  <a:pt x="4819" y="5290"/>
                </a:lnTo>
                <a:lnTo>
                  <a:pt x="4827" y="5276"/>
                </a:lnTo>
                <a:lnTo>
                  <a:pt x="4830" y="5270"/>
                </a:lnTo>
                <a:lnTo>
                  <a:pt x="4832" y="5264"/>
                </a:lnTo>
                <a:lnTo>
                  <a:pt x="4832" y="5264"/>
                </a:lnTo>
                <a:lnTo>
                  <a:pt x="4834" y="5255"/>
                </a:lnTo>
                <a:lnTo>
                  <a:pt x="4835" y="5246"/>
                </a:lnTo>
                <a:lnTo>
                  <a:pt x="4836" y="5237"/>
                </a:lnTo>
                <a:lnTo>
                  <a:pt x="4835" y="5230"/>
                </a:lnTo>
                <a:lnTo>
                  <a:pt x="4834" y="5224"/>
                </a:lnTo>
                <a:lnTo>
                  <a:pt x="4832" y="5218"/>
                </a:lnTo>
                <a:lnTo>
                  <a:pt x="4830" y="5213"/>
                </a:lnTo>
                <a:lnTo>
                  <a:pt x="4827" y="5208"/>
                </a:lnTo>
                <a:lnTo>
                  <a:pt x="4819" y="5199"/>
                </a:lnTo>
                <a:lnTo>
                  <a:pt x="4810" y="5189"/>
                </a:lnTo>
                <a:lnTo>
                  <a:pt x="4800" y="5180"/>
                </a:lnTo>
                <a:lnTo>
                  <a:pt x="4789" y="5169"/>
                </a:lnTo>
                <a:lnTo>
                  <a:pt x="4778" y="5156"/>
                </a:lnTo>
                <a:lnTo>
                  <a:pt x="4772" y="5148"/>
                </a:lnTo>
                <a:lnTo>
                  <a:pt x="4767" y="5139"/>
                </a:lnTo>
                <a:lnTo>
                  <a:pt x="4762" y="5130"/>
                </a:lnTo>
                <a:lnTo>
                  <a:pt x="4757" y="5120"/>
                </a:lnTo>
                <a:lnTo>
                  <a:pt x="4753" y="5108"/>
                </a:lnTo>
                <a:lnTo>
                  <a:pt x="4749" y="5095"/>
                </a:lnTo>
                <a:lnTo>
                  <a:pt x="4744" y="5081"/>
                </a:lnTo>
                <a:lnTo>
                  <a:pt x="4741" y="5065"/>
                </a:lnTo>
                <a:lnTo>
                  <a:pt x="4738" y="5048"/>
                </a:lnTo>
                <a:lnTo>
                  <a:pt x="4736" y="5029"/>
                </a:lnTo>
                <a:lnTo>
                  <a:pt x="4735" y="5008"/>
                </a:lnTo>
                <a:lnTo>
                  <a:pt x="4734" y="4986"/>
                </a:lnTo>
                <a:lnTo>
                  <a:pt x="4734" y="4961"/>
                </a:lnTo>
                <a:lnTo>
                  <a:pt x="4735" y="4935"/>
                </a:lnTo>
                <a:lnTo>
                  <a:pt x="4735" y="4935"/>
                </a:lnTo>
                <a:lnTo>
                  <a:pt x="4735" y="4917"/>
                </a:lnTo>
                <a:lnTo>
                  <a:pt x="4734" y="4911"/>
                </a:lnTo>
                <a:lnTo>
                  <a:pt x="4733" y="4906"/>
                </a:lnTo>
                <a:lnTo>
                  <a:pt x="4731" y="4901"/>
                </a:lnTo>
                <a:lnTo>
                  <a:pt x="4729" y="4897"/>
                </a:lnTo>
                <a:lnTo>
                  <a:pt x="4727" y="4894"/>
                </a:lnTo>
                <a:lnTo>
                  <a:pt x="4724" y="4891"/>
                </a:lnTo>
                <a:lnTo>
                  <a:pt x="4716" y="4885"/>
                </a:lnTo>
                <a:lnTo>
                  <a:pt x="4706" y="4878"/>
                </a:lnTo>
                <a:lnTo>
                  <a:pt x="4693" y="4868"/>
                </a:lnTo>
                <a:lnTo>
                  <a:pt x="4679" y="4856"/>
                </a:lnTo>
                <a:lnTo>
                  <a:pt x="4679" y="4856"/>
                </a:lnTo>
                <a:lnTo>
                  <a:pt x="4671" y="4846"/>
                </a:lnTo>
                <a:lnTo>
                  <a:pt x="4664" y="4836"/>
                </a:lnTo>
                <a:lnTo>
                  <a:pt x="4659" y="4825"/>
                </a:lnTo>
                <a:lnTo>
                  <a:pt x="4655" y="4815"/>
                </a:lnTo>
                <a:lnTo>
                  <a:pt x="4654" y="4807"/>
                </a:lnTo>
                <a:lnTo>
                  <a:pt x="4654" y="4804"/>
                </a:lnTo>
                <a:lnTo>
                  <a:pt x="4654" y="4802"/>
                </a:lnTo>
                <a:lnTo>
                  <a:pt x="4657" y="4800"/>
                </a:lnTo>
                <a:lnTo>
                  <a:pt x="4659" y="4799"/>
                </a:lnTo>
                <a:lnTo>
                  <a:pt x="4661" y="4799"/>
                </a:lnTo>
                <a:lnTo>
                  <a:pt x="4665" y="4800"/>
                </a:lnTo>
                <a:lnTo>
                  <a:pt x="4665" y="4800"/>
                </a:lnTo>
                <a:lnTo>
                  <a:pt x="4679" y="4806"/>
                </a:lnTo>
                <a:lnTo>
                  <a:pt x="4693" y="4810"/>
                </a:lnTo>
                <a:lnTo>
                  <a:pt x="4708" y="4813"/>
                </a:lnTo>
                <a:lnTo>
                  <a:pt x="4723" y="4814"/>
                </a:lnTo>
                <a:lnTo>
                  <a:pt x="4737" y="4815"/>
                </a:lnTo>
                <a:lnTo>
                  <a:pt x="4752" y="4816"/>
                </a:lnTo>
                <a:lnTo>
                  <a:pt x="4765" y="4815"/>
                </a:lnTo>
                <a:lnTo>
                  <a:pt x="4778" y="4814"/>
                </a:lnTo>
                <a:lnTo>
                  <a:pt x="4802" y="4811"/>
                </a:lnTo>
                <a:lnTo>
                  <a:pt x="4819" y="4807"/>
                </a:lnTo>
                <a:lnTo>
                  <a:pt x="4835" y="4803"/>
                </a:lnTo>
                <a:lnTo>
                  <a:pt x="4835" y="4803"/>
                </a:lnTo>
                <a:lnTo>
                  <a:pt x="4844" y="4707"/>
                </a:lnTo>
                <a:lnTo>
                  <a:pt x="4849" y="4632"/>
                </a:lnTo>
                <a:lnTo>
                  <a:pt x="4851" y="4577"/>
                </a:lnTo>
                <a:lnTo>
                  <a:pt x="4851" y="4539"/>
                </a:lnTo>
                <a:lnTo>
                  <a:pt x="4849" y="4514"/>
                </a:lnTo>
                <a:lnTo>
                  <a:pt x="4847" y="4499"/>
                </a:lnTo>
                <a:lnTo>
                  <a:pt x="4845" y="4493"/>
                </a:lnTo>
                <a:lnTo>
                  <a:pt x="4844" y="4491"/>
                </a:lnTo>
                <a:lnTo>
                  <a:pt x="4844" y="4491"/>
                </a:lnTo>
                <a:lnTo>
                  <a:pt x="4825" y="4492"/>
                </a:lnTo>
                <a:lnTo>
                  <a:pt x="4808" y="4491"/>
                </a:lnTo>
                <a:lnTo>
                  <a:pt x="4791" y="4490"/>
                </a:lnTo>
                <a:lnTo>
                  <a:pt x="4776" y="4489"/>
                </a:lnTo>
                <a:lnTo>
                  <a:pt x="4763" y="4487"/>
                </a:lnTo>
                <a:lnTo>
                  <a:pt x="4750" y="4484"/>
                </a:lnTo>
                <a:lnTo>
                  <a:pt x="4737" y="4481"/>
                </a:lnTo>
                <a:lnTo>
                  <a:pt x="4726" y="4477"/>
                </a:lnTo>
                <a:lnTo>
                  <a:pt x="4716" y="4473"/>
                </a:lnTo>
                <a:lnTo>
                  <a:pt x="4707" y="4469"/>
                </a:lnTo>
                <a:lnTo>
                  <a:pt x="4698" y="4463"/>
                </a:lnTo>
                <a:lnTo>
                  <a:pt x="4690" y="4458"/>
                </a:lnTo>
                <a:lnTo>
                  <a:pt x="4683" y="4452"/>
                </a:lnTo>
                <a:lnTo>
                  <a:pt x="4676" y="4447"/>
                </a:lnTo>
                <a:lnTo>
                  <a:pt x="4665" y="4434"/>
                </a:lnTo>
                <a:lnTo>
                  <a:pt x="4665" y="4434"/>
                </a:lnTo>
                <a:lnTo>
                  <a:pt x="4677" y="4437"/>
                </a:lnTo>
                <a:lnTo>
                  <a:pt x="4690" y="4439"/>
                </a:lnTo>
                <a:lnTo>
                  <a:pt x="4717" y="4441"/>
                </a:lnTo>
                <a:lnTo>
                  <a:pt x="4742" y="4441"/>
                </a:lnTo>
                <a:lnTo>
                  <a:pt x="4768" y="4439"/>
                </a:lnTo>
                <a:lnTo>
                  <a:pt x="4790" y="4435"/>
                </a:lnTo>
                <a:lnTo>
                  <a:pt x="4812" y="4429"/>
                </a:lnTo>
                <a:lnTo>
                  <a:pt x="4821" y="4426"/>
                </a:lnTo>
                <a:lnTo>
                  <a:pt x="4829" y="4422"/>
                </a:lnTo>
                <a:lnTo>
                  <a:pt x="4838" y="4416"/>
                </a:lnTo>
                <a:lnTo>
                  <a:pt x="4844" y="4412"/>
                </a:lnTo>
                <a:lnTo>
                  <a:pt x="4844" y="4412"/>
                </a:lnTo>
                <a:lnTo>
                  <a:pt x="4843" y="4364"/>
                </a:lnTo>
                <a:lnTo>
                  <a:pt x="4841" y="4316"/>
                </a:lnTo>
                <a:lnTo>
                  <a:pt x="4838" y="4261"/>
                </a:lnTo>
                <a:lnTo>
                  <a:pt x="4833" y="4206"/>
                </a:lnTo>
                <a:lnTo>
                  <a:pt x="4831" y="4181"/>
                </a:lnTo>
                <a:lnTo>
                  <a:pt x="4828" y="4159"/>
                </a:lnTo>
                <a:lnTo>
                  <a:pt x="4825" y="4140"/>
                </a:lnTo>
                <a:lnTo>
                  <a:pt x="4822" y="4126"/>
                </a:lnTo>
                <a:lnTo>
                  <a:pt x="4820" y="4121"/>
                </a:lnTo>
                <a:lnTo>
                  <a:pt x="4818" y="4118"/>
                </a:lnTo>
                <a:lnTo>
                  <a:pt x="4816" y="4116"/>
                </a:lnTo>
                <a:lnTo>
                  <a:pt x="4814" y="4116"/>
                </a:lnTo>
                <a:lnTo>
                  <a:pt x="4814" y="4116"/>
                </a:lnTo>
                <a:lnTo>
                  <a:pt x="4786" y="4123"/>
                </a:lnTo>
                <a:lnTo>
                  <a:pt x="4760" y="4128"/>
                </a:lnTo>
                <a:lnTo>
                  <a:pt x="4746" y="4129"/>
                </a:lnTo>
                <a:lnTo>
                  <a:pt x="4734" y="4130"/>
                </a:lnTo>
                <a:lnTo>
                  <a:pt x="4722" y="4130"/>
                </a:lnTo>
                <a:lnTo>
                  <a:pt x="4711" y="4129"/>
                </a:lnTo>
                <a:lnTo>
                  <a:pt x="4698" y="4127"/>
                </a:lnTo>
                <a:lnTo>
                  <a:pt x="4687" y="4125"/>
                </a:lnTo>
                <a:lnTo>
                  <a:pt x="4675" y="4122"/>
                </a:lnTo>
                <a:lnTo>
                  <a:pt x="4664" y="4118"/>
                </a:lnTo>
                <a:lnTo>
                  <a:pt x="4652" y="4113"/>
                </a:lnTo>
                <a:lnTo>
                  <a:pt x="4640" y="4108"/>
                </a:lnTo>
                <a:lnTo>
                  <a:pt x="4629" y="4100"/>
                </a:lnTo>
                <a:lnTo>
                  <a:pt x="4618" y="4093"/>
                </a:lnTo>
                <a:lnTo>
                  <a:pt x="4618" y="4093"/>
                </a:lnTo>
                <a:lnTo>
                  <a:pt x="4613" y="4090"/>
                </a:lnTo>
                <a:lnTo>
                  <a:pt x="4608" y="4086"/>
                </a:lnTo>
                <a:lnTo>
                  <a:pt x="4602" y="4078"/>
                </a:lnTo>
                <a:lnTo>
                  <a:pt x="4597" y="4069"/>
                </a:lnTo>
                <a:lnTo>
                  <a:pt x="4594" y="4059"/>
                </a:lnTo>
                <a:lnTo>
                  <a:pt x="4592" y="4047"/>
                </a:lnTo>
                <a:lnTo>
                  <a:pt x="4591" y="4037"/>
                </a:lnTo>
                <a:lnTo>
                  <a:pt x="4590" y="4015"/>
                </a:lnTo>
                <a:lnTo>
                  <a:pt x="4589" y="3993"/>
                </a:lnTo>
                <a:lnTo>
                  <a:pt x="4587" y="3984"/>
                </a:lnTo>
                <a:lnTo>
                  <a:pt x="4585" y="3976"/>
                </a:lnTo>
                <a:lnTo>
                  <a:pt x="4581" y="3969"/>
                </a:lnTo>
                <a:lnTo>
                  <a:pt x="4575" y="3962"/>
                </a:lnTo>
                <a:lnTo>
                  <a:pt x="4571" y="3959"/>
                </a:lnTo>
                <a:lnTo>
                  <a:pt x="4567" y="3957"/>
                </a:lnTo>
                <a:lnTo>
                  <a:pt x="4561" y="3956"/>
                </a:lnTo>
                <a:lnTo>
                  <a:pt x="4556" y="3955"/>
                </a:lnTo>
                <a:lnTo>
                  <a:pt x="4556" y="3955"/>
                </a:lnTo>
                <a:lnTo>
                  <a:pt x="4534" y="3948"/>
                </a:lnTo>
                <a:lnTo>
                  <a:pt x="4511" y="3941"/>
                </a:lnTo>
                <a:lnTo>
                  <a:pt x="4489" y="3933"/>
                </a:lnTo>
                <a:lnTo>
                  <a:pt x="4468" y="3923"/>
                </a:lnTo>
                <a:lnTo>
                  <a:pt x="4448" y="3913"/>
                </a:lnTo>
                <a:lnTo>
                  <a:pt x="4428" y="3902"/>
                </a:lnTo>
                <a:lnTo>
                  <a:pt x="4410" y="3892"/>
                </a:lnTo>
                <a:lnTo>
                  <a:pt x="4394" y="3881"/>
                </a:lnTo>
                <a:lnTo>
                  <a:pt x="4377" y="3869"/>
                </a:lnTo>
                <a:lnTo>
                  <a:pt x="4363" y="3859"/>
                </a:lnTo>
                <a:lnTo>
                  <a:pt x="4337" y="3839"/>
                </a:lnTo>
                <a:lnTo>
                  <a:pt x="4318" y="3820"/>
                </a:lnTo>
                <a:lnTo>
                  <a:pt x="4306" y="3805"/>
                </a:lnTo>
                <a:lnTo>
                  <a:pt x="4306" y="3805"/>
                </a:lnTo>
                <a:lnTo>
                  <a:pt x="4297" y="3793"/>
                </a:lnTo>
                <a:lnTo>
                  <a:pt x="4288" y="3780"/>
                </a:lnTo>
                <a:lnTo>
                  <a:pt x="4282" y="3769"/>
                </a:lnTo>
                <a:lnTo>
                  <a:pt x="4277" y="3758"/>
                </a:lnTo>
                <a:lnTo>
                  <a:pt x="4273" y="3748"/>
                </a:lnTo>
                <a:lnTo>
                  <a:pt x="4270" y="3739"/>
                </a:lnTo>
                <a:lnTo>
                  <a:pt x="4266" y="3722"/>
                </a:lnTo>
                <a:lnTo>
                  <a:pt x="4265" y="3709"/>
                </a:lnTo>
                <a:lnTo>
                  <a:pt x="4265" y="3699"/>
                </a:lnTo>
                <a:lnTo>
                  <a:pt x="4266" y="3690"/>
                </a:lnTo>
                <a:lnTo>
                  <a:pt x="4266" y="3690"/>
                </a:lnTo>
                <a:lnTo>
                  <a:pt x="4284" y="3700"/>
                </a:lnTo>
                <a:lnTo>
                  <a:pt x="4302" y="3706"/>
                </a:lnTo>
                <a:lnTo>
                  <a:pt x="4321" y="3711"/>
                </a:lnTo>
                <a:lnTo>
                  <a:pt x="4340" y="3714"/>
                </a:lnTo>
                <a:lnTo>
                  <a:pt x="4358" y="3716"/>
                </a:lnTo>
                <a:lnTo>
                  <a:pt x="4377" y="3715"/>
                </a:lnTo>
                <a:lnTo>
                  <a:pt x="4396" y="3712"/>
                </a:lnTo>
                <a:lnTo>
                  <a:pt x="4414" y="3708"/>
                </a:lnTo>
                <a:lnTo>
                  <a:pt x="4434" y="3468"/>
                </a:lnTo>
                <a:lnTo>
                  <a:pt x="4434" y="3468"/>
                </a:lnTo>
                <a:lnTo>
                  <a:pt x="4425" y="3467"/>
                </a:lnTo>
                <a:lnTo>
                  <a:pt x="4405" y="3464"/>
                </a:lnTo>
                <a:lnTo>
                  <a:pt x="4392" y="3461"/>
                </a:lnTo>
                <a:lnTo>
                  <a:pt x="4377" y="3457"/>
                </a:lnTo>
                <a:lnTo>
                  <a:pt x="4362" y="3453"/>
                </a:lnTo>
                <a:lnTo>
                  <a:pt x="4348" y="3447"/>
                </a:lnTo>
                <a:lnTo>
                  <a:pt x="4348" y="3447"/>
                </a:lnTo>
                <a:lnTo>
                  <a:pt x="4339" y="3443"/>
                </a:lnTo>
                <a:lnTo>
                  <a:pt x="4331" y="3438"/>
                </a:lnTo>
                <a:lnTo>
                  <a:pt x="4323" y="3432"/>
                </a:lnTo>
                <a:lnTo>
                  <a:pt x="4316" y="3426"/>
                </a:lnTo>
                <a:lnTo>
                  <a:pt x="4302" y="3412"/>
                </a:lnTo>
                <a:lnTo>
                  <a:pt x="4289" y="3399"/>
                </a:lnTo>
                <a:lnTo>
                  <a:pt x="4280" y="3386"/>
                </a:lnTo>
                <a:lnTo>
                  <a:pt x="4273" y="3376"/>
                </a:lnTo>
                <a:lnTo>
                  <a:pt x="4267" y="3366"/>
                </a:lnTo>
                <a:lnTo>
                  <a:pt x="4267" y="3366"/>
                </a:lnTo>
                <a:lnTo>
                  <a:pt x="4274" y="3369"/>
                </a:lnTo>
                <a:lnTo>
                  <a:pt x="4293" y="3377"/>
                </a:lnTo>
                <a:lnTo>
                  <a:pt x="4321" y="3385"/>
                </a:lnTo>
                <a:lnTo>
                  <a:pt x="4339" y="3389"/>
                </a:lnTo>
                <a:lnTo>
                  <a:pt x="4356" y="3392"/>
                </a:lnTo>
                <a:lnTo>
                  <a:pt x="4356" y="3392"/>
                </a:lnTo>
                <a:lnTo>
                  <a:pt x="4375" y="3394"/>
                </a:lnTo>
                <a:lnTo>
                  <a:pt x="4392" y="3395"/>
                </a:lnTo>
                <a:lnTo>
                  <a:pt x="4407" y="3393"/>
                </a:lnTo>
                <a:lnTo>
                  <a:pt x="4419" y="3391"/>
                </a:lnTo>
                <a:lnTo>
                  <a:pt x="4430" y="3389"/>
                </a:lnTo>
                <a:lnTo>
                  <a:pt x="4438" y="3387"/>
                </a:lnTo>
                <a:lnTo>
                  <a:pt x="4444" y="3384"/>
                </a:lnTo>
                <a:lnTo>
                  <a:pt x="4477" y="3113"/>
                </a:lnTo>
                <a:lnTo>
                  <a:pt x="4477" y="3113"/>
                </a:lnTo>
                <a:lnTo>
                  <a:pt x="4451" y="3114"/>
                </a:lnTo>
                <a:lnTo>
                  <a:pt x="4427" y="3113"/>
                </a:lnTo>
                <a:lnTo>
                  <a:pt x="4408" y="3111"/>
                </a:lnTo>
                <a:lnTo>
                  <a:pt x="4392" y="3106"/>
                </a:lnTo>
                <a:lnTo>
                  <a:pt x="4377" y="3100"/>
                </a:lnTo>
                <a:lnTo>
                  <a:pt x="4365" y="3093"/>
                </a:lnTo>
                <a:lnTo>
                  <a:pt x="4356" y="3085"/>
                </a:lnTo>
                <a:lnTo>
                  <a:pt x="4348" y="3077"/>
                </a:lnTo>
                <a:lnTo>
                  <a:pt x="4343" y="3069"/>
                </a:lnTo>
                <a:lnTo>
                  <a:pt x="4337" y="3060"/>
                </a:lnTo>
                <a:lnTo>
                  <a:pt x="4335" y="3051"/>
                </a:lnTo>
                <a:lnTo>
                  <a:pt x="4333" y="3043"/>
                </a:lnTo>
                <a:lnTo>
                  <a:pt x="4332" y="3035"/>
                </a:lnTo>
                <a:lnTo>
                  <a:pt x="4331" y="3029"/>
                </a:lnTo>
                <a:lnTo>
                  <a:pt x="4332" y="3020"/>
                </a:lnTo>
                <a:lnTo>
                  <a:pt x="4332" y="3020"/>
                </a:lnTo>
                <a:lnTo>
                  <a:pt x="4357" y="3015"/>
                </a:lnTo>
                <a:lnTo>
                  <a:pt x="4381" y="3009"/>
                </a:lnTo>
                <a:lnTo>
                  <a:pt x="4405" y="3001"/>
                </a:lnTo>
                <a:lnTo>
                  <a:pt x="4428" y="2994"/>
                </a:lnTo>
                <a:lnTo>
                  <a:pt x="4451" y="2985"/>
                </a:lnTo>
                <a:lnTo>
                  <a:pt x="4473" y="2975"/>
                </a:lnTo>
                <a:lnTo>
                  <a:pt x="4495" y="2964"/>
                </a:lnTo>
                <a:lnTo>
                  <a:pt x="4515" y="2951"/>
                </a:lnTo>
                <a:lnTo>
                  <a:pt x="4536" y="2939"/>
                </a:lnTo>
                <a:lnTo>
                  <a:pt x="4555" y="2926"/>
                </a:lnTo>
                <a:lnTo>
                  <a:pt x="4574" y="2911"/>
                </a:lnTo>
                <a:lnTo>
                  <a:pt x="4592" y="2896"/>
                </a:lnTo>
                <a:lnTo>
                  <a:pt x="4609" y="2881"/>
                </a:lnTo>
                <a:lnTo>
                  <a:pt x="4627" y="2864"/>
                </a:lnTo>
                <a:lnTo>
                  <a:pt x="4642" y="2848"/>
                </a:lnTo>
                <a:lnTo>
                  <a:pt x="4659" y="2831"/>
                </a:lnTo>
                <a:lnTo>
                  <a:pt x="4673" y="2812"/>
                </a:lnTo>
                <a:lnTo>
                  <a:pt x="4688" y="2794"/>
                </a:lnTo>
                <a:lnTo>
                  <a:pt x="4702" y="2775"/>
                </a:lnTo>
                <a:lnTo>
                  <a:pt x="4715" y="2756"/>
                </a:lnTo>
                <a:lnTo>
                  <a:pt x="4727" y="2737"/>
                </a:lnTo>
                <a:lnTo>
                  <a:pt x="4738" y="2717"/>
                </a:lnTo>
                <a:lnTo>
                  <a:pt x="4750" y="2698"/>
                </a:lnTo>
                <a:lnTo>
                  <a:pt x="4760" y="2677"/>
                </a:lnTo>
                <a:lnTo>
                  <a:pt x="4770" y="2657"/>
                </a:lnTo>
                <a:lnTo>
                  <a:pt x="4779" y="2636"/>
                </a:lnTo>
                <a:lnTo>
                  <a:pt x="4787" y="2616"/>
                </a:lnTo>
                <a:lnTo>
                  <a:pt x="4796" y="2595"/>
                </a:lnTo>
                <a:lnTo>
                  <a:pt x="4803" y="2575"/>
                </a:lnTo>
                <a:lnTo>
                  <a:pt x="4809" y="2555"/>
                </a:lnTo>
                <a:lnTo>
                  <a:pt x="4815" y="2534"/>
                </a:lnTo>
                <a:lnTo>
                  <a:pt x="4820" y="2515"/>
                </a:lnTo>
                <a:lnTo>
                  <a:pt x="4820" y="2515"/>
                </a:lnTo>
                <a:lnTo>
                  <a:pt x="4831" y="2521"/>
                </a:lnTo>
                <a:lnTo>
                  <a:pt x="4847" y="2527"/>
                </a:lnTo>
                <a:lnTo>
                  <a:pt x="4864" y="2533"/>
                </a:lnTo>
                <a:lnTo>
                  <a:pt x="4882" y="2538"/>
                </a:lnTo>
                <a:lnTo>
                  <a:pt x="4903" y="2541"/>
                </a:lnTo>
                <a:lnTo>
                  <a:pt x="4913" y="2542"/>
                </a:lnTo>
                <a:lnTo>
                  <a:pt x="4923" y="2543"/>
                </a:lnTo>
                <a:lnTo>
                  <a:pt x="4935" y="2542"/>
                </a:lnTo>
                <a:lnTo>
                  <a:pt x="4945" y="2541"/>
                </a:lnTo>
                <a:lnTo>
                  <a:pt x="4955" y="2539"/>
                </a:lnTo>
                <a:lnTo>
                  <a:pt x="4965" y="2536"/>
                </a:lnTo>
                <a:lnTo>
                  <a:pt x="4965" y="2536"/>
                </a:lnTo>
                <a:lnTo>
                  <a:pt x="4967" y="2508"/>
                </a:lnTo>
                <a:lnTo>
                  <a:pt x="4970" y="2441"/>
                </a:lnTo>
                <a:lnTo>
                  <a:pt x="4972" y="2405"/>
                </a:lnTo>
                <a:lnTo>
                  <a:pt x="4973" y="2371"/>
                </a:lnTo>
                <a:lnTo>
                  <a:pt x="4972" y="2343"/>
                </a:lnTo>
                <a:lnTo>
                  <a:pt x="4972" y="2333"/>
                </a:lnTo>
                <a:lnTo>
                  <a:pt x="4970" y="2327"/>
                </a:lnTo>
                <a:lnTo>
                  <a:pt x="4970" y="2327"/>
                </a:lnTo>
                <a:lnTo>
                  <a:pt x="4955" y="2325"/>
                </a:lnTo>
                <a:lnTo>
                  <a:pt x="4938" y="2322"/>
                </a:lnTo>
                <a:lnTo>
                  <a:pt x="4919" y="2317"/>
                </a:lnTo>
                <a:lnTo>
                  <a:pt x="4911" y="2314"/>
                </a:lnTo>
                <a:lnTo>
                  <a:pt x="4902" y="2311"/>
                </a:lnTo>
                <a:lnTo>
                  <a:pt x="4893" y="2306"/>
                </a:lnTo>
                <a:lnTo>
                  <a:pt x="4885" y="2302"/>
                </a:lnTo>
                <a:lnTo>
                  <a:pt x="4876" y="2296"/>
                </a:lnTo>
                <a:lnTo>
                  <a:pt x="4868" y="2289"/>
                </a:lnTo>
                <a:lnTo>
                  <a:pt x="4861" y="2282"/>
                </a:lnTo>
                <a:lnTo>
                  <a:pt x="4854" y="2273"/>
                </a:lnTo>
                <a:lnTo>
                  <a:pt x="4848" y="2264"/>
                </a:lnTo>
                <a:lnTo>
                  <a:pt x="4842" y="225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86" name="Freeform 37"/>
          <p:cNvSpPr>
            <a:spLocks/>
          </p:cNvSpPr>
          <p:nvPr userDrawn="1"/>
        </p:nvSpPr>
        <p:spPr bwMode="auto">
          <a:xfrm>
            <a:off x="8332789" y="-385339"/>
            <a:ext cx="276225" cy="73025"/>
          </a:xfrm>
          <a:custGeom>
            <a:avLst/>
            <a:gdLst>
              <a:gd name="T0" fmla="*/ 0 w 349"/>
              <a:gd name="T1" fmla="*/ 34 h 91"/>
              <a:gd name="T2" fmla="*/ 0 w 349"/>
              <a:gd name="T3" fmla="*/ 34 h 91"/>
              <a:gd name="T4" fmla="*/ 20 w 349"/>
              <a:gd name="T5" fmla="*/ 49 h 91"/>
              <a:gd name="T6" fmla="*/ 38 w 349"/>
              <a:gd name="T7" fmla="*/ 60 h 91"/>
              <a:gd name="T8" fmla="*/ 38 w 349"/>
              <a:gd name="T9" fmla="*/ 60 h 91"/>
              <a:gd name="T10" fmla="*/ 69 w 349"/>
              <a:gd name="T11" fmla="*/ 71 h 91"/>
              <a:gd name="T12" fmla="*/ 89 w 349"/>
              <a:gd name="T13" fmla="*/ 78 h 91"/>
              <a:gd name="T14" fmla="*/ 111 w 349"/>
              <a:gd name="T15" fmla="*/ 84 h 91"/>
              <a:gd name="T16" fmla="*/ 137 w 349"/>
              <a:gd name="T17" fmla="*/ 87 h 91"/>
              <a:gd name="T18" fmla="*/ 164 w 349"/>
              <a:gd name="T19" fmla="*/ 91 h 91"/>
              <a:gd name="T20" fmla="*/ 194 w 349"/>
              <a:gd name="T21" fmla="*/ 91 h 91"/>
              <a:gd name="T22" fmla="*/ 226 w 349"/>
              <a:gd name="T23" fmla="*/ 89 h 91"/>
              <a:gd name="T24" fmla="*/ 226 w 349"/>
              <a:gd name="T25" fmla="*/ 89 h 91"/>
              <a:gd name="T26" fmla="*/ 256 w 349"/>
              <a:gd name="T27" fmla="*/ 86 h 91"/>
              <a:gd name="T28" fmla="*/ 279 w 349"/>
              <a:gd name="T29" fmla="*/ 80 h 91"/>
              <a:gd name="T30" fmla="*/ 301 w 349"/>
              <a:gd name="T31" fmla="*/ 75 h 91"/>
              <a:gd name="T32" fmla="*/ 318 w 349"/>
              <a:gd name="T33" fmla="*/ 69 h 91"/>
              <a:gd name="T34" fmla="*/ 342 w 349"/>
              <a:gd name="T35" fmla="*/ 56 h 91"/>
              <a:gd name="T36" fmla="*/ 349 w 349"/>
              <a:gd name="T37" fmla="*/ 53 h 91"/>
              <a:gd name="T38" fmla="*/ 349 w 349"/>
              <a:gd name="T39" fmla="*/ 53 h 91"/>
              <a:gd name="T40" fmla="*/ 338 w 349"/>
              <a:gd name="T41" fmla="*/ 49 h 91"/>
              <a:gd name="T42" fmla="*/ 329 w 349"/>
              <a:gd name="T43" fmla="*/ 44 h 91"/>
              <a:gd name="T44" fmla="*/ 314 w 349"/>
              <a:gd name="T45" fmla="*/ 31 h 91"/>
              <a:gd name="T46" fmla="*/ 314 w 349"/>
              <a:gd name="T47" fmla="*/ 31 h 91"/>
              <a:gd name="T48" fmla="*/ 312 w 349"/>
              <a:gd name="T49" fmla="*/ 38 h 91"/>
              <a:gd name="T50" fmla="*/ 312 w 349"/>
              <a:gd name="T51" fmla="*/ 38 h 91"/>
              <a:gd name="T52" fmla="*/ 311 w 349"/>
              <a:gd name="T53" fmla="*/ 51 h 91"/>
              <a:gd name="T54" fmla="*/ 311 w 349"/>
              <a:gd name="T55" fmla="*/ 51 h 91"/>
              <a:gd name="T56" fmla="*/ 303 w 349"/>
              <a:gd name="T57" fmla="*/ 49 h 91"/>
              <a:gd name="T58" fmla="*/ 303 w 349"/>
              <a:gd name="T59" fmla="*/ 49 h 91"/>
              <a:gd name="T60" fmla="*/ 298 w 349"/>
              <a:gd name="T61" fmla="*/ 45 h 91"/>
              <a:gd name="T62" fmla="*/ 292 w 349"/>
              <a:gd name="T63" fmla="*/ 40 h 91"/>
              <a:gd name="T64" fmla="*/ 289 w 349"/>
              <a:gd name="T65" fmla="*/ 33 h 91"/>
              <a:gd name="T66" fmla="*/ 287 w 349"/>
              <a:gd name="T67" fmla="*/ 23 h 91"/>
              <a:gd name="T68" fmla="*/ 287 w 349"/>
              <a:gd name="T69" fmla="*/ 23 h 91"/>
              <a:gd name="T70" fmla="*/ 287 w 349"/>
              <a:gd name="T71" fmla="*/ 22 h 91"/>
              <a:gd name="T72" fmla="*/ 287 w 349"/>
              <a:gd name="T73" fmla="*/ 22 h 91"/>
              <a:gd name="T74" fmla="*/ 272 w 349"/>
              <a:gd name="T75" fmla="*/ 27 h 91"/>
              <a:gd name="T76" fmla="*/ 252 w 349"/>
              <a:gd name="T77" fmla="*/ 33 h 91"/>
              <a:gd name="T78" fmla="*/ 228 w 349"/>
              <a:gd name="T79" fmla="*/ 38 h 91"/>
              <a:gd name="T80" fmla="*/ 205 w 349"/>
              <a:gd name="T81" fmla="*/ 40 h 91"/>
              <a:gd name="T82" fmla="*/ 205 w 349"/>
              <a:gd name="T83" fmla="*/ 40 h 91"/>
              <a:gd name="T84" fmla="*/ 161 w 349"/>
              <a:gd name="T85" fmla="*/ 38 h 91"/>
              <a:gd name="T86" fmla="*/ 139 w 349"/>
              <a:gd name="T87" fmla="*/ 36 h 91"/>
              <a:gd name="T88" fmla="*/ 117 w 349"/>
              <a:gd name="T89" fmla="*/ 33 h 91"/>
              <a:gd name="T90" fmla="*/ 95 w 349"/>
              <a:gd name="T91" fmla="*/ 29 h 91"/>
              <a:gd name="T92" fmla="*/ 73 w 349"/>
              <a:gd name="T93" fmla="*/ 22 h 91"/>
              <a:gd name="T94" fmla="*/ 51 w 349"/>
              <a:gd name="T95" fmla="*/ 14 h 91"/>
              <a:gd name="T96" fmla="*/ 31 w 349"/>
              <a:gd name="T97" fmla="*/ 7 h 91"/>
              <a:gd name="T98" fmla="*/ 31 w 349"/>
              <a:gd name="T99" fmla="*/ 7 h 91"/>
              <a:gd name="T100" fmla="*/ 15 w 349"/>
              <a:gd name="T101" fmla="*/ 0 h 91"/>
              <a:gd name="T102" fmla="*/ 15 w 349"/>
              <a:gd name="T103" fmla="*/ 0 h 91"/>
              <a:gd name="T104" fmla="*/ 15 w 349"/>
              <a:gd name="T105" fmla="*/ 1 h 91"/>
              <a:gd name="T106" fmla="*/ 15 w 349"/>
              <a:gd name="T107" fmla="*/ 5 h 91"/>
              <a:gd name="T108" fmla="*/ 18 w 349"/>
              <a:gd name="T109" fmla="*/ 14 h 91"/>
              <a:gd name="T110" fmla="*/ 25 w 349"/>
              <a:gd name="T111" fmla="*/ 25 h 91"/>
              <a:gd name="T112" fmla="*/ 25 w 349"/>
              <a:gd name="T113" fmla="*/ 25 h 91"/>
              <a:gd name="T114" fmla="*/ 16 w 349"/>
              <a:gd name="T115" fmla="*/ 23 h 91"/>
              <a:gd name="T116" fmla="*/ 7 w 349"/>
              <a:gd name="T117" fmla="*/ 27 h 91"/>
              <a:gd name="T118" fmla="*/ 7 w 349"/>
              <a:gd name="T119" fmla="*/ 27 h 91"/>
              <a:gd name="T120" fmla="*/ 2 w 349"/>
              <a:gd name="T121" fmla="*/ 31 h 91"/>
              <a:gd name="T122" fmla="*/ 0 w 349"/>
              <a:gd name="T123" fmla="*/ 3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9" h="91">
                <a:moveTo>
                  <a:pt x="0" y="34"/>
                </a:moveTo>
                <a:lnTo>
                  <a:pt x="0" y="34"/>
                </a:lnTo>
                <a:lnTo>
                  <a:pt x="20" y="49"/>
                </a:lnTo>
                <a:lnTo>
                  <a:pt x="38" y="60"/>
                </a:lnTo>
                <a:lnTo>
                  <a:pt x="38" y="60"/>
                </a:lnTo>
                <a:lnTo>
                  <a:pt x="69" y="71"/>
                </a:lnTo>
                <a:lnTo>
                  <a:pt x="89" y="78"/>
                </a:lnTo>
                <a:lnTo>
                  <a:pt x="111" y="84"/>
                </a:lnTo>
                <a:lnTo>
                  <a:pt x="137" y="87"/>
                </a:lnTo>
                <a:lnTo>
                  <a:pt x="164" y="91"/>
                </a:lnTo>
                <a:lnTo>
                  <a:pt x="194" y="91"/>
                </a:lnTo>
                <a:lnTo>
                  <a:pt x="226" y="89"/>
                </a:lnTo>
                <a:lnTo>
                  <a:pt x="226" y="89"/>
                </a:lnTo>
                <a:lnTo>
                  <a:pt x="256" y="86"/>
                </a:lnTo>
                <a:lnTo>
                  <a:pt x="279" y="80"/>
                </a:lnTo>
                <a:lnTo>
                  <a:pt x="301" y="75"/>
                </a:lnTo>
                <a:lnTo>
                  <a:pt x="318" y="69"/>
                </a:lnTo>
                <a:lnTo>
                  <a:pt x="342" y="56"/>
                </a:lnTo>
                <a:lnTo>
                  <a:pt x="349" y="53"/>
                </a:lnTo>
                <a:lnTo>
                  <a:pt x="349" y="53"/>
                </a:lnTo>
                <a:lnTo>
                  <a:pt x="338" y="49"/>
                </a:lnTo>
                <a:lnTo>
                  <a:pt x="329" y="44"/>
                </a:lnTo>
                <a:lnTo>
                  <a:pt x="314" y="31"/>
                </a:lnTo>
                <a:lnTo>
                  <a:pt x="314" y="31"/>
                </a:lnTo>
                <a:lnTo>
                  <a:pt x="312" y="38"/>
                </a:lnTo>
                <a:lnTo>
                  <a:pt x="312" y="38"/>
                </a:lnTo>
                <a:lnTo>
                  <a:pt x="311" y="51"/>
                </a:lnTo>
                <a:lnTo>
                  <a:pt x="311" y="51"/>
                </a:lnTo>
                <a:lnTo>
                  <a:pt x="303" y="49"/>
                </a:lnTo>
                <a:lnTo>
                  <a:pt x="303" y="49"/>
                </a:lnTo>
                <a:lnTo>
                  <a:pt x="298" y="45"/>
                </a:lnTo>
                <a:lnTo>
                  <a:pt x="292" y="40"/>
                </a:lnTo>
                <a:lnTo>
                  <a:pt x="289" y="33"/>
                </a:lnTo>
                <a:lnTo>
                  <a:pt x="287" y="23"/>
                </a:lnTo>
                <a:lnTo>
                  <a:pt x="287" y="23"/>
                </a:lnTo>
                <a:lnTo>
                  <a:pt x="287" y="22"/>
                </a:lnTo>
                <a:lnTo>
                  <a:pt x="287" y="22"/>
                </a:lnTo>
                <a:lnTo>
                  <a:pt x="272" y="27"/>
                </a:lnTo>
                <a:lnTo>
                  <a:pt x="252" y="33"/>
                </a:lnTo>
                <a:lnTo>
                  <a:pt x="228" y="38"/>
                </a:lnTo>
                <a:lnTo>
                  <a:pt x="205" y="40"/>
                </a:lnTo>
                <a:lnTo>
                  <a:pt x="205" y="40"/>
                </a:lnTo>
                <a:lnTo>
                  <a:pt x="161" y="38"/>
                </a:lnTo>
                <a:lnTo>
                  <a:pt x="139" y="36"/>
                </a:lnTo>
                <a:lnTo>
                  <a:pt x="117" y="33"/>
                </a:lnTo>
                <a:lnTo>
                  <a:pt x="95" y="29"/>
                </a:lnTo>
                <a:lnTo>
                  <a:pt x="73" y="22"/>
                </a:lnTo>
                <a:lnTo>
                  <a:pt x="51" y="14"/>
                </a:lnTo>
                <a:lnTo>
                  <a:pt x="31" y="7"/>
                </a:lnTo>
                <a:lnTo>
                  <a:pt x="31" y="7"/>
                </a:lnTo>
                <a:lnTo>
                  <a:pt x="15" y="0"/>
                </a:lnTo>
                <a:lnTo>
                  <a:pt x="15" y="0"/>
                </a:lnTo>
                <a:lnTo>
                  <a:pt x="15" y="1"/>
                </a:lnTo>
                <a:lnTo>
                  <a:pt x="15" y="5"/>
                </a:lnTo>
                <a:lnTo>
                  <a:pt x="18" y="14"/>
                </a:lnTo>
                <a:lnTo>
                  <a:pt x="25" y="25"/>
                </a:lnTo>
                <a:lnTo>
                  <a:pt x="25" y="25"/>
                </a:lnTo>
                <a:lnTo>
                  <a:pt x="16" y="23"/>
                </a:lnTo>
                <a:lnTo>
                  <a:pt x="7" y="27"/>
                </a:lnTo>
                <a:lnTo>
                  <a:pt x="7" y="27"/>
                </a:lnTo>
                <a:lnTo>
                  <a:pt x="2" y="31"/>
                </a:lnTo>
                <a:lnTo>
                  <a:pt x="0" y="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87" name="Freeform 38"/>
          <p:cNvSpPr>
            <a:spLocks/>
          </p:cNvSpPr>
          <p:nvPr userDrawn="1"/>
        </p:nvSpPr>
        <p:spPr bwMode="auto">
          <a:xfrm>
            <a:off x="8270876" y="-618703"/>
            <a:ext cx="282575" cy="201613"/>
          </a:xfrm>
          <a:custGeom>
            <a:avLst/>
            <a:gdLst>
              <a:gd name="T0" fmla="*/ 326 w 357"/>
              <a:gd name="T1" fmla="*/ 20 h 253"/>
              <a:gd name="T2" fmla="*/ 320 w 357"/>
              <a:gd name="T3" fmla="*/ 3 h 253"/>
              <a:gd name="T4" fmla="*/ 311 w 357"/>
              <a:gd name="T5" fmla="*/ 0 h 253"/>
              <a:gd name="T6" fmla="*/ 227 w 357"/>
              <a:gd name="T7" fmla="*/ 40 h 253"/>
              <a:gd name="T8" fmla="*/ 207 w 357"/>
              <a:gd name="T9" fmla="*/ 53 h 253"/>
              <a:gd name="T10" fmla="*/ 176 w 357"/>
              <a:gd name="T11" fmla="*/ 53 h 253"/>
              <a:gd name="T12" fmla="*/ 181 w 357"/>
              <a:gd name="T13" fmla="*/ 71 h 253"/>
              <a:gd name="T14" fmla="*/ 172 w 357"/>
              <a:gd name="T15" fmla="*/ 78 h 253"/>
              <a:gd name="T16" fmla="*/ 181 w 357"/>
              <a:gd name="T17" fmla="*/ 93 h 253"/>
              <a:gd name="T18" fmla="*/ 198 w 357"/>
              <a:gd name="T19" fmla="*/ 91 h 253"/>
              <a:gd name="T20" fmla="*/ 189 w 357"/>
              <a:gd name="T21" fmla="*/ 115 h 253"/>
              <a:gd name="T22" fmla="*/ 147 w 357"/>
              <a:gd name="T23" fmla="*/ 146 h 253"/>
              <a:gd name="T24" fmla="*/ 101 w 357"/>
              <a:gd name="T25" fmla="*/ 155 h 253"/>
              <a:gd name="T26" fmla="*/ 79 w 357"/>
              <a:gd name="T27" fmla="*/ 137 h 253"/>
              <a:gd name="T28" fmla="*/ 68 w 357"/>
              <a:gd name="T29" fmla="*/ 126 h 253"/>
              <a:gd name="T30" fmla="*/ 50 w 357"/>
              <a:gd name="T31" fmla="*/ 126 h 253"/>
              <a:gd name="T32" fmla="*/ 28 w 357"/>
              <a:gd name="T33" fmla="*/ 137 h 253"/>
              <a:gd name="T34" fmla="*/ 48 w 357"/>
              <a:gd name="T35" fmla="*/ 140 h 253"/>
              <a:gd name="T36" fmla="*/ 44 w 357"/>
              <a:gd name="T37" fmla="*/ 149 h 253"/>
              <a:gd name="T38" fmla="*/ 75 w 357"/>
              <a:gd name="T39" fmla="*/ 169 h 253"/>
              <a:gd name="T40" fmla="*/ 75 w 357"/>
              <a:gd name="T41" fmla="*/ 171 h 253"/>
              <a:gd name="T42" fmla="*/ 39 w 357"/>
              <a:gd name="T43" fmla="*/ 160 h 253"/>
              <a:gd name="T44" fmla="*/ 28 w 357"/>
              <a:gd name="T45" fmla="*/ 164 h 253"/>
              <a:gd name="T46" fmla="*/ 8 w 357"/>
              <a:gd name="T47" fmla="*/ 171 h 253"/>
              <a:gd name="T48" fmla="*/ 2 w 357"/>
              <a:gd name="T49" fmla="*/ 193 h 253"/>
              <a:gd name="T50" fmla="*/ 17 w 357"/>
              <a:gd name="T51" fmla="*/ 180 h 253"/>
              <a:gd name="T52" fmla="*/ 22 w 357"/>
              <a:gd name="T53" fmla="*/ 188 h 253"/>
              <a:gd name="T54" fmla="*/ 26 w 357"/>
              <a:gd name="T55" fmla="*/ 197 h 253"/>
              <a:gd name="T56" fmla="*/ 66 w 357"/>
              <a:gd name="T57" fmla="*/ 195 h 253"/>
              <a:gd name="T58" fmla="*/ 75 w 357"/>
              <a:gd name="T59" fmla="*/ 197 h 253"/>
              <a:gd name="T60" fmla="*/ 39 w 357"/>
              <a:gd name="T61" fmla="*/ 206 h 253"/>
              <a:gd name="T62" fmla="*/ 37 w 357"/>
              <a:gd name="T63" fmla="*/ 213 h 253"/>
              <a:gd name="T64" fmla="*/ 28 w 357"/>
              <a:gd name="T65" fmla="*/ 233 h 253"/>
              <a:gd name="T66" fmla="*/ 35 w 357"/>
              <a:gd name="T67" fmla="*/ 248 h 253"/>
              <a:gd name="T68" fmla="*/ 41 w 357"/>
              <a:gd name="T69" fmla="*/ 244 h 253"/>
              <a:gd name="T70" fmla="*/ 42 w 357"/>
              <a:gd name="T71" fmla="*/ 235 h 253"/>
              <a:gd name="T72" fmla="*/ 55 w 357"/>
              <a:gd name="T73" fmla="*/ 243 h 253"/>
              <a:gd name="T74" fmla="*/ 72 w 357"/>
              <a:gd name="T75" fmla="*/ 232 h 253"/>
              <a:gd name="T76" fmla="*/ 94 w 357"/>
              <a:gd name="T77" fmla="*/ 213 h 253"/>
              <a:gd name="T78" fmla="*/ 108 w 357"/>
              <a:gd name="T79" fmla="*/ 211 h 253"/>
              <a:gd name="T80" fmla="*/ 110 w 357"/>
              <a:gd name="T81" fmla="*/ 222 h 253"/>
              <a:gd name="T82" fmla="*/ 115 w 357"/>
              <a:gd name="T83" fmla="*/ 233 h 253"/>
              <a:gd name="T84" fmla="*/ 114 w 357"/>
              <a:gd name="T85" fmla="*/ 243 h 253"/>
              <a:gd name="T86" fmla="*/ 136 w 357"/>
              <a:gd name="T87" fmla="*/ 224 h 253"/>
              <a:gd name="T88" fmla="*/ 141 w 357"/>
              <a:gd name="T89" fmla="*/ 219 h 253"/>
              <a:gd name="T90" fmla="*/ 145 w 357"/>
              <a:gd name="T91" fmla="*/ 211 h 253"/>
              <a:gd name="T92" fmla="*/ 147 w 357"/>
              <a:gd name="T93" fmla="*/ 200 h 253"/>
              <a:gd name="T94" fmla="*/ 167 w 357"/>
              <a:gd name="T95" fmla="*/ 193 h 253"/>
              <a:gd name="T96" fmla="*/ 170 w 357"/>
              <a:gd name="T97" fmla="*/ 180 h 253"/>
              <a:gd name="T98" fmla="*/ 181 w 357"/>
              <a:gd name="T99" fmla="*/ 179 h 253"/>
              <a:gd name="T100" fmla="*/ 199 w 357"/>
              <a:gd name="T101" fmla="*/ 197 h 253"/>
              <a:gd name="T102" fmla="*/ 231 w 357"/>
              <a:gd name="T103" fmla="*/ 182 h 253"/>
              <a:gd name="T104" fmla="*/ 227 w 357"/>
              <a:gd name="T105" fmla="*/ 169 h 253"/>
              <a:gd name="T106" fmla="*/ 223 w 357"/>
              <a:gd name="T107" fmla="*/ 155 h 253"/>
              <a:gd name="T108" fmla="*/ 245 w 357"/>
              <a:gd name="T109" fmla="*/ 173 h 253"/>
              <a:gd name="T110" fmla="*/ 276 w 357"/>
              <a:gd name="T111" fmla="*/ 155 h 253"/>
              <a:gd name="T112" fmla="*/ 273 w 357"/>
              <a:gd name="T113" fmla="*/ 149 h 253"/>
              <a:gd name="T114" fmla="*/ 263 w 357"/>
              <a:gd name="T115" fmla="*/ 131 h 253"/>
              <a:gd name="T116" fmla="*/ 262 w 357"/>
              <a:gd name="T117" fmla="*/ 115 h 253"/>
              <a:gd name="T118" fmla="*/ 262 w 357"/>
              <a:gd name="T119" fmla="*/ 98 h 253"/>
              <a:gd name="T120" fmla="*/ 353 w 357"/>
              <a:gd name="T121" fmla="*/ 45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7" h="253">
                <a:moveTo>
                  <a:pt x="344" y="31"/>
                </a:moveTo>
                <a:lnTo>
                  <a:pt x="344" y="31"/>
                </a:lnTo>
                <a:lnTo>
                  <a:pt x="335" y="23"/>
                </a:lnTo>
                <a:lnTo>
                  <a:pt x="326" y="20"/>
                </a:lnTo>
                <a:lnTo>
                  <a:pt x="309" y="12"/>
                </a:lnTo>
                <a:lnTo>
                  <a:pt x="309" y="12"/>
                </a:lnTo>
                <a:lnTo>
                  <a:pt x="316" y="7"/>
                </a:lnTo>
                <a:lnTo>
                  <a:pt x="320" y="3"/>
                </a:lnTo>
                <a:lnTo>
                  <a:pt x="320" y="1"/>
                </a:lnTo>
                <a:lnTo>
                  <a:pt x="320" y="1"/>
                </a:lnTo>
                <a:lnTo>
                  <a:pt x="315" y="0"/>
                </a:lnTo>
                <a:lnTo>
                  <a:pt x="311" y="0"/>
                </a:lnTo>
                <a:lnTo>
                  <a:pt x="311" y="0"/>
                </a:lnTo>
                <a:lnTo>
                  <a:pt x="280" y="12"/>
                </a:lnTo>
                <a:lnTo>
                  <a:pt x="252" y="25"/>
                </a:lnTo>
                <a:lnTo>
                  <a:pt x="227" y="40"/>
                </a:lnTo>
                <a:lnTo>
                  <a:pt x="209" y="53"/>
                </a:lnTo>
                <a:lnTo>
                  <a:pt x="209" y="53"/>
                </a:lnTo>
                <a:lnTo>
                  <a:pt x="207" y="53"/>
                </a:lnTo>
                <a:lnTo>
                  <a:pt x="207" y="53"/>
                </a:lnTo>
                <a:lnTo>
                  <a:pt x="201" y="56"/>
                </a:lnTo>
                <a:lnTo>
                  <a:pt x="196" y="56"/>
                </a:lnTo>
                <a:lnTo>
                  <a:pt x="185" y="54"/>
                </a:lnTo>
                <a:lnTo>
                  <a:pt x="176" y="53"/>
                </a:lnTo>
                <a:lnTo>
                  <a:pt x="174" y="51"/>
                </a:lnTo>
                <a:lnTo>
                  <a:pt x="170" y="67"/>
                </a:lnTo>
                <a:lnTo>
                  <a:pt x="170" y="67"/>
                </a:lnTo>
                <a:lnTo>
                  <a:pt x="181" y="71"/>
                </a:lnTo>
                <a:lnTo>
                  <a:pt x="189" y="74"/>
                </a:lnTo>
                <a:lnTo>
                  <a:pt x="189" y="74"/>
                </a:lnTo>
                <a:lnTo>
                  <a:pt x="178" y="76"/>
                </a:lnTo>
                <a:lnTo>
                  <a:pt x="172" y="78"/>
                </a:lnTo>
                <a:lnTo>
                  <a:pt x="168" y="82"/>
                </a:lnTo>
                <a:lnTo>
                  <a:pt x="174" y="96"/>
                </a:lnTo>
                <a:lnTo>
                  <a:pt x="174" y="96"/>
                </a:lnTo>
                <a:lnTo>
                  <a:pt x="181" y="93"/>
                </a:lnTo>
                <a:lnTo>
                  <a:pt x="189" y="91"/>
                </a:lnTo>
                <a:lnTo>
                  <a:pt x="198" y="89"/>
                </a:lnTo>
                <a:lnTo>
                  <a:pt x="198" y="89"/>
                </a:lnTo>
                <a:lnTo>
                  <a:pt x="198" y="91"/>
                </a:lnTo>
                <a:lnTo>
                  <a:pt x="198" y="91"/>
                </a:lnTo>
                <a:lnTo>
                  <a:pt x="198" y="98"/>
                </a:lnTo>
                <a:lnTo>
                  <a:pt x="194" y="105"/>
                </a:lnTo>
                <a:lnTo>
                  <a:pt x="189" y="115"/>
                </a:lnTo>
                <a:lnTo>
                  <a:pt x="181" y="122"/>
                </a:lnTo>
                <a:lnTo>
                  <a:pt x="165" y="137"/>
                </a:lnTo>
                <a:lnTo>
                  <a:pt x="156" y="142"/>
                </a:lnTo>
                <a:lnTo>
                  <a:pt x="147" y="146"/>
                </a:lnTo>
                <a:lnTo>
                  <a:pt x="147" y="146"/>
                </a:lnTo>
                <a:lnTo>
                  <a:pt x="128" y="151"/>
                </a:lnTo>
                <a:lnTo>
                  <a:pt x="112" y="155"/>
                </a:lnTo>
                <a:lnTo>
                  <a:pt x="101" y="155"/>
                </a:lnTo>
                <a:lnTo>
                  <a:pt x="95" y="153"/>
                </a:lnTo>
                <a:lnTo>
                  <a:pt x="95" y="153"/>
                </a:lnTo>
                <a:lnTo>
                  <a:pt x="84" y="144"/>
                </a:lnTo>
                <a:lnTo>
                  <a:pt x="79" y="137"/>
                </a:lnTo>
                <a:lnTo>
                  <a:pt x="73" y="129"/>
                </a:lnTo>
                <a:lnTo>
                  <a:pt x="72" y="126"/>
                </a:lnTo>
                <a:lnTo>
                  <a:pt x="68" y="126"/>
                </a:lnTo>
                <a:lnTo>
                  <a:pt x="68" y="126"/>
                </a:lnTo>
                <a:lnTo>
                  <a:pt x="64" y="126"/>
                </a:lnTo>
                <a:lnTo>
                  <a:pt x="61" y="127"/>
                </a:lnTo>
                <a:lnTo>
                  <a:pt x="61" y="127"/>
                </a:lnTo>
                <a:lnTo>
                  <a:pt x="50" y="126"/>
                </a:lnTo>
                <a:lnTo>
                  <a:pt x="41" y="127"/>
                </a:lnTo>
                <a:lnTo>
                  <a:pt x="33" y="131"/>
                </a:lnTo>
                <a:lnTo>
                  <a:pt x="30" y="133"/>
                </a:lnTo>
                <a:lnTo>
                  <a:pt x="28" y="137"/>
                </a:lnTo>
                <a:lnTo>
                  <a:pt x="28" y="137"/>
                </a:lnTo>
                <a:lnTo>
                  <a:pt x="41" y="137"/>
                </a:lnTo>
                <a:lnTo>
                  <a:pt x="48" y="138"/>
                </a:lnTo>
                <a:lnTo>
                  <a:pt x="48" y="140"/>
                </a:lnTo>
                <a:lnTo>
                  <a:pt x="46" y="142"/>
                </a:lnTo>
                <a:lnTo>
                  <a:pt x="46" y="142"/>
                </a:lnTo>
                <a:lnTo>
                  <a:pt x="42" y="146"/>
                </a:lnTo>
                <a:lnTo>
                  <a:pt x="44" y="149"/>
                </a:lnTo>
                <a:lnTo>
                  <a:pt x="46" y="153"/>
                </a:lnTo>
                <a:lnTo>
                  <a:pt x="52" y="157"/>
                </a:lnTo>
                <a:lnTo>
                  <a:pt x="75" y="169"/>
                </a:lnTo>
                <a:lnTo>
                  <a:pt x="75" y="169"/>
                </a:lnTo>
                <a:lnTo>
                  <a:pt x="75" y="169"/>
                </a:lnTo>
                <a:lnTo>
                  <a:pt x="75" y="171"/>
                </a:lnTo>
                <a:lnTo>
                  <a:pt x="75" y="171"/>
                </a:lnTo>
                <a:lnTo>
                  <a:pt x="75" y="171"/>
                </a:lnTo>
                <a:lnTo>
                  <a:pt x="68" y="171"/>
                </a:lnTo>
                <a:lnTo>
                  <a:pt x="59" y="168"/>
                </a:lnTo>
                <a:lnTo>
                  <a:pt x="39" y="160"/>
                </a:lnTo>
                <a:lnTo>
                  <a:pt x="39" y="160"/>
                </a:lnTo>
                <a:lnTo>
                  <a:pt x="35" y="160"/>
                </a:lnTo>
                <a:lnTo>
                  <a:pt x="31" y="160"/>
                </a:lnTo>
                <a:lnTo>
                  <a:pt x="28" y="164"/>
                </a:lnTo>
                <a:lnTo>
                  <a:pt x="28" y="164"/>
                </a:lnTo>
                <a:lnTo>
                  <a:pt x="24" y="164"/>
                </a:lnTo>
                <a:lnTo>
                  <a:pt x="19" y="164"/>
                </a:lnTo>
                <a:lnTo>
                  <a:pt x="11" y="168"/>
                </a:lnTo>
                <a:lnTo>
                  <a:pt x="8" y="171"/>
                </a:lnTo>
                <a:lnTo>
                  <a:pt x="2" y="175"/>
                </a:lnTo>
                <a:lnTo>
                  <a:pt x="0" y="180"/>
                </a:lnTo>
                <a:lnTo>
                  <a:pt x="0" y="186"/>
                </a:lnTo>
                <a:lnTo>
                  <a:pt x="2" y="193"/>
                </a:lnTo>
                <a:lnTo>
                  <a:pt x="2" y="193"/>
                </a:lnTo>
                <a:lnTo>
                  <a:pt x="8" y="186"/>
                </a:lnTo>
                <a:lnTo>
                  <a:pt x="13" y="180"/>
                </a:lnTo>
                <a:lnTo>
                  <a:pt x="17" y="180"/>
                </a:lnTo>
                <a:lnTo>
                  <a:pt x="20" y="180"/>
                </a:lnTo>
                <a:lnTo>
                  <a:pt x="20" y="180"/>
                </a:lnTo>
                <a:lnTo>
                  <a:pt x="22" y="182"/>
                </a:lnTo>
                <a:lnTo>
                  <a:pt x="22" y="188"/>
                </a:lnTo>
                <a:lnTo>
                  <a:pt x="22" y="191"/>
                </a:lnTo>
                <a:lnTo>
                  <a:pt x="24" y="195"/>
                </a:lnTo>
                <a:lnTo>
                  <a:pt x="26" y="197"/>
                </a:lnTo>
                <a:lnTo>
                  <a:pt x="26" y="197"/>
                </a:lnTo>
                <a:lnTo>
                  <a:pt x="30" y="199"/>
                </a:lnTo>
                <a:lnTo>
                  <a:pt x="37" y="199"/>
                </a:lnTo>
                <a:lnTo>
                  <a:pt x="52" y="197"/>
                </a:lnTo>
                <a:lnTo>
                  <a:pt x="66" y="195"/>
                </a:lnTo>
                <a:lnTo>
                  <a:pt x="73" y="195"/>
                </a:lnTo>
                <a:lnTo>
                  <a:pt x="75" y="195"/>
                </a:lnTo>
                <a:lnTo>
                  <a:pt x="75" y="195"/>
                </a:lnTo>
                <a:lnTo>
                  <a:pt x="75" y="197"/>
                </a:lnTo>
                <a:lnTo>
                  <a:pt x="72" y="199"/>
                </a:lnTo>
                <a:lnTo>
                  <a:pt x="59" y="200"/>
                </a:lnTo>
                <a:lnTo>
                  <a:pt x="44" y="202"/>
                </a:lnTo>
                <a:lnTo>
                  <a:pt x="39" y="206"/>
                </a:lnTo>
                <a:lnTo>
                  <a:pt x="37" y="208"/>
                </a:lnTo>
                <a:lnTo>
                  <a:pt x="37" y="208"/>
                </a:lnTo>
                <a:lnTo>
                  <a:pt x="37" y="213"/>
                </a:lnTo>
                <a:lnTo>
                  <a:pt x="37" y="213"/>
                </a:lnTo>
                <a:lnTo>
                  <a:pt x="37" y="215"/>
                </a:lnTo>
                <a:lnTo>
                  <a:pt x="33" y="219"/>
                </a:lnTo>
                <a:lnTo>
                  <a:pt x="30" y="226"/>
                </a:lnTo>
                <a:lnTo>
                  <a:pt x="28" y="233"/>
                </a:lnTo>
                <a:lnTo>
                  <a:pt x="28" y="233"/>
                </a:lnTo>
                <a:lnTo>
                  <a:pt x="28" y="237"/>
                </a:lnTo>
                <a:lnTo>
                  <a:pt x="30" y="243"/>
                </a:lnTo>
                <a:lnTo>
                  <a:pt x="35" y="248"/>
                </a:lnTo>
                <a:lnTo>
                  <a:pt x="41" y="253"/>
                </a:lnTo>
                <a:lnTo>
                  <a:pt x="41" y="253"/>
                </a:lnTo>
                <a:lnTo>
                  <a:pt x="42" y="252"/>
                </a:lnTo>
                <a:lnTo>
                  <a:pt x="41" y="244"/>
                </a:lnTo>
                <a:lnTo>
                  <a:pt x="41" y="239"/>
                </a:lnTo>
                <a:lnTo>
                  <a:pt x="42" y="237"/>
                </a:lnTo>
                <a:lnTo>
                  <a:pt x="42" y="235"/>
                </a:lnTo>
                <a:lnTo>
                  <a:pt x="42" y="235"/>
                </a:lnTo>
                <a:lnTo>
                  <a:pt x="46" y="235"/>
                </a:lnTo>
                <a:lnTo>
                  <a:pt x="48" y="237"/>
                </a:lnTo>
                <a:lnTo>
                  <a:pt x="52" y="241"/>
                </a:lnTo>
                <a:lnTo>
                  <a:pt x="55" y="243"/>
                </a:lnTo>
                <a:lnTo>
                  <a:pt x="55" y="243"/>
                </a:lnTo>
                <a:lnTo>
                  <a:pt x="59" y="241"/>
                </a:lnTo>
                <a:lnTo>
                  <a:pt x="62" y="239"/>
                </a:lnTo>
                <a:lnTo>
                  <a:pt x="72" y="232"/>
                </a:lnTo>
                <a:lnTo>
                  <a:pt x="81" y="222"/>
                </a:lnTo>
                <a:lnTo>
                  <a:pt x="86" y="217"/>
                </a:lnTo>
                <a:lnTo>
                  <a:pt x="94" y="213"/>
                </a:lnTo>
                <a:lnTo>
                  <a:pt x="94" y="213"/>
                </a:lnTo>
                <a:lnTo>
                  <a:pt x="103" y="210"/>
                </a:lnTo>
                <a:lnTo>
                  <a:pt x="106" y="208"/>
                </a:lnTo>
                <a:lnTo>
                  <a:pt x="108" y="210"/>
                </a:lnTo>
                <a:lnTo>
                  <a:pt x="108" y="211"/>
                </a:lnTo>
                <a:lnTo>
                  <a:pt x="108" y="217"/>
                </a:lnTo>
                <a:lnTo>
                  <a:pt x="108" y="221"/>
                </a:lnTo>
                <a:lnTo>
                  <a:pt x="110" y="222"/>
                </a:lnTo>
                <a:lnTo>
                  <a:pt x="110" y="222"/>
                </a:lnTo>
                <a:lnTo>
                  <a:pt x="115" y="224"/>
                </a:lnTo>
                <a:lnTo>
                  <a:pt x="117" y="226"/>
                </a:lnTo>
                <a:lnTo>
                  <a:pt x="117" y="230"/>
                </a:lnTo>
                <a:lnTo>
                  <a:pt x="115" y="233"/>
                </a:lnTo>
                <a:lnTo>
                  <a:pt x="112" y="239"/>
                </a:lnTo>
                <a:lnTo>
                  <a:pt x="108" y="243"/>
                </a:lnTo>
                <a:lnTo>
                  <a:pt x="108" y="243"/>
                </a:lnTo>
                <a:lnTo>
                  <a:pt x="114" y="243"/>
                </a:lnTo>
                <a:lnTo>
                  <a:pt x="121" y="241"/>
                </a:lnTo>
                <a:lnTo>
                  <a:pt x="128" y="233"/>
                </a:lnTo>
                <a:lnTo>
                  <a:pt x="132" y="230"/>
                </a:lnTo>
                <a:lnTo>
                  <a:pt x="136" y="224"/>
                </a:lnTo>
                <a:lnTo>
                  <a:pt x="136" y="224"/>
                </a:lnTo>
                <a:lnTo>
                  <a:pt x="136" y="221"/>
                </a:lnTo>
                <a:lnTo>
                  <a:pt x="137" y="221"/>
                </a:lnTo>
                <a:lnTo>
                  <a:pt x="141" y="219"/>
                </a:lnTo>
                <a:lnTo>
                  <a:pt x="143" y="217"/>
                </a:lnTo>
                <a:lnTo>
                  <a:pt x="143" y="217"/>
                </a:lnTo>
                <a:lnTo>
                  <a:pt x="145" y="215"/>
                </a:lnTo>
                <a:lnTo>
                  <a:pt x="145" y="211"/>
                </a:lnTo>
                <a:lnTo>
                  <a:pt x="145" y="208"/>
                </a:lnTo>
                <a:lnTo>
                  <a:pt x="145" y="204"/>
                </a:lnTo>
                <a:lnTo>
                  <a:pt x="145" y="204"/>
                </a:lnTo>
                <a:lnTo>
                  <a:pt x="147" y="200"/>
                </a:lnTo>
                <a:lnTo>
                  <a:pt x="150" y="199"/>
                </a:lnTo>
                <a:lnTo>
                  <a:pt x="157" y="197"/>
                </a:lnTo>
                <a:lnTo>
                  <a:pt x="165" y="195"/>
                </a:lnTo>
                <a:lnTo>
                  <a:pt x="167" y="193"/>
                </a:lnTo>
                <a:lnTo>
                  <a:pt x="167" y="191"/>
                </a:lnTo>
                <a:lnTo>
                  <a:pt x="167" y="191"/>
                </a:lnTo>
                <a:lnTo>
                  <a:pt x="167" y="186"/>
                </a:lnTo>
                <a:lnTo>
                  <a:pt x="170" y="180"/>
                </a:lnTo>
                <a:lnTo>
                  <a:pt x="176" y="179"/>
                </a:lnTo>
                <a:lnTo>
                  <a:pt x="179" y="177"/>
                </a:lnTo>
                <a:lnTo>
                  <a:pt x="179" y="177"/>
                </a:lnTo>
                <a:lnTo>
                  <a:pt x="181" y="179"/>
                </a:lnTo>
                <a:lnTo>
                  <a:pt x="183" y="184"/>
                </a:lnTo>
                <a:lnTo>
                  <a:pt x="189" y="190"/>
                </a:lnTo>
                <a:lnTo>
                  <a:pt x="194" y="193"/>
                </a:lnTo>
                <a:lnTo>
                  <a:pt x="199" y="197"/>
                </a:lnTo>
                <a:lnTo>
                  <a:pt x="199" y="197"/>
                </a:lnTo>
                <a:lnTo>
                  <a:pt x="221" y="186"/>
                </a:lnTo>
                <a:lnTo>
                  <a:pt x="221" y="186"/>
                </a:lnTo>
                <a:lnTo>
                  <a:pt x="231" y="182"/>
                </a:lnTo>
                <a:lnTo>
                  <a:pt x="234" y="179"/>
                </a:lnTo>
                <a:lnTo>
                  <a:pt x="234" y="179"/>
                </a:lnTo>
                <a:lnTo>
                  <a:pt x="231" y="173"/>
                </a:lnTo>
                <a:lnTo>
                  <a:pt x="227" y="169"/>
                </a:lnTo>
                <a:lnTo>
                  <a:pt x="225" y="164"/>
                </a:lnTo>
                <a:lnTo>
                  <a:pt x="225" y="164"/>
                </a:lnTo>
                <a:lnTo>
                  <a:pt x="223" y="158"/>
                </a:lnTo>
                <a:lnTo>
                  <a:pt x="223" y="155"/>
                </a:lnTo>
                <a:lnTo>
                  <a:pt x="223" y="155"/>
                </a:lnTo>
                <a:lnTo>
                  <a:pt x="229" y="162"/>
                </a:lnTo>
                <a:lnTo>
                  <a:pt x="236" y="168"/>
                </a:lnTo>
                <a:lnTo>
                  <a:pt x="245" y="173"/>
                </a:lnTo>
                <a:lnTo>
                  <a:pt x="245" y="173"/>
                </a:lnTo>
                <a:lnTo>
                  <a:pt x="271" y="157"/>
                </a:lnTo>
                <a:lnTo>
                  <a:pt x="271" y="157"/>
                </a:lnTo>
                <a:lnTo>
                  <a:pt x="276" y="155"/>
                </a:lnTo>
                <a:lnTo>
                  <a:pt x="276" y="155"/>
                </a:lnTo>
                <a:lnTo>
                  <a:pt x="276" y="155"/>
                </a:lnTo>
                <a:lnTo>
                  <a:pt x="276" y="155"/>
                </a:lnTo>
                <a:lnTo>
                  <a:pt x="273" y="149"/>
                </a:lnTo>
                <a:lnTo>
                  <a:pt x="267" y="144"/>
                </a:lnTo>
                <a:lnTo>
                  <a:pt x="262" y="137"/>
                </a:lnTo>
                <a:lnTo>
                  <a:pt x="262" y="133"/>
                </a:lnTo>
                <a:lnTo>
                  <a:pt x="263" y="131"/>
                </a:lnTo>
                <a:lnTo>
                  <a:pt x="263" y="131"/>
                </a:lnTo>
                <a:lnTo>
                  <a:pt x="265" y="129"/>
                </a:lnTo>
                <a:lnTo>
                  <a:pt x="265" y="126"/>
                </a:lnTo>
                <a:lnTo>
                  <a:pt x="262" y="115"/>
                </a:lnTo>
                <a:lnTo>
                  <a:pt x="258" y="105"/>
                </a:lnTo>
                <a:lnTo>
                  <a:pt x="258" y="100"/>
                </a:lnTo>
                <a:lnTo>
                  <a:pt x="262" y="98"/>
                </a:lnTo>
                <a:lnTo>
                  <a:pt x="262" y="98"/>
                </a:lnTo>
                <a:lnTo>
                  <a:pt x="313" y="73"/>
                </a:lnTo>
                <a:lnTo>
                  <a:pt x="357" y="51"/>
                </a:lnTo>
                <a:lnTo>
                  <a:pt x="357" y="51"/>
                </a:lnTo>
                <a:lnTo>
                  <a:pt x="353" y="45"/>
                </a:lnTo>
                <a:lnTo>
                  <a:pt x="349" y="38"/>
                </a:lnTo>
                <a:lnTo>
                  <a:pt x="344" y="3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88" name="Freeform 39"/>
          <p:cNvSpPr>
            <a:spLocks/>
          </p:cNvSpPr>
          <p:nvPr userDrawn="1"/>
        </p:nvSpPr>
        <p:spPr bwMode="auto">
          <a:xfrm>
            <a:off x="8229601" y="-437728"/>
            <a:ext cx="120650" cy="115888"/>
          </a:xfrm>
          <a:custGeom>
            <a:avLst/>
            <a:gdLst>
              <a:gd name="T0" fmla="*/ 0 w 152"/>
              <a:gd name="T1" fmla="*/ 42 h 144"/>
              <a:gd name="T2" fmla="*/ 2 w 152"/>
              <a:gd name="T3" fmla="*/ 51 h 144"/>
              <a:gd name="T4" fmla="*/ 4 w 152"/>
              <a:gd name="T5" fmla="*/ 57 h 144"/>
              <a:gd name="T6" fmla="*/ 15 w 152"/>
              <a:gd name="T7" fmla="*/ 60 h 144"/>
              <a:gd name="T8" fmla="*/ 18 w 152"/>
              <a:gd name="T9" fmla="*/ 58 h 144"/>
              <a:gd name="T10" fmla="*/ 20 w 152"/>
              <a:gd name="T11" fmla="*/ 51 h 144"/>
              <a:gd name="T12" fmla="*/ 22 w 152"/>
              <a:gd name="T13" fmla="*/ 44 h 144"/>
              <a:gd name="T14" fmla="*/ 24 w 152"/>
              <a:gd name="T15" fmla="*/ 42 h 144"/>
              <a:gd name="T16" fmla="*/ 26 w 152"/>
              <a:gd name="T17" fmla="*/ 42 h 144"/>
              <a:gd name="T18" fmla="*/ 28 w 152"/>
              <a:gd name="T19" fmla="*/ 40 h 144"/>
              <a:gd name="T20" fmla="*/ 68 w 152"/>
              <a:gd name="T21" fmla="*/ 60 h 144"/>
              <a:gd name="T22" fmla="*/ 106 w 152"/>
              <a:gd name="T23" fmla="*/ 86 h 144"/>
              <a:gd name="T24" fmla="*/ 112 w 152"/>
              <a:gd name="T25" fmla="*/ 89 h 144"/>
              <a:gd name="T26" fmla="*/ 106 w 152"/>
              <a:gd name="T27" fmla="*/ 100 h 144"/>
              <a:gd name="T28" fmla="*/ 95 w 152"/>
              <a:gd name="T29" fmla="*/ 128 h 144"/>
              <a:gd name="T30" fmla="*/ 93 w 152"/>
              <a:gd name="T31" fmla="*/ 135 h 144"/>
              <a:gd name="T32" fmla="*/ 97 w 152"/>
              <a:gd name="T33" fmla="*/ 142 h 144"/>
              <a:gd name="T34" fmla="*/ 104 w 152"/>
              <a:gd name="T35" fmla="*/ 144 h 144"/>
              <a:gd name="T36" fmla="*/ 110 w 152"/>
              <a:gd name="T37" fmla="*/ 144 h 144"/>
              <a:gd name="T38" fmla="*/ 117 w 152"/>
              <a:gd name="T39" fmla="*/ 139 h 144"/>
              <a:gd name="T40" fmla="*/ 119 w 152"/>
              <a:gd name="T41" fmla="*/ 135 h 144"/>
              <a:gd name="T42" fmla="*/ 119 w 152"/>
              <a:gd name="T43" fmla="*/ 130 h 144"/>
              <a:gd name="T44" fmla="*/ 112 w 152"/>
              <a:gd name="T45" fmla="*/ 122 h 144"/>
              <a:gd name="T46" fmla="*/ 110 w 152"/>
              <a:gd name="T47" fmla="*/ 122 h 144"/>
              <a:gd name="T48" fmla="*/ 115 w 152"/>
              <a:gd name="T49" fmla="*/ 110 h 144"/>
              <a:gd name="T50" fmla="*/ 123 w 152"/>
              <a:gd name="T51" fmla="*/ 93 h 144"/>
              <a:gd name="T52" fmla="*/ 132 w 152"/>
              <a:gd name="T53" fmla="*/ 86 h 144"/>
              <a:gd name="T54" fmla="*/ 141 w 152"/>
              <a:gd name="T55" fmla="*/ 84 h 144"/>
              <a:gd name="T56" fmla="*/ 139 w 152"/>
              <a:gd name="T57" fmla="*/ 80 h 144"/>
              <a:gd name="T58" fmla="*/ 135 w 152"/>
              <a:gd name="T59" fmla="*/ 69 h 144"/>
              <a:gd name="T60" fmla="*/ 137 w 152"/>
              <a:gd name="T61" fmla="*/ 57 h 144"/>
              <a:gd name="T62" fmla="*/ 141 w 152"/>
              <a:gd name="T63" fmla="*/ 49 h 144"/>
              <a:gd name="T64" fmla="*/ 152 w 152"/>
              <a:gd name="T65" fmla="*/ 18 h 144"/>
              <a:gd name="T66" fmla="*/ 152 w 152"/>
              <a:gd name="T67" fmla="*/ 13 h 144"/>
              <a:gd name="T68" fmla="*/ 146 w 152"/>
              <a:gd name="T69" fmla="*/ 5 h 144"/>
              <a:gd name="T70" fmla="*/ 141 w 152"/>
              <a:gd name="T71" fmla="*/ 4 h 144"/>
              <a:gd name="T72" fmla="*/ 132 w 152"/>
              <a:gd name="T73" fmla="*/ 7 h 144"/>
              <a:gd name="T74" fmla="*/ 128 w 152"/>
              <a:gd name="T75" fmla="*/ 15 h 144"/>
              <a:gd name="T76" fmla="*/ 128 w 152"/>
              <a:gd name="T77" fmla="*/ 20 h 144"/>
              <a:gd name="T78" fmla="*/ 134 w 152"/>
              <a:gd name="T79" fmla="*/ 27 h 144"/>
              <a:gd name="T80" fmla="*/ 137 w 152"/>
              <a:gd name="T81" fmla="*/ 29 h 144"/>
              <a:gd name="T82" fmla="*/ 132 w 152"/>
              <a:gd name="T83" fmla="*/ 46 h 144"/>
              <a:gd name="T84" fmla="*/ 124 w 152"/>
              <a:gd name="T85" fmla="*/ 55 h 144"/>
              <a:gd name="T86" fmla="*/ 117 w 152"/>
              <a:gd name="T87" fmla="*/ 51 h 144"/>
              <a:gd name="T88" fmla="*/ 60 w 152"/>
              <a:gd name="T89" fmla="*/ 24 h 144"/>
              <a:gd name="T90" fmla="*/ 40 w 152"/>
              <a:gd name="T91" fmla="*/ 18 h 144"/>
              <a:gd name="T92" fmla="*/ 42 w 152"/>
              <a:gd name="T93" fmla="*/ 13 h 144"/>
              <a:gd name="T94" fmla="*/ 50 w 152"/>
              <a:gd name="T95" fmla="*/ 0 h 144"/>
              <a:gd name="T96" fmla="*/ 46 w 152"/>
              <a:gd name="T97" fmla="*/ 2 h 144"/>
              <a:gd name="T98" fmla="*/ 39 w 152"/>
              <a:gd name="T99" fmla="*/ 5 h 144"/>
              <a:gd name="T100" fmla="*/ 24 w 152"/>
              <a:gd name="T101" fmla="*/ 11 h 144"/>
              <a:gd name="T102" fmla="*/ 18 w 152"/>
              <a:gd name="T103" fmla="*/ 11 h 144"/>
              <a:gd name="T104" fmla="*/ 15 w 152"/>
              <a:gd name="T105" fmla="*/ 11 h 144"/>
              <a:gd name="T106" fmla="*/ 9 w 152"/>
              <a:gd name="T107" fmla="*/ 22 h 144"/>
              <a:gd name="T108" fmla="*/ 6 w 152"/>
              <a:gd name="T109" fmla="*/ 33 h 144"/>
              <a:gd name="T110" fmla="*/ 2 w 152"/>
              <a:gd name="T111" fmla="*/ 3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2" h="144">
                <a:moveTo>
                  <a:pt x="0" y="42"/>
                </a:moveTo>
                <a:lnTo>
                  <a:pt x="0" y="42"/>
                </a:lnTo>
                <a:lnTo>
                  <a:pt x="0" y="47"/>
                </a:lnTo>
                <a:lnTo>
                  <a:pt x="2" y="51"/>
                </a:lnTo>
                <a:lnTo>
                  <a:pt x="4" y="57"/>
                </a:lnTo>
                <a:lnTo>
                  <a:pt x="4" y="57"/>
                </a:lnTo>
                <a:lnTo>
                  <a:pt x="11" y="58"/>
                </a:lnTo>
                <a:lnTo>
                  <a:pt x="15" y="60"/>
                </a:lnTo>
                <a:lnTo>
                  <a:pt x="18" y="58"/>
                </a:lnTo>
                <a:lnTo>
                  <a:pt x="18" y="58"/>
                </a:lnTo>
                <a:lnTo>
                  <a:pt x="20" y="55"/>
                </a:lnTo>
                <a:lnTo>
                  <a:pt x="20" y="51"/>
                </a:lnTo>
                <a:lnTo>
                  <a:pt x="20" y="47"/>
                </a:lnTo>
                <a:lnTo>
                  <a:pt x="22" y="44"/>
                </a:lnTo>
                <a:lnTo>
                  <a:pt x="22" y="44"/>
                </a:lnTo>
                <a:lnTo>
                  <a:pt x="24" y="42"/>
                </a:lnTo>
                <a:lnTo>
                  <a:pt x="26" y="42"/>
                </a:lnTo>
                <a:lnTo>
                  <a:pt x="26" y="42"/>
                </a:lnTo>
                <a:lnTo>
                  <a:pt x="28" y="40"/>
                </a:lnTo>
                <a:lnTo>
                  <a:pt x="28" y="40"/>
                </a:lnTo>
                <a:lnTo>
                  <a:pt x="48" y="49"/>
                </a:lnTo>
                <a:lnTo>
                  <a:pt x="68" y="60"/>
                </a:lnTo>
                <a:lnTo>
                  <a:pt x="106" y="86"/>
                </a:lnTo>
                <a:lnTo>
                  <a:pt x="106" y="86"/>
                </a:lnTo>
                <a:lnTo>
                  <a:pt x="112" y="89"/>
                </a:lnTo>
                <a:lnTo>
                  <a:pt x="112" y="89"/>
                </a:lnTo>
                <a:lnTo>
                  <a:pt x="106" y="100"/>
                </a:lnTo>
                <a:lnTo>
                  <a:pt x="106" y="100"/>
                </a:lnTo>
                <a:lnTo>
                  <a:pt x="97" y="119"/>
                </a:lnTo>
                <a:lnTo>
                  <a:pt x="95" y="128"/>
                </a:lnTo>
                <a:lnTo>
                  <a:pt x="93" y="135"/>
                </a:lnTo>
                <a:lnTo>
                  <a:pt x="93" y="135"/>
                </a:lnTo>
                <a:lnTo>
                  <a:pt x="95" y="139"/>
                </a:lnTo>
                <a:lnTo>
                  <a:pt x="97" y="142"/>
                </a:lnTo>
                <a:lnTo>
                  <a:pt x="101" y="144"/>
                </a:lnTo>
                <a:lnTo>
                  <a:pt x="104" y="144"/>
                </a:lnTo>
                <a:lnTo>
                  <a:pt x="104" y="144"/>
                </a:lnTo>
                <a:lnTo>
                  <a:pt x="110" y="144"/>
                </a:lnTo>
                <a:lnTo>
                  <a:pt x="113" y="142"/>
                </a:lnTo>
                <a:lnTo>
                  <a:pt x="117" y="139"/>
                </a:lnTo>
                <a:lnTo>
                  <a:pt x="119" y="135"/>
                </a:lnTo>
                <a:lnTo>
                  <a:pt x="119" y="135"/>
                </a:lnTo>
                <a:lnTo>
                  <a:pt x="119" y="131"/>
                </a:lnTo>
                <a:lnTo>
                  <a:pt x="119" y="130"/>
                </a:lnTo>
                <a:lnTo>
                  <a:pt x="115" y="124"/>
                </a:lnTo>
                <a:lnTo>
                  <a:pt x="112" y="122"/>
                </a:lnTo>
                <a:lnTo>
                  <a:pt x="110" y="122"/>
                </a:lnTo>
                <a:lnTo>
                  <a:pt x="110" y="122"/>
                </a:lnTo>
                <a:lnTo>
                  <a:pt x="115" y="110"/>
                </a:lnTo>
                <a:lnTo>
                  <a:pt x="115" y="110"/>
                </a:lnTo>
                <a:lnTo>
                  <a:pt x="119" y="100"/>
                </a:lnTo>
                <a:lnTo>
                  <a:pt x="123" y="93"/>
                </a:lnTo>
                <a:lnTo>
                  <a:pt x="128" y="89"/>
                </a:lnTo>
                <a:lnTo>
                  <a:pt x="132" y="86"/>
                </a:lnTo>
                <a:lnTo>
                  <a:pt x="137" y="84"/>
                </a:lnTo>
                <a:lnTo>
                  <a:pt x="141" y="84"/>
                </a:lnTo>
                <a:lnTo>
                  <a:pt x="141" y="84"/>
                </a:lnTo>
                <a:lnTo>
                  <a:pt x="139" y="80"/>
                </a:lnTo>
                <a:lnTo>
                  <a:pt x="135" y="75"/>
                </a:lnTo>
                <a:lnTo>
                  <a:pt x="135" y="69"/>
                </a:lnTo>
                <a:lnTo>
                  <a:pt x="135" y="64"/>
                </a:lnTo>
                <a:lnTo>
                  <a:pt x="137" y="57"/>
                </a:lnTo>
                <a:lnTo>
                  <a:pt x="141" y="49"/>
                </a:lnTo>
                <a:lnTo>
                  <a:pt x="141" y="49"/>
                </a:lnTo>
                <a:lnTo>
                  <a:pt x="148" y="31"/>
                </a:lnTo>
                <a:lnTo>
                  <a:pt x="152" y="18"/>
                </a:lnTo>
                <a:lnTo>
                  <a:pt x="152" y="18"/>
                </a:lnTo>
                <a:lnTo>
                  <a:pt x="152" y="13"/>
                </a:lnTo>
                <a:lnTo>
                  <a:pt x="150" y="9"/>
                </a:lnTo>
                <a:lnTo>
                  <a:pt x="146" y="5"/>
                </a:lnTo>
                <a:lnTo>
                  <a:pt x="141" y="4"/>
                </a:lnTo>
                <a:lnTo>
                  <a:pt x="141" y="4"/>
                </a:lnTo>
                <a:lnTo>
                  <a:pt x="137" y="5"/>
                </a:lnTo>
                <a:lnTo>
                  <a:pt x="132" y="7"/>
                </a:lnTo>
                <a:lnTo>
                  <a:pt x="130" y="11"/>
                </a:lnTo>
                <a:lnTo>
                  <a:pt x="128" y="15"/>
                </a:lnTo>
                <a:lnTo>
                  <a:pt x="128" y="15"/>
                </a:lnTo>
                <a:lnTo>
                  <a:pt x="128" y="20"/>
                </a:lnTo>
                <a:lnTo>
                  <a:pt x="130" y="24"/>
                </a:lnTo>
                <a:lnTo>
                  <a:pt x="134" y="27"/>
                </a:lnTo>
                <a:lnTo>
                  <a:pt x="137" y="29"/>
                </a:lnTo>
                <a:lnTo>
                  <a:pt x="137" y="29"/>
                </a:lnTo>
                <a:lnTo>
                  <a:pt x="137" y="29"/>
                </a:lnTo>
                <a:lnTo>
                  <a:pt x="132" y="46"/>
                </a:lnTo>
                <a:lnTo>
                  <a:pt x="124" y="55"/>
                </a:lnTo>
                <a:lnTo>
                  <a:pt x="124" y="55"/>
                </a:lnTo>
                <a:lnTo>
                  <a:pt x="117" y="51"/>
                </a:lnTo>
                <a:lnTo>
                  <a:pt x="117" y="51"/>
                </a:lnTo>
                <a:lnTo>
                  <a:pt x="81" y="31"/>
                </a:lnTo>
                <a:lnTo>
                  <a:pt x="60" y="24"/>
                </a:lnTo>
                <a:lnTo>
                  <a:pt x="40" y="18"/>
                </a:lnTo>
                <a:lnTo>
                  <a:pt x="40" y="18"/>
                </a:lnTo>
                <a:lnTo>
                  <a:pt x="42" y="13"/>
                </a:lnTo>
                <a:lnTo>
                  <a:pt x="42" y="13"/>
                </a:lnTo>
                <a:lnTo>
                  <a:pt x="48" y="4"/>
                </a:lnTo>
                <a:lnTo>
                  <a:pt x="50" y="0"/>
                </a:lnTo>
                <a:lnTo>
                  <a:pt x="50" y="0"/>
                </a:lnTo>
                <a:lnTo>
                  <a:pt x="46" y="2"/>
                </a:lnTo>
                <a:lnTo>
                  <a:pt x="39" y="5"/>
                </a:lnTo>
                <a:lnTo>
                  <a:pt x="39" y="5"/>
                </a:lnTo>
                <a:lnTo>
                  <a:pt x="29" y="9"/>
                </a:lnTo>
                <a:lnTo>
                  <a:pt x="24" y="11"/>
                </a:lnTo>
                <a:lnTo>
                  <a:pt x="24" y="11"/>
                </a:lnTo>
                <a:lnTo>
                  <a:pt x="18" y="11"/>
                </a:lnTo>
                <a:lnTo>
                  <a:pt x="15" y="11"/>
                </a:lnTo>
                <a:lnTo>
                  <a:pt x="15" y="11"/>
                </a:lnTo>
                <a:lnTo>
                  <a:pt x="13" y="13"/>
                </a:lnTo>
                <a:lnTo>
                  <a:pt x="9" y="22"/>
                </a:lnTo>
                <a:lnTo>
                  <a:pt x="9" y="22"/>
                </a:lnTo>
                <a:lnTo>
                  <a:pt x="6" y="33"/>
                </a:lnTo>
                <a:lnTo>
                  <a:pt x="6" y="33"/>
                </a:lnTo>
                <a:lnTo>
                  <a:pt x="2" y="38"/>
                </a:lnTo>
                <a:lnTo>
                  <a:pt x="0" y="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89" name="Freeform 40"/>
          <p:cNvSpPr>
            <a:spLocks/>
          </p:cNvSpPr>
          <p:nvPr userDrawn="1"/>
        </p:nvSpPr>
        <p:spPr bwMode="auto">
          <a:xfrm>
            <a:off x="8226426" y="-921915"/>
            <a:ext cx="30163" cy="34925"/>
          </a:xfrm>
          <a:custGeom>
            <a:avLst/>
            <a:gdLst>
              <a:gd name="T0" fmla="*/ 12 w 36"/>
              <a:gd name="T1" fmla="*/ 44 h 44"/>
              <a:gd name="T2" fmla="*/ 12 w 36"/>
              <a:gd name="T3" fmla="*/ 44 h 44"/>
              <a:gd name="T4" fmla="*/ 27 w 36"/>
              <a:gd name="T5" fmla="*/ 42 h 44"/>
              <a:gd name="T6" fmla="*/ 36 w 36"/>
              <a:gd name="T7" fmla="*/ 40 h 44"/>
              <a:gd name="T8" fmla="*/ 36 w 36"/>
              <a:gd name="T9" fmla="*/ 3 h 44"/>
              <a:gd name="T10" fmla="*/ 36 w 36"/>
              <a:gd name="T11" fmla="*/ 3 h 44"/>
              <a:gd name="T12" fmla="*/ 16 w 36"/>
              <a:gd name="T13" fmla="*/ 0 h 44"/>
              <a:gd name="T14" fmla="*/ 16 w 36"/>
              <a:gd name="T15" fmla="*/ 0 h 44"/>
              <a:gd name="T16" fmla="*/ 11 w 36"/>
              <a:gd name="T17" fmla="*/ 0 h 44"/>
              <a:gd name="T18" fmla="*/ 7 w 36"/>
              <a:gd name="T19" fmla="*/ 2 h 44"/>
              <a:gd name="T20" fmla="*/ 3 w 36"/>
              <a:gd name="T21" fmla="*/ 3 h 44"/>
              <a:gd name="T22" fmla="*/ 1 w 36"/>
              <a:gd name="T23" fmla="*/ 7 h 44"/>
              <a:gd name="T24" fmla="*/ 0 w 36"/>
              <a:gd name="T25" fmla="*/ 13 h 44"/>
              <a:gd name="T26" fmla="*/ 0 w 36"/>
              <a:gd name="T27" fmla="*/ 16 h 44"/>
              <a:gd name="T28" fmla="*/ 0 w 36"/>
              <a:gd name="T29" fmla="*/ 27 h 44"/>
              <a:gd name="T30" fmla="*/ 0 w 36"/>
              <a:gd name="T31" fmla="*/ 27 h 44"/>
              <a:gd name="T32" fmla="*/ 1 w 36"/>
              <a:gd name="T33" fmla="*/ 34 h 44"/>
              <a:gd name="T34" fmla="*/ 5 w 36"/>
              <a:gd name="T35" fmla="*/ 40 h 44"/>
              <a:gd name="T36" fmla="*/ 9 w 36"/>
              <a:gd name="T37" fmla="*/ 42 h 44"/>
              <a:gd name="T38" fmla="*/ 12 w 36"/>
              <a:gd name="T3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 h="44">
                <a:moveTo>
                  <a:pt x="12" y="44"/>
                </a:moveTo>
                <a:lnTo>
                  <a:pt x="12" y="44"/>
                </a:lnTo>
                <a:lnTo>
                  <a:pt x="27" y="42"/>
                </a:lnTo>
                <a:lnTo>
                  <a:pt x="36" y="40"/>
                </a:lnTo>
                <a:lnTo>
                  <a:pt x="36" y="3"/>
                </a:lnTo>
                <a:lnTo>
                  <a:pt x="36" y="3"/>
                </a:lnTo>
                <a:lnTo>
                  <a:pt x="16" y="0"/>
                </a:lnTo>
                <a:lnTo>
                  <a:pt x="16" y="0"/>
                </a:lnTo>
                <a:lnTo>
                  <a:pt x="11" y="0"/>
                </a:lnTo>
                <a:lnTo>
                  <a:pt x="7" y="2"/>
                </a:lnTo>
                <a:lnTo>
                  <a:pt x="3" y="3"/>
                </a:lnTo>
                <a:lnTo>
                  <a:pt x="1" y="7"/>
                </a:lnTo>
                <a:lnTo>
                  <a:pt x="0" y="13"/>
                </a:lnTo>
                <a:lnTo>
                  <a:pt x="0" y="16"/>
                </a:lnTo>
                <a:lnTo>
                  <a:pt x="0" y="27"/>
                </a:lnTo>
                <a:lnTo>
                  <a:pt x="0" y="27"/>
                </a:lnTo>
                <a:lnTo>
                  <a:pt x="1" y="34"/>
                </a:lnTo>
                <a:lnTo>
                  <a:pt x="5" y="40"/>
                </a:lnTo>
                <a:lnTo>
                  <a:pt x="9" y="42"/>
                </a:lnTo>
                <a:lnTo>
                  <a:pt x="12" y="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0" name="Freeform 41"/>
          <p:cNvSpPr>
            <a:spLocks/>
          </p:cNvSpPr>
          <p:nvPr userDrawn="1"/>
        </p:nvSpPr>
        <p:spPr bwMode="auto">
          <a:xfrm>
            <a:off x="8262939" y="-928264"/>
            <a:ext cx="44450" cy="41275"/>
          </a:xfrm>
          <a:custGeom>
            <a:avLst/>
            <a:gdLst>
              <a:gd name="T0" fmla="*/ 55 w 55"/>
              <a:gd name="T1" fmla="*/ 38 h 53"/>
              <a:gd name="T2" fmla="*/ 55 w 55"/>
              <a:gd name="T3" fmla="*/ 27 h 53"/>
              <a:gd name="T4" fmla="*/ 55 w 55"/>
              <a:gd name="T5" fmla="*/ 7 h 53"/>
              <a:gd name="T6" fmla="*/ 55 w 55"/>
              <a:gd name="T7" fmla="*/ 1 h 53"/>
              <a:gd name="T8" fmla="*/ 53 w 55"/>
              <a:gd name="T9" fmla="*/ 0 h 53"/>
              <a:gd name="T10" fmla="*/ 46 w 55"/>
              <a:gd name="T11" fmla="*/ 0 h 53"/>
              <a:gd name="T12" fmla="*/ 40 w 55"/>
              <a:gd name="T13" fmla="*/ 0 h 53"/>
              <a:gd name="T14" fmla="*/ 29 w 55"/>
              <a:gd name="T15" fmla="*/ 0 h 53"/>
              <a:gd name="T16" fmla="*/ 28 w 55"/>
              <a:gd name="T17" fmla="*/ 7 h 53"/>
              <a:gd name="T18" fmla="*/ 26 w 55"/>
              <a:gd name="T19" fmla="*/ 0 h 53"/>
              <a:gd name="T20" fmla="*/ 17 w 55"/>
              <a:gd name="T21" fmla="*/ 0 h 53"/>
              <a:gd name="T22" fmla="*/ 11 w 55"/>
              <a:gd name="T23" fmla="*/ 0 h 53"/>
              <a:gd name="T24" fmla="*/ 4 w 55"/>
              <a:gd name="T25" fmla="*/ 0 h 53"/>
              <a:gd name="T26" fmla="*/ 2 w 55"/>
              <a:gd name="T27" fmla="*/ 1 h 53"/>
              <a:gd name="T28" fmla="*/ 0 w 55"/>
              <a:gd name="T29" fmla="*/ 7 h 53"/>
              <a:gd name="T30" fmla="*/ 0 w 55"/>
              <a:gd name="T31" fmla="*/ 27 h 53"/>
              <a:gd name="T32" fmla="*/ 0 w 55"/>
              <a:gd name="T33" fmla="*/ 49 h 53"/>
              <a:gd name="T34" fmla="*/ 6 w 55"/>
              <a:gd name="T35" fmla="*/ 49 h 53"/>
              <a:gd name="T36" fmla="*/ 9 w 55"/>
              <a:gd name="T37" fmla="*/ 47 h 53"/>
              <a:gd name="T38" fmla="*/ 13 w 55"/>
              <a:gd name="T39" fmla="*/ 40 h 53"/>
              <a:gd name="T40" fmla="*/ 13 w 55"/>
              <a:gd name="T41" fmla="*/ 53 h 53"/>
              <a:gd name="T42" fmla="*/ 17 w 55"/>
              <a:gd name="T43" fmla="*/ 53 h 53"/>
              <a:gd name="T44" fmla="*/ 24 w 55"/>
              <a:gd name="T45" fmla="*/ 49 h 53"/>
              <a:gd name="T46" fmla="*/ 26 w 55"/>
              <a:gd name="T47" fmla="*/ 43 h 53"/>
              <a:gd name="T48" fmla="*/ 28 w 55"/>
              <a:gd name="T49" fmla="*/ 40 h 53"/>
              <a:gd name="T50" fmla="*/ 28 w 55"/>
              <a:gd name="T51" fmla="*/ 53 h 53"/>
              <a:gd name="T52" fmla="*/ 39 w 55"/>
              <a:gd name="T53" fmla="*/ 49 h 53"/>
              <a:gd name="T54" fmla="*/ 42 w 55"/>
              <a:gd name="T55" fmla="*/ 43 h 53"/>
              <a:gd name="T56" fmla="*/ 42 w 55"/>
              <a:gd name="T57" fmla="*/ 40 h 53"/>
              <a:gd name="T58" fmla="*/ 42 w 55"/>
              <a:gd name="T59" fmla="*/ 49 h 53"/>
              <a:gd name="T60" fmla="*/ 46 w 55"/>
              <a:gd name="T61" fmla="*/ 47 h 53"/>
              <a:gd name="T62" fmla="*/ 51 w 55"/>
              <a:gd name="T63" fmla="*/ 45 h 53"/>
              <a:gd name="T64" fmla="*/ 55 w 55"/>
              <a:gd name="T65" fmla="*/ 38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5" h="53">
                <a:moveTo>
                  <a:pt x="55" y="38"/>
                </a:moveTo>
                <a:lnTo>
                  <a:pt x="55" y="38"/>
                </a:lnTo>
                <a:lnTo>
                  <a:pt x="55" y="27"/>
                </a:lnTo>
                <a:lnTo>
                  <a:pt x="55" y="27"/>
                </a:lnTo>
                <a:lnTo>
                  <a:pt x="55" y="7"/>
                </a:lnTo>
                <a:lnTo>
                  <a:pt x="55" y="7"/>
                </a:lnTo>
                <a:lnTo>
                  <a:pt x="55" y="3"/>
                </a:lnTo>
                <a:lnTo>
                  <a:pt x="55" y="1"/>
                </a:lnTo>
                <a:lnTo>
                  <a:pt x="53" y="0"/>
                </a:lnTo>
                <a:lnTo>
                  <a:pt x="53" y="0"/>
                </a:lnTo>
                <a:lnTo>
                  <a:pt x="46" y="0"/>
                </a:lnTo>
                <a:lnTo>
                  <a:pt x="46" y="0"/>
                </a:lnTo>
                <a:lnTo>
                  <a:pt x="42" y="7"/>
                </a:lnTo>
                <a:lnTo>
                  <a:pt x="40" y="0"/>
                </a:lnTo>
                <a:lnTo>
                  <a:pt x="40" y="0"/>
                </a:lnTo>
                <a:lnTo>
                  <a:pt x="29" y="0"/>
                </a:lnTo>
                <a:lnTo>
                  <a:pt x="29" y="0"/>
                </a:lnTo>
                <a:lnTo>
                  <a:pt x="28" y="7"/>
                </a:lnTo>
                <a:lnTo>
                  <a:pt x="26" y="0"/>
                </a:lnTo>
                <a:lnTo>
                  <a:pt x="26" y="0"/>
                </a:lnTo>
                <a:lnTo>
                  <a:pt x="17" y="0"/>
                </a:lnTo>
                <a:lnTo>
                  <a:pt x="17" y="0"/>
                </a:lnTo>
                <a:lnTo>
                  <a:pt x="13" y="7"/>
                </a:lnTo>
                <a:lnTo>
                  <a:pt x="11" y="0"/>
                </a:lnTo>
                <a:lnTo>
                  <a:pt x="11" y="0"/>
                </a:lnTo>
                <a:lnTo>
                  <a:pt x="4" y="0"/>
                </a:lnTo>
                <a:lnTo>
                  <a:pt x="4" y="0"/>
                </a:lnTo>
                <a:lnTo>
                  <a:pt x="2" y="1"/>
                </a:lnTo>
                <a:lnTo>
                  <a:pt x="0" y="3"/>
                </a:lnTo>
                <a:lnTo>
                  <a:pt x="0" y="7"/>
                </a:lnTo>
                <a:lnTo>
                  <a:pt x="0" y="7"/>
                </a:lnTo>
                <a:lnTo>
                  <a:pt x="0" y="27"/>
                </a:lnTo>
                <a:lnTo>
                  <a:pt x="0" y="27"/>
                </a:lnTo>
                <a:lnTo>
                  <a:pt x="0" y="49"/>
                </a:lnTo>
                <a:lnTo>
                  <a:pt x="0" y="49"/>
                </a:lnTo>
                <a:lnTo>
                  <a:pt x="6" y="49"/>
                </a:lnTo>
                <a:lnTo>
                  <a:pt x="9" y="47"/>
                </a:lnTo>
                <a:lnTo>
                  <a:pt x="9" y="47"/>
                </a:lnTo>
                <a:lnTo>
                  <a:pt x="11" y="42"/>
                </a:lnTo>
                <a:lnTo>
                  <a:pt x="13" y="40"/>
                </a:lnTo>
                <a:lnTo>
                  <a:pt x="13" y="40"/>
                </a:lnTo>
                <a:lnTo>
                  <a:pt x="13" y="53"/>
                </a:lnTo>
                <a:lnTo>
                  <a:pt x="13" y="53"/>
                </a:lnTo>
                <a:lnTo>
                  <a:pt x="17" y="53"/>
                </a:lnTo>
                <a:lnTo>
                  <a:pt x="20" y="51"/>
                </a:lnTo>
                <a:lnTo>
                  <a:pt x="24" y="49"/>
                </a:lnTo>
                <a:lnTo>
                  <a:pt x="24" y="49"/>
                </a:lnTo>
                <a:lnTo>
                  <a:pt x="26" y="43"/>
                </a:lnTo>
                <a:lnTo>
                  <a:pt x="28" y="40"/>
                </a:lnTo>
                <a:lnTo>
                  <a:pt x="28" y="40"/>
                </a:lnTo>
                <a:lnTo>
                  <a:pt x="28" y="53"/>
                </a:lnTo>
                <a:lnTo>
                  <a:pt x="28" y="53"/>
                </a:lnTo>
                <a:lnTo>
                  <a:pt x="33" y="51"/>
                </a:lnTo>
                <a:lnTo>
                  <a:pt x="39" y="49"/>
                </a:lnTo>
                <a:lnTo>
                  <a:pt x="39" y="49"/>
                </a:lnTo>
                <a:lnTo>
                  <a:pt x="42" y="43"/>
                </a:lnTo>
                <a:lnTo>
                  <a:pt x="42" y="40"/>
                </a:lnTo>
                <a:lnTo>
                  <a:pt x="42" y="40"/>
                </a:lnTo>
                <a:lnTo>
                  <a:pt x="42" y="49"/>
                </a:lnTo>
                <a:lnTo>
                  <a:pt x="42" y="49"/>
                </a:lnTo>
                <a:lnTo>
                  <a:pt x="46" y="47"/>
                </a:lnTo>
                <a:lnTo>
                  <a:pt x="46" y="47"/>
                </a:lnTo>
                <a:lnTo>
                  <a:pt x="51" y="45"/>
                </a:lnTo>
                <a:lnTo>
                  <a:pt x="51" y="45"/>
                </a:lnTo>
                <a:lnTo>
                  <a:pt x="53" y="43"/>
                </a:lnTo>
                <a:lnTo>
                  <a:pt x="55" y="3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1" name="Freeform 42"/>
          <p:cNvSpPr>
            <a:spLocks/>
          </p:cNvSpPr>
          <p:nvPr userDrawn="1"/>
        </p:nvSpPr>
        <p:spPr bwMode="auto">
          <a:xfrm>
            <a:off x="8269289" y="-926677"/>
            <a:ext cx="53975" cy="60325"/>
          </a:xfrm>
          <a:custGeom>
            <a:avLst/>
            <a:gdLst>
              <a:gd name="T0" fmla="*/ 67 w 67"/>
              <a:gd name="T1" fmla="*/ 57 h 77"/>
              <a:gd name="T2" fmla="*/ 67 w 67"/>
              <a:gd name="T3" fmla="*/ 44 h 77"/>
              <a:gd name="T4" fmla="*/ 67 w 67"/>
              <a:gd name="T5" fmla="*/ 44 h 77"/>
              <a:gd name="T6" fmla="*/ 65 w 67"/>
              <a:gd name="T7" fmla="*/ 42 h 77"/>
              <a:gd name="T8" fmla="*/ 63 w 67"/>
              <a:gd name="T9" fmla="*/ 37 h 77"/>
              <a:gd name="T10" fmla="*/ 63 w 67"/>
              <a:gd name="T11" fmla="*/ 30 h 77"/>
              <a:gd name="T12" fmla="*/ 63 w 67"/>
              <a:gd name="T13" fmla="*/ 30 h 77"/>
              <a:gd name="T14" fmla="*/ 63 w 67"/>
              <a:gd name="T15" fmla="*/ 26 h 77"/>
              <a:gd name="T16" fmla="*/ 65 w 67"/>
              <a:gd name="T17" fmla="*/ 21 h 77"/>
              <a:gd name="T18" fmla="*/ 67 w 67"/>
              <a:gd name="T19" fmla="*/ 17 h 77"/>
              <a:gd name="T20" fmla="*/ 67 w 67"/>
              <a:gd name="T21" fmla="*/ 6 h 77"/>
              <a:gd name="T22" fmla="*/ 67 w 67"/>
              <a:gd name="T23" fmla="*/ 6 h 77"/>
              <a:gd name="T24" fmla="*/ 63 w 67"/>
              <a:gd name="T25" fmla="*/ 2 h 77"/>
              <a:gd name="T26" fmla="*/ 60 w 67"/>
              <a:gd name="T27" fmla="*/ 0 h 77"/>
              <a:gd name="T28" fmla="*/ 56 w 67"/>
              <a:gd name="T29" fmla="*/ 0 h 77"/>
              <a:gd name="T30" fmla="*/ 56 w 67"/>
              <a:gd name="T31" fmla="*/ 41 h 77"/>
              <a:gd name="T32" fmla="*/ 56 w 67"/>
              <a:gd name="T33" fmla="*/ 41 h 77"/>
              <a:gd name="T34" fmla="*/ 54 w 67"/>
              <a:gd name="T35" fmla="*/ 46 h 77"/>
              <a:gd name="T36" fmla="*/ 51 w 67"/>
              <a:gd name="T37" fmla="*/ 52 h 77"/>
              <a:gd name="T38" fmla="*/ 45 w 67"/>
              <a:gd name="T39" fmla="*/ 55 h 77"/>
              <a:gd name="T40" fmla="*/ 38 w 67"/>
              <a:gd name="T41" fmla="*/ 57 h 77"/>
              <a:gd name="T42" fmla="*/ 38 w 67"/>
              <a:gd name="T43" fmla="*/ 57 h 77"/>
              <a:gd name="T44" fmla="*/ 23 w 67"/>
              <a:gd name="T45" fmla="*/ 59 h 77"/>
              <a:gd name="T46" fmla="*/ 10 w 67"/>
              <a:gd name="T47" fmla="*/ 61 h 77"/>
              <a:gd name="T48" fmla="*/ 0 w 67"/>
              <a:gd name="T49" fmla="*/ 61 h 77"/>
              <a:gd name="T50" fmla="*/ 0 w 67"/>
              <a:gd name="T51" fmla="*/ 61 h 77"/>
              <a:gd name="T52" fmla="*/ 1 w 67"/>
              <a:gd name="T53" fmla="*/ 70 h 77"/>
              <a:gd name="T54" fmla="*/ 1 w 67"/>
              <a:gd name="T55" fmla="*/ 70 h 77"/>
              <a:gd name="T56" fmla="*/ 5 w 67"/>
              <a:gd name="T57" fmla="*/ 75 h 77"/>
              <a:gd name="T58" fmla="*/ 7 w 67"/>
              <a:gd name="T59" fmla="*/ 77 h 77"/>
              <a:gd name="T60" fmla="*/ 54 w 67"/>
              <a:gd name="T61" fmla="*/ 77 h 77"/>
              <a:gd name="T62" fmla="*/ 67 w 67"/>
              <a:gd name="T63" fmla="*/ 5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7" h="77">
                <a:moveTo>
                  <a:pt x="67" y="57"/>
                </a:moveTo>
                <a:lnTo>
                  <a:pt x="67" y="44"/>
                </a:lnTo>
                <a:lnTo>
                  <a:pt x="67" y="44"/>
                </a:lnTo>
                <a:lnTo>
                  <a:pt x="65" y="42"/>
                </a:lnTo>
                <a:lnTo>
                  <a:pt x="63" y="37"/>
                </a:lnTo>
                <a:lnTo>
                  <a:pt x="63" y="30"/>
                </a:lnTo>
                <a:lnTo>
                  <a:pt x="63" y="30"/>
                </a:lnTo>
                <a:lnTo>
                  <a:pt x="63" y="26"/>
                </a:lnTo>
                <a:lnTo>
                  <a:pt x="65" y="21"/>
                </a:lnTo>
                <a:lnTo>
                  <a:pt x="67" y="17"/>
                </a:lnTo>
                <a:lnTo>
                  <a:pt x="67" y="6"/>
                </a:lnTo>
                <a:lnTo>
                  <a:pt x="67" y="6"/>
                </a:lnTo>
                <a:lnTo>
                  <a:pt x="63" y="2"/>
                </a:lnTo>
                <a:lnTo>
                  <a:pt x="60" y="0"/>
                </a:lnTo>
                <a:lnTo>
                  <a:pt x="56" y="0"/>
                </a:lnTo>
                <a:lnTo>
                  <a:pt x="56" y="41"/>
                </a:lnTo>
                <a:lnTo>
                  <a:pt x="56" y="41"/>
                </a:lnTo>
                <a:lnTo>
                  <a:pt x="54" y="46"/>
                </a:lnTo>
                <a:lnTo>
                  <a:pt x="51" y="52"/>
                </a:lnTo>
                <a:lnTo>
                  <a:pt x="45" y="55"/>
                </a:lnTo>
                <a:lnTo>
                  <a:pt x="38" y="57"/>
                </a:lnTo>
                <a:lnTo>
                  <a:pt x="38" y="57"/>
                </a:lnTo>
                <a:lnTo>
                  <a:pt x="23" y="59"/>
                </a:lnTo>
                <a:lnTo>
                  <a:pt x="10" y="61"/>
                </a:lnTo>
                <a:lnTo>
                  <a:pt x="0" y="61"/>
                </a:lnTo>
                <a:lnTo>
                  <a:pt x="0" y="61"/>
                </a:lnTo>
                <a:lnTo>
                  <a:pt x="1" y="70"/>
                </a:lnTo>
                <a:lnTo>
                  <a:pt x="1" y="70"/>
                </a:lnTo>
                <a:lnTo>
                  <a:pt x="5" y="75"/>
                </a:lnTo>
                <a:lnTo>
                  <a:pt x="7" y="77"/>
                </a:lnTo>
                <a:lnTo>
                  <a:pt x="54" y="77"/>
                </a:lnTo>
                <a:lnTo>
                  <a:pt x="67" y="5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2" name="Freeform 43"/>
          <p:cNvSpPr>
            <a:spLocks/>
          </p:cNvSpPr>
          <p:nvPr userDrawn="1"/>
        </p:nvSpPr>
        <p:spPr bwMode="auto">
          <a:xfrm>
            <a:off x="8272464" y="-858415"/>
            <a:ext cx="42863" cy="14288"/>
          </a:xfrm>
          <a:custGeom>
            <a:avLst/>
            <a:gdLst>
              <a:gd name="T0" fmla="*/ 4 w 55"/>
              <a:gd name="T1" fmla="*/ 19 h 19"/>
              <a:gd name="T2" fmla="*/ 51 w 55"/>
              <a:gd name="T3" fmla="*/ 19 h 19"/>
              <a:gd name="T4" fmla="*/ 51 w 55"/>
              <a:gd name="T5" fmla="*/ 19 h 19"/>
              <a:gd name="T6" fmla="*/ 55 w 55"/>
              <a:gd name="T7" fmla="*/ 9 h 19"/>
              <a:gd name="T8" fmla="*/ 53 w 55"/>
              <a:gd name="T9" fmla="*/ 0 h 19"/>
              <a:gd name="T10" fmla="*/ 4 w 55"/>
              <a:gd name="T11" fmla="*/ 0 h 19"/>
              <a:gd name="T12" fmla="*/ 0 w 55"/>
              <a:gd name="T13" fmla="*/ 9 h 19"/>
              <a:gd name="T14" fmla="*/ 4 w 55"/>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19">
                <a:moveTo>
                  <a:pt x="4" y="19"/>
                </a:moveTo>
                <a:lnTo>
                  <a:pt x="51" y="19"/>
                </a:lnTo>
                <a:lnTo>
                  <a:pt x="51" y="19"/>
                </a:lnTo>
                <a:lnTo>
                  <a:pt x="55" y="9"/>
                </a:lnTo>
                <a:lnTo>
                  <a:pt x="53" y="0"/>
                </a:lnTo>
                <a:lnTo>
                  <a:pt x="4" y="0"/>
                </a:lnTo>
                <a:lnTo>
                  <a:pt x="0" y="9"/>
                </a:lnTo>
                <a:lnTo>
                  <a:pt x="4" y="1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3" name="Freeform 44"/>
          <p:cNvSpPr>
            <a:spLocks/>
          </p:cNvSpPr>
          <p:nvPr userDrawn="1"/>
        </p:nvSpPr>
        <p:spPr bwMode="auto">
          <a:xfrm>
            <a:off x="8274051" y="-837778"/>
            <a:ext cx="44450" cy="50800"/>
          </a:xfrm>
          <a:custGeom>
            <a:avLst/>
            <a:gdLst>
              <a:gd name="T0" fmla="*/ 47 w 55"/>
              <a:gd name="T1" fmla="*/ 0 h 64"/>
              <a:gd name="T2" fmla="*/ 0 w 55"/>
              <a:gd name="T3" fmla="*/ 0 h 64"/>
              <a:gd name="T4" fmla="*/ 0 w 55"/>
              <a:gd name="T5" fmla="*/ 62 h 64"/>
              <a:gd name="T6" fmla="*/ 42 w 55"/>
              <a:gd name="T7" fmla="*/ 64 h 64"/>
              <a:gd name="T8" fmla="*/ 55 w 55"/>
              <a:gd name="T9" fmla="*/ 53 h 64"/>
              <a:gd name="T10" fmla="*/ 47 w 55"/>
              <a:gd name="T11" fmla="*/ 0 h 64"/>
            </a:gdLst>
            <a:ahLst/>
            <a:cxnLst>
              <a:cxn ang="0">
                <a:pos x="T0" y="T1"/>
              </a:cxn>
              <a:cxn ang="0">
                <a:pos x="T2" y="T3"/>
              </a:cxn>
              <a:cxn ang="0">
                <a:pos x="T4" y="T5"/>
              </a:cxn>
              <a:cxn ang="0">
                <a:pos x="T6" y="T7"/>
              </a:cxn>
              <a:cxn ang="0">
                <a:pos x="T8" y="T9"/>
              </a:cxn>
              <a:cxn ang="0">
                <a:pos x="T10" y="T11"/>
              </a:cxn>
            </a:cxnLst>
            <a:rect l="0" t="0" r="r" b="b"/>
            <a:pathLst>
              <a:path w="55" h="64">
                <a:moveTo>
                  <a:pt x="47" y="0"/>
                </a:moveTo>
                <a:lnTo>
                  <a:pt x="0" y="0"/>
                </a:lnTo>
                <a:lnTo>
                  <a:pt x="0" y="62"/>
                </a:lnTo>
                <a:lnTo>
                  <a:pt x="42" y="64"/>
                </a:lnTo>
                <a:lnTo>
                  <a:pt x="55" y="53"/>
                </a:lnTo>
                <a:lnTo>
                  <a:pt x="4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4" name="Freeform 45"/>
          <p:cNvSpPr>
            <a:spLocks/>
          </p:cNvSpPr>
          <p:nvPr userDrawn="1"/>
        </p:nvSpPr>
        <p:spPr bwMode="auto">
          <a:xfrm>
            <a:off x="8274050" y="-788565"/>
            <a:ext cx="57150" cy="50800"/>
          </a:xfrm>
          <a:custGeom>
            <a:avLst/>
            <a:gdLst>
              <a:gd name="T0" fmla="*/ 73 w 73"/>
              <a:gd name="T1" fmla="*/ 16 h 64"/>
              <a:gd name="T2" fmla="*/ 73 w 73"/>
              <a:gd name="T3" fmla="*/ 16 h 64"/>
              <a:gd name="T4" fmla="*/ 64 w 73"/>
              <a:gd name="T5" fmla="*/ 9 h 64"/>
              <a:gd name="T6" fmla="*/ 64 w 73"/>
              <a:gd name="T7" fmla="*/ 9 h 64"/>
              <a:gd name="T8" fmla="*/ 62 w 73"/>
              <a:gd name="T9" fmla="*/ 0 h 64"/>
              <a:gd name="T10" fmla="*/ 48 w 73"/>
              <a:gd name="T11" fmla="*/ 11 h 64"/>
              <a:gd name="T12" fmla="*/ 0 w 73"/>
              <a:gd name="T13" fmla="*/ 11 h 64"/>
              <a:gd name="T14" fmla="*/ 0 w 73"/>
              <a:gd name="T15" fmla="*/ 11 h 64"/>
              <a:gd name="T16" fmla="*/ 0 w 73"/>
              <a:gd name="T17" fmla="*/ 27 h 64"/>
              <a:gd name="T18" fmla="*/ 0 w 73"/>
              <a:gd name="T19" fmla="*/ 45 h 64"/>
              <a:gd name="T20" fmla="*/ 0 w 73"/>
              <a:gd name="T21" fmla="*/ 45 h 64"/>
              <a:gd name="T22" fmla="*/ 11 w 73"/>
              <a:gd name="T23" fmla="*/ 55 h 64"/>
              <a:gd name="T24" fmla="*/ 24 w 73"/>
              <a:gd name="T25" fmla="*/ 64 h 64"/>
              <a:gd name="T26" fmla="*/ 55 w 73"/>
              <a:gd name="T27" fmla="*/ 25 h 64"/>
              <a:gd name="T28" fmla="*/ 73 w 73"/>
              <a:gd name="T29"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64">
                <a:moveTo>
                  <a:pt x="73" y="16"/>
                </a:moveTo>
                <a:lnTo>
                  <a:pt x="73" y="16"/>
                </a:lnTo>
                <a:lnTo>
                  <a:pt x="64" y="9"/>
                </a:lnTo>
                <a:lnTo>
                  <a:pt x="64" y="9"/>
                </a:lnTo>
                <a:lnTo>
                  <a:pt x="62" y="0"/>
                </a:lnTo>
                <a:lnTo>
                  <a:pt x="48" y="11"/>
                </a:lnTo>
                <a:lnTo>
                  <a:pt x="0" y="11"/>
                </a:lnTo>
                <a:lnTo>
                  <a:pt x="0" y="11"/>
                </a:lnTo>
                <a:lnTo>
                  <a:pt x="0" y="27"/>
                </a:lnTo>
                <a:lnTo>
                  <a:pt x="0" y="45"/>
                </a:lnTo>
                <a:lnTo>
                  <a:pt x="0" y="45"/>
                </a:lnTo>
                <a:lnTo>
                  <a:pt x="11" y="55"/>
                </a:lnTo>
                <a:lnTo>
                  <a:pt x="24" y="64"/>
                </a:lnTo>
                <a:lnTo>
                  <a:pt x="55" y="25"/>
                </a:lnTo>
                <a:lnTo>
                  <a:pt x="73"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5" name="Freeform 46"/>
          <p:cNvSpPr>
            <a:spLocks/>
          </p:cNvSpPr>
          <p:nvPr userDrawn="1"/>
        </p:nvSpPr>
        <p:spPr bwMode="auto">
          <a:xfrm>
            <a:off x="8301038" y="-769515"/>
            <a:ext cx="85725" cy="50800"/>
          </a:xfrm>
          <a:custGeom>
            <a:avLst/>
            <a:gdLst>
              <a:gd name="T0" fmla="*/ 27 w 108"/>
              <a:gd name="T1" fmla="*/ 7 h 63"/>
              <a:gd name="T2" fmla="*/ 0 w 108"/>
              <a:gd name="T3" fmla="*/ 43 h 63"/>
              <a:gd name="T4" fmla="*/ 45 w 108"/>
              <a:gd name="T5" fmla="*/ 63 h 63"/>
              <a:gd name="T6" fmla="*/ 45 w 108"/>
              <a:gd name="T7" fmla="*/ 63 h 63"/>
              <a:gd name="T8" fmla="*/ 65 w 108"/>
              <a:gd name="T9" fmla="*/ 51 h 63"/>
              <a:gd name="T10" fmla="*/ 86 w 108"/>
              <a:gd name="T11" fmla="*/ 38 h 63"/>
              <a:gd name="T12" fmla="*/ 108 w 108"/>
              <a:gd name="T13" fmla="*/ 23 h 63"/>
              <a:gd name="T14" fmla="*/ 44 w 108"/>
              <a:gd name="T15" fmla="*/ 0 h 63"/>
              <a:gd name="T16" fmla="*/ 27 w 108"/>
              <a:gd name="T17" fmla="*/ 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63">
                <a:moveTo>
                  <a:pt x="27" y="7"/>
                </a:moveTo>
                <a:lnTo>
                  <a:pt x="0" y="43"/>
                </a:lnTo>
                <a:lnTo>
                  <a:pt x="45" y="63"/>
                </a:lnTo>
                <a:lnTo>
                  <a:pt x="45" y="63"/>
                </a:lnTo>
                <a:lnTo>
                  <a:pt x="65" y="51"/>
                </a:lnTo>
                <a:lnTo>
                  <a:pt x="86" y="38"/>
                </a:lnTo>
                <a:lnTo>
                  <a:pt x="108" y="23"/>
                </a:lnTo>
                <a:lnTo>
                  <a:pt x="44" y="0"/>
                </a:lnTo>
                <a:lnTo>
                  <a:pt x="2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6" name="Freeform 47"/>
          <p:cNvSpPr>
            <a:spLocks/>
          </p:cNvSpPr>
          <p:nvPr userDrawn="1"/>
        </p:nvSpPr>
        <p:spPr bwMode="auto">
          <a:xfrm>
            <a:off x="8324851" y="-952078"/>
            <a:ext cx="22225" cy="93663"/>
          </a:xfrm>
          <a:custGeom>
            <a:avLst/>
            <a:gdLst>
              <a:gd name="T0" fmla="*/ 22 w 27"/>
              <a:gd name="T1" fmla="*/ 50 h 117"/>
              <a:gd name="T2" fmla="*/ 22 w 27"/>
              <a:gd name="T3" fmla="*/ 50 h 117"/>
              <a:gd name="T4" fmla="*/ 22 w 27"/>
              <a:gd name="T5" fmla="*/ 11 h 117"/>
              <a:gd name="T6" fmla="*/ 22 w 27"/>
              <a:gd name="T7" fmla="*/ 11 h 117"/>
              <a:gd name="T8" fmla="*/ 24 w 27"/>
              <a:gd name="T9" fmla="*/ 8 h 117"/>
              <a:gd name="T10" fmla="*/ 24 w 27"/>
              <a:gd name="T11" fmla="*/ 8 h 117"/>
              <a:gd name="T12" fmla="*/ 24 w 27"/>
              <a:gd name="T13" fmla="*/ 4 h 117"/>
              <a:gd name="T14" fmla="*/ 24 w 27"/>
              <a:gd name="T15" fmla="*/ 0 h 117"/>
              <a:gd name="T16" fmla="*/ 2 w 27"/>
              <a:gd name="T17" fmla="*/ 0 h 117"/>
              <a:gd name="T18" fmla="*/ 2 w 27"/>
              <a:gd name="T19" fmla="*/ 0 h 117"/>
              <a:gd name="T20" fmla="*/ 2 w 27"/>
              <a:gd name="T21" fmla="*/ 6 h 117"/>
              <a:gd name="T22" fmla="*/ 2 w 27"/>
              <a:gd name="T23" fmla="*/ 6 h 117"/>
              <a:gd name="T24" fmla="*/ 2 w 27"/>
              <a:gd name="T25" fmla="*/ 9 h 117"/>
              <a:gd name="T26" fmla="*/ 3 w 27"/>
              <a:gd name="T27" fmla="*/ 11 h 117"/>
              <a:gd name="T28" fmla="*/ 3 w 27"/>
              <a:gd name="T29" fmla="*/ 50 h 117"/>
              <a:gd name="T30" fmla="*/ 3 w 27"/>
              <a:gd name="T31" fmla="*/ 50 h 117"/>
              <a:gd name="T32" fmla="*/ 2 w 27"/>
              <a:gd name="T33" fmla="*/ 52 h 117"/>
              <a:gd name="T34" fmla="*/ 0 w 27"/>
              <a:gd name="T35" fmla="*/ 61 h 117"/>
              <a:gd name="T36" fmla="*/ 0 w 27"/>
              <a:gd name="T37" fmla="*/ 61 h 117"/>
              <a:gd name="T38" fmla="*/ 0 w 27"/>
              <a:gd name="T39" fmla="*/ 66 h 117"/>
              <a:gd name="T40" fmla="*/ 2 w 27"/>
              <a:gd name="T41" fmla="*/ 72 h 117"/>
              <a:gd name="T42" fmla="*/ 5 w 27"/>
              <a:gd name="T43" fmla="*/ 75 h 117"/>
              <a:gd name="T44" fmla="*/ 3 w 27"/>
              <a:gd name="T45" fmla="*/ 106 h 117"/>
              <a:gd name="T46" fmla="*/ 3 w 27"/>
              <a:gd name="T47" fmla="*/ 106 h 117"/>
              <a:gd name="T48" fmla="*/ 3 w 27"/>
              <a:gd name="T49" fmla="*/ 108 h 117"/>
              <a:gd name="T50" fmla="*/ 2 w 27"/>
              <a:gd name="T51" fmla="*/ 112 h 117"/>
              <a:gd name="T52" fmla="*/ 2 w 27"/>
              <a:gd name="T53" fmla="*/ 112 h 117"/>
              <a:gd name="T54" fmla="*/ 2 w 27"/>
              <a:gd name="T55" fmla="*/ 117 h 117"/>
              <a:gd name="T56" fmla="*/ 24 w 27"/>
              <a:gd name="T57" fmla="*/ 117 h 117"/>
              <a:gd name="T58" fmla="*/ 24 w 27"/>
              <a:gd name="T59" fmla="*/ 117 h 117"/>
              <a:gd name="T60" fmla="*/ 24 w 27"/>
              <a:gd name="T61" fmla="*/ 110 h 117"/>
              <a:gd name="T62" fmla="*/ 24 w 27"/>
              <a:gd name="T63" fmla="*/ 110 h 117"/>
              <a:gd name="T64" fmla="*/ 22 w 27"/>
              <a:gd name="T65" fmla="*/ 106 h 117"/>
              <a:gd name="T66" fmla="*/ 22 w 27"/>
              <a:gd name="T67" fmla="*/ 75 h 117"/>
              <a:gd name="T68" fmla="*/ 22 w 27"/>
              <a:gd name="T69" fmla="*/ 75 h 117"/>
              <a:gd name="T70" fmla="*/ 25 w 27"/>
              <a:gd name="T71" fmla="*/ 70 h 117"/>
              <a:gd name="T72" fmla="*/ 25 w 27"/>
              <a:gd name="T73" fmla="*/ 66 h 117"/>
              <a:gd name="T74" fmla="*/ 27 w 27"/>
              <a:gd name="T75" fmla="*/ 62 h 117"/>
              <a:gd name="T76" fmla="*/ 27 w 27"/>
              <a:gd name="T77" fmla="*/ 62 h 117"/>
              <a:gd name="T78" fmla="*/ 24 w 27"/>
              <a:gd name="T79" fmla="*/ 53 h 117"/>
              <a:gd name="T80" fmla="*/ 22 w 27"/>
              <a:gd name="T81" fmla="*/ 5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7" h="117">
                <a:moveTo>
                  <a:pt x="22" y="50"/>
                </a:moveTo>
                <a:lnTo>
                  <a:pt x="22" y="50"/>
                </a:lnTo>
                <a:lnTo>
                  <a:pt x="22" y="11"/>
                </a:lnTo>
                <a:lnTo>
                  <a:pt x="22" y="11"/>
                </a:lnTo>
                <a:lnTo>
                  <a:pt x="24" y="8"/>
                </a:lnTo>
                <a:lnTo>
                  <a:pt x="24" y="8"/>
                </a:lnTo>
                <a:lnTo>
                  <a:pt x="24" y="4"/>
                </a:lnTo>
                <a:lnTo>
                  <a:pt x="24" y="0"/>
                </a:lnTo>
                <a:lnTo>
                  <a:pt x="2" y="0"/>
                </a:lnTo>
                <a:lnTo>
                  <a:pt x="2" y="0"/>
                </a:lnTo>
                <a:lnTo>
                  <a:pt x="2" y="6"/>
                </a:lnTo>
                <a:lnTo>
                  <a:pt x="2" y="6"/>
                </a:lnTo>
                <a:lnTo>
                  <a:pt x="2" y="9"/>
                </a:lnTo>
                <a:lnTo>
                  <a:pt x="3" y="11"/>
                </a:lnTo>
                <a:lnTo>
                  <a:pt x="3" y="50"/>
                </a:lnTo>
                <a:lnTo>
                  <a:pt x="3" y="50"/>
                </a:lnTo>
                <a:lnTo>
                  <a:pt x="2" y="52"/>
                </a:lnTo>
                <a:lnTo>
                  <a:pt x="0" y="61"/>
                </a:lnTo>
                <a:lnTo>
                  <a:pt x="0" y="61"/>
                </a:lnTo>
                <a:lnTo>
                  <a:pt x="0" y="66"/>
                </a:lnTo>
                <a:lnTo>
                  <a:pt x="2" y="72"/>
                </a:lnTo>
                <a:lnTo>
                  <a:pt x="5" y="75"/>
                </a:lnTo>
                <a:lnTo>
                  <a:pt x="3" y="106"/>
                </a:lnTo>
                <a:lnTo>
                  <a:pt x="3" y="106"/>
                </a:lnTo>
                <a:lnTo>
                  <a:pt x="3" y="108"/>
                </a:lnTo>
                <a:lnTo>
                  <a:pt x="2" y="112"/>
                </a:lnTo>
                <a:lnTo>
                  <a:pt x="2" y="112"/>
                </a:lnTo>
                <a:lnTo>
                  <a:pt x="2" y="117"/>
                </a:lnTo>
                <a:lnTo>
                  <a:pt x="24" y="117"/>
                </a:lnTo>
                <a:lnTo>
                  <a:pt x="24" y="117"/>
                </a:lnTo>
                <a:lnTo>
                  <a:pt x="24" y="110"/>
                </a:lnTo>
                <a:lnTo>
                  <a:pt x="24" y="110"/>
                </a:lnTo>
                <a:lnTo>
                  <a:pt x="22" y="106"/>
                </a:lnTo>
                <a:lnTo>
                  <a:pt x="22" y="75"/>
                </a:lnTo>
                <a:lnTo>
                  <a:pt x="22" y="75"/>
                </a:lnTo>
                <a:lnTo>
                  <a:pt x="25" y="70"/>
                </a:lnTo>
                <a:lnTo>
                  <a:pt x="25" y="66"/>
                </a:lnTo>
                <a:lnTo>
                  <a:pt x="27" y="62"/>
                </a:lnTo>
                <a:lnTo>
                  <a:pt x="27" y="62"/>
                </a:lnTo>
                <a:lnTo>
                  <a:pt x="24" y="53"/>
                </a:lnTo>
                <a:lnTo>
                  <a:pt x="22" y="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7" name="Freeform 48"/>
          <p:cNvSpPr>
            <a:spLocks/>
          </p:cNvSpPr>
          <p:nvPr userDrawn="1"/>
        </p:nvSpPr>
        <p:spPr bwMode="auto">
          <a:xfrm>
            <a:off x="8347076" y="-923502"/>
            <a:ext cx="60325" cy="42863"/>
          </a:xfrm>
          <a:custGeom>
            <a:avLst/>
            <a:gdLst>
              <a:gd name="T0" fmla="*/ 42 w 77"/>
              <a:gd name="T1" fmla="*/ 46 h 55"/>
              <a:gd name="T2" fmla="*/ 77 w 77"/>
              <a:gd name="T3" fmla="*/ 9 h 55"/>
              <a:gd name="T4" fmla="*/ 77 w 77"/>
              <a:gd name="T5" fmla="*/ 9 h 55"/>
              <a:gd name="T6" fmla="*/ 26 w 77"/>
              <a:gd name="T7" fmla="*/ 9 h 55"/>
              <a:gd name="T8" fmla="*/ 26 w 77"/>
              <a:gd name="T9" fmla="*/ 9 h 55"/>
              <a:gd name="T10" fmla="*/ 20 w 77"/>
              <a:gd name="T11" fmla="*/ 7 h 55"/>
              <a:gd name="T12" fmla="*/ 15 w 77"/>
              <a:gd name="T13" fmla="*/ 4 h 55"/>
              <a:gd name="T14" fmla="*/ 7 w 77"/>
              <a:gd name="T15" fmla="*/ 0 h 55"/>
              <a:gd name="T16" fmla="*/ 6 w 77"/>
              <a:gd name="T17" fmla="*/ 0 h 55"/>
              <a:gd name="T18" fmla="*/ 6 w 77"/>
              <a:gd name="T19" fmla="*/ 0 h 55"/>
              <a:gd name="T20" fmla="*/ 0 w 77"/>
              <a:gd name="T21" fmla="*/ 11 h 55"/>
              <a:gd name="T22" fmla="*/ 0 w 77"/>
              <a:gd name="T23" fmla="*/ 11 h 55"/>
              <a:gd name="T24" fmla="*/ 4 w 77"/>
              <a:gd name="T25" fmla="*/ 17 h 55"/>
              <a:gd name="T26" fmla="*/ 6 w 77"/>
              <a:gd name="T27" fmla="*/ 20 h 55"/>
              <a:gd name="T28" fmla="*/ 7 w 77"/>
              <a:gd name="T29" fmla="*/ 27 h 55"/>
              <a:gd name="T30" fmla="*/ 7 w 77"/>
              <a:gd name="T31" fmla="*/ 27 h 55"/>
              <a:gd name="T32" fmla="*/ 7 w 77"/>
              <a:gd name="T33" fmla="*/ 33 h 55"/>
              <a:gd name="T34" fmla="*/ 4 w 77"/>
              <a:gd name="T35" fmla="*/ 38 h 55"/>
              <a:gd name="T36" fmla="*/ 0 w 77"/>
              <a:gd name="T37" fmla="*/ 42 h 55"/>
              <a:gd name="T38" fmla="*/ 0 w 77"/>
              <a:gd name="T39" fmla="*/ 42 h 55"/>
              <a:gd name="T40" fmla="*/ 7 w 77"/>
              <a:gd name="T41" fmla="*/ 55 h 55"/>
              <a:gd name="T42" fmla="*/ 7 w 77"/>
              <a:gd name="T43" fmla="*/ 55 h 55"/>
              <a:gd name="T44" fmla="*/ 13 w 77"/>
              <a:gd name="T45" fmla="*/ 51 h 55"/>
              <a:gd name="T46" fmla="*/ 28 w 77"/>
              <a:gd name="T47" fmla="*/ 46 h 55"/>
              <a:gd name="T48" fmla="*/ 28 w 77"/>
              <a:gd name="T49" fmla="*/ 46 h 55"/>
              <a:gd name="T50" fmla="*/ 42 w 77"/>
              <a:gd name="T51" fmla="*/ 4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7" h="55">
                <a:moveTo>
                  <a:pt x="42" y="46"/>
                </a:moveTo>
                <a:lnTo>
                  <a:pt x="77" y="9"/>
                </a:lnTo>
                <a:lnTo>
                  <a:pt x="77" y="9"/>
                </a:lnTo>
                <a:lnTo>
                  <a:pt x="26" y="9"/>
                </a:lnTo>
                <a:lnTo>
                  <a:pt x="26" y="9"/>
                </a:lnTo>
                <a:lnTo>
                  <a:pt x="20" y="7"/>
                </a:lnTo>
                <a:lnTo>
                  <a:pt x="15" y="4"/>
                </a:lnTo>
                <a:lnTo>
                  <a:pt x="7" y="0"/>
                </a:lnTo>
                <a:lnTo>
                  <a:pt x="6" y="0"/>
                </a:lnTo>
                <a:lnTo>
                  <a:pt x="6" y="0"/>
                </a:lnTo>
                <a:lnTo>
                  <a:pt x="0" y="11"/>
                </a:lnTo>
                <a:lnTo>
                  <a:pt x="0" y="11"/>
                </a:lnTo>
                <a:lnTo>
                  <a:pt x="4" y="17"/>
                </a:lnTo>
                <a:lnTo>
                  <a:pt x="6" y="20"/>
                </a:lnTo>
                <a:lnTo>
                  <a:pt x="7" y="27"/>
                </a:lnTo>
                <a:lnTo>
                  <a:pt x="7" y="27"/>
                </a:lnTo>
                <a:lnTo>
                  <a:pt x="7" y="33"/>
                </a:lnTo>
                <a:lnTo>
                  <a:pt x="4" y="38"/>
                </a:lnTo>
                <a:lnTo>
                  <a:pt x="0" y="42"/>
                </a:lnTo>
                <a:lnTo>
                  <a:pt x="0" y="42"/>
                </a:lnTo>
                <a:lnTo>
                  <a:pt x="7" y="55"/>
                </a:lnTo>
                <a:lnTo>
                  <a:pt x="7" y="55"/>
                </a:lnTo>
                <a:lnTo>
                  <a:pt x="13" y="51"/>
                </a:lnTo>
                <a:lnTo>
                  <a:pt x="28" y="46"/>
                </a:lnTo>
                <a:lnTo>
                  <a:pt x="28" y="46"/>
                </a:lnTo>
                <a:lnTo>
                  <a:pt x="42" y="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8" name="Freeform 49"/>
          <p:cNvSpPr>
            <a:spLocks/>
          </p:cNvSpPr>
          <p:nvPr userDrawn="1"/>
        </p:nvSpPr>
        <p:spPr bwMode="auto">
          <a:xfrm>
            <a:off x="8423276" y="-982240"/>
            <a:ext cx="119063" cy="93663"/>
          </a:xfrm>
          <a:custGeom>
            <a:avLst/>
            <a:gdLst>
              <a:gd name="T0" fmla="*/ 152 w 152"/>
              <a:gd name="T1" fmla="*/ 60 h 119"/>
              <a:gd name="T2" fmla="*/ 148 w 152"/>
              <a:gd name="T3" fmla="*/ 58 h 119"/>
              <a:gd name="T4" fmla="*/ 139 w 152"/>
              <a:gd name="T5" fmla="*/ 62 h 119"/>
              <a:gd name="T6" fmla="*/ 135 w 152"/>
              <a:gd name="T7" fmla="*/ 64 h 119"/>
              <a:gd name="T8" fmla="*/ 134 w 152"/>
              <a:gd name="T9" fmla="*/ 75 h 119"/>
              <a:gd name="T10" fmla="*/ 130 w 152"/>
              <a:gd name="T11" fmla="*/ 71 h 119"/>
              <a:gd name="T12" fmla="*/ 121 w 152"/>
              <a:gd name="T13" fmla="*/ 69 h 119"/>
              <a:gd name="T14" fmla="*/ 113 w 152"/>
              <a:gd name="T15" fmla="*/ 71 h 119"/>
              <a:gd name="T16" fmla="*/ 117 w 152"/>
              <a:gd name="T17" fmla="*/ 80 h 119"/>
              <a:gd name="T18" fmla="*/ 113 w 152"/>
              <a:gd name="T19" fmla="*/ 90 h 119"/>
              <a:gd name="T20" fmla="*/ 110 w 152"/>
              <a:gd name="T21" fmla="*/ 90 h 119"/>
              <a:gd name="T22" fmla="*/ 103 w 152"/>
              <a:gd name="T23" fmla="*/ 84 h 119"/>
              <a:gd name="T24" fmla="*/ 103 w 152"/>
              <a:gd name="T25" fmla="*/ 79 h 119"/>
              <a:gd name="T26" fmla="*/ 93 w 152"/>
              <a:gd name="T27" fmla="*/ 82 h 119"/>
              <a:gd name="T28" fmla="*/ 88 w 152"/>
              <a:gd name="T29" fmla="*/ 79 h 119"/>
              <a:gd name="T30" fmla="*/ 90 w 152"/>
              <a:gd name="T31" fmla="*/ 69 h 119"/>
              <a:gd name="T32" fmla="*/ 104 w 152"/>
              <a:gd name="T33" fmla="*/ 66 h 119"/>
              <a:gd name="T34" fmla="*/ 103 w 152"/>
              <a:gd name="T35" fmla="*/ 60 h 119"/>
              <a:gd name="T36" fmla="*/ 97 w 152"/>
              <a:gd name="T37" fmla="*/ 53 h 119"/>
              <a:gd name="T38" fmla="*/ 92 w 152"/>
              <a:gd name="T39" fmla="*/ 51 h 119"/>
              <a:gd name="T40" fmla="*/ 82 w 152"/>
              <a:gd name="T41" fmla="*/ 53 h 119"/>
              <a:gd name="T42" fmla="*/ 86 w 152"/>
              <a:gd name="T43" fmla="*/ 51 h 119"/>
              <a:gd name="T44" fmla="*/ 90 w 152"/>
              <a:gd name="T45" fmla="*/ 44 h 119"/>
              <a:gd name="T46" fmla="*/ 90 w 152"/>
              <a:gd name="T47" fmla="*/ 35 h 119"/>
              <a:gd name="T48" fmla="*/ 84 w 152"/>
              <a:gd name="T49" fmla="*/ 26 h 119"/>
              <a:gd name="T50" fmla="*/ 84 w 152"/>
              <a:gd name="T51" fmla="*/ 26 h 119"/>
              <a:gd name="T52" fmla="*/ 79 w 152"/>
              <a:gd name="T53" fmla="*/ 27 h 119"/>
              <a:gd name="T54" fmla="*/ 68 w 152"/>
              <a:gd name="T55" fmla="*/ 33 h 119"/>
              <a:gd name="T56" fmla="*/ 66 w 152"/>
              <a:gd name="T57" fmla="*/ 38 h 119"/>
              <a:gd name="T58" fmla="*/ 66 w 152"/>
              <a:gd name="T59" fmla="*/ 46 h 119"/>
              <a:gd name="T60" fmla="*/ 62 w 152"/>
              <a:gd name="T61" fmla="*/ 40 h 119"/>
              <a:gd name="T62" fmla="*/ 55 w 152"/>
              <a:gd name="T63" fmla="*/ 35 h 119"/>
              <a:gd name="T64" fmla="*/ 50 w 152"/>
              <a:gd name="T65" fmla="*/ 35 h 119"/>
              <a:gd name="T66" fmla="*/ 42 w 152"/>
              <a:gd name="T67" fmla="*/ 38 h 119"/>
              <a:gd name="T68" fmla="*/ 48 w 152"/>
              <a:gd name="T69" fmla="*/ 46 h 119"/>
              <a:gd name="T70" fmla="*/ 48 w 152"/>
              <a:gd name="T71" fmla="*/ 57 h 119"/>
              <a:gd name="T72" fmla="*/ 42 w 152"/>
              <a:gd name="T73" fmla="*/ 58 h 119"/>
              <a:gd name="T74" fmla="*/ 35 w 152"/>
              <a:gd name="T75" fmla="*/ 53 h 119"/>
              <a:gd name="T76" fmla="*/ 33 w 152"/>
              <a:gd name="T77" fmla="*/ 47 h 119"/>
              <a:gd name="T78" fmla="*/ 26 w 152"/>
              <a:gd name="T79" fmla="*/ 53 h 119"/>
              <a:gd name="T80" fmla="*/ 20 w 152"/>
              <a:gd name="T81" fmla="*/ 51 h 119"/>
              <a:gd name="T82" fmla="*/ 17 w 152"/>
              <a:gd name="T83" fmla="*/ 42 h 119"/>
              <a:gd name="T84" fmla="*/ 31 w 152"/>
              <a:gd name="T85" fmla="*/ 35 h 119"/>
              <a:gd name="T86" fmla="*/ 29 w 152"/>
              <a:gd name="T87" fmla="*/ 33 h 119"/>
              <a:gd name="T88" fmla="*/ 22 w 152"/>
              <a:gd name="T89" fmla="*/ 24 h 119"/>
              <a:gd name="T90" fmla="*/ 15 w 152"/>
              <a:gd name="T91" fmla="*/ 24 h 119"/>
              <a:gd name="T92" fmla="*/ 18 w 152"/>
              <a:gd name="T93" fmla="*/ 18 h 119"/>
              <a:gd name="T94" fmla="*/ 20 w 152"/>
              <a:gd name="T95" fmla="*/ 9 h 119"/>
              <a:gd name="T96" fmla="*/ 18 w 152"/>
              <a:gd name="T97" fmla="*/ 5 h 119"/>
              <a:gd name="T98" fmla="*/ 13 w 152"/>
              <a:gd name="T99" fmla="*/ 0 h 119"/>
              <a:gd name="T100" fmla="*/ 35 w 152"/>
              <a:gd name="T101" fmla="*/ 88 h 119"/>
              <a:gd name="T102" fmla="*/ 46 w 152"/>
              <a:gd name="T103" fmla="*/ 82 h 119"/>
              <a:gd name="T104" fmla="*/ 51 w 152"/>
              <a:gd name="T105" fmla="*/ 79 h 119"/>
              <a:gd name="T106" fmla="*/ 66 w 152"/>
              <a:gd name="T107" fmla="*/ 80 h 119"/>
              <a:gd name="T108" fmla="*/ 71 w 152"/>
              <a:gd name="T109" fmla="*/ 82 h 119"/>
              <a:gd name="T110" fmla="*/ 82 w 152"/>
              <a:gd name="T111" fmla="*/ 90 h 119"/>
              <a:gd name="T112" fmla="*/ 84 w 152"/>
              <a:gd name="T113" fmla="*/ 99 h 119"/>
              <a:gd name="T114" fmla="*/ 84 w 152"/>
              <a:gd name="T115" fmla="*/ 104 h 119"/>
              <a:gd name="T116" fmla="*/ 106 w 152"/>
              <a:gd name="T117"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2" h="119">
                <a:moveTo>
                  <a:pt x="106" y="119"/>
                </a:moveTo>
                <a:lnTo>
                  <a:pt x="152" y="60"/>
                </a:lnTo>
                <a:lnTo>
                  <a:pt x="152" y="60"/>
                </a:lnTo>
                <a:lnTo>
                  <a:pt x="148" y="58"/>
                </a:lnTo>
                <a:lnTo>
                  <a:pt x="145" y="60"/>
                </a:lnTo>
                <a:lnTo>
                  <a:pt x="139" y="62"/>
                </a:lnTo>
                <a:lnTo>
                  <a:pt x="139" y="62"/>
                </a:lnTo>
                <a:lnTo>
                  <a:pt x="135" y="64"/>
                </a:lnTo>
                <a:lnTo>
                  <a:pt x="134" y="69"/>
                </a:lnTo>
                <a:lnTo>
                  <a:pt x="134" y="75"/>
                </a:lnTo>
                <a:lnTo>
                  <a:pt x="134" y="75"/>
                </a:lnTo>
                <a:lnTo>
                  <a:pt x="130" y="71"/>
                </a:lnTo>
                <a:lnTo>
                  <a:pt x="128" y="69"/>
                </a:lnTo>
                <a:lnTo>
                  <a:pt x="121" y="69"/>
                </a:lnTo>
                <a:lnTo>
                  <a:pt x="115" y="69"/>
                </a:lnTo>
                <a:lnTo>
                  <a:pt x="113" y="71"/>
                </a:lnTo>
                <a:lnTo>
                  <a:pt x="113" y="71"/>
                </a:lnTo>
                <a:lnTo>
                  <a:pt x="117" y="80"/>
                </a:lnTo>
                <a:lnTo>
                  <a:pt x="117" y="86"/>
                </a:lnTo>
                <a:lnTo>
                  <a:pt x="113" y="90"/>
                </a:lnTo>
                <a:lnTo>
                  <a:pt x="110" y="90"/>
                </a:lnTo>
                <a:lnTo>
                  <a:pt x="110" y="90"/>
                </a:lnTo>
                <a:lnTo>
                  <a:pt x="104" y="88"/>
                </a:lnTo>
                <a:lnTo>
                  <a:pt x="103" y="84"/>
                </a:lnTo>
                <a:lnTo>
                  <a:pt x="103" y="79"/>
                </a:lnTo>
                <a:lnTo>
                  <a:pt x="103" y="79"/>
                </a:lnTo>
                <a:lnTo>
                  <a:pt x="97" y="82"/>
                </a:lnTo>
                <a:lnTo>
                  <a:pt x="93" y="82"/>
                </a:lnTo>
                <a:lnTo>
                  <a:pt x="88" y="79"/>
                </a:lnTo>
                <a:lnTo>
                  <a:pt x="88" y="79"/>
                </a:lnTo>
                <a:lnTo>
                  <a:pt x="86" y="75"/>
                </a:lnTo>
                <a:lnTo>
                  <a:pt x="90" y="69"/>
                </a:lnTo>
                <a:lnTo>
                  <a:pt x="95" y="68"/>
                </a:lnTo>
                <a:lnTo>
                  <a:pt x="104" y="66"/>
                </a:lnTo>
                <a:lnTo>
                  <a:pt x="104" y="66"/>
                </a:lnTo>
                <a:lnTo>
                  <a:pt x="103" y="60"/>
                </a:lnTo>
                <a:lnTo>
                  <a:pt x="101" y="57"/>
                </a:lnTo>
                <a:lnTo>
                  <a:pt x="97" y="53"/>
                </a:lnTo>
                <a:lnTo>
                  <a:pt x="97" y="53"/>
                </a:lnTo>
                <a:lnTo>
                  <a:pt x="92" y="51"/>
                </a:lnTo>
                <a:lnTo>
                  <a:pt x="88" y="51"/>
                </a:lnTo>
                <a:lnTo>
                  <a:pt x="82" y="53"/>
                </a:lnTo>
                <a:lnTo>
                  <a:pt x="82" y="53"/>
                </a:lnTo>
                <a:lnTo>
                  <a:pt x="86" y="51"/>
                </a:lnTo>
                <a:lnTo>
                  <a:pt x="88" y="47"/>
                </a:lnTo>
                <a:lnTo>
                  <a:pt x="90" y="44"/>
                </a:lnTo>
                <a:lnTo>
                  <a:pt x="90" y="44"/>
                </a:lnTo>
                <a:lnTo>
                  <a:pt x="90" y="35"/>
                </a:lnTo>
                <a:lnTo>
                  <a:pt x="88" y="31"/>
                </a:lnTo>
                <a:lnTo>
                  <a:pt x="84" y="26"/>
                </a:lnTo>
                <a:lnTo>
                  <a:pt x="84" y="26"/>
                </a:lnTo>
                <a:lnTo>
                  <a:pt x="84" y="26"/>
                </a:lnTo>
                <a:lnTo>
                  <a:pt x="84" y="26"/>
                </a:lnTo>
                <a:lnTo>
                  <a:pt x="79" y="27"/>
                </a:lnTo>
                <a:lnTo>
                  <a:pt x="73" y="29"/>
                </a:lnTo>
                <a:lnTo>
                  <a:pt x="68" y="33"/>
                </a:lnTo>
                <a:lnTo>
                  <a:pt x="68" y="33"/>
                </a:lnTo>
                <a:lnTo>
                  <a:pt x="66" y="38"/>
                </a:lnTo>
                <a:lnTo>
                  <a:pt x="66" y="42"/>
                </a:lnTo>
                <a:lnTo>
                  <a:pt x="66" y="46"/>
                </a:lnTo>
                <a:lnTo>
                  <a:pt x="66" y="46"/>
                </a:lnTo>
                <a:lnTo>
                  <a:pt x="62" y="40"/>
                </a:lnTo>
                <a:lnTo>
                  <a:pt x="60" y="37"/>
                </a:lnTo>
                <a:lnTo>
                  <a:pt x="55" y="35"/>
                </a:lnTo>
                <a:lnTo>
                  <a:pt x="55" y="35"/>
                </a:lnTo>
                <a:lnTo>
                  <a:pt x="50" y="35"/>
                </a:lnTo>
                <a:lnTo>
                  <a:pt x="46" y="37"/>
                </a:lnTo>
                <a:lnTo>
                  <a:pt x="42" y="38"/>
                </a:lnTo>
                <a:lnTo>
                  <a:pt x="42" y="38"/>
                </a:lnTo>
                <a:lnTo>
                  <a:pt x="48" y="46"/>
                </a:lnTo>
                <a:lnTo>
                  <a:pt x="48" y="53"/>
                </a:lnTo>
                <a:lnTo>
                  <a:pt x="48" y="57"/>
                </a:lnTo>
                <a:lnTo>
                  <a:pt x="42" y="58"/>
                </a:lnTo>
                <a:lnTo>
                  <a:pt x="42" y="58"/>
                </a:lnTo>
                <a:lnTo>
                  <a:pt x="37" y="57"/>
                </a:lnTo>
                <a:lnTo>
                  <a:pt x="35" y="53"/>
                </a:lnTo>
                <a:lnTo>
                  <a:pt x="33" y="47"/>
                </a:lnTo>
                <a:lnTo>
                  <a:pt x="33" y="47"/>
                </a:lnTo>
                <a:lnTo>
                  <a:pt x="29" y="51"/>
                </a:lnTo>
                <a:lnTo>
                  <a:pt x="26" y="53"/>
                </a:lnTo>
                <a:lnTo>
                  <a:pt x="20" y="51"/>
                </a:lnTo>
                <a:lnTo>
                  <a:pt x="20" y="51"/>
                </a:lnTo>
                <a:lnTo>
                  <a:pt x="17" y="47"/>
                </a:lnTo>
                <a:lnTo>
                  <a:pt x="17" y="42"/>
                </a:lnTo>
                <a:lnTo>
                  <a:pt x="22" y="38"/>
                </a:lnTo>
                <a:lnTo>
                  <a:pt x="31" y="35"/>
                </a:lnTo>
                <a:lnTo>
                  <a:pt x="31" y="35"/>
                </a:lnTo>
                <a:lnTo>
                  <a:pt x="29" y="33"/>
                </a:lnTo>
                <a:lnTo>
                  <a:pt x="28" y="27"/>
                </a:lnTo>
                <a:lnTo>
                  <a:pt x="22" y="24"/>
                </a:lnTo>
                <a:lnTo>
                  <a:pt x="18" y="22"/>
                </a:lnTo>
                <a:lnTo>
                  <a:pt x="15" y="24"/>
                </a:lnTo>
                <a:lnTo>
                  <a:pt x="15" y="24"/>
                </a:lnTo>
                <a:lnTo>
                  <a:pt x="18" y="18"/>
                </a:lnTo>
                <a:lnTo>
                  <a:pt x="20" y="15"/>
                </a:lnTo>
                <a:lnTo>
                  <a:pt x="20" y="9"/>
                </a:lnTo>
                <a:lnTo>
                  <a:pt x="20" y="9"/>
                </a:lnTo>
                <a:lnTo>
                  <a:pt x="18" y="5"/>
                </a:lnTo>
                <a:lnTo>
                  <a:pt x="17" y="2"/>
                </a:lnTo>
                <a:lnTo>
                  <a:pt x="13" y="0"/>
                </a:lnTo>
                <a:lnTo>
                  <a:pt x="0" y="73"/>
                </a:lnTo>
                <a:lnTo>
                  <a:pt x="35" y="88"/>
                </a:lnTo>
                <a:lnTo>
                  <a:pt x="35" y="88"/>
                </a:lnTo>
                <a:lnTo>
                  <a:pt x="46" y="82"/>
                </a:lnTo>
                <a:lnTo>
                  <a:pt x="46" y="82"/>
                </a:lnTo>
                <a:lnTo>
                  <a:pt x="51" y="79"/>
                </a:lnTo>
                <a:lnTo>
                  <a:pt x="59" y="79"/>
                </a:lnTo>
                <a:lnTo>
                  <a:pt x="66" y="80"/>
                </a:lnTo>
                <a:lnTo>
                  <a:pt x="71" y="82"/>
                </a:lnTo>
                <a:lnTo>
                  <a:pt x="71" y="82"/>
                </a:lnTo>
                <a:lnTo>
                  <a:pt x="79" y="86"/>
                </a:lnTo>
                <a:lnTo>
                  <a:pt x="82" y="90"/>
                </a:lnTo>
                <a:lnTo>
                  <a:pt x="84" y="95"/>
                </a:lnTo>
                <a:lnTo>
                  <a:pt x="84" y="99"/>
                </a:lnTo>
                <a:lnTo>
                  <a:pt x="84" y="99"/>
                </a:lnTo>
                <a:lnTo>
                  <a:pt x="84" y="104"/>
                </a:lnTo>
                <a:lnTo>
                  <a:pt x="81" y="110"/>
                </a:lnTo>
                <a:lnTo>
                  <a:pt x="106" y="11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9" name="Freeform 50"/>
          <p:cNvSpPr>
            <a:spLocks/>
          </p:cNvSpPr>
          <p:nvPr userDrawn="1"/>
        </p:nvSpPr>
        <p:spPr bwMode="auto">
          <a:xfrm>
            <a:off x="8520113" y="-917153"/>
            <a:ext cx="142875" cy="25400"/>
          </a:xfrm>
          <a:custGeom>
            <a:avLst/>
            <a:gdLst>
              <a:gd name="T0" fmla="*/ 151 w 180"/>
              <a:gd name="T1" fmla="*/ 28 h 31"/>
              <a:gd name="T2" fmla="*/ 180 w 180"/>
              <a:gd name="T3" fmla="*/ 15 h 31"/>
              <a:gd name="T4" fmla="*/ 151 w 180"/>
              <a:gd name="T5" fmla="*/ 2 h 31"/>
              <a:gd name="T6" fmla="*/ 151 w 180"/>
              <a:gd name="T7" fmla="*/ 2 h 31"/>
              <a:gd name="T8" fmla="*/ 102 w 180"/>
              <a:gd name="T9" fmla="*/ 2 h 31"/>
              <a:gd name="T10" fmla="*/ 23 w 180"/>
              <a:gd name="T11" fmla="*/ 0 h 31"/>
              <a:gd name="T12" fmla="*/ 0 w 180"/>
              <a:gd name="T13" fmla="*/ 31 h 31"/>
              <a:gd name="T14" fmla="*/ 0 w 180"/>
              <a:gd name="T15" fmla="*/ 31 h 31"/>
              <a:gd name="T16" fmla="*/ 151 w 180"/>
              <a:gd name="T17"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31">
                <a:moveTo>
                  <a:pt x="151" y="28"/>
                </a:moveTo>
                <a:lnTo>
                  <a:pt x="180" y="15"/>
                </a:lnTo>
                <a:lnTo>
                  <a:pt x="151" y="2"/>
                </a:lnTo>
                <a:lnTo>
                  <a:pt x="151" y="2"/>
                </a:lnTo>
                <a:lnTo>
                  <a:pt x="102" y="2"/>
                </a:lnTo>
                <a:lnTo>
                  <a:pt x="23" y="0"/>
                </a:lnTo>
                <a:lnTo>
                  <a:pt x="0" y="31"/>
                </a:lnTo>
                <a:lnTo>
                  <a:pt x="0" y="31"/>
                </a:lnTo>
                <a:lnTo>
                  <a:pt x="151"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100" name="Freeform 51"/>
          <p:cNvSpPr>
            <a:spLocks/>
          </p:cNvSpPr>
          <p:nvPr userDrawn="1"/>
        </p:nvSpPr>
        <p:spPr bwMode="auto">
          <a:xfrm>
            <a:off x="8566151" y="-855240"/>
            <a:ext cx="85725" cy="84138"/>
          </a:xfrm>
          <a:custGeom>
            <a:avLst/>
            <a:gdLst>
              <a:gd name="T0" fmla="*/ 55 w 108"/>
              <a:gd name="T1" fmla="*/ 106 h 106"/>
              <a:gd name="T2" fmla="*/ 55 w 108"/>
              <a:gd name="T3" fmla="*/ 106 h 106"/>
              <a:gd name="T4" fmla="*/ 38 w 108"/>
              <a:gd name="T5" fmla="*/ 97 h 106"/>
              <a:gd name="T6" fmla="*/ 26 w 108"/>
              <a:gd name="T7" fmla="*/ 89 h 106"/>
              <a:gd name="T8" fmla="*/ 13 w 108"/>
              <a:gd name="T9" fmla="*/ 80 h 106"/>
              <a:gd name="T10" fmla="*/ 4 w 108"/>
              <a:gd name="T11" fmla="*/ 69 h 106"/>
              <a:gd name="T12" fmla="*/ 4 w 108"/>
              <a:gd name="T13" fmla="*/ 69 h 106"/>
              <a:gd name="T14" fmla="*/ 0 w 108"/>
              <a:gd name="T15" fmla="*/ 62 h 106"/>
              <a:gd name="T16" fmla="*/ 0 w 108"/>
              <a:gd name="T17" fmla="*/ 53 h 106"/>
              <a:gd name="T18" fmla="*/ 0 w 108"/>
              <a:gd name="T19" fmla="*/ 45 h 106"/>
              <a:gd name="T20" fmla="*/ 0 w 108"/>
              <a:gd name="T21" fmla="*/ 36 h 106"/>
              <a:gd name="T22" fmla="*/ 4 w 108"/>
              <a:gd name="T23" fmla="*/ 27 h 106"/>
              <a:gd name="T24" fmla="*/ 7 w 108"/>
              <a:gd name="T25" fmla="*/ 20 h 106"/>
              <a:gd name="T26" fmla="*/ 15 w 108"/>
              <a:gd name="T27" fmla="*/ 13 h 106"/>
              <a:gd name="T28" fmla="*/ 22 w 108"/>
              <a:gd name="T29" fmla="*/ 7 h 106"/>
              <a:gd name="T30" fmla="*/ 22 w 108"/>
              <a:gd name="T31" fmla="*/ 7 h 106"/>
              <a:gd name="T32" fmla="*/ 26 w 108"/>
              <a:gd name="T33" fmla="*/ 11 h 106"/>
              <a:gd name="T34" fmla="*/ 27 w 108"/>
              <a:gd name="T35" fmla="*/ 14 h 106"/>
              <a:gd name="T36" fmla="*/ 27 w 108"/>
              <a:gd name="T37" fmla="*/ 18 h 106"/>
              <a:gd name="T38" fmla="*/ 27 w 108"/>
              <a:gd name="T39" fmla="*/ 18 h 106"/>
              <a:gd name="T40" fmla="*/ 51 w 108"/>
              <a:gd name="T41" fmla="*/ 16 h 106"/>
              <a:gd name="T42" fmla="*/ 51 w 108"/>
              <a:gd name="T43" fmla="*/ 16 h 106"/>
              <a:gd name="T44" fmla="*/ 51 w 108"/>
              <a:gd name="T45" fmla="*/ 9 h 106"/>
              <a:gd name="T46" fmla="*/ 51 w 108"/>
              <a:gd name="T47" fmla="*/ 3 h 106"/>
              <a:gd name="T48" fmla="*/ 49 w 108"/>
              <a:gd name="T49" fmla="*/ 0 h 106"/>
              <a:gd name="T50" fmla="*/ 49 w 108"/>
              <a:gd name="T51" fmla="*/ 0 h 106"/>
              <a:gd name="T52" fmla="*/ 57 w 108"/>
              <a:gd name="T53" fmla="*/ 5 h 106"/>
              <a:gd name="T54" fmla="*/ 59 w 108"/>
              <a:gd name="T55" fmla="*/ 11 h 106"/>
              <a:gd name="T56" fmla="*/ 60 w 108"/>
              <a:gd name="T57" fmla="*/ 16 h 106"/>
              <a:gd name="T58" fmla="*/ 60 w 108"/>
              <a:gd name="T59" fmla="*/ 16 h 106"/>
              <a:gd name="T60" fmla="*/ 82 w 108"/>
              <a:gd name="T61" fmla="*/ 18 h 106"/>
              <a:gd name="T62" fmla="*/ 82 w 108"/>
              <a:gd name="T63" fmla="*/ 18 h 106"/>
              <a:gd name="T64" fmla="*/ 82 w 108"/>
              <a:gd name="T65" fmla="*/ 11 h 106"/>
              <a:gd name="T66" fmla="*/ 79 w 108"/>
              <a:gd name="T67" fmla="*/ 3 h 106"/>
              <a:gd name="T68" fmla="*/ 79 w 108"/>
              <a:gd name="T69" fmla="*/ 3 h 106"/>
              <a:gd name="T70" fmla="*/ 86 w 108"/>
              <a:gd name="T71" fmla="*/ 9 h 106"/>
              <a:gd name="T72" fmla="*/ 93 w 108"/>
              <a:gd name="T73" fmla="*/ 13 h 106"/>
              <a:gd name="T74" fmla="*/ 99 w 108"/>
              <a:gd name="T75" fmla="*/ 20 h 106"/>
              <a:gd name="T76" fmla="*/ 102 w 108"/>
              <a:gd name="T77" fmla="*/ 25 h 106"/>
              <a:gd name="T78" fmla="*/ 106 w 108"/>
              <a:gd name="T79" fmla="*/ 38 h 106"/>
              <a:gd name="T80" fmla="*/ 108 w 108"/>
              <a:gd name="T81" fmla="*/ 49 h 106"/>
              <a:gd name="T82" fmla="*/ 108 w 108"/>
              <a:gd name="T83" fmla="*/ 49 h 106"/>
              <a:gd name="T84" fmla="*/ 106 w 108"/>
              <a:gd name="T85" fmla="*/ 62 h 106"/>
              <a:gd name="T86" fmla="*/ 102 w 108"/>
              <a:gd name="T87" fmla="*/ 73 h 106"/>
              <a:gd name="T88" fmla="*/ 95 w 108"/>
              <a:gd name="T89" fmla="*/ 82 h 106"/>
              <a:gd name="T90" fmla="*/ 86 w 108"/>
              <a:gd name="T91" fmla="*/ 89 h 106"/>
              <a:gd name="T92" fmla="*/ 86 w 108"/>
              <a:gd name="T93" fmla="*/ 89 h 106"/>
              <a:gd name="T94" fmla="*/ 69 w 108"/>
              <a:gd name="T95" fmla="*/ 98 h 106"/>
              <a:gd name="T96" fmla="*/ 55 w 108"/>
              <a:gd name="T97"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 h="106">
                <a:moveTo>
                  <a:pt x="55" y="106"/>
                </a:moveTo>
                <a:lnTo>
                  <a:pt x="55" y="106"/>
                </a:lnTo>
                <a:lnTo>
                  <a:pt x="38" y="97"/>
                </a:lnTo>
                <a:lnTo>
                  <a:pt x="26" y="89"/>
                </a:lnTo>
                <a:lnTo>
                  <a:pt x="13" y="80"/>
                </a:lnTo>
                <a:lnTo>
                  <a:pt x="4" y="69"/>
                </a:lnTo>
                <a:lnTo>
                  <a:pt x="4" y="69"/>
                </a:lnTo>
                <a:lnTo>
                  <a:pt x="0" y="62"/>
                </a:lnTo>
                <a:lnTo>
                  <a:pt x="0" y="53"/>
                </a:lnTo>
                <a:lnTo>
                  <a:pt x="0" y="45"/>
                </a:lnTo>
                <a:lnTo>
                  <a:pt x="0" y="36"/>
                </a:lnTo>
                <a:lnTo>
                  <a:pt x="4" y="27"/>
                </a:lnTo>
                <a:lnTo>
                  <a:pt x="7" y="20"/>
                </a:lnTo>
                <a:lnTo>
                  <a:pt x="15" y="13"/>
                </a:lnTo>
                <a:lnTo>
                  <a:pt x="22" y="7"/>
                </a:lnTo>
                <a:lnTo>
                  <a:pt x="22" y="7"/>
                </a:lnTo>
                <a:lnTo>
                  <a:pt x="26" y="11"/>
                </a:lnTo>
                <a:lnTo>
                  <a:pt x="27" y="14"/>
                </a:lnTo>
                <a:lnTo>
                  <a:pt x="27" y="18"/>
                </a:lnTo>
                <a:lnTo>
                  <a:pt x="27" y="18"/>
                </a:lnTo>
                <a:lnTo>
                  <a:pt x="51" y="16"/>
                </a:lnTo>
                <a:lnTo>
                  <a:pt x="51" y="16"/>
                </a:lnTo>
                <a:lnTo>
                  <a:pt x="51" y="9"/>
                </a:lnTo>
                <a:lnTo>
                  <a:pt x="51" y="3"/>
                </a:lnTo>
                <a:lnTo>
                  <a:pt x="49" y="0"/>
                </a:lnTo>
                <a:lnTo>
                  <a:pt x="49" y="0"/>
                </a:lnTo>
                <a:lnTo>
                  <a:pt x="57" y="5"/>
                </a:lnTo>
                <a:lnTo>
                  <a:pt x="59" y="11"/>
                </a:lnTo>
                <a:lnTo>
                  <a:pt x="60" y="16"/>
                </a:lnTo>
                <a:lnTo>
                  <a:pt x="60" y="16"/>
                </a:lnTo>
                <a:lnTo>
                  <a:pt x="82" y="18"/>
                </a:lnTo>
                <a:lnTo>
                  <a:pt x="82" y="18"/>
                </a:lnTo>
                <a:lnTo>
                  <a:pt x="82" y="11"/>
                </a:lnTo>
                <a:lnTo>
                  <a:pt x="79" y="3"/>
                </a:lnTo>
                <a:lnTo>
                  <a:pt x="79" y="3"/>
                </a:lnTo>
                <a:lnTo>
                  <a:pt x="86" y="9"/>
                </a:lnTo>
                <a:lnTo>
                  <a:pt x="93" y="13"/>
                </a:lnTo>
                <a:lnTo>
                  <a:pt x="99" y="20"/>
                </a:lnTo>
                <a:lnTo>
                  <a:pt x="102" y="25"/>
                </a:lnTo>
                <a:lnTo>
                  <a:pt x="106" y="38"/>
                </a:lnTo>
                <a:lnTo>
                  <a:pt x="108" y="49"/>
                </a:lnTo>
                <a:lnTo>
                  <a:pt x="108" y="49"/>
                </a:lnTo>
                <a:lnTo>
                  <a:pt x="106" y="62"/>
                </a:lnTo>
                <a:lnTo>
                  <a:pt x="102" y="73"/>
                </a:lnTo>
                <a:lnTo>
                  <a:pt x="95" y="82"/>
                </a:lnTo>
                <a:lnTo>
                  <a:pt x="86" y="89"/>
                </a:lnTo>
                <a:lnTo>
                  <a:pt x="86" y="89"/>
                </a:lnTo>
                <a:lnTo>
                  <a:pt x="69" y="98"/>
                </a:lnTo>
                <a:lnTo>
                  <a:pt x="55" y="1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101" name="Freeform 52"/>
          <p:cNvSpPr>
            <a:spLocks/>
          </p:cNvSpPr>
          <p:nvPr userDrawn="1"/>
        </p:nvSpPr>
        <p:spPr bwMode="auto">
          <a:xfrm>
            <a:off x="8589963" y="-648865"/>
            <a:ext cx="1588" cy="1588"/>
          </a:xfrm>
          <a:custGeom>
            <a:avLst/>
            <a:gdLst>
              <a:gd name="T0" fmla="*/ 4 w 4"/>
              <a:gd name="T1" fmla="*/ 2 h 2"/>
              <a:gd name="T2" fmla="*/ 4 w 4"/>
              <a:gd name="T3" fmla="*/ 2 h 2"/>
              <a:gd name="T4" fmla="*/ 2 w 4"/>
              <a:gd name="T5" fmla="*/ 0 h 2"/>
              <a:gd name="T6" fmla="*/ 2 w 4"/>
              <a:gd name="T7" fmla="*/ 0 h 2"/>
              <a:gd name="T8" fmla="*/ 0 w 4"/>
              <a:gd name="T9" fmla="*/ 0 h 2"/>
              <a:gd name="T10" fmla="*/ 0 w 4"/>
              <a:gd name="T11" fmla="*/ 0 h 2"/>
              <a:gd name="T12" fmla="*/ 4 w 4"/>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2"/>
                </a:moveTo>
                <a:lnTo>
                  <a:pt x="4" y="2"/>
                </a:lnTo>
                <a:lnTo>
                  <a:pt x="2" y="0"/>
                </a:lnTo>
                <a:lnTo>
                  <a:pt x="2" y="0"/>
                </a:lnTo>
                <a:lnTo>
                  <a:pt x="0" y="0"/>
                </a:lnTo>
                <a:lnTo>
                  <a:pt x="0" y="0"/>
                </a:lnTo>
                <a:lnTo>
                  <a:pt x="4"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102" name="Freeform 53"/>
          <p:cNvSpPr>
            <a:spLocks/>
          </p:cNvSpPr>
          <p:nvPr userDrawn="1"/>
        </p:nvSpPr>
        <p:spPr bwMode="auto">
          <a:xfrm>
            <a:off x="8405814" y="-885403"/>
            <a:ext cx="15875" cy="9525"/>
          </a:xfrm>
          <a:custGeom>
            <a:avLst/>
            <a:gdLst>
              <a:gd name="T0" fmla="*/ 20 w 20"/>
              <a:gd name="T1" fmla="*/ 10 h 11"/>
              <a:gd name="T2" fmla="*/ 20 w 20"/>
              <a:gd name="T3" fmla="*/ 10 h 11"/>
              <a:gd name="T4" fmla="*/ 19 w 20"/>
              <a:gd name="T5" fmla="*/ 10 h 11"/>
              <a:gd name="T6" fmla="*/ 11 w 20"/>
              <a:gd name="T7" fmla="*/ 11 h 11"/>
              <a:gd name="T8" fmla="*/ 2 w 20"/>
              <a:gd name="T9" fmla="*/ 11 h 11"/>
              <a:gd name="T10" fmla="*/ 2 w 20"/>
              <a:gd name="T11" fmla="*/ 11 h 11"/>
              <a:gd name="T12" fmla="*/ 0 w 20"/>
              <a:gd name="T13" fmla="*/ 8 h 11"/>
              <a:gd name="T14" fmla="*/ 0 w 20"/>
              <a:gd name="T15" fmla="*/ 0 h 11"/>
              <a:gd name="T16" fmla="*/ 0 w 20"/>
              <a:gd name="T17" fmla="*/ 0 h 11"/>
              <a:gd name="T18" fmla="*/ 4 w 20"/>
              <a:gd name="T19" fmla="*/ 0 h 11"/>
              <a:gd name="T20" fmla="*/ 11 w 20"/>
              <a:gd name="T21" fmla="*/ 2 h 11"/>
              <a:gd name="T22" fmla="*/ 17 w 20"/>
              <a:gd name="T23" fmla="*/ 4 h 11"/>
              <a:gd name="T24" fmla="*/ 20 w 20"/>
              <a:gd name="T25"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1">
                <a:moveTo>
                  <a:pt x="20" y="10"/>
                </a:moveTo>
                <a:lnTo>
                  <a:pt x="20" y="10"/>
                </a:lnTo>
                <a:lnTo>
                  <a:pt x="19" y="10"/>
                </a:lnTo>
                <a:lnTo>
                  <a:pt x="11" y="11"/>
                </a:lnTo>
                <a:lnTo>
                  <a:pt x="2" y="11"/>
                </a:lnTo>
                <a:lnTo>
                  <a:pt x="2" y="11"/>
                </a:lnTo>
                <a:lnTo>
                  <a:pt x="0" y="8"/>
                </a:lnTo>
                <a:lnTo>
                  <a:pt x="0" y="0"/>
                </a:lnTo>
                <a:lnTo>
                  <a:pt x="0" y="0"/>
                </a:lnTo>
                <a:lnTo>
                  <a:pt x="4" y="0"/>
                </a:lnTo>
                <a:lnTo>
                  <a:pt x="11" y="2"/>
                </a:lnTo>
                <a:lnTo>
                  <a:pt x="17" y="4"/>
                </a:lnTo>
                <a:lnTo>
                  <a:pt x="20"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103" name="Freeform 54"/>
          <p:cNvSpPr>
            <a:spLocks/>
          </p:cNvSpPr>
          <p:nvPr userDrawn="1"/>
        </p:nvSpPr>
        <p:spPr bwMode="auto">
          <a:xfrm>
            <a:off x="8197851" y="-917153"/>
            <a:ext cx="492125" cy="579438"/>
          </a:xfrm>
          <a:custGeom>
            <a:avLst/>
            <a:gdLst>
              <a:gd name="T0" fmla="*/ 592 w 619"/>
              <a:gd name="T1" fmla="*/ 245 h 729"/>
              <a:gd name="T2" fmla="*/ 588 w 619"/>
              <a:gd name="T3" fmla="*/ 150 h 729"/>
              <a:gd name="T4" fmla="*/ 513 w 619"/>
              <a:gd name="T5" fmla="*/ 57 h 729"/>
              <a:gd name="T6" fmla="*/ 446 w 619"/>
              <a:gd name="T7" fmla="*/ 150 h 729"/>
              <a:gd name="T8" fmla="*/ 460 w 619"/>
              <a:gd name="T9" fmla="*/ 243 h 729"/>
              <a:gd name="T10" fmla="*/ 490 w 619"/>
              <a:gd name="T11" fmla="*/ 256 h 729"/>
              <a:gd name="T12" fmla="*/ 506 w 619"/>
              <a:gd name="T13" fmla="*/ 240 h 729"/>
              <a:gd name="T14" fmla="*/ 568 w 619"/>
              <a:gd name="T15" fmla="*/ 250 h 729"/>
              <a:gd name="T16" fmla="*/ 533 w 619"/>
              <a:gd name="T17" fmla="*/ 345 h 729"/>
              <a:gd name="T18" fmla="*/ 429 w 619"/>
              <a:gd name="T19" fmla="*/ 291 h 729"/>
              <a:gd name="T20" fmla="*/ 417 w 619"/>
              <a:gd name="T21" fmla="*/ 198 h 729"/>
              <a:gd name="T22" fmla="*/ 418 w 619"/>
              <a:gd name="T23" fmla="*/ 183 h 729"/>
              <a:gd name="T24" fmla="*/ 375 w 619"/>
              <a:gd name="T25" fmla="*/ 121 h 729"/>
              <a:gd name="T26" fmla="*/ 424 w 619"/>
              <a:gd name="T27" fmla="*/ 77 h 729"/>
              <a:gd name="T28" fmla="*/ 353 w 619"/>
              <a:gd name="T29" fmla="*/ 28 h 729"/>
              <a:gd name="T30" fmla="*/ 247 w 619"/>
              <a:gd name="T31" fmla="*/ 33 h 729"/>
              <a:gd name="T32" fmla="*/ 225 w 619"/>
              <a:gd name="T33" fmla="*/ 73 h 729"/>
              <a:gd name="T34" fmla="*/ 243 w 619"/>
              <a:gd name="T35" fmla="*/ 104 h 729"/>
              <a:gd name="T36" fmla="*/ 292 w 619"/>
              <a:gd name="T37" fmla="*/ 88 h 729"/>
              <a:gd name="T38" fmla="*/ 219 w 619"/>
              <a:gd name="T39" fmla="*/ 115 h 729"/>
              <a:gd name="T40" fmla="*/ 190 w 619"/>
              <a:gd name="T41" fmla="*/ 110 h 729"/>
              <a:gd name="T42" fmla="*/ 258 w 619"/>
              <a:gd name="T43" fmla="*/ 112 h 729"/>
              <a:gd name="T44" fmla="*/ 261 w 619"/>
              <a:gd name="T45" fmla="*/ 128 h 729"/>
              <a:gd name="T46" fmla="*/ 238 w 619"/>
              <a:gd name="T47" fmla="*/ 152 h 729"/>
              <a:gd name="T48" fmla="*/ 259 w 619"/>
              <a:gd name="T49" fmla="*/ 192 h 729"/>
              <a:gd name="T50" fmla="*/ 133 w 619"/>
              <a:gd name="T51" fmla="*/ 276 h 729"/>
              <a:gd name="T52" fmla="*/ 53 w 619"/>
              <a:gd name="T53" fmla="*/ 252 h 729"/>
              <a:gd name="T54" fmla="*/ 42 w 619"/>
              <a:gd name="T55" fmla="*/ 267 h 729"/>
              <a:gd name="T56" fmla="*/ 51 w 619"/>
              <a:gd name="T57" fmla="*/ 287 h 729"/>
              <a:gd name="T58" fmla="*/ 2 w 619"/>
              <a:gd name="T59" fmla="*/ 305 h 729"/>
              <a:gd name="T60" fmla="*/ 58 w 619"/>
              <a:gd name="T61" fmla="*/ 313 h 729"/>
              <a:gd name="T62" fmla="*/ 37 w 619"/>
              <a:gd name="T63" fmla="*/ 331 h 729"/>
              <a:gd name="T64" fmla="*/ 53 w 619"/>
              <a:gd name="T65" fmla="*/ 345 h 729"/>
              <a:gd name="T66" fmla="*/ 104 w 619"/>
              <a:gd name="T67" fmla="*/ 345 h 729"/>
              <a:gd name="T68" fmla="*/ 117 w 619"/>
              <a:gd name="T69" fmla="*/ 347 h 729"/>
              <a:gd name="T70" fmla="*/ 163 w 619"/>
              <a:gd name="T71" fmla="*/ 309 h 729"/>
              <a:gd name="T72" fmla="*/ 214 w 619"/>
              <a:gd name="T73" fmla="*/ 300 h 729"/>
              <a:gd name="T74" fmla="*/ 283 w 619"/>
              <a:gd name="T75" fmla="*/ 325 h 729"/>
              <a:gd name="T76" fmla="*/ 417 w 619"/>
              <a:gd name="T77" fmla="*/ 386 h 729"/>
              <a:gd name="T78" fmla="*/ 466 w 619"/>
              <a:gd name="T79" fmla="*/ 492 h 729"/>
              <a:gd name="T80" fmla="*/ 464 w 619"/>
              <a:gd name="T81" fmla="*/ 517 h 729"/>
              <a:gd name="T82" fmla="*/ 512 w 619"/>
              <a:gd name="T83" fmla="*/ 526 h 729"/>
              <a:gd name="T84" fmla="*/ 526 w 619"/>
              <a:gd name="T85" fmla="*/ 627 h 729"/>
              <a:gd name="T86" fmla="*/ 462 w 619"/>
              <a:gd name="T87" fmla="*/ 638 h 729"/>
              <a:gd name="T88" fmla="*/ 491 w 619"/>
              <a:gd name="T89" fmla="*/ 651 h 729"/>
              <a:gd name="T90" fmla="*/ 479 w 619"/>
              <a:gd name="T91" fmla="*/ 663 h 729"/>
              <a:gd name="T92" fmla="*/ 475 w 619"/>
              <a:gd name="T93" fmla="*/ 711 h 729"/>
              <a:gd name="T94" fmla="*/ 502 w 619"/>
              <a:gd name="T95" fmla="*/ 693 h 729"/>
              <a:gd name="T96" fmla="*/ 513 w 619"/>
              <a:gd name="T97" fmla="*/ 700 h 729"/>
              <a:gd name="T98" fmla="*/ 544 w 619"/>
              <a:gd name="T99" fmla="*/ 720 h 729"/>
              <a:gd name="T100" fmla="*/ 554 w 619"/>
              <a:gd name="T101" fmla="*/ 678 h 729"/>
              <a:gd name="T102" fmla="*/ 586 w 619"/>
              <a:gd name="T103" fmla="*/ 689 h 729"/>
              <a:gd name="T104" fmla="*/ 590 w 619"/>
              <a:gd name="T105" fmla="*/ 625 h 729"/>
              <a:gd name="T106" fmla="*/ 603 w 619"/>
              <a:gd name="T107" fmla="*/ 598 h 729"/>
              <a:gd name="T108" fmla="*/ 599 w 619"/>
              <a:gd name="T109" fmla="*/ 552 h 729"/>
              <a:gd name="T110" fmla="*/ 574 w 619"/>
              <a:gd name="T111" fmla="*/ 508 h 729"/>
              <a:gd name="T112" fmla="*/ 532 w 619"/>
              <a:gd name="T113" fmla="*/ 462 h 729"/>
              <a:gd name="T114" fmla="*/ 532 w 619"/>
              <a:gd name="T115" fmla="*/ 419 h 729"/>
              <a:gd name="T116" fmla="*/ 539 w 619"/>
              <a:gd name="T117" fmla="*/ 377 h 729"/>
              <a:gd name="T118" fmla="*/ 618 w 619"/>
              <a:gd name="T119" fmla="*/ 316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9" h="729">
                <a:moveTo>
                  <a:pt x="603" y="280"/>
                </a:moveTo>
                <a:lnTo>
                  <a:pt x="603" y="280"/>
                </a:lnTo>
                <a:lnTo>
                  <a:pt x="612" y="282"/>
                </a:lnTo>
                <a:lnTo>
                  <a:pt x="619" y="280"/>
                </a:lnTo>
                <a:lnTo>
                  <a:pt x="619" y="280"/>
                </a:lnTo>
                <a:lnTo>
                  <a:pt x="618" y="269"/>
                </a:lnTo>
                <a:lnTo>
                  <a:pt x="616" y="252"/>
                </a:lnTo>
                <a:lnTo>
                  <a:pt x="616" y="252"/>
                </a:lnTo>
                <a:lnTo>
                  <a:pt x="610" y="252"/>
                </a:lnTo>
                <a:lnTo>
                  <a:pt x="605" y="252"/>
                </a:lnTo>
                <a:lnTo>
                  <a:pt x="599" y="250"/>
                </a:lnTo>
                <a:lnTo>
                  <a:pt x="592" y="245"/>
                </a:lnTo>
                <a:lnTo>
                  <a:pt x="592" y="245"/>
                </a:lnTo>
                <a:lnTo>
                  <a:pt x="588" y="238"/>
                </a:lnTo>
                <a:lnTo>
                  <a:pt x="588" y="238"/>
                </a:lnTo>
                <a:lnTo>
                  <a:pt x="577" y="223"/>
                </a:lnTo>
                <a:lnTo>
                  <a:pt x="565" y="212"/>
                </a:lnTo>
                <a:lnTo>
                  <a:pt x="552" y="203"/>
                </a:lnTo>
                <a:lnTo>
                  <a:pt x="541" y="196"/>
                </a:lnTo>
                <a:lnTo>
                  <a:pt x="541" y="196"/>
                </a:lnTo>
                <a:lnTo>
                  <a:pt x="559" y="185"/>
                </a:lnTo>
                <a:lnTo>
                  <a:pt x="572" y="174"/>
                </a:lnTo>
                <a:lnTo>
                  <a:pt x="581" y="165"/>
                </a:lnTo>
                <a:lnTo>
                  <a:pt x="585" y="157"/>
                </a:lnTo>
                <a:lnTo>
                  <a:pt x="585" y="157"/>
                </a:lnTo>
                <a:lnTo>
                  <a:pt x="588" y="150"/>
                </a:lnTo>
                <a:lnTo>
                  <a:pt x="592" y="139"/>
                </a:lnTo>
                <a:lnTo>
                  <a:pt x="592" y="128"/>
                </a:lnTo>
                <a:lnTo>
                  <a:pt x="592" y="115"/>
                </a:lnTo>
                <a:lnTo>
                  <a:pt x="588" y="103"/>
                </a:lnTo>
                <a:lnTo>
                  <a:pt x="583" y="90"/>
                </a:lnTo>
                <a:lnTo>
                  <a:pt x="574" y="79"/>
                </a:lnTo>
                <a:lnTo>
                  <a:pt x="566" y="73"/>
                </a:lnTo>
                <a:lnTo>
                  <a:pt x="559" y="68"/>
                </a:lnTo>
                <a:lnTo>
                  <a:pt x="559" y="68"/>
                </a:lnTo>
                <a:lnTo>
                  <a:pt x="548" y="62"/>
                </a:lnTo>
                <a:lnTo>
                  <a:pt x="535" y="59"/>
                </a:lnTo>
                <a:lnTo>
                  <a:pt x="524" y="57"/>
                </a:lnTo>
                <a:lnTo>
                  <a:pt x="513" y="57"/>
                </a:lnTo>
                <a:lnTo>
                  <a:pt x="495" y="60"/>
                </a:lnTo>
                <a:lnTo>
                  <a:pt x="481" y="64"/>
                </a:lnTo>
                <a:lnTo>
                  <a:pt x="481" y="64"/>
                </a:lnTo>
                <a:lnTo>
                  <a:pt x="471" y="70"/>
                </a:lnTo>
                <a:lnTo>
                  <a:pt x="462" y="77"/>
                </a:lnTo>
                <a:lnTo>
                  <a:pt x="455" y="84"/>
                </a:lnTo>
                <a:lnTo>
                  <a:pt x="449" y="93"/>
                </a:lnTo>
                <a:lnTo>
                  <a:pt x="446" y="104"/>
                </a:lnTo>
                <a:lnTo>
                  <a:pt x="442" y="115"/>
                </a:lnTo>
                <a:lnTo>
                  <a:pt x="442" y="126"/>
                </a:lnTo>
                <a:lnTo>
                  <a:pt x="442" y="141"/>
                </a:lnTo>
                <a:lnTo>
                  <a:pt x="442" y="141"/>
                </a:lnTo>
                <a:lnTo>
                  <a:pt x="446" y="150"/>
                </a:lnTo>
                <a:lnTo>
                  <a:pt x="449" y="159"/>
                </a:lnTo>
                <a:lnTo>
                  <a:pt x="455" y="168"/>
                </a:lnTo>
                <a:lnTo>
                  <a:pt x="460" y="174"/>
                </a:lnTo>
                <a:lnTo>
                  <a:pt x="477" y="185"/>
                </a:lnTo>
                <a:lnTo>
                  <a:pt x="495" y="196"/>
                </a:lnTo>
                <a:lnTo>
                  <a:pt x="495" y="196"/>
                </a:lnTo>
                <a:lnTo>
                  <a:pt x="481" y="203"/>
                </a:lnTo>
                <a:lnTo>
                  <a:pt x="470" y="214"/>
                </a:lnTo>
                <a:lnTo>
                  <a:pt x="466" y="219"/>
                </a:lnTo>
                <a:lnTo>
                  <a:pt x="464" y="227"/>
                </a:lnTo>
                <a:lnTo>
                  <a:pt x="462" y="234"/>
                </a:lnTo>
                <a:lnTo>
                  <a:pt x="460" y="243"/>
                </a:lnTo>
                <a:lnTo>
                  <a:pt x="460" y="243"/>
                </a:lnTo>
                <a:lnTo>
                  <a:pt x="462" y="254"/>
                </a:lnTo>
                <a:lnTo>
                  <a:pt x="466" y="267"/>
                </a:lnTo>
                <a:lnTo>
                  <a:pt x="468" y="282"/>
                </a:lnTo>
                <a:lnTo>
                  <a:pt x="468" y="291"/>
                </a:lnTo>
                <a:lnTo>
                  <a:pt x="466" y="300"/>
                </a:lnTo>
                <a:lnTo>
                  <a:pt x="466" y="300"/>
                </a:lnTo>
                <a:lnTo>
                  <a:pt x="468" y="300"/>
                </a:lnTo>
                <a:lnTo>
                  <a:pt x="475" y="298"/>
                </a:lnTo>
                <a:lnTo>
                  <a:pt x="484" y="291"/>
                </a:lnTo>
                <a:lnTo>
                  <a:pt x="484" y="291"/>
                </a:lnTo>
                <a:lnTo>
                  <a:pt x="488" y="280"/>
                </a:lnTo>
                <a:lnTo>
                  <a:pt x="490" y="269"/>
                </a:lnTo>
                <a:lnTo>
                  <a:pt x="490" y="256"/>
                </a:lnTo>
                <a:lnTo>
                  <a:pt x="490" y="256"/>
                </a:lnTo>
                <a:lnTo>
                  <a:pt x="493" y="261"/>
                </a:lnTo>
                <a:lnTo>
                  <a:pt x="495" y="271"/>
                </a:lnTo>
                <a:lnTo>
                  <a:pt x="495" y="278"/>
                </a:lnTo>
                <a:lnTo>
                  <a:pt x="493" y="285"/>
                </a:lnTo>
                <a:lnTo>
                  <a:pt x="493" y="285"/>
                </a:lnTo>
                <a:lnTo>
                  <a:pt x="501" y="282"/>
                </a:lnTo>
                <a:lnTo>
                  <a:pt x="504" y="278"/>
                </a:lnTo>
                <a:lnTo>
                  <a:pt x="508" y="274"/>
                </a:lnTo>
                <a:lnTo>
                  <a:pt x="508" y="274"/>
                </a:lnTo>
                <a:lnTo>
                  <a:pt x="510" y="261"/>
                </a:lnTo>
                <a:lnTo>
                  <a:pt x="510" y="249"/>
                </a:lnTo>
                <a:lnTo>
                  <a:pt x="506" y="240"/>
                </a:lnTo>
                <a:lnTo>
                  <a:pt x="504" y="232"/>
                </a:lnTo>
                <a:lnTo>
                  <a:pt x="504" y="232"/>
                </a:lnTo>
                <a:lnTo>
                  <a:pt x="502" y="225"/>
                </a:lnTo>
                <a:lnTo>
                  <a:pt x="504" y="218"/>
                </a:lnTo>
                <a:lnTo>
                  <a:pt x="510" y="210"/>
                </a:lnTo>
                <a:lnTo>
                  <a:pt x="515" y="207"/>
                </a:lnTo>
                <a:lnTo>
                  <a:pt x="515" y="207"/>
                </a:lnTo>
                <a:lnTo>
                  <a:pt x="533" y="216"/>
                </a:lnTo>
                <a:lnTo>
                  <a:pt x="533" y="216"/>
                </a:lnTo>
                <a:lnTo>
                  <a:pt x="541" y="221"/>
                </a:lnTo>
                <a:lnTo>
                  <a:pt x="552" y="230"/>
                </a:lnTo>
                <a:lnTo>
                  <a:pt x="563" y="243"/>
                </a:lnTo>
                <a:lnTo>
                  <a:pt x="568" y="250"/>
                </a:lnTo>
                <a:lnTo>
                  <a:pt x="572" y="260"/>
                </a:lnTo>
                <a:lnTo>
                  <a:pt x="572" y="260"/>
                </a:lnTo>
                <a:lnTo>
                  <a:pt x="577" y="271"/>
                </a:lnTo>
                <a:lnTo>
                  <a:pt x="579" y="282"/>
                </a:lnTo>
                <a:lnTo>
                  <a:pt x="579" y="291"/>
                </a:lnTo>
                <a:lnTo>
                  <a:pt x="579" y="300"/>
                </a:lnTo>
                <a:lnTo>
                  <a:pt x="576" y="313"/>
                </a:lnTo>
                <a:lnTo>
                  <a:pt x="572" y="320"/>
                </a:lnTo>
                <a:lnTo>
                  <a:pt x="572" y="320"/>
                </a:lnTo>
                <a:lnTo>
                  <a:pt x="565" y="329"/>
                </a:lnTo>
                <a:lnTo>
                  <a:pt x="557" y="338"/>
                </a:lnTo>
                <a:lnTo>
                  <a:pt x="546" y="344"/>
                </a:lnTo>
                <a:lnTo>
                  <a:pt x="533" y="345"/>
                </a:lnTo>
                <a:lnTo>
                  <a:pt x="533" y="345"/>
                </a:lnTo>
                <a:lnTo>
                  <a:pt x="532" y="345"/>
                </a:lnTo>
                <a:lnTo>
                  <a:pt x="532" y="345"/>
                </a:lnTo>
                <a:lnTo>
                  <a:pt x="517" y="345"/>
                </a:lnTo>
                <a:lnTo>
                  <a:pt x="517" y="345"/>
                </a:lnTo>
                <a:lnTo>
                  <a:pt x="504" y="342"/>
                </a:lnTo>
                <a:lnTo>
                  <a:pt x="504" y="342"/>
                </a:lnTo>
                <a:lnTo>
                  <a:pt x="493" y="338"/>
                </a:lnTo>
                <a:lnTo>
                  <a:pt x="493" y="338"/>
                </a:lnTo>
                <a:lnTo>
                  <a:pt x="482" y="333"/>
                </a:lnTo>
                <a:lnTo>
                  <a:pt x="466" y="322"/>
                </a:lnTo>
                <a:lnTo>
                  <a:pt x="448" y="309"/>
                </a:lnTo>
                <a:lnTo>
                  <a:pt x="429" y="291"/>
                </a:lnTo>
                <a:lnTo>
                  <a:pt x="429" y="291"/>
                </a:lnTo>
                <a:lnTo>
                  <a:pt x="406" y="261"/>
                </a:lnTo>
                <a:lnTo>
                  <a:pt x="389" y="241"/>
                </a:lnTo>
                <a:lnTo>
                  <a:pt x="389" y="241"/>
                </a:lnTo>
                <a:lnTo>
                  <a:pt x="398" y="245"/>
                </a:lnTo>
                <a:lnTo>
                  <a:pt x="406" y="245"/>
                </a:lnTo>
                <a:lnTo>
                  <a:pt x="415" y="245"/>
                </a:lnTo>
                <a:lnTo>
                  <a:pt x="415" y="245"/>
                </a:lnTo>
                <a:lnTo>
                  <a:pt x="417" y="229"/>
                </a:lnTo>
                <a:lnTo>
                  <a:pt x="417" y="212"/>
                </a:lnTo>
                <a:lnTo>
                  <a:pt x="417" y="212"/>
                </a:lnTo>
                <a:lnTo>
                  <a:pt x="417" y="198"/>
                </a:lnTo>
                <a:lnTo>
                  <a:pt x="417" y="198"/>
                </a:lnTo>
                <a:lnTo>
                  <a:pt x="411" y="198"/>
                </a:lnTo>
                <a:lnTo>
                  <a:pt x="398" y="194"/>
                </a:lnTo>
                <a:lnTo>
                  <a:pt x="393" y="192"/>
                </a:lnTo>
                <a:lnTo>
                  <a:pt x="386" y="188"/>
                </a:lnTo>
                <a:lnTo>
                  <a:pt x="380" y="185"/>
                </a:lnTo>
                <a:lnTo>
                  <a:pt x="376" y="179"/>
                </a:lnTo>
                <a:lnTo>
                  <a:pt x="376" y="179"/>
                </a:lnTo>
                <a:lnTo>
                  <a:pt x="382" y="181"/>
                </a:lnTo>
                <a:lnTo>
                  <a:pt x="387" y="183"/>
                </a:lnTo>
                <a:lnTo>
                  <a:pt x="395" y="185"/>
                </a:lnTo>
                <a:lnTo>
                  <a:pt x="395" y="185"/>
                </a:lnTo>
                <a:lnTo>
                  <a:pt x="411" y="183"/>
                </a:lnTo>
                <a:lnTo>
                  <a:pt x="418" y="183"/>
                </a:lnTo>
                <a:lnTo>
                  <a:pt x="418" y="183"/>
                </a:lnTo>
                <a:lnTo>
                  <a:pt x="420" y="166"/>
                </a:lnTo>
                <a:lnTo>
                  <a:pt x="420" y="152"/>
                </a:lnTo>
                <a:lnTo>
                  <a:pt x="420" y="152"/>
                </a:lnTo>
                <a:lnTo>
                  <a:pt x="420" y="137"/>
                </a:lnTo>
                <a:lnTo>
                  <a:pt x="420" y="137"/>
                </a:lnTo>
                <a:lnTo>
                  <a:pt x="409" y="137"/>
                </a:lnTo>
                <a:lnTo>
                  <a:pt x="396" y="135"/>
                </a:lnTo>
                <a:lnTo>
                  <a:pt x="396" y="135"/>
                </a:lnTo>
                <a:lnTo>
                  <a:pt x="384" y="130"/>
                </a:lnTo>
                <a:lnTo>
                  <a:pt x="378" y="126"/>
                </a:lnTo>
                <a:lnTo>
                  <a:pt x="375" y="121"/>
                </a:lnTo>
                <a:lnTo>
                  <a:pt x="375" y="121"/>
                </a:lnTo>
                <a:lnTo>
                  <a:pt x="380" y="123"/>
                </a:lnTo>
                <a:lnTo>
                  <a:pt x="395" y="126"/>
                </a:lnTo>
                <a:lnTo>
                  <a:pt x="395" y="126"/>
                </a:lnTo>
                <a:lnTo>
                  <a:pt x="404" y="126"/>
                </a:lnTo>
                <a:lnTo>
                  <a:pt x="413" y="124"/>
                </a:lnTo>
                <a:lnTo>
                  <a:pt x="420" y="124"/>
                </a:lnTo>
                <a:lnTo>
                  <a:pt x="422" y="123"/>
                </a:lnTo>
                <a:lnTo>
                  <a:pt x="422" y="123"/>
                </a:lnTo>
                <a:lnTo>
                  <a:pt x="422" y="93"/>
                </a:lnTo>
                <a:lnTo>
                  <a:pt x="422" y="93"/>
                </a:lnTo>
                <a:lnTo>
                  <a:pt x="424" y="86"/>
                </a:lnTo>
                <a:lnTo>
                  <a:pt x="424" y="77"/>
                </a:lnTo>
                <a:lnTo>
                  <a:pt x="424" y="77"/>
                </a:lnTo>
                <a:lnTo>
                  <a:pt x="418" y="77"/>
                </a:lnTo>
                <a:lnTo>
                  <a:pt x="407" y="75"/>
                </a:lnTo>
                <a:lnTo>
                  <a:pt x="395" y="70"/>
                </a:lnTo>
                <a:lnTo>
                  <a:pt x="389" y="66"/>
                </a:lnTo>
                <a:lnTo>
                  <a:pt x="382" y="60"/>
                </a:lnTo>
                <a:lnTo>
                  <a:pt x="382" y="60"/>
                </a:lnTo>
                <a:lnTo>
                  <a:pt x="380" y="57"/>
                </a:lnTo>
                <a:lnTo>
                  <a:pt x="380" y="53"/>
                </a:lnTo>
                <a:lnTo>
                  <a:pt x="382" y="46"/>
                </a:lnTo>
                <a:lnTo>
                  <a:pt x="382" y="46"/>
                </a:lnTo>
                <a:lnTo>
                  <a:pt x="349" y="31"/>
                </a:lnTo>
                <a:lnTo>
                  <a:pt x="349" y="31"/>
                </a:lnTo>
                <a:lnTo>
                  <a:pt x="353" y="28"/>
                </a:lnTo>
                <a:lnTo>
                  <a:pt x="356" y="22"/>
                </a:lnTo>
                <a:lnTo>
                  <a:pt x="356" y="18"/>
                </a:lnTo>
                <a:lnTo>
                  <a:pt x="356" y="18"/>
                </a:lnTo>
                <a:lnTo>
                  <a:pt x="354" y="13"/>
                </a:lnTo>
                <a:lnTo>
                  <a:pt x="349" y="9"/>
                </a:lnTo>
                <a:lnTo>
                  <a:pt x="343" y="8"/>
                </a:lnTo>
                <a:lnTo>
                  <a:pt x="336" y="8"/>
                </a:lnTo>
                <a:lnTo>
                  <a:pt x="336" y="8"/>
                </a:lnTo>
                <a:lnTo>
                  <a:pt x="329" y="9"/>
                </a:lnTo>
                <a:lnTo>
                  <a:pt x="325" y="13"/>
                </a:lnTo>
                <a:lnTo>
                  <a:pt x="320" y="18"/>
                </a:lnTo>
                <a:lnTo>
                  <a:pt x="280" y="0"/>
                </a:lnTo>
                <a:lnTo>
                  <a:pt x="247" y="33"/>
                </a:lnTo>
                <a:lnTo>
                  <a:pt x="247" y="33"/>
                </a:lnTo>
                <a:lnTo>
                  <a:pt x="245" y="35"/>
                </a:lnTo>
                <a:lnTo>
                  <a:pt x="245" y="39"/>
                </a:lnTo>
                <a:lnTo>
                  <a:pt x="245" y="42"/>
                </a:lnTo>
                <a:lnTo>
                  <a:pt x="245" y="42"/>
                </a:lnTo>
                <a:lnTo>
                  <a:pt x="245" y="44"/>
                </a:lnTo>
                <a:lnTo>
                  <a:pt x="243" y="46"/>
                </a:lnTo>
                <a:lnTo>
                  <a:pt x="243" y="46"/>
                </a:lnTo>
                <a:lnTo>
                  <a:pt x="234" y="57"/>
                </a:lnTo>
                <a:lnTo>
                  <a:pt x="234" y="57"/>
                </a:lnTo>
                <a:lnTo>
                  <a:pt x="228" y="66"/>
                </a:lnTo>
                <a:lnTo>
                  <a:pt x="228" y="66"/>
                </a:lnTo>
                <a:lnTo>
                  <a:pt x="225" y="73"/>
                </a:lnTo>
                <a:lnTo>
                  <a:pt x="223" y="79"/>
                </a:lnTo>
                <a:lnTo>
                  <a:pt x="223" y="79"/>
                </a:lnTo>
                <a:lnTo>
                  <a:pt x="221" y="81"/>
                </a:lnTo>
                <a:lnTo>
                  <a:pt x="221" y="84"/>
                </a:lnTo>
                <a:lnTo>
                  <a:pt x="225" y="92"/>
                </a:lnTo>
                <a:lnTo>
                  <a:pt x="234" y="99"/>
                </a:lnTo>
                <a:lnTo>
                  <a:pt x="234" y="101"/>
                </a:lnTo>
                <a:lnTo>
                  <a:pt x="234" y="101"/>
                </a:lnTo>
                <a:lnTo>
                  <a:pt x="236" y="99"/>
                </a:lnTo>
                <a:lnTo>
                  <a:pt x="238" y="99"/>
                </a:lnTo>
                <a:lnTo>
                  <a:pt x="238" y="99"/>
                </a:lnTo>
                <a:lnTo>
                  <a:pt x="243" y="104"/>
                </a:lnTo>
                <a:lnTo>
                  <a:pt x="243" y="104"/>
                </a:lnTo>
                <a:lnTo>
                  <a:pt x="245" y="101"/>
                </a:lnTo>
                <a:lnTo>
                  <a:pt x="248" y="95"/>
                </a:lnTo>
                <a:lnTo>
                  <a:pt x="248" y="95"/>
                </a:lnTo>
                <a:lnTo>
                  <a:pt x="254" y="88"/>
                </a:lnTo>
                <a:lnTo>
                  <a:pt x="261" y="82"/>
                </a:lnTo>
                <a:lnTo>
                  <a:pt x="261" y="82"/>
                </a:lnTo>
                <a:lnTo>
                  <a:pt x="269" y="79"/>
                </a:lnTo>
                <a:lnTo>
                  <a:pt x="276" y="79"/>
                </a:lnTo>
                <a:lnTo>
                  <a:pt x="276" y="79"/>
                </a:lnTo>
                <a:lnTo>
                  <a:pt x="283" y="79"/>
                </a:lnTo>
                <a:lnTo>
                  <a:pt x="289" y="82"/>
                </a:lnTo>
                <a:lnTo>
                  <a:pt x="289" y="82"/>
                </a:lnTo>
                <a:lnTo>
                  <a:pt x="292" y="88"/>
                </a:lnTo>
                <a:lnTo>
                  <a:pt x="294" y="95"/>
                </a:lnTo>
                <a:lnTo>
                  <a:pt x="294" y="103"/>
                </a:lnTo>
                <a:lnTo>
                  <a:pt x="294" y="108"/>
                </a:lnTo>
                <a:lnTo>
                  <a:pt x="294" y="108"/>
                </a:lnTo>
                <a:lnTo>
                  <a:pt x="290" y="104"/>
                </a:lnTo>
                <a:lnTo>
                  <a:pt x="290" y="104"/>
                </a:lnTo>
                <a:lnTo>
                  <a:pt x="285" y="103"/>
                </a:lnTo>
                <a:lnTo>
                  <a:pt x="276" y="101"/>
                </a:lnTo>
                <a:lnTo>
                  <a:pt x="265" y="101"/>
                </a:lnTo>
                <a:lnTo>
                  <a:pt x="254" y="103"/>
                </a:lnTo>
                <a:lnTo>
                  <a:pt x="254" y="103"/>
                </a:lnTo>
                <a:lnTo>
                  <a:pt x="241" y="108"/>
                </a:lnTo>
                <a:lnTo>
                  <a:pt x="219" y="115"/>
                </a:lnTo>
                <a:lnTo>
                  <a:pt x="219" y="115"/>
                </a:lnTo>
                <a:lnTo>
                  <a:pt x="214" y="117"/>
                </a:lnTo>
                <a:lnTo>
                  <a:pt x="208" y="117"/>
                </a:lnTo>
                <a:lnTo>
                  <a:pt x="205" y="113"/>
                </a:lnTo>
                <a:lnTo>
                  <a:pt x="203" y="110"/>
                </a:lnTo>
                <a:lnTo>
                  <a:pt x="203" y="110"/>
                </a:lnTo>
                <a:lnTo>
                  <a:pt x="203" y="104"/>
                </a:lnTo>
                <a:lnTo>
                  <a:pt x="203" y="101"/>
                </a:lnTo>
                <a:lnTo>
                  <a:pt x="205" y="97"/>
                </a:lnTo>
                <a:lnTo>
                  <a:pt x="205" y="97"/>
                </a:lnTo>
                <a:lnTo>
                  <a:pt x="199" y="101"/>
                </a:lnTo>
                <a:lnTo>
                  <a:pt x="194" y="104"/>
                </a:lnTo>
                <a:lnTo>
                  <a:pt x="190" y="110"/>
                </a:lnTo>
                <a:lnTo>
                  <a:pt x="190" y="110"/>
                </a:lnTo>
                <a:lnTo>
                  <a:pt x="190" y="117"/>
                </a:lnTo>
                <a:lnTo>
                  <a:pt x="192" y="124"/>
                </a:lnTo>
                <a:lnTo>
                  <a:pt x="195" y="128"/>
                </a:lnTo>
                <a:lnTo>
                  <a:pt x="201" y="132"/>
                </a:lnTo>
                <a:lnTo>
                  <a:pt x="201" y="132"/>
                </a:lnTo>
                <a:lnTo>
                  <a:pt x="208" y="132"/>
                </a:lnTo>
                <a:lnTo>
                  <a:pt x="217" y="130"/>
                </a:lnTo>
                <a:lnTo>
                  <a:pt x="234" y="123"/>
                </a:lnTo>
                <a:lnTo>
                  <a:pt x="234" y="123"/>
                </a:lnTo>
                <a:lnTo>
                  <a:pt x="250" y="113"/>
                </a:lnTo>
                <a:lnTo>
                  <a:pt x="250" y="113"/>
                </a:lnTo>
                <a:lnTo>
                  <a:pt x="258" y="112"/>
                </a:lnTo>
                <a:lnTo>
                  <a:pt x="263" y="110"/>
                </a:lnTo>
                <a:lnTo>
                  <a:pt x="270" y="112"/>
                </a:lnTo>
                <a:lnTo>
                  <a:pt x="278" y="113"/>
                </a:lnTo>
                <a:lnTo>
                  <a:pt x="278" y="113"/>
                </a:lnTo>
                <a:lnTo>
                  <a:pt x="285" y="119"/>
                </a:lnTo>
                <a:lnTo>
                  <a:pt x="289" y="121"/>
                </a:lnTo>
                <a:lnTo>
                  <a:pt x="289" y="121"/>
                </a:lnTo>
                <a:lnTo>
                  <a:pt x="285" y="126"/>
                </a:lnTo>
                <a:lnTo>
                  <a:pt x="281" y="130"/>
                </a:lnTo>
                <a:lnTo>
                  <a:pt x="274" y="130"/>
                </a:lnTo>
                <a:lnTo>
                  <a:pt x="274" y="130"/>
                </a:lnTo>
                <a:lnTo>
                  <a:pt x="267" y="130"/>
                </a:lnTo>
                <a:lnTo>
                  <a:pt x="261" y="128"/>
                </a:lnTo>
                <a:lnTo>
                  <a:pt x="256" y="124"/>
                </a:lnTo>
                <a:lnTo>
                  <a:pt x="254" y="121"/>
                </a:lnTo>
                <a:lnTo>
                  <a:pt x="254" y="121"/>
                </a:lnTo>
                <a:lnTo>
                  <a:pt x="250" y="128"/>
                </a:lnTo>
                <a:lnTo>
                  <a:pt x="250" y="128"/>
                </a:lnTo>
                <a:lnTo>
                  <a:pt x="248" y="132"/>
                </a:lnTo>
                <a:lnTo>
                  <a:pt x="248" y="135"/>
                </a:lnTo>
                <a:lnTo>
                  <a:pt x="250" y="137"/>
                </a:lnTo>
                <a:lnTo>
                  <a:pt x="248" y="141"/>
                </a:lnTo>
                <a:lnTo>
                  <a:pt x="248" y="141"/>
                </a:lnTo>
                <a:lnTo>
                  <a:pt x="247" y="143"/>
                </a:lnTo>
                <a:lnTo>
                  <a:pt x="245" y="146"/>
                </a:lnTo>
                <a:lnTo>
                  <a:pt x="238" y="152"/>
                </a:lnTo>
                <a:lnTo>
                  <a:pt x="238" y="152"/>
                </a:lnTo>
                <a:lnTo>
                  <a:pt x="227" y="157"/>
                </a:lnTo>
                <a:lnTo>
                  <a:pt x="219" y="159"/>
                </a:lnTo>
                <a:lnTo>
                  <a:pt x="219" y="159"/>
                </a:lnTo>
                <a:lnTo>
                  <a:pt x="227" y="176"/>
                </a:lnTo>
                <a:lnTo>
                  <a:pt x="227" y="176"/>
                </a:lnTo>
                <a:lnTo>
                  <a:pt x="232" y="187"/>
                </a:lnTo>
                <a:lnTo>
                  <a:pt x="236" y="194"/>
                </a:lnTo>
                <a:lnTo>
                  <a:pt x="239" y="199"/>
                </a:lnTo>
                <a:lnTo>
                  <a:pt x="239" y="199"/>
                </a:lnTo>
                <a:lnTo>
                  <a:pt x="247" y="198"/>
                </a:lnTo>
                <a:lnTo>
                  <a:pt x="259" y="192"/>
                </a:lnTo>
                <a:lnTo>
                  <a:pt x="259" y="192"/>
                </a:lnTo>
                <a:lnTo>
                  <a:pt x="269" y="185"/>
                </a:lnTo>
                <a:lnTo>
                  <a:pt x="274" y="177"/>
                </a:lnTo>
                <a:lnTo>
                  <a:pt x="274" y="177"/>
                </a:lnTo>
                <a:lnTo>
                  <a:pt x="267" y="194"/>
                </a:lnTo>
                <a:lnTo>
                  <a:pt x="261" y="203"/>
                </a:lnTo>
                <a:lnTo>
                  <a:pt x="254" y="210"/>
                </a:lnTo>
                <a:lnTo>
                  <a:pt x="248" y="216"/>
                </a:lnTo>
                <a:lnTo>
                  <a:pt x="248" y="216"/>
                </a:lnTo>
                <a:lnTo>
                  <a:pt x="225" y="232"/>
                </a:lnTo>
                <a:lnTo>
                  <a:pt x="192" y="250"/>
                </a:lnTo>
                <a:lnTo>
                  <a:pt x="172" y="261"/>
                </a:lnTo>
                <a:lnTo>
                  <a:pt x="153" y="269"/>
                </a:lnTo>
                <a:lnTo>
                  <a:pt x="133" y="276"/>
                </a:lnTo>
                <a:lnTo>
                  <a:pt x="113" y="280"/>
                </a:lnTo>
                <a:lnTo>
                  <a:pt x="113" y="280"/>
                </a:lnTo>
                <a:lnTo>
                  <a:pt x="108" y="278"/>
                </a:lnTo>
                <a:lnTo>
                  <a:pt x="100" y="276"/>
                </a:lnTo>
                <a:lnTo>
                  <a:pt x="88" y="267"/>
                </a:lnTo>
                <a:lnTo>
                  <a:pt x="75" y="258"/>
                </a:lnTo>
                <a:lnTo>
                  <a:pt x="68" y="249"/>
                </a:lnTo>
                <a:lnTo>
                  <a:pt x="68" y="249"/>
                </a:lnTo>
                <a:lnTo>
                  <a:pt x="66" y="249"/>
                </a:lnTo>
                <a:lnTo>
                  <a:pt x="62" y="247"/>
                </a:lnTo>
                <a:lnTo>
                  <a:pt x="58" y="249"/>
                </a:lnTo>
                <a:lnTo>
                  <a:pt x="53" y="252"/>
                </a:lnTo>
                <a:lnTo>
                  <a:pt x="53" y="252"/>
                </a:lnTo>
                <a:lnTo>
                  <a:pt x="49" y="252"/>
                </a:lnTo>
                <a:lnTo>
                  <a:pt x="42" y="252"/>
                </a:lnTo>
                <a:lnTo>
                  <a:pt x="31" y="254"/>
                </a:lnTo>
                <a:lnTo>
                  <a:pt x="27" y="258"/>
                </a:lnTo>
                <a:lnTo>
                  <a:pt x="24" y="261"/>
                </a:lnTo>
                <a:lnTo>
                  <a:pt x="24" y="261"/>
                </a:lnTo>
                <a:lnTo>
                  <a:pt x="24" y="263"/>
                </a:lnTo>
                <a:lnTo>
                  <a:pt x="29" y="263"/>
                </a:lnTo>
                <a:lnTo>
                  <a:pt x="35" y="261"/>
                </a:lnTo>
                <a:lnTo>
                  <a:pt x="42" y="263"/>
                </a:lnTo>
                <a:lnTo>
                  <a:pt x="42" y="263"/>
                </a:lnTo>
                <a:lnTo>
                  <a:pt x="44" y="265"/>
                </a:lnTo>
                <a:lnTo>
                  <a:pt x="42" y="267"/>
                </a:lnTo>
                <a:lnTo>
                  <a:pt x="40" y="269"/>
                </a:lnTo>
                <a:lnTo>
                  <a:pt x="40" y="272"/>
                </a:lnTo>
                <a:lnTo>
                  <a:pt x="40" y="272"/>
                </a:lnTo>
                <a:lnTo>
                  <a:pt x="40" y="274"/>
                </a:lnTo>
                <a:lnTo>
                  <a:pt x="44" y="278"/>
                </a:lnTo>
                <a:lnTo>
                  <a:pt x="53" y="282"/>
                </a:lnTo>
                <a:lnTo>
                  <a:pt x="71" y="289"/>
                </a:lnTo>
                <a:lnTo>
                  <a:pt x="71" y="289"/>
                </a:lnTo>
                <a:lnTo>
                  <a:pt x="73" y="291"/>
                </a:lnTo>
                <a:lnTo>
                  <a:pt x="73" y="293"/>
                </a:lnTo>
                <a:lnTo>
                  <a:pt x="73" y="293"/>
                </a:lnTo>
                <a:lnTo>
                  <a:pt x="60" y="291"/>
                </a:lnTo>
                <a:lnTo>
                  <a:pt x="51" y="287"/>
                </a:lnTo>
                <a:lnTo>
                  <a:pt x="38" y="282"/>
                </a:lnTo>
                <a:lnTo>
                  <a:pt x="38" y="282"/>
                </a:lnTo>
                <a:lnTo>
                  <a:pt x="29" y="280"/>
                </a:lnTo>
                <a:lnTo>
                  <a:pt x="24" y="280"/>
                </a:lnTo>
                <a:lnTo>
                  <a:pt x="22" y="283"/>
                </a:lnTo>
                <a:lnTo>
                  <a:pt x="20" y="287"/>
                </a:lnTo>
                <a:lnTo>
                  <a:pt x="20" y="287"/>
                </a:lnTo>
                <a:lnTo>
                  <a:pt x="18" y="289"/>
                </a:lnTo>
                <a:lnTo>
                  <a:pt x="16" y="289"/>
                </a:lnTo>
                <a:lnTo>
                  <a:pt x="11" y="293"/>
                </a:lnTo>
                <a:lnTo>
                  <a:pt x="7" y="294"/>
                </a:lnTo>
                <a:lnTo>
                  <a:pt x="4" y="300"/>
                </a:lnTo>
                <a:lnTo>
                  <a:pt x="2" y="305"/>
                </a:lnTo>
                <a:lnTo>
                  <a:pt x="0" y="314"/>
                </a:lnTo>
                <a:lnTo>
                  <a:pt x="0" y="314"/>
                </a:lnTo>
                <a:lnTo>
                  <a:pt x="4" y="313"/>
                </a:lnTo>
                <a:lnTo>
                  <a:pt x="9" y="307"/>
                </a:lnTo>
                <a:lnTo>
                  <a:pt x="15" y="303"/>
                </a:lnTo>
                <a:lnTo>
                  <a:pt x="18" y="302"/>
                </a:lnTo>
                <a:lnTo>
                  <a:pt x="18" y="303"/>
                </a:lnTo>
                <a:lnTo>
                  <a:pt x="18" y="303"/>
                </a:lnTo>
                <a:lnTo>
                  <a:pt x="22" y="311"/>
                </a:lnTo>
                <a:lnTo>
                  <a:pt x="27" y="314"/>
                </a:lnTo>
                <a:lnTo>
                  <a:pt x="35" y="314"/>
                </a:lnTo>
                <a:lnTo>
                  <a:pt x="42" y="314"/>
                </a:lnTo>
                <a:lnTo>
                  <a:pt x="58" y="313"/>
                </a:lnTo>
                <a:lnTo>
                  <a:pt x="66" y="313"/>
                </a:lnTo>
                <a:lnTo>
                  <a:pt x="69" y="313"/>
                </a:lnTo>
                <a:lnTo>
                  <a:pt x="69" y="313"/>
                </a:lnTo>
                <a:lnTo>
                  <a:pt x="69" y="314"/>
                </a:lnTo>
                <a:lnTo>
                  <a:pt x="69" y="314"/>
                </a:lnTo>
                <a:lnTo>
                  <a:pt x="66" y="316"/>
                </a:lnTo>
                <a:lnTo>
                  <a:pt x="53" y="318"/>
                </a:lnTo>
                <a:lnTo>
                  <a:pt x="46" y="320"/>
                </a:lnTo>
                <a:lnTo>
                  <a:pt x="38" y="324"/>
                </a:lnTo>
                <a:lnTo>
                  <a:pt x="37" y="325"/>
                </a:lnTo>
                <a:lnTo>
                  <a:pt x="35" y="329"/>
                </a:lnTo>
                <a:lnTo>
                  <a:pt x="37" y="331"/>
                </a:lnTo>
                <a:lnTo>
                  <a:pt x="37" y="331"/>
                </a:lnTo>
                <a:lnTo>
                  <a:pt x="33" y="335"/>
                </a:lnTo>
                <a:lnTo>
                  <a:pt x="29" y="342"/>
                </a:lnTo>
                <a:lnTo>
                  <a:pt x="27" y="345"/>
                </a:lnTo>
                <a:lnTo>
                  <a:pt x="27" y="351"/>
                </a:lnTo>
                <a:lnTo>
                  <a:pt x="29" y="356"/>
                </a:lnTo>
                <a:lnTo>
                  <a:pt x="35" y="364"/>
                </a:lnTo>
                <a:lnTo>
                  <a:pt x="35" y="364"/>
                </a:lnTo>
                <a:lnTo>
                  <a:pt x="37" y="353"/>
                </a:lnTo>
                <a:lnTo>
                  <a:pt x="40" y="347"/>
                </a:lnTo>
                <a:lnTo>
                  <a:pt x="42" y="345"/>
                </a:lnTo>
                <a:lnTo>
                  <a:pt x="46" y="345"/>
                </a:lnTo>
                <a:lnTo>
                  <a:pt x="46" y="345"/>
                </a:lnTo>
                <a:lnTo>
                  <a:pt x="53" y="345"/>
                </a:lnTo>
                <a:lnTo>
                  <a:pt x="58" y="349"/>
                </a:lnTo>
                <a:lnTo>
                  <a:pt x="64" y="349"/>
                </a:lnTo>
                <a:lnTo>
                  <a:pt x="71" y="345"/>
                </a:lnTo>
                <a:lnTo>
                  <a:pt x="71" y="345"/>
                </a:lnTo>
                <a:lnTo>
                  <a:pt x="79" y="340"/>
                </a:lnTo>
                <a:lnTo>
                  <a:pt x="84" y="336"/>
                </a:lnTo>
                <a:lnTo>
                  <a:pt x="95" y="333"/>
                </a:lnTo>
                <a:lnTo>
                  <a:pt x="95" y="333"/>
                </a:lnTo>
                <a:lnTo>
                  <a:pt x="95" y="336"/>
                </a:lnTo>
                <a:lnTo>
                  <a:pt x="99" y="342"/>
                </a:lnTo>
                <a:lnTo>
                  <a:pt x="99" y="342"/>
                </a:lnTo>
                <a:lnTo>
                  <a:pt x="102" y="344"/>
                </a:lnTo>
                <a:lnTo>
                  <a:pt x="104" y="345"/>
                </a:lnTo>
                <a:lnTo>
                  <a:pt x="104" y="345"/>
                </a:lnTo>
                <a:lnTo>
                  <a:pt x="104" y="345"/>
                </a:lnTo>
                <a:lnTo>
                  <a:pt x="102" y="351"/>
                </a:lnTo>
                <a:lnTo>
                  <a:pt x="99" y="356"/>
                </a:lnTo>
                <a:lnTo>
                  <a:pt x="95" y="360"/>
                </a:lnTo>
                <a:lnTo>
                  <a:pt x="95" y="360"/>
                </a:lnTo>
                <a:lnTo>
                  <a:pt x="97" y="360"/>
                </a:lnTo>
                <a:lnTo>
                  <a:pt x="102" y="360"/>
                </a:lnTo>
                <a:lnTo>
                  <a:pt x="108" y="358"/>
                </a:lnTo>
                <a:lnTo>
                  <a:pt x="111" y="355"/>
                </a:lnTo>
                <a:lnTo>
                  <a:pt x="115" y="349"/>
                </a:lnTo>
                <a:lnTo>
                  <a:pt x="115" y="349"/>
                </a:lnTo>
                <a:lnTo>
                  <a:pt x="117" y="347"/>
                </a:lnTo>
                <a:lnTo>
                  <a:pt x="119" y="347"/>
                </a:lnTo>
                <a:lnTo>
                  <a:pt x="124" y="347"/>
                </a:lnTo>
                <a:lnTo>
                  <a:pt x="124" y="347"/>
                </a:lnTo>
                <a:lnTo>
                  <a:pt x="128" y="345"/>
                </a:lnTo>
                <a:lnTo>
                  <a:pt x="130" y="344"/>
                </a:lnTo>
                <a:lnTo>
                  <a:pt x="130" y="338"/>
                </a:lnTo>
                <a:lnTo>
                  <a:pt x="130" y="333"/>
                </a:lnTo>
                <a:lnTo>
                  <a:pt x="130" y="329"/>
                </a:lnTo>
                <a:lnTo>
                  <a:pt x="132" y="327"/>
                </a:lnTo>
                <a:lnTo>
                  <a:pt x="132" y="327"/>
                </a:lnTo>
                <a:lnTo>
                  <a:pt x="139" y="322"/>
                </a:lnTo>
                <a:lnTo>
                  <a:pt x="146" y="316"/>
                </a:lnTo>
                <a:lnTo>
                  <a:pt x="163" y="309"/>
                </a:lnTo>
                <a:lnTo>
                  <a:pt x="163" y="309"/>
                </a:lnTo>
                <a:lnTo>
                  <a:pt x="161" y="316"/>
                </a:lnTo>
                <a:lnTo>
                  <a:pt x="161" y="324"/>
                </a:lnTo>
                <a:lnTo>
                  <a:pt x="164" y="333"/>
                </a:lnTo>
                <a:lnTo>
                  <a:pt x="205" y="322"/>
                </a:lnTo>
                <a:lnTo>
                  <a:pt x="205" y="322"/>
                </a:lnTo>
                <a:lnTo>
                  <a:pt x="203" y="313"/>
                </a:lnTo>
                <a:lnTo>
                  <a:pt x="205" y="305"/>
                </a:lnTo>
                <a:lnTo>
                  <a:pt x="210" y="296"/>
                </a:lnTo>
                <a:lnTo>
                  <a:pt x="216" y="287"/>
                </a:lnTo>
                <a:lnTo>
                  <a:pt x="216" y="287"/>
                </a:lnTo>
                <a:lnTo>
                  <a:pt x="216" y="291"/>
                </a:lnTo>
                <a:lnTo>
                  <a:pt x="214" y="300"/>
                </a:lnTo>
                <a:lnTo>
                  <a:pt x="214" y="311"/>
                </a:lnTo>
                <a:lnTo>
                  <a:pt x="214" y="316"/>
                </a:lnTo>
                <a:lnTo>
                  <a:pt x="216" y="318"/>
                </a:lnTo>
                <a:lnTo>
                  <a:pt x="256" y="309"/>
                </a:lnTo>
                <a:lnTo>
                  <a:pt x="256" y="309"/>
                </a:lnTo>
                <a:lnTo>
                  <a:pt x="254" y="303"/>
                </a:lnTo>
                <a:lnTo>
                  <a:pt x="254" y="296"/>
                </a:lnTo>
                <a:lnTo>
                  <a:pt x="258" y="283"/>
                </a:lnTo>
                <a:lnTo>
                  <a:pt x="258" y="283"/>
                </a:lnTo>
                <a:lnTo>
                  <a:pt x="261" y="298"/>
                </a:lnTo>
                <a:lnTo>
                  <a:pt x="269" y="311"/>
                </a:lnTo>
                <a:lnTo>
                  <a:pt x="278" y="322"/>
                </a:lnTo>
                <a:lnTo>
                  <a:pt x="283" y="325"/>
                </a:lnTo>
                <a:lnTo>
                  <a:pt x="289" y="329"/>
                </a:lnTo>
                <a:lnTo>
                  <a:pt x="289" y="329"/>
                </a:lnTo>
                <a:lnTo>
                  <a:pt x="311" y="338"/>
                </a:lnTo>
                <a:lnTo>
                  <a:pt x="334" y="345"/>
                </a:lnTo>
                <a:lnTo>
                  <a:pt x="391" y="362"/>
                </a:lnTo>
                <a:lnTo>
                  <a:pt x="391" y="362"/>
                </a:lnTo>
                <a:lnTo>
                  <a:pt x="407" y="367"/>
                </a:lnTo>
                <a:lnTo>
                  <a:pt x="420" y="373"/>
                </a:lnTo>
                <a:lnTo>
                  <a:pt x="420" y="373"/>
                </a:lnTo>
                <a:lnTo>
                  <a:pt x="424" y="375"/>
                </a:lnTo>
                <a:lnTo>
                  <a:pt x="424" y="377"/>
                </a:lnTo>
                <a:lnTo>
                  <a:pt x="422" y="382"/>
                </a:lnTo>
                <a:lnTo>
                  <a:pt x="417" y="386"/>
                </a:lnTo>
                <a:lnTo>
                  <a:pt x="417" y="386"/>
                </a:lnTo>
                <a:lnTo>
                  <a:pt x="424" y="391"/>
                </a:lnTo>
                <a:lnTo>
                  <a:pt x="438" y="400"/>
                </a:lnTo>
                <a:lnTo>
                  <a:pt x="438" y="400"/>
                </a:lnTo>
                <a:lnTo>
                  <a:pt x="448" y="409"/>
                </a:lnTo>
                <a:lnTo>
                  <a:pt x="453" y="420"/>
                </a:lnTo>
                <a:lnTo>
                  <a:pt x="459" y="435"/>
                </a:lnTo>
                <a:lnTo>
                  <a:pt x="462" y="450"/>
                </a:lnTo>
                <a:lnTo>
                  <a:pt x="462" y="450"/>
                </a:lnTo>
                <a:lnTo>
                  <a:pt x="466" y="462"/>
                </a:lnTo>
                <a:lnTo>
                  <a:pt x="466" y="475"/>
                </a:lnTo>
                <a:lnTo>
                  <a:pt x="466" y="486"/>
                </a:lnTo>
                <a:lnTo>
                  <a:pt x="466" y="492"/>
                </a:lnTo>
                <a:lnTo>
                  <a:pt x="464" y="493"/>
                </a:lnTo>
                <a:lnTo>
                  <a:pt x="464" y="493"/>
                </a:lnTo>
                <a:lnTo>
                  <a:pt x="460" y="497"/>
                </a:lnTo>
                <a:lnTo>
                  <a:pt x="457" y="499"/>
                </a:lnTo>
                <a:lnTo>
                  <a:pt x="451" y="501"/>
                </a:lnTo>
                <a:lnTo>
                  <a:pt x="440" y="504"/>
                </a:lnTo>
                <a:lnTo>
                  <a:pt x="444" y="519"/>
                </a:lnTo>
                <a:lnTo>
                  <a:pt x="444" y="519"/>
                </a:lnTo>
                <a:lnTo>
                  <a:pt x="451" y="519"/>
                </a:lnTo>
                <a:lnTo>
                  <a:pt x="459" y="517"/>
                </a:lnTo>
                <a:lnTo>
                  <a:pt x="466" y="515"/>
                </a:lnTo>
                <a:lnTo>
                  <a:pt x="466" y="515"/>
                </a:lnTo>
                <a:lnTo>
                  <a:pt x="464" y="517"/>
                </a:lnTo>
                <a:lnTo>
                  <a:pt x="464" y="517"/>
                </a:lnTo>
                <a:lnTo>
                  <a:pt x="459" y="526"/>
                </a:lnTo>
                <a:lnTo>
                  <a:pt x="457" y="534"/>
                </a:lnTo>
                <a:lnTo>
                  <a:pt x="473" y="545"/>
                </a:lnTo>
                <a:lnTo>
                  <a:pt x="473" y="545"/>
                </a:lnTo>
                <a:lnTo>
                  <a:pt x="481" y="526"/>
                </a:lnTo>
                <a:lnTo>
                  <a:pt x="484" y="521"/>
                </a:lnTo>
                <a:lnTo>
                  <a:pt x="488" y="517"/>
                </a:lnTo>
                <a:lnTo>
                  <a:pt x="488" y="517"/>
                </a:lnTo>
                <a:lnTo>
                  <a:pt x="491" y="517"/>
                </a:lnTo>
                <a:lnTo>
                  <a:pt x="497" y="519"/>
                </a:lnTo>
                <a:lnTo>
                  <a:pt x="504" y="523"/>
                </a:lnTo>
                <a:lnTo>
                  <a:pt x="512" y="526"/>
                </a:lnTo>
                <a:lnTo>
                  <a:pt x="521" y="534"/>
                </a:lnTo>
                <a:lnTo>
                  <a:pt x="528" y="543"/>
                </a:lnTo>
                <a:lnTo>
                  <a:pt x="535" y="552"/>
                </a:lnTo>
                <a:lnTo>
                  <a:pt x="541" y="563"/>
                </a:lnTo>
                <a:lnTo>
                  <a:pt x="541" y="563"/>
                </a:lnTo>
                <a:lnTo>
                  <a:pt x="543" y="572"/>
                </a:lnTo>
                <a:lnTo>
                  <a:pt x="544" y="581"/>
                </a:lnTo>
                <a:lnTo>
                  <a:pt x="544" y="590"/>
                </a:lnTo>
                <a:lnTo>
                  <a:pt x="543" y="601"/>
                </a:lnTo>
                <a:lnTo>
                  <a:pt x="541" y="610"/>
                </a:lnTo>
                <a:lnTo>
                  <a:pt x="537" y="618"/>
                </a:lnTo>
                <a:lnTo>
                  <a:pt x="532" y="623"/>
                </a:lnTo>
                <a:lnTo>
                  <a:pt x="526" y="627"/>
                </a:lnTo>
                <a:lnTo>
                  <a:pt x="526" y="627"/>
                </a:lnTo>
                <a:lnTo>
                  <a:pt x="521" y="627"/>
                </a:lnTo>
                <a:lnTo>
                  <a:pt x="517" y="625"/>
                </a:lnTo>
                <a:lnTo>
                  <a:pt x="504" y="620"/>
                </a:lnTo>
                <a:lnTo>
                  <a:pt x="493" y="614"/>
                </a:lnTo>
                <a:lnTo>
                  <a:pt x="490" y="614"/>
                </a:lnTo>
                <a:lnTo>
                  <a:pt x="486" y="618"/>
                </a:lnTo>
                <a:lnTo>
                  <a:pt x="486" y="618"/>
                </a:lnTo>
                <a:lnTo>
                  <a:pt x="484" y="620"/>
                </a:lnTo>
                <a:lnTo>
                  <a:pt x="479" y="623"/>
                </a:lnTo>
                <a:lnTo>
                  <a:pt x="470" y="629"/>
                </a:lnTo>
                <a:lnTo>
                  <a:pt x="466" y="632"/>
                </a:lnTo>
                <a:lnTo>
                  <a:pt x="462" y="638"/>
                </a:lnTo>
                <a:lnTo>
                  <a:pt x="462" y="645"/>
                </a:lnTo>
                <a:lnTo>
                  <a:pt x="464" y="654"/>
                </a:lnTo>
                <a:lnTo>
                  <a:pt x="464" y="654"/>
                </a:lnTo>
                <a:lnTo>
                  <a:pt x="473" y="645"/>
                </a:lnTo>
                <a:lnTo>
                  <a:pt x="477" y="641"/>
                </a:lnTo>
                <a:lnTo>
                  <a:pt x="481" y="641"/>
                </a:lnTo>
                <a:lnTo>
                  <a:pt x="481" y="641"/>
                </a:lnTo>
                <a:lnTo>
                  <a:pt x="482" y="643"/>
                </a:lnTo>
                <a:lnTo>
                  <a:pt x="482" y="645"/>
                </a:lnTo>
                <a:lnTo>
                  <a:pt x="486" y="649"/>
                </a:lnTo>
                <a:lnTo>
                  <a:pt x="486" y="649"/>
                </a:lnTo>
                <a:lnTo>
                  <a:pt x="488" y="651"/>
                </a:lnTo>
                <a:lnTo>
                  <a:pt x="491" y="651"/>
                </a:lnTo>
                <a:lnTo>
                  <a:pt x="502" y="651"/>
                </a:lnTo>
                <a:lnTo>
                  <a:pt x="512" y="649"/>
                </a:lnTo>
                <a:lnTo>
                  <a:pt x="515" y="649"/>
                </a:lnTo>
                <a:lnTo>
                  <a:pt x="517" y="651"/>
                </a:lnTo>
                <a:lnTo>
                  <a:pt x="517" y="651"/>
                </a:lnTo>
                <a:lnTo>
                  <a:pt x="517" y="652"/>
                </a:lnTo>
                <a:lnTo>
                  <a:pt x="515" y="652"/>
                </a:lnTo>
                <a:lnTo>
                  <a:pt x="510" y="652"/>
                </a:lnTo>
                <a:lnTo>
                  <a:pt x="510" y="652"/>
                </a:lnTo>
                <a:lnTo>
                  <a:pt x="491" y="656"/>
                </a:lnTo>
                <a:lnTo>
                  <a:pt x="484" y="660"/>
                </a:lnTo>
                <a:lnTo>
                  <a:pt x="479" y="663"/>
                </a:lnTo>
                <a:lnTo>
                  <a:pt x="479" y="663"/>
                </a:lnTo>
                <a:lnTo>
                  <a:pt x="479" y="665"/>
                </a:lnTo>
                <a:lnTo>
                  <a:pt x="479" y="669"/>
                </a:lnTo>
                <a:lnTo>
                  <a:pt x="479" y="669"/>
                </a:lnTo>
                <a:lnTo>
                  <a:pt x="475" y="674"/>
                </a:lnTo>
                <a:lnTo>
                  <a:pt x="470" y="678"/>
                </a:lnTo>
                <a:lnTo>
                  <a:pt x="466" y="683"/>
                </a:lnTo>
                <a:lnTo>
                  <a:pt x="464" y="689"/>
                </a:lnTo>
                <a:lnTo>
                  <a:pt x="464" y="694"/>
                </a:lnTo>
                <a:lnTo>
                  <a:pt x="464" y="694"/>
                </a:lnTo>
                <a:lnTo>
                  <a:pt x="466" y="702"/>
                </a:lnTo>
                <a:lnTo>
                  <a:pt x="470" y="705"/>
                </a:lnTo>
                <a:lnTo>
                  <a:pt x="475" y="711"/>
                </a:lnTo>
                <a:lnTo>
                  <a:pt x="475" y="711"/>
                </a:lnTo>
                <a:lnTo>
                  <a:pt x="475" y="707"/>
                </a:lnTo>
                <a:lnTo>
                  <a:pt x="477" y="702"/>
                </a:lnTo>
                <a:lnTo>
                  <a:pt x="479" y="694"/>
                </a:lnTo>
                <a:lnTo>
                  <a:pt x="479" y="691"/>
                </a:lnTo>
                <a:lnTo>
                  <a:pt x="482" y="691"/>
                </a:lnTo>
                <a:lnTo>
                  <a:pt x="482" y="691"/>
                </a:lnTo>
                <a:lnTo>
                  <a:pt x="484" y="691"/>
                </a:lnTo>
                <a:lnTo>
                  <a:pt x="488" y="693"/>
                </a:lnTo>
                <a:lnTo>
                  <a:pt x="490" y="696"/>
                </a:lnTo>
                <a:lnTo>
                  <a:pt x="493" y="696"/>
                </a:lnTo>
                <a:lnTo>
                  <a:pt x="493" y="696"/>
                </a:lnTo>
                <a:lnTo>
                  <a:pt x="497" y="696"/>
                </a:lnTo>
                <a:lnTo>
                  <a:pt x="502" y="693"/>
                </a:lnTo>
                <a:lnTo>
                  <a:pt x="513" y="682"/>
                </a:lnTo>
                <a:lnTo>
                  <a:pt x="524" y="672"/>
                </a:lnTo>
                <a:lnTo>
                  <a:pt x="528" y="669"/>
                </a:lnTo>
                <a:lnTo>
                  <a:pt x="532" y="669"/>
                </a:lnTo>
                <a:lnTo>
                  <a:pt x="532" y="669"/>
                </a:lnTo>
                <a:lnTo>
                  <a:pt x="533" y="671"/>
                </a:lnTo>
                <a:lnTo>
                  <a:pt x="532" y="672"/>
                </a:lnTo>
                <a:lnTo>
                  <a:pt x="524" y="678"/>
                </a:lnTo>
                <a:lnTo>
                  <a:pt x="517" y="685"/>
                </a:lnTo>
                <a:lnTo>
                  <a:pt x="513" y="689"/>
                </a:lnTo>
                <a:lnTo>
                  <a:pt x="512" y="694"/>
                </a:lnTo>
                <a:lnTo>
                  <a:pt x="512" y="694"/>
                </a:lnTo>
                <a:lnTo>
                  <a:pt x="513" y="700"/>
                </a:lnTo>
                <a:lnTo>
                  <a:pt x="515" y="704"/>
                </a:lnTo>
                <a:lnTo>
                  <a:pt x="519" y="707"/>
                </a:lnTo>
                <a:lnTo>
                  <a:pt x="521" y="711"/>
                </a:lnTo>
                <a:lnTo>
                  <a:pt x="521" y="711"/>
                </a:lnTo>
                <a:lnTo>
                  <a:pt x="523" y="715"/>
                </a:lnTo>
                <a:lnTo>
                  <a:pt x="526" y="720"/>
                </a:lnTo>
                <a:lnTo>
                  <a:pt x="530" y="724"/>
                </a:lnTo>
                <a:lnTo>
                  <a:pt x="535" y="725"/>
                </a:lnTo>
                <a:lnTo>
                  <a:pt x="546" y="729"/>
                </a:lnTo>
                <a:lnTo>
                  <a:pt x="552" y="729"/>
                </a:lnTo>
                <a:lnTo>
                  <a:pt x="552" y="729"/>
                </a:lnTo>
                <a:lnTo>
                  <a:pt x="550" y="725"/>
                </a:lnTo>
                <a:lnTo>
                  <a:pt x="544" y="720"/>
                </a:lnTo>
                <a:lnTo>
                  <a:pt x="539" y="713"/>
                </a:lnTo>
                <a:lnTo>
                  <a:pt x="539" y="711"/>
                </a:lnTo>
                <a:lnTo>
                  <a:pt x="539" y="707"/>
                </a:lnTo>
                <a:lnTo>
                  <a:pt x="539" y="707"/>
                </a:lnTo>
                <a:lnTo>
                  <a:pt x="541" y="705"/>
                </a:lnTo>
                <a:lnTo>
                  <a:pt x="544" y="707"/>
                </a:lnTo>
                <a:lnTo>
                  <a:pt x="548" y="707"/>
                </a:lnTo>
                <a:lnTo>
                  <a:pt x="552" y="705"/>
                </a:lnTo>
                <a:lnTo>
                  <a:pt x="552" y="705"/>
                </a:lnTo>
                <a:lnTo>
                  <a:pt x="552" y="702"/>
                </a:lnTo>
                <a:lnTo>
                  <a:pt x="552" y="691"/>
                </a:lnTo>
                <a:lnTo>
                  <a:pt x="552" y="685"/>
                </a:lnTo>
                <a:lnTo>
                  <a:pt x="554" y="678"/>
                </a:lnTo>
                <a:lnTo>
                  <a:pt x="559" y="671"/>
                </a:lnTo>
                <a:lnTo>
                  <a:pt x="566" y="662"/>
                </a:lnTo>
                <a:lnTo>
                  <a:pt x="566" y="662"/>
                </a:lnTo>
                <a:lnTo>
                  <a:pt x="570" y="667"/>
                </a:lnTo>
                <a:lnTo>
                  <a:pt x="574" y="669"/>
                </a:lnTo>
                <a:lnTo>
                  <a:pt x="581" y="671"/>
                </a:lnTo>
                <a:lnTo>
                  <a:pt x="581" y="671"/>
                </a:lnTo>
                <a:lnTo>
                  <a:pt x="583" y="672"/>
                </a:lnTo>
                <a:lnTo>
                  <a:pt x="585" y="674"/>
                </a:lnTo>
                <a:lnTo>
                  <a:pt x="585" y="682"/>
                </a:lnTo>
                <a:lnTo>
                  <a:pt x="585" y="691"/>
                </a:lnTo>
                <a:lnTo>
                  <a:pt x="585" y="691"/>
                </a:lnTo>
                <a:lnTo>
                  <a:pt x="586" y="689"/>
                </a:lnTo>
                <a:lnTo>
                  <a:pt x="590" y="683"/>
                </a:lnTo>
                <a:lnTo>
                  <a:pt x="594" y="674"/>
                </a:lnTo>
                <a:lnTo>
                  <a:pt x="594" y="663"/>
                </a:lnTo>
                <a:lnTo>
                  <a:pt x="594" y="663"/>
                </a:lnTo>
                <a:lnTo>
                  <a:pt x="597" y="662"/>
                </a:lnTo>
                <a:lnTo>
                  <a:pt x="601" y="654"/>
                </a:lnTo>
                <a:lnTo>
                  <a:pt x="601" y="654"/>
                </a:lnTo>
                <a:lnTo>
                  <a:pt x="603" y="651"/>
                </a:lnTo>
                <a:lnTo>
                  <a:pt x="601" y="649"/>
                </a:lnTo>
                <a:lnTo>
                  <a:pt x="596" y="643"/>
                </a:lnTo>
                <a:lnTo>
                  <a:pt x="594" y="640"/>
                </a:lnTo>
                <a:lnTo>
                  <a:pt x="592" y="634"/>
                </a:lnTo>
                <a:lnTo>
                  <a:pt x="590" y="625"/>
                </a:lnTo>
                <a:lnTo>
                  <a:pt x="590" y="614"/>
                </a:lnTo>
                <a:lnTo>
                  <a:pt x="590" y="614"/>
                </a:lnTo>
                <a:lnTo>
                  <a:pt x="590" y="610"/>
                </a:lnTo>
                <a:lnTo>
                  <a:pt x="588" y="609"/>
                </a:lnTo>
                <a:lnTo>
                  <a:pt x="583" y="605"/>
                </a:lnTo>
                <a:lnTo>
                  <a:pt x="583" y="605"/>
                </a:lnTo>
                <a:lnTo>
                  <a:pt x="579" y="599"/>
                </a:lnTo>
                <a:lnTo>
                  <a:pt x="579" y="598"/>
                </a:lnTo>
                <a:lnTo>
                  <a:pt x="581" y="598"/>
                </a:lnTo>
                <a:lnTo>
                  <a:pt x="581" y="598"/>
                </a:lnTo>
                <a:lnTo>
                  <a:pt x="588" y="599"/>
                </a:lnTo>
                <a:lnTo>
                  <a:pt x="596" y="599"/>
                </a:lnTo>
                <a:lnTo>
                  <a:pt x="603" y="598"/>
                </a:lnTo>
                <a:lnTo>
                  <a:pt x="603" y="598"/>
                </a:lnTo>
                <a:lnTo>
                  <a:pt x="603" y="576"/>
                </a:lnTo>
                <a:lnTo>
                  <a:pt x="605" y="565"/>
                </a:lnTo>
                <a:lnTo>
                  <a:pt x="603" y="559"/>
                </a:lnTo>
                <a:lnTo>
                  <a:pt x="603" y="559"/>
                </a:lnTo>
                <a:lnTo>
                  <a:pt x="596" y="559"/>
                </a:lnTo>
                <a:lnTo>
                  <a:pt x="588" y="557"/>
                </a:lnTo>
                <a:lnTo>
                  <a:pt x="585" y="556"/>
                </a:lnTo>
                <a:lnTo>
                  <a:pt x="581" y="552"/>
                </a:lnTo>
                <a:lnTo>
                  <a:pt x="581" y="552"/>
                </a:lnTo>
                <a:lnTo>
                  <a:pt x="586" y="552"/>
                </a:lnTo>
                <a:lnTo>
                  <a:pt x="594" y="552"/>
                </a:lnTo>
                <a:lnTo>
                  <a:pt x="599" y="552"/>
                </a:lnTo>
                <a:lnTo>
                  <a:pt x="603" y="548"/>
                </a:lnTo>
                <a:lnTo>
                  <a:pt x="603" y="548"/>
                </a:lnTo>
                <a:lnTo>
                  <a:pt x="603" y="530"/>
                </a:lnTo>
                <a:lnTo>
                  <a:pt x="601" y="517"/>
                </a:lnTo>
                <a:lnTo>
                  <a:pt x="601" y="514"/>
                </a:lnTo>
                <a:lnTo>
                  <a:pt x="599" y="512"/>
                </a:lnTo>
                <a:lnTo>
                  <a:pt x="599" y="512"/>
                </a:lnTo>
                <a:lnTo>
                  <a:pt x="592" y="514"/>
                </a:lnTo>
                <a:lnTo>
                  <a:pt x="586" y="514"/>
                </a:lnTo>
                <a:lnTo>
                  <a:pt x="581" y="512"/>
                </a:lnTo>
                <a:lnTo>
                  <a:pt x="576" y="510"/>
                </a:lnTo>
                <a:lnTo>
                  <a:pt x="576" y="510"/>
                </a:lnTo>
                <a:lnTo>
                  <a:pt x="574" y="508"/>
                </a:lnTo>
                <a:lnTo>
                  <a:pt x="572" y="504"/>
                </a:lnTo>
                <a:lnTo>
                  <a:pt x="572" y="499"/>
                </a:lnTo>
                <a:lnTo>
                  <a:pt x="570" y="495"/>
                </a:lnTo>
                <a:lnTo>
                  <a:pt x="570" y="493"/>
                </a:lnTo>
                <a:lnTo>
                  <a:pt x="568" y="492"/>
                </a:lnTo>
                <a:lnTo>
                  <a:pt x="568" y="492"/>
                </a:lnTo>
                <a:lnTo>
                  <a:pt x="557" y="488"/>
                </a:lnTo>
                <a:lnTo>
                  <a:pt x="546" y="482"/>
                </a:lnTo>
                <a:lnTo>
                  <a:pt x="541" y="477"/>
                </a:lnTo>
                <a:lnTo>
                  <a:pt x="535" y="473"/>
                </a:lnTo>
                <a:lnTo>
                  <a:pt x="535" y="473"/>
                </a:lnTo>
                <a:lnTo>
                  <a:pt x="532" y="468"/>
                </a:lnTo>
                <a:lnTo>
                  <a:pt x="532" y="462"/>
                </a:lnTo>
                <a:lnTo>
                  <a:pt x="532" y="459"/>
                </a:lnTo>
                <a:lnTo>
                  <a:pt x="532" y="459"/>
                </a:lnTo>
                <a:lnTo>
                  <a:pt x="541" y="462"/>
                </a:lnTo>
                <a:lnTo>
                  <a:pt x="544" y="462"/>
                </a:lnTo>
                <a:lnTo>
                  <a:pt x="550" y="461"/>
                </a:lnTo>
                <a:lnTo>
                  <a:pt x="552" y="431"/>
                </a:lnTo>
                <a:lnTo>
                  <a:pt x="552" y="431"/>
                </a:lnTo>
                <a:lnTo>
                  <a:pt x="548" y="431"/>
                </a:lnTo>
                <a:lnTo>
                  <a:pt x="541" y="430"/>
                </a:lnTo>
                <a:lnTo>
                  <a:pt x="541" y="430"/>
                </a:lnTo>
                <a:lnTo>
                  <a:pt x="537" y="426"/>
                </a:lnTo>
                <a:lnTo>
                  <a:pt x="533" y="422"/>
                </a:lnTo>
                <a:lnTo>
                  <a:pt x="532" y="419"/>
                </a:lnTo>
                <a:lnTo>
                  <a:pt x="532" y="419"/>
                </a:lnTo>
                <a:lnTo>
                  <a:pt x="535" y="420"/>
                </a:lnTo>
                <a:lnTo>
                  <a:pt x="543" y="422"/>
                </a:lnTo>
                <a:lnTo>
                  <a:pt x="543" y="422"/>
                </a:lnTo>
                <a:lnTo>
                  <a:pt x="550" y="422"/>
                </a:lnTo>
                <a:lnTo>
                  <a:pt x="554" y="420"/>
                </a:lnTo>
                <a:lnTo>
                  <a:pt x="557" y="387"/>
                </a:lnTo>
                <a:lnTo>
                  <a:pt x="557" y="387"/>
                </a:lnTo>
                <a:lnTo>
                  <a:pt x="552" y="387"/>
                </a:lnTo>
                <a:lnTo>
                  <a:pt x="546" y="386"/>
                </a:lnTo>
                <a:lnTo>
                  <a:pt x="541" y="384"/>
                </a:lnTo>
                <a:lnTo>
                  <a:pt x="539" y="378"/>
                </a:lnTo>
                <a:lnTo>
                  <a:pt x="539" y="377"/>
                </a:lnTo>
                <a:lnTo>
                  <a:pt x="539" y="377"/>
                </a:lnTo>
                <a:lnTo>
                  <a:pt x="552" y="373"/>
                </a:lnTo>
                <a:lnTo>
                  <a:pt x="563" y="367"/>
                </a:lnTo>
                <a:lnTo>
                  <a:pt x="572" y="360"/>
                </a:lnTo>
                <a:lnTo>
                  <a:pt x="579" y="353"/>
                </a:lnTo>
                <a:lnTo>
                  <a:pt x="586" y="344"/>
                </a:lnTo>
                <a:lnTo>
                  <a:pt x="592" y="333"/>
                </a:lnTo>
                <a:lnTo>
                  <a:pt x="597" y="324"/>
                </a:lnTo>
                <a:lnTo>
                  <a:pt x="599" y="313"/>
                </a:lnTo>
                <a:lnTo>
                  <a:pt x="599" y="313"/>
                </a:lnTo>
                <a:lnTo>
                  <a:pt x="608" y="316"/>
                </a:lnTo>
                <a:lnTo>
                  <a:pt x="614" y="316"/>
                </a:lnTo>
                <a:lnTo>
                  <a:pt x="618" y="316"/>
                </a:lnTo>
                <a:lnTo>
                  <a:pt x="618" y="316"/>
                </a:lnTo>
                <a:lnTo>
                  <a:pt x="619" y="303"/>
                </a:lnTo>
                <a:lnTo>
                  <a:pt x="619" y="289"/>
                </a:lnTo>
                <a:lnTo>
                  <a:pt x="619" y="289"/>
                </a:lnTo>
                <a:lnTo>
                  <a:pt x="610" y="287"/>
                </a:lnTo>
                <a:lnTo>
                  <a:pt x="607" y="285"/>
                </a:lnTo>
                <a:lnTo>
                  <a:pt x="603" y="28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pic>
        <p:nvPicPr>
          <p:cNvPr id="53" name="Picture 3">
            <a:extLst>
              <a:ext uri="{FF2B5EF4-FFF2-40B4-BE49-F238E27FC236}">
                <a16:creationId xmlns:a16="http://schemas.microsoft.com/office/drawing/2014/main" id="{F1689B57-8BAA-BF42-B648-10782572357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804249" y="4443959"/>
            <a:ext cx="2088034" cy="397877"/>
          </a:xfrm>
          <a:prstGeom prst="rect">
            <a:avLst/>
          </a:prstGeom>
        </p:spPr>
      </p:pic>
      <p:pic>
        <p:nvPicPr>
          <p:cNvPr id="55" name="Picture 5">
            <a:extLst>
              <a:ext uri="{FF2B5EF4-FFF2-40B4-BE49-F238E27FC236}">
                <a16:creationId xmlns:a16="http://schemas.microsoft.com/office/drawing/2014/main" id="{4F591584-9FCE-5A4F-A985-77C337C3AB8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04449" y="235341"/>
            <a:ext cx="305495" cy="419486"/>
          </a:xfrm>
          <a:prstGeom prst="rect">
            <a:avLst/>
          </a:prstGeom>
        </p:spPr>
      </p:pic>
    </p:spTree>
    <p:extLst>
      <p:ext uri="{BB962C8B-B14F-4D97-AF65-F5344CB8AC3E}">
        <p14:creationId xmlns:p14="http://schemas.microsoft.com/office/powerpoint/2010/main" val="166524931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10_Väliotsikko">
    <p:spTree>
      <p:nvGrpSpPr>
        <p:cNvPr id="1" name=""/>
        <p:cNvGrpSpPr/>
        <p:nvPr/>
      </p:nvGrpSpPr>
      <p:grpSpPr>
        <a:xfrm>
          <a:off x="0" y="0"/>
          <a:ext cx="0" cy="0"/>
          <a:chOff x="0" y="0"/>
          <a:chExt cx="0" cy="0"/>
        </a:xfrm>
      </p:grpSpPr>
      <p:pic>
        <p:nvPicPr>
          <p:cNvPr id="3" name="Kuva 2"/>
          <p:cNvPicPr>
            <a:picLocks noChangeAspect="1"/>
          </p:cNvPicPr>
          <p:nvPr userDrawn="1"/>
        </p:nvPicPr>
        <p:blipFill rotWithShape="1">
          <a:blip r:embed="rId2" cstate="print">
            <a:extLst>
              <a:ext uri="{28A0092B-C50C-407E-A947-70E740481C1C}">
                <a14:useLocalDpi xmlns:a14="http://schemas.microsoft.com/office/drawing/2010/main" val="0"/>
              </a:ext>
            </a:extLst>
          </a:blip>
          <a:srcRect r="24098"/>
          <a:stretch/>
        </p:blipFill>
        <p:spPr>
          <a:xfrm>
            <a:off x="3248046" y="-50378"/>
            <a:ext cx="6004474" cy="5217326"/>
          </a:xfrm>
          <a:prstGeom prst="rect">
            <a:avLst/>
          </a:prstGeom>
        </p:spPr>
      </p:pic>
      <p:sp>
        <p:nvSpPr>
          <p:cNvPr id="51" name="Rectangle 50"/>
          <p:cNvSpPr/>
          <p:nvPr userDrawn="1"/>
        </p:nvSpPr>
        <p:spPr>
          <a:xfrm rot="10800000" flipV="1">
            <a:off x="-10666" y="-21804"/>
            <a:ext cx="4582667" cy="5165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a:p>
        </p:txBody>
      </p:sp>
      <p:sp>
        <p:nvSpPr>
          <p:cNvPr id="58" name="Rectangle 57"/>
          <p:cNvSpPr/>
          <p:nvPr userDrawn="1"/>
        </p:nvSpPr>
        <p:spPr>
          <a:xfrm rot="10800000" flipV="1">
            <a:off x="4499992" y="-34502"/>
            <a:ext cx="4752528" cy="5178002"/>
          </a:xfrm>
          <a:prstGeom prst="rect">
            <a:avLst/>
          </a:pr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a:p>
        </p:txBody>
      </p:sp>
      <p:sp>
        <p:nvSpPr>
          <p:cNvPr id="54" name="Freeform 7"/>
          <p:cNvSpPr>
            <a:spLocks/>
          </p:cNvSpPr>
          <p:nvPr userDrawn="1"/>
        </p:nvSpPr>
        <p:spPr bwMode="auto">
          <a:xfrm rot="10800000" flipV="1">
            <a:off x="3392895" y="-21803"/>
            <a:ext cx="4279900" cy="5165302"/>
          </a:xfrm>
          <a:custGeom>
            <a:avLst/>
            <a:gdLst>
              <a:gd name="T0" fmla="*/ 2425 w 2696"/>
              <a:gd name="T1" fmla="*/ 3240 h 3240"/>
              <a:gd name="T2" fmla="*/ 2398 w 2696"/>
              <a:gd name="T3" fmla="*/ 3171 h 3240"/>
              <a:gd name="T4" fmla="*/ 2372 w 2696"/>
              <a:gd name="T5" fmla="*/ 3103 h 3240"/>
              <a:gd name="T6" fmla="*/ 2325 w 2696"/>
              <a:gd name="T7" fmla="*/ 2966 h 3240"/>
              <a:gd name="T8" fmla="*/ 2283 w 2696"/>
              <a:gd name="T9" fmla="*/ 2828 h 3240"/>
              <a:gd name="T10" fmla="*/ 2248 w 2696"/>
              <a:gd name="T11" fmla="*/ 2689 h 3240"/>
              <a:gd name="T12" fmla="*/ 2219 w 2696"/>
              <a:gd name="T13" fmla="*/ 2550 h 3240"/>
              <a:gd name="T14" fmla="*/ 2196 w 2696"/>
              <a:gd name="T15" fmla="*/ 2411 h 3240"/>
              <a:gd name="T16" fmla="*/ 2178 w 2696"/>
              <a:gd name="T17" fmla="*/ 2273 h 3240"/>
              <a:gd name="T18" fmla="*/ 2164 w 2696"/>
              <a:gd name="T19" fmla="*/ 2133 h 3240"/>
              <a:gd name="T20" fmla="*/ 2157 w 2696"/>
              <a:gd name="T21" fmla="*/ 1995 h 3240"/>
              <a:gd name="T22" fmla="*/ 2156 w 2696"/>
              <a:gd name="T23" fmla="*/ 1856 h 3240"/>
              <a:gd name="T24" fmla="*/ 2160 w 2696"/>
              <a:gd name="T25" fmla="*/ 1718 h 3240"/>
              <a:gd name="T26" fmla="*/ 2170 w 2696"/>
              <a:gd name="T27" fmla="*/ 1581 h 3240"/>
              <a:gd name="T28" fmla="*/ 2183 w 2696"/>
              <a:gd name="T29" fmla="*/ 1445 h 3240"/>
              <a:gd name="T30" fmla="*/ 2203 w 2696"/>
              <a:gd name="T31" fmla="*/ 1310 h 3240"/>
              <a:gd name="T32" fmla="*/ 2228 w 2696"/>
              <a:gd name="T33" fmla="*/ 1175 h 3240"/>
              <a:gd name="T34" fmla="*/ 2259 w 2696"/>
              <a:gd name="T35" fmla="*/ 1042 h 3240"/>
              <a:gd name="T36" fmla="*/ 2274 w 2696"/>
              <a:gd name="T37" fmla="*/ 977 h 3240"/>
              <a:gd name="T38" fmla="*/ 2313 w 2696"/>
              <a:gd name="T39" fmla="*/ 845 h 3240"/>
              <a:gd name="T40" fmla="*/ 2354 w 2696"/>
              <a:gd name="T41" fmla="*/ 716 h 3240"/>
              <a:gd name="T42" fmla="*/ 2400 w 2696"/>
              <a:gd name="T43" fmla="*/ 590 h 3240"/>
              <a:gd name="T44" fmla="*/ 2452 w 2696"/>
              <a:gd name="T45" fmla="*/ 466 h 3240"/>
              <a:gd name="T46" fmla="*/ 2507 w 2696"/>
              <a:gd name="T47" fmla="*/ 345 h 3240"/>
              <a:gd name="T48" fmla="*/ 2566 w 2696"/>
              <a:gd name="T49" fmla="*/ 227 h 3240"/>
              <a:gd name="T50" fmla="*/ 2630 w 2696"/>
              <a:gd name="T51" fmla="*/ 113 h 3240"/>
              <a:gd name="T52" fmla="*/ 2696 w 2696"/>
              <a:gd name="T53" fmla="*/ 0 h 3240"/>
              <a:gd name="T54" fmla="*/ 0 w 2696"/>
              <a:gd name="T55" fmla="*/ 0 h 3240"/>
              <a:gd name="T56" fmla="*/ 72 w 2696"/>
              <a:gd name="T57" fmla="*/ 207 h 3240"/>
              <a:gd name="T58" fmla="*/ 150 w 2696"/>
              <a:gd name="T59" fmla="*/ 414 h 3240"/>
              <a:gd name="T60" fmla="*/ 187 w 2696"/>
              <a:gd name="T61" fmla="*/ 510 h 3240"/>
              <a:gd name="T62" fmla="*/ 266 w 2696"/>
              <a:gd name="T63" fmla="*/ 701 h 3240"/>
              <a:gd name="T64" fmla="*/ 349 w 2696"/>
              <a:gd name="T65" fmla="*/ 890 h 3240"/>
              <a:gd name="T66" fmla="*/ 436 w 2696"/>
              <a:gd name="T67" fmla="*/ 1077 h 3240"/>
              <a:gd name="T68" fmla="*/ 527 w 2696"/>
              <a:gd name="T69" fmla="*/ 1262 h 3240"/>
              <a:gd name="T70" fmla="*/ 622 w 2696"/>
              <a:gd name="T71" fmla="*/ 1446 h 3240"/>
              <a:gd name="T72" fmla="*/ 722 w 2696"/>
              <a:gd name="T73" fmla="*/ 1627 h 3240"/>
              <a:gd name="T74" fmla="*/ 826 w 2696"/>
              <a:gd name="T75" fmla="*/ 1807 h 3240"/>
              <a:gd name="T76" fmla="*/ 934 w 2696"/>
              <a:gd name="T77" fmla="*/ 1983 h 3240"/>
              <a:gd name="T78" fmla="*/ 1046 w 2696"/>
              <a:gd name="T79" fmla="*/ 2159 h 3240"/>
              <a:gd name="T80" fmla="*/ 1162 w 2696"/>
              <a:gd name="T81" fmla="*/ 2332 h 3240"/>
              <a:gd name="T82" fmla="*/ 1282 w 2696"/>
              <a:gd name="T83" fmla="*/ 2503 h 3240"/>
              <a:gd name="T84" fmla="*/ 1406 w 2696"/>
              <a:gd name="T85" fmla="*/ 2671 h 3240"/>
              <a:gd name="T86" fmla="*/ 1535 w 2696"/>
              <a:gd name="T87" fmla="*/ 2837 h 3240"/>
              <a:gd name="T88" fmla="*/ 1667 w 2696"/>
              <a:gd name="T89" fmla="*/ 3000 h 3240"/>
              <a:gd name="T90" fmla="*/ 1804 w 2696"/>
              <a:gd name="T91" fmla="*/ 3160 h 3240"/>
              <a:gd name="T92" fmla="*/ 1874 w 2696"/>
              <a:gd name="T93" fmla="*/ 3240 h 3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96" h="3240">
                <a:moveTo>
                  <a:pt x="1874" y="3240"/>
                </a:moveTo>
                <a:lnTo>
                  <a:pt x="2425" y="3240"/>
                </a:lnTo>
                <a:lnTo>
                  <a:pt x="2425" y="3240"/>
                </a:lnTo>
                <a:lnTo>
                  <a:pt x="2398" y="3171"/>
                </a:lnTo>
                <a:lnTo>
                  <a:pt x="2398" y="3171"/>
                </a:lnTo>
                <a:lnTo>
                  <a:pt x="2372" y="3103"/>
                </a:lnTo>
                <a:lnTo>
                  <a:pt x="2347" y="3034"/>
                </a:lnTo>
                <a:lnTo>
                  <a:pt x="2325" y="2966"/>
                </a:lnTo>
                <a:lnTo>
                  <a:pt x="2304" y="2897"/>
                </a:lnTo>
                <a:lnTo>
                  <a:pt x="2283" y="2828"/>
                </a:lnTo>
                <a:lnTo>
                  <a:pt x="2265" y="2759"/>
                </a:lnTo>
                <a:lnTo>
                  <a:pt x="2248" y="2689"/>
                </a:lnTo>
                <a:lnTo>
                  <a:pt x="2233" y="2620"/>
                </a:lnTo>
                <a:lnTo>
                  <a:pt x="2219" y="2550"/>
                </a:lnTo>
                <a:lnTo>
                  <a:pt x="2207" y="2481"/>
                </a:lnTo>
                <a:lnTo>
                  <a:pt x="2196" y="2411"/>
                </a:lnTo>
                <a:lnTo>
                  <a:pt x="2185" y="2342"/>
                </a:lnTo>
                <a:lnTo>
                  <a:pt x="2178" y="2273"/>
                </a:lnTo>
                <a:lnTo>
                  <a:pt x="2170" y="2203"/>
                </a:lnTo>
                <a:lnTo>
                  <a:pt x="2164" y="2133"/>
                </a:lnTo>
                <a:lnTo>
                  <a:pt x="2161" y="2063"/>
                </a:lnTo>
                <a:lnTo>
                  <a:pt x="2157" y="1995"/>
                </a:lnTo>
                <a:lnTo>
                  <a:pt x="2156" y="1925"/>
                </a:lnTo>
                <a:lnTo>
                  <a:pt x="2156" y="1856"/>
                </a:lnTo>
                <a:lnTo>
                  <a:pt x="2157" y="1787"/>
                </a:lnTo>
                <a:lnTo>
                  <a:pt x="2160" y="1718"/>
                </a:lnTo>
                <a:lnTo>
                  <a:pt x="2164" y="1649"/>
                </a:lnTo>
                <a:lnTo>
                  <a:pt x="2170" y="1581"/>
                </a:lnTo>
                <a:lnTo>
                  <a:pt x="2175" y="1513"/>
                </a:lnTo>
                <a:lnTo>
                  <a:pt x="2183" y="1445"/>
                </a:lnTo>
                <a:lnTo>
                  <a:pt x="2193" y="1377"/>
                </a:lnTo>
                <a:lnTo>
                  <a:pt x="2203" y="1310"/>
                </a:lnTo>
                <a:lnTo>
                  <a:pt x="2215" y="1242"/>
                </a:lnTo>
                <a:lnTo>
                  <a:pt x="2228" y="1175"/>
                </a:lnTo>
                <a:lnTo>
                  <a:pt x="2243" y="1108"/>
                </a:lnTo>
                <a:lnTo>
                  <a:pt x="2259" y="1042"/>
                </a:lnTo>
                <a:lnTo>
                  <a:pt x="2274" y="977"/>
                </a:lnTo>
                <a:lnTo>
                  <a:pt x="2274" y="977"/>
                </a:lnTo>
                <a:lnTo>
                  <a:pt x="2293" y="910"/>
                </a:lnTo>
                <a:lnTo>
                  <a:pt x="2313" y="845"/>
                </a:lnTo>
                <a:lnTo>
                  <a:pt x="2333" y="780"/>
                </a:lnTo>
                <a:lnTo>
                  <a:pt x="2354" y="716"/>
                </a:lnTo>
                <a:lnTo>
                  <a:pt x="2377" y="653"/>
                </a:lnTo>
                <a:lnTo>
                  <a:pt x="2400" y="590"/>
                </a:lnTo>
                <a:lnTo>
                  <a:pt x="2426" y="528"/>
                </a:lnTo>
                <a:lnTo>
                  <a:pt x="2452" y="466"/>
                </a:lnTo>
                <a:lnTo>
                  <a:pt x="2479" y="405"/>
                </a:lnTo>
                <a:lnTo>
                  <a:pt x="2507" y="345"/>
                </a:lnTo>
                <a:lnTo>
                  <a:pt x="2536" y="286"/>
                </a:lnTo>
                <a:lnTo>
                  <a:pt x="2566" y="227"/>
                </a:lnTo>
                <a:lnTo>
                  <a:pt x="2597" y="169"/>
                </a:lnTo>
                <a:lnTo>
                  <a:pt x="2630" y="113"/>
                </a:lnTo>
                <a:lnTo>
                  <a:pt x="2662" y="55"/>
                </a:lnTo>
                <a:lnTo>
                  <a:pt x="2696" y="0"/>
                </a:lnTo>
                <a:lnTo>
                  <a:pt x="0" y="0"/>
                </a:lnTo>
                <a:lnTo>
                  <a:pt x="0" y="0"/>
                </a:lnTo>
                <a:lnTo>
                  <a:pt x="35" y="104"/>
                </a:lnTo>
                <a:lnTo>
                  <a:pt x="72" y="207"/>
                </a:lnTo>
                <a:lnTo>
                  <a:pt x="111" y="311"/>
                </a:lnTo>
                <a:lnTo>
                  <a:pt x="150" y="414"/>
                </a:lnTo>
                <a:lnTo>
                  <a:pt x="150" y="414"/>
                </a:lnTo>
                <a:lnTo>
                  <a:pt x="187" y="510"/>
                </a:lnTo>
                <a:lnTo>
                  <a:pt x="226" y="605"/>
                </a:lnTo>
                <a:lnTo>
                  <a:pt x="266" y="701"/>
                </a:lnTo>
                <a:lnTo>
                  <a:pt x="306" y="795"/>
                </a:lnTo>
                <a:lnTo>
                  <a:pt x="349" y="890"/>
                </a:lnTo>
                <a:lnTo>
                  <a:pt x="392" y="983"/>
                </a:lnTo>
                <a:lnTo>
                  <a:pt x="436" y="1077"/>
                </a:lnTo>
                <a:lnTo>
                  <a:pt x="481" y="1169"/>
                </a:lnTo>
                <a:lnTo>
                  <a:pt x="527" y="1262"/>
                </a:lnTo>
                <a:lnTo>
                  <a:pt x="574" y="1353"/>
                </a:lnTo>
                <a:lnTo>
                  <a:pt x="622" y="1446"/>
                </a:lnTo>
                <a:lnTo>
                  <a:pt x="672" y="1537"/>
                </a:lnTo>
                <a:lnTo>
                  <a:pt x="722" y="1627"/>
                </a:lnTo>
                <a:lnTo>
                  <a:pt x="773" y="1717"/>
                </a:lnTo>
                <a:lnTo>
                  <a:pt x="826" y="1807"/>
                </a:lnTo>
                <a:lnTo>
                  <a:pt x="879" y="1896"/>
                </a:lnTo>
                <a:lnTo>
                  <a:pt x="934" y="1983"/>
                </a:lnTo>
                <a:lnTo>
                  <a:pt x="989" y="2072"/>
                </a:lnTo>
                <a:lnTo>
                  <a:pt x="1046" y="2159"/>
                </a:lnTo>
                <a:lnTo>
                  <a:pt x="1104" y="2246"/>
                </a:lnTo>
                <a:lnTo>
                  <a:pt x="1162" y="2332"/>
                </a:lnTo>
                <a:lnTo>
                  <a:pt x="1222" y="2418"/>
                </a:lnTo>
                <a:lnTo>
                  <a:pt x="1282" y="2503"/>
                </a:lnTo>
                <a:lnTo>
                  <a:pt x="1344" y="2588"/>
                </a:lnTo>
                <a:lnTo>
                  <a:pt x="1406" y="2671"/>
                </a:lnTo>
                <a:lnTo>
                  <a:pt x="1470" y="2754"/>
                </a:lnTo>
                <a:lnTo>
                  <a:pt x="1535" y="2837"/>
                </a:lnTo>
                <a:lnTo>
                  <a:pt x="1601" y="2918"/>
                </a:lnTo>
                <a:lnTo>
                  <a:pt x="1667" y="3000"/>
                </a:lnTo>
                <a:lnTo>
                  <a:pt x="1736" y="3080"/>
                </a:lnTo>
                <a:lnTo>
                  <a:pt x="1804" y="3160"/>
                </a:lnTo>
                <a:lnTo>
                  <a:pt x="1874" y="3240"/>
                </a:lnTo>
                <a:lnTo>
                  <a:pt x="1874" y="3240"/>
                </a:lnTo>
                <a:close/>
              </a:path>
            </a:pathLst>
          </a:custGeom>
          <a:solidFill>
            <a:srgbClr val="EA006F"/>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10" name="Otsikko 1"/>
          <p:cNvSpPr>
            <a:spLocks noGrp="1"/>
          </p:cNvSpPr>
          <p:nvPr userDrawn="1">
            <p:ph type="ctrTitle"/>
          </p:nvPr>
        </p:nvSpPr>
        <p:spPr>
          <a:xfrm>
            <a:off x="366652" y="411510"/>
            <a:ext cx="3485269" cy="2967062"/>
          </a:xfrm>
        </p:spPr>
        <p:txBody>
          <a:bodyPr anchor="b" anchorCtr="0">
            <a:noAutofit/>
          </a:bodyPr>
          <a:lstStyle>
            <a:lvl1pPr algn="l">
              <a:defRPr sz="4000">
                <a:solidFill>
                  <a:schemeClr val="accent4"/>
                </a:solidFill>
              </a:defRPr>
            </a:lvl1pPr>
          </a:lstStyle>
          <a:p>
            <a:r>
              <a:rPr lang="en-US" dirty="0"/>
              <a:t>Click to edit Master title style</a:t>
            </a:r>
            <a:endParaRPr lang="fi-FI" dirty="0"/>
          </a:p>
        </p:txBody>
      </p:sp>
      <p:sp>
        <p:nvSpPr>
          <p:cNvPr id="11" name="Alaotsikko 2"/>
          <p:cNvSpPr>
            <a:spLocks noGrp="1"/>
          </p:cNvSpPr>
          <p:nvPr userDrawn="1">
            <p:ph type="subTitle" idx="1"/>
          </p:nvPr>
        </p:nvSpPr>
        <p:spPr>
          <a:xfrm>
            <a:off x="366652" y="3507854"/>
            <a:ext cx="3485270" cy="1512168"/>
          </a:xfrm>
        </p:spPr>
        <p:txBody>
          <a:bodyPr>
            <a:normAutofit/>
          </a:bodyPr>
          <a:lstStyle>
            <a:lvl1pPr marL="0" indent="0" algn="l">
              <a:spcBef>
                <a:spcPts val="0"/>
              </a:spcBef>
              <a:buNone/>
              <a:defRPr sz="1800">
                <a:solidFill>
                  <a:srgbClr val="595965"/>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endParaRPr lang="fi-FI" dirty="0"/>
          </a:p>
        </p:txBody>
      </p:sp>
      <p:sp>
        <p:nvSpPr>
          <p:cNvPr id="32" name="Freeform 30"/>
          <p:cNvSpPr>
            <a:spLocks/>
          </p:cNvSpPr>
          <p:nvPr userDrawn="1"/>
        </p:nvSpPr>
        <p:spPr bwMode="auto">
          <a:xfrm>
            <a:off x="7331075" y="1931691"/>
            <a:ext cx="371475" cy="98425"/>
          </a:xfrm>
          <a:custGeom>
            <a:avLst/>
            <a:gdLst>
              <a:gd name="T0" fmla="*/ 87 w 2807"/>
              <a:gd name="T1" fmla="*/ 343 h 743"/>
              <a:gd name="T2" fmla="*/ 203 w 2807"/>
              <a:gd name="T3" fmla="*/ 417 h 743"/>
              <a:gd name="T4" fmla="*/ 319 w 2807"/>
              <a:gd name="T5" fmla="*/ 479 h 743"/>
              <a:gd name="T6" fmla="*/ 430 w 2807"/>
              <a:gd name="T7" fmla="*/ 529 h 743"/>
              <a:gd name="T8" fmla="*/ 603 w 2807"/>
              <a:gd name="T9" fmla="*/ 595 h 743"/>
              <a:gd name="T10" fmla="*/ 724 w 2807"/>
              <a:gd name="T11" fmla="*/ 633 h 743"/>
              <a:gd name="T12" fmla="*/ 857 w 2807"/>
              <a:gd name="T13" fmla="*/ 666 h 743"/>
              <a:gd name="T14" fmla="*/ 1001 w 2807"/>
              <a:gd name="T15" fmla="*/ 696 h 743"/>
              <a:gd name="T16" fmla="*/ 1157 w 2807"/>
              <a:gd name="T17" fmla="*/ 719 h 743"/>
              <a:gd name="T18" fmla="*/ 1324 w 2807"/>
              <a:gd name="T19" fmla="*/ 736 h 743"/>
              <a:gd name="T20" fmla="*/ 1502 w 2807"/>
              <a:gd name="T21" fmla="*/ 743 h 743"/>
              <a:gd name="T22" fmla="*/ 1689 w 2807"/>
              <a:gd name="T23" fmla="*/ 738 h 743"/>
              <a:gd name="T24" fmla="*/ 1819 w 2807"/>
              <a:gd name="T25" fmla="*/ 729 h 743"/>
              <a:gd name="T26" fmla="*/ 1999 w 2807"/>
              <a:gd name="T27" fmla="*/ 706 h 743"/>
              <a:gd name="T28" fmla="*/ 2159 w 2807"/>
              <a:gd name="T29" fmla="*/ 678 h 743"/>
              <a:gd name="T30" fmla="*/ 2302 w 2807"/>
              <a:gd name="T31" fmla="*/ 643 h 743"/>
              <a:gd name="T32" fmla="*/ 2426 w 2807"/>
              <a:gd name="T33" fmla="*/ 605 h 743"/>
              <a:gd name="T34" fmla="*/ 2533 w 2807"/>
              <a:gd name="T35" fmla="*/ 566 h 743"/>
              <a:gd name="T36" fmla="*/ 2672 w 2807"/>
              <a:gd name="T37" fmla="*/ 505 h 743"/>
              <a:gd name="T38" fmla="*/ 2773 w 2807"/>
              <a:gd name="T39" fmla="*/ 449 h 743"/>
              <a:gd name="T40" fmla="*/ 2807 w 2807"/>
              <a:gd name="T41" fmla="*/ 426 h 743"/>
              <a:gd name="T42" fmla="*/ 2745 w 2807"/>
              <a:gd name="T43" fmla="*/ 402 h 743"/>
              <a:gd name="T44" fmla="*/ 2688 w 2807"/>
              <a:gd name="T45" fmla="*/ 372 h 743"/>
              <a:gd name="T46" fmla="*/ 2586 w 2807"/>
              <a:gd name="T47" fmla="*/ 303 h 743"/>
              <a:gd name="T48" fmla="*/ 2529 w 2807"/>
              <a:gd name="T49" fmla="*/ 256 h 743"/>
              <a:gd name="T50" fmla="*/ 2518 w 2807"/>
              <a:gd name="T51" fmla="*/ 294 h 743"/>
              <a:gd name="T52" fmla="*/ 2507 w 2807"/>
              <a:gd name="T53" fmla="*/ 381 h 743"/>
              <a:gd name="T54" fmla="*/ 2499 w 2807"/>
              <a:gd name="T55" fmla="*/ 413 h 743"/>
              <a:gd name="T56" fmla="*/ 2443 w 2807"/>
              <a:gd name="T57" fmla="*/ 391 h 743"/>
              <a:gd name="T58" fmla="*/ 2423 w 2807"/>
              <a:gd name="T59" fmla="*/ 381 h 743"/>
              <a:gd name="T60" fmla="*/ 2392 w 2807"/>
              <a:gd name="T61" fmla="*/ 357 h 743"/>
              <a:gd name="T62" fmla="*/ 2361 w 2807"/>
              <a:gd name="T63" fmla="*/ 324 h 743"/>
              <a:gd name="T64" fmla="*/ 2334 w 2807"/>
              <a:gd name="T65" fmla="*/ 283 h 743"/>
              <a:gd name="T66" fmla="*/ 2316 w 2807"/>
              <a:gd name="T67" fmla="*/ 235 h 743"/>
              <a:gd name="T68" fmla="*/ 2310 w 2807"/>
              <a:gd name="T69" fmla="*/ 199 h 743"/>
              <a:gd name="T70" fmla="*/ 2252 w 2807"/>
              <a:gd name="T71" fmla="*/ 195 h 743"/>
              <a:gd name="T72" fmla="*/ 2110 w 2807"/>
              <a:gd name="T73" fmla="*/ 243 h 743"/>
              <a:gd name="T74" fmla="*/ 1984 w 2807"/>
              <a:gd name="T75" fmla="*/ 277 h 743"/>
              <a:gd name="T76" fmla="*/ 1843 w 2807"/>
              <a:gd name="T77" fmla="*/ 303 h 743"/>
              <a:gd name="T78" fmla="*/ 1697 w 2807"/>
              <a:gd name="T79" fmla="*/ 319 h 743"/>
              <a:gd name="T80" fmla="*/ 1558 w 2807"/>
              <a:gd name="T81" fmla="*/ 322 h 743"/>
              <a:gd name="T82" fmla="*/ 1293 w 2807"/>
              <a:gd name="T83" fmla="*/ 312 h 743"/>
              <a:gd name="T84" fmla="*/ 1030 w 2807"/>
              <a:gd name="T85" fmla="*/ 282 h 743"/>
              <a:gd name="T86" fmla="*/ 855 w 2807"/>
              <a:gd name="T87" fmla="*/ 251 h 743"/>
              <a:gd name="T88" fmla="*/ 725 w 2807"/>
              <a:gd name="T89" fmla="*/ 221 h 743"/>
              <a:gd name="T90" fmla="*/ 594 w 2807"/>
              <a:gd name="T91" fmla="*/ 185 h 743"/>
              <a:gd name="T92" fmla="*/ 465 w 2807"/>
              <a:gd name="T93" fmla="*/ 143 h 743"/>
              <a:gd name="T94" fmla="*/ 336 w 2807"/>
              <a:gd name="T95" fmla="*/ 94 h 743"/>
              <a:gd name="T96" fmla="*/ 251 w 2807"/>
              <a:gd name="T97" fmla="*/ 58 h 743"/>
              <a:gd name="T98" fmla="*/ 122 w 2807"/>
              <a:gd name="T99" fmla="*/ 0 h 743"/>
              <a:gd name="T100" fmla="*/ 119 w 2807"/>
              <a:gd name="T101" fmla="*/ 19 h 743"/>
              <a:gd name="T102" fmla="*/ 121 w 2807"/>
              <a:gd name="T103" fmla="*/ 51 h 743"/>
              <a:gd name="T104" fmla="*/ 136 w 2807"/>
              <a:gd name="T105" fmla="*/ 96 h 743"/>
              <a:gd name="T106" fmla="*/ 171 w 2807"/>
              <a:gd name="T107" fmla="*/ 156 h 743"/>
              <a:gd name="T108" fmla="*/ 207 w 2807"/>
              <a:gd name="T109" fmla="*/ 204 h 743"/>
              <a:gd name="T110" fmla="*/ 151 w 2807"/>
              <a:gd name="T111" fmla="*/ 199 h 743"/>
              <a:gd name="T112" fmla="*/ 98 w 2807"/>
              <a:gd name="T113" fmla="*/ 204 h 743"/>
              <a:gd name="T114" fmla="*/ 69 w 2807"/>
              <a:gd name="T115" fmla="*/ 215 h 743"/>
              <a:gd name="T116" fmla="*/ 32 w 2807"/>
              <a:gd name="T117" fmla="*/ 244 h 743"/>
              <a:gd name="T118" fmla="*/ 7 w 2807"/>
              <a:gd name="T119" fmla="*/ 272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07" h="743">
                <a:moveTo>
                  <a:pt x="0" y="284"/>
                </a:moveTo>
                <a:lnTo>
                  <a:pt x="0" y="284"/>
                </a:lnTo>
                <a:lnTo>
                  <a:pt x="87" y="343"/>
                </a:lnTo>
                <a:lnTo>
                  <a:pt x="127" y="369"/>
                </a:lnTo>
                <a:lnTo>
                  <a:pt x="166" y="394"/>
                </a:lnTo>
                <a:lnTo>
                  <a:pt x="203" y="417"/>
                </a:lnTo>
                <a:lnTo>
                  <a:pt x="241" y="438"/>
                </a:lnTo>
                <a:lnTo>
                  <a:pt x="280" y="460"/>
                </a:lnTo>
                <a:lnTo>
                  <a:pt x="319" y="479"/>
                </a:lnTo>
                <a:lnTo>
                  <a:pt x="319" y="479"/>
                </a:lnTo>
                <a:lnTo>
                  <a:pt x="372" y="504"/>
                </a:lnTo>
                <a:lnTo>
                  <a:pt x="430" y="529"/>
                </a:lnTo>
                <a:lnTo>
                  <a:pt x="495" y="556"/>
                </a:lnTo>
                <a:lnTo>
                  <a:pt x="565" y="581"/>
                </a:lnTo>
                <a:lnTo>
                  <a:pt x="603" y="595"/>
                </a:lnTo>
                <a:lnTo>
                  <a:pt x="642" y="607"/>
                </a:lnTo>
                <a:lnTo>
                  <a:pt x="682" y="620"/>
                </a:lnTo>
                <a:lnTo>
                  <a:pt x="724" y="633"/>
                </a:lnTo>
                <a:lnTo>
                  <a:pt x="767" y="644"/>
                </a:lnTo>
                <a:lnTo>
                  <a:pt x="811" y="655"/>
                </a:lnTo>
                <a:lnTo>
                  <a:pt x="857" y="666"/>
                </a:lnTo>
                <a:lnTo>
                  <a:pt x="903" y="677"/>
                </a:lnTo>
                <a:lnTo>
                  <a:pt x="952" y="687"/>
                </a:lnTo>
                <a:lnTo>
                  <a:pt x="1001" y="696"/>
                </a:lnTo>
                <a:lnTo>
                  <a:pt x="1052" y="705"/>
                </a:lnTo>
                <a:lnTo>
                  <a:pt x="1104" y="713"/>
                </a:lnTo>
                <a:lnTo>
                  <a:pt x="1157" y="719"/>
                </a:lnTo>
                <a:lnTo>
                  <a:pt x="1212" y="727"/>
                </a:lnTo>
                <a:lnTo>
                  <a:pt x="1267" y="732"/>
                </a:lnTo>
                <a:lnTo>
                  <a:pt x="1324" y="736"/>
                </a:lnTo>
                <a:lnTo>
                  <a:pt x="1382" y="739"/>
                </a:lnTo>
                <a:lnTo>
                  <a:pt x="1442" y="741"/>
                </a:lnTo>
                <a:lnTo>
                  <a:pt x="1502" y="743"/>
                </a:lnTo>
                <a:lnTo>
                  <a:pt x="1563" y="742"/>
                </a:lnTo>
                <a:lnTo>
                  <a:pt x="1626" y="741"/>
                </a:lnTo>
                <a:lnTo>
                  <a:pt x="1689" y="738"/>
                </a:lnTo>
                <a:lnTo>
                  <a:pt x="1754" y="734"/>
                </a:lnTo>
                <a:lnTo>
                  <a:pt x="1819" y="729"/>
                </a:lnTo>
                <a:lnTo>
                  <a:pt x="1819" y="729"/>
                </a:lnTo>
                <a:lnTo>
                  <a:pt x="1881" y="723"/>
                </a:lnTo>
                <a:lnTo>
                  <a:pt x="1941" y="714"/>
                </a:lnTo>
                <a:lnTo>
                  <a:pt x="1999" y="706"/>
                </a:lnTo>
                <a:lnTo>
                  <a:pt x="2054" y="697"/>
                </a:lnTo>
                <a:lnTo>
                  <a:pt x="2108" y="688"/>
                </a:lnTo>
                <a:lnTo>
                  <a:pt x="2159" y="678"/>
                </a:lnTo>
                <a:lnTo>
                  <a:pt x="2209" y="666"/>
                </a:lnTo>
                <a:lnTo>
                  <a:pt x="2257" y="655"/>
                </a:lnTo>
                <a:lnTo>
                  <a:pt x="2302" y="643"/>
                </a:lnTo>
                <a:lnTo>
                  <a:pt x="2346" y="631"/>
                </a:lnTo>
                <a:lnTo>
                  <a:pt x="2387" y="618"/>
                </a:lnTo>
                <a:lnTo>
                  <a:pt x="2426" y="605"/>
                </a:lnTo>
                <a:lnTo>
                  <a:pt x="2464" y="593"/>
                </a:lnTo>
                <a:lnTo>
                  <a:pt x="2500" y="579"/>
                </a:lnTo>
                <a:lnTo>
                  <a:pt x="2533" y="566"/>
                </a:lnTo>
                <a:lnTo>
                  <a:pt x="2564" y="554"/>
                </a:lnTo>
                <a:lnTo>
                  <a:pt x="2622" y="528"/>
                </a:lnTo>
                <a:lnTo>
                  <a:pt x="2672" y="505"/>
                </a:lnTo>
                <a:lnTo>
                  <a:pt x="2713" y="483"/>
                </a:lnTo>
                <a:lnTo>
                  <a:pt x="2747" y="465"/>
                </a:lnTo>
                <a:lnTo>
                  <a:pt x="2773" y="449"/>
                </a:lnTo>
                <a:lnTo>
                  <a:pt x="2792" y="436"/>
                </a:lnTo>
                <a:lnTo>
                  <a:pt x="2807" y="426"/>
                </a:lnTo>
                <a:lnTo>
                  <a:pt x="2807" y="426"/>
                </a:lnTo>
                <a:lnTo>
                  <a:pt x="2786" y="419"/>
                </a:lnTo>
                <a:lnTo>
                  <a:pt x="2766" y="410"/>
                </a:lnTo>
                <a:lnTo>
                  <a:pt x="2745" y="402"/>
                </a:lnTo>
                <a:lnTo>
                  <a:pt x="2726" y="391"/>
                </a:lnTo>
                <a:lnTo>
                  <a:pt x="2706" y="382"/>
                </a:lnTo>
                <a:lnTo>
                  <a:pt x="2688" y="372"/>
                </a:lnTo>
                <a:lnTo>
                  <a:pt x="2651" y="349"/>
                </a:lnTo>
                <a:lnTo>
                  <a:pt x="2618" y="327"/>
                </a:lnTo>
                <a:lnTo>
                  <a:pt x="2586" y="303"/>
                </a:lnTo>
                <a:lnTo>
                  <a:pt x="2556" y="280"/>
                </a:lnTo>
                <a:lnTo>
                  <a:pt x="2529" y="256"/>
                </a:lnTo>
                <a:lnTo>
                  <a:pt x="2529" y="256"/>
                </a:lnTo>
                <a:lnTo>
                  <a:pt x="2524" y="266"/>
                </a:lnTo>
                <a:lnTo>
                  <a:pt x="2521" y="279"/>
                </a:lnTo>
                <a:lnTo>
                  <a:pt x="2518" y="294"/>
                </a:lnTo>
                <a:lnTo>
                  <a:pt x="2515" y="312"/>
                </a:lnTo>
                <a:lnTo>
                  <a:pt x="2515" y="312"/>
                </a:lnTo>
                <a:lnTo>
                  <a:pt x="2507" y="381"/>
                </a:lnTo>
                <a:lnTo>
                  <a:pt x="2503" y="414"/>
                </a:lnTo>
                <a:lnTo>
                  <a:pt x="2503" y="414"/>
                </a:lnTo>
                <a:lnTo>
                  <a:pt x="2499" y="413"/>
                </a:lnTo>
                <a:lnTo>
                  <a:pt x="2489" y="410"/>
                </a:lnTo>
                <a:lnTo>
                  <a:pt x="2470" y="403"/>
                </a:lnTo>
                <a:lnTo>
                  <a:pt x="2443" y="391"/>
                </a:lnTo>
                <a:lnTo>
                  <a:pt x="2443" y="391"/>
                </a:lnTo>
                <a:lnTo>
                  <a:pt x="2433" y="387"/>
                </a:lnTo>
                <a:lnTo>
                  <a:pt x="2423" y="381"/>
                </a:lnTo>
                <a:lnTo>
                  <a:pt x="2413" y="374"/>
                </a:lnTo>
                <a:lnTo>
                  <a:pt x="2403" y="366"/>
                </a:lnTo>
                <a:lnTo>
                  <a:pt x="2392" y="357"/>
                </a:lnTo>
                <a:lnTo>
                  <a:pt x="2381" y="347"/>
                </a:lnTo>
                <a:lnTo>
                  <a:pt x="2371" y="336"/>
                </a:lnTo>
                <a:lnTo>
                  <a:pt x="2361" y="324"/>
                </a:lnTo>
                <a:lnTo>
                  <a:pt x="2351" y="312"/>
                </a:lnTo>
                <a:lnTo>
                  <a:pt x="2342" y="297"/>
                </a:lnTo>
                <a:lnTo>
                  <a:pt x="2334" y="283"/>
                </a:lnTo>
                <a:lnTo>
                  <a:pt x="2326" y="268"/>
                </a:lnTo>
                <a:lnTo>
                  <a:pt x="2320" y="251"/>
                </a:lnTo>
                <a:lnTo>
                  <a:pt x="2316" y="235"/>
                </a:lnTo>
                <a:lnTo>
                  <a:pt x="2312" y="216"/>
                </a:lnTo>
                <a:lnTo>
                  <a:pt x="2310" y="199"/>
                </a:lnTo>
                <a:lnTo>
                  <a:pt x="2310" y="199"/>
                </a:lnTo>
                <a:lnTo>
                  <a:pt x="2309" y="174"/>
                </a:lnTo>
                <a:lnTo>
                  <a:pt x="2309" y="174"/>
                </a:lnTo>
                <a:lnTo>
                  <a:pt x="2252" y="195"/>
                </a:lnTo>
                <a:lnTo>
                  <a:pt x="2186" y="218"/>
                </a:lnTo>
                <a:lnTo>
                  <a:pt x="2149" y="231"/>
                </a:lnTo>
                <a:lnTo>
                  <a:pt x="2110" y="243"/>
                </a:lnTo>
                <a:lnTo>
                  <a:pt x="2069" y="254"/>
                </a:lnTo>
                <a:lnTo>
                  <a:pt x="2028" y="266"/>
                </a:lnTo>
                <a:lnTo>
                  <a:pt x="1984" y="277"/>
                </a:lnTo>
                <a:lnTo>
                  <a:pt x="1938" y="286"/>
                </a:lnTo>
                <a:lnTo>
                  <a:pt x="1892" y="295"/>
                </a:lnTo>
                <a:lnTo>
                  <a:pt x="1843" y="303"/>
                </a:lnTo>
                <a:lnTo>
                  <a:pt x="1795" y="311"/>
                </a:lnTo>
                <a:lnTo>
                  <a:pt x="1746" y="316"/>
                </a:lnTo>
                <a:lnTo>
                  <a:pt x="1697" y="319"/>
                </a:lnTo>
                <a:lnTo>
                  <a:pt x="1647" y="321"/>
                </a:lnTo>
                <a:lnTo>
                  <a:pt x="1647" y="321"/>
                </a:lnTo>
                <a:lnTo>
                  <a:pt x="1558" y="322"/>
                </a:lnTo>
                <a:lnTo>
                  <a:pt x="1470" y="321"/>
                </a:lnTo>
                <a:lnTo>
                  <a:pt x="1382" y="317"/>
                </a:lnTo>
                <a:lnTo>
                  <a:pt x="1293" y="312"/>
                </a:lnTo>
                <a:lnTo>
                  <a:pt x="1205" y="304"/>
                </a:lnTo>
                <a:lnTo>
                  <a:pt x="1118" y="294"/>
                </a:lnTo>
                <a:lnTo>
                  <a:pt x="1030" y="282"/>
                </a:lnTo>
                <a:lnTo>
                  <a:pt x="943" y="268"/>
                </a:lnTo>
                <a:lnTo>
                  <a:pt x="899" y="259"/>
                </a:lnTo>
                <a:lnTo>
                  <a:pt x="855" y="251"/>
                </a:lnTo>
                <a:lnTo>
                  <a:pt x="812" y="241"/>
                </a:lnTo>
                <a:lnTo>
                  <a:pt x="768" y="231"/>
                </a:lnTo>
                <a:lnTo>
                  <a:pt x="725" y="221"/>
                </a:lnTo>
                <a:lnTo>
                  <a:pt x="681" y="209"/>
                </a:lnTo>
                <a:lnTo>
                  <a:pt x="638" y="197"/>
                </a:lnTo>
                <a:lnTo>
                  <a:pt x="594" y="185"/>
                </a:lnTo>
                <a:lnTo>
                  <a:pt x="551" y="171"/>
                </a:lnTo>
                <a:lnTo>
                  <a:pt x="508" y="157"/>
                </a:lnTo>
                <a:lnTo>
                  <a:pt x="465" y="143"/>
                </a:lnTo>
                <a:lnTo>
                  <a:pt x="422" y="127"/>
                </a:lnTo>
                <a:lnTo>
                  <a:pt x="379" y="111"/>
                </a:lnTo>
                <a:lnTo>
                  <a:pt x="336" y="94"/>
                </a:lnTo>
                <a:lnTo>
                  <a:pt x="294" y="76"/>
                </a:lnTo>
                <a:lnTo>
                  <a:pt x="251" y="58"/>
                </a:lnTo>
                <a:lnTo>
                  <a:pt x="251" y="58"/>
                </a:lnTo>
                <a:lnTo>
                  <a:pt x="165" y="19"/>
                </a:lnTo>
                <a:lnTo>
                  <a:pt x="122" y="0"/>
                </a:lnTo>
                <a:lnTo>
                  <a:pt x="122" y="0"/>
                </a:lnTo>
                <a:lnTo>
                  <a:pt x="121" y="3"/>
                </a:lnTo>
                <a:lnTo>
                  <a:pt x="119" y="12"/>
                </a:lnTo>
                <a:lnTo>
                  <a:pt x="119" y="19"/>
                </a:lnTo>
                <a:lnTo>
                  <a:pt x="119" y="28"/>
                </a:lnTo>
                <a:lnTo>
                  <a:pt x="119" y="39"/>
                </a:lnTo>
                <a:lnTo>
                  <a:pt x="121" y="51"/>
                </a:lnTo>
                <a:lnTo>
                  <a:pt x="125" y="64"/>
                </a:lnTo>
                <a:lnTo>
                  <a:pt x="129" y="79"/>
                </a:lnTo>
                <a:lnTo>
                  <a:pt x="136" y="96"/>
                </a:lnTo>
                <a:lnTo>
                  <a:pt x="145" y="114"/>
                </a:lnTo>
                <a:lnTo>
                  <a:pt x="156" y="135"/>
                </a:lnTo>
                <a:lnTo>
                  <a:pt x="171" y="156"/>
                </a:lnTo>
                <a:lnTo>
                  <a:pt x="187" y="180"/>
                </a:lnTo>
                <a:lnTo>
                  <a:pt x="207" y="204"/>
                </a:lnTo>
                <a:lnTo>
                  <a:pt x="207" y="204"/>
                </a:lnTo>
                <a:lnTo>
                  <a:pt x="189" y="201"/>
                </a:lnTo>
                <a:lnTo>
                  <a:pt x="170" y="199"/>
                </a:lnTo>
                <a:lnTo>
                  <a:pt x="151" y="199"/>
                </a:lnTo>
                <a:lnTo>
                  <a:pt x="132" y="199"/>
                </a:lnTo>
                <a:lnTo>
                  <a:pt x="114" y="201"/>
                </a:lnTo>
                <a:lnTo>
                  <a:pt x="98" y="204"/>
                </a:lnTo>
                <a:lnTo>
                  <a:pt x="83" y="209"/>
                </a:lnTo>
                <a:lnTo>
                  <a:pt x="69" y="215"/>
                </a:lnTo>
                <a:lnTo>
                  <a:pt x="69" y="215"/>
                </a:lnTo>
                <a:lnTo>
                  <a:pt x="55" y="224"/>
                </a:lnTo>
                <a:lnTo>
                  <a:pt x="42" y="234"/>
                </a:lnTo>
                <a:lnTo>
                  <a:pt x="32" y="244"/>
                </a:lnTo>
                <a:lnTo>
                  <a:pt x="21" y="253"/>
                </a:lnTo>
                <a:lnTo>
                  <a:pt x="13" y="262"/>
                </a:lnTo>
                <a:lnTo>
                  <a:pt x="7" y="272"/>
                </a:lnTo>
                <a:lnTo>
                  <a:pt x="0" y="28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3" name="Freeform 31"/>
          <p:cNvSpPr>
            <a:spLocks/>
          </p:cNvSpPr>
          <p:nvPr userDrawn="1"/>
        </p:nvSpPr>
        <p:spPr bwMode="auto">
          <a:xfrm>
            <a:off x="7248526" y="1618954"/>
            <a:ext cx="377825" cy="271463"/>
          </a:xfrm>
          <a:custGeom>
            <a:avLst/>
            <a:gdLst>
              <a:gd name="T0" fmla="*/ 2491 w 2863"/>
              <a:gd name="T1" fmla="*/ 103 h 2054"/>
              <a:gd name="T2" fmla="*/ 2575 w 2863"/>
              <a:gd name="T3" fmla="*/ 23 h 2054"/>
              <a:gd name="T4" fmla="*/ 2196 w 2863"/>
              <a:gd name="T5" fmla="*/ 132 h 2054"/>
              <a:gd name="T6" fmla="*/ 1671 w 2863"/>
              <a:gd name="T7" fmla="*/ 429 h 2054"/>
              <a:gd name="T8" fmla="*/ 1528 w 2863"/>
              <a:gd name="T9" fmla="*/ 462 h 2054"/>
              <a:gd name="T10" fmla="*/ 1416 w 2863"/>
              <a:gd name="T11" fmla="*/ 568 h 2054"/>
              <a:gd name="T12" fmla="*/ 1409 w 2863"/>
              <a:gd name="T13" fmla="*/ 634 h 2054"/>
              <a:gd name="T14" fmla="*/ 1479 w 2863"/>
              <a:gd name="T15" fmla="*/ 748 h 2054"/>
              <a:gd name="T16" fmla="*/ 1586 w 2863"/>
              <a:gd name="T17" fmla="*/ 787 h 2054"/>
              <a:gd name="T18" fmla="*/ 1476 w 2863"/>
              <a:gd name="T19" fmla="*/ 974 h 2054"/>
              <a:gd name="T20" fmla="*/ 1133 w 2863"/>
              <a:gd name="T21" fmla="*/ 1199 h 2054"/>
              <a:gd name="T22" fmla="*/ 799 w 2863"/>
              <a:gd name="T23" fmla="*/ 1254 h 2054"/>
              <a:gd name="T24" fmla="*/ 634 w 2863"/>
              <a:gd name="T25" fmla="*/ 1102 h 2054"/>
              <a:gd name="T26" fmla="*/ 539 w 2863"/>
              <a:gd name="T27" fmla="*/ 1015 h 2054"/>
              <a:gd name="T28" fmla="*/ 406 w 2863"/>
              <a:gd name="T29" fmla="*/ 1023 h 2054"/>
              <a:gd name="T30" fmla="*/ 231 w 2863"/>
              <a:gd name="T31" fmla="*/ 1090 h 2054"/>
              <a:gd name="T32" fmla="*/ 382 w 2863"/>
              <a:gd name="T33" fmla="*/ 1121 h 2054"/>
              <a:gd name="T34" fmla="*/ 351 w 2863"/>
              <a:gd name="T35" fmla="*/ 1168 h 2054"/>
              <a:gd name="T36" fmla="*/ 418 w 2863"/>
              <a:gd name="T37" fmla="*/ 1270 h 2054"/>
              <a:gd name="T38" fmla="*/ 608 w 2863"/>
              <a:gd name="T39" fmla="*/ 1387 h 2054"/>
              <a:gd name="T40" fmla="*/ 314 w 2863"/>
              <a:gd name="T41" fmla="*/ 1296 h 2054"/>
              <a:gd name="T42" fmla="*/ 234 w 2863"/>
              <a:gd name="T43" fmla="*/ 1324 h 2054"/>
              <a:gd name="T44" fmla="*/ 77 w 2863"/>
              <a:gd name="T45" fmla="*/ 1367 h 2054"/>
              <a:gd name="T46" fmla="*/ 0 w 2863"/>
              <a:gd name="T47" fmla="*/ 1480 h 2054"/>
              <a:gd name="T48" fmla="*/ 63 w 2863"/>
              <a:gd name="T49" fmla="*/ 1501 h 2054"/>
              <a:gd name="T50" fmla="*/ 166 w 2863"/>
              <a:gd name="T51" fmla="*/ 1461 h 2054"/>
              <a:gd name="T52" fmla="*/ 187 w 2863"/>
              <a:gd name="T53" fmla="*/ 1573 h 2054"/>
              <a:gd name="T54" fmla="*/ 354 w 2863"/>
              <a:gd name="T55" fmla="*/ 1597 h 2054"/>
              <a:gd name="T56" fmla="*/ 616 w 2863"/>
              <a:gd name="T57" fmla="*/ 1588 h 2054"/>
              <a:gd name="T58" fmla="*/ 382 w 2863"/>
              <a:gd name="T59" fmla="*/ 1636 h 2054"/>
              <a:gd name="T60" fmla="*/ 295 w 2863"/>
              <a:gd name="T61" fmla="*/ 1696 h 2054"/>
              <a:gd name="T62" fmla="*/ 254 w 2863"/>
              <a:gd name="T63" fmla="*/ 1795 h 2054"/>
              <a:gd name="T64" fmla="*/ 239 w 2863"/>
              <a:gd name="T65" fmla="*/ 1953 h 2054"/>
              <a:gd name="T66" fmla="*/ 335 w 2863"/>
              <a:gd name="T67" fmla="*/ 2045 h 2054"/>
              <a:gd name="T68" fmla="*/ 341 w 2863"/>
              <a:gd name="T69" fmla="*/ 1906 h 2054"/>
              <a:gd name="T70" fmla="*/ 417 w 2863"/>
              <a:gd name="T71" fmla="*/ 1946 h 2054"/>
              <a:gd name="T72" fmla="*/ 509 w 2863"/>
              <a:gd name="T73" fmla="*/ 1935 h 2054"/>
              <a:gd name="T74" fmla="*/ 732 w 2863"/>
              <a:gd name="T75" fmla="*/ 1733 h 2054"/>
              <a:gd name="T76" fmla="*/ 874 w 2863"/>
              <a:gd name="T77" fmla="*/ 1691 h 2054"/>
              <a:gd name="T78" fmla="*/ 870 w 2863"/>
              <a:gd name="T79" fmla="*/ 1786 h 2054"/>
              <a:gd name="T80" fmla="*/ 945 w 2863"/>
              <a:gd name="T81" fmla="*/ 1834 h 2054"/>
              <a:gd name="T82" fmla="*/ 875 w 2863"/>
              <a:gd name="T83" fmla="*/ 1948 h 2054"/>
              <a:gd name="T84" fmla="*/ 1004 w 2863"/>
              <a:gd name="T85" fmla="*/ 1919 h 2054"/>
              <a:gd name="T86" fmla="*/ 1100 w 2863"/>
              <a:gd name="T87" fmla="*/ 1787 h 2054"/>
              <a:gd name="T88" fmla="*/ 1159 w 2863"/>
              <a:gd name="T89" fmla="*/ 1734 h 2054"/>
              <a:gd name="T90" fmla="*/ 1183 w 2863"/>
              <a:gd name="T91" fmla="*/ 1628 h 2054"/>
              <a:gd name="T92" fmla="*/ 1338 w 2863"/>
              <a:gd name="T93" fmla="*/ 1564 h 2054"/>
              <a:gd name="T94" fmla="*/ 1370 w 2863"/>
              <a:gd name="T95" fmla="*/ 1465 h 2054"/>
              <a:gd name="T96" fmla="*/ 1461 w 2863"/>
              <a:gd name="T97" fmla="*/ 1462 h 2054"/>
              <a:gd name="T98" fmla="*/ 1684 w 2863"/>
              <a:gd name="T99" fmla="*/ 1556 h 2054"/>
              <a:gd name="T100" fmla="*/ 1888 w 2863"/>
              <a:gd name="T101" fmla="*/ 1440 h 2054"/>
              <a:gd name="T102" fmla="*/ 1799 w 2863"/>
              <a:gd name="T103" fmla="*/ 1308 h 2054"/>
              <a:gd name="T104" fmla="*/ 1857 w 2863"/>
              <a:gd name="T105" fmla="*/ 1327 h 2054"/>
              <a:gd name="T106" fmla="*/ 2183 w 2863"/>
              <a:gd name="T107" fmla="*/ 1273 h 2054"/>
              <a:gd name="T108" fmla="*/ 2142 w 2863"/>
              <a:gd name="T109" fmla="*/ 1164 h 2054"/>
              <a:gd name="T110" fmla="*/ 2112 w 2863"/>
              <a:gd name="T111" fmla="*/ 1069 h 2054"/>
              <a:gd name="T112" fmla="*/ 2121 w 2863"/>
              <a:gd name="T113" fmla="*/ 977 h 2054"/>
              <a:gd name="T114" fmla="*/ 2085 w 2863"/>
              <a:gd name="T115" fmla="*/ 807 h 2054"/>
              <a:gd name="T116" fmla="*/ 2859 w 2863"/>
              <a:gd name="T117" fmla="*/ 408 h 2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63" h="2054">
                <a:moveTo>
                  <a:pt x="2759" y="252"/>
                </a:moveTo>
                <a:lnTo>
                  <a:pt x="2759" y="252"/>
                </a:lnTo>
                <a:lnTo>
                  <a:pt x="2742" y="239"/>
                </a:lnTo>
                <a:lnTo>
                  <a:pt x="2725" y="227"/>
                </a:lnTo>
                <a:lnTo>
                  <a:pt x="2708" y="214"/>
                </a:lnTo>
                <a:lnTo>
                  <a:pt x="2690" y="203"/>
                </a:lnTo>
                <a:lnTo>
                  <a:pt x="2655" y="184"/>
                </a:lnTo>
                <a:lnTo>
                  <a:pt x="2621" y="165"/>
                </a:lnTo>
                <a:lnTo>
                  <a:pt x="2586" y="148"/>
                </a:lnTo>
                <a:lnTo>
                  <a:pt x="2553" y="133"/>
                </a:lnTo>
                <a:lnTo>
                  <a:pt x="2522" y="118"/>
                </a:lnTo>
                <a:lnTo>
                  <a:pt x="2491" y="103"/>
                </a:lnTo>
                <a:lnTo>
                  <a:pt x="2491" y="103"/>
                </a:lnTo>
                <a:lnTo>
                  <a:pt x="2507" y="93"/>
                </a:lnTo>
                <a:lnTo>
                  <a:pt x="2523" y="82"/>
                </a:lnTo>
                <a:lnTo>
                  <a:pt x="2540" y="68"/>
                </a:lnTo>
                <a:lnTo>
                  <a:pt x="2556" y="54"/>
                </a:lnTo>
                <a:lnTo>
                  <a:pt x="2570" y="41"/>
                </a:lnTo>
                <a:lnTo>
                  <a:pt x="2574" y="35"/>
                </a:lnTo>
                <a:lnTo>
                  <a:pt x="2577" y="30"/>
                </a:lnTo>
                <a:lnTo>
                  <a:pt x="2577" y="26"/>
                </a:lnTo>
                <a:lnTo>
                  <a:pt x="2577" y="24"/>
                </a:lnTo>
                <a:lnTo>
                  <a:pt x="2575" y="23"/>
                </a:lnTo>
                <a:lnTo>
                  <a:pt x="2575" y="23"/>
                </a:lnTo>
                <a:lnTo>
                  <a:pt x="2562" y="16"/>
                </a:lnTo>
                <a:lnTo>
                  <a:pt x="2550" y="10"/>
                </a:lnTo>
                <a:lnTo>
                  <a:pt x="2538" y="6"/>
                </a:lnTo>
                <a:lnTo>
                  <a:pt x="2527" y="4"/>
                </a:lnTo>
                <a:lnTo>
                  <a:pt x="2508" y="1"/>
                </a:lnTo>
                <a:lnTo>
                  <a:pt x="2501" y="0"/>
                </a:lnTo>
                <a:lnTo>
                  <a:pt x="2501" y="0"/>
                </a:lnTo>
                <a:lnTo>
                  <a:pt x="2440" y="24"/>
                </a:lnTo>
                <a:lnTo>
                  <a:pt x="2377" y="50"/>
                </a:lnTo>
                <a:lnTo>
                  <a:pt x="2317" y="76"/>
                </a:lnTo>
                <a:lnTo>
                  <a:pt x="2256" y="103"/>
                </a:lnTo>
                <a:lnTo>
                  <a:pt x="2196" y="132"/>
                </a:lnTo>
                <a:lnTo>
                  <a:pt x="2138" y="160"/>
                </a:lnTo>
                <a:lnTo>
                  <a:pt x="2081" y="189"/>
                </a:lnTo>
                <a:lnTo>
                  <a:pt x="2026" y="219"/>
                </a:lnTo>
                <a:lnTo>
                  <a:pt x="1972" y="247"/>
                </a:lnTo>
                <a:lnTo>
                  <a:pt x="1921" y="276"/>
                </a:lnTo>
                <a:lnTo>
                  <a:pt x="1872" y="303"/>
                </a:lnTo>
                <a:lnTo>
                  <a:pt x="1825" y="331"/>
                </a:lnTo>
                <a:lnTo>
                  <a:pt x="1782" y="358"/>
                </a:lnTo>
                <a:lnTo>
                  <a:pt x="1741" y="383"/>
                </a:lnTo>
                <a:lnTo>
                  <a:pt x="1705" y="407"/>
                </a:lnTo>
                <a:lnTo>
                  <a:pt x="1671" y="429"/>
                </a:lnTo>
                <a:lnTo>
                  <a:pt x="1671" y="429"/>
                </a:lnTo>
                <a:lnTo>
                  <a:pt x="1666" y="432"/>
                </a:lnTo>
                <a:lnTo>
                  <a:pt x="1666" y="432"/>
                </a:lnTo>
                <a:lnTo>
                  <a:pt x="1654" y="439"/>
                </a:lnTo>
                <a:lnTo>
                  <a:pt x="1643" y="446"/>
                </a:lnTo>
                <a:lnTo>
                  <a:pt x="1632" y="451"/>
                </a:lnTo>
                <a:lnTo>
                  <a:pt x="1620" y="455"/>
                </a:lnTo>
                <a:lnTo>
                  <a:pt x="1608" y="458"/>
                </a:lnTo>
                <a:lnTo>
                  <a:pt x="1597" y="461"/>
                </a:lnTo>
                <a:lnTo>
                  <a:pt x="1585" y="462"/>
                </a:lnTo>
                <a:lnTo>
                  <a:pt x="1574" y="463"/>
                </a:lnTo>
                <a:lnTo>
                  <a:pt x="1550" y="464"/>
                </a:lnTo>
                <a:lnTo>
                  <a:pt x="1528" y="462"/>
                </a:lnTo>
                <a:lnTo>
                  <a:pt x="1505" y="459"/>
                </a:lnTo>
                <a:lnTo>
                  <a:pt x="1485" y="454"/>
                </a:lnTo>
                <a:lnTo>
                  <a:pt x="1465" y="449"/>
                </a:lnTo>
                <a:lnTo>
                  <a:pt x="1448" y="442"/>
                </a:lnTo>
                <a:lnTo>
                  <a:pt x="1433" y="436"/>
                </a:lnTo>
                <a:lnTo>
                  <a:pt x="1418" y="430"/>
                </a:lnTo>
                <a:lnTo>
                  <a:pt x="1399" y="420"/>
                </a:lnTo>
                <a:lnTo>
                  <a:pt x="1393" y="416"/>
                </a:lnTo>
                <a:lnTo>
                  <a:pt x="1372" y="544"/>
                </a:lnTo>
                <a:lnTo>
                  <a:pt x="1372" y="544"/>
                </a:lnTo>
                <a:lnTo>
                  <a:pt x="1395" y="557"/>
                </a:lnTo>
                <a:lnTo>
                  <a:pt x="1416" y="568"/>
                </a:lnTo>
                <a:lnTo>
                  <a:pt x="1437" y="577"/>
                </a:lnTo>
                <a:lnTo>
                  <a:pt x="1454" y="586"/>
                </a:lnTo>
                <a:lnTo>
                  <a:pt x="1470" y="592"/>
                </a:lnTo>
                <a:lnTo>
                  <a:pt x="1486" y="596"/>
                </a:lnTo>
                <a:lnTo>
                  <a:pt x="1499" y="600"/>
                </a:lnTo>
                <a:lnTo>
                  <a:pt x="1510" y="602"/>
                </a:lnTo>
                <a:lnTo>
                  <a:pt x="1510" y="602"/>
                </a:lnTo>
                <a:lnTo>
                  <a:pt x="1491" y="606"/>
                </a:lnTo>
                <a:lnTo>
                  <a:pt x="1470" y="611"/>
                </a:lnTo>
                <a:lnTo>
                  <a:pt x="1450" y="617"/>
                </a:lnTo>
                <a:lnTo>
                  <a:pt x="1428" y="625"/>
                </a:lnTo>
                <a:lnTo>
                  <a:pt x="1409" y="634"/>
                </a:lnTo>
                <a:lnTo>
                  <a:pt x="1391" y="645"/>
                </a:lnTo>
                <a:lnTo>
                  <a:pt x="1381" y="650"/>
                </a:lnTo>
                <a:lnTo>
                  <a:pt x="1373" y="656"/>
                </a:lnTo>
                <a:lnTo>
                  <a:pt x="1366" y="663"/>
                </a:lnTo>
                <a:lnTo>
                  <a:pt x="1360" y="670"/>
                </a:lnTo>
                <a:lnTo>
                  <a:pt x="1404" y="788"/>
                </a:lnTo>
                <a:lnTo>
                  <a:pt x="1404" y="788"/>
                </a:lnTo>
                <a:lnTo>
                  <a:pt x="1416" y="779"/>
                </a:lnTo>
                <a:lnTo>
                  <a:pt x="1432" y="770"/>
                </a:lnTo>
                <a:lnTo>
                  <a:pt x="1453" y="758"/>
                </a:lnTo>
                <a:lnTo>
                  <a:pt x="1465" y="753"/>
                </a:lnTo>
                <a:lnTo>
                  <a:pt x="1479" y="748"/>
                </a:lnTo>
                <a:lnTo>
                  <a:pt x="1494" y="743"/>
                </a:lnTo>
                <a:lnTo>
                  <a:pt x="1509" y="738"/>
                </a:lnTo>
                <a:lnTo>
                  <a:pt x="1527" y="734"/>
                </a:lnTo>
                <a:lnTo>
                  <a:pt x="1545" y="731"/>
                </a:lnTo>
                <a:lnTo>
                  <a:pt x="1564" y="729"/>
                </a:lnTo>
                <a:lnTo>
                  <a:pt x="1585" y="728"/>
                </a:lnTo>
                <a:lnTo>
                  <a:pt x="1585" y="728"/>
                </a:lnTo>
                <a:lnTo>
                  <a:pt x="1588" y="744"/>
                </a:lnTo>
                <a:lnTo>
                  <a:pt x="1588" y="744"/>
                </a:lnTo>
                <a:lnTo>
                  <a:pt x="1588" y="758"/>
                </a:lnTo>
                <a:lnTo>
                  <a:pt x="1588" y="773"/>
                </a:lnTo>
                <a:lnTo>
                  <a:pt x="1586" y="787"/>
                </a:lnTo>
                <a:lnTo>
                  <a:pt x="1583" y="802"/>
                </a:lnTo>
                <a:lnTo>
                  <a:pt x="1578" y="818"/>
                </a:lnTo>
                <a:lnTo>
                  <a:pt x="1573" y="833"/>
                </a:lnTo>
                <a:lnTo>
                  <a:pt x="1565" y="848"/>
                </a:lnTo>
                <a:lnTo>
                  <a:pt x="1557" y="864"/>
                </a:lnTo>
                <a:lnTo>
                  <a:pt x="1549" y="880"/>
                </a:lnTo>
                <a:lnTo>
                  <a:pt x="1539" y="895"/>
                </a:lnTo>
                <a:lnTo>
                  <a:pt x="1528" y="912"/>
                </a:lnTo>
                <a:lnTo>
                  <a:pt x="1516" y="927"/>
                </a:lnTo>
                <a:lnTo>
                  <a:pt x="1503" y="943"/>
                </a:lnTo>
                <a:lnTo>
                  <a:pt x="1490" y="959"/>
                </a:lnTo>
                <a:lnTo>
                  <a:pt x="1476" y="974"/>
                </a:lnTo>
                <a:lnTo>
                  <a:pt x="1461" y="989"/>
                </a:lnTo>
                <a:lnTo>
                  <a:pt x="1429" y="1020"/>
                </a:lnTo>
                <a:lnTo>
                  <a:pt x="1396" y="1049"/>
                </a:lnTo>
                <a:lnTo>
                  <a:pt x="1360" y="1076"/>
                </a:lnTo>
                <a:lnTo>
                  <a:pt x="1323" y="1102"/>
                </a:lnTo>
                <a:lnTo>
                  <a:pt x="1285" y="1126"/>
                </a:lnTo>
                <a:lnTo>
                  <a:pt x="1247" y="1148"/>
                </a:lnTo>
                <a:lnTo>
                  <a:pt x="1209" y="1167"/>
                </a:lnTo>
                <a:lnTo>
                  <a:pt x="1189" y="1177"/>
                </a:lnTo>
                <a:lnTo>
                  <a:pt x="1171" y="1185"/>
                </a:lnTo>
                <a:lnTo>
                  <a:pt x="1171" y="1185"/>
                </a:lnTo>
                <a:lnTo>
                  <a:pt x="1133" y="1199"/>
                </a:lnTo>
                <a:lnTo>
                  <a:pt x="1095" y="1211"/>
                </a:lnTo>
                <a:lnTo>
                  <a:pt x="1060" y="1223"/>
                </a:lnTo>
                <a:lnTo>
                  <a:pt x="1026" y="1232"/>
                </a:lnTo>
                <a:lnTo>
                  <a:pt x="993" y="1240"/>
                </a:lnTo>
                <a:lnTo>
                  <a:pt x="962" y="1246"/>
                </a:lnTo>
                <a:lnTo>
                  <a:pt x="933" y="1250"/>
                </a:lnTo>
                <a:lnTo>
                  <a:pt x="905" y="1254"/>
                </a:lnTo>
                <a:lnTo>
                  <a:pt x="879" y="1256"/>
                </a:lnTo>
                <a:lnTo>
                  <a:pt x="856" y="1257"/>
                </a:lnTo>
                <a:lnTo>
                  <a:pt x="834" y="1257"/>
                </a:lnTo>
                <a:lnTo>
                  <a:pt x="815" y="1256"/>
                </a:lnTo>
                <a:lnTo>
                  <a:pt x="799" y="1254"/>
                </a:lnTo>
                <a:lnTo>
                  <a:pt x="785" y="1251"/>
                </a:lnTo>
                <a:lnTo>
                  <a:pt x="774" y="1247"/>
                </a:lnTo>
                <a:lnTo>
                  <a:pt x="765" y="1243"/>
                </a:lnTo>
                <a:lnTo>
                  <a:pt x="765" y="1243"/>
                </a:lnTo>
                <a:lnTo>
                  <a:pt x="741" y="1227"/>
                </a:lnTo>
                <a:lnTo>
                  <a:pt x="720" y="1209"/>
                </a:lnTo>
                <a:lnTo>
                  <a:pt x="701" y="1191"/>
                </a:lnTo>
                <a:lnTo>
                  <a:pt x="685" y="1172"/>
                </a:lnTo>
                <a:lnTo>
                  <a:pt x="670" y="1155"/>
                </a:lnTo>
                <a:lnTo>
                  <a:pt x="656" y="1137"/>
                </a:lnTo>
                <a:lnTo>
                  <a:pt x="645" y="1119"/>
                </a:lnTo>
                <a:lnTo>
                  <a:pt x="634" y="1102"/>
                </a:lnTo>
                <a:lnTo>
                  <a:pt x="615" y="1071"/>
                </a:lnTo>
                <a:lnTo>
                  <a:pt x="605" y="1057"/>
                </a:lnTo>
                <a:lnTo>
                  <a:pt x="596" y="1045"/>
                </a:lnTo>
                <a:lnTo>
                  <a:pt x="587" y="1033"/>
                </a:lnTo>
                <a:lnTo>
                  <a:pt x="577" y="1025"/>
                </a:lnTo>
                <a:lnTo>
                  <a:pt x="565" y="1018"/>
                </a:lnTo>
                <a:lnTo>
                  <a:pt x="559" y="1015"/>
                </a:lnTo>
                <a:lnTo>
                  <a:pt x="553" y="1013"/>
                </a:lnTo>
                <a:lnTo>
                  <a:pt x="553" y="1013"/>
                </a:lnTo>
                <a:lnTo>
                  <a:pt x="549" y="1013"/>
                </a:lnTo>
                <a:lnTo>
                  <a:pt x="546" y="1013"/>
                </a:lnTo>
                <a:lnTo>
                  <a:pt x="539" y="1015"/>
                </a:lnTo>
                <a:lnTo>
                  <a:pt x="532" y="1018"/>
                </a:lnTo>
                <a:lnTo>
                  <a:pt x="524" y="1022"/>
                </a:lnTo>
                <a:lnTo>
                  <a:pt x="516" y="1026"/>
                </a:lnTo>
                <a:lnTo>
                  <a:pt x="507" y="1029"/>
                </a:lnTo>
                <a:lnTo>
                  <a:pt x="499" y="1031"/>
                </a:lnTo>
                <a:lnTo>
                  <a:pt x="494" y="1031"/>
                </a:lnTo>
                <a:lnTo>
                  <a:pt x="489" y="1031"/>
                </a:lnTo>
                <a:lnTo>
                  <a:pt x="489" y="1031"/>
                </a:lnTo>
                <a:lnTo>
                  <a:pt x="468" y="1028"/>
                </a:lnTo>
                <a:lnTo>
                  <a:pt x="448" y="1025"/>
                </a:lnTo>
                <a:lnTo>
                  <a:pt x="427" y="1024"/>
                </a:lnTo>
                <a:lnTo>
                  <a:pt x="406" y="1023"/>
                </a:lnTo>
                <a:lnTo>
                  <a:pt x="386" y="1023"/>
                </a:lnTo>
                <a:lnTo>
                  <a:pt x="366" y="1025"/>
                </a:lnTo>
                <a:lnTo>
                  <a:pt x="347" y="1027"/>
                </a:lnTo>
                <a:lnTo>
                  <a:pt x="327" y="1031"/>
                </a:lnTo>
                <a:lnTo>
                  <a:pt x="309" y="1035"/>
                </a:lnTo>
                <a:lnTo>
                  <a:pt x="292" y="1043"/>
                </a:lnTo>
                <a:lnTo>
                  <a:pt x="276" y="1050"/>
                </a:lnTo>
                <a:lnTo>
                  <a:pt x="262" y="1059"/>
                </a:lnTo>
                <a:lnTo>
                  <a:pt x="248" y="1070"/>
                </a:lnTo>
                <a:lnTo>
                  <a:pt x="242" y="1076"/>
                </a:lnTo>
                <a:lnTo>
                  <a:pt x="236" y="1082"/>
                </a:lnTo>
                <a:lnTo>
                  <a:pt x="231" y="1090"/>
                </a:lnTo>
                <a:lnTo>
                  <a:pt x="227" y="1098"/>
                </a:lnTo>
                <a:lnTo>
                  <a:pt x="223" y="1105"/>
                </a:lnTo>
                <a:lnTo>
                  <a:pt x="219" y="1114"/>
                </a:lnTo>
                <a:lnTo>
                  <a:pt x="219" y="1114"/>
                </a:lnTo>
                <a:lnTo>
                  <a:pt x="257" y="1112"/>
                </a:lnTo>
                <a:lnTo>
                  <a:pt x="292" y="1111"/>
                </a:lnTo>
                <a:lnTo>
                  <a:pt x="312" y="1111"/>
                </a:lnTo>
                <a:lnTo>
                  <a:pt x="331" y="1112"/>
                </a:lnTo>
                <a:lnTo>
                  <a:pt x="349" y="1113"/>
                </a:lnTo>
                <a:lnTo>
                  <a:pt x="364" y="1116"/>
                </a:lnTo>
                <a:lnTo>
                  <a:pt x="377" y="1119"/>
                </a:lnTo>
                <a:lnTo>
                  <a:pt x="382" y="1121"/>
                </a:lnTo>
                <a:lnTo>
                  <a:pt x="387" y="1123"/>
                </a:lnTo>
                <a:lnTo>
                  <a:pt x="389" y="1126"/>
                </a:lnTo>
                <a:lnTo>
                  <a:pt x="391" y="1130"/>
                </a:lnTo>
                <a:lnTo>
                  <a:pt x="391" y="1133"/>
                </a:lnTo>
                <a:lnTo>
                  <a:pt x="389" y="1137"/>
                </a:lnTo>
                <a:lnTo>
                  <a:pt x="386" y="1141"/>
                </a:lnTo>
                <a:lnTo>
                  <a:pt x="381" y="1146"/>
                </a:lnTo>
                <a:lnTo>
                  <a:pt x="374" y="1151"/>
                </a:lnTo>
                <a:lnTo>
                  <a:pt x="366" y="1156"/>
                </a:lnTo>
                <a:lnTo>
                  <a:pt x="366" y="1156"/>
                </a:lnTo>
                <a:lnTo>
                  <a:pt x="357" y="1162"/>
                </a:lnTo>
                <a:lnTo>
                  <a:pt x="351" y="1168"/>
                </a:lnTo>
                <a:lnTo>
                  <a:pt x="346" y="1175"/>
                </a:lnTo>
                <a:lnTo>
                  <a:pt x="344" y="1182"/>
                </a:lnTo>
                <a:lnTo>
                  <a:pt x="343" y="1189"/>
                </a:lnTo>
                <a:lnTo>
                  <a:pt x="344" y="1195"/>
                </a:lnTo>
                <a:lnTo>
                  <a:pt x="346" y="1202"/>
                </a:lnTo>
                <a:lnTo>
                  <a:pt x="349" y="1209"/>
                </a:lnTo>
                <a:lnTo>
                  <a:pt x="354" y="1217"/>
                </a:lnTo>
                <a:lnTo>
                  <a:pt x="360" y="1225"/>
                </a:lnTo>
                <a:lnTo>
                  <a:pt x="368" y="1232"/>
                </a:lnTo>
                <a:lnTo>
                  <a:pt x="376" y="1239"/>
                </a:lnTo>
                <a:lnTo>
                  <a:pt x="396" y="1254"/>
                </a:lnTo>
                <a:lnTo>
                  <a:pt x="418" y="1270"/>
                </a:lnTo>
                <a:lnTo>
                  <a:pt x="442" y="1285"/>
                </a:lnTo>
                <a:lnTo>
                  <a:pt x="467" y="1299"/>
                </a:lnTo>
                <a:lnTo>
                  <a:pt x="519" y="1327"/>
                </a:lnTo>
                <a:lnTo>
                  <a:pt x="565" y="1350"/>
                </a:lnTo>
                <a:lnTo>
                  <a:pt x="585" y="1361"/>
                </a:lnTo>
                <a:lnTo>
                  <a:pt x="601" y="1370"/>
                </a:lnTo>
                <a:lnTo>
                  <a:pt x="601" y="1370"/>
                </a:lnTo>
                <a:lnTo>
                  <a:pt x="608" y="1375"/>
                </a:lnTo>
                <a:lnTo>
                  <a:pt x="611" y="1379"/>
                </a:lnTo>
                <a:lnTo>
                  <a:pt x="613" y="1382"/>
                </a:lnTo>
                <a:lnTo>
                  <a:pt x="611" y="1385"/>
                </a:lnTo>
                <a:lnTo>
                  <a:pt x="608" y="1387"/>
                </a:lnTo>
                <a:lnTo>
                  <a:pt x="604" y="1389"/>
                </a:lnTo>
                <a:lnTo>
                  <a:pt x="598" y="1390"/>
                </a:lnTo>
                <a:lnTo>
                  <a:pt x="598" y="1390"/>
                </a:lnTo>
                <a:lnTo>
                  <a:pt x="588" y="1390"/>
                </a:lnTo>
                <a:lnTo>
                  <a:pt x="576" y="1388"/>
                </a:lnTo>
                <a:lnTo>
                  <a:pt x="561" y="1385"/>
                </a:lnTo>
                <a:lnTo>
                  <a:pt x="545" y="1380"/>
                </a:lnTo>
                <a:lnTo>
                  <a:pt x="509" y="1369"/>
                </a:lnTo>
                <a:lnTo>
                  <a:pt x="469" y="1354"/>
                </a:lnTo>
                <a:lnTo>
                  <a:pt x="387" y="1323"/>
                </a:lnTo>
                <a:lnTo>
                  <a:pt x="349" y="1307"/>
                </a:lnTo>
                <a:lnTo>
                  <a:pt x="314" y="1296"/>
                </a:lnTo>
                <a:lnTo>
                  <a:pt x="314" y="1296"/>
                </a:lnTo>
                <a:lnTo>
                  <a:pt x="303" y="1293"/>
                </a:lnTo>
                <a:lnTo>
                  <a:pt x="292" y="1291"/>
                </a:lnTo>
                <a:lnTo>
                  <a:pt x="283" y="1291"/>
                </a:lnTo>
                <a:lnTo>
                  <a:pt x="275" y="1292"/>
                </a:lnTo>
                <a:lnTo>
                  <a:pt x="268" y="1294"/>
                </a:lnTo>
                <a:lnTo>
                  <a:pt x="262" y="1297"/>
                </a:lnTo>
                <a:lnTo>
                  <a:pt x="257" y="1300"/>
                </a:lnTo>
                <a:lnTo>
                  <a:pt x="253" y="1303"/>
                </a:lnTo>
                <a:lnTo>
                  <a:pt x="244" y="1312"/>
                </a:lnTo>
                <a:lnTo>
                  <a:pt x="238" y="1319"/>
                </a:lnTo>
                <a:lnTo>
                  <a:pt x="234" y="1324"/>
                </a:lnTo>
                <a:lnTo>
                  <a:pt x="231" y="1325"/>
                </a:lnTo>
                <a:lnTo>
                  <a:pt x="229" y="1326"/>
                </a:lnTo>
                <a:lnTo>
                  <a:pt x="229" y="1326"/>
                </a:lnTo>
                <a:lnTo>
                  <a:pt x="220" y="1325"/>
                </a:lnTo>
                <a:lnTo>
                  <a:pt x="210" y="1324"/>
                </a:lnTo>
                <a:lnTo>
                  <a:pt x="198" y="1325"/>
                </a:lnTo>
                <a:lnTo>
                  <a:pt x="188" y="1325"/>
                </a:lnTo>
                <a:lnTo>
                  <a:pt x="166" y="1329"/>
                </a:lnTo>
                <a:lnTo>
                  <a:pt x="143" y="1335"/>
                </a:lnTo>
                <a:lnTo>
                  <a:pt x="121" y="1343"/>
                </a:lnTo>
                <a:lnTo>
                  <a:pt x="98" y="1353"/>
                </a:lnTo>
                <a:lnTo>
                  <a:pt x="77" y="1367"/>
                </a:lnTo>
                <a:lnTo>
                  <a:pt x="66" y="1374"/>
                </a:lnTo>
                <a:lnTo>
                  <a:pt x="57" y="1381"/>
                </a:lnTo>
                <a:lnTo>
                  <a:pt x="48" y="1389"/>
                </a:lnTo>
                <a:lnTo>
                  <a:pt x="40" y="1397"/>
                </a:lnTo>
                <a:lnTo>
                  <a:pt x="32" y="1407"/>
                </a:lnTo>
                <a:lnTo>
                  <a:pt x="25" y="1416"/>
                </a:lnTo>
                <a:lnTo>
                  <a:pt x="18" y="1426"/>
                </a:lnTo>
                <a:lnTo>
                  <a:pt x="12" y="1435"/>
                </a:lnTo>
                <a:lnTo>
                  <a:pt x="8" y="1446"/>
                </a:lnTo>
                <a:lnTo>
                  <a:pt x="4" y="1458"/>
                </a:lnTo>
                <a:lnTo>
                  <a:pt x="2" y="1469"/>
                </a:lnTo>
                <a:lnTo>
                  <a:pt x="0" y="1480"/>
                </a:lnTo>
                <a:lnTo>
                  <a:pt x="0" y="1492"/>
                </a:lnTo>
                <a:lnTo>
                  <a:pt x="0" y="1505"/>
                </a:lnTo>
                <a:lnTo>
                  <a:pt x="3" y="1518"/>
                </a:lnTo>
                <a:lnTo>
                  <a:pt x="6" y="1530"/>
                </a:lnTo>
                <a:lnTo>
                  <a:pt x="11" y="1544"/>
                </a:lnTo>
                <a:lnTo>
                  <a:pt x="17" y="1558"/>
                </a:lnTo>
                <a:lnTo>
                  <a:pt x="17" y="1558"/>
                </a:lnTo>
                <a:lnTo>
                  <a:pt x="20" y="1553"/>
                </a:lnTo>
                <a:lnTo>
                  <a:pt x="30" y="1540"/>
                </a:lnTo>
                <a:lnTo>
                  <a:pt x="45" y="1521"/>
                </a:lnTo>
                <a:lnTo>
                  <a:pt x="53" y="1511"/>
                </a:lnTo>
                <a:lnTo>
                  <a:pt x="63" y="1501"/>
                </a:lnTo>
                <a:lnTo>
                  <a:pt x="75" y="1490"/>
                </a:lnTo>
                <a:lnTo>
                  <a:pt x="86" y="1481"/>
                </a:lnTo>
                <a:lnTo>
                  <a:pt x="98" y="1473"/>
                </a:lnTo>
                <a:lnTo>
                  <a:pt x="111" y="1466"/>
                </a:lnTo>
                <a:lnTo>
                  <a:pt x="125" y="1461"/>
                </a:lnTo>
                <a:lnTo>
                  <a:pt x="131" y="1459"/>
                </a:lnTo>
                <a:lnTo>
                  <a:pt x="138" y="1458"/>
                </a:lnTo>
                <a:lnTo>
                  <a:pt x="145" y="1458"/>
                </a:lnTo>
                <a:lnTo>
                  <a:pt x="151" y="1458"/>
                </a:lnTo>
                <a:lnTo>
                  <a:pt x="159" y="1459"/>
                </a:lnTo>
                <a:lnTo>
                  <a:pt x="166" y="1461"/>
                </a:lnTo>
                <a:lnTo>
                  <a:pt x="166" y="1461"/>
                </a:lnTo>
                <a:lnTo>
                  <a:pt x="171" y="1463"/>
                </a:lnTo>
                <a:lnTo>
                  <a:pt x="174" y="1467"/>
                </a:lnTo>
                <a:lnTo>
                  <a:pt x="175" y="1473"/>
                </a:lnTo>
                <a:lnTo>
                  <a:pt x="176" y="1479"/>
                </a:lnTo>
                <a:lnTo>
                  <a:pt x="176" y="1496"/>
                </a:lnTo>
                <a:lnTo>
                  <a:pt x="174" y="1514"/>
                </a:lnTo>
                <a:lnTo>
                  <a:pt x="174" y="1524"/>
                </a:lnTo>
                <a:lnTo>
                  <a:pt x="174" y="1534"/>
                </a:lnTo>
                <a:lnTo>
                  <a:pt x="176" y="1545"/>
                </a:lnTo>
                <a:lnTo>
                  <a:pt x="178" y="1554"/>
                </a:lnTo>
                <a:lnTo>
                  <a:pt x="182" y="1564"/>
                </a:lnTo>
                <a:lnTo>
                  <a:pt x="187" y="1573"/>
                </a:lnTo>
                <a:lnTo>
                  <a:pt x="195" y="1581"/>
                </a:lnTo>
                <a:lnTo>
                  <a:pt x="205" y="1589"/>
                </a:lnTo>
                <a:lnTo>
                  <a:pt x="205" y="1589"/>
                </a:lnTo>
                <a:lnTo>
                  <a:pt x="213" y="1593"/>
                </a:lnTo>
                <a:lnTo>
                  <a:pt x="221" y="1596"/>
                </a:lnTo>
                <a:lnTo>
                  <a:pt x="231" y="1599"/>
                </a:lnTo>
                <a:lnTo>
                  <a:pt x="242" y="1600"/>
                </a:lnTo>
                <a:lnTo>
                  <a:pt x="254" y="1602"/>
                </a:lnTo>
                <a:lnTo>
                  <a:pt x="267" y="1602"/>
                </a:lnTo>
                <a:lnTo>
                  <a:pt x="293" y="1602"/>
                </a:lnTo>
                <a:lnTo>
                  <a:pt x="323" y="1600"/>
                </a:lnTo>
                <a:lnTo>
                  <a:pt x="354" y="1597"/>
                </a:lnTo>
                <a:lnTo>
                  <a:pt x="418" y="1589"/>
                </a:lnTo>
                <a:lnTo>
                  <a:pt x="481" y="1580"/>
                </a:lnTo>
                <a:lnTo>
                  <a:pt x="510" y="1576"/>
                </a:lnTo>
                <a:lnTo>
                  <a:pt x="538" y="1574"/>
                </a:lnTo>
                <a:lnTo>
                  <a:pt x="562" y="1573"/>
                </a:lnTo>
                <a:lnTo>
                  <a:pt x="583" y="1574"/>
                </a:lnTo>
                <a:lnTo>
                  <a:pt x="592" y="1575"/>
                </a:lnTo>
                <a:lnTo>
                  <a:pt x="600" y="1577"/>
                </a:lnTo>
                <a:lnTo>
                  <a:pt x="607" y="1580"/>
                </a:lnTo>
                <a:lnTo>
                  <a:pt x="613" y="1585"/>
                </a:lnTo>
                <a:lnTo>
                  <a:pt x="613" y="1585"/>
                </a:lnTo>
                <a:lnTo>
                  <a:pt x="616" y="1588"/>
                </a:lnTo>
                <a:lnTo>
                  <a:pt x="617" y="1591"/>
                </a:lnTo>
                <a:lnTo>
                  <a:pt x="616" y="1593"/>
                </a:lnTo>
                <a:lnTo>
                  <a:pt x="611" y="1596"/>
                </a:lnTo>
                <a:lnTo>
                  <a:pt x="607" y="1598"/>
                </a:lnTo>
                <a:lnTo>
                  <a:pt x="600" y="1601"/>
                </a:lnTo>
                <a:lnTo>
                  <a:pt x="583" y="1605"/>
                </a:lnTo>
                <a:lnTo>
                  <a:pt x="560" y="1609"/>
                </a:lnTo>
                <a:lnTo>
                  <a:pt x="535" y="1612"/>
                </a:lnTo>
                <a:lnTo>
                  <a:pt x="474" y="1620"/>
                </a:lnTo>
                <a:lnTo>
                  <a:pt x="443" y="1624"/>
                </a:lnTo>
                <a:lnTo>
                  <a:pt x="412" y="1629"/>
                </a:lnTo>
                <a:lnTo>
                  <a:pt x="382" y="1636"/>
                </a:lnTo>
                <a:lnTo>
                  <a:pt x="356" y="1642"/>
                </a:lnTo>
                <a:lnTo>
                  <a:pt x="344" y="1646"/>
                </a:lnTo>
                <a:lnTo>
                  <a:pt x="332" y="1650"/>
                </a:lnTo>
                <a:lnTo>
                  <a:pt x="322" y="1654"/>
                </a:lnTo>
                <a:lnTo>
                  <a:pt x="314" y="1659"/>
                </a:lnTo>
                <a:lnTo>
                  <a:pt x="307" y="1664"/>
                </a:lnTo>
                <a:lnTo>
                  <a:pt x="302" y="1669"/>
                </a:lnTo>
                <a:lnTo>
                  <a:pt x="298" y="1676"/>
                </a:lnTo>
                <a:lnTo>
                  <a:pt x="296" y="1682"/>
                </a:lnTo>
                <a:lnTo>
                  <a:pt x="296" y="1682"/>
                </a:lnTo>
                <a:lnTo>
                  <a:pt x="295" y="1687"/>
                </a:lnTo>
                <a:lnTo>
                  <a:pt x="295" y="1696"/>
                </a:lnTo>
                <a:lnTo>
                  <a:pt x="296" y="1707"/>
                </a:lnTo>
                <a:lnTo>
                  <a:pt x="298" y="1713"/>
                </a:lnTo>
                <a:lnTo>
                  <a:pt x="300" y="1718"/>
                </a:lnTo>
                <a:lnTo>
                  <a:pt x="300" y="1718"/>
                </a:lnTo>
                <a:lnTo>
                  <a:pt x="301" y="1725"/>
                </a:lnTo>
                <a:lnTo>
                  <a:pt x="301" y="1731"/>
                </a:lnTo>
                <a:lnTo>
                  <a:pt x="298" y="1737"/>
                </a:lnTo>
                <a:lnTo>
                  <a:pt x="293" y="1743"/>
                </a:lnTo>
                <a:lnTo>
                  <a:pt x="283" y="1757"/>
                </a:lnTo>
                <a:lnTo>
                  <a:pt x="269" y="1775"/>
                </a:lnTo>
                <a:lnTo>
                  <a:pt x="261" y="1785"/>
                </a:lnTo>
                <a:lnTo>
                  <a:pt x="254" y="1795"/>
                </a:lnTo>
                <a:lnTo>
                  <a:pt x="246" y="1807"/>
                </a:lnTo>
                <a:lnTo>
                  <a:pt x="240" y="1820"/>
                </a:lnTo>
                <a:lnTo>
                  <a:pt x="234" y="1834"/>
                </a:lnTo>
                <a:lnTo>
                  <a:pt x="230" y="1849"/>
                </a:lnTo>
                <a:lnTo>
                  <a:pt x="226" y="1866"/>
                </a:lnTo>
                <a:lnTo>
                  <a:pt x="225" y="1884"/>
                </a:lnTo>
                <a:lnTo>
                  <a:pt x="225" y="1884"/>
                </a:lnTo>
                <a:lnTo>
                  <a:pt x="225" y="1893"/>
                </a:lnTo>
                <a:lnTo>
                  <a:pt x="225" y="1902"/>
                </a:lnTo>
                <a:lnTo>
                  <a:pt x="228" y="1920"/>
                </a:lnTo>
                <a:lnTo>
                  <a:pt x="233" y="1937"/>
                </a:lnTo>
                <a:lnTo>
                  <a:pt x="239" y="1953"/>
                </a:lnTo>
                <a:lnTo>
                  <a:pt x="247" y="1968"/>
                </a:lnTo>
                <a:lnTo>
                  <a:pt x="257" y="1982"/>
                </a:lnTo>
                <a:lnTo>
                  <a:pt x="267" y="1995"/>
                </a:lnTo>
                <a:lnTo>
                  <a:pt x="277" y="2007"/>
                </a:lnTo>
                <a:lnTo>
                  <a:pt x="287" y="2017"/>
                </a:lnTo>
                <a:lnTo>
                  <a:pt x="298" y="2026"/>
                </a:lnTo>
                <a:lnTo>
                  <a:pt x="315" y="2042"/>
                </a:lnTo>
                <a:lnTo>
                  <a:pt x="327" y="2050"/>
                </a:lnTo>
                <a:lnTo>
                  <a:pt x="332" y="2054"/>
                </a:lnTo>
                <a:lnTo>
                  <a:pt x="332" y="2054"/>
                </a:lnTo>
                <a:lnTo>
                  <a:pt x="334" y="2050"/>
                </a:lnTo>
                <a:lnTo>
                  <a:pt x="335" y="2045"/>
                </a:lnTo>
                <a:lnTo>
                  <a:pt x="335" y="2036"/>
                </a:lnTo>
                <a:lnTo>
                  <a:pt x="334" y="2027"/>
                </a:lnTo>
                <a:lnTo>
                  <a:pt x="331" y="2006"/>
                </a:lnTo>
                <a:lnTo>
                  <a:pt x="328" y="1980"/>
                </a:lnTo>
                <a:lnTo>
                  <a:pt x="327" y="1968"/>
                </a:lnTo>
                <a:lnTo>
                  <a:pt x="326" y="1955"/>
                </a:lnTo>
                <a:lnTo>
                  <a:pt x="326" y="1943"/>
                </a:lnTo>
                <a:lnTo>
                  <a:pt x="328" y="1932"/>
                </a:lnTo>
                <a:lnTo>
                  <a:pt x="330" y="1922"/>
                </a:lnTo>
                <a:lnTo>
                  <a:pt x="334" y="1913"/>
                </a:lnTo>
                <a:lnTo>
                  <a:pt x="337" y="1910"/>
                </a:lnTo>
                <a:lnTo>
                  <a:pt x="341" y="1906"/>
                </a:lnTo>
                <a:lnTo>
                  <a:pt x="344" y="1904"/>
                </a:lnTo>
                <a:lnTo>
                  <a:pt x="348" y="1901"/>
                </a:lnTo>
                <a:lnTo>
                  <a:pt x="348" y="1901"/>
                </a:lnTo>
                <a:lnTo>
                  <a:pt x="353" y="1900"/>
                </a:lnTo>
                <a:lnTo>
                  <a:pt x="357" y="1900"/>
                </a:lnTo>
                <a:lnTo>
                  <a:pt x="362" y="1901"/>
                </a:lnTo>
                <a:lnTo>
                  <a:pt x="366" y="1905"/>
                </a:lnTo>
                <a:lnTo>
                  <a:pt x="375" y="1912"/>
                </a:lnTo>
                <a:lnTo>
                  <a:pt x="386" y="1921"/>
                </a:lnTo>
                <a:lnTo>
                  <a:pt x="397" y="1932"/>
                </a:lnTo>
                <a:lnTo>
                  <a:pt x="410" y="1941"/>
                </a:lnTo>
                <a:lnTo>
                  <a:pt x="417" y="1946"/>
                </a:lnTo>
                <a:lnTo>
                  <a:pt x="424" y="1950"/>
                </a:lnTo>
                <a:lnTo>
                  <a:pt x="434" y="1953"/>
                </a:lnTo>
                <a:lnTo>
                  <a:pt x="442" y="1955"/>
                </a:lnTo>
                <a:lnTo>
                  <a:pt x="442" y="1955"/>
                </a:lnTo>
                <a:lnTo>
                  <a:pt x="451" y="1955"/>
                </a:lnTo>
                <a:lnTo>
                  <a:pt x="460" y="1955"/>
                </a:lnTo>
                <a:lnTo>
                  <a:pt x="468" y="1954"/>
                </a:lnTo>
                <a:lnTo>
                  <a:pt x="478" y="1952"/>
                </a:lnTo>
                <a:lnTo>
                  <a:pt x="486" y="1948"/>
                </a:lnTo>
                <a:lnTo>
                  <a:pt x="494" y="1944"/>
                </a:lnTo>
                <a:lnTo>
                  <a:pt x="501" y="1940"/>
                </a:lnTo>
                <a:lnTo>
                  <a:pt x="509" y="1935"/>
                </a:lnTo>
                <a:lnTo>
                  <a:pt x="525" y="1923"/>
                </a:lnTo>
                <a:lnTo>
                  <a:pt x="539" y="1909"/>
                </a:lnTo>
                <a:lnTo>
                  <a:pt x="554" y="1892"/>
                </a:lnTo>
                <a:lnTo>
                  <a:pt x="571" y="1875"/>
                </a:lnTo>
                <a:lnTo>
                  <a:pt x="604" y="1836"/>
                </a:lnTo>
                <a:lnTo>
                  <a:pt x="624" y="1817"/>
                </a:lnTo>
                <a:lnTo>
                  <a:pt x="644" y="1797"/>
                </a:lnTo>
                <a:lnTo>
                  <a:pt x="667" y="1777"/>
                </a:lnTo>
                <a:lnTo>
                  <a:pt x="691" y="1758"/>
                </a:lnTo>
                <a:lnTo>
                  <a:pt x="705" y="1749"/>
                </a:lnTo>
                <a:lnTo>
                  <a:pt x="718" y="1741"/>
                </a:lnTo>
                <a:lnTo>
                  <a:pt x="732" y="1733"/>
                </a:lnTo>
                <a:lnTo>
                  <a:pt x="747" y="1725"/>
                </a:lnTo>
                <a:lnTo>
                  <a:pt x="747" y="1725"/>
                </a:lnTo>
                <a:lnTo>
                  <a:pt x="787" y="1706"/>
                </a:lnTo>
                <a:lnTo>
                  <a:pt x="819" y="1694"/>
                </a:lnTo>
                <a:lnTo>
                  <a:pt x="831" y="1689"/>
                </a:lnTo>
                <a:lnTo>
                  <a:pt x="843" y="1686"/>
                </a:lnTo>
                <a:lnTo>
                  <a:pt x="852" y="1685"/>
                </a:lnTo>
                <a:lnTo>
                  <a:pt x="859" y="1684"/>
                </a:lnTo>
                <a:lnTo>
                  <a:pt x="865" y="1684"/>
                </a:lnTo>
                <a:lnTo>
                  <a:pt x="869" y="1686"/>
                </a:lnTo>
                <a:lnTo>
                  <a:pt x="872" y="1688"/>
                </a:lnTo>
                <a:lnTo>
                  <a:pt x="874" y="1691"/>
                </a:lnTo>
                <a:lnTo>
                  <a:pt x="876" y="1694"/>
                </a:lnTo>
                <a:lnTo>
                  <a:pt x="876" y="1698"/>
                </a:lnTo>
                <a:lnTo>
                  <a:pt x="875" y="1708"/>
                </a:lnTo>
                <a:lnTo>
                  <a:pt x="872" y="1720"/>
                </a:lnTo>
                <a:lnTo>
                  <a:pt x="868" y="1734"/>
                </a:lnTo>
                <a:lnTo>
                  <a:pt x="865" y="1747"/>
                </a:lnTo>
                <a:lnTo>
                  <a:pt x="863" y="1759"/>
                </a:lnTo>
                <a:lnTo>
                  <a:pt x="863" y="1765"/>
                </a:lnTo>
                <a:lnTo>
                  <a:pt x="863" y="1772"/>
                </a:lnTo>
                <a:lnTo>
                  <a:pt x="865" y="1777"/>
                </a:lnTo>
                <a:lnTo>
                  <a:pt x="867" y="1782"/>
                </a:lnTo>
                <a:lnTo>
                  <a:pt x="870" y="1786"/>
                </a:lnTo>
                <a:lnTo>
                  <a:pt x="875" y="1790"/>
                </a:lnTo>
                <a:lnTo>
                  <a:pt x="881" y="1793"/>
                </a:lnTo>
                <a:lnTo>
                  <a:pt x="889" y="1795"/>
                </a:lnTo>
                <a:lnTo>
                  <a:pt x="889" y="1795"/>
                </a:lnTo>
                <a:lnTo>
                  <a:pt x="901" y="1799"/>
                </a:lnTo>
                <a:lnTo>
                  <a:pt x="912" y="1802"/>
                </a:lnTo>
                <a:lnTo>
                  <a:pt x="921" y="1807"/>
                </a:lnTo>
                <a:lnTo>
                  <a:pt x="928" y="1811"/>
                </a:lnTo>
                <a:lnTo>
                  <a:pt x="935" y="1817"/>
                </a:lnTo>
                <a:lnTo>
                  <a:pt x="940" y="1822"/>
                </a:lnTo>
                <a:lnTo>
                  <a:pt x="943" y="1828"/>
                </a:lnTo>
                <a:lnTo>
                  <a:pt x="945" y="1834"/>
                </a:lnTo>
                <a:lnTo>
                  <a:pt x="947" y="1840"/>
                </a:lnTo>
                <a:lnTo>
                  <a:pt x="947" y="1846"/>
                </a:lnTo>
                <a:lnTo>
                  <a:pt x="946" y="1853"/>
                </a:lnTo>
                <a:lnTo>
                  <a:pt x="945" y="1860"/>
                </a:lnTo>
                <a:lnTo>
                  <a:pt x="943" y="1867"/>
                </a:lnTo>
                <a:lnTo>
                  <a:pt x="940" y="1874"/>
                </a:lnTo>
                <a:lnTo>
                  <a:pt x="932" y="1887"/>
                </a:lnTo>
                <a:lnTo>
                  <a:pt x="922" y="1900"/>
                </a:lnTo>
                <a:lnTo>
                  <a:pt x="912" y="1913"/>
                </a:lnTo>
                <a:lnTo>
                  <a:pt x="902" y="1924"/>
                </a:lnTo>
                <a:lnTo>
                  <a:pt x="892" y="1934"/>
                </a:lnTo>
                <a:lnTo>
                  <a:pt x="875" y="1948"/>
                </a:lnTo>
                <a:lnTo>
                  <a:pt x="869" y="1955"/>
                </a:lnTo>
                <a:lnTo>
                  <a:pt x="869" y="1955"/>
                </a:lnTo>
                <a:lnTo>
                  <a:pt x="877" y="1959"/>
                </a:lnTo>
                <a:lnTo>
                  <a:pt x="888" y="1961"/>
                </a:lnTo>
                <a:lnTo>
                  <a:pt x="899" y="1962"/>
                </a:lnTo>
                <a:lnTo>
                  <a:pt x="912" y="1961"/>
                </a:lnTo>
                <a:lnTo>
                  <a:pt x="926" y="1958"/>
                </a:lnTo>
                <a:lnTo>
                  <a:pt x="941" y="1954"/>
                </a:lnTo>
                <a:lnTo>
                  <a:pt x="957" y="1947"/>
                </a:lnTo>
                <a:lnTo>
                  <a:pt x="972" y="1939"/>
                </a:lnTo>
                <a:lnTo>
                  <a:pt x="989" y="1930"/>
                </a:lnTo>
                <a:lnTo>
                  <a:pt x="1004" y="1919"/>
                </a:lnTo>
                <a:lnTo>
                  <a:pt x="1019" y="1906"/>
                </a:lnTo>
                <a:lnTo>
                  <a:pt x="1035" y="1891"/>
                </a:lnTo>
                <a:lnTo>
                  <a:pt x="1048" y="1874"/>
                </a:lnTo>
                <a:lnTo>
                  <a:pt x="1061" y="1855"/>
                </a:lnTo>
                <a:lnTo>
                  <a:pt x="1073" y="1835"/>
                </a:lnTo>
                <a:lnTo>
                  <a:pt x="1083" y="1814"/>
                </a:lnTo>
                <a:lnTo>
                  <a:pt x="1083" y="1814"/>
                </a:lnTo>
                <a:lnTo>
                  <a:pt x="1086" y="1805"/>
                </a:lnTo>
                <a:lnTo>
                  <a:pt x="1089" y="1799"/>
                </a:lnTo>
                <a:lnTo>
                  <a:pt x="1092" y="1794"/>
                </a:lnTo>
                <a:lnTo>
                  <a:pt x="1096" y="1790"/>
                </a:lnTo>
                <a:lnTo>
                  <a:pt x="1100" y="1787"/>
                </a:lnTo>
                <a:lnTo>
                  <a:pt x="1103" y="1784"/>
                </a:lnTo>
                <a:lnTo>
                  <a:pt x="1111" y="1781"/>
                </a:lnTo>
                <a:lnTo>
                  <a:pt x="1120" y="1778"/>
                </a:lnTo>
                <a:lnTo>
                  <a:pt x="1129" y="1774"/>
                </a:lnTo>
                <a:lnTo>
                  <a:pt x="1138" y="1768"/>
                </a:lnTo>
                <a:lnTo>
                  <a:pt x="1143" y="1763"/>
                </a:lnTo>
                <a:lnTo>
                  <a:pt x="1148" y="1758"/>
                </a:lnTo>
                <a:lnTo>
                  <a:pt x="1148" y="1758"/>
                </a:lnTo>
                <a:lnTo>
                  <a:pt x="1151" y="1752"/>
                </a:lnTo>
                <a:lnTo>
                  <a:pt x="1154" y="1746"/>
                </a:lnTo>
                <a:lnTo>
                  <a:pt x="1158" y="1740"/>
                </a:lnTo>
                <a:lnTo>
                  <a:pt x="1159" y="1734"/>
                </a:lnTo>
                <a:lnTo>
                  <a:pt x="1160" y="1719"/>
                </a:lnTo>
                <a:lnTo>
                  <a:pt x="1160" y="1705"/>
                </a:lnTo>
                <a:lnTo>
                  <a:pt x="1160" y="1690"/>
                </a:lnTo>
                <a:lnTo>
                  <a:pt x="1160" y="1676"/>
                </a:lnTo>
                <a:lnTo>
                  <a:pt x="1162" y="1661"/>
                </a:lnTo>
                <a:lnTo>
                  <a:pt x="1164" y="1655"/>
                </a:lnTo>
                <a:lnTo>
                  <a:pt x="1166" y="1649"/>
                </a:lnTo>
                <a:lnTo>
                  <a:pt x="1166" y="1649"/>
                </a:lnTo>
                <a:lnTo>
                  <a:pt x="1170" y="1643"/>
                </a:lnTo>
                <a:lnTo>
                  <a:pt x="1174" y="1638"/>
                </a:lnTo>
                <a:lnTo>
                  <a:pt x="1178" y="1633"/>
                </a:lnTo>
                <a:lnTo>
                  <a:pt x="1183" y="1628"/>
                </a:lnTo>
                <a:lnTo>
                  <a:pt x="1195" y="1620"/>
                </a:lnTo>
                <a:lnTo>
                  <a:pt x="1209" y="1614"/>
                </a:lnTo>
                <a:lnTo>
                  <a:pt x="1223" y="1609"/>
                </a:lnTo>
                <a:lnTo>
                  <a:pt x="1237" y="1605"/>
                </a:lnTo>
                <a:lnTo>
                  <a:pt x="1268" y="1597"/>
                </a:lnTo>
                <a:lnTo>
                  <a:pt x="1298" y="1591"/>
                </a:lnTo>
                <a:lnTo>
                  <a:pt x="1310" y="1587"/>
                </a:lnTo>
                <a:lnTo>
                  <a:pt x="1321" y="1581"/>
                </a:lnTo>
                <a:lnTo>
                  <a:pt x="1329" y="1575"/>
                </a:lnTo>
                <a:lnTo>
                  <a:pt x="1333" y="1572"/>
                </a:lnTo>
                <a:lnTo>
                  <a:pt x="1335" y="1568"/>
                </a:lnTo>
                <a:lnTo>
                  <a:pt x="1338" y="1564"/>
                </a:lnTo>
                <a:lnTo>
                  <a:pt x="1340" y="1559"/>
                </a:lnTo>
                <a:lnTo>
                  <a:pt x="1340" y="1554"/>
                </a:lnTo>
                <a:lnTo>
                  <a:pt x="1340" y="1549"/>
                </a:lnTo>
                <a:lnTo>
                  <a:pt x="1340" y="1549"/>
                </a:lnTo>
                <a:lnTo>
                  <a:pt x="1338" y="1534"/>
                </a:lnTo>
                <a:lnTo>
                  <a:pt x="1338" y="1521"/>
                </a:lnTo>
                <a:lnTo>
                  <a:pt x="1341" y="1509"/>
                </a:lnTo>
                <a:lnTo>
                  <a:pt x="1345" y="1499"/>
                </a:lnTo>
                <a:lnTo>
                  <a:pt x="1350" y="1488"/>
                </a:lnTo>
                <a:lnTo>
                  <a:pt x="1355" y="1480"/>
                </a:lnTo>
                <a:lnTo>
                  <a:pt x="1362" y="1472"/>
                </a:lnTo>
                <a:lnTo>
                  <a:pt x="1370" y="1465"/>
                </a:lnTo>
                <a:lnTo>
                  <a:pt x="1378" y="1459"/>
                </a:lnTo>
                <a:lnTo>
                  <a:pt x="1388" y="1453"/>
                </a:lnTo>
                <a:lnTo>
                  <a:pt x="1406" y="1443"/>
                </a:lnTo>
                <a:lnTo>
                  <a:pt x="1424" y="1435"/>
                </a:lnTo>
                <a:lnTo>
                  <a:pt x="1441" y="1428"/>
                </a:lnTo>
                <a:lnTo>
                  <a:pt x="1441" y="1428"/>
                </a:lnTo>
                <a:lnTo>
                  <a:pt x="1443" y="1428"/>
                </a:lnTo>
                <a:lnTo>
                  <a:pt x="1444" y="1429"/>
                </a:lnTo>
                <a:lnTo>
                  <a:pt x="1447" y="1431"/>
                </a:lnTo>
                <a:lnTo>
                  <a:pt x="1449" y="1436"/>
                </a:lnTo>
                <a:lnTo>
                  <a:pt x="1453" y="1443"/>
                </a:lnTo>
                <a:lnTo>
                  <a:pt x="1461" y="1462"/>
                </a:lnTo>
                <a:lnTo>
                  <a:pt x="1467" y="1473"/>
                </a:lnTo>
                <a:lnTo>
                  <a:pt x="1474" y="1485"/>
                </a:lnTo>
                <a:lnTo>
                  <a:pt x="1484" y="1498"/>
                </a:lnTo>
                <a:lnTo>
                  <a:pt x="1494" y="1511"/>
                </a:lnTo>
                <a:lnTo>
                  <a:pt x="1506" y="1525"/>
                </a:lnTo>
                <a:lnTo>
                  <a:pt x="1522" y="1539"/>
                </a:lnTo>
                <a:lnTo>
                  <a:pt x="1539" y="1552"/>
                </a:lnTo>
                <a:lnTo>
                  <a:pt x="1559" y="1564"/>
                </a:lnTo>
                <a:lnTo>
                  <a:pt x="1583" y="1576"/>
                </a:lnTo>
                <a:lnTo>
                  <a:pt x="1609" y="1587"/>
                </a:lnTo>
                <a:lnTo>
                  <a:pt x="1609" y="1587"/>
                </a:lnTo>
                <a:lnTo>
                  <a:pt x="1684" y="1556"/>
                </a:lnTo>
                <a:lnTo>
                  <a:pt x="1730" y="1534"/>
                </a:lnTo>
                <a:lnTo>
                  <a:pt x="1757" y="1521"/>
                </a:lnTo>
                <a:lnTo>
                  <a:pt x="1786" y="1506"/>
                </a:lnTo>
                <a:lnTo>
                  <a:pt x="1786" y="1506"/>
                </a:lnTo>
                <a:lnTo>
                  <a:pt x="1818" y="1489"/>
                </a:lnTo>
                <a:lnTo>
                  <a:pt x="1848" y="1472"/>
                </a:lnTo>
                <a:lnTo>
                  <a:pt x="1860" y="1464"/>
                </a:lnTo>
                <a:lnTo>
                  <a:pt x="1871" y="1457"/>
                </a:lnTo>
                <a:lnTo>
                  <a:pt x="1881" y="1449"/>
                </a:lnTo>
                <a:lnTo>
                  <a:pt x="1889" y="1442"/>
                </a:lnTo>
                <a:lnTo>
                  <a:pt x="1889" y="1442"/>
                </a:lnTo>
                <a:lnTo>
                  <a:pt x="1888" y="1440"/>
                </a:lnTo>
                <a:lnTo>
                  <a:pt x="1887" y="1438"/>
                </a:lnTo>
                <a:lnTo>
                  <a:pt x="1879" y="1431"/>
                </a:lnTo>
                <a:lnTo>
                  <a:pt x="1868" y="1420"/>
                </a:lnTo>
                <a:lnTo>
                  <a:pt x="1855" y="1406"/>
                </a:lnTo>
                <a:lnTo>
                  <a:pt x="1840" y="1388"/>
                </a:lnTo>
                <a:lnTo>
                  <a:pt x="1825" y="1369"/>
                </a:lnTo>
                <a:lnTo>
                  <a:pt x="1818" y="1358"/>
                </a:lnTo>
                <a:lnTo>
                  <a:pt x="1812" y="1345"/>
                </a:lnTo>
                <a:lnTo>
                  <a:pt x="1807" y="1334"/>
                </a:lnTo>
                <a:lnTo>
                  <a:pt x="1802" y="1321"/>
                </a:lnTo>
                <a:lnTo>
                  <a:pt x="1802" y="1321"/>
                </a:lnTo>
                <a:lnTo>
                  <a:pt x="1799" y="1308"/>
                </a:lnTo>
                <a:lnTo>
                  <a:pt x="1796" y="1297"/>
                </a:lnTo>
                <a:lnTo>
                  <a:pt x="1794" y="1288"/>
                </a:lnTo>
                <a:lnTo>
                  <a:pt x="1794" y="1279"/>
                </a:lnTo>
                <a:lnTo>
                  <a:pt x="1794" y="1272"/>
                </a:lnTo>
                <a:lnTo>
                  <a:pt x="1794" y="1267"/>
                </a:lnTo>
                <a:lnTo>
                  <a:pt x="1795" y="1263"/>
                </a:lnTo>
                <a:lnTo>
                  <a:pt x="1796" y="1261"/>
                </a:lnTo>
                <a:lnTo>
                  <a:pt x="1796" y="1261"/>
                </a:lnTo>
                <a:lnTo>
                  <a:pt x="1809" y="1278"/>
                </a:lnTo>
                <a:lnTo>
                  <a:pt x="1824" y="1295"/>
                </a:lnTo>
                <a:lnTo>
                  <a:pt x="1845" y="1316"/>
                </a:lnTo>
                <a:lnTo>
                  <a:pt x="1857" y="1327"/>
                </a:lnTo>
                <a:lnTo>
                  <a:pt x="1869" y="1338"/>
                </a:lnTo>
                <a:lnTo>
                  <a:pt x="1883" y="1349"/>
                </a:lnTo>
                <a:lnTo>
                  <a:pt x="1899" y="1361"/>
                </a:lnTo>
                <a:lnTo>
                  <a:pt x="1915" y="1372"/>
                </a:lnTo>
                <a:lnTo>
                  <a:pt x="1932" y="1381"/>
                </a:lnTo>
                <a:lnTo>
                  <a:pt x="1949" y="1390"/>
                </a:lnTo>
                <a:lnTo>
                  <a:pt x="1967" y="1398"/>
                </a:lnTo>
                <a:lnTo>
                  <a:pt x="1967" y="1398"/>
                </a:lnTo>
                <a:lnTo>
                  <a:pt x="2021" y="1370"/>
                </a:lnTo>
                <a:lnTo>
                  <a:pt x="2075" y="1340"/>
                </a:lnTo>
                <a:lnTo>
                  <a:pt x="2129" y="1307"/>
                </a:lnTo>
                <a:lnTo>
                  <a:pt x="2183" y="1273"/>
                </a:lnTo>
                <a:lnTo>
                  <a:pt x="2183" y="1273"/>
                </a:lnTo>
                <a:lnTo>
                  <a:pt x="2218" y="1249"/>
                </a:lnTo>
                <a:lnTo>
                  <a:pt x="2218" y="1249"/>
                </a:lnTo>
                <a:lnTo>
                  <a:pt x="2219" y="1248"/>
                </a:lnTo>
                <a:lnTo>
                  <a:pt x="2219" y="1248"/>
                </a:lnTo>
                <a:lnTo>
                  <a:pt x="2220" y="1246"/>
                </a:lnTo>
                <a:lnTo>
                  <a:pt x="2219" y="1244"/>
                </a:lnTo>
                <a:lnTo>
                  <a:pt x="2215" y="1237"/>
                </a:lnTo>
                <a:lnTo>
                  <a:pt x="2207" y="1228"/>
                </a:lnTo>
                <a:lnTo>
                  <a:pt x="2196" y="1217"/>
                </a:lnTo>
                <a:lnTo>
                  <a:pt x="2171" y="1193"/>
                </a:lnTo>
                <a:lnTo>
                  <a:pt x="2142" y="1164"/>
                </a:lnTo>
                <a:lnTo>
                  <a:pt x="2129" y="1150"/>
                </a:lnTo>
                <a:lnTo>
                  <a:pt x="2118" y="1136"/>
                </a:lnTo>
                <a:lnTo>
                  <a:pt x="2108" y="1121"/>
                </a:lnTo>
                <a:lnTo>
                  <a:pt x="2104" y="1114"/>
                </a:lnTo>
                <a:lnTo>
                  <a:pt x="2101" y="1108"/>
                </a:lnTo>
                <a:lnTo>
                  <a:pt x="2100" y="1101"/>
                </a:lnTo>
                <a:lnTo>
                  <a:pt x="2099" y="1095"/>
                </a:lnTo>
                <a:lnTo>
                  <a:pt x="2099" y="1089"/>
                </a:lnTo>
                <a:lnTo>
                  <a:pt x="2100" y="1084"/>
                </a:lnTo>
                <a:lnTo>
                  <a:pt x="2102" y="1078"/>
                </a:lnTo>
                <a:lnTo>
                  <a:pt x="2106" y="1073"/>
                </a:lnTo>
                <a:lnTo>
                  <a:pt x="2112" y="1069"/>
                </a:lnTo>
                <a:lnTo>
                  <a:pt x="2119" y="1065"/>
                </a:lnTo>
                <a:lnTo>
                  <a:pt x="2119" y="1065"/>
                </a:lnTo>
                <a:lnTo>
                  <a:pt x="2125" y="1061"/>
                </a:lnTo>
                <a:lnTo>
                  <a:pt x="2130" y="1056"/>
                </a:lnTo>
                <a:lnTo>
                  <a:pt x="2133" y="1051"/>
                </a:lnTo>
                <a:lnTo>
                  <a:pt x="2135" y="1045"/>
                </a:lnTo>
                <a:lnTo>
                  <a:pt x="2136" y="1039"/>
                </a:lnTo>
                <a:lnTo>
                  <a:pt x="2136" y="1030"/>
                </a:lnTo>
                <a:lnTo>
                  <a:pt x="2136" y="1023"/>
                </a:lnTo>
                <a:lnTo>
                  <a:pt x="2134" y="1014"/>
                </a:lnTo>
                <a:lnTo>
                  <a:pt x="2129" y="997"/>
                </a:lnTo>
                <a:lnTo>
                  <a:pt x="2121" y="977"/>
                </a:lnTo>
                <a:lnTo>
                  <a:pt x="2102" y="935"/>
                </a:lnTo>
                <a:lnTo>
                  <a:pt x="2093" y="914"/>
                </a:lnTo>
                <a:lnTo>
                  <a:pt x="2085" y="893"/>
                </a:lnTo>
                <a:lnTo>
                  <a:pt x="2078" y="873"/>
                </a:lnTo>
                <a:lnTo>
                  <a:pt x="2076" y="863"/>
                </a:lnTo>
                <a:lnTo>
                  <a:pt x="2074" y="853"/>
                </a:lnTo>
                <a:lnTo>
                  <a:pt x="2074" y="844"/>
                </a:lnTo>
                <a:lnTo>
                  <a:pt x="2074" y="836"/>
                </a:lnTo>
                <a:lnTo>
                  <a:pt x="2075" y="828"/>
                </a:lnTo>
                <a:lnTo>
                  <a:pt x="2077" y="821"/>
                </a:lnTo>
                <a:lnTo>
                  <a:pt x="2080" y="814"/>
                </a:lnTo>
                <a:lnTo>
                  <a:pt x="2085" y="807"/>
                </a:lnTo>
                <a:lnTo>
                  <a:pt x="2091" y="801"/>
                </a:lnTo>
                <a:lnTo>
                  <a:pt x="2099" y="797"/>
                </a:lnTo>
                <a:lnTo>
                  <a:pt x="2099" y="797"/>
                </a:lnTo>
                <a:lnTo>
                  <a:pt x="2200" y="744"/>
                </a:lnTo>
                <a:lnTo>
                  <a:pt x="2306" y="693"/>
                </a:lnTo>
                <a:lnTo>
                  <a:pt x="2410" y="642"/>
                </a:lnTo>
                <a:lnTo>
                  <a:pt x="2513" y="592"/>
                </a:lnTo>
                <a:lnTo>
                  <a:pt x="2705" y="501"/>
                </a:lnTo>
                <a:lnTo>
                  <a:pt x="2788" y="461"/>
                </a:lnTo>
                <a:lnTo>
                  <a:pt x="2863" y="424"/>
                </a:lnTo>
                <a:lnTo>
                  <a:pt x="2863" y="424"/>
                </a:lnTo>
                <a:lnTo>
                  <a:pt x="2859" y="408"/>
                </a:lnTo>
                <a:lnTo>
                  <a:pt x="2853" y="389"/>
                </a:lnTo>
                <a:lnTo>
                  <a:pt x="2843" y="366"/>
                </a:lnTo>
                <a:lnTo>
                  <a:pt x="2836" y="354"/>
                </a:lnTo>
                <a:lnTo>
                  <a:pt x="2829" y="339"/>
                </a:lnTo>
                <a:lnTo>
                  <a:pt x="2821" y="325"/>
                </a:lnTo>
                <a:lnTo>
                  <a:pt x="2812" y="311"/>
                </a:lnTo>
                <a:lnTo>
                  <a:pt x="2801" y="296"/>
                </a:lnTo>
                <a:lnTo>
                  <a:pt x="2788" y="281"/>
                </a:lnTo>
                <a:lnTo>
                  <a:pt x="2774" y="267"/>
                </a:lnTo>
                <a:lnTo>
                  <a:pt x="2759" y="25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5" name="Freeform 32"/>
          <p:cNvSpPr>
            <a:spLocks/>
          </p:cNvSpPr>
          <p:nvPr userDrawn="1"/>
        </p:nvSpPr>
        <p:spPr bwMode="auto">
          <a:xfrm>
            <a:off x="7194551" y="1861841"/>
            <a:ext cx="161925" cy="153988"/>
          </a:xfrm>
          <a:custGeom>
            <a:avLst/>
            <a:gdLst>
              <a:gd name="T0" fmla="*/ 2 w 1226"/>
              <a:gd name="T1" fmla="*/ 386 h 1168"/>
              <a:gd name="T2" fmla="*/ 22 w 1226"/>
              <a:gd name="T3" fmla="*/ 434 h 1168"/>
              <a:gd name="T4" fmla="*/ 61 w 1226"/>
              <a:gd name="T5" fmla="*/ 466 h 1168"/>
              <a:gd name="T6" fmla="*/ 120 w 1226"/>
              <a:gd name="T7" fmla="*/ 479 h 1168"/>
              <a:gd name="T8" fmla="*/ 142 w 1226"/>
              <a:gd name="T9" fmla="*/ 469 h 1168"/>
              <a:gd name="T10" fmla="*/ 160 w 1226"/>
              <a:gd name="T11" fmla="*/ 436 h 1168"/>
              <a:gd name="T12" fmla="*/ 164 w 1226"/>
              <a:gd name="T13" fmla="*/ 370 h 1168"/>
              <a:gd name="T14" fmla="*/ 174 w 1226"/>
              <a:gd name="T15" fmla="*/ 344 h 1168"/>
              <a:gd name="T16" fmla="*/ 198 w 1226"/>
              <a:gd name="T17" fmla="*/ 331 h 1168"/>
              <a:gd name="T18" fmla="*/ 223 w 1226"/>
              <a:gd name="T19" fmla="*/ 318 h 1168"/>
              <a:gd name="T20" fmla="*/ 427 w 1226"/>
              <a:gd name="T21" fmla="*/ 416 h 1168"/>
              <a:gd name="T22" fmla="*/ 628 w 1226"/>
              <a:gd name="T23" fmla="*/ 534 h 1168"/>
              <a:gd name="T24" fmla="*/ 876 w 1226"/>
              <a:gd name="T25" fmla="*/ 703 h 1168"/>
              <a:gd name="T26" fmla="*/ 868 w 1226"/>
              <a:gd name="T27" fmla="*/ 783 h 1168"/>
              <a:gd name="T28" fmla="*/ 779 w 1226"/>
              <a:gd name="T29" fmla="*/ 957 h 1168"/>
              <a:gd name="T30" fmla="*/ 753 w 1226"/>
              <a:gd name="T31" fmla="*/ 1040 h 1168"/>
              <a:gd name="T32" fmla="*/ 754 w 1226"/>
              <a:gd name="T33" fmla="*/ 1090 h 1168"/>
              <a:gd name="T34" fmla="*/ 771 w 1226"/>
              <a:gd name="T35" fmla="*/ 1130 h 1168"/>
              <a:gd name="T36" fmla="*/ 801 w 1226"/>
              <a:gd name="T37" fmla="*/ 1157 h 1168"/>
              <a:gd name="T38" fmla="*/ 842 w 1226"/>
              <a:gd name="T39" fmla="*/ 1168 h 1168"/>
              <a:gd name="T40" fmla="*/ 880 w 1226"/>
              <a:gd name="T41" fmla="*/ 1163 h 1168"/>
              <a:gd name="T42" fmla="*/ 919 w 1226"/>
              <a:gd name="T43" fmla="*/ 1140 h 1168"/>
              <a:gd name="T44" fmla="*/ 944 w 1226"/>
              <a:gd name="T45" fmla="*/ 1107 h 1168"/>
              <a:gd name="T46" fmla="*/ 952 w 1226"/>
              <a:gd name="T47" fmla="*/ 1060 h 1168"/>
              <a:gd name="T48" fmla="*/ 930 w 1226"/>
              <a:gd name="T49" fmla="*/ 1010 h 1168"/>
              <a:gd name="T50" fmla="*/ 885 w 1226"/>
              <a:gd name="T51" fmla="*/ 989 h 1168"/>
              <a:gd name="T52" fmla="*/ 919 w 1226"/>
              <a:gd name="T53" fmla="*/ 879 h 1168"/>
              <a:gd name="T54" fmla="*/ 954 w 1226"/>
              <a:gd name="T55" fmla="*/ 807 h 1168"/>
              <a:gd name="T56" fmla="*/ 1024 w 1226"/>
              <a:gd name="T57" fmla="*/ 715 h 1168"/>
              <a:gd name="T58" fmla="*/ 1095 w 1226"/>
              <a:gd name="T59" fmla="*/ 673 h 1168"/>
              <a:gd name="T60" fmla="*/ 1125 w 1226"/>
              <a:gd name="T61" fmla="*/ 670 h 1168"/>
              <a:gd name="T62" fmla="*/ 1099 w 1226"/>
              <a:gd name="T63" fmla="*/ 633 h 1168"/>
              <a:gd name="T64" fmla="*/ 1083 w 1226"/>
              <a:gd name="T65" fmla="*/ 543 h 1168"/>
              <a:gd name="T66" fmla="*/ 1096 w 1226"/>
              <a:gd name="T67" fmla="*/ 477 h 1168"/>
              <a:gd name="T68" fmla="*/ 1132 w 1226"/>
              <a:gd name="T69" fmla="*/ 395 h 1168"/>
              <a:gd name="T70" fmla="*/ 1195 w 1226"/>
              <a:gd name="T71" fmla="*/ 258 h 1168"/>
              <a:gd name="T72" fmla="*/ 1225 w 1226"/>
              <a:gd name="T73" fmla="*/ 141 h 1168"/>
              <a:gd name="T74" fmla="*/ 1217 w 1226"/>
              <a:gd name="T75" fmla="*/ 95 h 1168"/>
              <a:gd name="T76" fmla="*/ 1187 w 1226"/>
              <a:gd name="T77" fmla="*/ 55 h 1168"/>
              <a:gd name="T78" fmla="*/ 1144 w 1226"/>
              <a:gd name="T79" fmla="*/ 34 h 1168"/>
              <a:gd name="T80" fmla="*/ 1104 w 1226"/>
              <a:gd name="T81" fmla="*/ 35 h 1168"/>
              <a:gd name="T82" fmla="*/ 1061 w 1226"/>
              <a:gd name="T83" fmla="*/ 57 h 1168"/>
              <a:gd name="T84" fmla="*/ 1033 w 1226"/>
              <a:gd name="T85" fmla="*/ 94 h 1168"/>
              <a:gd name="T86" fmla="*/ 1025 w 1226"/>
              <a:gd name="T87" fmla="*/ 139 h 1168"/>
              <a:gd name="T88" fmla="*/ 1048 w 1226"/>
              <a:gd name="T89" fmla="*/ 205 h 1168"/>
              <a:gd name="T90" fmla="*/ 1095 w 1226"/>
              <a:gd name="T91" fmla="*/ 230 h 1168"/>
              <a:gd name="T92" fmla="*/ 1107 w 1226"/>
              <a:gd name="T93" fmla="*/ 240 h 1168"/>
              <a:gd name="T94" fmla="*/ 1044 w 1226"/>
              <a:gd name="T95" fmla="*/ 390 h 1168"/>
              <a:gd name="T96" fmla="*/ 975 w 1226"/>
              <a:gd name="T97" fmla="*/ 431 h 1168"/>
              <a:gd name="T98" fmla="*/ 717 w 1226"/>
              <a:gd name="T99" fmla="*/ 289 h 1168"/>
              <a:gd name="T100" fmla="*/ 529 w 1226"/>
              <a:gd name="T101" fmla="*/ 205 h 1168"/>
              <a:gd name="T102" fmla="*/ 317 w 1226"/>
              <a:gd name="T103" fmla="*/ 140 h 1168"/>
              <a:gd name="T104" fmla="*/ 378 w 1226"/>
              <a:gd name="T105" fmla="*/ 31 h 1168"/>
              <a:gd name="T106" fmla="*/ 389 w 1226"/>
              <a:gd name="T107" fmla="*/ 0 h 1168"/>
              <a:gd name="T108" fmla="*/ 367 w 1226"/>
              <a:gd name="T109" fmla="*/ 10 h 1168"/>
              <a:gd name="T110" fmla="*/ 285 w 1226"/>
              <a:gd name="T111" fmla="*/ 57 h 1168"/>
              <a:gd name="T112" fmla="*/ 211 w 1226"/>
              <a:gd name="T113" fmla="*/ 85 h 1168"/>
              <a:gd name="T114" fmla="*/ 147 w 1226"/>
              <a:gd name="T115" fmla="*/ 85 h 1168"/>
              <a:gd name="T116" fmla="*/ 114 w 1226"/>
              <a:gd name="T117" fmla="*/ 85 h 1168"/>
              <a:gd name="T118" fmla="*/ 87 w 1226"/>
              <a:gd name="T119" fmla="*/ 134 h 1168"/>
              <a:gd name="T120" fmla="*/ 42 w 1226"/>
              <a:gd name="T121" fmla="*/ 261 h 1168"/>
              <a:gd name="T122" fmla="*/ 6 w 1226"/>
              <a:gd name="T123" fmla="*/ 327 h 1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6" h="1168">
                <a:moveTo>
                  <a:pt x="1" y="345"/>
                </a:moveTo>
                <a:lnTo>
                  <a:pt x="1" y="345"/>
                </a:lnTo>
                <a:lnTo>
                  <a:pt x="0" y="359"/>
                </a:lnTo>
                <a:lnTo>
                  <a:pt x="0" y="370"/>
                </a:lnTo>
                <a:lnTo>
                  <a:pt x="2" y="386"/>
                </a:lnTo>
                <a:lnTo>
                  <a:pt x="5" y="401"/>
                </a:lnTo>
                <a:lnTo>
                  <a:pt x="8" y="409"/>
                </a:lnTo>
                <a:lnTo>
                  <a:pt x="11" y="417"/>
                </a:lnTo>
                <a:lnTo>
                  <a:pt x="16" y="425"/>
                </a:lnTo>
                <a:lnTo>
                  <a:pt x="22" y="434"/>
                </a:lnTo>
                <a:lnTo>
                  <a:pt x="28" y="442"/>
                </a:lnTo>
                <a:lnTo>
                  <a:pt x="36" y="449"/>
                </a:lnTo>
                <a:lnTo>
                  <a:pt x="36" y="449"/>
                </a:lnTo>
                <a:lnTo>
                  <a:pt x="48" y="458"/>
                </a:lnTo>
                <a:lnTo>
                  <a:pt x="61" y="466"/>
                </a:lnTo>
                <a:lnTo>
                  <a:pt x="76" y="473"/>
                </a:lnTo>
                <a:lnTo>
                  <a:pt x="91" y="478"/>
                </a:lnTo>
                <a:lnTo>
                  <a:pt x="105" y="480"/>
                </a:lnTo>
                <a:lnTo>
                  <a:pt x="113" y="480"/>
                </a:lnTo>
                <a:lnTo>
                  <a:pt x="120" y="479"/>
                </a:lnTo>
                <a:lnTo>
                  <a:pt x="126" y="478"/>
                </a:lnTo>
                <a:lnTo>
                  <a:pt x="132" y="476"/>
                </a:lnTo>
                <a:lnTo>
                  <a:pt x="137" y="473"/>
                </a:lnTo>
                <a:lnTo>
                  <a:pt x="142" y="469"/>
                </a:lnTo>
                <a:lnTo>
                  <a:pt x="142" y="469"/>
                </a:lnTo>
                <a:lnTo>
                  <a:pt x="147" y="464"/>
                </a:lnTo>
                <a:lnTo>
                  <a:pt x="152" y="457"/>
                </a:lnTo>
                <a:lnTo>
                  <a:pt x="155" y="451"/>
                </a:lnTo>
                <a:lnTo>
                  <a:pt x="158" y="444"/>
                </a:lnTo>
                <a:lnTo>
                  <a:pt x="160" y="436"/>
                </a:lnTo>
                <a:lnTo>
                  <a:pt x="161" y="428"/>
                </a:lnTo>
                <a:lnTo>
                  <a:pt x="162" y="411"/>
                </a:lnTo>
                <a:lnTo>
                  <a:pt x="162" y="395"/>
                </a:lnTo>
                <a:lnTo>
                  <a:pt x="163" y="378"/>
                </a:lnTo>
                <a:lnTo>
                  <a:pt x="164" y="370"/>
                </a:lnTo>
                <a:lnTo>
                  <a:pt x="166" y="362"/>
                </a:lnTo>
                <a:lnTo>
                  <a:pt x="168" y="355"/>
                </a:lnTo>
                <a:lnTo>
                  <a:pt x="172" y="347"/>
                </a:lnTo>
                <a:lnTo>
                  <a:pt x="172" y="347"/>
                </a:lnTo>
                <a:lnTo>
                  <a:pt x="174" y="344"/>
                </a:lnTo>
                <a:lnTo>
                  <a:pt x="178" y="341"/>
                </a:lnTo>
                <a:lnTo>
                  <a:pt x="187" y="335"/>
                </a:lnTo>
                <a:lnTo>
                  <a:pt x="195" y="332"/>
                </a:lnTo>
                <a:lnTo>
                  <a:pt x="198" y="331"/>
                </a:lnTo>
                <a:lnTo>
                  <a:pt x="198" y="331"/>
                </a:lnTo>
                <a:lnTo>
                  <a:pt x="205" y="329"/>
                </a:lnTo>
                <a:lnTo>
                  <a:pt x="211" y="326"/>
                </a:lnTo>
                <a:lnTo>
                  <a:pt x="217" y="323"/>
                </a:lnTo>
                <a:lnTo>
                  <a:pt x="223" y="318"/>
                </a:lnTo>
                <a:lnTo>
                  <a:pt x="223" y="318"/>
                </a:lnTo>
                <a:lnTo>
                  <a:pt x="264" y="337"/>
                </a:lnTo>
                <a:lnTo>
                  <a:pt x="305" y="355"/>
                </a:lnTo>
                <a:lnTo>
                  <a:pt x="347" y="374"/>
                </a:lnTo>
                <a:lnTo>
                  <a:pt x="388" y="395"/>
                </a:lnTo>
                <a:lnTo>
                  <a:pt x="427" y="416"/>
                </a:lnTo>
                <a:lnTo>
                  <a:pt x="468" y="439"/>
                </a:lnTo>
                <a:lnTo>
                  <a:pt x="509" y="461"/>
                </a:lnTo>
                <a:lnTo>
                  <a:pt x="549" y="485"/>
                </a:lnTo>
                <a:lnTo>
                  <a:pt x="589" y="509"/>
                </a:lnTo>
                <a:lnTo>
                  <a:pt x="628" y="534"/>
                </a:lnTo>
                <a:lnTo>
                  <a:pt x="706" y="584"/>
                </a:lnTo>
                <a:lnTo>
                  <a:pt x="782" y="636"/>
                </a:lnTo>
                <a:lnTo>
                  <a:pt x="857" y="689"/>
                </a:lnTo>
                <a:lnTo>
                  <a:pt x="857" y="689"/>
                </a:lnTo>
                <a:lnTo>
                  <a:pt x="876" y="703"/>
                </a:lnTo>
                <a:lnTo>
                  <a:pt x="894" y="714"/>
                </a:lnTo>
                <a:lnTo>
                  <a:pt x="894" y="714"/>
                </a:lnTo>
                <a:lnTo>
                  <a:pt x="887" y="736"/>
                </a:lnTo>
                <a:lnTo>
                  <a:pt x="878" y="759"/>
                </a:lnTo>
                <a:lnTo>
                  <a:pt x="868" y="783"/>
                </a:lnTo>
                <a:lnTo>
                  <a:pt x="856" y="809"/>
                </a:lnTo>
                <a:lnTo>
                  <a:pt x="856" y="809"/>
                </a:lnTo>
                <a:lnTo>
                  <a:pt x="816" y="885"/>
                </a:lnTo>
                <a:lnTo>
                  <a:pt x="797" y="921"/>
                </a:lnTo>
                <a:lnTo>
                  <a:pt x="779" y="957"/>
                </a:lnTo>
                <a:lnTo>
                  <a:pt x="772" y="975"/>
                </a:lnTo>
                <a:lnTo>
                  <a:pt x="766" y="992"/>
                </a:lnTo>
                <a:lnTo>
                  <a:pt x="760" y="1008"/>
                </a:lnTo>
                <a:lnTo>
                  <a:pt x="756" y="1025"/>
                </a:lnTo>
                <a:lnTo>
                  <a:pt x="753" y="1040"/>
                </a:lnTo>
                <a:lnTo>
                  <a:pt x="751" y="1054"/>
                </a:lnTo>
                <a:lnTo>
                  <a:pt x="751" y="1069"/>
                </a:lnTo>
                <a:lnTo>
                  <a:pt x="752" y="1081"/>
                </a:lnTo>
                <a:lnTo>
                  <a:pt x="752" y="1081"/>
                </a:lnTo>
                <a:lnTo>
                  <a:pt x="754" y="1090"/>
                </a:lnTo>
                <a:lnTo>
                  <a:pt x="756" y="1099"/>
                </a:lnTo>
                <a:lnTo>
                  <a:pt x="759" y="1107"/>
                </a:lnTo>
                <a:lnTo>
                  <a:pt x="762" y="1116"/>
                </a:lnTo>
                <a:lnTo>
                  <a:pt x="766" y="1123"/>
                </a:lnTo>
                <a:lnTo>
                  <a:pt x="771" y="1130"/>
                </a:lnTo>
                <a:lnTo>
                  <a:pt x="776" y="1136"/>
                </a:lnTo>
                <a:lnTo>
                  <a:pt x="781" y="1142"/>
                </a:lnTo>
                <a:lnTo>
                  <a:pt x="787" y="1147"/>
                </a:lnTo>
                <a:lnTo>
                  <a:pt x="794" y="1152"/>
                </a:lnTo>
                <a:lnTo>
                  <a:pt x="801" y="1157"/>
                </a:lnTo>
                <a:lnTo>
                  <a:pt x="808" y="1160"/>
                </a:lnTo>
                <a:lnTo>
                  <a:pt x="816" y="1163"/>
                </a:lnTo>
                <a:lnTo>
                  <a:pt x="824" y="1165"/>
                </a:lnTo>
                <a:lnTo>
                  <a:pt x="833" y="1167"/>
                </a:lnTo>
                <a:lnTo>
                  <a:pt x="842" y="1168"/>
                </a:lnTo>
                <a:lnTo>
                  <a:pt x="842" y="1168"/>
                </a:lnTo>
                <a:lnTo>
                  <a:pt x="852" y="1168"/>
                </a:lnTo>
                <a:lnTo>
                  <a:pt x="862" y="1167"/>
                </a:lnTo>
                <a:lnTo>
                  <a:pt x="871" y="1165"/>
                </a:lnTo>
                <a:lnTo>
                  <a:pt x="880" y="1163"/>
                </a:lnTo>
                <a:lnTo>
                  <a:pt x="889" y="1160"/>
                </a:lnTo>
                <a:lnTo>
                  <a:pt x="897" y="1155"/>
                </a:lnTo>
                <a:lnTo>
                  <a:pt x="905" y="1151"/>
                </a:lnTo>
                <a:lnTo>
                  <a:pt x="912" y="1146"/>
                </a:lnTo>
                <a:lnTo>
                  <a:pt x="919" y="1140"/>
                </a:lnTo>
                <a:lnTo>
                  <a:pt x="925" y="1135"/>
                </a:lnTo>
                <a:lnTo>
                  <a:pt x="931" y="1129"/>
                </a:lnTo>
                <a:lnTo>
                  <a:pt x="936" y="1122"/>
                </a:lnTo>
                <a:lnTo>
                  <a:pt x="940" y="1115"/>
                </a:lnTo>
                <a:lnTo>
                  <a:pt x="944" y="1107"/>
                </a:lnTo>
                <a:lnTo>
                  <a:pt x="947" y="1100"/>
                </a:lnTo>
                <a:lnTo>
                  <a:pt x="949" y="1092"/>
                </a:lnTo>
                <a:lnTo>
                  <a:pt x="949" y="1092"/>
                </a:lnTo>
                <a:lnTo>
                  <a:pt x="951" y="1076"/>
                </a:lnTo>
                <a:lnTo>
                  <a:pt x="952" y="1060"/>
                </a:lnTo>
                <a:lnTo>
                  <a:pt x="950" y="1048"/>
                </a:lnTo>
                <a:lnTo>
                  <a:pt x="947" y="1036"/>
                </a:lnTo>
                <a:lnTo>
                  <a:pt x="942" y="1027"/>
                </a:lnTo>
                <a:lnTo>
                  <a:pt x="937" y="1017"/>
                </a:lnTo>
                <a:lnTo>
                  <a:pt x="930" y="1010"/>
                </a:lnTo>
                <a:lnTo>
                  <a:pt x="922" y="1005"/>
                </a:lnTo>
                <a:lnTo>
                  <a:pt x="915" y="1000"/>
                </a:lnTo>
                <a:lnTo>
                  <a:pt x="908" y="996"/>
                </a:lnTo>
                <a:lnTo>
                  <a:pt x="894" y="991"/>
                </a:lnTo>
                <a:lnTo>
                  <a:pt x="885" y="989"/>
                </a:lnTo>
                <a:lnTo>
                  <a:pt x="880" y="989"/>
                </a:lnTo>
                <a:lnTo>
                  <a:pt x="880" y="989"/>
                </a:lnTo>
                <a:lnTo>
                  <a:pt x="896" y="944"/>
                </a:lnTo>
                <a:lnTo>
                  <a:pt x="908" y="908"/>
                </a:lnTo>
                <a:lnTo>
                  <a:pt x="919" y="879"/>
                </a:lnTo>
                <a:lnTo>
                  <a:pt x="919" y="879"/>
                </a:lnTo>
                <a:lnTo>
                  <a:pt x="927" y="859"/>
                </a:lnTo>
                <a:lnTo>
                  <a:pt x="937" y="841"/>
                </a:lnTo>
                <a:lnTo>
                  <a:pt x="945" y="823"/>
                </a:lnTo>
                <a:lnTo>
                  <a:pt x="954" y="807"/>
                </a:lnTo>
                <a:lnTo>
                  <a:pt x="962" y="792"/>
                </a:lnTo>
                <a:lnTo>
                  <a:pt x="971" y="777"/>
                </a:lnTo>
                <a:lnTo>
                  <a:pt x="989" y="753"/>
                </a:lnTo>
                <a:lnTo>
                  <a:pt x="1006" y="732"/>
                </a:lnTo>
                <a:lnTo>
                  <a:pt x="1024" y="715"/>
                </a:lnTo>
                <a:lnTo>
                  <a:pt x="1040" y="702"/>
                </a:lnTo>
                <a:lnTo>
                  <a:pt x="1055" y="690"/>
                </a:lnTo>
                <a:lnTo>
                  <a:pt x="1070" y="683"/>
                </a:lnTo>
                <a:lnTo>
                  <a:pt x="1083" y="677"/>
                </a:lnTo>
                <a:lnTo>
                  <a:pt x="1095" y="673"/>
                </a:lnTo>
                <a:lnTo>
                  <a:pt x="1105" y="671"/>
                </a:lnTo>
                <a:lnTo>
                  <a:pt x="1114" y="670"/>
                </a:lnTo>
                <a:lnTo>
                  <a:pt x="1120" y="670"/>
                </a:lnTo>
                <a:lnTo>
                  <a:pt x="1125" y="670"/>
                </a:lnTo>
                <a:lnTo>
                  <a:pt x="1125" y="670"/>
                </a:lnTo>
                <a:lnTo>
                  <a:pt x="1121" y="666"/>
                </a:lnTo>
                <a:lnTo>
                  <a:pt x="1116" y="661"/>
                </a:lnTo>
                <a:lnTo>
                  <a:pt x="1111" y="653"/>
                </a:lnTo>
                <a:lnTo>
                  <a:pt x="1104" y="644"/>
                </a:lnTo>
                <a:lnTo>
                  <a:pt x="1099" y="633"/>
                </a:lnTo>
                <a:lnTo>
                  <a:pt x="1093" y="620"/>
                </a:lnTo>
                <a:lnTo>
                  <a:pt x="1088" y="603"/>
                </a:lnTo>
                <a:lnTo>
                  <a:pt x="1085" y="586"/>
                </a:lnTo>
                <a:lnTo>
                  <a:pt x="1083" y="566"/>
                </a:lnTo>
                <a:lnTo>
                  <a:pt x="1083" y="543"/>
                </a:lnTo>
                <a:lnTo>
                  <a:pt x="1084" y="531"/>
                </a:lnTo>
                <a:lnTo>
                  <a:pt x="1086" y="519"/>
                </a:lnTo>
                <a:lnTo>
                  <a:pt x="1088" y="505"/>
                </a:lnTo>
                <a:lnTo>
                  <a:pt x="1092" y="491"/>
                </a:lnTo>
                <a:lnTo>
                  <a:pt x="1096" y="477"/>
                </a:lnTo>
                <a:lnTo>
                  <a:pt x="1101" y="461"/>
                </a:lnTo>
                <a:lnTo>
                  <a:pt x="1107" y="446"/>
                </a:lnTo>
                <a:lnTo>
                  <a:pt x="1115" y="430"/>
                </a:lnTo>
                <a:lnTo>
                  <a:pt x="1123" y="412"/>
                </a:lnTo>
                <a:lnTo>
                  <a:pt x="1132" y="395"/>
                </a:lnTo>
                <a:lnTo>
                  <a:pt x="1132" y="395"/>
                </a:lnTo>
                <a:lnTo>
                  <a:pt x="1152" y="358"/>
                </a:lnTo>
                <a:lnTo>
                  <a:pt x="1169" y="322"/>
                </a:lnTo>
                <a:lnTo>
                  <a:pt x="1184" y="289"/>
                </a:lnTo>
                <a:lnTo>
                  <a:pt x="1195" y="258"/>
                </a:lnTo>
                <a:lnTo>
                  <a:pt x="1206" y="227"/>
                </a:lnTo>
                <a:lnTo>
                  <a:pt x="1214" y="197"/>
                </a:lnTo>
                <a:lnTo>
                  <a:pt x="1220" y="169"/>
                </a:lnTo>
                <a:lnTo>
                  <a:pt x="1225" y="141"/>
                </a:lnTo>
                <a:lnTo>
                  <a:pt x="1225" y="141"/>
                </a:lnTo>
                <a:lnTo>
                  <a:pt x="1226" y="132"/>
                </a:lnTo>
                <a:lnTo>
                  <a:pt x="1225" y="123"/>
                </a:lnTo>
                <a:lnTo>
                  <a:pt x="1224" y="114"/>
                </a:lnTo>
                <a:lnTo>
                  <a:pt x="1221" y="104"/>
                </a:lnTo>
                <a:lnTo>
                  <a:pt x="1217" y="95"/>
                </a:lnTo>
                <a:lnTo>
                  <a:pt x="1213" y="87"/>
                </a:lnTo>
                <a:lnTo>
                  <a:pt x="1208" y="78"/>
                </a:lnTo>
                <a:lnTo>
                  <a:pt x="1202" y="70"/>
                </a:lnTo>
                <a:lnTo>
                  <a:pt x="1194" y="63"/>
                </a:lnTo>
                <a:lnTo>
                  <a:pt x="1187" y="55"/>
                </a:lnTo>
                <a:lnTo>
                  <a:pt x="1179" y="49"/>
                </a:lnTo>
                <a:lnTo>
                  <a:pt x="1171" y="44"/>
                </a:lnTo>
                <a:lnTo>
                  <a:pt x="1163" y="39"/>
                </a:lnTo>
                <a:lnTo>
                  <a:pt x="1153" y="36"/>
                </a:lnTo>
                <a:lnTo>
                  <a:pt x="1144" y="34"/>
                </a:lnTo>
                <a:lnTo>
                  <a:pt x="1134" y="32"/>
                </a:lnTo>
                <a:lnTo>
                  <a:pt x="1134" y="32"/>
                </a:lnTo>
                <a:lnTo>
                  <a:pt x="1124" y="32"/>
                </a:lnTo>
                <a:lnTo>
                  <a:pt x="1115" y="33"/>
                </a:lnTo>
                <a:lnTo>
                  <a:pt x="1104" y="35"/>
                </a:lnTo>
                <a:lnTo>
                  <a:pt x="1095" y="38"/>
                </a:lnTo>
                <a:lnTo>
                  <a:pt x="1086" y="42"/>
                </a:lnTo>
                <a:lnTo>
                  <a:pt x="1078" y="46"/>
                </a:lnTo>
                <a:lnTo>
                  <a:pt x="1070" y="52"/>
                </a:lnTo>
                <a:lnTo>
                  <a:pt x="1061" y="57"/>
                </a:lnTo>
                <a:lnTo>
                  <a:pt x="1054" y="65"/>
                </a:lnTo>
                <a:lnTo>
                  <a:pt x="1048" y="71"/>
                </a:lnTo>
                <a:lnTo>
                  <a:pt x="1042" y="78"/>
                </a:lnTo>
                <a:lnTo>
                  <a:pt x="1037" y="86"/>
                </a:lnTo>
                <a:lnTo>
                  <a:pt x="1033" y="94"/>
                </a:lnTo>
                <a:lnTo>
                  <a:pt x="1029" y="102"/>
                </a:lnTo>
                <a:lnTo>
                  <a:pt x="1027" y="111"/>
                </a:lnTo>
                <a:lnTo>
                  <a:pt x="1026" y="119"/>
                </a:lnTo>
                <a:lnTo>
                  <a:pt x="1026" y="119"/>
                </a:lnTo>
                <a:lnTo>
                  <a:pt x="1025" y="139"/>
                </a:lnTo>
                <a:lnTo>
                  <a:pt x="1026" y="158"/>
                </a:lnTo>
                <a:lnTo>
                  <a:pt x="1030" y="173"/>
                </a:lnTo>
                <a:lnTo>
                  <a:pt x="1035" y="185"/>
                </a:lnTo>
                <a:lnTo>
                  <a:pt x="1041" y="195"/>
                </a:lnTo>
                <a:lnTo>
                  <a:pt x="1048" y="205"/>
                </a:lnTo>
                <a:lnTo>
                  <a:pt x="1056" y="212"/>
                </a:lnTo>
                <a:lnTo>
                  <a:pt x="1065" y="217"/>
                </a:lnTo>
                <a:lnTo>
                  <a:pt x="1073" y="221"/>
                </a:lnTo>
                <a:lnTo>
                  <a:pt x="1081" y="225"/>
                </a:lnTo>
                <a:lnTo>
                  <a:pt x="1095" y="230"/>
                </a:lnTo>
                <a:lnTo>
                  <a:pt x="1101" y="232"/>
                </a:lnTo>
                <a:lnTo>
                  <a:pt x="1104" y="234"/>
                </a:lnTo>
                <a:lnTo>
                  <a:pt x="1107" y="237"/>
                </a:lnTo>
                <a:lnTo>
                  <a:pt x="1107" y="240"/>
                </a:lnTo>
                <a:lnTo>
                  <a:pt x="1107" y="240"/>
                </a:lnTo>
                <a:lnTo>
                  <a:pt x="1096" y="276"/>
                </a:lnTo>
                <a:lnTo>
                  <a:pt x="1084" y="309"/>
                </a:lnTo>
                <a:lnTo>
                  <a:pt x="1071" y="339"/>
                </a:lnTo>
                <a:lnTo>
                  <a:pt x="1057" y="365"/>
                </a:lnTo>
                <a:lnTo>
                  <a:pt x="1044" y="390"/>
                </a:lnTo>
                <a:lnTo>
                  <a:pt x="1031" y="411"/>
                </a:lnTo>
                <a:lnTo>
                  <a:pt x="1016" y="431"/>
                </a:lnTo>
                <a:lnTo>
                  <a:pt x="1002" y="447"/>
                </a:lnTo>
                <a:lnTo>
                  <a:pt x="1002" y="447"/>
                </a:lnTo>
                <a:lnTo>
                  <a:pt x="975" y="431"/>
                </a:lnTo>
                <a:lnTo>
                  <a:pt x="942" y="411"/>
                </a:lnTo>
                <a:lnTo>
                  <a:pt x="942" y="411"/>
                </a:lnTo>
                <a:lnTo>
                  <a:pt x="865" y="369"/>
                </a:lnTo>
                <a:lnTo>
                  <a:pt x="790" y="328"/>
                </a:lnTo>
                <a:lnTo>
                  <a:pt x="717" y="289"/>
                </a:lnTo>
                <a:lnTo>
                  <a:pt x="680" y="271"/>
                </a:lnTo>
                <a:lnTo>
                  <a:pt x="643" y="254"/>
                </a:lnTo>
                <a:lnTo>
                  <a:pt x="606" y="236"/>
                </a:lnTo>
                <a:lnTo>
                  <a:pt x="568" y="221"/>
                </a:lnTo>
                <a:lnTo>
                  <a:pt x="529" y="205"/>
                </a:lnTo>
                <a:lnTo>
                  <a:pt x="489" y="190"/>
                </a:lnTo>
                <a:lnTo>
                  <a:pt x="448" y="176"/>
                </a:lnTo>
                <a:lnTo>
                  <a:pt x="406" y="164"/>
                </a:lnTo>
                <a:lnTo>
                  <a:pt x="362" y="151"/>
                </a:lnTo>
                <a:lnTo>
                  <a:pt x="317" y="140"/>
                </a:lnTo>
                <a:lnTo>
                  <a:pt x="317" y="140"/>
                </a:lnTo>
                <a:lnTo>
                  <a:pt x="334" y="107"/>
                </a:lnTo>
                <a:lnTo>
                  <a:pt x="334" y="107"/>
                </a:lnTo>
                <a:lnTo>
                  <a:pt x="360" y="63"/>
                </a:lnTo>
                <a:lnTo>
                  <a:pt x="378" y="31"/>
                </a:lnTo>
                <a:lnTo>
                  <a:pt x="385" y="20"/>
                </a:lnTo>
                <a:lnTo>
                  <a:pt x="389" y="10"/>
                </a:lnTo>
                <a:lnTo>
                  <a:pt x="391" y="4"/>
                </a:lnTo>
                <a:lnTo>
                  <a:pt x="390" y="2"/>
                </a:lnTo>
                <a:lnTo>
                  <a:pt x="389" y="0"/>
                </a:lnTo>
                <a:lnTo>
                  <a:pt x="389" y="0"/>
                </a:lnTo>
                <a:lnTo>
                  <a:pt x="388" y="0"/>
                </a:lnTo>
                <a:lnTo>
                  <a:pt x="387" y="0"/>
                </a:lnTo>
                <a:lnTo>
                  <a:pt x="381" y="1"/>
                </a:lnTo>
                <a:lnTo>
                  <a:pt x="367" y="10"/>
                </a:lnTo>
                <a:lnTo>
                  <a:pt x="343" y="26"/>
                </a:lnTo>
                <a:lnTo>
                  <a:pt x="326" y="35"/>
                </a:lnTo>
                <a:lnTo>
                  <a:pt x="307" y="46"/>
                </a:lnTo>
                <a:lnTo>
                  <a:pt x="307" y="46"/>
                </a:lnTo>
                <a:lnTo>
                  <a:pt x="285" y="57"/>
                </a:lnTo>
                <a:lnTo>
                  <a:pt x="267" y="67"/>
                </a:lnTo>
                <a:lnTo>
                  <a:pt x="252" y="73"/>
                </a:lnTo>
                <a:lnTo>
                  <a:pt x="237" y="78"/>
                </a:lnTo>
                <a:lnTo>
                  <a:pt x="224" y="82"/>
                </a:lnTo>
                <a:lnTo>
                  <a:pt x="211" y="85"/>
                </a:lnTo>
                <a:lnTo>
                  <a:pt x="183" y="89"/>
                </a:lnTo>
                <a:lnTo>
                  <a:pt x="183" y="89"/>
                </a:lnTo>
                <a:lnTo>
                  <a:pt x="174" y="89"/>
                </a:lnTo>
                <a:lnTo>
                  <a:pt x="165" y="88"/>
                </a:lnTo>
                <a:lnTo>
                  <a:pt x="147" y="85"/>
                </a:lnTo>
                <a:lnTo>
                  <a:pt x="132" y="81"/>
                </a:lnTo>
                <a:lnTo>
                  <a:pt x="125" y="81"/>
                </a:lnTo>
                <a:lnTo>
                  <a:pt x="120" y="82"/>
                </a:lnTo>
                <a:lnTo>
                  <a:pt x="120" y="82"/>
                </a:lnTo>
                <a:lnTo>
                  <a:pt x="114" y="85"/>
                </a:lnTo>
                <a:lnTo>
                  <a:pt x="107" y="91"/>
                </a:lnTo>
                <a:lnTo>
                  <a:pt x="102" y="98"/>
                </a:lnTo>
                <a:lnTo>
                  <a:pt x="97" y="107"/>
                </a:lnTo>
                <a:lnTo>
                  <a:pt x="92" y="120"/>
                </a:lnTo>
                <a:lnTo>
                  <a:pt x="87" y="134"/>
                </a:lnTo>
                <a:lnTo>
                  <a:pt x="74" y="171"/>
                </a:lnTo>
                <a:lnTo>
                  <a:pt x="74" y="171"/>
                </a:lnTo>
                <a:lnTo>
                  <a:pt x="49" y="242"/>
                </a:lnTo>
                <a:lnTo>
                  <a:pt x="42" y="261"/>
                </a:lnTo>
                <a:lnTo>
                  <a:pt x="42" y="261"/>
                </a:lnTo>
                <a:lnTo>
                  <a:pt x="34" y="279"/>
                </a:lnTo>
                <a:lnTo>
                  <a:pt x="27" y="293"/>
                </a:lnTo>
                <a:lnTo>
                  <a:pt x="14" y="312"/>
                </a:lnTo>
                <a:lnTo>
                  <a:pt x="10" y="320"/>
                </a:lnTo>
                <a:lnTo>
                  <a:pt x="6" y="327"/>
                </a:lnTo>
                <a:lnTo>
                  <a:pt x="3" y="335"/>
                </a:lnTo>
                <a:lnTo>
                  <a:pt x="1" y="34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6" name="Freeform 33"/>
          <p:cNvSpPr>
            <a:spLocks/>
          </p:cNvSpPr>
          <p:nvPr userDrawn="1"/>
        </p:nvSpPr>
        <p:spPr bwMode="auto">
          <a:xfrm>
            <a:off x="7189787" y="1214140"/>
            <a:ext cx="39688" cy="46038"/>
          </a:xfrm>
          <a:custGeom>
            <a:avLst/>
            <a:gdLst>
              <a:gd name="T0" fmla="*/ 103 w 296"/>
              <a:gd name="T1" fmla="*/ 350 h 350"/>
              <a:gd name="T2" fmla="*/ 103 w 296"/>
              <a:gd name="T3" fmla="*/ 350 h 350"/>
              <a:gd name="T4" fmla="*/ 132 w 296"/>
              <a:gd name="T5" fmla="*/ 349 h 350"/>
              <a:gd name="T6" fmla="*/ 164 w 296"/>
              <a:gd name="T7" fmla="*/ 346 h 350"/>
              <a:gd name="T8" fmla="*/ 196 w 296"/>
              <a:gd name="T9" fmla="*/ 343 h 350"/>
              <a:gd name="T10" fmla="*/ 226 w 296"/>
              <a:gd name="T11" fmla="*/ 339 h 350"/>
              <a:gd name="T12" fmla="*/ 276 w 296"/>
              <a:gd name="T13" fmla="*/ 333 h 350"/>
              <a:gd name="T14" fmla="*/ 296 w 296"/>
              <a:gd name="T15" fmla="*/ 329 h 350"/>
              <a:gd name="T16" fmla="*/ 293 w 296"/>
              <a:gd name="T17" fmla="*/ 25 h 350"/>
              <a:gd name="T18" fmla="*/ 293 w 296"/>
              <a:gd name="T19" fmla="*/ 25 h 350"/>
              <a:gd name="T20" fmla="*/ 244 w 296"/>
              <a:gd name="T21" fmla="*/ 18 h 350"/>
              <a:gd name="T22" fmla="*/ 142 w 296"/>
              <a:gd name="T23" fmla="*/ 2 h 350"/>
              <a:gd name="T24" fmla="*/ 142 w 296"/>
              <a:gd name="T25" fmla="*/ 2 h 350"/>
              <a:gd name="T26" fmla="*/ 129 w 296"/>
              <a:gd name="T27" fmla="*/ 1 h 350"/>
              <a:gd name="T28" fmla="*/ 117 w 296"/>
              <a:gd name="T29" fmla="*/ 0 h 350"/>
              <a:gd name="T30" fmla="*/ 105 w 296"/>
              <a:gd name="T31" fmla="*/ 0 h 350"/>
              <a:gd name="T32" fmla="*/ 94 w 296"/>
              <a:gd name="T33" fmla="*/ 1 h 350"/>
              <a:gd name="T34" fmla="*/ 84 w 296"/>
              <a:gd name="T35" fmla="*/ 3 h 350"/>
              <a:gd name="T36" fmla="*/ 75 w 296"/>
              <a:gd name="T37" fmla="*/ 6 h 350"/>
              <a:gd name="T38" fmla="*/ 66 w 296"/>
              <a:gd name="T39" fmla="*/ 9 h 350"/>
              <a:gd name="T40" fmla="*/ 59 w 296"/>
              <a:gd name="T41" fmla="*/ 13 h 350"/>
              <a:gd name="T42" fmla="*/ 51 w 296"/>
              <a:gd name="T43" fmla="*/ 17 h 350"/>
              <a:gd name="T44" fmla="*/ 44 w 296"/>
              <a:gd name="T45" fmla="*/ 22 h 350"/>
              <a:gd name="T46" fmla="*/ 38 w 296"/>
              <a:gd name="T47" fmla="*/ 27 h 350"/>
              <a:gd name="T48" fmla="*/ 33 w 296"/>
              <a:gd name="T49" fmla="*/ 32 h 350"/>
              <a:gd name="T50" fmla="*/ 24 w 296"/>
              <a:gd name="T51" fmla="*/ 45 h 350"/>
              <a:gd name="T52" fmla="*/ 17 w 296"/>
              <a:gd name="T53" fmla="*/ 57 h 350"/>
              <a:gd name="T54" fmla="*/ 11 w 296"/>
              <a:gd name="T55" fmla="*/ 70 h 350"/>
              <a:gd name="T56" fmla="*/ 6 w 296"/>
              <a:gd name="T57" fmla="*/ 83 h 350"/>
              <a:gd name="T58" fmla="*/ 3 w 296"/>
              <a:gd name="T59" fmla="*/ 96 h 350"/>
              <a:gd name="T60" fmla="*/ 1 w 296"/>
              <a:gd name="T61" fmla="*/ 106 h 350"/>
              <a:gd name="T62" fmla="*/ 0 w 296"/>
              <a:gd name="T63" fmla="*/ 123 h 350"/>
              <a:gd name="T64" fmla="*/ 0 w 296"/>
              <a:gd name="T65" fmla="*/ 129 h 350"/>
              <a:gd name="T66" fmla="*/ 4 w 296"/>
              <a:gd name="T67" fmla="*/ 213 h 350"/>
              <a:gd name="T68" fmla="*/ 4 w 296"/>
              <a:gd name="T69" fmla="*/ 213 h 350"/>
              <a:gd name="T70" fmla="*/ 4 w 296"/>
              <a:gd name="T71" fmla="*/ 219 h 350"/>
              <a:gd name="T72" fmla="*/ 6 w 296"/>
              <a:gd name="T73" fmla="*/ 235 h 350"/>
              <a:gd name="T74" fmla="*/ 11 w 296"/>
              <a:gd name="T75" fmla="*/ 256 h 350"/>
              <a:gd name="T76" fmla="*/ 15 w 296"/>
              <a:gd name="T77" fmla="*/ 268 h 350"/>
              <a:gd name="T78" fmla="*/ 19 w 296"/>
              <a:gd name="T79" fmla="*/ 282 h 350"/>
              <a:gd name="T80" fmla="*/ 24 w 296"/>
              <a:gd name="T81" fmla="*/ 294 h 350"/>
              <a:gd name="T82" fmla="*/ 31 w 296"/>
              <a:gd name="T83" fmla="*/ 306 h 350"/>
              <a:gd name="T84" fmla="*/ 39 w 296"/>
              <a:gd name="T85" fmla="*/ 319 h 350"/>
              <a:gd name="T86" fmla="*/ 48 w 296"/>
              <a:gd name="T87" fmla="*/ 329 h 350"/>
              <a:gd name="T88" fmla="*/ 53 w 296"/>
              <a:gd name="T89" fmla="*/ 333 h 350"/>
              <a:gd name="T90" fmla="*/ 60 w 296"/>
              <a:gd name="T91" fmla="*/ 337 h 350"/>
              <a:gd name="T92" fmla="*/ 66 w 296"/>
              <a:gd name="T93" fmla="*/ 341 h 350"/>
              <a:gd name="T94" fmla="*/ 72 w 296"/>
              <a:gd name="T95" fmla="*/ 344 h 350"/>
              <a:gd name="T96" fmla="*/ 79 w 296"/>
              <a:gd name="T97" fmla="*/ 346 h 350"/>
              <a:gd name="T98" fmla="*/ 86 w 296"/>
              <a:gd name="T99" fmla="*/ 348 h 350"/>
              <a:gd name="T100" fmla="*/ 94 w 296"/>
              <a:gd name="T101" fmla="*/ 349 h 350"/>
              <a:gd name="T102" fmla="*/ 103 w 296"/>
              <a:gd name="T103" fmla="*/ 35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6" h="350">
                <a:moveTo>
                  <a:pt x="103" y="350"/>
                </a:moveTo>
                <a:lnTo>
                  <a:pt x="103" y="350"/>
                </a:lnTo>
                <a:lnTo>
                  <a:pt x="132" y="349"/>
                </a:lnTo>
                <a:lnTo>
                  <a:pt x="164" y="346"/>
                </a:lnTo>
                <a:lnTo>
                  <a:pt x="196" y="343"/>
                </a:lnTo>
                <a:lnTo>
                  <a:pt x="226" y="339"/>
                </a:lnTo>
                <a:lnTo>
                  <a:pt x="276" y="333"/>
                </a:lnTo>
                <a:lnTo>
                  <a:pt x="296" y="329"/>
                </a:lnTo>
                <a:lnTo>
                  <a:pt x="293" y="25"/>
                </a:lnTo>
                <a:lnTo>
                  <a:pt x="293" y="25"/>
                </a:lnTo>
                <a:lnTo>
                  <a:pt x="244" y="18"/>
                </a:lnTo>
                <a:lnTo>
                  <a:pt x="142" y="2"/>
                </a:lnTo>
                <a:lnTo>
                  <a:pt x="142" y="2"/>
                </a:lnTo>
                <a:lnTo>
                  <a:pt x="129" y="1"/>
                </a:lnTo>
                <a:lnTo>
                  <a:pt x="117" y="0"/>
                </a:lnTo>
                <a:lnTo>
                  <a:pt x="105" y="0"/>
                </a:lnTo>
                <a:lnTo>
                  <a:pt x="94" y="1"/>
                </a:lnTo>
                <a:lnTo>
                  <a:pt x="84" y="3"/>
                </a:lnTo>
                <a:lnTo>
                  <a:pt x="75" y="6"/>
                </a:lnTo>
                <a:lnTo>
                  <a:pt x="66" y="9"/>
                </a:lnTo>
                <a:lnTo>
                  <a:pt x="59" y="13"/>
                </a:lnTo>
                <a:lnTo>
                  <a:pt x="51" y="17"/>
                </a:lnTo>
                <a:lnTo>
                  <a:pt x="44" y="22"/>
                </a:lnTo>
                <a:lnTo>
                  <a:pt x="38" y="27"/>
                </a:lnTo>
                <a:lnTo>
                  <a:pt x="33" y="32"/>
                </a:lnTo>
                <a:lnTo>
                  <a:pt x="24" y="45"/>
                </a:lnTo>
                <a:lnTo>
                  <a:pt x="17" y="57"/>
                </a:lnTo>
                <a:lnTo>
                  <a:pt x="11" y="70"/>
                </a:lnTo>
                <a:lnTo>
                  <a:pt x="6" y="83"/>
                </a:lnTo>
                <a:lnTo>
                  <a:pt x="3" y="96"/>
                </a:lnTo>
                <a:lnTo>
                  <a:pt x="1" y="106"/>
                </a:lnTo>
                <a:lnTo>
                  <a:pt x="0" y="123"/>
                </a:lnTo>
                <a:lnTo>
                  <a:pt x="0" y="129"/>
                </a:lnTo>
                <a:lnTo>
                  <a:pt x="4" y="213"/>
                </a:lnTo>
                <a:lnTo>
                  <a:pt x="4" y="213"/>
                </a:lnTo>
                <a:lnTo>
                  <a:pt x="4" y="219"/>
                </a:lnTo>
                <a:lnTo>
                  <a:pt x="6" y="235"/>
                </a:lnTo>
                <a:lnTo>
                  <a:pt x="11" y="256"/>
                </a:lnTo>
                <a:lnTo>
                  <a:pt x="15" y="268"/>
                </a:lnTo>
                <a:lnTo>
                  <a:pt x="19" y="282"/>
                </a:lnTo>
                <a:lnTo>
                  <a:pt x="24" y="294"/>
                </a:lnTo>
                <a:lnTo>
                  <a:pt x="31" y="306"/>
                </a:lnTo>
                <a:lnTo>
                  <a:pt x="39" y="319"/>
                </a:lnTo>
                <a:lnTo>
                  <a:pt x="48" y="329"/>
                </a:lnTo>
                <a:lnTo>
                  <a:pt x="53" y="333"/>
                </a:lnTo>
                <a:lnTo>
                  <a:pt x="60" y="337"/>
                </a:lnTo>
                <a:lnTo>
                  <a:pt x="66" y="341"/>
                </a:lnTo>
                <a:lnTo>
                  <a:pt x="72" y="344"/>
                </a:lnTo>
                <a:lnTo>
                  <a:pt x="79" y="346"/>
                </a:lnTo>
                <a:lnTo>
                  <a:pt x="86" y="348"/>
                </a:lnTo>
                <a:lnTo>
                  <a:pt x="94" y="349"/>
                </a:lnTo>
                <a:lnTo>
                  <a:pt x="103" y="3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7" name="Freeform 34"/>
          <p:cNvSpPr>
            <a:spLocks/>
          </p:cNvSpPr>
          <p:nvPr userDrawn="1"/>
        </p:nvSpPr>
        <p:spPr bwMode="auto">
          <a:xfrm>
            <a:off x="7237413" y="1203028"/>
            <a:ext cx="60325" cy="57150"/>
          </a:xfrm>
          <a:custGeom>
            <a:avLst/>
            <a:gdLst>
              <a:gd name="T0" fmla="*/ 450 w 450"/>
              <a:gd name="T1" fmla="*/ 290 h 425"/>
              <a:gd name="T2" fmla="*/ 450 w 450"/>
              <a:gd name="T3" fmla="*/ 225 h 425"/>
              <a:gd name="T4" fmla="*/ 449 w 450"/>
              <a:gd name="T5" fmla="*/ 54 h 425"/>
              <a:gd name="T6" fmla="*/ 444 w 450"/>
              <a:gd name="T7" fmla="*/ 20 h 425"/>
              <a:gd name="T8" fmla="*/ 436 w 450"/>
              <a:gd name="T9" fmla="*/ 3 h 425"/>
              <a:gd name="T10" fmla="*/ 429 w 450"/>
              <a:gd name="T11" fmla="*/ 0 h 425"/>
              <a:gd name="T12" fmla="*/ 367 w 450"/>
              <a:gd name="T13" fmla="*/ 2 h 425"/>
              <a:gd name="T14" fmla="*/ 362 w 450"/>
              <a:gd name="T15" fmla="*/ 14 h 425"/>
              <a:gd name="T16" fmla="*/ 347 w 450"/>
              <a:gd name="T17" fmla="*/ 59 h 425"/>
              <a:gd name="T18" fmla="*/ 325 w 450"/>
              <a:gd name="T19" fmla="*/ 2 h 425"/>
              <a:gd name="T20" fmla="*/ 261 w 450"/>
              <a:gd name="T21" fmla="*/ 2 h 425"/>
              <a:gd name="T22" fmla="*/ 242 w 450"/>
              <a:gd name="T23" fmla="*/ 16 h 425"/>
              <a:gd name="T24" fmla="*/ 224 w 450"/>
              <a:gd name="T25" fmla="*/ 64 h 425"/>
              <a:gd name="T26" fmla="*/ 192 w 450"/>
              <a:gd name="T27" fmla="*/ 4 h 425"/>
              <a:gd name="T28" fmla="*/ 135 w 450"/>
              <a:gd name="T29" fmla="*/ 6 h 425"/>
              <a:gd name="T30" fmla="*/ 127 w 450"/>
              <a:gd name="T31" fmla="*/ 11 h 425"/>
              <a:gd name="T32" fmla="*/ 110 w 450"/>
              <a:gd name="T33" fmla="*/ 53 h 425"/>
              <a:gd name="T34" fmla="*/ 86 w 450"/>
              <a:gd name="T35" fmla="*/ 6 h 425"/>
              <a:gd name="T36" fmla="*/ 38 w 450"/>
              <a:gd name="T37" fmla="*/ 6 h 425"/>
              <a:gd name="T38" fmla="*/ 25 w 450"/>
              <a:gd name="T39" fmla="*/ 10 h 425"/>
              <a:gd name="T40" fmla="*/ 10 w 450"/>
              <a:gd name="T41" fmla="*/ 28 h 425"/>
              <a:gd name="T42" fmla="*/ 1 w 450"/>
              <a:gd name="T43" fmla="*/ 55 h 425"/>
              <a:gd name="T44" fmla="*/ 1 w 450"/>
              <a:gd name="T45" fmla="*/ 141 h 425"/>
              <a:gd name="T46" fmla="*/ 5 w 450"/>
              <a:gd name="T47" fmla="*/ 324 h 425"/>
              <a:gd name="T48" fmla="*/ 27 w 450"/>
              <a:gd name="T49" fmla="*/ 401 h 425"/>
              <a:gd name="T50" fmla="*/ 54 w 450"/>
              <a:gd name="T51" fmla="*/ 396 h 425"/>
              <a:gd name="T52" fmla="*/ 74 w 450"/>
              <a:gd name="T53" fmla="*/ 384 h 425"/>
              <a:gd name="T54" fmla="*/ 83 w 450"/>
              <a:gd name="T55" fmla="*/ 374 h 425"/>
              <a:gd name="T56" fmla="*/ 100 w 450"/>
              <a:gd name="T57" fmla="*/ 341 h 425"/>
              <a:gd name="T58" fmla="*/ 105 w 450"/>
              <a:gd name="T59" fmla="*/ 317 h 425"/>
              <a:gd name="T60" fmla="*/ 105 w 450"/>
              <a:gd name="T61" fmla="*/ 367 h 425"/>
              <a:gd name="T62" fmla="*/ 108 w 450"/>
              <a:gd name="T63" fmla="*/ 420 h 425"/>
              <a:gd name="T64" fmla="*/ 116 w 450"/>
              <a:gd name="T65" fmla="*/ 424 h 425"/>
              <a:gd name="T66" fmla="*/ 150 w 450"/>
              <a:gd name="T67" fmla="*/ 423 h 425"/>
              <a:gd name="T68" fmla="*/ 176 w 450"/>
              <a:gd name="T69" fmla="*/ 412 h 425"/>
              <a:gd name="T70" fmla="*/ 189 w 450"/>
              <a:gd name="T71" fmla="*/ 402 h 425"/>
              <a:gd name="T72" fmla="*/ 209 w 450"/>
              <a:gd name="T73" fmla="*/ 368 h 425"/>
              <a:gd name="T74" fmla="*/ 224 w 450"/>
              <a:gd name="T75" fmla="*/ 317 h 425"/>
              <a:gd name="T76" fmla="*/ 225 w 450"/>
              <a:gd name="T77" fmla="*/ 381 h 425"/>
              <a:gd name="T78" fmla="*/ 229 w 450"/>
              <a:gd name="T79" fmla="*/ 419 h 425"/>
              <a:gd name="T80" fmla="*/ 237 w 450"/>
              <a:gd name="T81" fmla="*/ 421 h 425"/>
              <a:gd name="T82" fmla="*/ 266 w 450"/>
              <a:gd name="T83" fmla="*/ 418 h 425"/>
              <a:gd name="T84" fmla="*/ 300 w 450"/>
              <a:gd name="T85" fmla="*/ 405 h 425"/>
              <a:gd name="T86" fmla="*/ 309 w 450"/>
              <a:gd name="T87" fmla="*/ 397 h 425"/>
              <a:gd name="T88" fmla="*/ 331 w 450"/>
              <a:gd name="T89" fmla="*/ 367 h 425"/>
              <a:gd name="T90" fmla="*/ 342 w 450"/>
              <a:gd name="T91" fmla="*/ 334 h 425"/>
              <a:gd name="T92" fmla="*/ 345 w 450"/>
              <a:gd name="T93" fmla="*/ 346 h 425"/>
              <a:gd name="T94" fmla="*/ 348 w 450"/>
              <a:gd name="T95" fmla="*/ 391 h 425"/>
              <a:gd name="T96" fmla="*/ 379 w 450"/>
              <a:gd name="T97" fmla="*/ 386 h 425"/>
              <a:gd name="T98" fmla="*/ 404 w 450"/>
              <a:gd name="T99" fmla="*/ 375 h 425"/>
              <a:gd name="T100" fmla="*/ 425 w 450"/>
              <a:gd name="T101" fmla="*/ 360 h 425"/>
              <a:gd name="T102" fmla="*/ 439 w 450"/>
              <a:gd name="T103" fmla="*/ 342 h 425"/>
              <a:gd name="T104" fmla="*/ 448 w 450"/>
              <a:gd name="T105" fmla="*/ 311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0" h="425">
                <a:moveTo>
                  <a:pt x="448" y="311"/>
                </a:moveTo>
                <a:lnTo>
                  <a:pt x="448" y="311"/>
                </a:lnTo>
                <a:lnTo>
                  <a:pt x="450" y="290"/>
                </a:lnTo>
                <a:lnTo>
                  <a:pt x="450" y="268"/>
                </a:lnTo>
                <a:lnTo>
                  <a:pt x="450" y="225"/>
                </a:lnTo>
                <a:lnTo>
                  <a:pt x="450" y="225"/>
                </a:lnTo>
                <a:lnTo>
                  <a:pt x="449" y="64"/>
                </a:lnTo>
                <a:lnTo>
                  <a:pt x="449" y="64"/>
                </a:lnTo>
                <a:lnTo>
                  <a:pt x="449" y="54"/>
                </a:lnTo>
                <a:lnTo>
                  <a:pt x="448" y="44"/>
                </a:lnTo>
                <a:lnTo>
                  <a:pt x="447" y="33"/>
                </a:lnTo>
                <a:lnTo>
                  <a:pt x="444" y="20"/>
                </a:lnTo>
                <a:lnTo>
                  <a:pt x="441" y="10"/>
                </a:lnTo>
                <a:lnTo>
                  <a:pt x="439" y="6"/>
                </a:lnTo>
                <a:lnTo>
                  <a:pt x="436" y="3"/>
                </a:lnTo>
                <a:lnTo>
                  <a:pt x="433" y="1"/>
                </a:lnTo>
                <a:lnTo>
                  <a:pt x="429" y="0"/>
                </a:lnTo>
                <a:lnTo>
                  <a:pt x="429" y="0"/>
                </a:lnTo>
                <a:lnTo>
                  <a:pt x="396" y="0"/>
                </a:lnTo>
                <a:lnTo>
                  <a:pt x="378" y="1"/>
                </a:lnTo>
                <a:lnTo>
                  <a:pt x="367" y="2"/>
                </a:lnTo>
                <a:lnTo>
                  <a:pt x="367" y="2"/>
                </a:lnTo>
                <a:lnTo>
                  <a:pt x="364" y="7"/>
                </a:lnTo>
                <a:lnTo>
                  <a:pt x="362" y="14"/>
                </a:lnTo>
                <a:lnTo>
                  <a:pt x="356" y="33"/>
                </a:lnTo>
                <a:lnTo>
                  <a:pt x="350" y="52"/>
                </a:lnTo>
                <a:lnTo>
                  <a:pt x="347" y="59"/>
                </a:lnTo>
                <a:lnTo>
                  <a:pt x="345" y="64"/>
                </a:lnTo>
                <a:lnTo>
                  <a:pt x="325" y="2"/>
                </a:lnTo>
                <a:lnTo>
                  <a:pt x="325" y="2"/>
                </a:lnTo>
                <a:lnTo>
                  <a:pt x="309" y="1"/>
                </a:lnTo>
                <a:lnTo>
                  <a:pt x="286" y="1"/>
                </a:lnTo>
                <a:lnTo>
                  <a:pt x="261" y="2"/>
                </a:lnTo>
                <a:lnTo>
                  <a:pt x="247" y="4"/>
                </a:lnTo>
                <a:lnTo>
                  <a:pt x="247" y="4"/>
                </a:lnTo>
                <a:lnTo>
                  <a:pt x="242" y="16"/>
                </a:lnTo>
                <a:lnTo>
                  <a:pt x="236" y="34"/>
                </a:lnTo>
                <a:lnTo>
                  <a:pt x="229" y="52"/>
                </a:lnTo>
                <a:lnTo>
                  <a:pt x="224" y="64"/>
                </a:lnTo>
                <a:lnTo>
                  <a:pt x="205" y="5"/>
                </a:lnTo>
                <a:lnTo>
                  <a:pt x="205" y="5"/>
                </a:lnTo>
                <a:lnTo>
                  <a:pt x="192" y="4"/>
                </a:lnTo>
                <a:lnTo>
                  <a:pt x="168" y="4"/>
                </a:lnTo>
                <a:lnTo>
                  <a:pt x="144" y="5"/>
                </a:lnTo>
                <a:lnTo>
                  <a:pt x="135" y="6"/>
                </a:lnTo>
                <a:lnTo>
                  <a:pt x="131" y="6"/>
                </a:lnTo>
                <a:lnTo>
                  <a:pt x="131" y="6"/>
                </a:lnTo>
                <a:lnTo>
                  <a:pt x="127" y="11"/>
                </a:lnTo>
                <a:lnTo>
                  <a:pt x="124" y="18"/>
                </a:lnTo>
                <a:lnTo>
                  <a:pt x="117" y="36"/>
                </a:lnTo>
                <a:lnTo>
                  <a:pt x="110" y="53"/>
                </a:lnTo>
                <a:lnTo>
                  <a:pt x="105" y="64"/>
                </a:lnTo>
                <a:lnTo>
                  <a:pt x="86" y="6"/>
                </a:lnTo>
                <a:lnTo>
                  <a:pt x="86" y="6"/>
                </a:lnTo>
                <a:lnTo>
                  <a:pt x="69" y="6"/>
                </a:lnTo>
                <a:lnTo>
                  <a:pt x="38" y="6"/>
                </a:lnTo>
                <a:lnTo>
                  <a:pt x="38" y="6"/>
                </a:lnTo>
                <a:lnTo>
                  <a:pt x="33" y="7"/>
                </a:lnTo>
                <a:lnTo>
                  <a:pt x="29" y="8"/>
                </a:lnTo>
                <a:lnTo>
                  <a:pt x="25" y="10"/>
                </a:lnTo>
                <a:lnTo>
                  <a:pt x="21" y="12"/>
                </a:lnTo>
                <a:lnTo>
                  <a:pt x="15" y="19"/>
                </a:lnTo>
                <a:lnTo>
                  <a:pt x="10" y="28"/>
                </a:lnTo>
                <a:lnTo>
                  <a:pt x="5" y="36"/>
                </a:lnTo>
                <a:lnTo>
                  <a:pt x="2" y="46"/>
                </a:lnTo>
                <a:lnTo>
                  <a:pt x="1" y="55"/>
                </a:lnTo>
                <a:lnTo>
                  <a:pt x="0" y="63"/>
                </a:lnTo>
                <a:lnTo>
                  <a:pt x="0" y="63"/>
                </a:lnTo>
                <a:lnTo>
                  <a:pt x="1" y="141"/>
                </a:lnTo>
                <a:lnTo>
                  <a:pt x="2" y="220"/>
                </a:lnTo>
                <a:lnTo>
                  <a:pt x="2" y="220"/>
                </a:lnTo>
                <a:lnTo>
                  <a:pt x="5" y="324"/>
                </a:lnTo>
                <a:lnTo>
                  <a:pt x="8" y="402"/>
                </a:lnTo>
                <a:lnTo>
                  <a:pt x="8" y="402"/>
                </a:lnTo>
                <a:lnTo>
                  <a:pt x="27" y="401"/>
                </a:lnTo>
                <a:lnTo>
                  <a:pt x="37" y="399"/>
                </a:lnTo>
                <a:lnTo>
                  <a:pt x="45" y="398"/>
                </a:lnTo>
                <a:lnTo>
                  <a:pt x="54" y="396"/>
                </a:lnTo>
                <a:lnTo>
                  <a:pt x="62" y="393"/>
                </a:lnTo>
                <a:lnTo>
                  <a:pt x="68" y="388"/>
                </a:lnTo>
                <a:lnTo>
                  <a:pt x="74" y="384"/>
                </a:lnTo>
                <a:lnTo>
                  <a:pt x="74" y="384"/>
                </a:lnTo>
                <a:lnTo>
                  <a:pt x="79" y="379"/>
                </a:lnTo>
                <a:lnTo>
                  <a:pt x="83" y="374"/>
                </a:lnTo>
                <a:lnTo>
                  <a:pt x="90" y="363"/>
                </a:lnTo>
                <a:lnTo>
                  <a:pt x="95" y="352"/>
                </a:lnTo>
                <a:lnTo>
                  <a:pt x="100" y="341"/>
                </a:lnTo>
                <a:lnTo>
                  <a:pt x="103" y="331"/>
                </a:lnTo>
                <a:lnTo>
                  <a:pt x="104" y="324"/>
                </a:lnTo>
                <a:lnTo>
                  <a:pt x="105" y="317"/>
                </a:lnTo>
                <a:lnTo>
                  <a:pt x="105" y="317"/>
                </a:lnTo>
                <a:lnTo>
                  <a:pt x="105" y="337"/>
                </a:lnTo>
                <a:lnTo>
                  <a:pt x="105" y="367"/>
                </a:lnTo>
                <a:lnTo>
                  <a:pt x="106" y="397"/>
                </a:lnTo>
                <a:lnTo>
                  <a:pt x="108" y="420"/>
                </a:lnTo>
                <a:lnTo>
                  <a:pt x="108" y="420"/>
                </a:lnTo>
                <a:lnTo>
                  <a:pt x="108" y="421"/>
                </a:lnTo>
                <a:lnTo>
                  <a:pt x="110" y="422"/>
                </a:lnTo>
                <a:lnTo>
                  <a:pt x="116" y="424"/>
                </a:lnTo>
                <a:lnTo>
                  <a:pt x="125" y="425"/>
                </a:lnTo>
                <a:lnTo>
                  <a:pt x="136" y="425"/>
                </a:lnTo>
                <a:lnTo>
                  <a:pt x="150" y="423"/>
                </a:lnTo>
                <a:lnTo>
                  <a:pt x="163" y="418"/>
                </a:lnTo>
                <a:lnTo>
                  <a:pt x="169" y="415"/>
                </a:lnTo>
                <a:lnTo>
                  <a:pt x="176" y="412"/>
                </a:lnTo>
                <a:lnTo>
                  <a:pt x="182" y="407"/>
                </a:lnTo>
                <a:lnTo>
                  <a:pt x="189" y="402"/>
                </a:lnTo>
                <a:lnTo>
                  <a:pt x="189" y="402"/>
                </a:lnTo>
                <a:lnTo>
                  <a:pt x="197" y="392"/>
                </a:lnTo>
                <a:lnTo>
                  <a:pt x="204" y="380"/>
                </a:lnTo>
                <a:lnTo>
                  <a:pt x="209" y="368"/>
                </a:lnTo>
                <a:lnTo>
                  <a:pt x="213" y="356"/>
                </a:lnTo>
                <a:lnTo>
                  <a:pt x="220" y="333"/>
                </a:lnTo>
                <a:lnTo>
                  <a:pt x="224" y="317"/>
                </a:lnTo>
                <a:lnTo>
                  <a:pt x="224" y="317"/>
                </a:lnTo>
                <a:lnTo>
                  <a:pt x="224" y="348"/>
                </a:lnTo>
                <a:lnTo>
                  <a:pt x="225" y="381"/>
                </a:lnTo>
                <a:lnTo>
                  <a:pt x="227" y="408"/>
                </a:lnTo>
                <a:lnTo>
                  <a:pt x="228" y="417"/>
                </a:lnTo>
                <a:lnTo>
                  <a:pt x="229" y="419"/>
                </a:lnTo>
                <a:lnTo>
                  <a:pt x="230" y="420"/>
                </a:lnTo>
                <a:lnTo>
                  <a:pt x="230" y="420"/>
                </a:lnTo>
                <a:lnTo>
                  <a:pt x="237" y="421"/>
                </a:lnTo>
                <a:lnTo>
                  <a:pt x="245" y="421"/>
                </a:lnTo>
                <a:lnTo>
                  <a:pt x="255" y="420"/>
                </a:lnTo>
                <a:lnTo>
                  <a:pt x="266" y="418"/>
                </a:lnTo>
                <a:lnTo>
                  <a:pt x="277" y="415"/>
                </a:lnTo>
                <a:lnTo>
                  <a:pt x="289" y="411"/>
                </a:lnTo>
                <a:lnTo>
                  <a:pt x="300" y="405"/>
                </a:lnTo>
                <a:lnTo>
                  <a:pt x="305" y="401"/>
                </a:lnTo>
                <a:lnTo>
                  <a:pt x="309" y="397"/>
                </a:lnTo>
                <a:lnTo>
                  <a:pt x="309" y="397"/>
                </a:lnTo>
                <a:lnTo>
                  <a:pt x="317" y="387"/>
                </a:lnTo>
                <a:lnTo>
                  <a:pt x="325" y="377"/>
                </a:lnTo>
                <a:lnTo>
                  <a:pt x="331" y="367"/>
                </a:lnTo>
                <a:lnTo>
                  <a:pt x="336" y="356"/>
                </a:lnTo>
                <a:lnTo>
                  <a:pt x="339" y="345"/>
                </a:lnTo>
                <a:lnTo>
                  <a:pt x="342" y="334"/>
                </a:lnTo>
                <a:lnTo>
                  <a:pt x="345" y="317"/>
                </a:lnTo>
                <a:lnTo>
                  <a:pt x="345" y="317"/>
                </a:lnTo>
                <a:lnTo>
                  <a:pt x="345" y="346"/>
                </a:lnTo>
                <a:lnTo>
                  <a:pt x="346" y="370"/>
                </a:lnTo>
                <a:lnTo>
                  <a:pt x="348" y="391"/>
                </a:lnTo>
                <a:lnTo>
                  <a:pt x="348" y="391"/>
                </a:lnTo>
                <a:lnTo>
                  <a:pt x="362" y="390"/>
                </a:lnTo>
                <a:lnTo>
                  <a:pt x="371" y="388"/>
                </a:lnTo>
                <a:lnTo>
                  <a:pt x="379" y="386"/>
                </a:lnTo>
                <a:lnTo>
                  <a:pt x="379" y="386"/>
                </a:lnTo>
                <a:lnTo>
                  <a:pt x="393" y="380"/>
                </a:lnTo>
                <a:lnTo>
                  <a:pt x="404" y="375"/>
                </a:lnTo>
                <a:lnTo>
                  <a:pt x="415" y="368"/>
                </a:lnTo>
                <a:lnTo>
                  <a:pt x="415" y="368"/>
                </a:lnTo>
                <a:lnTo>
                  <a:pt x="425" y="360"/>
                </a:lnTo>
                <a:lnTo>
                  <a:pt x="430" y="355"/>
                </a:lnTo>
                <a:lnTo>
                  <a:pt x="435" y="349"/>
                </a:lnTo>
                <a:lnTo>
                  <a:pt x="439" y="342"/>
                </a:lnTo>
                <a:lnTo>
                  <a:pt x="443" y="333"/>
                </a:lnTo>
                <a:lnTo>
                  <a:pt x="446" y="323"/>
                </a:lnTo>
                <a:lnTo>
                  <a:pt x="448" y="3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8" name="Freeform 35"/>
          <p:cNvSpPr>
            <a:spLocks/>
          </p:cNvSpPr>
          <p:nvPr userDrawn="1"/>
        </p:nvSpPr>
        <p:spPr bwMode="auto">
          <a:xfrm>
            <a:off x="7245351" y="1206204"/>
            <a:ext cx="73025" cy="80963"/>
          </a:xfrm>
          <a:custGeom>
            <a:avLst/>
            <a:gdLst>
              <a:gd name="T0" fmla="*/ 554 w 554"/>
              <a:gd name="T1" fmla="*/ 356 h 620"/>
              <a:gd name="T2" fmla="*/ 549 w 554"/>
              <a:gd name="T3" fmla="*/ 350 h 620"/>
              <a:gd name="T4" fmla="*/ 535 w 554"/>
              <a:gd name="T5" fmla="*/ 331 h 620"/>
              <a:gd name="T6" fmla="*/ 525 w 554"/>
              <a:gd name="T7" fmla="*/ 306 h 620"/>
              <a:gd name="T8" fmla="*/ 520 w 554"/>
              <a:gd name="T9" fmla="*/ 285 h 620"/>
              <a:gd name="T10" fmla="*/ 516 w 554"/>
              <a:gd name="T11" fmla="*/ 258 h 620"/>
              <a:gd name="T12" fmla="*/ 515 w 554"/>
              <a:gd name="T13" fmla="*/ 243 h 620"/>
              <a:gd name="T14" fmla="*/ 516 w 554"/>
              <a:gd name="T15" fmla="*/ 222 h 620"/>
              <a:gd name="T16" fmla="*/ 520 w 554"/>
              <a:gd name="T17" fmla="*/ 202 h 620"/>
              <a:gd name="T18" fmla="*/ 532 w 554"/>
              <a:gd name="T19" fmla="*/ 167 h 620"/>
              <a:gd name="T20" fmla="*/ 546 w 554"/>
              <a:gd name="T21" fmla="*/ 142 h 620"/>
              <a:gd name="T22" fmla="*/ 551 w 554"/>
              <a:gd name="T23" fmla="*/ 43 h 620"/>
              <a:gd name="T24" fmla="*/ 542 w 554"/>
              <a:gd name="T25" fmla="*/ 36 h 620"/>
              <a:gd name="T26" fmla="*/ 504 w 554"/>
              <a:gd name="T27" fmla="*/ 13 h 620"/>
              <a:gd name="T28" fmla="*/ 482 w 554"/>
              <a:gd name="T29" fmla="*/ 2 h 620"/>
              <a:gd name="T30" fmla="*/ 470 w 554"/>
              <a:gd name="T31" fmla="*/ 0 h 620"/>
              <a:gd name="T32" fmla="*/ 465 w 554"/>
              <a:gd name="T33" fmla="*/ 327 h 620"/>
              <a:gd name="T34" fmla="*/ 465 w 554"/>
              <a:gd name="T35" fmla="*/ 339 h 620"/>
              <a:gd name="T36" fmla="*/ 458 w 554"/>
              <a:gd name="T37" fmla="*/ 360 h 620"/>
              <a:gd name="T38" fmla="*/ 444 w 554"/>
              <a:gd name="T39" fmla="*/ 382 h 620"/>
              <a:gd name="T40" fmla="*/ 426 w 554"/>
              <a:gd name="T41" fmla="*/ 402 h 620"/>
              <a:gd name="T42" fmla="*/ 405 w 554"/>
              <a:gd name="T43" fmla="*/ 421 h 620"/>
              <a:gd name="T44" fmla="*/ 380 w 554"/>
              <a:gd name="T45" fmla="*/ 437 h 620"/>
              <a:gd name="T46" fmla="*/ 353 w 554"/>
              <a:gd name="T47" fmla="*/ 449 h 620"/>
              <a:gd name="T48" fmla="*/ 327 w 554"/>
              <a:gd name="T49" fmla="*/ 458 h 620"/>
              <a:gd name="T50" fmla="*/ 314 w 554"/>
              <a:gd name="T51" fmla="*/ 461 h 620"/>
              <a:gd name="T52" fmla="*/ 255 w 554"/>
              <a:gd name="T53" fmla="*/ 471 h 620"/>
              <a:gd name="T54" fmla="*/ 199 w 554"/>
              <a:gd name="T55" fmla="*/ 477 h 620"/>
              <a:gd name="T56" fmla="*/ 98 w 554"/>
              <a:gd name="T57" fmla="*/ 482 h 620"/>
              <a:gd name="T58" fmla="*/ 27 w 554"/>
              <a:gd name="T59" fmla="*/ 482 h 620"/>
              <a:gd name="T60" fmla="*/ 0 w 554"/>
              <a:gd name="T61" fmla="*/ 481 h 620"/>
              <a:gd name="T62" fmla="*/ 4 w 554"/>
              <a:gd name="T63" fmla="*/ 508 h 620"/>
              <a:gd name="T64" fmla="*/ 13 w 554"/>
              <a:gd name="T65" fmla="*/ 550 h 620"/>
              <a:gd name="T66" fmla="*/ 18 w 554"/>
              <a:gd name="T67" fmla="*/ 566 h 620"/>
              <a:gd name="T68" fmla="*/ 29 w 554"/>
              <a:gd name="T69" fmla="*/ 586 h 620"/>
              <a:gd name="T70" fmla="*/ 44 w 554"/>
              <a:gd name="T71" fmla="*/ 604 h 620"/>
              <a:gd name="T72" fmla="*/ 62 w 554"/>
              <a:gd name="T73" fmla="*/ 620 h 620"/>
              <a:gd name="T74" fmla="*/ 554 w 554"/>
              <a:gd name="T75" fmla="*/ 450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4" h="620">
                <a:moveTo>
                  <a:pt x="554" y="450"/>
                </a:moveTo>
                <a:lnTo>
                  <a:pt x="554" y="356"/>
                </a:lnTo>
                <a:lnTo>
                  <a:pt x="554" y="356"/>
                </a:lnTo>
                <a:lnTo>
                  <a:pt x="549" y="350"/>
                </a:lnTo>
                <a:lnTo>
                  <a:pt x="543" y="342"/>
                </a:lnTo>
                <a:lnTo>
                  <a:pt x="535" y="331"/>
                </a:lnTo>
                <a:lnTo>
                  <a:pt x="528" y="315"/>
                </a:lnTo>
                <a:lnTo>
                  <a:pt x="525" y="306"/>
                </a:lnTo>
                <a:lnTo>
                  <a:pt x="522" y="296"/>
                </a:lnTo>
                <a:lnTo>
                  <a:pt x="520" y="285"/>
                </a:lnTo>
                <a:lnTo>
                  <a:pt x="517" y="271"/>
                </a:lnTo>
                <a:lnTo>
                  <a:pt x="516" y="258"/>
                </a:lnTo>
                <a:lnTo>
                  <a:pt x="515" y="243"/>
                </a:lnTo>
                <a:lnTo>
                  <a:pt x="515" y="243"/>
                </a:lnTo>
                <a:lnTo>
                  <a:pt x="515" y="232"/>
                </a:lnTo>
                <a:lnTo>
                  <a:pt x="516" y="222"/>
                </a:lnTo>
                <a:lnTo>
                  <a:pt x="517" y="212"/>
                </a:lnTo>
                <a:lnTo>
                  <a:pt x="520" y="202"/>
                </a:lnTo>
                <a:lnTo>
                  <a:pt x="526" y="183"/>
                </a:lnTo>
                <a:lnTo>
                  <a:pt x="532" y="167"/>
                </a:lnTo>
                <a:lnTo>
                  <a:pt x="540" y="154"/>
                </a:lnTo>
                <a:lnTo>
                  <a:pt x="546" y="142"/>
                </a:lnTo>
                <a:lnTo>
                  <a:pt x="552" y="133"/>
                </a:lnTo>
                <a:lnTo>
                  <a:pt x="551" y="43"/>
                </a:lnTo>
                <a:lnTo>
                  <a:pt x="551" y="43"/>
                </a:lnTo>
                <a:lnTo>
                  <a:pt x="542" y="36"/>
                </a:lnTo>
                <a:lnTo>
                  <a:pt x="518" y="21"/>
                </a:lnTo>
                <a:lnTo>
                  <a:pt x="504" y="13"/>
                </a:lnTo>
                <a:lnTo>
                  <a:pt x="489" y="5"/>
                </a:lnTo>
                <a:lnTo>
                  <a:pt x="482" y="2"/>
                </a:lnTo>
                <a:lnTo>
                  <a:pt x="476" y="1"/>
                </a:lnTo>
                <a:lnTo>
                  <a:pt x="470" y="0"/>
                </a:lnTo>
                <a:lnTo>
                  <a:pt x="464" y="0"/>
                </a:lnTo>
                <a:lnTo>
                  <a:pt x="465" y="327"/>
                </a:lnTo>
                <a:lnTo>
                  <a:pt x="465" y="327"/>
                </a:lnTo>
                <a:lnTo>
                  <a:pt x="465" y="339"/>
                </a:lnTo>
                <a:lnTo>
                  <a:pt x="462" y="349"/>
                </a:lnTo>
                <a:lnTo>
                  <a:pt x="458" y="360"/>
                </a:lnTo>
                <a:lnTo>
                  <a:pt x="452" y="370"/>
                </a:lnTo>
                <a:lnTo>
                  <a:pt x="444" y="382"/>
                </a:lnTo>
                <a:lnTo>
                  <a:pt x="436" y="392"/>
                </a:lnTo>
                <a:lnTo>
                  <a:pt x="426" y="402"/>
                </a:lnTo>
                <a:lnTo>
                  <a:pt x="416" y="411"/>
                </a:lnTo>
                <a:lnTo>
                  <a:pt x="405" y="421"/>
                </a:lnTo>
                <a:lnTo>
                  <a:pt x="392" y="429"/>
                </a:lnTo>
                <a:lnTo>
                  <a:pt x="380" y="437"/>
                </a:lnTo>
                <a:lnTo>
                  <a:pt x="367" y="443"/>
                </a:lnTo>
                <a:lnTo>
                  <a:pt x="353" y="449"/>
                </a:lnTo>
                <a:lnTo>
                  <a:pt x="340" y="454"/>
                </a:lnTo>
                <a:lnTo>
                  <a:pt x="327" y="458"/>
                </a:lnTo>
                <a:lnTo>
                  <a:pt x="314" y="461"/>
                </a:lnTo>
                <a:lnTo>
                  <a:pt x="314" y="461"/>
                </a:lnTo>
                <a:lnTo>
                  <a:pt x="284" y="467"/>
                </a:lnTo>
                <a:lnTo>
                  <a:pt x="255" y="471"/>
                </a:lnTo>
                <a:lnTo>
                  <a:pt x="227" y="474"/>
                </a:lnTo>
                <a:lnTo>
                  <a:pt x="199" y="477"/>
                </a:lnTo>
                <a:lnTo>
                  <a:pt x="146" y="480"/>
                </a:lnTo>
                <a:lnTo>
                  <a:pt x="98" y="482"/>
                </a:lnTo>
                <a:lnTo>
                  <a:pt x="58" y="482"/>
                </a:lnTo>
                <a:lnTo>
                  <a:pt x="27" y="482"/>
                </a:lnTo>
                <a:lnTo>
                  <a:pt x="0" y="481"/>
                </a:lnTo>
                <a:lnTo>
                  <a:pt x="0" y="481"/>
                </a:lnTo>
                <a:lnTo>
                  <a:pt x="1" y="488"/>
                </a:lnTo>
                <a:lnTo>
                  <a:pt x="4" y="508"/>
                </a:lnTo>
                <a:lnTo>
                  <a:pt x="10" y="535"/>
                </a:lnTo>
                <a:lnTo>
                  <a:pt x="13" y="550"/>
                </a:lnTo>
                <a:lnTo>
                  <a:pt x="18" y="566"/>
                </a:lnTo>
                <a:lnTo>
                  <a:pt x="18" y="566"/>
                </a:lnTo>
                <a:lnTo>
                  <a:pt x="23" y="576"/>
                </a:lnTo>
                <a:lnTo>
                  <a:pt x="29" y="586"/>
                </a:lnTo>
                <a:lnTo>
                  <a:pt x="36" y="595"/>
                </a:lnTo>
                <a:lnTo>
                  <a:pt x="44" y="604"/>
                </a:lnTo>
                <a:lnTo>
                  <a:pt x="57" y="616"/>
                </a:lnTo>
                <a:lnTo>
                  <a:pt x="62" y="620"/>
                </a:lnTo>
                <a:lnTo>
                  <a:pt x="451" y="620"/>
                </a:lnTo>
                <a:lnTo>
                  <a:pt x="554" y="4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9" name="Freeform 36"/>
          <p:cNvSpPr>
            <a:spLocks/>
          </p:cNvSpPr>
          <p:nvPr userDrawn="1"/>
        </p:nvSpPr>
        <p:spPr bwMode="auto">
          <a:xfrm>
            <a:off x="7251700" y="1298279"/>
            <a:ext cx="57150" cy="17463"/>
          </a:xfrm>
          <a:custGeom>
            <a:avLst/>
            <a:gdLst>
              <a:gd name="T0" fmla="*/ 20 w 435"/>
              <a:gd name="T1" fmla="*/ 142 h 142"/>
              <a:gd name="T2" fmla="*/ 411 w 435"/>
              <a:gd name="T3" fmla="*/ 142 h 142"/>
              <a:gd name="T4" fmla="*/ 411 w 435"/>
              <a:gd name="T5" fmla="*/ 142 h 142"/>
              <a:gd name="T6" fmla="*/ 422 w 435"/>
              <a:gd name="T7" fmla="*/ 109 h 142"/>
              <a:gd name="T8" fmla="*/ 430 w 435"/>
              <a:gd name="T9" fmla="*/ 83 h 142"/>
              <a:gd name="T10" fmla="*/ 433 w 435"/>
              <a:gd name="T11" fmla="*/ 72 h 142"/>
              <a:gd name="T12" fmla="*/ 435 w 435"/>
              <a:gd name="T13" fmla="*/ 63 h 142"/>
              <a:gd name="T14" fmla="*/ 417 w 435"/>
              <a:gd name="T15" fmla="*/ 0 h 142"/>
              <a:gd name="T16" fmla="*/ 22 w 435"/>
              <a:gd name="T17" fmla="*/ 0 h 142"/>
              <a:gd name="T18" fmla="*/ 0 w 435"/>
              <a:gd name="T19" fmla="*/ 65 h 142"/>
              <a:gd name="T20" fmla="*/ 20 w 435"/>
              <a:gd name="T2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5" h="142">
                <a:moveTo>
                  <a:pt x="20" y="142"/>
                </a:moveTo>
                <a:lnTo>
                  <a:pt x="411" y="142"/>
                </a:lnTo>
                <a:lnTo>
                  <a:pt x="411" y="142"/>
                </a:lnTo>
                <a:lnTo>
                  <a:pt x="422" y="109"/>
                </a:lnTo>
                <a:lnTo>
                  <a:pt x="430" y="83"/>
                </a:lnTo>
                <a:lnTo>
                  <a:pt x="433" y="72"/>
                </a:lnTo>
                <a:lnTo>
                  <a:pt x="435" y="63"/>
                </a:lnTo>
                <a:lnTo>
                  <a:pt x="417" y="0"/>
                </a:lnTo>
                <a:lnTo>
                  <a:pt x="22" y="0"/>
                </a:lnTo>
                <a:lnTo>
                  <a:pt x="0" y="65"/>
                </a:lnTo>
                <a:lnTo>
                  <a:pt x="20" y="1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0" name="Freeform 37"/>
          <p:cNvSpPr>
            <a:spLocks/>
          </p:cNvSpPr>
          <p:nvPr userDrawn="1"/>
        </p:nvSpPr>
        <p:spPr bwMode="auto">
          <a:xfrm>
            <a:off x="7254875" y="1326854"/>
            <a:ext cx="57150" cy="66675"/>
          </a:xfrm>
          <a:custGeom>
            <a:avLst/>
            <a:gdLst>
              <a:gd name="T0" fmla="*/ 384 w 436"/>
              <a:gd name="T1" fmla="*/ 0 h 514"/>
              <a:gd name="T2" fmla="*/ 2 w 436"/>
              <a:gd name="T3" fmla="*/ 0 h 514"/>
              <a:gd name="T4" fmla="*/ 0 w 436"/>
              <a:gd name="T5" fmla="*/ 505 h 514"/>
              <a:gd name="T6" fmla="*/ 331 w 436"/>
              <a:gd name="T7" fmla="*/ 514 h 514"/>
              <a:gd name="T8" fmla="*/ 436 w 436"/>
              <a:gd name="T9" fmla="*/ 431 h 514"/>
              <a:gd name="T10" fmla="*/ 384 w 436"/>
              <a:gd name="T11" fmla="*/ 0 h 514"/>
            </a:gdLst>
            <a:ahLst/>
            <a:cxnLst>
              <a:cxn ang="0">
                <a:pos x="T0" y="T1"/>
              </a:cxn>
              <a:cxn ang="0">
                <a:pos x="T2" y="T3"/>
              </a:cxn>
              <a:cxn ang="0">
                <a:pos x="T4" y="T5"/>
              </a:cxn>
              <a:cxn ang="0">
                <a:pos x="T6" y="T7"/>
              </a:cxn>
              <a:cxn ang="0">
                <a:pos x="T8" y="T9"/>
              </a:cxn>
              <a:cxn ang="0">
                <a:pos x="T10" y="T11"/>
              </a:cxn>
            </a:cxnLst>
            <a:rect l="0" t="0" r="r" b="b"/>
            <a:pathLst>
              <a:path w="436" h="514">
                <a:moveTo>
                  <a:pt x="384" y="0"/>
                </a:moveTo>
                <a:lnTo>
                  <a:pt x="2" y="0"/>
                </a:lnTo>
                <a:lnTo>
                  <a:pt x="0" y="505"/>
                </a:lnTo>
                <a:lnTo>
                  <a:pt x="331" y="514"/>
                </a:lnTo>
                <a:lnTo>
                  <a:pt x="436" y="431"/>
                </a:lnTo>
                <a:lnTo>
                  <a:pt x="3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1" name="Freeform 38"/>
          <p:cNvSpPr>
            <a:spLocks/>
          </p:cNvSpPr>
          <p:nvPr userDrawn="1"/>
        </p:nvSpPr>
        <p:spPr bwMode="auto">
          <a:xfrm>
            <a:off x="7251701" y="1391941"/>
            <a:ext cx="77788" cy="68263"/>
          </a:xfrm>
          <a:custGeom>
            <a:avLst/>
            <a:gdLst>
              <a:gd name="T0" fmla="*/ 586 w 586"/>
              <a:gd name="T1" fmla="*/ 139 h 523"/>
              <a:gd name="T2" fmla="*/ 586 w 586"/>
              <a:gd name="T3" fmla="*/ 139 h 523"/>
              <a:gd name="T4" fmla="*/ 552 w 586"/>
              <a:gd name="T5" fmla="*/ 115 h 523"/>
              <a:gd name="T6" fmla="*/ 527 w 586"/>
              <a:gd name="T7" fmla="*/ 97 h 523"/>
              <a:gd name="T8" fmla="*/ 519 w 586"/>
              <a:gd name="T9" fmla="*/ 90 h 523"/>
              <a:gd name="T10" fmla="*/ 514 w 586"/>
              <a:gd name="T11" fmla="*/ 85 h 523"/>
              <a:gd name="T12" fmla="*/ 514 w 586"/>
              <a:gd name="T13" fmla="*/ 85 h 523"/>
              <a:gd name="T14" fmla="*/ 512 w 586"/>
              <a:gd name="T15" fmla="*/ 79 h 523"/>
              <a:gd name="T16" fmla="*/ 510 w 586"/>
              <a:gd name="T17" fmla="*/ 69 h 523"/>
              <a:gd name="T18" fmla="*/ 506 w 586"/>
              <a:gd name="T19" fmla="*/ 40 h 523"/>
              <a:gd name="T20" fmla="*/ 503 w 586"/>
              <a:gd name="T21" fmla="*/ 0 h 523"/>
              <a:gd name="T22" fmla="*/ 381 w 586"/>
              <a:gd name="T23" fmla="*/ 98 h 523"/>
              <a:gd name="T24" fmla="*/ 8 w 586"/>
              <a:gd name="T25" fmla="*/ 97 h 523"/>
              <a:gd name="T26" fmla="*/ 8 w 586"/>
              <a:gd name="T27" fmla="*/ 97 h 523"/>
              <a:gd name="T28" fmla="*/ 8 w 586"/>
              <a:gd name="T29" fmla="*/ 98 h 523"/>
              <a:gd name="T30" fmla="*/ 7 w 586"/>
              <a:gd name="T31" fmla="*/ 100 h 523"/>
              <a:gd name="T32" fmla="*/ 5 w 586"/>
              <a:gd name="T33" fmla="*/ 108 h 523"/>
              <a:gd name="T34" fmla="*/ 3 w 586"/>
              <a:gd name="T35" fmla="*/ 139 h 523"/>
              <a:gd name="T36" fmla="*/ 2 w 586"/>
              <a:gd name="T37" fmla="*/ 183 h 523"/>
              <a:gd name="T38" fmla="*/ 1 w 586"/>
              <a:gd name="T39" fmla="*/ 233 h 523"/>
              <a:gd name="T40" fmla="*/ 0 w 586"/>
              <a:gd name="T41" fmla="*/ 327 h 523"/>
              <a:gd name="T42" fmla="*/ 0 w 586"/>
              <a:gd name="T43" fmla="*/ 369 h 523"/>
              <a:gd name="T44" fmla="*/ 0 w 586"/>
              <a:gd name="T45" fmla="*/ 369 h 523"/>
              <a:gd name="T46" fmla="*/ 29 w 586"/>
              <a:gd name="T47" fmla="*/ 395 h 523"/>
              <a:gd name="T48" fmla="*/ 95 w 586"/>
              <a:gd name="T49" fmla="*/ 448 h 523"/>
              <a:gd name="T50" fmla="*/ 131 w 586"/>
              <a:gd name="T51" fmla="*/ 477 h 523"/>
              <a:gd name="T52" fmla="*/ 162 w 586"/>
              <a:gd name="T53" fmla="*/ 501 h 523"/>
              <a:gd name="T54" fmla="*/ 186 w 586"/>
              <a:gd name="T55" fmla="*/ 517 h 523"/>
              <a:gd name="T56" fmla="*/ 193 w 586"/>
              <a:gd name="T57" fmla="*/ 522 h 523"/>
              <a:gd name="T58" fmla="*/ 195 w 586"/>
              <a:gd name="T59" fmla="*/ 523 h 523"/>
              <a:gd name="T60" fmla="*/ 197 w 586"/>
              <a:gd name="T61" fmla="*/ 523 h 523"/>
              <a:gd name="T62" fmla="*/ 448 w 586"/>
              <a:gd name="T63" fmla="*/ 206 h 523"/>
              <a:gd name="T64" fmla="*/ 586 w 586"/>
              <a:gd name="T65" fmla="*/ 139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86" h="523">
                <a:moveTo>
                  <a:pt x="586" y="139"/>
                </a:moveTo>
                <a:lnTo>
                  <a:pt x="586" y="139"/>
                </a:lnTo>
                <a:lnTo>
                  <a:pt x="552" y="115"/>
                </a:lnTo>
                <a:lnTo>
                  <a:pt x="527" y="97"/>
                </a:lnTo>
                <a:lnTo>
                  <a:pt x="519" y="90"/>
                </a:lnTo>
                <a:lnTo>
                  <a:pt x="514" y="85"/>
                </a:lnTo>
                <a:lnTo>
                  <a:pt x="514" y="85"/>
                </a:lnTo>
                <a:lnTo>
                  <a:pt x="512" y="79"/>
                </a:lnTo>
                <a:lnTo>
                  <a:pt x="510" y="69"/>
                </a:lnTo>
                <a:lnTo>
                  <a:pt x="506" y="40"/>
                </a:lnTo>
                <a:lnTo>
                  <a:pt x="503" y="0"/>
                </a:lnTo>
                <a:lnTo>
                  <a:pt x="381" y="98"/>
                </a:lnTo>
                <a:lnTo>
                  <a:pt x="8" y="97"/>
                </a:lnTo>
                <a:lnTo>
                  <a:pt x="8" y="97"/>
                </a:lnTo>
                <a:lnTo>
                  <a:pt x="8" y="98"/>
                </a:lnTo>
                <a:lnTo>
                  <a:pt x="7" y="100"/>
                </a:lnTo>
                <a:lnTo>
                  <a:pt x="5" y="108"/>
                </a:lnTo>
                <a:lnTo>
                  <a:pt x="3" y="139"/>
                </a:lnTo>
                <a:lnTo>
                  <a:pt x="2" y="183"/>
                </a:lnTo>
                <a:lnTo>
                  <a:pt x="1" y="233"/>
                </a:lnTo>
                <a:lnTo>
                  <a:pt x="0" y="327"/>
                </a:lnTo>
                <a:lnTo>
                  <a:pt x="0" y="369"/>
                </a:lnTo>
                <a:lnTo>
                  <a:pt x="0" y="369"/>
                </a:lnTo>
                <a:lnTo>
                  <a:pt x="29" y="395"/>
                </a:lnTo>
                <a:lnTo>
                  <a:pt x="95" y="448"/>
                </a:lnTo>
                <a:lnTo>
                  <a:pt x="131" y="477"/>
                </a:lnTo>
                <a:lnTo>
                  <a:pt x="162" y="501"/>
                </a:lnTo>
                <a:lnTo>
                  <a:pt x="186" y="517"/>
                </a:lnTo>
                <a:lnTo>
                  <a:pt x="193" y="522"/>
                </a:lnTo>
                <a:lnTo>
                  <a:pt x="195" y="523"/>
                </a:lnTo>
                <a:lnTo>
                  <a:pt x="197" y="523"/>
                </a:lnTo>
                <a:lnTo>
                  <a:pt x="448" y="206"/>
                </a:lnTo>
                <a:lnTo>
                  <a:pt x="586" y="13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2" name="Freeform 39"/>
          <p:cNvSpPr>
            <a:spLocks/>
          </p:cNvSpPr>
          <p:nvPr userDrawn="1"/>
        </p:nvSpPr>
        <p:spPr bwMode="auto">
          <a:xfrm>
            <a:off x="7288212" y="1417340"/>
            <a:ext cx="115888" cy="66675"/>
          </a:xfrm>
          <a:custGeom>
            <a:avLst/>
            <a:gdLst>
              <a:gd name="T0" fmla="*/ 226 w 879"/>
              <a:gd name="T1" fmla="*/ 65 h 509"/>
              <a:gd name="T2" fmla="*/ 0 w 879"/>
              <a:gd name="T3" fmla="*/ 355 h 509"/>
              <a:gd name="T4" fmla="*/ 369 w 879"/>
              <a:gd name="T5" fmla="*/ 509 h 509"/>
              <a:gd name="T6" fmla="*/ 369 w 879"/>
              <a:gd name="T7" fmla="*/ 509 h 509"/>
              <a:gd name="T8" fmla="*/ 409 w 879"/>
              <a:gd name="T9" fmla="*/ 487 h 509"/>
              <a:gd name="T10" fmla="*/ 452 w 879"/>
              <a:gd name="T11" fmla="*/ 464 h 509"/>
              <a:gd name="T12" fmla="*/ 495 w 879"/>
              <a:gd name="T13" fmla="*/ 439 h 509"/>
              <a:gd name="T14" fmla="*/ 538 w 879"/>
              <a:gd name="T15" fmla="*/ 413 h 509"/>
              <a:gd name="T16" fmla="*/ 623 w 879"/>
              <a:gd name="T17" fmla="*/ 361 h 509"/>
              <a:gd name="T18" fmla="*/ 703 w 879"/>
              <a:gd name="T19" fmla="*/ 311 h 509"/>
              <a:gd name="T20" fmla="*/ 773 w 879"/>
              <a:gd name="T21" fmla="*/ 266 h 509"/>
              <a:gd name="T22" fmla="*/ 829 w 879"/>
              <a:gd name="T23" fmla="*/ 229 h 509"/>
              <a:gd name="T24" fmla="*/ 879 w 879"/>
              <a:gd name="T25" fmla="*/ 196 h 509"/>
              <a:gd name="T26" fmla="*/ 359 w 879"/>
              <a:gd name="T27" fmla="*/ 0 h 509"/>
              <a:gd name="T28" fmla="*/ 226 w 879"/>
              <a:gd name="T29" fmla="*/ 65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9" h="509">
                <a:moveTo>
                  <a:pt x="226" y="65"/>
                </a:moveTo>
                <a:lnTo>
                  <a:pt x="0" y="355"/>
                </a:lnTo>
                <a:lnTo>
                  <a:pt x="369" y="509"/>
                </a:lnTo>
                <a:lnTo>
                  <a:pt x="369" y="509"/>
                </a:lnTo>
                <a:lnTo>
                  <a:pt x="409" y="487"/>
                </a:lnTo>
                <a:lnTo>
                  <a:pt x="452" y="464"/>
                </a:lnTo>
                <a:lnTo>
                  <a:pt x="495" y="439"/>
                </a:lnTo>
                <a:lnTo>
                  <a:pt x="538" y="413"/>
                </a:lnTo>
                <a:lnTo>
                  <a:pt x="623" y="361"/>
                </a:lnTo>
                <a:lnTo>
                  <a:pt x="703" y="311"/>
                </a:lnTo>
                <a:lnTo>
                  <a:pt x="773" y="266"/>
                </a:lnTo>
                <a:lnTo>
                  <a:pt x="829" y="229"/>
                </a:lnTo>
                <a:lnTo>
                  <a:pt x="879" y="196"/>
                </a:lnTo>
                <a:lnTo>
                  <a:pt x="359" y="0"/>
                </a:lnTo>
                <a:lnTo>
                  <a:pt x="226" y="6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3" name="Freeform 40"/>
          <p:cNvSpPr>
            <a:spLocks/>
          </p:cNvSpPr>
          <p:nvPr userDrawn="1"/>
        </p:nvSpPr>
        <p:spPr bwMode="auto">
          <a:xfrm>
            <a:off x="7323137" y="1172866"/>
            <a:ext cx="26988" cy="123825"/>
          </a:xfrm>
          <a:custGeom>
            <a:avLst/>
            <a:gdLst>
              <a:gd name="T0" fmla="*/ 170 w 211"/>
              <a:gd name="T1" fmla="*/ 388 h 928"/>
              <a:gd name="T2" fmla="*/ 169 w 211"/>
              <a:gd name="T3" fmla="*/ 133 h 928"/>
              <a:gd name="T4" fmla="*/ 171 w 211"/>
              <a:gd name="T5" fmla="*/ 84 h 928"/>
              <a:gd name="T6" fmla="*/ 172 w 211"/>
              <a:gd name="T7" fmla="*/ 79 h 928"/>
              <a:gd name="T8" fmla="*/ 182 w 211"/>
              <a:gd name="T9" fmla="*/ 64 h 928"/>
              <a:gd name="T10" fmla="*/ 188 w 211"/>
              <a:gd name="T11" fmla="*/ 53 h 928"/>
              <a:gd name="T12" fmla="*/ 192 w 211"/>
              <a:gd name="T13" fmla="*/ 36 h 928"/>
              <a:gd name="T14" fmla="*/ 191 w 211"/>
              <a:gd name="T15" fmla="*/ 18 h 928"/>
              <a:gd name="T16" fmla="*/ 188 w 211"/>
              <a:gd name="T17" fmla="*/ 0 h 928"/>
              <a:gd name="T18" fmla="*/ 6 w 211"/>
              <a:gd name="T19" fmla="*/ 0 h 928"/>
              <a:gd name="T20" fmla="*/ 4 w 211"/>
              <a:gd name="T21" fmla="*/ 8 h 928"/>
              <a:gd name="T22" fmla="*/ 5 w 211"/>
              <a:gd name="T23" fmla="*/ 33 h 928"/>
              <a:gd name="T24" fmla="*/ 7 w 211"/>
              <a:gd name="T25" fmla="*/ 43 h 928"/>
              <a:gd name="T26" fmla="*/ 17 w 211"/>
              <a:gd name="T27" fmla="*/ 65 h 928"/>
              <a:gd name="T28" fmla="*/ 28 w 211"/>
              <a:gd name="T29" fmla="*/ 80 h 928"/>
              <a:gd name="T30" fmla="*/ 33 w 211"/>
              <a:gd name="T31" fmla="*/ 388 h 928"/>
              <a:gd name="T32" fmla="*/ 29 w 211"/>
              <a:gd name="T33" fmla="*/ 395 h 928"/>
              <a:gd name="T34" fmla="*/ 19 w 211"/>
              <a:gd name="T35" fmla="*/ 412 h 928"/>
              <a:gd name="T36" fmla="*/ 9 w 211"/>
              <a:gd name="T37" fmla="*/ 443 h 928"/>
              <a:gd name="T38" fmla="*/ 0 w 211"/>
              <a:gd name="T39" fmla="*/ 487 h 928"/>
              <a:gd name="T40" fmla="*/ 0 w 211"/>
              <a:gd name="T41" fmla="*/ 498 h 928"/>
              <a:gd name="T42" fmla="*/ 1 w 211"/>
              <a:gd name="T43" fmla="*/ 518 h 928"/>
              <a:gd name="T44" fmla="*/ 10 w 211"/>
              <a:gd name="T45" fmla="*/ 546 h 928"/>
              <a:gd name="T46" fmla="*/ 23 w 211"/>
              <a:gd name="T47" fmla="*/ 576 h 928"/>
              <a:gd name="T48" fmla="*/ 35 w 211"/>
              <a:gd name="T49" fmla="*/ 594 h 928"/>
              <a:gd name="T50" fmla="*/ 31 w 211"/>
              <a:gd name="T51" fmla="*/ 850 h 928"/>
              <a:gd name="T52" fmla="*/ 23 w 211"/>
              <a:gd name="T53" fmla="*/ 859 h 928"/>
              <a:gd name="T54" fmla="*/ 18 w 211"/>
              <a:gd name="T55" fmla="*/ 871 h 928"/>
              <a:gd name="T56" fmla="*/ 14 w 211"/>
              <a:gd name="T57" fmla="*/ 888 h 928"/>
              <a:gd name="T58" fmla="*/ 14 w 211"/>
              <a:gd name="T59" fmla="*/ 898 h 928"/>
              <a:gd name="T60" fmla="*/ 15 w 211"/>
              <a:gd name="T61" fmla="*/ 919 h 928"/>
              <a:gd name="T62" fmla="*/ 18 w 211"/>
              <a:gd name="T63" fmla="*/ 928 h 928"/>
              <a:gd name="T64" fmla="*/ 188 w 211"/>
              <a:gd name="T65" fmla="*/ 928 h 928"/>
              <a:gd name="T66" fmla="*/ 191 w 211"/>
              <a:gd name="T67" fmla="*/ 906 h 928"/>
              <a:gd name="T68" fmla="*/ 190 w 211"/>
              <a:gd name="T69" fmla="*/ 881 h 928"/>
              <a:gd name="T70" fmla="*/ 188 w 211"/>
              <a:gd name="T71" fmla="*/ 873 h 928"/>
              <a:gd name="T72" fmla="*/ 179 w 211"/>
              <a:gd name="T73" fmla="*/ 857 h 928"/>
              <a:gd name="T74" fmla="*/ 169 w 211"/>
              <a:gd name="T75" fmla="*/ 846 h 928"/>
              <a:gd name="T76" fmla="*/ 168 w 211"/>
              <a:gd name="T77" fmla="*/ 594 h 928"/>
              <a:gd name="T78" fmla="*/ 190 w 211"/>
              <a:gd name="T79" fmla="*/ 561 h 928"/>
              <a:gd name="T80" fmla="*/ 202 w 211"/>
              <a:gd name="T81" fmla="*/ 537 h 928"/>
              <a:gd name="T82" fmla="*/ 210 w 211"/>
              <a:gd name="T83" fmla="*/ 507 h 928"/>
              <a:gd name="T84" fmla="*/ 211 w 211"/>
              <a:gd name="T85" fmla="*/ 491 h 928"/>
              <a:gd name="T86" fmla="*/ 211 w 211"/>
              <a:gd name="T87" fmla="*/ 482 h 928"/>
              <a:gd name="T88" fmla="*/ 206 w 211"/>
              <a:gd name="T89" fmla="*/ 458 h 928"/>
              <a:gd name="T90" fmla="*/ 195 w 211"/>
              <a:gd name="T91" fmla="*/ 428 h 928"/>
              <a:gd name="T92" fmla="*/ 181 w 211"/>
              <a:gd name="T93" fmla="*/ 405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1" h="928">
                <a:moveTo>
                  <a:pt x="170" y="388"/>
                </a:moveTo>
                <a:lnTo>
                  <a:pt x="170" y="388"/>
                </a:lnTo>
                <a:lnTo>
                  <a:pt x="169" y="238"/>
                </a:lnTo>
                <a:lnTo>
                  <a:pt x="169" y="133"/>
                </a:lnTo>
                <a:lnTo>
                  <a:pt x="170" y="96"/>
                </a:lnTo>
                <a:lnTo>
                  <a:pt x="171" y="84"/>
                </a:lnTo>
                <a:lnTo>
                  <a:pt x="172" y="79"/>
                </a:lnTo>
                <a:lnTo>
                  <a:pt x="172" y="79"/>
                </a:lnTo>
                <a:lnTo>
                  <a:pt x="177" y="71"/>
                </a:lnTo>
                <a:lnTo>
                  <a:pt x="182" y="64"/>
                </a:lnTo>
                <a:lnTo>
                  <a:pt x="188" y="53"/>
                </a:lnTo>
                <a:lnTo>
                  <a:pt x="188" y="53"/>
                </a:lnTo>
                <a:lnTo>
                  <a:pt x="191" y="45"/>
                </a:lnTo>
                <a:lnTo>
                  <a:pt x="192" y="36"/>
                </a:lnTo>
                <a:lnTo>
                  <a:pt x="192" y="28"/>
                </a:lnTo>
                <a:lnTo>
                  <a:pt x="191" y="18"/>
                </a:lnTo>
                <a:lnTo>
                  <a:pt x="189" y="5"/>
                </a:lnTo>
                <a:lnTo>
                  <a:pt x="188" y="0"/>
                </a:lnTo>
                <a:lnTo>
                  <a:pt x="6" y="0"/>
                </a:lnTo>
                <a:lnTo>
                  <a:pt x="6" y="0"/>
                </a:lnTo>
                <a:lnTo>
                  <a:pt x="5" y="4"/>
                </a:lnTo>
                <a:lnTo>
                  <a:pt x="4" y="8"/>
                </a:lnTo>
                <a:lnTo>
                  <a:pt x="4" y="20"/>
                </a:lnTo>
                <a:lnTo>
                  <a:pt x="5" y="33"/>
                </a:lnTo>
                <a:lnTo>
                  <a:pt x="7" y="43"/>
                </a:lnTo>
                <a:lnTo>
                  <a:pt x="7" y="43"/>
                </a:lnTo>
                <a:lnTo>
                  <a:pt x="11" y="54"/>
                </a:lnTo>
                <a:lnTo>
                  <a:pt x="17" y="65"/>
                </a:lnTo>
                <a:lnTo>
                  <a:pt x="24" y="76"/>
                </a:lnTo>
                <a:lnTo>
                  <a:pt x="28" y="80"/>
                </a:lnTo>
                <a:lnTo>
                  <a:pt x="33" y="83"/>
                </a:lnTo>
                <a:lnTo>
                  <a:pt x="33" y="388"/>
                </a:lnTo>
                <a:lnTo>
                  <a:pt x="33" y="388"/>
                </a:lnTo>
                <a:lnTo>
                  <a:pt x="29" y="395"/>
                </a:lnTo>
                <a:lnTo>
                  <a:pt x="24" y="402"/>
                </a:lnTo>
                <a:lnTo>
                  <a:pt x="19" y="412"/>
                </a:lnTo>
                <a:lnTo>
                  <a:pt x="14" y="426"/>
                </a:lnTo>
                <a:lnTo>
                  <a:pt x="9" y="443"/>
                </a:lnTo>
                <a:lnTo>
                  <a:pt x="4" y="463"/>
                </a:lnTo>
                <a:lnTo>
                  <a:pt x="0" y="487"/>
                </a:lnTo>
                <a:lnTo>
                  <a:pt x="0" y="487"/>
                </a:lnTo>
                <a:lnTo>
                  <a:pt x="0" y="498"/>
                </a:lnTo>
                <a:lnTo>
                  <a:pt x="0" y="508"/>
                </a:lnTo>
                <a:lnTo>
                  <a:pt x="1" y="518"/>
                </a:lnTo>
                <a:lnTo>
                  <a:pt x="4" y="529"/>
                </a:lnTo>
                <a:lnTo>
                  <a:pt x="10" y="546"/>
                </a:lnTo>
                <a:lnTo>
                  <a:pt x="16" y="562"/>
                </a:lnTo>
                <a:lnTo>
                  <a:pt x="23" y="576"/>
                </a:lnTo>
                <a:lnTo>
                  <a:pt x="29" y="585"/>
                </a:lnTo>
                <a:lnTo>
                  <a:pt x="35" y="594"/>
                </a:lnTo>
                <a:lnTo>
                  <a:pt x="31" y="850"/>
                </a:lnTo>
                <a:lnTo>
                  <a:pt x="31" y="850"/>
                </a:lnTo>
                <a:lnTo>
                  <a:pt x="29" y="852"/>
                </a:lnTo>
                <a:lnTo>
                  <a:pt x="23" y="859"/>
                </a:lnTo>
                <a:lnTo>
                  <a:pt x="20" y="864"/>
                </a:lnTo>
                <a:lnTo>
                  <a:pt x="18" y="871"/>
                </a:lnTo>
                <a:lnTo>
                  <a:pt x="15" y="879"/>
                </a:lnTo>
                <a:lnTo>
                  <a:pt x="14" y="888"/>
                </a:lnTo>
                <a:lnTo>
                  <a:pt x="14" y="888"/>
                </a:lnTo>
                <a:lnTo>
                  <a:pt x="14" y="898"/>
                </a:lnTo>
                <a:lnTo>
                  <a:pt x="14" y="906"/>
                </a:lnTo>
                <a:lnTo>
                  <a:pt x="15" y="919"/>
                </a:lnTo>
                <a:lnTo>
                  <a:pt x="17" y="926"/>
                </a:lnTo>
                <a:lnTo>
                  <a:pt x="18" y="928"/>
                </a:lnTo>
                <a:lnTo>
                  <a:pt x="188" y="928"/>
                </a:lnTo>
                <a:lnTo>
                  <a:pt x="188" y="928"/>
                </a:lnTo>
                <a:lnTo>
                  <a:pt x="190" y="920"/>
                </a:lnTo>
                <a:lnTo>
                  <a:pt x="191" y="906"/>
                </a:lnTo>
                <a:lnTo>
                  <a:pt x="190" y="889"/>
                </a:lnTo>
                <a:lnTo>
                  <a:pt x="190" y="881"/>
                </a:lnTo>
                <a:lnTo>
                  <a:pt x="188" y="873"/>
                </a:lnTo>
                <a:lnTo>
                  <a:pt x="188" y="873"/>
                </a:lnTo>
                <a:lnTo>
                  <a:pt x="185" y="864"/>
                </a:lnTo>
                <a:lnTo>
                  <a:pt x="179" y="857"/>
                </a:lnTo>
                <a:lnTo>
                  <a:pt x="174" y="851"/>
                </a:lnTo>
                <a:lnTo>
                  <a:pt x="169" y="846"/>
                </a:lnTo>
                <a:lnTo>
                  <a:pt x="168" y="594"/>
                </a:lnTo>
                <a:lnTo>
                  <a:pt x="168" y="594"/>
                </a:lnTo>
                <a:lnTo>
                  <a:pt x="181" y="573"/>
                </a:lnTo>
                <a:lnTo>
                  <a:pt x="190" y="561"/>
                </a:lnTo>
                <a:lnTo>
                  <a:pt x="196" y="550"/>
                </a:lnTo>
                <a:lnTo>
                  <a:pt x="202" y="537"/>
                </a:lnTo>
                <a:lnTo>
                  <a:pt x="207" y="522"/>
                </a:lnTo>
                <a:lnTo>
                  <a:pt x="210" y="507"/>
                </a:lnTo>
                <a:lnTo>
                  <a:pt x="211" y="499"/>
                </a:lnTo>
                <a:lnTo>
                  <a:pt x="211" y="491"/>
                </a:lnTo>
                <a:lnTo>
                  <a:pt x="211" y="491"/>
                </a:lnTo>
                <a:lnTo>
                  <a:pt x="211" y="482"/>
                </a:lnTo>
                <a:lnTo>
                  <a:pt x="210" y="473"/>
                </a:lnTo>
                <a:lnTo>
                  <a:pt x="206" y="458"/>
                </a:lnTo>
                <a:lnTo>
                  <a:pt x="201" y="443"/>
                </a:lnTo>
                <a:lnTo>
                  <a:pt x="195" y="428"/>
                </a:lnTo>
                <a:lnTo>
                  <a:pt x="189" y="416"/>
                </a:lnTo>
                <a:lnTo>
                  <a:pt x="181" y="405"/>
                </a:lnTo>
                <a:lnTo>
                  <a:pt x="170" y="3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4" name="Freeform 41"/>
          <p:cNvSpPr>
            <a:spLocks/>
          </p:cNvSpPr>
          <p:nvPr userDrawn="1"/>
        </p:nvSpPr>
        <p:spPr bwMode="auto">
          <a:xfrm>
            <a:off x="7351713" y="1209378"/>
            <a:ext cx="80963" cy="58738"/>
          </a:xfrm>
          <a:custGeom>
            <a:avLst/>
            <a:gdLst>
              <a:gd name="T0" fmla="*/ 617 w 617"/>
              <a:gd name="T1" fmla="*/ 73 h 442"/>
              <a:gd name="T2" fmla="*/ 433 w 617"/>
              <a:gd name="T3" fmla="*/ 70 h 442"/>
              <a:gd name="T4" fmla="*/ 202 w 617"/>
              <a:gd name="T5" fmla="*/ 68 h 442"/>
              <a:gd name="T6" fmla="*/ 195 w 617"/>
              <a:gd name="T7" fmla="*/ 67 h 442"/>
              <a:gd name="T8" fmla="*/ 174 w 617"/>
              <a:gd name="T9" fmla="*/ 61 h 442"/>
              <a:gd name="T10" fmla="*/ 137 w 617"/>
              <a:gd name="T11" fmla="*/ 44 h 442"/>
              <a:gd name="T12" fmla="*/ 84 w 617"/>
              <a:gd name="T13" fmla="*/ 16 h 442"/>
              <a:gd name="T14" fmla="*/ 53 w 617"/>
              <a:gd name="T15" fmla="*/ 2 h 442"/>
              <a:gd name="T16" fmla="*/ 40 w 617"/>
              <a:gd name="T17" fmla="*/ 0 h 442"/>
              <a:gd name="T18" fmla="*/ 37 w 617"/>
              <a:gd name="T19" fmla="*/ 2 h 442"/>
              <a:gd name="T20" fmla="*/ 22 w 617"/>
              <a:gd name="T21" fmla="*/ 38 h 442"/>
              <a:gd name="T22" fmla="*/ 1 w 617"/>
              <a:gd name="T23" fmla="*/ 91 h 442"/>
              <a:gd name="T24" fmla="*/ 19 w 617"/>
              <a:gd name="T25" fmla="*/ 113 h 442"/>
              <a:gd name="T26" fmla="*/ 38 w 617"/>
              <a:gd name="T27" fmla="*/ 147 h 442"/>
              <a:gd name="T28" fmla="*/ 47 w 617"/>
              <a:gd name="T29" fmla="*/ 169 h 442"/>
              <a:gd name="T30" fmla="*/ 52 w 617"/>
              <a:gd name="T31" fmla="*/ 191 h 442"/>
              <a:gd name="T32" fmla="*/ 55 w 617"/>
              <a:gd name="T33" fmla="*/ 216 h 442"/>
              <a:gd name="T34" fmla="*/ 53 w 617"/>
              <a:gd name="T35" fmla="*/ 235 h 442"/>
              <a:gd name="T36" fmla="*/ 48 w 617"/>
              <a:gd name="T37" fmla="*/ 265 h 442"/>
              <a:gd name="T38" fmla="*/ 42 w 617"/>
              <a:gd name="T39" fmla="*/ 283 h 442"/>
              <a:gd name="T40" fmla="*/ 32 w 617"/>
              <a:gd name="T41" fmla="*/ 304 h 442"/>
              <a:gd name="T42" fmla="*/ 19 w 617"/>
              <a:gd name="T43" fmla="*/ 324 h 442"/>
              <a:gd name="T44" fmla="*/ 0 w 617"/>
              <a:gd name="T45" fmla="*/ 345 h 442"/>
              <a:gd name="T46" fmla="*/ 23 w 617"/>
              <a:gd name="T47" fmla="*/ 391 h 442"/>
              <a:gd name="T48" fmla="*/ 47 w 617"/>
              <a:gd name="T49" fmla="*/ 435 h 442"/>
              <a:gd name="T50" fmla="*/ 52 w 617"/>
              <a:gd name="T51" fmla="*/ 442 h 442"/>
              <a:gd name="T52" fmla="*/ 84 w 617"/>
              <a:gd name="T53" fmla="*/ 423 h 442"/>
              <a:gd name="T54" fmla="*/ 129 w 617"/>
              <a:gd name="T55" fmla="*/ 400 h 442"/>
              <a:gd name="T56" fmla="*/ 183 w 617"/>
              <a:gd name="T57" fmla="*/ 378 h 442"/>
              <a:gd name="T58" fmla="*/ 211 w 617"/>
              <a:gd name="T59" fmla="*/ 371 h 442"/>
              <a:gd name="T60" fmla="*/ 224 w 617"/>
              <a:gd name="T61" fmla="*/ 369 h 442"/>
              <a:gd name="T62" fmla="*/ 330 w 617"/>
              <a:gd name="T63" fmla="*/ 363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17" h="442">
                <a:moveTo>
                  <a:pt x="330" y="363"/>
                </a:moveTo>
                <a:lnTo>
                  <a:pt x="617" y="73"/>
                </a:lnTo>
                <a:lnTo>
                  <a:pt x="617" y="73"/>
                </a:lnTo>
                <a:lnTo>
                  <a:pt x="433" y="70"/>
                </a:lnTo>
                <a:lnTo>
                  <a:pt x="324" y="69"/>
                </a:lnTo>
                <a:lnTo>
                  <a:pt x="202" y="68"/>
                </a:lnTo>
                <a:lnTo>
                  <a:pt x="202" y="68"/>
                </a:lnTo>
                <a:lnTo>
                  <a:pt x="195" y="67"/>
                </a:lnTo>
                <a:lnTo>
                  <a:pt x="185" y="65"/>
                </a:lnTo>
                <a:lnTo>
                  <a:pt x="174" y="61"/>
                </a:lnTo>
                <a:lnTo>
                  <a:pt x="163" y="56"/>
                </a:lnTo>
                <a:lnTo>
                  <a:pt x="137" y="44"/>
                </a:lnTo>
                <a:lnTo>
                  <a:pt x="110" y="30"/>
                </a:lnTo>
                <a:lnTo>
                  <a:pt x="84" y="16"/>
                </a:lnTo>
                <a:lnTo>
                  <a:pt x="63" y="6"/>
                </a:lnTo>
                <a:lnTo>
                  <a:pt x="53" y="2"/>
                </a:lnTo>
                <a:lnTo>
                  <a:pt x="45" y="1"/>
                </a:lnTo>
                <a:lnTo>
                  <a:pt x="40" y="0"/>
                </a:lnTo>
                <a:lnTo>
                  <a:pt x="38" y="1"/>
                </a:lnTo>
                <a:lnTo>
                  <a:pt x="37" y="2"/>
                </a:lnTo>
                <a:lnTo>
                  <a:pt x="37" y="2"/>
                </a:lnTo>
                <a:lnTo>
                  <a:pt x="22" y="38"/>
                </a:lnTo>
                <a:lnTo>
                  <a:pt x="1" y="91"/>
                </a:lnTo>
                <a:lnTo>
                  <a:pt x="1" y="91"/>
                </a:lnTo>
                <a:lnTo>
                  <a:pt x="10" y="101"/>
                </a:lnTo>
                <a:lnTo>
                  <a:pt x="19" y="113"/>
                </a:lnTo>
                <a:lnTo>
                  <a:pt x="29" y="129"/>
                </a:lnTo>
                <a:lnTo>
                  <a:pt x="38" y="147"/>
                </a:lnTo>
                <a:lnTo>
                  <a:pt x="43" y="157"/>
                </a:lnTo>
                <a:lnTo>
                  <a:pt x="47" y="169"/>
                </a:lnTo>
                <a:lnTo>
                  <a:pt x="50" y="180"/>
                </a:lnTo>
                <a:lnTo>
                  <a:pt x="52" y="191"/>
                </a:lnTo>
                <a:lnTo>
                  <a:pt x="55" y="203"/>
                </a:lnTo>
                <a:lnTo>
                  <a:pt x="55" y="216"/>
                </a:lnTo>
                <a:lnTo>
                  <a:pt x="55" y="216"/>
                </a:lnTo>
                <a:lnTo>
                  <a:pt x="53" y="235"/>
                </a:lnTo>
                <a:lnTo>
                  <a:pt x="51" y="248"/>
                </a:lnTo>
                <a:lnTo>
                  <a:pt x="48" y="265"/>
                </a:lnTo>
                <a:lnTo>
                  <a:pt x="45" y="274"/>
                </a:lnTo>
                <a:lnTo>
                  <a:pt x="42" y="283"/>
                </a:lnTo>
                <a:lnTo>
                  <a:pt x="38" y="293"/>
                </a:lnTo>
                <a:lnTo>
                  <a:pt x="32" y="304"/>
                </a:lnTo>
                <a:lnTo>
                  <a:pt x="26" y="313"/>
                </a:lnTo>
                <a:lnTo>
                  <a:pt x="19" y="324"/>
                </a:lnTo>
                <a:lnTo>
                  <a:pt x="11" y="334"/>
                </a:lnTo>
                <a:lnTo>
                  <a:pt x="0" y="345"/>
                </a:lnTo>
                <a:lnTo>
                  <a:pt x="0" y="345"/>
                </a:lnTo>
                <a:lnTo>
                  <a:pt x="23" y="391"/>
                </a:lnTo>
                <a:lnTo>
                  <a:pt x="40" y="423"/>
                </a:lnTo>
                <a:lnTo>
                  <a:pt x="47" y="435"/>
                </a:lnTo>
                <a:lnTo>
                  <a:pt x="52" y="442"/>
                </a:lnTo>
                <a:lnTo>
                  <a:pt x="52" y="442"/>
                </a:lnTo>
                <a:lnTo>
                  <a:pt x="67" y="433"/>
                </a:lnTo>
                <a:lnTo>
                  <a:pt x="84" y="423"/>
                </a:lnTo>
                <a:lnTo>
                  <a:pt x="105" y="412"/>
                </a:lnTo>
                <a:lnTo>
                  <a:pt x="129" y="400"/>
                </a:lnTo>
                <a:lnTo>
                  <a:pt x="156" y="388"/>
                </a:lnTo>
                <a:lnTo>
                  <a:pt x="183" y="378"/>
                </a:lnTo>
                <a:lnTo>
                  <a:pt x="198" y="374"/>
                </a:lnTo>
                <a:lnTo>
                  <a:pt x="211" y="371"/>
                </a:lnTo>
                <a:lnTo>
                  <a:pt x="211" y="371"/>
                </a:lnTo>
                <a:lnTo>
                  <a:pt x="224" y="369"/>
                </a:lnTo>
                <a:lnTo>
                  <a:pt x="248" y="367"/>
                </a:lnTo>
                <a:lnTo>
                  <a:pt x="330" y="36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5" name="Freeform 42"/>
          <p:cNvSpPr>
            <a:spLocks/>
          </p:cNvSpPr>
          <p:nvPr userDrawn="1"/>
        </p:nvSpPr>
        <p:spPr bwMode="auto">
          <a:xfrm>
            <a:off x="7453312" y="1131591"/>
            <a:ext cx="158750" cy="127000"/>
          </a:xfrm>
          <a:custGeom>
            <a:avLst/>
            <a:gdLst>
              <a:gd name="T0" fmla="*/ 1179 w 1207"/>
              <a:gd name="T1" fmla="*/ 480 h 962"/>
              <a:gd name="T2" fmla="*/ 1115 w 1207"/>
              <a:gd name="T3" fmla="*/ 496 h 962"/>
              <a:gd name="T4" fmla="*/ 1079 w 1207"/>
              <a:gd name="T5" fmla="*/ 532 h 962"/>
              <a:gd name="T6" fmla="*/ 1057 w 1207"/>
              <a:gd name="T7" fmla="*/ 600 h 962"/>
              <a:gd name="T8" fmla="*/ 1046 w 1207"/>
              <a:gd name="T9" fmla="*/ 585 h 962"/>
              <a:gd name="T10" fmla="*/ 1007 w 1207"/>
              <a:gd name="T11" fmla="*/ 556 h 962"/>
              <a:gd name="T12" fmla="*/ 935 w 1207"/>
              <a:gd name="T13" fmla="*/ 562 h 962"/>
              <a:gd name="T14" fmla="*/ 930 w 1207"/>
              <a:gd name="T15" fmla="*/ 613 h 962"/>
              <a:gd name="T16" fmla="*/ 935 w 1207"/>
              <a:gd name="T17" fmla="*/ 696 h 962"/>
              <a:gd name="T18" fmla="*/ 890 w 1207"/>
              <a:gd name="T19" fmla="*/ 725 h 962"/>
              <a:gd name="T20" fmla="*/ 842 w 1207"/>
              <a:gd name="T21" fmla="*/ 709 h 962"/>
              <a:gd name="T22" fmla="*/ 816 w 1207"/>
              <a:gd name="T23" fmla="*/ 658 h 962"/>
              <a:gd name="T24" fmla="*/ 805 w 1207"/>
              <a:gd name="T25" fmla="*/ 643 h 962"/>
              <a:gd name="T26" fmla="*/ 749 w 1207"/>
              <a:gd name="T27" fmla="*/ 659 h 962"/>
              <a:gd name="T28" fmla="*/ 701 w 1207"/>
              <a:gd name="T29" fmla="*/ 634 h 962"/>
              <a:gd name="T30" fmla="*/ 694 w 1207"/>
              <a:gd name="T31" fmla="*/ 581 h 962"/>
              <a:gd name="T32" fmla="*/ 754 w 1207"/>
              <a:gd name="T33" fmla="*/ 540 h 962"/>
              <a:gd name="T34" fmla="*/ 824 w 1207"/>
              <a:gd name="T35" fmla="*/ 520 h 962"/>
              <a:gd name="T36" fmla="*/ 805 w 1207"/>
              <a:gd name="T37" fmla="*/ 460 h 962"/>
              <a:gd name="T38" fmla="*/ 764 w 1207"/>
              <a:gd name="T39" fmla="*/ 421 h 962"/>
              <a:gd name="T40" fmla="*/ 698 w 1207"/>
              <a:gd name="T41" fmla="*/ 414 h 962"/>
              <a:gd name="T42" fmla="*/ 672 w 1207"/>
              <a:gd name="T43" fmla="*/ 415 h 962"/>
              <a:gd name="T44" fmla="*/ 712 w 1207"/>
              <a:gd name="T45" fmla="*/ 360 h 962"/>
              <a:gd name="T46" fmla="*/ 709 w 1207"/>
              <a:gd name="T47" fmla="*/ 285 h 962"/>
              <a:gd name="T48" fmla="*/ 668 w 1207"/>
              <a:gd name="T49" fmla="*/ 214 h 962"/>
              <a:gd name="T50" fmla="*/ 606 w 1207"/>
              <a:gd name="T51" fmla="*/ 224 h 962"/>
              <a:gd name="T52" fmla="*/ 535 w 1207"/>
              <a:gd name="T53" fmla="*/ 272 h 962"/>
              <a:gd name="T54" fmla="*/ 516 w 1207"/>
              <a:gd name="T55" fmla="*/ 334 h 962"/>
              <a:gd name="T56" fmla="*/ 508 w 1207"/>
              <a:gd name="T57" fmla="*/ 341 h 962"/>
              <a:gd name="T58" fmla="*/ 458 w 1207"/>
              <a:gd name="T59" fmla="*/ 287 h 962"/>
              <a:gd name="T60" fmla="*/ 404 w 1207"/>
              <a:gd name="T61" fmla="*/ 278 h 962"/>
              <a:gd name="T62" fmla="*/ 345 w 1207"/>
              <a:gd name="T63" fmla="*/ 300 h 962"/>
              <a:gd name="T64" fmla="*/ 362 w 1207"/>
              <a:gd name="T65" fmla="*/ 357 h 962"/>
              <a:gd name="T66" fmla="*/ 382 w 1207"/>
              <a:gd name="T67" fmla="*/ 432 h 962"/>
              <a:gd name="T68" fmla="*/ 347 w 1207"/>
              <a:gd name="T69" fmla="*/ 472 h 962"/>
              <a:gd name="T70" fmla="*/ 292 w 1207"/>
              <a:gd name="T71" fmla="*/ 462 h 962"/>
              <a:gd name="T72" fmla="*/ 262 w 1207"/>
              <a:gd name="T73" fmla="*/ 417 h 962"/>
              <a:gd name="T74" fmla="*/ 249 w 1207"/>
              <a:gd name="T75" fmla="*/ 398 h 962"/>
              <a:gd name="T76" fmla="*/ 194 w 1207"/>
              <a:gd name="T77" fmla="*/ 421 h 962"/>
              <a:gd name="T78" fmla="*/ 147 w 1207"/>
              <a:gd name="T79" fmla="*/ 404 h 962"/>
              <a:gd name="T80" fmla="*/ 128 w 1207"/>
              <a:gd name="T81" fmla="*/ 354 h 962"/>
              <a:gd name="T82" fmla="*/ 178 w 1207"/>
              <a:gd name="T83" fmla="*/ 300 h 962"/>
              <a:gd name="T84" fmla="*/ 233 w 1207"/>
              <a:gd name="T85" fmla="*/ 262 h 962"/>
              <a:gd name="T86" fmla="*/ 195 w 1207"/>
              <a:gd name="T87" fmla="*/ 203 h 962"/>
              <a:gd name="T88" fmla="*/ 145 w 1207"/>
              <a:gd name="T89" fmla="*/ 185 h 962"/>
              <a:gd name="T90" fmla="*/ 115 w 1207"/>
              <a:gd name="T91" fmla="*/ 191 h 962"/>
              <a:gd name="T92" fmla="*/ 153 w 1207"/>
              <a:gd name="T93" fmla="*/ 136 h 962"/>
              <a:gd name="T94" fmla="*/ 157 w 1207"/>
              <a:gd name="T95" fmla="*/ 76 h 962"/>
              <a:gd name="T96" fmla="*/ 134 w 1207"/>
              <a:gd name="T97" fmla="*/ 28 h 962"/>
              <a:gd name="T98" fmla="*/ 269 w 1207"/>
              <a:gd name="T99" fmla="*/ 712 h 962"/>
              <a:gd name="T100" fmla="*/ 354 w 1207"/>
              <a:gd name="T101" fmla="*/ 656 h 962"/>
              <a:gd name="T102" fmla="*/ 437 w 1207"/>
              <a:gd name="T103" fmla="*/ 636 h 962"/>
              <a:gd name="T104" fmla="*/ 517 w 1207"/>
              <a:gd name="T105" fmla="*/ 643 h 962"/>
              <a:gd name="T106" fmla="*/ 610 w 1207"/>
              <a:gd name="T107" fmla="*/ 683 h 962"/>
              <a:gd name="T108" fmla="*/ 658 w 1207"/>
              <a:gd name="T109" fmla="*/ 735 h 962"/>
              <a:gd name="T110" fmla="*/ 673 w 1207"/>
              <a:gd name="T111" fmla="*/ 793 h 962"/>
              <a:gd name="T112" fmla="*/ 646 w 1207"/>
              <a:gd name="T113" fmla="*/ 877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07" h="962">
                <a:moveTo>
                  <a:pt x="841" y="962"/>
                </a:moveTo>
                <a:lnTo>
                  <a:pt x="1207" y="484"/>
                </a:lnTo>
                <a:lnTo>
                  <a:pt x="1207" y="484"/>
                </a:lnTo>
                <a:lnTo>
                  <a:pt x="1200" y="482"/>
                </a:lnTo>
                <a:lnTo>
                  <a:pt x="1190" y="481"/>
                </a:lnTo>
                <a:lnTo>
                  <a:pt x="1179" y="480"/>
                </a:lnTo>
                <a:lnTo>
                  <a:pt x="1166" y="480"/>
                </a:lnTo>
                <a:lnTo>
                  <a:pt x="1149" y="483"/>
                </a:lnTo>
                <a:lnTo>
                  <a:pt x="1141" y="485"/>
                </a:lnTo>
                <a:lnTo>
                  <a:pt x="1133" y="488"/>
                </a:lnTo>
                <a:lnTo>
                  <a:pt x="1124" y="492"/>
                </a:lnTo>
                <a:lnTo>
                  <a:pt x="1115" y="496"/>
                </a:lnTo>
                <a:lnTo>
                  <a:pt x="1115" y="496"/>
                </a:lnTo>
                <a:lnTo>
                  <a:pt x="1106" y="502"/>
                </a:lnTo>
                <a:lnTo>
                  <a:pt x="1097" y="508"/>
                </a:lnTo>
                <a:lnTo>
                  <a:pt x="1090" y="515"/>
                </a:lnTo>
                <a:lnTo>
                  <a:pt x="1084" y="523"/>
                </a:lnTo>
                <a:lnTo>
                  <a:pt x="1079" y="532"/>
                </a:lnTo>
                <a:lnTo>
                  <a:pt x="1074" y="540"/>
                </a:lnTo>
                <a:lnTo>
                  <a:pt x="1070" y="548"/>
                </a:lnTo>
                <a:lnTo>
                  <a:pt x="1067" y="557"/>
                </a:lnTo>
                <a:lnTo>
                  <a:pt x="1062" y="574"/>
                </a:lnTo>
                <a:lnTo>
                  <a:pt x="1058" y="589"/>
                </a:lnTo>
                <a:lnTo>
                  <a:pt x="1057" y="600"/>
                </a:lnTo>
                <a:lnTo>
                  <a:pt x="1058" y="605"/>
                </a:lnTo>
                <a:lnTo>
                  <a:pt x="1059" y="608"/>
                </a:lnTo>
                <a:lnTo>
                  <a:pt x="1059" y="608"/>
                </a:lnTo>
                <a:lnTo>
                  <a:pt x="1055" y="599"/>
                </a:lnTo>
                <a:lnTo>
                  <a:pt x="1051" y="592"/>
                </a:lnTo>
                <a:lnTo>
                  <a:pt x="1046" y="585"/>
                </a:lnTo>
                <a:lnTo>
                  <a:pt x="1041" y="579"/>
                </a:lnTo>
                <a:lnTo>
                  <a:pt x="1036" y="574"/>
                </a:lnTo>
                <a:lnTo>
                  <a:pt x="1031" y="568"/>
                </a:lnTo>
                <a:lnTo>
                  <a:pt x="1025" y="564"/>
                </a:lnTo>
                <a:lnTo>
                  <a:pt x="1020" y="561"/>
                </a:lnTo>
                <a:lnTo>
                  <a:pt x="1007" y="556"/>
                </a:lnTo>
                <a:lnTo>
                  <a:pt x="994" y="554"/>
                </a:lnTo>
                <a:lnTo>
                  <a:pt x="982" y="553"/>
                </a:lnTo>
                <a:lnTo>
                  <a:pt x="970" y="554"/>
                </a:lnTo>
                <a:lnTo>
                  <a:pt x="957" y="556"/>
                </a:lnTo>
                <a:lnTo>
                  <a:pt x="946" y="558"/>
                </a:lnTo>
                <a:lnTo>
                  <a:pt x="935" y="562"/>
                </a:lnTo>
                <a:lnTo>
                  <a:pt x="927" y="565"/>
                </a:lnTo>
                <a:lnTo>
                  <a:pt x="913" y="572"/>
                </a:lnTo>
                <a:lnTo>
                  <a:pt x="908" y="574"/>
                </a:lnTo>
                <a:lnTo>
                  <a:pt x="908" y="574"/>
                </a:lnTo>
                <a:lnTo>
                  <a:pt x="920" y="594"/>
                </a:lnTo>
                <a:lnTo>
                  <a:pt x="930" y="613"/>
                </a:lnTo>
                <a:lnTo>
                  <a:pt x="936" y="632"/>
                </a:lnTo>
                <a:lnTo>
                  <a:pt x="940" y="647"/>
                </a:lnTo>
                <a:lnTo>
                  <a:pt x="941" y="663"/>
                </a:lnTo>
                <a:lnTo>
                  <a:pt x="941" y="675"/>
                </a:lnTo>
                <a:lnTo>
                  <a:pt x="939" y="687"/>
                </a:lnTo>
                <a:lnTo>
                  <a:pt x="935" y="696"/>
                </a:lnTo>
                <a:lnTo>
                  <a:pt x="930" y="705"/>
                </a:lnTo>
                <a:lnTo>
                  <a:pt x="924" y="712"/>
                </a:lnTo>
                <a:lnTo>
                  <a:pt x="915" y="718"/>
                </a:lnTo>
                <a:lnTo>
                  <a:pt x="907" y="722"/>
                </a:lnTo>
                <a:lnTo>
                  <a:pt x="899" y="724"/>
                </a:lnTo>
                <a:lnTo>
                  <a:pt x="890" y="725"/>
                </a:lnTo>
                <a:lnTo>
                  <a:pt x="881" y="725"/>
                </a:lnTo>
                <a:lnTo>
                  <a:pt x="871" y="724"/>
                </a:lnTo>
                <a:lnTo>
                  <a:pt x="871" y="724"/>
                </a:lnTo>
                <a:lnTo>
                  <a:pt x="859" y="720"/>
                </a:lnTo>
                <a:lnTo>
                  <a:pt x="850" y="715"/>
                </a:lnTo>
                <a:lnTo>
                  <a:pt x="842" y="709"/>
                </a:lnTo>
                <a:lnTo>
                  <a:pt x="835" y="702"/>
                </a:lnTo>
                <a:lnTo>
                  <a:pt x="829" y="695"/>
                </a:lnTo>
                <a:lnTo>
                  <a:pt x="825" y="688"/>
                </a:lnTo>
                <a:lnTo>
                  <a:pt x="821" y="680"/>
                </a:lnTo>
                <a:lnTo>
                  <a:pt x="819" y="673"/>
                </a:lnTo>
                <a:lnTo>
                  <a:pt x="816" y="658"/>
                </a:lnTo>
                <a:lnTo>
                  <a:pt x="816" y="646"/>
                </a:lnTo>
                <a:lnTo>
                  <a:pt x="816" y="638"/>
                </a:lnTo>
                <a:lnTo>
                  <a:pt x="816" y="635"/>
                </a:lnTo>
                <a:lnTo>
                  <a:pt x="816" y="635"/>
                </a:lnTo>
                <a:lnTo>
                  <a:pt x="813" y="637"/>
                </a:lnTo>
                <a:lnTo>
                  <a:pt x="805" y="643"/>
                </a:lnTo>
                <a:lnTo>
                  <a:pt x="793" y="650"/>
                </a:lnTo>
                <a:lnTo>
                  <a:pt x="785" y="653"/>
                </a:lnTo>
                <a:lnTo>
                  <a:pt x="777" y="656"/>
                </a:lnTo>
                <a:lnTo>
                  <a:pt x="768" y="658"/>
                </a:lnTo>
                <a:lnTo>
                  <a:pt x="759" y="659"/>
                </a:lnTo>
                <a:lnTo>
                  <a:pt x="749" y="659"/>
                </a:lnTo>
                <a:lnTo>
                  <a:pt x="739" y="658"/>
                </a:lnTo>
                <a:lnTo>
                  <a:pt x="729" y="655"/>
                </a:lnTo>
                <a:lnTo>
                  <a:pt x="720" y="650"/>
                </a:lnTo>
                <a:lnTo>
                  <a:pt x="710" y="643"/>
                </a:lnTo>
                <a:lnTo>
                  <a:pt x="701" y="634"/>
                </a:lnTo>
                <a:lnTo>
                  <a:pt x="701" y="634"/>
                </a:lnTo>
                <a:lnTo>
                  <a:pt x="694" y="625"/>
                </a:lnTo>
                <a:lnTo>
                  <a:pt x="690" y="616"/>
                </a:lnTo>
                <a:lnTo>
                  <a:pt x="688" y="607"/>
                </a:lnTo>
                <a:lnTo>
                  <a:pt x="689" y="598"/>
                </a:lnTo>
                <a:lnTo>
                  <a:pt x="690" y="589"/>
                </a:lnTo>
                <a:lnTo>
                  <a:pt x="694" y="581"/>
                </a:lnTo>
                <a:lnTo>
                  <a:pt x="701" y="572"/>
                </a:lnTo>
                <a:lnTo>
                  <a:pt x="708" y="564"/>
                </a:lnTo>
                <a:lnTo>
                  <a:pt x="717" y="557"/>
                </a:lnTo>
                <a:lnTo>
                  <a:pt x="727" y="550"/>
                </a:lnTo>
                <a:lnTo>
                  <a:pt x="740" y="544"/>
                </a:lnTo>
                <a:lnTo>
                  <a:pt x="754" y="540"/>
                </a:lnTo>
                <a:lnTo>
                  <a:pt x="769" y="536"/>
                </a:lnTo>
                <a:lnTo>
                  <a:pt x="786" y="533"/>
                </a:lnTo>
                <a:lnTo>
                  <a:pt x="804" y="532"/>
                </a:lnTo>
                <a:lnTo>
                  <a:pt x="823" y="531"/>
                </a:lnTo>
                <a:lnTo>
                  <a:pt x="823" y="531"/>
                </a:lnTo>
                <a:lnTo>
                  <a:pt x="824" y="520"/>
                </a:lnTo>
                <a:lnTo>
                  <a:pt x="823" y="509"/>
                </a:lnTo>
                <a:lnTo>
                  <a:pt x="820" y="494"/>
                </a:lnTo>
                <a:lnTo>
                  <a:pt x="817" y="486"/>
                </a:lnTo>
                <a:lnTo>
                  <a:pt x="814" y="477"/>
                </a:lnTo>
                <a:lnTo>
                  <a:pt x="810" y="469"/>
                </a:lnTo>
                <a:lnTo>
                  <a:pt x="805" y="460"/>
                </a:lnTo>
                <a:lnTo>
                  <a:pt x="799" y="451"/>
                </a:lnTo>
                <a:lnTo>
                  <a:pt x="792" y="443"/>
                </a:lnTo>
                <a:lnTo>
                  <a:pt x="782" y="435"/>
                </a:lnTo>
                <a:lnTo>
                  <a:pt x="772" y="426"/>
                </a:lnTo>
                <a:lnTo>
                  <a:pt x="772" y="426"/>
                </a:lnTo>
                <a:lnTo>
                  <a:pt x="764" y="421"/>
                </a:lnTo>
                <a:lnTo>
                  <a:pt x="755" y="417"/>
                </a:lnTo>
                <a:lnTo>
                  <a:pt x="745" y="415"/>
                </a:lnTo>
                <a:lnTo>
                  <a:pt x="735" y="413"/>
                </a:lnTo>
                <a:lnTo>
                  <a:pt x="725" y="412"/>
                </a:lnTo>
                <a:lnTo>
                  <a:pt x="716" y="412"/>
                </a:lnTo>
                <a:lnTo>
                  <a:pt x="698" y="414"/>
                </a:lnTo>
                <a:lnTo>
                  <a:pt x="681" y="418"/>
                </a:lnTo>
                <a:lnTo>
                  <a:pt x="668" y="421"/>
                </a:lnTo>
                <a:lnTo>
                  <a:pt x="657" y="425"/>
                </a:lnTo>
                <a:lnTo>
                  <a:pt x="657" y="425"/>
                </a:lnTo>
                <a:lnTo>
                  <a:pt x="664" y="421"/>
                </a:lnTo>
                <a:lnTo>
                  <a:pt x="672" y="415"/>
                </a:lnTo>
                <a:lnTo>
                  <a:pt x="681" y="408"/>
                </a:lnTo>
                <a:lnTo>
                  <a:pt x="691" y="397"/>
                </a:lnTo>
                <a:lnTo>
                  <a:pt x="701" y="384"/>
                </a:lnTo>
                <a:lnTo>
                  <a:pt x="705" y="376"/>
                </a:lnTo>
                <a:lnTo>
                  <a:pt x="709" y="369"/>
                </a:lnTo>
                <a:lnTo>
                  <a:pt x="712" y="360"/>
                </a:lnTo>
                <a:lnTo>
                  <a:pt x="714" y="351"/>
                </a:lnTo>
                <a:lnTo>
                  <a:pt x="714" y="351"/>
                </a:lnTo>
                <a:lnTo>
                  <a:pt x="716" y="336"/>
                </a:lnTo>
                <a:lnTo>
                  <a:pt x="715" y="320"/>
                </a:lnTo>
                <a:lnTo>
                  <a:pt x="713" y="303"/>
                </a:lnTo>
                <a:lnTo>
                  <a:pt x="709" y="285"/>
                </a:lnTo>
                <a:lnTo>
                  <a:pt x="702" y="267"/>
                </a:lnTo>
                <a:lnTo>
                  <a:pt x="693" y="249"/>
                </a:lnTo>
                <a:lnTo>
                  <a:pt x="682" y="232"/>
                </a:lnTo>
                <a:lnTo>
                  <a:pt x="676" y="223"/>
                </a:lnTo>
                <a:lnTo>
                  <a:pt x="669" y="216"/>
                </a:lnTo>
                <a:lnTo>
                  <a:pt x="668" y="214"/>
                </a:lnTo>
                <a:lnTo>
                  <a:pt x="665" y="214"/>
                </a:lnTo>
                <a:lnTo>
                  <a:pt x="665" y="214"/>
                </a:lnTo>
                <a:lnTo>
                  <a:pt x="655" y="214"/>
                </a:lnTo>
                <a:lnTo>
                  <a:pt x="644" y="215"/>
                </a:lnTo>
                <a:lnTo>
                  <a:pt x="624" y="219"/>
                </a:lnTo>
                <a:lnTo>
                  <a:pt x="606" y="224"/>
                </a:lnTo>
                <a:lnTo>
                  <a:pt x="587" y="232"/>
                </a:lnTo>
                <a:lnTo>
                  <a:pt x="572" y="240"/>
                </a:lnTo>
                <a:lnTo>
                  <a:pt x="557" y="250"/>
                </a:lnTo>
                <a:lnTo>
                  <a:pt x="545" y="261"/>
                </a:lnTo>
                <a:lnTo>
                  <a:pt x="535" y="272"/>
                </a:lnTo>
                <a:lnTo>
                  <a:pt x="535" y="272"/>
                </a:lnTo>
                <a:lnTo>
                  <a:pt x="530" y="280"/>
                </a:lnTo>
                <a:lnTo>
                  <a:pt x="526" y="288"/>
                </a:lnTo>
                <a:lnTo>
                  <a:pt x="523" y="297"/>
                </a:lnTo>
                <a:lnTo>
                  <a:pt x="520" y="305"/>
                </a:lnTo>
                <a:lnTo>
                  <a:pt x="517" y="320"/>
                </a:lnTo>
                <a:lnTo>
                  <a:pt x="516" y="334"/>
                </a:lnTo>
                <a:lnTo>
                  <a:pt x="516" y="347"/>
                </a:lnTo>
                <a:lnTo>
                  <a:pt x="517" y="357"/>
                </a:lnTo>
                <a:lnTo>
                  <a:pt x="519" y="365"/>
                </a:lnTo>
                <a:lnTo>
                  <a:pt x="519" y="365"/>
                </a:lnTo>
                <a:lnTo>
                  <a:pt x="513" y="354"/>
                </a:lnTo>
                <a:lnTo>
                  <a:pt x="508" y="341"/>
                </a:lnTo>
                <a:lnTo>
                  <a:pt x="499" y="327"/>
                </a:lnTo>
                <a:lnTo>
                  <a:pt x="488" y="313"/>
                </a:lnTo>
                <a:lnTo>
                  <a:pt x="482" y="306"/>
                </a:lnTo>
                <a:lnTo>
                  <a:pt x="475" y="299"/>
                </a:lnTo>
                <a:lnTo>
                  <a:pt x="467" y="292"/>
                </a:lnTo>
                <a:lnTo>
                  <a:pt x="458" y="287"/>
                </a:lnTo>
                <a:lnTo>
                  <a:pt x="450" y="283"/>
                </a:lnTo>
                <a:lnTo>
                  <a:pt x="440" y="281"/>
                </a:lnTo>
                <a:lnTo>
                  <a:pt x="440" y="281"/>
                </a:lnTo>
                <a:lnTo>
                  <a:pt x="428" y="278"/>
                </a:lnTo>
                <a:lnTo>
                  <a:pt x="415" y="278"/>
                </a:lnTo>
                <a:lnTo>
                  <a:pt x="404" y="278"/>
                </a:lnTo>
                <a:lnTo>
                  <a:pt x="393" y="279"/>
                </a:lnTo>
                <a:lnTo>
                  <a:pt x="384" y="281"/>
                </a:lnTo>
                <a:lnTo>
                  <a:pt x="374" y="284"/>
                </a:lnTo>
                <a:lnTo>
                  <a:pt x="365" y="287"/>
                </a:lnTo>
                <a:lnTo>
                  <a:pt x="358" y="291"/>
                </a:lnTo>
                <a:lnTo>
                  <a:pt x="345" y="300"/>
                </a:lnTo>
                <a:lnTo>
                  <a:pt x="336" y="307"/>
                </a:lnTo>
                <a:lnTo>
                  <a:pt x="328" y="314"/>
                </a:lnTo>
                <a:lnTo>
                  <a:pt x="328" y="314"/>
                </a:lnTo>
                <a:lnTo>
                  <a:pt x="342" y="328"/>
                </a:lnTo>
                <a:lnTo>
                  <a:pt x="353" y="343"/>
                </a:lnTo>
                <a:lnTo>
                  <a:pt x="362" y="357"/>
                </a:lnTo>
                <a:lnTo>
                  <a:pt x="369" y="371"/>
                </a:lnTo>
                <a:lnTo>
                  <a:pt x="375" y="384"/>
                </a:lnTo>
                <a:lnTo>
                  <a:pt x="380" y="398"/>
                </a:lnTo>
                <a:lnTo>
                  <a:pt x="382" y="410"/>
                </a:lnTo>
                <a:lnTo>
                  <a:pt x="383" y="421"/>
                </a:lnTo>
                <a:lnTo>
                  <a:pt x="382" y="432"/>
                </a:lnTo>
                <a:lnTo>
                  <a:pt x="380" y="442"/>
                </a:lnTo>
                <a:lnTo>
                  <a:pt x="375" y="451"/>
                </a:lnTo>
                <a:lnTo>
                  <a:pt x="370" y="458"/>
                </a:lnTo>
                <a:lnTo>
                  <a:pt x="363" y="464"/>
                </a:lnTo>
                <a:lnTo>
                  <a:pt x="356" y="469"/>
                </a:lnTo>
                <a:lnTo>
                  <a:pt x="347" y="472"/>
                </a:lnTo>
                <a:lnTo>
                  <a:pt x="337" y="473"/>
                </a:lnTo>
                <a:lnTo>
                  <a:pt x="337" y="473"/>
                </a:lnTo>
                <a:lnTo>
                  <a:pt x="322" y="473"/>
                </a:lnTo>
                <a:lnTo>
                  <a:pt x="311" y="471"/>
                </a:lnTo>
                <a:lnTo>
                  <a:pt x="301" y="467"/>
                </a:lnTo>
                <a:lnTo>
                  <a:pt x="292" y="462"/>
                </a:lnTo>
                <a:lnTo>
                  <a:pt x="283" y="456"/>
                </a:lnTo>
                <a:lnTo>
                  <a:pt x="277" y="449"/>
                </a:lnTo>
                <a:lnTo>
                  <a:pt x="272" y="441"/>
                </a:lnTo>
                <a:lnTo>
                  <a:pt x="268" y="432"/>
                </a:lnTo>
                <a:lnTo>
                  <a:pt x="264" y="424"/>
                </a:lnTo>
                <a:lnTo>
                  <a:pt x="262" y="417"/>
                </a:lnTo>
                <a:lnTo>
                  <a:pt x="259" y="403"/>
                </a:lnTo>
                <a:lnTo>
                  <a:pt x="257" y="393"/>
                </a:lnTo>
                <a:lnTo>
                  <a:pt x="257" y="390"/>
                </a:lnTo>
                <a:lnTo>
                  <a:pt x="257" y="390"/>
                </a:lnTo>
                <a:lnTo>
                  <a:pt x="255" y="392"/>
                </a:lnTo>
                <a:lnTo>
                  <a:pt x="249" y="398"/>
                </a:lnTo>
                <a:lnTo>
                  <a:pt x="239" y="405"/>
                </a:lnTo>
                <a:lnTo>
                  <a:pt x="227" y="413"/>
                </a:lnTo>
                <a:lnTo>
                  <a:pt x="220" y="416"/>
                </a:lnTo>
                <a:lnTo>
                  <a:pt x="212" y="419"/>
                </a:lnTo>
                <a:lnTo>
                  <a:pt x="204" y="420"/>
                </a:lnTo>
                <a:lnTo>
                  <a:pt x="194" y="421"/>
                </a:lnTo>
                <a:lnTo>
                  <a:pt x="185" y="421"/>
                </a:lnTo>
                <a:lnTo>
                  <a:pt x="175" y="419"/>
                </a:lnTo>
                <a:lnTo>
                  <a:pt x="165" y="415"/>
                </a:lnTo>
                <a:lnTo>
                  <a:pt x="155" y="409"/>
                </a:lnTo>
                <a:lnTo>
                  <a:pt x="155" y="409"/>
                </a:lnTo>
                <a:lnTo>
                  <a:pt x="147" y="404"/>
                </a:lnTo>
                <a:lnTo>
                  <a:pt x="140" y="397"/>
                </a:lnTo>
                <a:lnTo>
                  <a:pt x="135" y="390"/>
                </a:lnTo>
                <a:lnTo>
                  <a:pt x="131" y="381"/>
                </a:lnTo>
                <a:lnTo>
                  <a:pt x="129" y="372"/>
                </a:lnTo>
                <a:lnTo>
                  <a:pt x="128" y="363"/>
                </a:lnTo>
                <a:lnTo>
                  <a:pt x="128" y="354"/>
                </a:lnTo>
                <a:lnTo>
                  <a:pt x="131" y="345"/>
                </a:lnTo>
                <a:lnTo>
                  <a:pt x="136" y="334"/>
                </a:lnTo>
                <a:lnTo>
                  <a:pt x="142" y="325"/>
                </a:lnTo>
                <a:lnTo>
                  <a:pt x="153" y="316"/>
                </a:lnTo>
                <a:lnTo>
                  <a:pt x="164" y="308"/>
                </a:lnTo>
                <a:lnTo>
                  <a:pt x="178" y="300"/>
                </a:lnTo>
                <a:lnTo>
                  <a:pt x="195" y="292"/>
                </a:lnTo>
                <a:lnTo>
                  <a:pt x="216" y="286"/>
                </a:lnTo>
                <a:lnTo>
                  <a:pt x="239" y="280"/>
                </a:lnTo>
                <a:lnTo>
                  <a:pt x="239" y="280"/>
                </a:lnTo>
                <a:lnTo>
                  <a:pt x="238" y="275"/>
                </a:lnTo>
                <a:lnTo>
                  <a:pt x="233" y="262"/>
                </a:lnTo>
                <a:lnTo>
                  <a:pt x="230" y="253"/>
                </a:lnTo>
                <a:lnTo>
                  <a:pt x="225" y="242"/>
                </a:lnTo>
                <a:lnTo>
                  <a:pt x="220" y="232"/>
                </a:lnTo>
                <a:lnTo>
                  <a:pt x="213" y="222"/>
                </a:lnTo>
                <a:lnTo>
                  <a:pt x="205" y="213"/>
                </a:lnTo>
                <a:lnTo>
                  <a:pt x="195" y="203"/>
                </a:lnTo>
                <a:lnTo>
                  <a:pt x="185" y="196"/>
                </a:lnTo>
                <a:lnTo>
                  <a:pt x="173" y="190"/>
                </a:lnTo>
                <a:lnTo>
                  <a:pt x="167" y="188"/>
                </a:lnTo>
                <a:lnTo>
                  <a:pt x="161" y="187"/>
                </a:lnTo>
                <a:lnTo>
                  <a:pt x="154" y="186"/>
                </a:lnTo>
                <a:lnTo>
                  <a:pt x="145" y="185"/>
                </a:lnTo>
                <a:lnTo>
                  <a:pt x="138" y="186"/>
                </a:lnTo>
                <a:lnTo>
                  <a:pt x="129" y="187"/>
                </a:lnTo>
                <a:lnTo>
                  <a:pt x="121" y="190"/>
                </a:lnTo>
                <a:lnTo>
                  <a:pt x="112" y="193"/>
                </a:lnTo>
                <a:lnTo>
                  <a:pt x="112" y="193"/>
                </a:lnTo>
                <a:lnTo>
                  <a:pt x="115" y="191"/>
                </a:lnTo>
                <a:lnTo>
                  <a:pt x="119" y="188"/>
                </a:lnTo>
                <a:lnTo>
                  <a:pt x="127" y="180"/>
                </a:lnTo>
                <a:lnTo>
                  <a:pt x="136" y="168"/>
                </a:lnTo>
                <a:lnTo>
                  <a:pt x="144" y="153"/>
                </a:lnTo>
                <a:lnTo>
                  <a:pt x="148" y="144"/>
                </a:lnTo>
                <a:lnTo>
                  <a:pt x="153" y="136"/>
                </a:lnTo>
                <a:lnTo>
                  <a:pt x="156" y="127"/>
                </a:lnTo>
                <a:lnTo>
                  <a:pt x="158" y="117"/>
                </a:lnTo>
                <a:lnTo>
                  <a:pt x="159" y="106"/>
                </a:lnTo>
                <a:lnTo>
                  <a:pt x="160" y="97"/>
                </a:lnTo>
                <a:lnTo>
                  <a:pt x="159" y="86"/>
                </a:lnTo>
                <a:lnTo>
                  <a:pt x="157" y="76"/>
                </a:lnTo>
                <a:lnTo>
                  <a:pt x="157" y="76"/>
                </a:lnTo>
                <a:lnTo>
                  <a:pt x="155" y="66"/>
                </a:lnTo>
                <a:lnTo>
                  <a:pt x="150" y="57"/>
                </a:lnTo>
                <a:lnTo>
                  <a:pt x="147" y="49"/>
                </a:lnTo>
                <a:lnTo>
                  <a:pt x="143" y="41"/>
                </a:lnTo>
                <a:lnTo>
                  <a:pt x="134" y="28"/>
                </a:lnTo>
                <a:lnTo>
                  <a:pt x="125" y="17"/>
                </a:lnTo>
                <a:lnTo>
                  <a:pt x="117" y="9"/>
                </a:lnTo>
                <a:lnTo>
                  <a:pt x="110" y="4"/>
                </a:lnTo>
                <a:lnTo>
                  <a:pt x="103" y="0"/>
                </a:lnTo>
                <a:lnTo>
                  <a:pt x="0" y="593"/>
                </a:lnTo>
                <a:lnTo>
                  <a:pt x="269" y="712"/>
                </a:lnTo>
                <a:lnTo>
                  <a:pt x="269" y="712"/>
                </a:lnTo>
                <a:lnTo>
                  <a:pt x="293" y="693"/>
                </a:lnTo>
                <a:lnTo>
                  <a:pt x="315" y="677"/>
                </a:lnTo>
                <a:lnTo>
                  <a:pt x="336" y="665"/>
                </a:lnTo>
                <a:lnTo>
                  <a:pt x="354" y="656"/>
                </a:lnTo>
                <a:lnTo>
                  <a:pt x="354" y="656"/>
                </a:lnTo>
                <a:lnTo>
                  <a:pt x="367" y="650"/>
                </a:lnTo>
                <a:lnTo>
                  <a:pt x="382" y="646"/>
                </a:lnTo>
                <a:lnTo>
                  <a:pt x="396" y="642"/>
                </a:lnTo>
                <a:lnTo>
                  <a:pt x="409" y="639"/>
                </a:lnTo>
                <a:lnTo>
                  <a:pt x="423" y="637"/>
                </a:lnTo>
                <a:lnTo>
                  <a:pt x="437" y="636"/>
                </a:lnTo>
                <a:lnTo>
                  <a:pt x="450" y="635"/>
                </a:lnTo>
                <a:lnTo>
                  <a:pt x="464" y="635"/>
                </a:lnTo>
                <a:lnTo>
                  <a:pt x="478" y="636"/>
                </a:lnTo>
                <a:lnTo>
                  <a:pt x="491" y="638"/>
                </a:lnTo>
                <a:lnTo>
                  <a:pt x="504" y="640"/>
                </a:lnTo>
                <a:lnTo>
                  <a:pt x="517" y="643"/>
                </a:lnTo>
                <a:lnTo>
                  <a:pt x="542" y="650"/>
                </a:lnTo>
                <a:lnTo>
                  <a:pt x="566" y="658"/>
                </a:lnTo>
                <a:lnTo>
                  <a:pt x="566" y="658"/>
                </a:lnTo>
                <a:lnTo>
                  <a:pt x="582" y="667"/>
                </a:lnTo>
                <a:lnTo>
                  <a:pt x="596" y="675"/>
                </a:lnTo>
                <a:lnTo>
                  <a:pt x="610" y="683"/>
                </a:lnTo>
                <a:lnTo>
                  <a:pt x="621" y="691"/>
                </a:lnTo>
                <a:lnTo>
                  <a:pt x="631" y="699"/>
                </a:lnTo>
                <a:lnTo>
                  <a:pt x="639" y="709"/>
                </a:lnTo>
                <a:lnTo>
                  <a:pt x="646" y="717"/>
                </a:lnTo>
                <a:lnTo>
                  <a:pt x="653" y="726"/>
                </a:lnTo>
                <a:lnTo>
                  <a:pt x="658" y="735"/>
                </a:lnTo>
                <a:lnTo>
                  <a:pt x="662" y="743"/>
                </a:lnTo>
                <a:lnTo>
                  <a:pt x="665" y="753"/>
                </a:lnTo>
                <a:lnTo>
                  <a:pt x="668" y="761"/>
                </a:lnTo>
                <a:lnTo>
                  <a:pt x="671" y="778"/>
                </a:lnTo>
                <a:lnTo>
                  <a:pt x="673" y="793"/>
                </a:lnTo>
                <a:lnTo>
                  <a:pt x="673" y="793"/>
                </a:lnTo>
                <a:lnTo>
                  <a:pt x="672" y="804"/>
                </a:lnTo>
                <a:lnTo>
                  <a:pt x="670" y="815"/>
                </a:lnTo>
                <a:lnTo>
                  <a:pt x="667" y="827"/>
                </a:lnTo>
                <a:lnTo>
                  <a:pt x="663" y="839"/>
                </a:lnTo>
                <a:lnTo>
                  <a:pt x="654" y="863"/>
                </a:lnTo>
                <a:lnTo>
                  <a:pt x="646" y="877"/>
                </a:lnTo>
                <a:lnTo>
                  <a:pt x="841" y="96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6" name="Freeform 43"/>
          <p:cNvSpPr>
            <a:spLocks/>
          </p:cNvSpPr>
          <p:nvPr userDrawn="1"/>
        </p:nvSpPr>
        <p:spPr bwMode="auto">
          <a:xfrm>
            <a:off x="7581901" y="1218904"/>
            <a:ext cx="193675" cy="33338"/>
          </a:xfrm>
          <a:custGeom>
            <a:avLst/>
            <a:gdLst>
              <a:gd name="T0" fmla="*/ 1228 w 1463"/>
              <a:gd name="T1" fmla="*/ 227 h 256"/>
              <a:gd name="T2" fmla="*/ 1463 w 1463"/>
              <a:gd name="T3" fmla="*/ 113 h 256"/>
              <a:gd name="T4" fmla="*/ 1225 w 1463"/>
              <a:gd name="T5" fmla="*/ 14 h 256"/>
              <a:gd name="T6" fmla="*/ 1225 w 1463"/>
              <a:gd name="T7" fmla="*/ 14 h 256"/>
              <a:gd name="T8" fmla="*/ 1152 w 1463"/>
              <a:gd name="T9" fmla="*/ 15 h 256"/>
              <a:gd name="T10" fmla="*/ 1060 w 1463"/>
              <a:gd name="T11" fmla="*/ 16 h 256"/>
              <a:gd name="T12" fmla="*/ 949 w 1463"/>
              <a:gd name="T13" fmla="*/ 15 h 256"/>
              <a:gd name="T14" fmla="*/ 824 w 1463"/>
              <a:gd name="T15" fmla="*/ 13 h 256"/>
              <a:gd name="T16" fmla="*/ 531 w 1463"/>
              <a:gd name="T17" fmla="*/ 7 h 256"/>
              <a:gd name="T18" fmla="*/ 197 w 1463"/>
              <a:gd name="T19" fmla="*/ 0 h 256"/>
              <a:gd name="T20" fmla="*/ 0 w 1463"/>
              <a:gd name="T21" fmla="*/ 256 h 256"/>
              <a:gd name="T22" fmla="*/ 0 w 1463"/>
              <a:gd name="T23" fmla="*/ 256 h 256"/>
              <a:gd name="T24" fmla="*/ 734 w 1463"/>
              <a:gd name="T25" fmla="*/ 240 h 256"/>
              <a:gd name="T26" fmla="*/ 1024 w 1463"/>
              <a:gd name="T27" fmla="*/ 234 h 256"/>
              <a:gd name="T28" fmla="*/ 1228 w 1463"/>
              <a:gd name="T29" fmla="*/ 22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3" h="256">
                <a:moveTo>
                  <a:pt x="1228" y="227"/>
                </a:moveTo>
                <a:lnTo>
                  <a:pt x="1463" y="113"/>
                </a:lnTo>
                <a:lnTo>
                  <a:pt x="1225" y="14"/>
                </a:lnTo>
                <a:lnTo>
                  <a:pt x="1225" y="14"/>
                </a:lnTo>
                <a:lnTo>
                  <a:pt x="1152" y="15"/>
                </a:lnTo>
                <a:lnTo>
                  <a:pt x="1060" y="16"/>
                </a:lnTo>
                <a:lnTo>
                  <a:pt x="949" y="15"/>
                </a:lnTo>
                <a:lnTo>
                  <a:pt x="824" y="13"/>
                </a:lnTo>
                <a:lnTo>
                  <a:pt x="531" y="7"/>
                </a:lnTo>
                <a:lnTo>
                  <a:pt x="197" y="0"/>
                </a:lnTo>
                <a:lnTo>
                  <a:pt x="0" y="256"/>
                </a:lnTo>
                <a:lnTo>
                  <a:pt x="0" y="256"/>
                </a:lnTo>
                <a:lnTo>
                  <a:pt x="734" y="240"/>
                </a:lnTo>
                <a:lnTo>
                  <a:pt x="1024" y="234"/>
                </a:lnTo>
                <a:lnTo>
                  <a:pt x="1228" y="22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7" name="Freeform 44"/>
          <p:cNvSpPr>
            <a:spLocks/>
          </p:cNvSpPr>
          <p:nvPr userDrawn="1"/>
        </p:nvSpPr>
        <p:spPr bwMode="auto">
          <a:xfrm>
            <a:off x="7643812" y="1301453"/>
            <a:ext cx="114300" cy="112713"/>
          </a:xfrm>
          <a:custGeom>
            <a:avLst/>
            <a:gdLst>
              <a:gd name="T0" fmla="*/ 386 w 869"/>
              <a:gd name="T1" fmla="*/ 818 h 851"/>
              <a:gd name="T2" fmla="*/ 235 w 869"/>
              <a:gd name="T3" fmla="*/ 737 h 851"/>
              <a:gd name="T4" fmla="*/ 156 w 869"/>
              <a:gd name="T5" fmla="*/ 685 h 851"/>
              <a:gd name="T6" fmla="*/ 90 w 869"/>
              <a:gd name="T7" fmla="*/ 626 h 851"/>
              <a:gd name="T8" fmla="*/ 37 w 869"/>
              <a:gd name="T9" fmla="*/ 557 h 851"/>
              <a:gd name="T10" fmla="*/ 24 w 869"/>
              <a:gd name="T11" fmla="*/ 531 h 851"/>
              <a:gd name="T12" fmla="*/ 10 w 869"/>
              <a:gd name="T13" fmla="*/ 487 h 851"/>
              <a:gd name="T14" fmla="*/ 2 w 869"/>
              <a:gd name="T15" fmla="*/ 439 h 851"/>
              <a:gd name="T16" fmla="*/ 0 w 869"/>
              <a:gd name="T17" fmla="*/ 389 h 851"/>
              <a:gd name="T18" fmla="*/ 5 w 869"/>
              <a:gd name="T19" fmla="*/ 336 h 851"/>
              <a:gd name="T20" fmla="*/ 15 w 869"/>
              <a:gd name="T21" fmla="*/ 283 h 851"/>
              <a:gd name="T22" fmla="*/ 34 w 869"/>
              <a:gd name="T23" fmla="*/ 231 h 851"/>
              <a:gd name="T24" fmla="*/ 59 w 869"/>
              <a:gd name="T25" fmla="*/ 182 h 851"/>
              <a:gd name="T26" fmla="*/ 93 w 869"/>
              <a:gd name="T27" fmla="*/ 136 h 851"/>
              <a:gd name="T28" fmla="*/ 134 w 869"/>
              <a:gd name="T29" fmla="*/ 94 h 851"/>
              <a:gd name="T30" fmla="*/ 183 w 869"/>
              <a:gd name="T31" fmla="*/ 59 h 851"/>
              <a:gd name="T32" fmla="*/ 198 w 869"/>
              <a:gd name="T33" fmla="*/ 75 h 851"/>
              <a:gd name="T34" fmla="*/ 217 w 869"/>
              <a:gd name="T35" fmla="*/ 106 h 851"/>
              <a:gd name="T36" fmla="*/ 227 w 869"/>
              <a:gd name="T37" fmla="*/ 141 h 851"/>
              <a:gd name="T38" fmla="*/ 247 w 869"/>
              <a:gd name="T39" fmla="*/ 150 h 851"/>
              <a:gd name="T40" fmla="*/ 379 w 869"/>
              <a:gd name="T41" fmla="*/ 144 h 851"/>
              <a:gd name="T42" fmla="*/ 424 w 869"/>
              <a:gd name="T43" fmla="*/ 143 h 851"/>
              <a:gd name="T44" fmla="*/ 424 w 869"/>
              <a:gd name="T45" fmla="*/ 94 h 851"/>
              <a:gd name="T46" fmla="*/ 414 w 869"/>
              <a:gd name="T47" fmla="*/ 37 h 851"/>
              <a:gd name="T48" fmla="*/ 397 w 869"/>
              <a:gd name="T49" fmla="*/ 0 h 851"/>
              <a:gd name="T50" fmla="*/ 431 w 869"/>
              <a:gd name="T51" fmla="*/ 27 h 851"/>
              <a:gd name="T52" fmla="*/ 459 w 869"/>
              <a:gd name="T53" fmla="*/ 55 h 851"/>
              <a:gd name="T54" fmla="*/ 475 w 869"/>
              <a:gd name="T55" fmla="*/ 82 h 851"/>
              <a:gd name="T56" fmla="*/ 487 w 869"/>
              <a:gd name="T57" fmla="*/ 116 h 851"/>
              <a:gd name="T58" fmla="*/ 493 w 869"/>
              <a:gd name="T59" fmla="*/ 143 h 851"/>
              <a:gd name="T60" fmla="*/ 671 w 869"/>
              <a:gd name="T61" fmla="*/ 133 h 851"/>
              <a:gd name="T62" fmla="*/ 662 w 869"/>
              <a:gd name="T63" fmla="*/ 88 h 851"/>
              <a:gd name="T64" fmla="*/ 643 w 869"/>
              <a:gd name="T65" fmla="*/ 50 h 851"/>
              <a:gd name="T66" fmla="*/ 651 w 869"/>
              <a:gd name="T67" fmla="*/ 46 h 851"/>
              <a:gd name="T68" fmla="*/ 699 w 869"/>
              <a:gd name="T69" fmla="*/ 73 h 851"/>
              <a:gd name="T70" fmla="*/ 740 w 869"/>
              <a:gd name="T71" fmla="*/ 104 h 851"/>
              <a:gd name="T72" fmla="*/ 775 w 869"/>
              <a:gd name="T73" fmla="*/ 138 h 851"/>
              <a:gd name="T74" fmla="*/ 803 w 869"/>
              <a:gd name="T75" fmla="*/ 175 h 851"/>
              <a:gd name="T76" fmla="*/ 837 w 869"/>
              <a:gd name="T77" fmla="*/ 238 h 851"/>
              <a:gd name="T78" fmla="*/ 861 w 869"/>
              <a:gd name="T79" fmla="*/ 312 h 851"/>
              <a:gd name="T80" fmla="*/ 869 w 869"/>
              <a:gd name="T81" fmla="*/ 379 h 851"/>
              <a:gd name="T82" fmla="*/ 869 w 869"/>
              <a:gd name="T83" fmla="*/ 423 h 851"/>
              <a:gd name="T84" fmla="*/ 859 w 869"/>
              <a:gd name="T85" fmla="*/ 499 h 851"/>
              <a:gd name="T86" fmla="*/ 834 w 869"/>
              <a:gd name="T87" fmla="*/ 569 h 851"/>
              <a:gd name="T88" fmla="*/ 796 w 869"/>
              <a:gd name="T89" fmla="*/ 631 h 851"/>
              <a:gd name="T90" fmla="*/ 749 w 869"/>
              <a:gd name="T91" fmla="*/ 684 h 851"/>
              <a:gd name="T92" fmla="*/ 693 w 869"/>
              <a:gd name="T93" fmla="*/ 727 h 851"/>
              <a:gd name="T94" fmla="*/ 626 w 869"/>
              <a:gd name="T95" fmla="*/ 766 h 851"/>
              <a:gd name="T96" fmla="*/ 506 w 869"/>
              <a:gd name="T97" fmla="*/ 826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9" h="851">
                <a:moveTo>
                  <a:pt x="452" y="851"/>
                </a:moveTo>
                <a:lnTo>
                  <a:pt x="452" y="851"/>
                </a:lnTo>
                <a:lnTo>
                  <a:pt x="386" y="818"/>
                </a:lnTo>
                <a:lnTo>
                  <a:pt x="323" y="785"/>
                </a:lnTo>
                <a:lnTo>
                  <a:pt x="264" y="754"/>
                </a:lnTo>
                <a:lnTo>
                  <a:pt x="235" y="737"/>
                </a:lnTo>
                <a:lnTo>
                  <a:pt x="207" y="720"/>
                </a:lnTo>
                <a:lnTo>
                  <a:pt x="181" y="703"/>
                </a:lnTo>
                <a:lnTo>
                  <a:pt x="156" y="685"/>
                </a:lnTo>
                <a:lnTo>
                  <a:pt x="133" y="666"/>
                </a:lnTo>
                <a:lnTo>
                  <a:pt x="110" y="646"/>
                </a:lnTo>
                <a:lnTo>
                  <a:pt x="90" y="626"/>
                </a:lnTo>
                <a:lnTo>
                  <a:pt x="70" y="605"/>
                </a:lnTo>
                <a:lnTo>
                  <a:pt x="53" y="581"/>
                </a:lnTo>
                <a:lnTo>
                  <a:pt x="37" y="557"/>
                </a:lnTo>
                <a:lnTo>
                  <a:pt x="37" y="557"/>
                </a:lnTo>
                <a:lnTo>
                  <a:pt x="31" y="544"/>
                </a:lnTo>
                <a:lnTo>
                  <a:pt x="24" y="531"/>
                </a:lnTo>
                <a:lnTo>
                  <a:pt x="19" y="517"/>
                </a:lnTo>
                <a:lnTo>
                  <a:pt x="14" y="502"/>
                </a:lnTo>
                <a:lnTo>
                  <a:pt x="10" y="487"/>
                </a:lnTo>
                <a:lnTo>
                  <a:pt x="7" y="472"/>
                </a:lnTo>
                <a:lnTo>
                  <a:pt x="4" y="455"/>
                </a:lnTo>
                <a:lnTo>
                  <a:pt x="2" y="439"/>
                </a:lnTo>
                <a:lnTo>
                  <a:pt x="1" y="423"/>
                </a:lnTo>
                <a:lnTo>
                  <a:pt x="0" y="405"/>
                </a:lnTo>
                <a:lnTo>
                  <a:pt x="0" y="389"/>
                </a:lnTo>
                <a:lnTo>
                  <a:pt x="1" y="371"/>
                </a:lnTo>
                <a:lnTo>
                  <a:pt x="2" y="353"/>
                </a:lnTo>
                <a:lnTo>
                  <a:pt x="5" y="336"/>
                </a:lnTo>
                <a:lnTo>
                  <a:pt x="7" y="318"/>
                </a:lnTo>
                <a:lnTo>
                  <a:pt x="11" y="301"/>
                </a:lnTo>
                <a:lnTo>
                  <a:pt x="15" y="283"/>
                </a:lnTo>
                <a:lnTo>
                  <a:pt x="21" y="266"/>
                </a:lnTo>
                <a:lnTo>
                  <a:pt x="26" y="249"/>
                </a:lnTo>
                <a:lnTo>
                  <a:pt x="34" y="231"/>
                </a:lnTo>
                <a:lnTo>
                  <a:pt x="42" y="215"/>
                </a:lnTo>
                <a:lnTo>
                  <a:pt x="50" y="199"/>
                </a:lnTo>
                <a:lnTo>
                  <a:pt x="59" y="182"/>
                </a:lnTo>
                <a:lnTo>
                  <a:pt x="69" y="166"/>
                </a:lnTo>
                <a:lnTo>
                  <a:pt x="81" y="151"/>
                </a:lnTo>
                <a:lnTo>
                  <a:pt x="93" y="136"/>
                </a:lnTo>
                <a:lnTo>
                  <a:pt x="105" y="122"/>
                </a:lnTo>
                <a:lnTo>
                  <a:pt x="120" y="108"/>
                </a:lnTo>
                <a:lnTo>
                  <a:pt x="134" y="94"/>
                </a:lnTo>
                <a:lnTo>
                  <a:pt x="149" y="82"/>
                </a:lnTo>
                <a:lnTo>
                  <a:pt x="166" y="70"/>
                </a:lnTo>
                <a:lnTo>
                  <a:pt x="183" y="59"/>
                </a:lnTo>
                <a:lnTo>
                  <a:pt x="183" y="59"/>
                </a:lnTo>
                <a:lnTo>
                  <a:pt x="191" y="67"/>
                </a:lnTo>
                <a:lnTo>
                  <a:pt x="198" y="75"/>
                </a:lnTo>
                <a:lnTo>
                  <a:pt x="203" y="82"/>
                </a:lnTo>
                <a:lnTo>
                  <a:pt x="208" y="90"/>
                </a:lnTo>
                <a:lnTo>
                  <a:pt x="217" y="106"/>
                </a:lnTo>
                <a:lnTo>
                  <a:pt x="222" y="120"/>
                </a:lnTo>
                <a:lnTo>
                  <a:pt x="225" y="132"/>
                </a:lnTo>
                <a:lnTo>
                  <a:pt x="227" y="141"/>
                </a:lnTo>
                <a:lnTo>
                  <a:pt x="227" y="150"/>
                </a:lnTo>
                <a:lnTo>
                  <a:pt x="227" y="150"/>
                </a:lnTo>
                <a:lnTo>
                  <a:pt x="247" y="150"/>
                </a:lnTo>
                <a:lnTo>
                  <a:pt x="272" y="150"/>
                </a:lnTo>
                <a:lnTo>
                  <a:pt x="325" y="146"/>
                </a:lnTo>
                <a:lnTo>
                  <a:pt x="379" y="144"/>
                </a:lnTo>
                <a:lnTo>
                  <a:pt x="404" y="143"/>
                </a:lnTo>
                <a:lnTo>
                  <a:pt x="424" y="143"/>
                </a:lnTo>
                <a:lnTo>
                  <a:pt x="424" y="143"/>
                </a:lnTo>
                <a:lnTo>
                  <a:pt x="425" y="129"/>
                </a:lnTo>
                <a:lnTo>
                  <a:pt x="425" y="112"/>
                </a:lnTo>
                <a:lnTo>
                  <a:pt x="424" y="94"/>
                </a:lnTo>
                <a:lnTo>
                  <a:pt x="422" y="76"/>
                </a:lnTo>
                <a:lnTo>
                  <a:pt x="419" y="56"/>
                </a:lnTo>
                <a:lnTo>
                  <a:pt x="414" y="37"/>
                </a:lnTo>
                <a:lnTo>
                  <a:pt x="407" y="19"/>
                </a:lnTo>
                <a:lnTo>
                  <a:pt x="402" y="9"/>
                </a:lnTo>
                <a:lnTo>
                  <a:pt x="397" y="0"/>
                </a:lnTo>
                <a:lnTo>
                  <a:pt x="397" y="0"/>
                </a:lnTo>
                <a:lnTo>
                  <a:pt x="415" y="14"/>
                </a:lnTo>
                <a:lnTo>
                  <a:pt x="431" y="27"/>
                </a:lnTo>
                <a:lnTo>
                  <a:pt x="446" y="40"/>
                </a:lnTo>
                <a:lnTo>
                  <a:pt x="453" y="47"/>
                </a:lnTo>
                <a:lnTo>
                  <a:pt x="459" y="55"/>
                </a:lnTo>
                <a:lnTo>
                  <a:pt x="465" y="64"/>
                </a:lnTo>
                <a:lnTo>
                  <a:pt x="470" y="73"/>
                </a:lnTo>
                <a:lnTo>
                  <a:pt x="475" y="82"/>
                </a:lnTo>
                <a:lnTo>
                  <a:pt x="479" y="92"/>
                </a:lnTo>
                <a:lnTo>
                  <a:pt x="484" y="104"/>
                </a:lnTo>
                <a:lnTo>
                  <a:pt x="487" y="116"/>
                </a:lnTo>
                <a:lnTo>
                  <a:pt x="490" y="129"/>
                </a:lnTo>
                <a:lnTo>
                  <a:pt x="493" y="143"/>
                </a:lnTo>
                <a:lnTo>
                  <a:pt x="493" y="143"/>
                </a:lnTo>
                <a:lnTo>
                  <a:pt x="671" y="150"/>
                </a:lnTo>
                <a:lnTo>
                  <a:pt x="671" y="150"/>
                </a:lnTo>
                <a:lnTo>
                  <a:pt x="671" y="133"/>
                </a:lnTo>
                <a:lnTo>
                  <a:pt x="670" y="118"/>
                </a:lnTo>
                <a:lnTo>
                  <a:pt x="667" y="103"/>
                </a:lnTo>
                <a:lnTo>
                  <a:pt x="662" y="88"/>
                </a:lnTo>
                <a:lnTo>
                  <a:pt x="657" y="75"/>
                </a:lnTo>
                <a:lnTo>
                  <a:pt x="651" y="62"/>
                </a:lnTo>
                <a:lnTo>
                  <a:pt x="643" y="50"/>
                </a:lnTo>
                <a:lnTo>
                  <a:pt x="634" y="38"/>
                </a:lnTo>
                <a:lnTo>
                  <a:pt x="634" y="38"/>
                </a:lnTo>
                <a:lnTo>
                  <a:pt x="651" y="46"/>
                </a:lnTo>
                <a:lnTo>
                  <a:pt x="669" y="54"/>
                </a:lnTo>
                <a:lnTo>
                  <a:pt x="684" y="64"/>
                </a:lnTo>
                <a:lnTo>
                  <a:pt x="699" y="73"/>
                </a:lnTo>
                <a:lnTo>
                  <a:pt x="714" y="83"/>
                </a:lnTo>
                <a:lnTo>
                  <a:pt x="728" y="93"/>
                </a:lnTo>
                <a:lnTo>
                  <a:pt x="740" y="104"/>
                </a:lnTo>
                <a:lnTo>
                  <a:pt x="752" y="115"/>
                </a:lnTo>
                <a:lnTo>
                  <a:pt x="764" y="126"/>
                </a:lnTo>
                <a:lnTo>
                  <a:pt x="775" y="138"/>
                </a:lnTo>
                <a:lnTo>
                  <a:pt x="785" y="151"/>
                </a:lnTo>
                <a:lnTo>
                  <a:pt x="794" y="163"/>
                </a:lnTo>
                <a:lnTo>
                  <a:pt x="803" y="175"/>
                </a:lnTo>
                <a:lnTo>
                  <a:pt x="811" y="187"/>
                </a:lnTo>
                <a:lnTo>
                  <a:pt x="825" y="213"/>
                </a:lnTo>
                <a:lnTo>
                  <a:pt x="837" y="238"/>
                </a:lnTo>
                <a:lnTo>
                  <a:pt x="848" y="263"/>
                </a:lnTo>
                <a:lnTo>
                  <a:pt x="855" y="289"/>
                </a:lnTo>
                <a:lnTo>
                  <a:pt x="861" y="312"/>
                </a:lnTo>
                <a:lnTo>
                  <a:pt x="865" y="336"/>
                </a:lnTo>
                <a:lnTo>
                  <a:pt x="868" y="358"/>
                </a:lnTo>
                <a:lnTo>
                  <a:pt x="869" y="379"/>
                </a:lnTo>
                <a:lnTo>
                  <a:pt x="869" y="397"/>
                </a:lnTo>
                <a:lnTo>
                  <a:pt x="869" y="397"/>
                </a:lnTo>
                <a:lnTo>
                  <a:pt x="869" y="423"/>
                </a:lnTo>
                <a:lnTo>
                  <a:pt x="868" y="449"/>
                </a:lnTo>
                <a:lnTo>
                  <a:pt x="864" y="474"/>
                </a:lnTo>
                <a:lnTo>
                  <a:pt x="859" y="499"/>
                </a:lnTo>
                <a:lnTo>
                  <a:pt x="852" y="523"/>
                </a:lnTo>
                <a:lnTo>
                  <a:pt x="843" y="546"/>
                </a:lnTo>
                <a:lnTo>
                  <a:pt x="834" y="569"/>
                </a:lnTo>
                <a:lnTo>
                  <a:pt x="823" y="590"/>
                </a:lnTo>
                <a:lnTo>
                  <a:pt x="811" y="612"/>
                </a:lnTo>
                <a:lnTo>
                  <a:pt x="796" y="631"/>
                </a:lnTo>
                <a:lnTo>
                  <a:pt x="782" y="651"/>
                </a:lnTo>
                <a:lnTo>
                  <a:pt x="766" y="668"/>
                </a:lnTo>
                <a:lnTo>
                  <a:pt x="749" y="684"/>
                </a:lnTo>
                <a:lnTo>
                  <a:pt x="731" y="700"/>
                </a:lnTo>
                <a:lnTo>
                  <a:pt x="713" y="714"/>
                </a:lnTo>
                <a:lnTo>
                  <a:pt x="693" y="727"/>
                </a:lnTo>
                <a:lnTo>
                  <a:pt x="693" y="727"/>
                </a:lnTo>
                <a:lnTo>
                  <a:pt x="658" y="748"/>
                </a:lnTo>
                <a:lnTo>
                  <a:pt x="626" y="766"/>
                </a:lnTo>
                <a:lnTo>
                  <a:pt x="594" y="783"/>
                </a:lnTo>
                <a:lnTo>
                  <a:pt x="563" y="799"/>
                </a:lnTo>
                <a:lnTo>
                  <a:pt x="506" y="826"/>
                </a:lnTo>
                <a:lnTo>
                  <a:pt x="452" y="85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8" name="Freeform 45"/>
          <p:cNvSpPr>
            <a:spLocks/>
          </p:cNvSpPr>
          <p:nvPr userDrawn="1"/>
        </p:nvSpPr>
        <p:spPr bwMode="auto">
          <a:xfrm>
            <a:off x="7677150" y="1579265"/>
            <a:ext cx="1588" cy="0"/>
          </a:xfrm>
          <a:custGeom>
            <a:avLst/>
            <a:gdLst>
              <a:gd name="T0" fmla="*/ 22 w 22"/>
              <a:gd name="T1" fmla="*/ 9 h 9"/>
              <a:gd name="T2" fmla="*/ 22 w 22"/>
              <a:gd name="T3" fmla="*/ 9 h 9"/>
              <a:gd name="T4" fmla="*/ 3 w 22"/>
              <a:gd name="T5" fmla="*/ 2 h 9"/>
              <a:gd name="T6" fmla="*/ 3 w 22"/>
              <a:gd name="T7" fmla="*/ 2 h 9"/>
              <a:gd name="T8" fmla="*/ 0 w 22"/>
              <a:gd name="T9" fmla="*/ 0 h 9"/>
              <a:gd name="T10" fmla="*/ 0 w 22"/>
              <a:gd name="T11" fmla="*/ 0 h 9"/>
              <a:gd name="T12" fmla="*/ 22 w 22"/>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22" h="9">
                <a:moveTo>
                  <a:pt x="22" y="9"/>
                </a:moveTo>
                <a:lnTo>
                  <a:pt x="22" y="9"/>
                </a:lnTo>
                <a:lnTo>
                  <a:pt x="3" y="2"/>
                </a:lnTo>
                <a:lnTo>
                  <a:pt x="3" y="2"/>
                </a:lnTo>
                <a:lnTo>
                  <a:pt x="0" y="0"/>
                </a:lnTo>
                <a:lnTo>
                  <a:pt x="0" y="0"/>
                </a:lnTo>
                <a:lnTo>
                  <a:pt x="22"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9" name="Freeform 46"/>
          <p:cNvSpPr>
            <a:spLocks/>
          </p:cNvSpPr>
          <p:nvPr userDrawn="1"/>
        </p:nvSpPr>
        <p:spPr bwMode="auto">
          <a:xfrm>
            <a:off x="7429500" y="1261766"/>
            <a:ext cx="20638" cy="12700"/>
          </a:xfrm>
          <a:custGeom>
            <a:avLst/>
            <a:gdLst>
              <a:gd name="T0" fmla="*/ 166 w 166"/>
              <a:gd name="T1" fmla="*/ 69 h 96"/>
              <a:gd name="T2" fmla="*/ 166 w 166"/>
              <a:gd name="T3" fmla="*/ 69 h 96"/>
              <a:gd name="T4" fmla="*/ 166 w 166"/>
              <a:gd name="T5" fmla="*/ 70 h 96"/>
              <a:gd name="T6" fmla="*/ 165 w 166"/>
              <a:gd name="T7" fmla="*/ 72 h 96"/>
              <a:gd name="T8" fmla="*/ 161 w 166"/>
              <a:gd name="T9" fmla="*/ 74 h 96"/>
              <a:gd name="T10" fmla="*/ 155 w 166"/>
              <a:gd name="T11" fmla="*/ 77 h 96"/>
              <a:gd name="T12" fmla="*/ 145 w 166"/>
              <a:gd name="T13" fmla="*/ 79 h 96"/>
              <a:gd name="T14" fmla="*/ 123 w 166"/>
              <a:gd name="T15" fmla="*/ 85 h 96"/>
              <a:gd name="T16" fmla="*/ 95 w 166"/>
              <a:gd name="T17" fmla="*/ 90 h 96"/>
              <a:gd name="T18" fmla="*/ 68 w 166"/>
              <a:gd name="T19" fmla="*/ 94 h 96"/>
              <a:gd name="T20" fmla="*/ 42 w 166"/>
              <a:gd name="T21" fmla="*/ 96 h 96"/>
              <a:gd name="T22" fmla="*/ 24 w 166"/>
              <a:gd name="T23" fmla="*/ 96 h 96"/>
              <a:gd name="T24" fmla="*/ 17 w 166"/>
              <a:gd name="T25" fmla="*/ 95 h 96"/>
              <a:gd name="T26" fmla="*/ 13 w 166"/>
              <a:gd name="T27" fmla="*/ 94 h 96"/>
              <a:gd name="T28" fmla="*/ 13 w 166"/>
              <a:gd name="T29" fmla="*/ 94 h 96"/>
              <a:gd name="T30" fmla="*/ 10 w 166"/>
              <a:gd name="T31" fmla="*/ 92 h 96"/>
              <a:gd name="T32" fmla="*/ 8 w 166"/>
              <a:gd name="T33" fmla="*/ 88 h 96"/>
              <a:gd name="T34" fmla="*/ 5 w 166"/>
              <a:gd name="T35" fmla="*/ 77 h 96"/>
              <a:gd name="T36" fmla="*/ 2 w 166"/>
              <a:gd name="T37" fmla="*/ 65 h 96"/>
              <a:gd name="T38" fmla="*/ 0 w 166"/>
              <a:gd name="T39" fmla="*/ 51 h 96"/>
              <a:gd name="T40" fmla="*/ 0 w 166"/>
              <a:gd name="T41" fmla="*/ 36 h 96"/>
              <a:gd name="T42" fmla="*/ 0 w 166"/>
              <a:gd name="T43" fmla="*/ 23 h 96"/>
              <a:gd name="T44" fmla="*/ 1 w 166"/>
              <a:gd name="T45" fmla="*/ 13 h 96"/>
              <a:gd name="T46" fmla="*/ 2 w 166"/>
              <a:gd name="T47" fmla="*/ 8 h 96"/>
              <a:gd name="T48" fmla="*/ 4 w 166"/>
              <a:gd name="T49" fmla="*/ 5 h 96"/>
              <a:gd name="T50" fmla="*/ 4 w 166"/>
              <a:gd name="T51" fmla="*/ 5 h 96"/>
              <a:gd name="T52" fmla="*/ 5 w 166"/>
              <a:gd name="T53" fmla="*/ 4 h 96"/>
              <a:gd name="T54" fmla="*/ 7 w 166"/>
              <a:gd name="T55" fmla="*/ 2 h 96"/>
              <a:gd name="T56" fmla="*/ 13 w 166"/>
              <a:gd name="T57" fmla="*/ 1 h 96"/>
              <a:gd name="T58" fmla="*/ 22 w 166"/>
              <a:gd name="T59" fmla="*/ 0 h 96"/>
              <a:gd name="T60" fmla="*/ 32 w 166"/>
              <a:gd name="T61" fmla="*/ 0 h 96"/>
              <a:gd name="T62" fmla="*/ 43 w 166"/>
              <a:gd name="T63" fmla="*/ 1 h 96"/>
              <a:gd name="T64" fmla="*/ 55 w 166"/>
              <a:gd name="T65" fmla="*/ 3 h 96"/>
              <a:gd name="T66" fmla="*/ 69 w 166"/>
              <a:gd name="T67" fmla="*/ 6 h 96"/>
              <a:gd name="T68" fmla="*/ 83 w 166"/>
              <a:gd name="T69" fmla="*/ 10 h 96"/>
              <a:gd name="T70" fmla="*/ 96 w 166"/>
              <a:gd name="T71" fmla="*/ 15 h 96"/>
              <a:gd name="T72" fmla="*/ 110 w 166"/>
              <a:gd name="T73" fmla="*/ 20 h 96"/>
              <a:gd name="T74" fmla="*/ 123 w 166"/>
              <a:gd name="T75" fmla="*/ 27 h 96"/>
              <a:gd name="T76" fmla="*/ 135 w 166"/>
              <a:gd name="T77" fmla="*/ 34 h 96"/>
              <a:gd name="T78" fmla="*/ 145 w 166"/>
              <a:gd name="T79" fmla="*/ 42 h 96"/>
              <a:gd name="T80" fmla="*/ 155 w 166"/>
              <a:gd name="T81" fmla="*/ 51 h 96"/>
              <a:gd name="T82" fmla="*/ 162 w 166"/>
              <a:gd name="T83" fmla="*/ 60 h 96"/>
              <a:gd name="T84" fmla="*/ 164 w 166"/>
              <a:gd name="T85" fmla="*/ 64 h 96"/>
              <a:gd name="T86" fmla="*/ 166 w 166"/>
              <a:gd name="T87" fmla="*/ 6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6" h="96">
                <a:moveTo>
                  <a:pt x="166" y="69"/>
                </a:moveTo>
                <a:lnTo>
                  <a:pt x="166" y="69"/>
                </a:lnTo>
                <a:lnTo>
                  <a:pt x="166" y="70"/>
                </a:lnTo>
                <a:lnTo>
                  <a:pt x="165" y="72"/>
                </a:lnTo>
                <a:lnTo>
                  <a:pt x="161" y="74"/>
                </a:lnTo>
                <a:lnTo>
                  <a:pt x="155" y="77"/>
                </a:lnTo>
                <a:lnTo>
                  <a:pt x="145" y="79"/>
                </a:lnTo>
                <a:lnTo>
                  <a:pt x="123" y="85"/>
                </a:lnTo>
                <a:lnTo>
                  <a:pt x="95" y="90"/>
                </a:lnTo>
                <a:lnTo>
                  <a:pt x="68" y="94"/>
                </a:lnTo>
                <a:lnTo>
                  <a:pt x="42" y="96"/>
                </a:lnTo>
                <a:lnTo>
                  <a:pt x="24" y="96"/>
                </a:lnTo>
                <a:lnTo>
                  <a:pt x="17" y="95"/>
                </a:lnTo>
                <a:lnTo>
                  <a:pt x="13" y="94"/>
                </a:lnTo>
                <a:lnTo>
                  <a:pt x="13" y="94"/>
                </a:lnTo>
                <a:lnTo>
                  <a:pt x="10" y="92"/>
                </a:lnTo>
                <a:lnTo>
                  <a:pt x="8" y="88"/>
                </a:lnTo>
                <a:lnTo>
                  <a:pt x="5" y="77"/>
                </a:lnTo>
                <a:lnTo>
                  <a:pt x="2" y="65"/>
                </a:lnTo>
                <a:lnTo>
                  <a:pt x="0" y="51"/>
                </a:lnTo>
                <a:lnTo>
                  <a:pt x="0" y="36"/>
                </a:lnTo>
                <a:lnTo>
                  <a:pt x="0" y="23"/>
                </a:lnTo>
                <a:lnTo>
                  <a:pt x="1" y="13"/>
                </a:lnTo>
                <a:lnTo>
                  <a:pt x="2" y="8"/>
                </a:lnTo>
                <a:lnTo>
                  <a:pt x="4" y="5"/>
                </a:lnTo>
                <a:lnTo>
                  <a:pt x="4" y="5"/>
                </a:lnTo>
                <a:lnTo>
                  <a:pt x="5" y="4"/>
                </a:lnTo>
                <a:lnTo>
                  <a:pt x="7" y="2"/>
                </a:lnTo>
                <a:lnTo>
                  <a:pt x="13" y="1"/>
                </a:lnTo>
                <a:lnTo>
                  <a:pt x="22" y="0"/>
                </a:lnTo>
                <a:lnTo>
                  <a:pt x="32" y="0"/>
                </a:lnTo>
                <a:lnTo>
                  <a:pt x="43" y="1"/>
                </a:lnTo>
                <a:lnTo>
                  <a:pt x="55" y="3"/>
                </a:lnTo>
                <a:lnTo>
                  <a:pt x="69" y="6"/>
                </a:lnTo>
                <a:lnTo>
                  <a:pt x="83" y="10"/>
                </a:lnTo>
                <a:lnTo>
                  <a:pt x="96" y="15"/>
                </a:lnTo>
                <a:lnTo>
                  <a:pt x="110" y="20"/>
                </a:lnTo>
                <a:lnTo>
                  <a:pt x="123" y="27"/>
                </a:lnTo>
                <a:lnTo>
                  <a:pt x="135" y="34"/>
                </a:lnTo>
                <a:lnTo>
                  <a:pt x="145" y="42"/>
                </a:lnTo>
                <a:lnTo>
                  <a:pt x="155" y="51"/>
                </a:lnTo>
                <a:lnTo>
                  <a:pt x="162" y="60"/>
                </a:lnTo>
                <a:lnTo>
                  <a:pt x="164" y="64"/>
                </a:lnTo>
                <a:lnTo>
                  <a:pt x="166" y="6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50" name="Freeform 47"/>
          <p:cNvSpPr>
            <a:spLocks/>
          </p:cNvSpPr>
          <p:nvPr userDrawn="1"/>
        </p:nvSpPr>
        <p:spPr bwMode="auto">
          <a:xfrm>
            <a:off x="7151687" y="1218904"/>
            <a:ext cx="657225" cy="776288"/>
          </a:xfrm>
          <a:custGeom>
            <a:avLst/>
            <a:gdLst>
              <a:gd name="T0" fmla="*/ 4703 w 4973"/>
              <a:gd name="T1" fmla="*/ 1877 h 5865"/>
              <a:gd name="T2" fmla="*/ 4733 w 4973"/>
              <a:gd name="T3" fmla="*/ 1183 h 5865"/>
              <a:gd name="T4" fmla="*/ 4302 w 4973"/>
              <a:gd name="T5" fmla="*/ 476 h 5865"/>
              <a:gd name="T6" fmla="*/ 3581 w 4973"/>
              <a:gd name="T7" fmla="*/ 813 h 5865"/>
              <a:gd name="T8" fmla="*/ 3899 w 4973"/>
              <a:gd name="T9" fmla="*/ 1529 h 5865"/>
              <a:gd name="T10" fmla="*/ 3757 w 4973"/>
              <a:gd name="T11" fmla="*/ 2227 h 5865"/>
              <a:gd name="T12" fmla="*/ 3939 w 4973"/>
              <a:gd name="T13" fmla="*/ 2068 h 5865"/>
              <a:gd name="T14" fmla="*/ 4069 w 4973"/>
              <a:gd name="T15" fmla="*/ 1928 h 5865"/>
              <a:gd name="T16" fmla="*/ 4545 w 4973"/>
              <a:gd name="T17" fmla="*/ 1985 h 5865"/>
              <a:gd name="T18" fmla="*/ 4487 w 4973"/>
              <a:gd name="T19" fmla="*/ 2697 h 5865"/>
              <a:gd name="T20" fmla="*/ 3601 w 4973"/>
              <a:gd name="T21" fmla="*/ 2477 h 5865"/>
              <a:gd name="T22" fmla="*/ 3285 w 4973"/>
              <a:gd name="T23" fmla="*/ 1581 h 5865"/>
              <a:gd name="T24" fmla="*/ 3364 w 4973"/>
              <a:gd name="T25" fmla="*/ 1421 h 5865"/>
              <a:gd name="T26" fmla="*/ 3101 w 4973"/>
              <a:gd name="T27" fmla="*/ 996 h 5865"/>
              <a:gd name="T28" fmla="*/ 3251 w 4973"/>
              <a:gd name="T29" fmla="*/ 599 h 5865"/>
              <a:gd name="T30" fmla="*/ 2863 w 4973"/>
              <a:gd name="T31" fmla="*/ 144 h 5865"/>
              <a:gd name="T32" fmla="*/ 1960 w 4973"/>
              <a:gd name="T33" fmla="*/ 304 h 5865"/>
              <a:gd name="T34" fmla="*/ 1819 w 4973"/>
              <a:gd name="T35" fmla="*/ 748 h 5865"/>
              <a:gd name="T36" fmla="*/ 2202 w 4973"/>
              <a:gd name="T37" fmla="*/ 626 h 5865"/>
              <a:gd name="T38" fmla="*/ 2215 w 4973"/>
              <a:gd name="T39" fmla="*/ 803 h 5865"/>
              <a:gd name="T40" fmla="*/ 1623 w 4973"/>
              <a:gd name="T41" fmla="*/ 851 h 5865"/>
              <a:gd name="T42" fmla="*/ 1602 w 4973"/>
              <a:gd name="T43" fmla="*/ 1055 h 5865"/>
              <a:gd name="T44" fmla="*/ 2246 w 4973"/>
              <a:gd name="T45" fmla="*/ 924 h 5865"/>
              <a:gd name="T46" fmla="*/ 2036 w 4973"/>
              <a:gd name="T47" fmla="*/ 981 h 5865"/>
              <a:gd name="T48" fmla="*/ 1754 w 4973"/>
              <a:gd name="T49" fmla="*/ 1278 h 5865"/>
              <a:gd name="T50" fmla="*/ 2105 w 4973"/>
              <a:gd name="T51" fmla="*/ 1619 h 5865"/>
              <a:gd name="T52" fmla="*/ 863 w 4973"/>
              <a:gd name="T53" fmla="*/ 2239 h 5865"/>
              <a:gd name="T54" fmla="*/ 310 w 4973"/>
              <a:gd name="T55" fmla="*/ 2027 h 5865"/>
              <a:gd name="T56" fmla="*/ 319 w 4973"/>
              <a:gd name="T57" fmla="*/ 2172 h 5865"/>
              <a:gd name="T58" fmla="*/ 380 w 4973"/>
              <a:gd name="T59" fmla="*/ 2295 h 5865"/>
              <a:gd name="T60" fmla="*/ 39 w 4973"/>
              <a:gd name="T61" fmla="*/ 2396 h 5865"/>
              <a:gd name="T62" fmla="*/ 189 w 4973"/>
              <a:gd name="T63" fmla="*/ 2511 h 5865"/>
              <a:gd name="T64" fmla="*/ 322 w 4973"/>
              <a:gd name="T65" fmla="*/ 2588 h 5865"/>
              <a:gd name="T66" fmla="*/ 272 w 4973"/>
              <a:gd name="T67" fmla="*/ 2893 h 5865"/>
              <a:gd name="T68" fmla="*/ 630 w 4973"/>
              <a:gd name="T69" fmla="*/ 2730 h 5865"/>
              <a:gd name="T70" fmla="*/ 811 w 4973"/>
              <a:gd name="T71" fmla="*/ 2843 h 5865"/>
              <a:gd name="T72" fmla="*/ 1024 w 4973"/>
              <a:gd name="T73" fmla="*/ 2773 h 5865"/>
              <a:gd name="T74" fmla="*/ 1290 w 4973"/>
              <a:gd name="T75" fmla="*/ 2556 h 5865"/>
              <a:gd name="T76" fmla="*/ 1713 w 4973"/>
              <a:gd name="T77" fmla="*/ 2519 h 5865"/>
              <a:gd name="T78" fmla="*/ 2306 w 4973"/>
              <a:gd name="T79" fmla="*/ 2641 h 5865"/>
              <a:gd name="T80" fmla="*/ 3357 w 4973"/>
              <a:gd name="T81" fmla="*/ 3092 h 5865"/>
              <a:gd name="T82" fmla="*/ 3742 w 4973"/>
              <a:gd name="T83" fmla="*/ 3928 h 5865"/>
              <a:gd name="T84" fmla="*/ 3685 w 4973"/>
              <a:gd name="T85" fmla="*/ 4224 h 5865"/>
              <a:gd name="T86" fmla="*/ 4224 w 4973"/>
              <a:gd name="T87" fmla="*/ 4337 h 5865"/>
              <a:gd name="T88" fmla="*/ 4264 w 4973"/>
              <a:gd name="T89" fmla="*/ 5017 h 5865"/>
              <a:gd name="T90" fmla="*/ 3761 w 4973"/>
              <a:gd name="T91" fmla="*/ 5058 h 5865"/>
              <a:gd name="T92" fmla="*/ 3894 w 4973"/>
              <a:gd name="T93" fmla="*/ 5210 h 5865"/>
              <a:gd name="T94" fmla="*/ 3894 w 4973"/>
              <a:gd name="T95" fmla="*/ 5294 h 5865"/>
              <a:gd name="T96" fmla="*/ 3751 w 4973"/>
              <a:gd name="T97" fmla="*/ 5644 h 5865"/>
              <a:gd name="T98" fmla="*/ 3926 w 4973"/>
              <a:gd name="T99" fmla="*/ 5586 h 5865"/>
              <a:gd name="T100" fmla="*/ 4212 w 4973"/>
              <a:gd name="T101" fmla="*/ 5447 h 5865"/>
              <a:gd name="T102" fmla="*/ 4257 w 4973"/>
              <a:gd name="T103" fmla="*/ 5812 h 5865"/>
              <a:gd name="T104" fmla="*/ 4352 w 4973"/>
              <a:gd name="T105" fmla="*/ 5675 h 5865"/>
              <a:gd name="T106" fmla="*/ 4557 w 4973"/>
              <a:gd name="T107" fmla="*/ 5328 h 5865"/>
              <a:gd name="T108" fmla="*/ 4736 w 4973"/>
              <a:gd name="T109" fmla="*/ 5505 h 5865"/>
              <a:gd name="T110" fmla="*/ 4753 w 4973"/>
              <a:gd name="T111" fmla="*/ 5108 h 5865"/>
              <a:gd name="T112" fmla="*/ 4693 w 4973"/>
              <a:gd name="T113" fmla="*/ 4810 h 5865"/>
              <a:gd name="T114" fmla="*/ 4677 w 4973"/>
              <a:gd name="T115" fmla="*/ 4437 h 5865"/>
              <a:gd name="T116" fmla="*/ 4640 w 4973"/>
              <a:gd name="T117" fmla="*/ 4108 h 5865"/>
              <a:gd name="T118" fmla="*/ 4297 w 4973"/>
              <a:gd name="T119" fmla="*/ 3793 h 5865"/>
              <a:gd name="T120" fmla="*/ 4267 w 4973"/>
              <a:gd name="T121" fmla="*/ 3366 h 5865"/>
              <a:gd name="T122" fmla="*/ 4428 w 4973"/>
              <a:gd name="T123" fmla="*/ 2994 h 5865"/>
              <a:gd name="T124" fmla="*/ 4923 w 4973"/>
              <a:gd name="T125" fmla="*/ 2543 h 5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973" h="5865">
                <a:moveTo>
                  <a:pt x="4842" y="2253"/>
                </a:moveTo>
                <a:lnTo>
                  <a:pt x="4842" y="2253"/>
                </a:lnTo>
                <a:lnTo>
                  <a:pt x="4862" y="2257"/>
                </a:lnTo>
                <a:lnTo>
                  <a:pt x="4881" y="2259"/>
                </a:lnTo>
                <a:lnTo>
                  <a:pt x="4900" y="2260"/>
                </a:lnTo>
                <a:lnTo>
                  <a:pt x="4916" y="2259"/>
                </a:lnTo>
                <a:lnTo>
                  <a:pt x="4932" y="2257"/>
                </a:lnTo>
                <a:lnTo>
                  <a:pt x="4946" y="2254"/>
                </a:lnTo>
                <a:lnTo>
                  <a:pt x="4958" y="2249"/>
                </a:lnTo>
                <a:lnTo>
                  <a:pt x="4969" y="2243"/>
                </a:lnTo>
                <a:lnTo>
                  <a:pt x="4969" y="2243"/>
                </a:lnTo>
                <a:lnTo>
                  <a:pt x="4967" y="2217"/>
                </a:lnTo>
                <a:lnTo>
                  <a:pt x="4960" y="2157"/>
                </a:lnTo>
                <a:lnTo>
                  <a:pt x="4951" y="2084"/>
                </a:lnTo>
                <a:lnTo>
                  <a:pt x="4946" y="2052"/>
                </a:lnTo>
                <a:lnTo>
                  <a:pt x="4940" y="2024"/>
                </a:lnTo>
                <a:lnTo>
                  <a:pt x="4940" y="2024"/>
                </a:lnTo>
                <a:lnTo>
                  <a:pt x="4922" y="2027"/>
                </a:lnTo>
                <a:lnTo>
                  <a:pt x="4902" y="2030"/>
                </a:lnTo>
                <a:lnTo>
                  <a:pt x="4891" y="2030"/>
                </a:lnTo>
                <a:lnTo>
                  <a:pt x="4879" y="2030"/>
                </a:lnTo>
                <a:lnTo>
                  <a:pt x="4867" y="2029"/>
                </a:lnTo>
                <a:lnTo>
                  <a:pt x="4855" y="2027"/>
                </a:lnTo>
                <a:lnTo>
                  <a:pt x="4843" y="2024"/>
                </a:lnTo>
                <a:lnTo>
                  <a:pt x="4830" y="2020"/>
                </a:lnTo>
                <a:lnTo>
                  <a:pt x="4818" y="2015"/>
                </a:lnTo>
                <a:lnTo>
                  <a:pt x="4806" y="2008"/>
                </a:lnTo>
                <a:lnTo>
                  <a:pt x="4794" y="1998"/>
                </a:lnTo>
                <a:lnTo>
                  <a:pt x="4782" y="1988"/>
                </a:lnTo>
                <a:lnTo>
                  <a:pt x="4771" y="1976"/>
                </a:lnTo>
                <a:lnTo>
                  <a:pt x="4761" y="1962"/>
                </a:lnTo>
                <a:lnTo>
                  <a:pt x="4761" y="1962"/>
                </a:lnTo>
                <a:lnTo>
                  <a:pt x="4743" y="1933"/>
                </a:lnTo>
                <a:lnTo>
                  <a:pt x="4724" y="1905"/>
                </a:lnTo>
                <a:lnTo>
                  <a:pt x="4724" y="1905"/>
                </a:lnTo>
                <a:lnTo>
                  <a:pt x="4703" y="1877"/>
                </a:lnTo>
                <a:lnTo>
                  <a:pt x="4680" y="1849"/>
                </a:lnTo>
                <a:lnTo>
                  <a:pt x="4658" y="1823"/>
                </a:lnTo>
                <a:lnTo>
                  <a:pt x="4634" y="1797"/>
                </a:lnTo>
                <a:lnTo>
                  <a:pt x="4611" y="1773"/>
                </a:lnTo>
                <a:lnTo>
                  <a:pt x="4586" y="1750"/>
                </a:lnTo>
                <a:lnTo>
                  <a:pt x="4562" y="1727"/>
                </a:lnTo>
                <a:lnTo>
                  <a:pt x="4538" y="1707"/>
                </a:lnTo>
                <a:lnTo>
                  <a:pt x="4513" y="1687"/>
                </a:lnTo>
                <a:lnTo>
                  <a:pt x="4489" y="1667"/>
                </a:lnTo>
                <a:lnTo>
                  <a:pt x="4463" y="1649"/>
                </a:lnTo>
                <a:lnTo>
                  <a:pt x="4439" y="1630"/>
                </a:lnTo>
                <a:lnTo>
                  <a:pt x="4413" y="1614"/>
                </a:lnTo>
                <a:lnTo>
                  <a:pt x="4389" y="1598"/>
                </a:lnTo>
                <a:lnTo>
                  <a:pt x="4337" y="1566"/>
                </a:lnTo>
                <a:lnTo>
                  <a:pt x="4337" y="1566"/>
                </a:lnTo>
                <a:lnTo>
                  <a:pt x="4381" y="1543"/>
                </a:lnTo>
                <a:lnTo>
                  <a:pt x="4422" y="1521"/>
                </a:lnTo>
                <a:lnTo>
                  <a:pt x="4459" y="1498"/>
                </a:lnTo>
                <a:lnTo>
                  <a:pt x="4492" y="1477"/>
                </a:lnTo>
                <a:lnTo>
                  <a:pt x="4523" y="1455"/>
                </a:lnTo>
                <a:lnTo>
                  <a:pt x="4549" y="1434"/>
                </a:lnTo>
                <a:lnTo>
                  <a:pt x="4574" y="1414"/>
                </a:lnTo>
                <a:lnTo>
                  <a:pt x="4595" y="1393"/>
                </a:lnTo>
                <a:lnTo>
                  <a:pt x="4615" y="1374"/>
                </a:lnTo>
                <a:lnTo>
                  <a:pt x="4632" y="1355"/>
                </a:lnTo>
                <a:lnTo>
                  <a:pt x="4647" y="1337"/>
                </a:lnTo>
                <a:lnTo>
                  <a:pt x="4661" y="1319"/>
                </a:lnTo>
                <a:lnTo>
                  <a:pt x="4673" y="1303"/>
                </a:lnTo>
                <a:lnTo>
                  <a:pt x="4683" y="1288"/>
                </a:lnTo>
                <a:lnTo>
                  <a:pt x="4700" y="1260"/>
                </a:lnTo>
                <a:lnTo>
                  <a:pt x="4700" y="1260"/>
                </a:lnTo>
                <a:lnTo>
                  <a:pt x="4708" y="1248"/>
                </a:lnTo>
                <a:lnTo>
                  <a:pt x="4714" y="1234"/>
                </a:lnTo>
                <a:lnTo>
                  <a:pt x="4721" y="1218"/>
                </a:lnTo>
                <a:lnTo>
                  <a:pt x="4727" y="1202"/>
                </a:lnTo>
                <a:lnTo>
                  <a:pt x="4733" y="1183"/>
                </a:lnTo>
                <a:lnTo>
                  <a:pt x="4739" y="1164"/>
                </a:lnTo>
                <a:lnTo>
                  <a:pt x="4743" y="1144"/>
                </a:lnTo>
                <a:lnTo>
                  <a:pt x="4749" y="1123"/>
                </a:lnTo>
                <a:lnTo>
                  <a:pt x="4753" y="1101"/>
                </a:lnTo>
                <a:lnTo>
                  <a:pt x="4756" y="1078"/>
                </a:lnTo>
                <a:lnTo>
                  <a:pt x="4758" y="1054"/>
                </a:lnTo>
                <a:lnTo>
                  <a:pt x="4759" y="1030"/>
                </a:lnTo>
                <a:lnTo>
                  <a:pt x="4760" y="1005"/>
                </a:lnTo>
                <a:lnTo>
                  <a:pt x="4759" y="980"/>
                </a:lnTo>
                <a:lnTo>
                  <a:pt x="4758" y="954"/>
                </a:lnTo>
                <a:lnTo>
                  <a:pt x="4755" y="928"/>
                </a:lnTo>
                <a:lnTo>
                  <a:pt x="4751" y="902"/>
                </a:lnTo>
                <a:lnTo>
                  <a:pt x="4745" y="876"/>
                </a:lnTo>
                <a:lnTo>
                  <a:pt x="4738" y="849"/>
                </a:lnTo>
                <a:lnTo>
                  <a:pt x="4730" y="824"/>
                </a:lnTo>
                <a:lnTo>
                  <a:pt x="4720" y="797"/>
                </a:lnTo>
                <a:lnTo>
                  <a:pt x="4709" y="771"/>
                </a:lnTo>
                <a:lnTo>
                  <a:pt x="4695" y="746"/>
                </a:lnTo>
                <a:lnTo>
                  <a:pt x="4681" y="721"/>
                </a:lnTo>
                <a:lnTo>
                  <a:pt x="4665" y="697"/>
                </a:lnTo>
                <a:lnTo>
                  <a:pt x="4646" y="672"/>
                </a:lnTo>
                <a:lnTo>
                  <a:pt x="4625" y="649"/>
                </a:lnTo>
                <a:lnTo>
                  <a:pt x="4602" y="626"/>
                </a:lnTo>
                <a:lnTo>
                  <a:pt x="4578" y="605"/>
                </a:lnTo>
                <a:lnTo>
                  <a:pt x="4551" y="584"/>
                </a:lnTo>
                <a:lnTo>
                  <a:pt x="4522" y="565"/>
                </a:lnTo>
                <a:lnTo>
                  <a:pt x="4490" y="545"/>
                </a:lnTo>
                <a:lnTo>
                  <a:pt x="4490" y="545"/>
                </a:lnTo>
                <a:lnTo>
                  <a:pt x="4466" y="533"/>
                </a:lnTo>
                <a:lnTo>
                  <a:pt x="4443" y="522"/>
                </a:lnTo>
                <a:lnTo>
                  <a:pt x="4419" y="512"/>
                </a:lnTo>
                <a:lnTo>
                  <a:pt x="4396" y="503"/>
                </a:lnTo>
                <a:lnTo>
                  <a:pt x="4372" y="494"/>
                </a:lnTo>
                <a:lnTo>
                  <a:pt x="4348" y="487"/>
                </a:lnTo>
                <a:lnTo>
                  <a:pt x="4325" y="481"/>
                </a:lnTo>
                <a:lnTo>
                  <a:pt x="4302" y="476"/>
                </a:lnTo>
                <a:lnTo>
                  <a:pt x="4278" y="471"/>
                </a:lnTo>
                <a:lnTo>
                  <a:pt x="4256" y="468"/>
                </a:lnTo>
                <a:lnTo>
                  <a:pt x="4233" y="465"/>
                </a:lnTo>
                <a:lnTo>
                  <a:pt x="4211" y="463"/>
                </a:lnTo>
                <a:lnTo>
                  <a:pt x="4188" y="461"/>
                </a:lnTo>
                <a:lnTo>
                  <a:pt x="4167" y="461"/>
                </a:lnTo>
                <a:lnTo>
                  <a:pt x="4145" y="461"/>
                </a:lnTo>
                <a:lnTo>
                  <a:pt x="4124" y="461"/>
                </a:lnTo>
                <a:lnTo>
                  <a:pt x="4083" y="464"/>
                </a:lnTo>
                <a:lnTo>
                  <a:pt x="4044" y="468"/>
                </a:lnTo>
                <a:lnTo>
                  <a:pt x="4007" y="474"/>
                </a:lnTo>
                <a:lnTo>
                  <a:pt x="3973" y="482"/>
                </a:lnTo>
                <a:lnTo>
                  <a:pt x="3941" y="490"/>
                </a:lnTo>
                <a:lnTo>
                  <a:pt x="3912" y="499"/>
                </a:lnTo>
                <a:lnTo>
                  <a:pt x="3887" y="510"/>
                </a:lnTo>
                <a:lnTo>
                  <a:pt x="3864" y="519"/>
                </a:lnTo>
                <a:lnTo>
                  <a:pt x="3864" y="519"/>
                </a:lnTo>
                <a:lnTo>
                  <a:pt x="3844" y="529"/>
                </a:lnTo>
                <a:lnTo>
                  <a:pt x="3824" y="539"/>
                </a:lnTo>
                <a:lnTo>
                  <a:pt x="3806" y="551"/>
                </a:lnTo>
                <a:lnTo>
                  <a:pt x="3787" y="562"/>
                </a:lnTo>
                <a:lnTo>
                  <a:pt x="3769" y="575"/>
                </a:lnTo>
                <a:lnTo>
                  <a:pt x="3752" y="587"/>
                </a:lnTo>
                <a:lnTo>
                  <a:pt x="3735" y="602"/>
                </a:lnTo>
                <a:lnTo>
                  <a:pt x="3719" y="616"/>
                </a:lnTo>
                <a:lnTo>
                  <a:pt x="3703" y="631"/>
                </a:lnTo>
                <a:lnTo>
                  <a:pt x="3687" y="647"/>
                </a:lnTo>
                <a:lnTo>
                  <a:pt x="3673" y="663"/>
                </a:lnTo>
                <a:lnTo>
                  <a:pt x="3659" y="679"/>
                </a:lnTo>
                <a:lnTo>
                  <a:pt x="3645" y="697"/>
                </a:lnTo>
                <a:lnTo>
                  <a:pt x="3633" y="715"/>
                </a:lnTo>
                <a:lnTo>
                  <a:pt x="3621" y="734"/>
                </a:lnTo>
                <a:lnTo>
                  <a:pt x="3609" y="753"/>
                </a:lnTo>
                <a:lnTo>
                  <a:pt x="3599" y="772"/>
                </a:lnTo>
                <a:lnTo>
                  <a:pt x="3589" y="793"/>
                </a:lnTo>
                <a:lnTo>
                  <a:pt x="3581" y="813"/>
                </a:lnTo>
                <a:lnTo>
                  <a:pt x="3573" y="835"/>
                </a:lnTo>
                <a:lnTo>
                  <a:pt x="3565" y="856"/>
                </a:lnTo>
                <a:lnTo>
                  <a:pt x="3559" y="879"/>
                </a:lnTo>
                <a:lnTo>
                  <a:pt x="3554" y="901"/>
                </a:lnTo>
                <a:lnTo>
                  <a:pt x="3550" y="924"/>
                </a:lnTo>
                <a:lnTo>
                  <a:pt x="3547" y="947"/>
                </a:lnTo>
                <a:lnTo>
                  <a:pt x="3545" y="972"/>
                </a:lnTo>
                <a:lnTo>
                  <a:pt x="3544" y="996"/>
                </a:lnTo>
                <a:lnTo>
                  <a:pt x="3543" y="1021"/>
                </a:lnTo>
                <a:lnTo>
                  <a:pt x="3544" y="1046"/>
                </a:lnTo>
                <a:lnTo>
                  <a:pt x="3546" y="1072"/>
                </a:lnTo>
                <a:lnTo>
                  <a:pt x="3550" y="1098"/>
                </a:lnTo>
                <a:lnTo>
                  <a:pt x="3554" y="1124"/>
                </a:lnTo>
                <a:lnTo>
                  <a:pt x="3554" y="1124"/>
                </a:lnTo>
                <a:lnTo>
                  <a:pt x="3559" y="1148"/>
                </a:lnTo>
                <a:lnTo>
                  <a:pt x="3564" y="1169"/>
                </a:lnTo>
                <a:lnTo>
                  <a:pt x="3571" y="1191"/>
                </a:lnTo>
                <a:lnTo>
                  <a:pt x="3577" y="1211"/>
                </a:lnTo>
                <a:lnTo>
                  <a:pt x="3585" y="1231"/>
                </a:lnTo>
                <a:lnTo>
                  <a:pt x="3592" y="1249"/>
                </a:lnTo>
                <a:lnTo>
                  <a:pt x="3601" y="1267"/>
                </a:lnTo>
                <a:lnTo>
                  <a:pt x="3610" y="1285"/>
                </a:lnTo>
                <a:lnTo>
                  <a:pt x="3620" y="1301"/>
                </a:lnTo>
                <a:lnTo>
                  <a:pt x="3631" y="1316"/>
                </a:lnTo>
                <a:lnTo>
                  <a:pt x="3641" y="1332"/>
                </a:lnTo>
                <a:lnTo>
                  <a:pt x="3652" y="1347"/>
                </a:lnTo>
                <a:lnTo>
                  <a:pt x="3665" y="1361"/>
                </a:lnTo>
                <a:lnTo>
                  <a:pt x="3677" y="1375"/>
                </a:lnTo>
                <a:lnTo>
                  <a:pt x="3690" y="1388"/>
                </a:lnTo>
                <a:lnTo>
                  <a:pt x="3704" y="1400"/>
                </a:lnTo>
                <a:lnTo>
                  <a:pt x="3732" y="1425"/>
                </a:lnTo>
                <a:lnTo>
                  <a:pt x="3763" y="1447"/>
                </a:lnTo>
                <a:lnTo>
                  <a:pt x="3795" y="1469"/>
                </a:lnTo>
                <a:lnTo>
                  <a:pt x="3828" y="1489"/>
                </a:lnTo>
                <a:lnTo>
                  <a:pt x="3863" y="1510"/>
                </a:lnTo>
                <a:lnTo>
                  <a:pt x="3899" y="1529"/>
                </a:lnTo>
                <a:lnTo>
                  <a:pt x="3976" y="1567"/>
                </a:lnTo>
                <a:lnTo>
                  <a:pt x="3976" y="1567"/>
                </a:lnTo>
                <a:lnTo>
                  <a:pt x="3945" y="1584"/>
                </a:lnTo>
                <a:lnTo>
                  <a:pt x="3916" y="1601"/>
                </a:lnTo>
                <a:lnTo>
                  <a:pt x="3890" y="1618"/>
                </a:lnTo>
                <a:lnTo>
                  <a:pt x="3864" y="1636"/>
                </a:lnTo>
                <a:lnTo>
                  <a:pt x="3840" y="1656"/>
                </a:lnTo>
                <a:lnTo>
                  <a:pt x="3817" y="1675"/>
                </a:lnTo>
                <a:lnTo>
                  <a:pt x="3797" y="1696"/>
                </a:lnTo>
                <a:lnTo>
                  <a:pt x="3778" y="1717"/>
                </a:lnTo>
                <a:lnTo>
                  <a:pt x="3761" y="1741"/>
                </a:lnTo>
                <a:lnTo>
                  <a:pt x="3754" y="1753"/>
                </a:lnTo>
                <a:lnTo>
                  <a:pt x="3746" y="1765"/>
                </a:lnTo>
                <a:lnTo>
                  <a:pt x="3739" y="1778"/>
                </a:lnTo>
                <a:lnTo>
                  <a:pt x="3733" y="1791"/>
                </a:lnTo>
                <a:lnTo>
                  <a:pt x="3728" y="1804"/>
                </a:lnTo>
                <a:lnTo>
                  <a:pt x="3723" y="1818"/>
                </a:lnTo>
                <a:lnTo>
                  <a:pt x="3718" y="1833"/>
                </a:lnTo>
                <a:lnTo>
                  <a:pt x="3714" y="1848"/>
                </a:lnTo>
                <a:lnTo>
                  <a:pt x="3711" y="1863"/>
                </a:lnTo>
                <a:lnTo>
                  <a:pt x="3708" y="1879"/>
                </a:lnTo>
                <a:lnTo>
                  <a:pt x="3706" y="1895"/>
                </a:lnTo>
                <a:lnTo>
                  <a:pt x="3705" y="1912"/>
                </a:lnTo>
                <a:lnTo>
                  <a:pt x="3704" y="1930"/>
                </a:lnTo>
                <a:lnTo>
                  <a:pt x="3703" y="1947"/>
                </a:lnTo>
                <a:lnTo>
                  <a:pt x="3703" y="1947"/>
                </a:lnTo>
                <a:lnTo>
                  <a:pt x="3704" y="1970"/>
                </a:lnTo>
                <a:lnTo>
                  <a:pt x="3707" y="1993"/>
                </a:lnTo>
                <a:lnTo>
                  <a:pt x="3711" y="2016"/>
                </a:lnTo>
                <a:lnTo>
                  <a:pt x="3716" y="2039"/>
                </a:lnTo>
                <a:lnTo>
                  <a:pt x="3729" y="2087"/>
                </a:lnTo>
                <a:lnTo>
                  <a:pt x="3736" y="2113"/>
                </a:lnTo>
                <a:lnTo>
                  <a:pt x="3742" y="2139"/>
                </a:lnTo>
                <a:lnTo>
                  <a:pt x="3749" y="2168"/>
                </a:lnTo>
                <a:lnTo>
                  <a:pt x="3753" y="2197"/>
                </a:lnTo>
                <a:lnTo>
                  <a:pt x="3757" y="2227"/>
                </a:lnTo>
                <a:lnTo>
                  <a:pt x="3758" y="2260"/>
                </a:lnTo>
                <a:lnTo>
                  <a:pt x="3758" y="2295"/>
                </a:lnTo>
                <a:lnTo>
                  <a:pt x="3757" y="2313"/>
                </a:lnTo>
                <a:lnTo>
                  <a:pt x="3755" y="2332"/>
                </a:lnTo>
                <a:lnTo>
                  <a:pt x="3753" y="2350"/>
                </a:lnTo>
                <a:lnTo>
                  <a:pt x="3750" y="2371"/>
                </a:lnTo>
                <a:lnTo>
                  <a:pt x="3745" y="2391"/>
                </a:lnTo>
                <a:lnTo>
                  <a:pt x="3741" y="2411"/>
                </a:lnTo>
                <a:lnTo>
                  <a:pt x="3741" y="2411"/>
                </a:lnTo>
                <a:lnTo>
                  <a:pt x="3741" y="2413"/>
                </a:lnTo>
                <a:lnTo>
                  <a:pt x="3741" y="2414"/>
                </a:lnTo>
                <a:lnTo>
                  <a:pt x="3743" y="2414"/>
                </a:lnTo>
                <a:lnTo>
                  <a:pt x="3745" y="2416"/>
                </a:lnTo>
                <a:lnTo>
                  <a:pt x="3753" y="2413"/>
                </a:lnTo>
                <a:lnTo>
                  <a:pt x="3762" y="2411"/>
                </a:lnTo>
                <a:lnTo>
                  <a:pt x="3785" y="2401"/>
                </a:lnTo>
                <a:lnTo>
                  <a:pt x="3814" y="2389"/>
                </a:lnTo>
                <a:lnTo>
                  <a:pt x="3842" y="2374"/>
                </a:lnTo>
                <a:lnTo>
                  <a:pt x="3867" y="2360"/>
                </a:lnTo>
                <a:lnTo>
                  <a:pt x="3886" y="2349"/>
                </a:lnTo>
                <a:lnTo>
                  <a:pt x="3891" y="2345"/>
                </a:lnTo>
                <a:lnTo>
                  <a:pt x="3894" y="2343"/>
                </a:lnTo>
                <a:lnTo>
                  <a:pt x="3894" y="2343"/>
                </a:lnTo>
                <a:lnTo>
                  <a:pt x="3903" y="2319"/>
                </a:lnTo>
                <a:lnTo>
                  <a:pt x="3910" y="2296"/>
                </a:lnTo>
                <a:lnTo>
                  <a:pt x="3916" y="2272"/>
                </a:lnTo>
                <a:lnTo>
                  <a:pt x="3921" y="2248"/>
                </a:lnTo>
                <a:lnTo>
                  <a:pt x="3925" y="2224"/>
                </a:lnTo>
                <a:lnTo>
                  <a:pt x="3928" y="2201"/>
                </a:lnTo>
                <a:lnTo>
                  <a:pt x="3930" y="2178"/>
                </a:lnTo>
                <a:lnTo>
                  <a:pt x="3932" y="2156"/>
                </a:lnTo>
                <a:lnTo>
                  <a:pt x="3932" y="2117"/>
                </a:lnTo>
                <a:lnTo>
                  <a:pt x="3931" y="2086"/>
                </a:lnTo>
                <a:lnTo>
                  <a:pt x="3928" y="2059"/>
                </a:lnTo>
                <a:lnTo>
                  <a:pt x="3928" y="2059"/>
                </a:lnTo>
                <a:lnTo>
                  <a:pt x="3939" y="2068"/>
                </a:lnTo>
                <a:lnTo>
                  <a:pt x="3947" y="2079"/>
                </a:lnTo>
                <a:lnTo>
                  <a:pt x="3954" y="2091"/>
                </a:lnTo>
                <a:lnTo>
                  <a:pt x="3960" y="2105"/>
                </a:lnTo>
                <a:lnTo>
                  <a:pt x="3964" y="2120"/>
                </a:lnTo>
                <a:lnTo>
                  <a:pt x="3968" y="2135"/>
                </a:lnTo>
                <a:lnTo>
                  <a:pt x="3971" y="2152"/>
                </a:lnTo>
                <a:lnTo>
                  <a:pt x="3973" y="2168"/>
                </a:lnTo>
                <a:lnTo>
                  <a:pt x="3975" y="2185"/>
                </a:lnTo>
                <a:lnTo>
                  <a:pt x="3976" y="2203"/>
                </a:lnTo>
                <a:lnTo>
                  <a:pt x="3976" y="2219"/>
                </a:lnTo>
                <a:lnTo>
                  <a:pt x="3975" y="2237"/>
                </a:lnTo>
                <a:lnTo>
                  <a:pt x="3971" y="2268"/>
                </a:lnTo>
                <a:lnTo>
                  <a:pt x="3965" y="2297"/>
                </a:lnTo>
                <a:lnTo>
                  <a:pt x="3965" y="2297"/>
                </a:lnTo>
                <a:lnTo>
                  <a:pt x="3982" y="2288"/>
                </a:lnTo>
                <a:lnTo>
                  <a:pt x="3998" y="2276"/>
                </a:lnTo>
                <a:lnTo>
                  <a:pt x="4016" y="2263"/>
                </a:lnTo>
                <a:lnTo>
                  <a:pt x="4036" y="2249"/>
                </a:lnTo>
                <a:lnTo>
                  <a:pt x="4053" y="2234"/>
                </a:lnTo>
                <a:lnTo>
                  <a:pt x="4061" y="2226"/>
                </a:lnTo>
                <a:lnTo>
                  <a:pt x="4068" y="2219"/>
                </a:lnTo>
                <a:lnTo>
                  <a:pt x="4072" y="2212"/>
                </a:lnTo>
                <a:lnTo>
                  <a:pt x="4075" y="2206"/>
                </a:lnTo>
                <a:lnTo>
                  <a:pt x="4075" y="2206"/>
                </a:lnTo>
                <a:lnTo>
                  <a:pt x="4083" y="2176"/>
                </a:lnTo>
                <a:lnTo>
                  <a:pt x="4090" y="2148"/>
                </a:lnTo>
                <a:lnTo>
                  <a:pt x="4094" y="2121"/>
                </a:lnTo>
                <a:lnTo>
                  <a:pt x="4096" y="2095"/>
                </a:lnTo>
                <a:lnTo>
                  <a:pt x="4096" y="2071"/>
                </a:lnTo>
                <a:lnTo>
                  <a:pt x="4095" y="2047"/>
                </a:lnTo>
                <a:lnTo>
                  <a:pt x="4093" y="2025"/>
                </a:lnTo>
                <a:lnTo>
                  <a:pt x="4090" y="2003"/>
                </a:lnTo>
                <a:lnTo>
                  <a:pt x="4085" y="1983"/>
                </a:lnTo>
                <a:lnTo>
                  <a:pt x="4080" y="1964"/>
                </a:lnTo>
                <a:lnTo>
                  <a:pt x="4075" y="1945"/>
                </a:lnTo>
                <a:lnTo>
                  <a:pt x="4069" y="1928"/>
                </a:lnTo>
                <a:lnTo>
                  <a:pt x="4055" y="1894"/>
                </a:lnTo>
                <a:lnTo>
                  <a:pt x="4043" y="1862"/>
                </a:lnTo>
                <a:lnTo>
                  <a:pt x="4043" y="1862"/>
                </a:lnTo>
                <a:lnTo>
                  <a:pt x="4038" y="1847"/>
                </a:lnTo>
                <a:lnTo>
                  <a:pt x="4035" y="1832"/>
                </a:lnTo>
                <a:lnTo>
                  <a:pt x="4034" y="1817"/>
                </a:lnTo>
                <a:lnTo>
                  <a:pt x="4035" y="1802"/>
                </a:lnTo>
                <a:lnTo>
                  <a:pt x="4037" y="1788"/>
                </a:lnTo>
                <a:lnTo>
                  <a:pt x="4041" y="1773"/>
                </a:lnTo>
                <a:lnTo>
                  <a:pt x="4046" y="1759"/>
                </a:lnTo>
                <a:lnTo>
                  <a:pt x="4053" y="1746"/>
                </a:lnTo>
                <a:lnTo>
                  <a:pt x="4061" y="1733"/>
                </a:lnTo>
                <a:lnTo>
                  <a:pt x="4071" y="1719"/>
                </a:lnTo>
                <a:lnTo>
                  <a:pt x="4081" y="1707"/>
                </a:lnTo>
                <a:lnTo>
                  <a:pt x="4092" y="1696"/>
                </a:lnTo>
                <a:lnTo>
                  <a:pt x="4103" y="1684"/>
                </a:lnTo>
                <a:lnTo>
                  <a:pt x="4117" y="1673"/>
                </a:lnTo>
                <a:lnTo>
                  <a:pt x="4130" y="1664"/>
                </a:lnTo>
                <a:lnTo>
                  <a:pt x="4145" y="1655"/>
                </a:lnTo>
                <a:lnTo>
                  <a:pt x="4145" y="1655"/>
                </a:lnTo>
                <a:lnTo>
                  <a:pt x="4180" y="1674"/>
                </a:lnTo>
                <a:lnTo>
                  <a:pt x="4215" y="1695"/>
                </a:lnTo>
                <a:lnTo>
                  <a:pt x="4251" y="1716"/>
                </a:lnTo>
                <a:lnTo>
                  <a:pt x="4286" y="1740"/>
                </a:lnTo>
                <a:lnTo>
                  <a:pt x="4286" y="1740"/>
                </a:lnTo>
                <a:lnTo>
                  <a:pt x="4307" y="1754"/>
                </a:lnTo>
                <a:lnTo>
                  <a:pt x="4341" y="1779"/>
                </a:lnTo>
                <a:lnTo>
                  <a:pt x="4361" y="1794"/>
                </a:lnTo>
                <a:lnTo>
                  <a:pt x="4382" y="1812"/>
                </a:lnTo>
                <a:lnTo>
                  <a:pt x="4405" y="1832"/>
                </a:lnTo>
                <a:lnTo>
                  <a:pt x="4430" y="1853"/>
                </a:lnTo>
                <a:lnTo>
                  <a:pt x="4453" y="1877"/>
                </a:lnTo>
                <a:lnTo>
                  <a:pt x="4478" y="1901"/>
                </a:lnTo>
                <a:lnTo>
                  <a:pt x="4501" y="1928"/>
                </a:lnTo>
                <a:lnTo>
                  <a:pt x="4524" y="1956"/>
                </a:lnTo>
                <a:lnTo>
                  <a:pt x="4545" y="1985"/>
                </a:lnTo>
                <a:lnTo>
                  <a:pt x="4564" y="2016"/>
                </a:lnTo>
                <a:lnTo>
                  <a:pt x="4574" y="2031"/>
                </a:lnTo>
                <a:lnTo>
                  <a:pt x="4582" y="2047"/>
                </a:lnTo>
                <a:lnTo>
                  <a:pt x="4590" y="2064"/>
                </a:lnTo>
                <a:lnTo>
                  <a:pt x="4596" y="2080"/>
                </a:lnTo>
                <a:lnTo>
                  <a:pt x="4596" y="2080"/>
                </a:lnTo>
                <a:lnTo>
                  <a:pt x="4606" y="2106"/>
                </a:lnTo>
                <a:lnTo>
                  <a:pt x="4616" y="2130"/>
                </a:lnTo>
                <a:lnTo>
                  <a:pt x="4624" y="2155"/>
                </a:lnTo>
                <a:lnTo>
                  <a:pt x="4630" y="2178"/>
                </a:lnTo>
                <a:lnTo>
                  <a:pt x="4636" y="2202"/>
                </a:lnTo>
                <a:lnTo>
                  <a:pt x="4641" y="2224"/>
                </a:lnTo>
                <a:lnTo>
                  <a:pt x="4645" y="2246"/>
                </a:lnTo>
                <a:lnTo>
                  <a:pt x="4649" y="2266"/>
                </a:lnTo>
                <a:lnTo>
                  <a:pt x="4651" y="2287"/>
                </a:lnTo>
                <a:lnTo>
                  <a:pt x="4653" y="2306"/>
                </a:lnTo>
                <a:lnTo>
                  <a:pt x="4654" y="2325"/>
                </a:lnTo>
                <a:lnTo>
                  <a:pt x="4655" y="2343"/>
                </a:lnTo>
                <a:lnTo>
                  <a:pt x="4654" y="2377"/>
                </a:lnTo>
                <a:lnTo>
                  <a:pt x="4652" y="2408"/>
                </a:lnTo>
                <a:lnTo>
                  <a:pt x="4648" y="2437"/>
                </a:lnTo>
                <a:lnTo>
                  <a:pt x="4642" y="2464"/>
                </a:lnTo>
                <a:lnTo>
                  <a:pt x="4635" y="2487"/>
                </a:lnTo>
                <a:lnTo>
                  <a:pt x="4628" y="2509"/>
                </a:lnTo>
                <a:lnTo>
                  <a:pt x="4620" y="2527"/>
                </a:lnTo>
                <a:lnTo>
                  <a:pt x="4612" y="2544"/>
                </a:lnTo>
                <a:lnTo>
                  <a:pt x="4603" y="2559"/>
                </a:lnTo>
                <a:lnTo>
                  <a:pt x="4596" y="2570"/>
                </a:lnTo>
                <a:lnTo>
                  <a:pt x="4596" y="2570"/>
                </a:lnTo>
                <a:lnTo>
                  <a:pt x="4582" y="2590"/>
                </a:lnTo>
                <a:lnTo>
                  <a:pt x="4568" y="2611"/>
                </a:lnTo>
                <a:lnTo>
                  <a:pt x="4553" y="2629"/>
                </a:lnTo>
                <a:lnTo>
                  <a:pt x="4538" y="2648"/>
                </a:lnTo>
                <a:lnTo>
                  <a:pt x="4522" y="2665"/>
                </a:lnTo>
                <a:lnTo>
                  <a:pt x="4505" y="2681"/>
                </a:lnTo>
                <a:lnTo>
                  <a:pt x="4487" y="2697"/>
                </a:lnTo>
                <a:lnTo>
                  <a:pt x="4469" y="2711"/>
                </a:lnTo>
                <a:lnTo>
                  <a:pt x="4450" y="2724"/>
                </a:lnTo>
                <a:lnTo>
                  <a:pt x="4430" y="2736"/>
                </a:lnTo>
                <a:lnTo>
                  <a:pt x="4409" y="2747"/>
                </a:lnTo>
                <a:lnTo>
                  <a:pt x="4388" y="2756"/>
                </a:lnTo>
                <a:lnTo>
                  <a:pt x="4364" y="2764"/>
                </a:lnTo>
                <a:lnTo>
                  <a:pt x="4341" y="2771"/>
                </a:lnTo>
                <a:lnTo>
                  <a:pt x="4316" y="2776"/>
                </a:lnTo>
                <a:lnTo>
                  <a:pt x="4290" y="2779"/>
                </a:lnTo>
                <a:lnTo>
                  <a:pt x="4290" y="2779"/>
                </a:lnTo>
                <a:lnTo>
                  <a:pt x="4283" y="2778"/>
                </a:lnTo>
                <a:lnTo>
                  <a:pt x="4275" y="2778"/>
                </a:lnTo>
                <a:lnTo>
                  <a:pt x="4275" y="2778"/>
                </a:lnTo>
                <a:lnTo>
                  <a:pt x="4242" y="2779"/>
                </a:lnTo>
                <a:lnTo>
                  <a:pt x="4213" y="2779"/>
                </a:lnTo>
                <a:lnTo>
                  <a:pt x="4185" y="2778"/>
                </a:lnTo>
                <a:lnTo>
                  <a:pt x="4159" y="2775"/>
                </a:lnTo>
                <a:lnTo>
                  <a:pt x="4159" y="2775"/>
                </a:lnTo>
                <a:lnTo>
                  <a:pt x="4131" y="2770"/>
                </a:lnTo>
                <a:lnTo>
                  <a:pt x="4103" y="2765"/>
                </a:lnTo>
                <a:lnTo>
                  <a:pt x="4077" y="2758"/>
                </a:lnTo>
                <a:lnTo>
                  <a:pt x="4052" y="2751"/>
                </a:lnTo>
                <a:lnTo>
                  <a:pt x="4052" y="2751"/>
                </a:lnTo>
                <a:lnTo>
                  <a:pt x="4009" y="2736"/>
                </a:lnTo>
                <a:lnTo>
                  <a:pt x="3965" y="2717"/>
                </a:lnTo>
                <a:lnTo>
                  <a:pt x="3965" y="2717"/>
                </a:lnTo>
                <a:lnTo>
                  <a:pt x="3925" y="2697"/>
                </a:lnTo>
                <a:lnTo>
                  <a:pt x="3874" y="2669"/>
                </a:lnTo>
                <a:lnTo>
                  <a:pt x="3846" y="2652"/>
                </a:lnTo>
                <a:lnTo>
                  <a:pt x="3815" y="2632"/>
                </a:lnTo>
                <a:lnTo>
                  <a:pt x="3782" y="2612"/>
                </a:lnTo>
                <a:lnTo>
                  <a:pt x="3748" y="2588"/>
                </a:lnTo>
                <a:lnTo>
                  <a:pt x="3712" y="2564"/>
                </a:lnTo>
                <a:lnTo>
                  <a:pt x="3676" y="2536"/>
                </a:lnTo>
                <a:lnTo>
                  <a:pt x="3638" y="2508"/>
                </a:lnTo>
                <a:lnTo>
                  <a:pt x="3601" y="2477"/>
                </a:lnTo>
                <a:lnTo>
                  <a:pt x="3563" y="2444"/>
                </a:lnTo>
                <a:lnTo>
                  <a:pt x="3526" y="2409"/>
                </a:lnTo>
                <a:lnTo>
                  <a:pt x="3488" y="2373"/>
                </a:lnTo>
                <a:lnTo>
                  <a:pt x="3451" y="2335"/>
                </a:lnTo>
                <a:lnTo>
                  <a:pt x="3451" y="2335"/>
                </a:lnTo>
                <a:lnTo>
                  <a:pt x="3394" y="2271"/>
                </a:lnTo>
                <a:lnTo>
                  <a:pt x="3342" y="2212"/>
                </a:lnTo>
                <a:lnTo>
                  <a:pt x="3295" y="2157"/>
                </a:lnTo>
                <a:lnTo>
                  <a:pt x="3253" y="2107"/>
                </a:lnTo>
                <a:lnTo>
                  <a:pt x="3215" y="2060"/>
                </a:lnTo>
                <a:lnTo>
                  <a:pt x="3180" y="2017"/>
                </a:lnTo>
                <a:lnTo>
                  <a:pt x="3120" y="1940"/>
                </a:lnTo>
                <a:lnTo>
                  <a:pt x="3120" y="1940"/>
                </a:lnTo>
                <a:lnTo>
                  <a:pt x="3138" y="1947"/>
                </a:lnTo>
                <a:lnTo>
                  <a:pt x="3156" y="1953"/>
                </a:lnTo>
                <a:lnTo>
                  <a:pt x="3175" y="1958"/>
                </a:lnTo>
                <a:lnTo>
                  <a:pt x="3193" y="1963"/>
                </a:lnTo>
                <a:lnTo>
                  <a:pt x="3211" y="1966"/>
                </a:lnTo>
                <a:lnTo>
                  <a:pt x="3229" y="1968"/>
                </a:lnTo>
                <a:lnTo>
                  <a:pt x="3262" y="1971"/>
                </a:lnTo>
                <a:lnTo>
                  <a:pt x="3289" y="1971"/>
                </a:lnTo>
                <a:lnTo>
                  <a:pt x="3312" y="1970"/>
                </a:lnTo>
                <a:lnTo>
                  <a:pt x="3332" y="1968"/>
                </a:lnTo>
                <a:lnTo>
                  <a:pt x="3332" y="1968"/>
                </a:lnTo>
                <a:lnTo>
                  <a:pt x="3336" y="1918"/>
                </a:lnTo>
                <a:lnTo>
                  <a:pt x="3338" y="1873"/>
                </a:lnTo>
                <a:lnTo>
                  <a:pt x="3340" y="1833"/>
                </a:lnTo>
                <a:lnTo>
                  <a:pt x="3346" y="1698"/>
                </a:lnTo>
                <a:lnTo>
                  <a:pt x="3346" y="1698"/>
                </a:lnTo>
                <a:lnTo>
                  <a:pt x="3349" y="1661"/>
                </a:lnTo>
                <a:lnTo>
                  <a:pt x="3351" y="1626"/>
                </a:lnTo>
                <a:lnTo>
                  <a:pt x="3352" y="1589"/>
                </a:lnTo>
                <a:lnTo>
                  <a:pt x="3352" y="1589"/>
                </a:lnTo>
                <a:lnTo>
                  <a:pt x="3340" y="1588"/>
                </a:lnTo>
                <a:lnTo>
                  <a:pt x="3307" y="1584"/>
                </a:lnTo>
                <a:lnTo>
                  <a:pt x="3285" y="1581"/>
                </a:lnTo>
                <a:lnTo>
                  <a:pt x="3260" y="1576"/>
                </a:lnTo>
                <a:lnTo>
                  <a:pt x="3233" y="1571"/>
                </a:lnTo>
                <a:lnTo>
                  <a:pt x="3206" y="1564"/>
                </a:lnTo>
                <a:lnTo>
                  <a:pt x="3176" y="1555"/>
                </a:lnTo>
                <a:lnTo>
                  <a:pt x="3147" y="1544"/>
                </a:lnTo>
                <a:lnTo>
                  <a:pt x="3120" y="1532"/>
                </a:lnTo>
                <a:lnTo>
                  <a:pt x="3106" y="1526"/>
                </a:lnTo>
                <a:lnTo>
                  <a:pt x="3093" y="1519"/>
                </a:lnTo>
                <a:lnTo>
                  <a:pt x="3081" y="1511"/>
                </a:lnTo>
                <a:lnTo>
                  <a:pt x="3070" y="1502"/>
                </a:lnTo>
                <a:lnTo>
                  <a:pt x="3058" y="1493"/>
                </a:lnTo>
                <a:lnTo>
                  <a:pt x="3049" y="1484"/>
                </a:lnTo>
                <a:lnTo>
                  <a:pt x="3040" y="1474"/>
                </a:lnTo>
                <a:lnTo>
                  <a:pt x="3032" y="1463"/>
                </a:lnTo>
                <a:lnTo>
                  <a:pt x="3025" y="1451"/>
                </a:lnTo>
                <a:lnTo>
                  <a:pt x="3019" y="1439"/>
                </a:lnTo>
                <a:lnTo>
                  <a:pt x="3019" y="1439"/>
                </a:lnTo>
                <a:lnTo>
                  <a:pt x="3030" y="1445"/>
                </a:lnTo>
                <a:lnTo>
                  <a:pt x="3042" y="1450"/>
                </a:lnTo>
                <a:lnTo>
                  <a:pt x="3059" y="1457"/>
                </a:lnTo>
                <a:lnTo>
                  <a:pt x="3081" y="1465"/>
                </a:lnTo>
                <a:lnTo>
                  <a:pt x="3106" y="1472"/>
                </a:lnTo>
                <a:lnTo>
                  <a:pt x="3136" y="1477"/>
                </a:lnTo>
                <a:lnTo>
                  <a:pt x="3152" y="1479"/>
                </a:lnTo>
                <a:lnTo>
                  <a:pt x="3169" y="1480"/>
                </a:lnTo>
                <a:lnTo>
                  <a:pt x="3169" y="1480"/>
                </a:lnTo>
                <a:lnTo>
                  <a:pt x="3201" y="1481"/>
                </a:lnTo>
                <a:lnTo>
                  <a:pt x="3234" y="1481"/>
                </a:lnTo>
                <a:lnTo>
                  <a:pt x="3266" y="1479"/>
                </a:lnTo>
                <a:lnTo>
                  <a:pt x="3295" y="1477"/>
                </a:lnTo>
                <a:lnTo>
                  <a:pt x="3340" y="1471"/>
                </a:lnTo>
                <a:lnTo>
                  <a:pt x="3357" y="1469"/>
                </a:lnTo>
                <a:lnTo>
                  <a:pt x="3357" y="1469"/>
                </a:lnTo>
                <a:lnTo>
                  <a:pt x="3359" y="1463"/>
                </a:lnTo>
                <a:lnTo>
                  <a:pt x="3361" y="1451"/>
                </a:lnTo>
                <a:lnTo>
                  <a:pt x="3364" y="1421"/>
                </a:lnTo>
                <a:lnTo>
                  <a:pt x="3367" y="1381"/>
                </a:lnTo>
                <a:lnTo>
                  <a:pt x="3369" y="1337"/>
                </a:lnTo>
                <a:lnTo>
                  <a:pt x="3373" y="1257"/>
                </a:lnTo>
                <a:lnTo>
                  <a:pt x="3375" y="1222"/>
                </a:lnTo>
                <a:lnTo>
                  <a:pt x="3375" y="1222"/>
                </a:lnTo>
                <a:lnTo>
                  <a:pt x="3376" y="1194"/>
                </a:lnTo>
                <a:lnTo>
                  <a:pt x="3377" y="1154"/>
                </a:lnTo>
                <a:lnTo>
                  <a:pt x="3377" y="1105"/>
                </a:lnTo>
                <a:lnTo>
                  <a:pt x="3377" y="1105"/>
                </a:lnTo>
                <a:lnTo>
                  <a:pt x="3369" y="1107"/>
                </a:lnTo>
                <a:lnTo>
                  <a:pt x="3359" y="1108"/>
                </a:lnTo>
                <a:lnTo>
                  <a:pt x="3338" y="1110"/>
                </a:lnTo>
                <a:lnTo>
                  <a:pt x="3315" y="1109"/>
                </a:lnTo>
                <a:lnTo>
                  <a:pt x="3290" y="1107"/>
                </a:lnTo>
                <a:lnTo>
                  <a:pt x="3264" y="1104"/>
                </a:lnTo>
                <a:lnTo>
                  <a:pt x="3236" y="1100"/>
                </a:lnTo>
                <a:lnTo>
                  <a:pt x="3208" y="1094"/>
                </a:lnTo>
                <a:lnTo>
                  <a:pt x="3178" y="1086"/>
                </a:lnTo>
                <a:lnTo>
                  <a:pt x="3178" y="1086"/>
                </a:lnTo>
                <a:lnTo>
                  <a:pt x="3158" y="1080"/>
                </a:lnTo>
                <a:lnTo>
                  <a:pt x="3135" y="1071"/>
                </a:lnTo>
                <a:lnTo>
                  <a:pt x="3112" y="1059"/>
                </a:lnTo>
                <a:lnTo>
                  <a:pt x="3088" y="1044"/>
                </a:lnTo>
                <a:lnTo>
                  <a:pt x="3064" y="1028"/>
                </a:lnTo>
                <a:lnTo>
                  <a:pt x="3053" y="1019"/>
                </a:lnTo>
                <a:lnTo>
                  <a:pt x="3043" y="1010"/>
                </a:lnTo>
                <a:lnTo>
                  <a:pt x="3034" y="999"/>
                </a:lnTo>
                <a:lnTo>
                  <a:pt x="3025" y="990"/>
                </a:lnTo>
                <a:lnTo>
                  <a:pt x="3017" y="980"/>
                </a:lnTo>
                <a:lnTo>
                  <a:pt x="3010" y="969"/>
                </a:lnTo>
                <a:lnTo>
                  <a:pt x="3010" y="969"/>
                </a:lnTo>
                <a:lnTo>
                  <a:pt x="3022" y="974"/>
                </a:lnTo>
                <a:lnTo>
                  <a:pt x="3035" y="978"/>
                </a:lnTo>
                <a:lnTo>
                  <a:pt x="3052" y="984"/>
                </a:lnTo>
                <a:lnTo>
                  <a:pt x="3075" y="990"/>
                </a:lnTo>
                <a:lnTo>
                  <a:pt x="3101" y="996"/>
                </a:lnTo>
                <a:lnTo>
                  <a:pt x="3132" y="1003"/>
                </a:lnTo>
                <a:lnTo>
                  <a:pt x="3167" y="1008"/>
                </a:lnTo>
                <a:lnTo>
                  <a:pt x="3167" y="1008"/>
                </a:lnTo>
                <a:lnTo>
                  <a:pt x="3187" y="1010"/>
                </a:lnTo>
                <a:lnTo>
                  <a:pt x="3207" y="1011"/>
                </a:lnTo>
                <a:lnTo>
                  <a:pt x="3226" y="1012"/>
                </a:lnTo>
                <a:lnTo>
                  <a:pt x="3245" y="1012"/>
                </a:lnTo>
                <a:lnTo>
                  <a:pt x="3283" y="1010"/>
                </a:lnTo>
                <a:lnTo>
                  <a:pt x="3317" y="1007"/>
                </a:lnTo>
                <a:lnTo>
                  <a:pt x="3346" y="1001"/>
                </a:lnTo>
                <a:lnTo>
                  <a:pt x="3369" y="996"/>
                </a:lnTo>
                <a:lnTo>
                  <a:pt x="3377" y="993"/>
                </a:lnTo>
                <a:lnTo>
                  <a:pt x="3383" y="991"/>
                </a:lnTo>
                <a:lnTo>
                  <a:pt x="3388" y="988"/>
                </a:lnTo>
                <a:lnTo>
                  <a:pt x="3390" y="985"/>
                </a:lnTo>
                <a:lnTo>
                  <a:pt x="3390" y="985"/>
                </a:lnTo>
                <a:lnTo>
                  <a:pt x="3392" y="959"/>
                </a:lnTo>
                <a:lnTo>
                  <a:pt x="3393" y="925"/>
                </a:lnTo>
                <a:lnTo>
                  <a:pt x="3394" y="848"/>
                </a:lnTo>
                <a:lnTo>
                  <a:pt x="3394" y="750"/>
                </a:lnTo>
                <a:lnTo>
                  <a:pt x="3394" y="750"/>
                </a:lnTo>
                <a:lnTo>
                  <a:pt x="3399" y="686"/>
                </a:lnTo>
                <a:lnTo>
                  <a:pt x="3400" y="642"/>
                </a:lnTo>
                <a:lnTo>
                  <a:pt x="3400" y="627"/>
                </a:lnTo>
                <a:lnTo>
                  <a:pt x="3399" y="623"/>
                </a:lnTo>
                <a:lnTo>
                  <a:pt x="3398" y="622"/>
                </a:lnTo>
                <a:lnTo>
                  <a:pt x="3398" y="622"/>
                </a:lnTo>
                <a:lnTo>
                  <a:pt x="3392" y="622"/>
                </a:lnTo>
                <a:lnTo>
                  <a:pt x="3381" y="623"/>
                </a:lnTo>
                <a:lnTo>
                  <a:pt x="3368" y="623"/>
                </a:lnTo>
                <a:lnTo>
                  <a:pt x="3354" y="622"/>
                </a:lnTo>
                <a:lnTo>
                  <a:pt x="3336" y="620"/>
                </a:lnTo>
                <a:lnTo>
                  <a:pt x="3317" y="617"/>
                </a:lnTo>
                <a:lnTo>
                  <a:pt x="3297" y="612"/>
                </a:lnTo>
                <a:lnTo>
                  <a:pt x="3274" y="607"/>
                </a:lnTo>
                <a:lnTo>
                  <a:pt x="3251" y="599"/>
                </a:lnTo>
                <a:lnTo>
                  <a:pt x="3226" y="589"/>
                </a:lnTo>
                <a:lnTo>
                  <a:pt x="3200" y="578"/>
                </a:lnTo>
                <a:lnTo>
                  <a:pt x="3175" y="564"/>
                </a:lnTo>
                <a:lnTo>
                  <a:pt x="3149" y="548"/>
                </a:lnTo>
                <a:lnTo>
                  <a:pt x="3123" y="529"/>
                </a:lnTo>
                <a:lnTo>
                  <a:pt x="3110" y="519"/>
                </a:lnTo>
                <a:lnTo>
                  <a:pt x="3097" y="508"/>
                </a:lnTo>
                <a:lnTo>
                  <a:pt x="3085" y="495"/>
                </a:lnTo>
                <a:lnTo>
                  <a:pt x="3073" y="483"/>
                </a:lnTo>
                <a:lnTo>
                  <a:pt x="3073" y="483"/>
                </a:lnTo>
                <a:lnTo>
                  <a:pt x="3071" y="481"/>
                </a:lnTo>
                <a:lnTo>
                  <a:pt x="3065" y="476"/>
                </a:lnTo>
                <a:lnTo>
                  <a:pt x="3059" y="467"/>
                </a:lnTo>
                <a:lnTo>
                  <a:pt x="3056" y="461"/>
                </a:lnTo>
                <a:lnTo>
                  <a:pt x="3053" y="454"/>
                </a:lnTo>
                <a:lnTo>
                  <a:pt x="3051" y="447"/>
                </a:lnTo>
                <a:lnTo>
                  <a:pt x="3050" y="439"/>
                </a:lnTo>
                <a:lnTo>
                  <a:pt x="3049" y="430"/>
                </a:lnTo>
                <a:lnTo>
                  <a:pt x="3050" y="420"/>
                </a:lnTo>
                <a:lnTo>
                  <a:pt x="3053" y="410"/>
                </a:lnTo>
                <a:lnTo>
                  <a:pt x="3056" y="398"/>
                </a:lnTo>
                <a:lnTo>
                  <a:pt x="3062" y="386"/>
                </a:lnTo>
                <a:lnTo>
                  <a:pt x="3071" y="373"/>
                </a:lnTo>
                <a:lnTo>
                  <a:pt x="3071" y="373"/>
                </a:lnTo>
                <a:lnTo>
                  <a:pt x="2806" y="254"/>
                </a:lnTo>
                <a:lnTo>
                  <a:pt x="2806" y="254"/>
                </a:lnTo>
                <a:lnTo>
                  <a:pt x="2815" y="245"/>
                </a:lnTo>
                <a:lnTo>
                  <a:pt x="2824" y="234"/>
                </a:lnTo>
                <a:lnTo>
                  <a:pt x="2834" y="219"/>
                </a:lnTo>
                <a:lnTo>
                  <a:pt x="2845" y="203"/>
                </a:lnTo>
                <a:lnTo>
                  <a:pt x="2850" y="194"/>
                </a:lnTo>
                <a:lnTo>
                  <a:pt x="2854" y="185"/>
                </a:lnTo>
                <a:lnTo>
                  <a:pt x="2858" y="174"/>
                </a:lnTo>
                <a:lnTo>
                  <a:pt x="2861" y="164"/>
                </a:lnTo>
                <a:lnTo>
                  <a:pt x="2863" y="154"/>
                </a:lnTo>
                <a:lnTo>
                  <a:pt x="2863" y="144"/>
                </a:lnTo>
                <a:lnTo>
                  <a:pt x="2863" y="144"/>
                </a:lnTo>
                <a:lnTo>
                  <a:pt x="2863" y="132"/>
                </a:lnTo>
                <a:lnTo>
                  <a:pt x="2860" y="122"/>
                </a:lnTo>
                <a:lnTo>
                  <a:pt x="2855" y="112"/>
                </a:lnTo>
                <a:lnTo>
                  <a:pt x="2849" y="103"/>
                </a:lnTo>
                <a:lnTo>
                  <a:pt x="2841" y="94"/>
                </a:lnTo>
                <a:lnTo>
                  <a:pt x="2830" y="86"/>
                </a:lnTo>
                <a:lnTo>
                  <a:pt x="2820" y="79"/>
                </a:lnTo>
                <a:lnTo>
                  <a:pt x="2808" y="73"/>
                </a:lnTo>
                <a:lnTo>
                  <a:pt x="2795" y="68"/>
                </a:lnTo>
                <a:lnTo>
                  <a:pt x="2781" y="64"/>
                </a:lnTo>
                <a:lnTo>
                  <a:pt x="2767" y="60"/>
                </a:lnTo>
                <a:lnTo>
                  <a:pt x="2753" y="58"/>
                </a:lnTo>
                <a:lnTo>
                  <a:pt x="2738" y="56"/>
                </a:lnTo>
                <a:lnTo>
                  <a:pt x="2723" y="56"/>
                </a:lnTo>
                <a:lnTo>
                  <a:pt x="2709" y="57"/>
                </a:lnTo>
                <a:lnTo>
                  <a:pt x="2694" y="59"/>
                </a:lnTo>
                <a:lnTo>
                  <a:pt x="2694" y="59"/>
                </a:lnTo>
                <a:lnTo>
                  <a:pt x="2681" y="62"/>
                </a:lnTo>
                <a:lnTo>
                  <a:pt x="2669" y="66"/>
                </a:lnTo>
                <a:lnTo>
                  <a:pt x="2656" y="71"/>
                </a:lnTo>
                <a:lnTo>
                  <a:pt x="2644" y="77"/>
                </a:lnTo>
                <a:lnTo>
                  <a:pt x="2634" y="84"/>
                </a:lnTo>
                <a:lnTo>
                  <a:pt x="2623" y="92"/>
                </a:lnTo>
                <a:lnTo>
                  <a:pt x="2604" y="107"/>
                </a:lnTo>
                <a:lnTo>
                  <a:pt x="2589" y="122"/>
                </a:lnTo>
                <a:lnTo>
                  <a:pt x="2578" y="134"/>
                </a:lnTo>
                <a:lnTo>
                  <a:pt x="2569" y="147"/>
                </a:lnTo>
                <a:lnTo>
                  <a:pt x="2238" y="0"/>
                </a:lnTo>
                <a:lnTo>
                  <a:pt x="1977" y="263"/>
                </a:lnTo>
                <a:lnTo>
                  <a:pt x="1977" y="263"/>
                </a:lnTo>
                <a:lnTo>
                  <a:pt x="1972" y="268"/>
                </a:lnTo>
                <a:lnTo>
                  <a:pt x="1966" y="280"/>
                </a:lnTo>
                <a:lnTo>
                  <a:pt x="1963" y="287"/>
                </a:lnTo>
                <a:lnTo>
                  <a:pt x="1961" y="295"/>
                </a:lnTo>
                <a:lnTo>
                  <a:pt x="1960" y="304"/>
                </a:lnTo>
                <a:lnTo>
                  <a:pt x="1960" y="313"/>
                </a:lnTo>
                <a:lnTo>
                  <a:pt x="1964" y="337"/>
                </a:lnTo>
                <a:lnTo>
                  <a:pt x="1964" y="337"/>
                </a:lnTo>
                <a:lnTo>
                  <a:pt x="1964" y="343"/>
                </a:lnTo>
                <a:lnTo>
                  <a:pt x="1963" y="349"/>
                </a:lnTo>
                <a:lnTo>
                  <a:pt x="1962" y="354"/>
                </a:lnTo>
                <a:lnTo>
                  <a:pt x="1961" y="358"/>
                </a:lnTo>
                <a:lnTo>
                  <a:pt x="1957" y="366"/>
                </a:lnTo>
                <a:lnTo>
                  <a:pt x="1955" y="370"/>
                </a:lnTo>
                <a:lnTo>
                  <a:pt x="1955" y="370"/>
                </a:lnTo>
                <a:lnTo>
                  <a:pt x="1936" y="392"/>
                </a:lnTo>
                <a:lnTo>
                  <a:pt x="1916" y="416"/>
                </a:lnTo>
                <a:lnTo>
                  <a:pt x="1896" y="438"/>
                </a:lnTo>
                <a:lnTo>
                  <a:pt x="1876" y="461"/>
                </a:lnTo>
                <a:lnTo>
                  <a:pt x="1876" y="461"/>
                </a:lnTo>
                <a:lnTo>
                  <a:pt x="1847" y="499"/>
                </a:lnTo>
                <a:lnTo>
                  <a:pt x="1836" y="515"/>
                </a:lnTo>
                <a:lnTo>
                  <a:pt x="1828" y="527"/>
                </a:lnTo>
                <a:lnTo>
                  <a:pt x="1828" y="527"/>
                </a:lnTo>
                <a:lnTo>
                  <a:pt x="1819" y="542"/>
                </a:lnTo>
                <a:lnTo>
                  <a:pt x="1811" y="558"/>
                </a:lnTo>
                <a:lnTo>
                  <a:pt x="1799" y="583"/>
                </a:lnTo>
                <a:lnTo>
                  <a:pt x="1789" y="607"/>
                </a:lnTo>
                <a:lnTo>
                  <a:pt x="1781" y="628"/>
                </a:lnTo>
                <a:lnTo>
                  <a:pt x="1781" y="628"/>
                </a:lnTo>
                <a:lnTo>
                  <a:pt x="1780" y="631"/>
                </a:lnTo>
                <a:lnTo>
                  <a:pt x="1778" y="642"/>
                </a:lnTo>
                <a:lnTo>
                  <a:pt x="1778" y="649"/>
                </a:lnTo>
                <a:lnTo>
                  <a:pt x="1777" y="657"/>
                </a:lnTo>
                <a:lnTo>
                  <a:pt x="1778" y="666"/>
                </a:lnTo>
                <a:lnTo>
                  <a:pt x="1780" y="677"/>
                </a:lnTo>
                <a:lnTo>
                  <a:pt x="1784" y="690"/>
                </a:lnTo>
                <a:lnTo>
                  <a:pt x="1789" y="703"/>
                </a:lnTo>
                <a:lnTo>
                  <a:pt x="1797" y="716"/>
                </a:lnTo>
                <a:lnTo>
                  <a:pt x="1807" y="732"/>
                </a:lnTo>
                <a:lnTo>
                  <a:pt x="1819" y="748"/>
                </a:lnTo>
                <a:lnTo>
                  <a:pt x="1833" y="764"/>
                </a:lnTo>
                <a:lnTo>
                  <a:pt x="1852" y="782"/>
                </a:lnTo>
                <a:lnTo>
                  <a:pt x="1874" y="800"/>
                </a:lnTo>
                <a:lnTo>
                  <a:pt x="1881" y="806"/>
                </a:lnTo>
                <a:lnTo>
                  <a:pt x="1881" y="806"/>
                </a:lnTo>
                <a:lnTo>
                  <a:pt x="1894" y="789"/>
                </a:lnTo>
                <a:lnTo>
                  <a:pt x="1905" y="800"/>
                </a:lnTo>
                <a:lnTo>
                  <a:pt x="1905" y="800"/>
                </a:lnTo>
                <a:lnTo>
                  <a:pt x="1914" y="809"/>
                </a:lnTo>
                <a:lnTo>
                  <a:pt x="1926" y="820"/>
                </a:lnTo>
                <a:lnTo>
                  <a:pt x="1941" y="832"/>
                </a:lnTo>
                <a:lnTo>
                  <a:pt x="1957" y="842"/>
                </a:lnTo>
                <a:lnTo>
                  <a:pt x="1957" y="842"/>
                </a:lnTo>
                <a:lnTo>
                  <a:pt x="1959" y="835"/>
                </a:lnTo>
                <a:lnTo>
                  <a:pt x="1964" y="815"/>
                </a:lnTo>
                <a:lnTo>
                  <a:pt x="1969" y="802"/>
                </a:lnTo>
                <a:lnTo>
                  <a:pt x="1975" y="789"/>
                </a:lnTo>
                <a:lnTo>
                  <a:pt x="1983" y="775"/>
                </a:lnTo>
                <a:lnTo>
                  <a:pt x="1991" y="760"/>
                </a:lnTo>
                <a:lnTo>
                  <a:pt x="1991" y="760"/>
                </a:lnTo>
                <a:lnTo>
                  <a:pt x="2000" y="748"/>
                </a:lnTo>
                <a:lnTo>
                  <a:pt x="2011" y="736"/>
                </a:lnTo>
                <a:lnTo>
                  <a:pt x="2025" y="722"/>
                </a:lnTo>
                <a:lnTo>
                  <a:pt x="2038" y="709"/>
                </a:lnTo>
                <a:lnTo>
                  <a:pt x="2052" y="697"/>
                </a:lnTo>
                <a:lnTo>
                  <a:pt x="2065" y="686"/>
                </a:lnTo>
                <a:lnTo>
                  <a:pt x="2080" y="675"/>
                </a:lnTo>
                <a:lnTo>
                  <a:pt x="2092" y="667"/>
                </a:lnTo>
                <a:lnTo>
                  <a:pt x="2092" y="667"/>
                </a:lnTo>
                <a:lnTo>
                  <a:pt x="2107" y="658"/>
                </a:lnTo>
                <a:lnTo>
                  <a:pt x="2123" y="650"/>
                </a:lnTo>
                <a:lnTo>
                  <a:pt x="2138" y="643"/>
                </a:lnTo>
                <a:lnTo>
                  <a:pt x="2154" y="636"/>
                </a:lnTo>
                <a:lnTo>
                  <a:pt x="2170" y="632"/>
                </a:lnTo>
                <a:lnTo>
                  <a:pt x="2186" y="629"/>
                </a:lnTo>
                <a:lnTo>
                  <a:pt x="2202" y="626"/>
                </a:lnTo>
                <a:lnTo>
                  <a:pt x="2220" y="625"/>
                </a:lnTo>
                <a:lnTo>
                  <a:pt x="2220" y="625"/>
                </a:lnTo>
                <a:lnTo>
                  <a:pt x="2234" y="626"/>
                </a:lnTo>
                <a:lnTo>
                  <a:pt x="2247" y="627"/>
                </a:lnTo>
                <a:lnTo>
                  <a:pt x="2261" y="630"/>
                </a:lnTo>
                <a:lnTo>
                  <a:pt x="2272" y="635"/>
                </a:lnTo>
                <a:lnTo>
                  <a:pt x="2283" y="642"/>
                </a:lnTo>
                <a:lnTo>
                  <a:pt x="2295" y="649"/>
                </a:lnTo>
                <a:lnTo>
                  <a:pt x="2305" y="658"/>
                </a:lnTo>
                <a:lnTo>
                  <a:pt x="2316" y="668"/>
                </a:lnTo>
                <a:lnTo>
                  <a:pt x="2316" y="668"/>
                </a:lnTo>
                <a:lnTo>
                  <a:pt x="2323" y="676"/>
                </a:lnTo>
                <a:lnTo>
                  <a:pt x="2330" y="687"/>
                </a:lnTo>
                <a:lnTo>
                  <a:pt x="2336" y="698"/>
                </a:lnTo>
                <a:lnTo>
                  <a:pt x="2342" y="710"/>
                </a:lnTo>
                <a:lnTo>
                  <a:pt x="2347" y="722"/>
                </a:lnTo>
                <a:lnTo>
                  <a:pt x="2351" y="736"/>
                </a:lnTo>
                <a:lnTo>
                  <a:pt x="2355" y="750"/>
                </a:lnTo>
                <a:lnTo>
                  <a:pt x="2358" y="764"/>
                </a:lnTo>
                <a:lnTo>
                  <a:pt x="2360" y="778"/>
                </a:lnTo>
                <a:lnTo>
                  <a:pt x="2362" y="792"/>
                </a:lnTo>
                <a:lnTo>
                  <a:pt x="2363" y="805"/>
                </a:lnTo>
                <a:lnTo>
                  <a:pt x="2364" y="818"/>
                </a:lnTo>
                <a:lnTo>
                  <a:pt x="2364" y="831"/>
                </a:lnTo>
                <a:lnTo>
                  <a:pt x="2363" y="842"/>
                </a:lnTo>
                <a:lnTo>
                  <a:pt x="2361" y="852"/>
                </a:lnTo>
                <a:lnTo>
                  <a:pt x="2359" y="861"/>
                </a:lnTo>
                <a:lnTo>
                  <a:pt x="2359" y="861"/>
                </a:lnTo>
                <a:lnTo>
                  <a:pt x="2330" y="843"/>
                </a:lnTo>
                <a:lnTo>
                  <a:pt x="2330" y="843"/>
                </a:lnTo>
                <a:lnTo>
                  <a:pt x="2309" y="832"/>
                </a:lnTo>
                <a:lnTo>
                  <a:pt x="2281" y="822"/>
                </a:lnTo>
                <a:lnTo>
                  <a:pt x="2266" y="815"/>
                </a:lnTo>
                <a:lnTo>
                  <a:pt x="2251" y="811"/>
                </a:lnTo>
                <a:lnTo>
                  <a:pt x="2233" y="807"/>
                </a:lnTo>
                <a:lnTo>
                  <a:pt x="2215" y="803"/>
                </a:lnTo>
                <a:lnTo>
                  <a:pt x="2195" y="801"/>
                </a:lnTo>
                <a:lnTo>
                  <a:pt x="2175" y="800"/>
                </a:lnTo>
                <a:lnTo>
                  <a:pt x="2154" y="800"/>
                </a:lnTo>
                <a:lnTo>
                  <a:pt x="2132" y="802"/>
                </a:lnTo>
                <a:lnTo>
                  <a:pt x="2109" y="805"/>
                </a:lnTo>
                <a:lnTo>
                  <a:pt x="2086" y="810"/>
                </a:lnTo>
                <a:lnTo>
                  <a:pt x="2062" y="818"/>
                </a:lnTo>
                <a:lnTo>
                  <a:pt x="2037" y="829"/>
                </a:lnTo>
                <a:lnTo>
                  <a:pt x="2037" y="829"/>
                </a:lnTo>
                <a:lnTo>
                  <a:pt x="1995" y="847"/>
                </a:lnTo>
                <a:lnTo>
                  <a:pt x="1967" y="859"/>
                </a:lnTo>
                <a:lnTo>
                  <a:pt x="1936" y="872"/>
                </a:lnTo>
                <a:lnTo>
                  <a:pt x="1900" y="886"/>
                </a:lnTo>
                <a:lnTo>
                  <a:pt x="1860" y="900"/>
                </a:lnTo>
                <a:lnTo>
                  <a:pt x="1814" y="916"/>
                </a:lnTo>
                <a:lnTo>
                  <a:pt x="1764" y="931"/>
                </a:lnTo>
                <a:lnTo>
                  <a:pt x="1764" y="931"/>
                </a:lnTo>
                <a:lnTo>
                  <a:pt x="1737" y="938"/>
                </a:lnTo>
                <a:lnTo>
                  <a:pt x="1725" y="940"/>
                </a:lnTo>
                <a:lnTo>
                  <a:pt x="1713" y="941"/>
                </a:lnTo>
                <a:lnTo>
                  <a:pt x="1701" y="941"/>
                </a:lnTo>
                <a:lnTo>
                  <a:pt x="1691" y="941"/>
                </a:lnTo>
                <a:lnTo>
                  <a:pt x="1681" y="940"/>
                </a:lnTo>
                <a:lnTo>
                  <a:pt x="1672" y="938"/>
                </a:lnTo>
                <a:lnTo>
                  <a:pt x="1664" y="935"/>
                </a:lnTo>
                <a:lnTo>
                  <a:pt x="1655" y="930"/>
                </a:lnTo>
                <a:lnTo>
                  <a:pt x="1649" y="925"/>
                </a:lnTo>
                <a:lnTo>
                  <a:pt x="1642" y="919"/>
                </a:lnTo>
                <a:lnTo>
                  <a:pt x="1637" y="912"/>
                </a:lnTo>
                <a:lnTo>
                  <a:pt x="1633" y="902"/>
                </a:lnTo>
                <a:lnTo>
                  <a:pt x="1629" y="892"/>
                </a:lnTo>
                <a:lnTo>
                  <a:pt x="1626" y="881"/>
                </a:lnTo>
                <a:lnTo>
                  <a:pt x="1626" y="881"/>
                </a:lnTo>
                <a:lnTo>
                  <a:pt x="1624" y="871"/>
                </a:lnTo>
                <a:lnTo>
                  <a:pt x="1623" y="860"/>
                </a:lnTo>
                <a:lnTo>
                  <a:pt x="1623" y="851"/>
                </a:lnTo>
                <a:lnTo>
                  <a:pt x="1623" y="842"/>
                </a:lnTo>
                <a:lnTo>
                  <a:pt x="1625" y="826"/>
                </a:lnTo>
                <a:lnTo>
                  <a:pt x="1629" y="811"/>
                </a:lnTo>
                <a:lnTo>
                  <a:pt x="1633" y="800"/>
                </a:lnTo>
                <a:lnTo>
                  <a:pt x="1636" y="792"/>
                </a:lnTo>
                <a:lnTo>
                  <a:pt x="1640" y="784"/>
                </a:lnTo>
                <a:lnTo>
                  <a:pt x="1640" y="784"/>
                </a:lnTo>
                <a:lnTo>
                  <a:pt x="1636" y="785"/>
                </a:lnTo>
                <a:lnTo>
                  <a:pt x="1626" y="788"/>
                </a:lnTo>
                <a:lnTo>
                  <a:pt x="1610" y="794"/>
                </a:lnTo>
                <a:lnTo>
                  <a:pt x="1601" y="797"/>
                </a:lnTo>
                <a:lnTo>
                  <a:pt x="1592" y="802"/>
                </a:lnTo>
                <a:lnTo>
                  <a:pt x="1582" y="808"/>
                </a:lnTo>
                <a:lnTo>
                  <a:pt x="1573" y="814"/>
                </a:lnTo>
                <a:lnTo>
                  <a:pt x="1563" y="823"/>
                </a:lnTo>
                <a:lnTo>
                  <a:pt x="1554" y="832"/>
                </a:lnTo>
                <a:lnTo>
                  <a:pt x="1546" y="842"/>
                </a:lnTo>
                <a:lnTo>
                  <a:pt x="1539" y="853"/>
                </a:lnTo>
                <a:lnTo>
                  <a:pt x="1533" y="867"/>
                </a:lnTo>
                <a:lnTo>
                  <a:pt x="1528" y="881"/>
                </a:lnTo>
                <a:lnTo>
                  <a:pt x="1528" y="881"/>
                </a:lnTo>
                <a:lnTo>
                  <a:pt x="1525" y="896"/>
                </a:lnTo>
                <a:lnTo>
                  <a:pt x="1523" y="912"/>
                </a:lnTo>
                <a:lnTo>
                  <a:pt x="1523" y="927"/>
                </a:lnTo>
                <a:lnTo>
                  <a:pt x="1523" y="941"/>
                </a:lnTo>
                <a:lnTo>
                  <a:pt x="1524" y="954"/>
                </a:lnTo>
                <a:lnTo>
                  <a:pt x="1527" y="969"/>
                </a:lnTo>
                <a:lnTo>
                  <a:pt x="1531" y="981"/>
                </a:lnTo>
                <a:lnTo>
                  <a:pt x="1536" y="993"/>
                </a:lnTo>
                <a:lnTo>
                  <a:pt x="1542" y="1006"/>
                </a:lnTo>
                <a:lnTo>
                  <a:pt x="1549" y="1016"/>
                </a:lnTo>
                <a:lnTo>
                  <a:pt x="1557" y="1026"/>
                </a:lnTo>
                <a:lnTo>
                  <a:pt x="1568" y="1034"/>
                </a:lnTo>
                <a:lnTo>
                  <a:pt x="1578" y="1042"/>
                </a:lnTo>
                <a:lnTo>
                  <a:pt x="1590" y="1049"/>
                </a:lnTo>
                <a:lnTo>
                  <a:pt x="1602" y="1055"/>
                </a:lnTo>
                <a:lnTo>
                  <a:pt x="1617" y="1059"/>
                </a:lnTo>
                <a:lnTo>
                  <a:pt x="1617" y="1059"/>
                </a:lnTo>
                <a:lnTo>
                  <a:pt x="1630" y="1062"/>
                </a:lnTo>
                <a:lnTo>
                  <a:pt x="1644" y="1063"/>
                </a:lnTo>
                <a:lnTo>
                  <a:pt x="1660" y="1062"/>
                </a:lnTo>
                <a:lnTo>
                  <a:pt x="1676" y="1060"/>
                </a:lnTo>
                <a:lnTo>
                  <a:pt x="1692" y="1058"/>
                </a:lnTo>
                <a:lnTo>
                  <a:pt x="1710" y="1054"/>
                </a:lnTo>
                <a:lnTo>
                  <a:pt x="1727" y="1049"/>
                </a:lnTo>
                <a:lnTo>
                  <a:pt x="1744" y="1043"/>
                </a:lnTo>
                <a:lnTo>
                  <a:pt x="1779" y="1029"/>
                </a:lnTo>
                <a:lnTo>
                  <a:pt x="1815" y="1014"/>
                </a:lnTo>
                <a:lnTo>
                  <a:pt x="1849" y="997"/>
                </a:lnTo>
                <a:lnTo>
                  <a:pt x="1880" y="981"/>
                </a:lnTo>
                <a:lnTo>
                  <a:pt x="1880" y="981"/>
                </a:lnTo>
                <a:lnTo>
                  <a:pt x="1942" y="949"/>
                </a:lnTo>
                <a:lnTo>
                  <a:pt x="1979" y="931"/>
                </a:lnTo>
                <a:lnTo>
                  <a:pt x="2013" y="915"/>
                </a:lnTo>
                <a:lnTo>
                  <a:pt x="2013" y="915"/>
                </a:lnTo>
                <a:lnTo>
                  <a:pt x="2041" y="903"/>
                </a:lnTo>
                <a:lnTo>
                  <a:pt x="2054" y="899"/>
                </a:lnTo>
                <a:lnTo>
                  <a:pt x="2068" y="895"/>
                </a:lnTo>
                <a:lnTo>
                  <a:pt x="2081" y="892"/>
                </a:lnTo>
                <a:lnTo>
                  <a:pt x="2093" y="890"/>
                </a:lnTo>
                <a:lnTo>
                  <a:pt x="2105" y="888"/>
                </a:lnTo>
                <a:lnTo>
                  <a:pt x="2119" y="888"/>
                </a:lnTo>
                <a:lnTo>
                  <a:pt x="2131" y="888"/>
                </a:lnTo>
                <a:lnTo>
                  <a:pt x="2143" y="889"/>
                </a:lnTo>
                <a:lnTo>
                  <a:pt x="2156" y="891"/>
                </a:lnTo>
                <a:lnTo>
                  <a:pt x="2170" y="893"/>
                </a:lnTo>
                <a:lnTo>
                  <a:pt x="2183" y="897"/>
                </a:lnTo>
                <a:lnTo>
                  <a:pt x="2196" y="901"/>
                </a:lnTo>
                <a:lnTo>
                  <a:pt x="2211" y="907"/>
                </a:lnTo>
                <a:lnTo>
                  <a:pt x="2226" y="914"/>
                </a:lnTo>
                <a:lnTo>
                  <a:pt x="2226" y="914"/>
                </a:lnTo>
                <a:lnTo>
                  <a:pt x="2246" y="924"/>
                </a:lnTo>
                <a:lnTo>
                  <a:pt x="2265" y="934"/>
                </a:lnTo>
                <a:lnTo>
                  <a:pt x="2281" y="945"/>
                </a:lnTo>
                <a:lnTo>
                  <a:pt x="2295" y="954"/>
                </a:lnTo>
                <a:lnTo>
                  <a:pt x="2305" y="964"/>
                </a:lnTo>
                <a:lnTo>
                  <a:pt x="2312" y="971"/>
                </a:lnTo>
                <a:lnTo>
                  <a:pt x="2319" y="977"/>
                </a:lnTo>
                <a:lnTo>
                  <a:pt x="2319" y="977"/>
                </a:lnTo>
                <a:lnTo>
                  <a:pt x="2317" y="980"/>
                </a:lnTo>
                <a:lnTo>
                  <a:pt x="2313" y="987"/>
                </a:lnTo>
                <a:lnTo>
                  <a:pt x="2305" y="998"/>
                </a:lnTo>
                <a:lnTo>
                  <a:pt x="2300" y="1005"/>
                </a:lnTo>
                <a:lnTo>
                  <a:pt x="2293" y="1012"/>
                </a:lnTo>
                <a:lnTo>
                  <a:pt x="2285" y="1018"/>
                </a:lnTo>
                <a:lnTo>
                  <a:pt x="2276" y="1025"/>
                </a:lnTo>
                <a:lnTo>
                  <a:pt x="2267" y="1031"/>
                </a:lnTo>
                <a:lnTo>
                  <a:pt x="2255" y="1036"/>
                </a:lnTo>
                <a:lnTo>
                  <a:pt x="2242" y="1041"/>
                </a:lnTo>
                <a:lnTo>
                  <a:pt x="2228" y="1045"/>
                </a:lnTo>
                <a:lnTo>
                  <a:pt x="2212" y="1049"/>
                </a:lnTo>
                <a:lnTo>
                  <a:pt x="2194" y="1050"/>
                </a:lnTo>
                <a:lnTo>
                  <a:pt x="2194" y="1050"/>
                </a:lnTo>
                <a:lnTo>
                  <a:pt x="2180" y="1051"/>
                </a:lnTo>
                <a:lnTo>
                  <a:pt x="2166" y="1050"/>
                </a:lnTo>
                <a:lnTo>
                  <a:pt x="2152" y="1048"/>
                </a:lnTo>
                <a:lnTo>
                  <a:pt x="2139" y="1044"/>
                </a:lnTo>
                <a:lnTo>
                  <a:pt x="2127" y="1041"/>
                </a:lnTo>
                <a:lnTo>
                  <a:pt x="2115" y="1037"/>
                </a:lnTo>
                <a:lnTo>
                  <a:pt x="2103" y="1033"/>
                </a:lnTo>
                <a:lnTo>
                  <a:pt x="2092" y="1027"/>
                </a:lnTo>
                <a:lnTo>
                  <a:pt x="2082" y="1022"/>
                </a:lnTo>
                <a:lnTo>
                  <a:pt x="2073" y="1016"/>
                </a:lnTo>
                <a:lnTo>
                  <a:pt x="2064" y="1010"/>
                </a:lnTo>
                <a:lnTo>
                  <a:pt x="2056" y="1003"/>
                </a:lnTo>
                <a:lnTo>
                  <a:pt x="2048" y="995"/>
                </a:lnTo>
                <a:lnTo>
                  <a:pt x="2042" y="988"/>
                </a:lnTo>
                <a:lnTo>
                  <a:pt x="2036" y="981"/>
                </a:lnTo>
                <a:lnTo>
                  <a:pt x="2031" y="974"/>
                </a:lnTo>
                <a:lnTo>
                  <a:pt x="2031" y="974"/>
                </a:lnTo>
                <a:lnTo>
                  <a:pt x="2022" y="996"/>
                </a:lnTo>
                <a:lnTo>
                  <a:pt x="2013" y="1014"/>
                </a:lnTo>
                <a:lnTo>
                  <a:pt x="2007" y="1027"/>
                </a:lnTo>
                <a:lnTo>
                  <a:pt x="2007" y="1027"/>
                </a:lnTo>
                <a:lnTo>
                  <a:pt x="2003" y="1035"/>
                </a:lnTo>
                <a:lnTo>
                  <a:pt x="2000" y="1042"/>
                </a:lnTo>
                <a:lnTo>
                  <a:pt x="1998" y="1051"/>
                </a:lnTo>
                <a:lnTo>
                  <a:pt x="1997" y="1057"/>
                </a:lnTo>
                <a:lnTo>
                  <a:pt x="1997" y="1064"/>
                </a:lnTo>
                <a:lnTo>
                  <a:pt x="1997" y="1070"/>
                </a:lnTo>
                <a:lnTo>
                  <a:pt x="1999" y="1082"/>
                </a:lnTo>
                <a:lnTo>
                  <a:pt x="2001" y="1094"/>
                </a:lnTo>
                <a:lnTo>
                  <a:pt x="2003" y="1104"/>
                </a:lnTo>
                <a:lnTo>
                  <a:pt x="2004" y="1115"/>
                </a:lnTo>
                <a:lnTo>
                  <a:pt x="2003" y="1121"/>
                </a:lnTo>
                <a:lnTo>
                  <a:pt x="2001" y="1126"/>
                </a:lnTo>
                <a:lnTo>
                  <a:pt x="2001" y="1126"/>
                </a:lnTo>
                <a:lnTo>
                  <a:pt x="1999" y="1132"/>
                </a:lnTo>
                <a:lnTo>
                  <a:pt x="1995" y="1138"/>
                </a:lnTo>
                <a:lnTo>
                  <a:pt x="1986" y="1151"/>
                </a:lnTo>
                <a:lnTo>
                  <a:pt x="1973" y="1163"/>
                </a:lnTo>
                <a:lnTo>
                  <a:pt x="1960" y="1175"/>
                </a:lnTo>
                <a:lnTo>
                  <a:pt x="1945" y="1187"/>
                </a:lnTo>
                <a:lnTo>
                  <a:pt x="1931" y="1198"/>
                </a:lnTo>
                <a:lnTo>
                  <a:pt x="1904" y="1216"/>
                </a:lnTo>
                <a:lnTo>
                  <a:pt x="1904" y="1216"/>
                </a:lnTo>
                <a:lnTo>
                  <a:pt x="1886" y="1227"/>
                </a:lnTo>
                <a:lnTo>
                  <a:pt x="1864" y="1239"/>
                </a:lnTo>
                <a:lnTo>
                  <a:pt x="1842" y="1249"/>
                </a:lnTo>
                <a:lnTo>
                  <a:pt x="1819" y="1257"/>
                </a:lnTo>
                <a:lnTo>
                  <a:pt x="1798" y="1264"/>
                </a:lnTo>
                <a:lnTo>
                  <a:pt x="1779" y="1270"/>
                </a:lnTo>
                <a:lnTo>
                  <a:pt x="1754" y="1278"/>
                </a:lnTo>
                <a:lnTo>
                  <a:pt x="1754" y="1278"/>
                </a:lnTo>
                <a:lnTo>
                  <a:pt x="1779" y="1336"/>
                </a:lnTo>
                <a:lnTo>
                  <a:pt x="1811" y="1404"/>
                </a:lnTo>
                <a:lnTo>
                  <a:pt x="1811" y="1404"/>
                </a:lnTo>
                <a:lnTo>
                  <a:pt x="1833" y="1449"/>
                </a:lnTo>
                <a:lnTo>
                  <a:pt x="1862" y="1504"/>
                </a:lnTo>
                <a:lnTo>
                  <a:pt x="1877" y="1531"/>
                </a:lnTo>
                <a:lnTo>
                  <a:pt x="1893" y="1557"/>
                </a:lnTo>
                <a:lnTo>
                  <a:pt x="1909" y="1578"/>
                </a:lnTo>
                <a:lnTo>
                  <a:pt x="1916" y="1588"/>
                </a:lnTo>
                <a:lnTo>
                  <a:pt x="1924" y="1597"/>
                </a:lnTo>
                <a:lnTo>
                  <a:pt x="1924" y="1597"/>
                </a:lnTo>
                <a:lnTo>
                  <a:pt x="1940" y="1592"/>
                </a:lnTo>
                <a:lnTo>
                  <a:pt x="1957" y="1587"/>
                </a:lnTo>
                <a:lnTo>
                  <a:pt x="1980" y="1581"/>
                </a:lnTo>
                <a:lnTo>
                  <a:pt x="2004" y="1573"/>
                </a:lnTo>
                <a:lnTo>
                  <a:pt x="2031" y="1563"/>
                </a:lnTo>
                <a:lnTo>
                  <a:pt x="2057" y="1551"/>
                </a:lnTo>
                <a:lnTo>
                  <a:pt x="2071" y="1544"/>
                </a:lnTo>
                <a:lnTo>
                  <a:pt x="2083" y="1537"/>
                </a:lnTo>
                <a:lnTo>
                  <a:pt x="2083" y="1537"/>
                </a:lnTo>
                <a:lnTo>
                  <a:pt x="2105" y="1524"/>
                </a:lnTo>
                <a:lnTo>
                  <a:pt x="2126" y="1510"/>
                </a:lnTo>
                <a:lnTo>
                  <a:pt x="2145" y="1495"/>
                </a:lnTo>
                <a:lnTo>
                  <a:pt x="2162" y="1480"/>
                </a:lnTo>
                <a:lnTo>
                  <a:pt x="2177" y="1466"/>
                </a:lnTo>
                <a:lnTo>
                  <a:pt x="2189" y="1451"/>
                </a:lnTo>
                <a:lnTo>
                  <a:pt x="2199" y="1437"/>
                </a:lnTo>
                <a:lnTo>
                  <a:pt x="2207" y="1424"/>
                </a:lnTo>
                <a:lnTo>
                  <a:pt x="2207" y="1424"/>
                </a:lnTo>
                <a:lnTo>
                  <a:pt x="2190" y="1460"/>
                </a:lnTo>
                <a:lnTo>
                  <a:pt x="2175" y="1493"/>
                </a:lnTo>
                <a:lnTo>
                  <a:pt x="2161" y="1523"/>
                </a:lnTo>
                <a:lnTo>
                  <a:pt x="2146" y="1551"/>
                </a:lnTo>
                <a:lnTo>
                  <a:pt x="2132" y="1576"/>
                </a:lnTo>
                <a:lnTo>
                  <a:pt x="2119" y="1599"/>
                </a:lnTo>
                <a:lnTo>
                  <a:pt x="2105" y="1619"/>
                </a:lnTo>
                <a:lnTo>
                  <a:pt x="2092" y="1637"/>
                </a:lnTo>
                <a:lnTo>
                  <a:pt x="2080" y="1655"/>
                </a:lnTo>
                <a:lnTo>
                  <a:pt x="2068" y="1669"/>
                </a:lnTo>
                <a:lnTo>
                  <a:pt x="2055" y="1682"/>
                </a:lnTo>
                <a:lnTo>
                  <a:pt x="2044" y="1694"/>
                </a:lnTo>
                <a:lnTo>
                  <a:pt x="2033" y="1705"/>
                </a:lnTo>
                <a:lnTo>
                  <a:pt x="2022" y="1714"/>
                </a:lnTo>
                <a:lnTo>
                  <a:pt x="2011" y="1721"/>
                </a:lnTo>
                <a:lnTo>
                  <a:pt x="2000" y="1729"/>
                </a:lnTo>
                <a:lnTo>
                  <a:pt x="2000" y="1729"/>
                </a:lnTo>
                <a:lnTo>
                  <a:pt x="1907" y="1790"/>
                </a:lnTo>
                <a:lnTo>
                  <a:pt x="1797" y="1862"/>
                </a:lnTo>
                <a:lnTo>
                  <a:pt x="1735" y="1901"/>
                </a:lnTo>
                <a:lnTo>
                  <a:pt x="1671" y="1940"/>
                </a:lnTo>
                <a:lnTo>
                  <a:pt x="1602" y="1980"/>
                </a:lnTo>
                <a:lnTo>
                  <a:pt x="1532" y="2020"/>
                </a:lnTo>
                <a:lnTo>
                  <a:pt x="1459" y="2058"/>
                </a:lnTo>
                <a:lnTo>
                  <a:pt x="1422" y="2077"/>
                </a:lnTo>
                <a:lnTo>
                  <a:pt x="1384" y="2094"/>
                </a:lnTo>
                <a:lnTo>
                  <a:pt x="1347" y="2112"/>
                </a:lnTo>
                <a:lnTo>
                  <a:pt x="1308" y="2129"/>
                </a:lnTo>
                <a:lnTo>
                  <a:pt x="1269" y="2146"/>
                </a:lnTo>
                <a:lnTo>
                  <a:pt x="1230" y="2161"/>
                </a:lnTo>
                <a:lnTo>
                  <a:pt x="1190" y="2175"/>
                </a:lnTo>
                <a:lnTo>
                  <a:pt x="1151" y="2189"/>
                </a:lnTo>
                <a:lnTo>
                  <a:pt x="1111" y="2202"/>
                </a:lnTo>
                <a:lnTo>
                  <a:pt x="1072" y="2213"/>
                </a:lnTo>
                <a:lnTo>
                  <a:pt x="1032" y="2223"/>
                </a:lnTo>
                <a:lnTo>
                  <a:pt x="992" y="2231"/>
                </a:lnTo>
                <a:lnTo>
                  <a:pt x="952" y="2240"/>
                </a:lnTo>
                <a:lnTo>
                  <a:pt x="913" y="2246"/>
                </a:lnTo>
                <a:lnTo>
                  <a:pt x="913" y="2246"/>
                </a:lnTo>
                <a:lnTo>
                  <a:pt x="901" y="2246"/>
                </a:lnTo>
                <a:lnTo>
                  <a:pt x="889" y="2245"/>
                </a:lnTo>
                <a:lnTo>
                  <a:pt x="876" y="2242"/>
                </a:lnTo>
                <a:lnTo>
                  <a:pt x="863" y="2239"/>
                </a:lnTo>
                <a:lnTo>
                  <a:pt x="850" y="2236"/>
                </a:lnTo>
                <a:lnTo>
                  <a:pt x="836" y="2230"/>
                </a:lnTo>
                <a:lnTo>
                  <a:pt x="809" y="2218"/>
                </a:lnTo>
                <a:lnTo>
                  <a:pt x="781" y="2204"/>
                </a:lnTo>
                <a:lnTo>
                  <a:pt x="754" y="2188"/>
                </a:lnTo>
                <a:lnTo>
                  <a:pt x="726" y="2170"/>
                </a:lnTo>
                <a:lnTo>
                  <a:pt x="698" y="2151"/>
                </a:lnTo>
                <a:lnTo>
                  <a:pt x="672" y="2130"/>
                </a:lnTo>
                <a:lnTo>
                  <a:pt x="646" y="2110"/>
                </a:lnTo>
                <a:lnTo>
                  <a:pt x="623" y="2089"/>
                </a:lnTo>
                <a:lnTo>
                  <a:pt x="600" y="2069"/>
                </a:lnTo>
                <a:lnTo>
                  <a:pt x="581" y="2049"/>
                </a:lnTo>
                <a:lnTo>
                  <a:pt x="563" y="2032"/>
                </a:lnTo>
                <a:lnTo>
                  <a:pt x="548" y="2017"/>
                </a:lnTo>
                <a:lnTo>
                  <a:pt x="537" y="2003"/>
                </a:lnTo>
                <a:lnTo>
                  <a:pt x="537" y="2003"/>
                </a:lnTo>
                <a:lnTo>
                  <a:pt x="533" y="1999"/>
                </a:lnTo>
                <a:lnTo>
                  <a:pt x="530" y="1995"/>
                </a:lnTo>
                <a:lnTo>
                  <a:pt x="520" y="1990"/>
                </a:lnTo>
                <a:lnTo>
                  <a:pt x="512" y="1988"/>
                </a:lnTo>
                <a:lnTo>
                  <a:pt x="502" y="1987"/>
                </a:lnTo>
                <a:lnTo>
                  <a:pt x="493" y="1987"/>
                </a:lnTo>
                <a:lnTo>
                  <a:pt x="483" y="1989"/>
                </a:lnTo>
                <a:lnTo>
                  <a:pt x="473" y="1992"/>
                </a:lnTo>
                <a:lnTo>
                  <a:pt x="464" y="1996"/>
                </a:lnTo>
                <a:lnTo>
                  <a:pt x="447" y="2004"/>
                </a:lnTo>
                <a:lnTo>
                  <a:pt x="433" y="2014"/>
                </a:lnTo>
                <a:lnTo>
                  <a:pt x="419" y="2024"/>
                </a:lnTo>
                <a:lnTo>
                  <a:pt x="419" y="2024"/>
                </a:lnTo>
                <a:lnTo>
                  <a:pt x="412" y="2023"/>
                </a:lnTo>
                <a:lnTo>
                  <a:pt x="393" y="2021"/>
                </a:lnTo>
                <a:lnTo>
                  <a:pt x="379" y="2021"/>
                </a:lnTo>
                <a:lnTo>
                  <a:pt x="364" y="2021"/>
                </a:lnTo>
                <a:lnTo>
                  <a:pt x="348" y="2022"/>
                </a:lnTo>
                <a:lnTo>
                  <a:pt x="329" y="2024"/>
                </a:lnTo>
                <a:lnTo>
                  <a:pt x="310" y="2027"/>
                </a:lnTo>
                <a:lnTo>
                  <a:pt x="290" y="2032"/>
                </a:lnTo>
                <a:lnTo>
                  <a:pt x="271" y="2038"/>
                </a:lnTo>
                <a:lnTo>
                  <a:pt x="252" y="2047"/>
                </a:lnTo>
                <a:lnTo>
                  <a:pt x="242" y="2053"/>
                </a:lnTo>
                <a:lnTo>
                  <a:pt x="233" y="2058"/>
                </a:lnTo>
                <a:lnTo>
                  <a:pt x="224" y="2064"/>
                </a:lnTo>
                <a:lnTo>
                  <a:pt x="216" y="2071"/>
                </a:lnTo>
                <a:lnTo>
                  <a:pt x="207" y="2079"/>
                </a:lnTo>
                <a:lnTo>
                  <a:pt x="199" y="2087"/>
                </a:lnTo>
                <a:lnTo>
                  <a:pt x="191" y="2097"/>
                </a:lnTo>
                <a:lnTo>
                  <a:pt x="184" y="2106"/>
                </a:lnTo>
                <a:lnTo>
                  <a:pt x="184" y="2106"/>
                </a:lnTo>
                <a:lnTo>
                  <a:pt x="183" y="2109"/>
                </a:lnTo>
                <a:lnTo>
                  <a:pt x="185" y="2111"/>
                </a:lnTo>
                <a:lnTo>
                  <a:pt x="188" y="2112"/>
                </a:lnTo>
                <a:lnTo>
                  <a:pt x="193" y="2112"/>
                </a:lnTo>
                <a:lnTo>
                  <a:pt x="210" y="2110"/>
                </a:lnTo>
                <a:lnTo>
                  <a:pt x="230" y="2108"/>
                </a:lnTo>
                <a:lnTo>
                  <a:pt x="255" y="2106"/>
                </a:lnTo>
                <a:lnTo>
                  <a:pt x="280" y="2105"/>
                </a:lnTo>
                <a:lnTo>
                  <a:pt x="293" y="2106"/>
                </a:lnTo>
                <a:lnTo>
                  <a:pt x="307" y="2107"/>
                </a:lnTo>
                <a:lnTo>
                  <a:pt x="319" y="2109"/>
                </a:lnTo>
                <a:lnTo>
                  <a:pt x="331" y="2112"/>
                </a:lnTo>
                <a:lnTo>
                  <a:pt x="331" y="2112"/>
                </a:lnTo>
                <a:lnTo>
                  <a:pt x="338" y="2115"/>
                </a:lnTo>
                <a:lnTo>
                  <a:pt x="343" y="2118"/>
                </a:lnTo>
                <a:lnTo>
                  <a:pt x="346" y="2121"/>
                </a:lnTo>
                <a:lnTo>
                  <a:pt x="347" y="2124"/>
                </a:lnTo>
                <a:lnTo>
                  <a:pt x="347" y="2127"/>
                </a:lnTo>
                <a:lnTo>
                  <a:pt x="345" y="2131"/>
                </a:lnTo>
                <a:lnTo>
                  <a:pt x="339" y="2139"/>
                </a:lnTo>
                <a:lnTo>
                  <a:pt x="332" y="2149"/>
                </a:lnTo>
                <a:lnTo>
                  <a:pt x="325" y="2160"/>
                </a:lnTo>
                <a:lnTo>
                  <a:pt x="321" y="2166"/>
                </a:lnTo>
                <a:lnTo>
                  <a:pt x="319" y="2172"/>
                </a:lnTo>
                <a:lnTo>
                  <a:pt x="317" y="2178"/>
                </a:lnTo>
                <a:lnTo>
                  <a:pt x="317" y="2185"/>
                </a:lnTo>
                <a:lnTo>
                  <a:pt x="317" y="2185"/>
                </a:lnTo>
                <a:lnTo>
                  <a:pt x="317" y="2191"/>
                </a:lnTo>
                <a:lnTo>
                  <a:pt x="319" y="2197"/>
                </a:lnTo>
                <a:lnTo>
                  <a:pt x="321" y="2202"/>
                </a:lnTo>
                <a:lnTo>
                  <a:pt x="324" y="2207"/>
                </a:lnTo>
                <a:lnTo>
                  <a:pt x="328" y="2212"/>
                </a:lnTo>
                <a:lnTo>
                  <a:pt x="333" y="2217"/>
                </a:lnTo>
                <a:lnTo>
                  <a:pt x="346" y="2227"/>
                </a:lnTo>
                <a:lnTo>
                  <a:pt x="361" y="2237"/>
                </a:lnTo>
                <a:lnTo>
                  <a:pt x="377" y="2246"/>
                </a:lnTo>
                <a:lnTo>
                  <a:pt x="397" y="2255"/>
                </a:lnTo>
                <a:lnTo>
                  <a:pt x="416" y="2263"/>
                </a:lnTo>
                <a:lnTo>
                  <a:pt x="458" y="2279"/>
                </a:lnTo>
                <a:lnTo>
                  <a:pt x="500" y="2293"/>
                </a:lnTo>
                <a:lnTo>
                  <a:pt x="571" y="2314"/>
                </a:lnTo>
                <a:lnTo>
                  <a:pt x="571" y="2314"/>
                </a:lnTo>
                <a:lnTo>
                  <a:pt x="579" y="2318"/>
                </a:lnTo>
                <a:lnTo>
                  <a:pt x="585" y="2322"/>
                </a:lnTo>
                <a:lnTo>
                  <a:pt x="588" y="2328"/>
                </a:lnTo>
                <a:lnTo>
                  <a:pt x="590" y="2333"/>
                </a:lnTo>
                <a:lnTo>
                  <a:pt x="590" y="2337"/>
                </a:lnTo>
                <a:lnTo>
                  <a:pt x="588" y="2341"/>
                </a:lnTo>
                <a:lnTo>
                  <a:pt x="585" y="2343"/>
                </a:lnTo>
                <a:lnTo>
                  <a:pt x="581" y="2344"/>
                </a:lnTo>
                <a:lnTo>
                  <a:pt x="581" y="2344"/>
                </a:lnTo>
                <a:lnTo>
                  <a:pt x="556" y="2343"/>
                </a:lnTo>
                <a:lnTo>
                  <a:pt x="532" y="2340"/>
                </a:lnTo>
                <a:lnTo>
                  <a:pt x="509" y="2337"/>
                </a:lnTo>
                <a:lnTo>
                  <a:pt x="488" y="2332"/>
                </a:lnTo>
                <a:lnTo>
                  <a:pt x="467" y="2327"/>
                </a:lnTo>
                <a:lnTo>
                  <a:pt x="448" y="2320"/>
                </a:lnTo>
                <a:lnTo>
                  <a:pt x="429" y="2314"/>
                </a:lnTo>
                <a:lnTo>
                  <a:pt x="412" y="2308"/>
                </a:lnTo>
                <a:lnTo>
                  <a:pt x="380" y="2295"/>
                </a:lnTo>
                <a:lnTo>
                  <a:pt x="352" y="2283"/>
                </a:lnTo>
                <a:lnTo>
                  <a:pt x="327" y="2271"/>
                </a:lnTo>
                <a:lnTo>
                  <a:pt x="316" y="2267"/>
                </a:lnTo>
                <a:lnTo>
                  <a:pt x="305" y="2263"/>
                </a:lnTo>
                <a:lnTo>
                  <a:pt x="305" y="2263"/>
                </a:lnTo>
                <a:lnTo>
                  <a:pt x="286" y="2258"/>
                </a:lnTo>
                <a:lnTo>
                  <a:pt x="268" y="2254"/>
                </a:lnTo>
                <a:lnTo>
                  <a:pt x="253" y="2251"/>
                </a:lnTo>
                <a:lnTo>
                  <a:pt x="237" y="2249"/>
                </a:lnTo>
                <a:lnTo>
                  <a:pt x="224" y="2248"/>
                </a:lnTo>
                <a:lnTo>
                  <a:pt x="213" y="2249"/>
                </a:lnTo>
                <a:lnTo>
                  <a:pt x="202" y="2250"/>
                </a:lnTo>
                <a:lnTo>
                  <a:pt x="192" y="2252"/>
                </a:lnTo>
                <a:lnTo>
                  <a:pt x="185" y="2256"/>
                </a:lnTo>
                <a:lnTo>
                  <a:pt x="178" y="2260"/>
                </a:lnTo>
                <a:lnTo>
                  <a:pt x="172" y="2265"/>
                </a:lnTo>
                <a:lnTo>
                  <a:pt x="167" y="2271"/>
                </a:lnTo>
                <a:lnTo>
                  <a:pt x="163" y="2277"/>
                </a:lnTo>
                <a:lnTo>
                  <a:pt x="160" y="2286"/>
                </a:lnTo>
                <a:lnTo>
                  <a:pt x="156" y="2294"/>
                </a:lnTo>
                <a:lnTo>
                  <a:pt x="155" y="2303"/>
                </a:lnTo>
                <a:lnTo>
                  <a:pt x="155" y="2303"/>
                </a:lnTo>
                <a:lnTo>
                  <a:pt x="154" y="2306"/>
                </a:lnTo>
                <a:lnTo>
                  <a:pt x="152" y="2309"/>
                </a:lnTo>
                <a:lnTo>
                  <a:pt x="150" y="2312"/>
                </a:lnTo>
                <a:lnTo>
                  <a:pt x="147" y="2314"/>
                </a:lnTo>
                <a:lnTo>
                  <a:pt x="140" y="2318"/>
                </a:lnTo>
                <a:lnTo>
                  <a:pt x="132" y="2323"/>
                </a:lnTo>
                <a:lnTo>
                  <a:pt x="109" y="2333"/>
                </a:lnTo>
                <a:lnTo>
                  <a:pt x="97" y="2339"/>
                </a:lnTo>
                <a:lnTo>
                  <a:pt x="84" y="2347"/>
                </a:lnTo>
                <a:lnTo>
                  <a:pt x="71" y="2357"/>
                </a:lnTo>
                <a:lnTo>
                  <a:pt x="57" y="2371"/>
                </a:lnTo>
                <a:lnTo>
                  <a:pt x="51" y="2378"/>
                </a:lnTo>
                <a:lnTo>
                  <a:pt x="45" y="2386"/>
                </a:lnTo>
                <a:lnTo>
                  <a:pt x="39" y="2396"/>
                </a:lnTo>
                <a:lnTo>
                  <a:pt x="33" y="2406"/>
                </a:lnTo>
                <a:lnTo>
                  <a:pt x="28" y="2418"/>
                </a:lnTo>
                <a:lnTo>
                  <a:pt x="22" y="2430"/>
                </a:lnTo>
                <a:lnTo>
                  <a:pt x="17" y="2444"/>
                </a:lnTo>
                <a:lnTo>
                  <a:pt x="13" y="2458"/>
                </a:lnTo>
                <a:lnTo>
                  <a:pt x="9" y="2475"/>
                </a:lnTo>
                <a:lnTo>
                  <a:pt x="6" y="2492"/>
                </a:lnTo>
                <a:lnTo>
                  <a:pt x="3" y="2512"/>
                </a:lnTo>
                <a:lnTo>
                  <a:pt x="0" y="2532"/>
                </a:lnTo>
                <a:lnTo>
                  <a:pt x="0" y="2532"/>
                </a:lnTo>
                <a:lnTo>
                  <a:pt x="1" y="2533"/>
                </a:lnTo>
                <a:lnTo>
                  <a:pt x="2" y="2534"/>
                </a:lnTo>
                <a:lnTo>
                  <a:pt x="6" y="2532"/>
                </a:lnTo>
                <a:lnTo>
                  <a:pt x="12" y="2527"/>
                </a:lnTo>
                <a:lnTo>
                  <a:pt x="20" y="2519"/>
                </a:lnTo>
                <a:lnTo>
                  <a:pt x="43" y="2496"/>
                </a:lnTo>
                <a:lnTo>
                  <a:pt x="69" y="2472"/>
                </a:lnTo>
                <a:lnTo>
                  <a:pt x="82" y="2459"/>
                </a:lnTo>
                <a:lnTo>
                  <a:pt x="95" y="2448"/>
                </a:lnTo>
                <a:lnTo>
                  <a:pt x="107" y="2439"/>
                </a:lnTo>
                <a:lnTo>
                  <a:pt x="119" y="2432"/>
                </a:lnTo>
                <a:lnTo>
                  <a:pt x="124" y="2429"/>
                </a:lnTo>
                <a:lnTo>
                  <a:pt x="129" y="2428"/>
                </a:lnTo>
                <a:lnTo>
                  <a:pt x="133" y="2427"/>
                </a:lnTo>
                <a:lnTo>
                  <a:pt x="137" y="2427"/>
                </a:lnTo>
                <a:lnTo>
                  <a:pt x="140" y="2429"/>
                </a:lnTo>
                <a:lnTo>
                  <a:pt x="143" y="2431"/>
                </a:lnTo>
                <a:lnTo>
                  <a:pt x="144" y="2435"/>
                </a:lnTo>
                <a:lnTo>
                  <a:pt x="146" y="2439"/>
                </a:lnTo>
                <a:lnTo>
                  <a:pt x="146" y="2439"/>
                </a:lnTo>
                <a:lnTo>
                  <a:pt x="149" y="2455"/>
                </a:lnTo>
                <a:lnTo>
                  <a:pt x="154" y="2470"/>
                </a:lnTo>
                <a:lnTo>
                  <a:pt x="162" y="2483"/>
                </a:lnTo>
                <a:lnTo>
                  <a:pt x="170" y="2493"/>
                </a:lnTo>
                <a:lnTo>
                  <a:pt x="179" y="2503"/>
                </a:lnTo>
                <a:lnTo>
                  <a:pt x="189" y="2511"/>
                </a:lnTo>
                <a:lnTo>
                  <a:pt x="200" y="2518"/>
                </a:lnTo>
                <a:lnTo>
                  <a:pt x="214" y="2523"/>
                </a:lnTo>
                <a:lnTo>
                  <a:pt x="227" y="2527"/>
                </a:lnTo>
                <a:lnTo>
                  <a:pt x="241" y="2529"/>
                </a:lnTo>
                <a:lnTo>
                  <a:pt x="256" y="2531"/>
                </a:lnTo>
                <a:lnTo>
                  <a:pt x="271" y="2532"/>
                </a:lnTo>
                <a:lnTo>
                  <a:pt x="287" y="2533"/>
                </a:lnTo>
                <a:lnTo>
                  <a:pt x="304" y="2532"/>
                </a:lnTo>
                <a:lnTo>
                  <a:pt x="337" y="2530"/>
                </a:lnTo>
                <a:lnTo>
                  <a:pt x="371" y="2526"/>
                </a:lnTo>
                <a:lnTo>
                  <a:pt x="405" y="2521"/>
                </a:lnTo>
                <a:lnTo>
                  <a:pt x="438" y="2516"/>
                </a:lnTo>
                <a:lnTo>
                  <a:pt x="468" y="2512"/>
                </a:lnTo>
                <a:lnTo>
                  <a:pt x="496" y="2510"/>
                </a:lnTo>
                <a:lnTo>
                  <a:pt x="509" y="2509"/>
                </a:lnTo>
                <a:lnTo>
                  <a:pt x="520" y="2509"/>
                </a:lnTo>
                <a:lnTo>
                  <a:pt x="531" y="2510"/>
                </a:lnTo>
                <a:lnTo>
                  <a:pt x="541" y="2512"/>
                </a:lnTo>
                <a:lnTo>
                  <a:pt x="549" y="2515"/>
                </a:lnTo>
                <a:lnTo>
                  <a:pt x="555" y="2519"/>
                </a:lnTo>
                <a:lnTo>
                  <a:pt x="555" y="2519"/>
                </a:lnTo>
                <a:lnTo>
                  <a:pt x="558" y="2522"/>
                </a:lnTo>
                <a:lnTo>
                  <a:pt x="559" y="2524"/>
                </a:lnTo>
                <a:lnTo>
                  <a:pt x="557" y="2527"/>
                </a:lnTo>
                <a:lnTo>
                  <a:pt x="554" y="2529"/>
                </a:lnTo>
                <a:lnTo>
                  <a:pt x="549" y="2532"/>
                </a:lnTo>
                <a:lnTo>
                  <a:pt x="542" y="2534"/>
                </a:lnTo>
                <a:lnTo>
                  <a:pt x="525" y="2538"/>
                </a:lnTo>
                <a:lnTo>
                  <a:pt x="475" y="2547"/>
                </a:lnTo>
                <a:lnTo>
                  <a:pt x="447" y="2553"/>
                </a:lnTo>
                <a:lnTo>
                  <a:pt x="417" y="2559"/>
                </a:lnTo>
                <a:lnTo>
                  <a:pt x="388" y="2566"/>
                </a:lnTo>
                <a:lnTo>
                  <a:pt x="359" y="2574"/>
                </a:lnTo>
                <a:lnTo>
                  <a:pt x="346" y="2578"/>
                </a:lnTo>
                <a:lnTo>
                  <a:pt x="333" y="2583"/>
                </a:lnTo>
                <a:lnTo>
                  <a:pt x="322" y="2588"/>
                </a:lnTo>
                <a:lnTo>
                  <a:pt x="312" y="2594"/>
                </a:lnTo>
                <a:lnTo>
                  <a:pt x="303" y="2601"/>
                </a:lnTo>
                <a:lnTo>
                  <a:pt x="294" y="2607"/>
                </a:lnTo>
                <a:lnTo>
                  <a:pt x="288" y="2614"/>
                </a:lnTo>
                <a:lnTo>
                  <a:pt x="284" y="2622"/>
                </a:lnTo>
                <a:lnTo>
                  <a:pt x="282" y="2630"/>
                </a:lnTo>
                <a:lnTo>
                  <a:pt x="281" y="2638"/>
                </a:lnTo>
                <a:lnTo>
                  <a:pt x="283" y="2649"/>
                </a:lnTo>
                <a:lnTo>
                  <a:pt x="287" y="2659"/>
                </a:lnTo>
                <a:lnTo>
                  <a:pt x="287" y="2659"/>
                </a:lnTo>
                <a:lnTo>
                  <a:pt x="287" y="2660"/>
                </a:lnTo>
                <a:lnTo>
                  <a:pt x="286" y="2663"/>
                </a:lnTo>
                <a:lnTo>
                  <a:pt x="283" y="2669"/>
                </a:lnTo>
                <a:lnTo>
                  <a:pt x="268" y="2686"/>
                </a:lnTo>
                <a:lnTo>
                  <a:pt x="258" y="2699"/>
                </a:lnTo>
                <a:lnTo>
                  <a:pt x="247" y="2712"/>
                </a:lnTo>
                <a:lnTo>
                  <a:pt x="237" y="2727"/>
                </a:lnTo>
                <a:lnTo>
                  <a:pt x="228" y="2744"/>
                </a:lnTo>
                <a:lnTo>
                  <a:pt x="220" y="2761"/>
                </a:lnTo>
                <a:lnTo>
                  <a:pt x="217" y="2770"/>
                </a:lnTo>
                <a:lnTo>
                  <a:pt x="214" y="2781"/>
                </a:lnTo>
                <a:lnTo>
                  <a:pt x="213" y="2790"/>
                </a:lnTo>
                <a:lnTo>
                  <a:pt x="212" y="2801"/>
                </a:lnTo>
                <a:lnTo>
                  <a:pt x="212" y="2811"/>
                </a:lnTo>
                <a:lnTo>
                  <a:pt x="213" y="2821"/>
                </a:lnTo>
                <a:lnTo>
                  <a:pt x="215" y="2833"/>
                </a:lnTo>
                <a:lnTo>
                  <a:pt x="219" y="2844"/>
                </a:lnTo>
                <a:lnTo>
                  <a:pt x="223" y="2856"/>
                </a:lnTo>
                <a:lnTo>
                  <a:pt x="229" y="2867"/>
                </a:lnTo>
                <a:lnTo>
                  <a:pt x="237" y="2880"/>
                </a:lnTo>
                <a:lnTo>
                  <a:pt x="246" y="2892"/>
                </a:lnTo>
                <a:lnTo>
                  <a:pt x="257" y="2904"/>
                </a:lnTo>
                <a:lnTo>
                  <a:pt x="270" y="2917"/>
                </a:lnTo>
                <a:lnTo>
                  <a:pt x="270" y="2917"/>
                </a:lnTo>
                <a:lnTo>
                  <a:pt x="270" y="2910"/>
                </a:lnTo>
                <a:lnTo>
                  <a:pt x="272" y="2893"/>
                </a:lnTo>
                <a:lnTo>
                  <a:pt x="277" y="2868"/>
                </a:lnTo>
                <a:lnTo>
                  <a:pt x="281" y="2855"/>
                </a:lnTo>
                <a:lnTo>
                  <a:pt x="285" y="2841"/>
                </a:lnTo>
                <a:lnTo>
                  <a:pt x="291" y="2828"/>
                </a:lnTo>
                <a:lnTo>
                  <a:pt x="298" y="2814"/>
                </a:lnTo>
                <a:lnTo>
                  <a:pt x="306" y="2801"/>
                </a:lnTo>
                <a:lnTo>
                  <a:pt x="315" y="2791"/>
                </a:lnTo>
                <a:lnTo>
                  <a:pt x="321" y="2786"/>
                </a:lnTo>
                <a:lnTo>
                  <a:pt x="326" y="2782"/>
                </a:lnTo>
                <a:lnTo>
                  <a:pt x="332" y="2777"/>
                </a:lnTo>
                <a:lnTo>
                  <a:pt x="339" y="2774"/>
                </a:lnTo>
                <a:lnTo>
                  <a:pt x="346" y="2772"/>
                </a:lnTo>
                <a:lnTo>
                  <a:pt x="354" y="2770"/>
                </a:lnTo>
                <a:lnTo>
                  <a:pt x="361" y="2770"/>
                </a:lnTo>
                <a:lnTo>
                  <a:pt x="369" y="2770"/>
                </a:lnTo>
                <a:lnTo>
                  <a:pt x="369" y="2770"/>
                </a:lnTo>
                <a:lnTo>
                  <a:pt x="383" y="2771"/>
                </a:lnTo>
                <a:lnTo>
                  <a:pt x="396" y="2774"/>
                </a:lnTo>
                <a:lnTo>
                  <a:pt x="408" y="2778"/>
                </a:lnTo>
                <a:lnTo>
                  <a:pt x="420" y="2783"/>
                </a:lnTo>
                <a:lnTo>
                  <a:pt x="443" y="2793"/>
                </a:lnTo>
                <a:lnTo>
                  <a:pt x="454" y="2797"/>
                </a:lnTo>
                <a:lnTo>
                  <a:pt x="465" y="2801"/>
                </a:lnTo>
                <a:lnTo>
                  <a:pt x="476" y="2804"/>
                </a:lnTo>
                <a:lnTo>
                  <a:pt x="489" y="2806"/>
                </a:lnTo>
                <a:lnTo>
                  <a:pt x="501" y="2807"/>
                </a:lnTo>
                <a:lnTo>
                  <a:pt x="514" y="2805"/>
                </a:lnTo>
                <a:lnTo>
                  <a:pt x="528" y="2802"/>
                </a:lnTo>
                <a:lnTo>
                  <a:pt x="542" y="2796"/>
                </a:lnTo>
                <a:lnTo>
                  <a:pt x="558" y="2788"/>
                </a:lnTo>
                <a:lnTo>
                  <a:pt x="575" y="2775"/>
                </a:lnTo>
                <a:lnTo>
                  <a:pt x="575" y="2775"/>
                </a:lnTo>
                <a:lnTo>
                  <a:pt x="588" y="2766"/>
                </a:lnTo>
                <a:lnTo>
                  <a:pt x="600" y="2755"/>
                </a:lnTo>
                <a:lnTo>
                  <a:pt x="614" y="2743"/>
                </a:lnTo>
                <a:lnTo>
                  <a:pt x="630" y="2730"/>
                </a:lnTo>
                <a:lnTo>
                  <a:pt x="651" y="2718"/>
                </a:lnTo>
                <a:lnTo>
                  <a:pt x="664" y="2711"/>
                </a:lnTo>
                <a:lnTo>
                  <a:pt x="678" y="2705"/>
                </a:lnTo>
                <a:lnTo>
                  <a:pt x="693" y="2698"/>
                </a:lnTo>
                <a:lnTo>
                  <a:pt x="712" y="2692"/>
                </a:lnTo>
                <a:lnTo>
                  <a:pt x="732" y="2684"/>
                </a:lnTo>
                <a:lnTo>
                  <a:pt x="754" y="2677"/>
                </a:lnTo>
                <a:lnTo>
                  <a:pt x="754" y="2677"/>
                </a:lnTo>
                <a:lnTo>
                  <a:pt x="756" y="2677"/>
                </a:lnTo>
                <a:lnTo>
                  <a:pt x="757" y="2678"/>
                </a:lnTo>
                <a:lnTo>
                  <a:pt x="760" y="2683"/>
                </a:lnTo>
                <a:lnTo>
                  <a:pt x="762" y="2692"/>
                </a:lnTo>
                <a:lnTo>
                  <a:pt x="765" y="2701"/>
                </a:lnTo>
                <a:lnTo>
                  <a:pt x="768" y="2713"/>
                </a:lnTo>
                <a:lnTo>
                  <a:pt x="772" y="2725"/>
                </a:lnTo>
                <a:lnTo>
                  <a:pt x="777" y="2738"/>
                </a:lnTo>
                <a:lnTo>
                  <a:pt x="783" y="2750"/>
                </a:lnTo>
                <a:lnTo>
                  <a:pt x="783" y="2750"/>
                </a:lnTo>
                <a:lnTo>
                  <a:pt x="786" y="2753"/>
                </a:lnTo>
                <a:lnTo>
                  <a:pt x="789" y="2755"/>
                </a:lnTo>
                <a:lnTo>
                  <a:pt x="797" y="2760"/>
                </a:lnTo>
                <a:lnTo>
                  <a:pt x="805" y="2763"/>
                </a:lnTo>
                <a:lnTo>
                  <a:pt x="813" y="2767"/>
                </a:lnTo>
                <a:lnTo>
                  <a:pt x="821" y="2770"/>
                </a:lnTo>
                <a:lnTo>
                  <a:pt x="827" y="2773"/>
                </a:lnTo>
                <a:lnTo>
                  <a:pt x="830" y="2775"/>
                </a:lnTo>
                <a:lnTo>
                  <a:pt x="831" y="2777"/>
                </a:lnTo>
                <a:lnTo>
                  <a:pt x="833" y="2781"/>
                </a:lnTo>
                <a:lnTo>
                  <a:pt x="833" y="2784"/>
                </a:lnTo>
                <a:lnTo>
                  <a:pt x="833" y="2784"/>
                </a:lnTo>
                <a:lnTo>
                  <a:pt x="832" y="2794"/>
                </a:lnTo>
                <a:lnTo>
                  <a:pt x="830" y="2805"/>
                </a:lnTo>
                <a:lnTo>
                  <a:pt x="826" y="2815"/>
                </a:lnTo>
                <a:lnTo>
                  <a:pt x="822" y="2824"/>
                </a:lnTo>
                <a:lnTo>
                  <a:pt x="817" y="2834"/>
                </a:lnTo>
                <a:lnTo>
                  <a:pt x="811" y="2843"/>
                </a:lnTo>
                <a:lnTo>
                  <a:pt x="798" y="2859"/>
                </a:lnTo>
                <a:lnTo>
                  <a:pt x="784" y="2873"/>
                </a:lnTo>
                <a:lnTo>
                  <a:pt x="773" y="2884"/>
                </a:lnTo>
                <a:lnTo>
                  <a:pt x="765" y="2890"/>
                </a:lnTo>
                <a:lnTo>
                  <a:pt x="763" y="2893"/>
                </a:lnTo>
                <a:lnTo>
                  <a:pt x="763" y="2893"/>
                </a:lnTo>
                <a:lnTo>
                  <a:pt x="767" y="2896"/>
                </a:lnTo>
                <a:lnTo>
                  <a:pt x="778" y="2899"/>
                </a:lnTo>
                <a:lnTo>
                  <a:pt x="785" y="2900"/>
                </a:lnTo>
                <a:lnTo>
                  <a:pt x="794" y="2901"/>
                </a:lnTo>
                <a:lnTo>
                  <a:pt x="804" y="2901"/>
                </a:lnTo>
                <a:lnTo>
                  <a:pt x="815" y="2899"/>
                </a:lnTo>
                <a:lnTo>
                  <a:pt x="826" y="2896"/>
                </a:lnTo>
                <a:lnTo>
                  <a:pt x="839" y="2891"/>
                </a:lnTo>
                <a:lnTo>
                  <a:pt x="852" y="2884"/>
                </a:lnTo>
                <a:lnTo>
                  <a:pt x="865" y="2874"/>
                </a:lnTo>
                <a:lnTo>
                  <a:pt x="879" y="2860"/>
                </a:lnTo>
                <a:lnTo>
                  <a:pt x="894" y="2844"/>
                </a:lnTo>
                <a:lnTo>
                  <a:pt x="907" y="2824"/>
                </a:lnTo>
                <a:lnTo>
                  <a:pt x="921" y="2801"/>
                </a:lnTo>
                <a:lnTo>
                  <a:pt x="921" y="2801"/>
                </a:lnTo>
                <a:lnTo>
                  <a:pt x="924" y="2797"/>
                </a:lnTo>
                <a:lnTo>
                  <a:pt x="927" y="2793"/>
                </a:lnTo>
                <a:lnTo>
                  <a:pt x="930" y="2791"/>
                </a:lnTo>
                <a:lnTo>
                  <a:pt x="935" y="2789"/>
                </a:lnTo>
                <a:lnTo>
                  <a:pt x="939" y="2788"/>
                </a:lnTo>
                <a:lnTo>
                  <a:pt x="943" y="2788"/>
                </a:lnTo>
                <a:lnTo>
                  <a:pt x="951" y="2788"/>
                </a:lnTo>
                <a:lnTo>
                  <a:pt x="970" y="2790"/>
                </a:lnTo>
                <a:lnTo>
                  <a:pt x="982" y="2790"/>
                </a:lnTo>
                <a:lnTo>
                  <a:pt x="987" y="2789"/>
                </a:lnTo>
                <a:lnTo>
                  <a:pt x="992" y="2788"/>
                </a:lnTo>
                <a:lnTo>
                  <a:pt x="992" y="2788"/>
                </a:lnTo>
                <a:lnTo>
                  <a:pt x="1010" y="2782"/>
                </a:lnTo>
                <a:lnTo>
                  <a:pt x="1017" y="2777"/>
                </a:lnTo>
                <a:lnTo>
                  <a:pt x="1024" y="2773"/>
                </a:lnTo>
                <a:lnTo>
                  <a:pt x="1029" y="2770"/>
                </a:lnTo>
                <a:lnTo>
                  <a:pt x="1033" y="2766"/>
                </a:lnTo>
                <a:lnTo>
                  <a:pt x="1036" y="2762"/>
                </a:lnTo>
                <a:lnTo>
                  <a:pt x="1039" y="2757"/>
                </a:lnTo>
                <a:lnTo>
                  <a:pt x="1041" y="2753"/>
                </a:lnTo>
                <a:lnTo>
                  <a:pt x="1042" y="2748"/>
                </a:lnTo>
                <a:lnTo>
                  <a:pt x="1043" y="2739"/>
                </a:lnTo>
                <a:lnTo>
                  <a:pt x="1042" y="2728"/>
                </a:lnTo>
                <a:lnTo>
                  <a:pt x="1040" y="2718"/>
                </a:lnTo>
                <a:lnTo>
                  <a:pt x="1035" y="2696"/>
                </a:lnTo>
                <a:lnTo>
                  <a:pt x="1034" y="2685"/>
                </a:lnTo>
                <a:lnTo>
                  <a:pt x="1033" y="2673"/>
                </a:lnTo>
                <a:lnTo>
                  <a:pt x="1034" y="2662"/>
                </a:lnTo>
                <a:lnTo>
                  <a:pt x="1036" y="2657"/>
                </a:lnTo>
                <a:lnTo>
                  <a:pt x="1038" y="2651"/>
                </a:lnTo>
                <a:lnTo>
                  <a:pt x="1040" y="2646"/>
                </a:lnTo>
                <a:lnTo>
                  <a:pt x="1044" y="2640"/>
                </a:lnTo>
                <a:lnTo>
                  <a:pt x="1048" y="2634"/>
                </a:lnTo>
                <a:lnTo>
                  <a:pt x="1054" y="2629"/>
                </a:lnTo>
                <a:lnTo>
                  <a:pt x="1054" y="2629"/>
                </a:lnTo>
                <a:lnTo>
                  <a:pt x="1069" y="2616"/>
                </a:lnTo>
                <a:lnTo>
                  <a:pt x="1084" y="2603"/>
                </a:lnTo>
                <a:lnTo>
                  <a:pt x="1099" y="2591"/>
                </a:lnTo>
                <a:lnTo>
                  <a:pt x="1115" y="2579"/>
                </a:lnTo>
                <a:lnTo>
                  <a:pt x="1146" y="2559"/>
                </a:lnTo>
                <a:lnTo>
                  <a:pt x="1178" y="2540"/>
                </a:lnTo>
                <a:lnTo>
                  <a:pt x="1210" y="2524"/>
                </a:lnTo>
                <a:lnTo>
                  <a:pt x="1241" y="2509"/>
                </a:lnTo>
                <a:lnTo>
                  <a:pt x="1273" y="2494"/>
                </a:lnTo>
                <a:lnTo>
                  <a:pt x="1304" y="2482"/>
                </a:lnTo>
                <a:lnTo>
                  <a:pt x="1304" y="2482"/>
                </a:lnTo>
                <a:lnTo>
                  <a:pt x="1303" y="2486"/>
                </a:lnTo>
                <a:lnTo>
                  <a:pt x="1299" y="2498"/>
                </a:lnTo>
                <a:lnTo>
                  <a:pt x="1294" y="2518"/>
                </a:lnTo>
                <a:lnTo>
                  <a:pt x="1291" y="2541"/>
                </a:lnTo>
                <a:lnTo>
                  <a:pt x="1290" y="2556"/>
                </a:lnTo>
                <a:lnTo>
                  <a:pt x="1290" y="2570"/>
                </a:lnTo>
                <a:lnTo>
                  <a:pt x="1291" y="2585"/>
                </a:lnTo>
                <a:lnTo>
                  <a:pt x="1292" y="2602"/>
                </a:lnTo>
                <a:lnTo>
                  <a:pt x="1296" y="2618"/>
                </a:lnTo>
                <a:lnTo>
                  <a:pt x="1301" y="2634"/>
                </a:lnTo>
                <a:lnTo>
                  <a:pt x="1306" y="2652"/>
                </a:lnTo>
                <a:lnTo>
                  <a:pt x="1314" y="2669"/>
                </a:lnTo>
                <a:lnTo>
                  <a:pt x="1640" y="2585"/>
                </a:lnTo>
                <a:lnTo>
                  <a:pt x="1640" y="2585"/>
                </a:lnTo>
                <a:lnTo>
                  <a:pt x="1634" y="2569"/>
                </a:lnTo>
                <a:lnTo>
                  <a:pt x="1631" y="2553"/>
                </a:lnTo>
                <a:lnTo>
                  <a:pt x="1629" y="2535"/>
                </a:lnTo>
                <a:lnTo>
                  <a:pt x="1629" y="2518"/>
                </a:lnTo>
                <a:lnTo>
                  <a:pt x="1631" y="2500"/>
                </a:lnTo>
                <a:lnTo>
                  <a:pt x="1634" y="2483"/>
                </a:lnTo>
                <a:lnTo>
                  <a:pt x="1638" y="2466"/>
                </a:lnTo>
                <a:lnTo>
                  <a:pt x="1644" y="2447"/>
                </a:lnTo>
                <a:lnTo>
                  <a:pt x="1651" y="2430"/>
                </a:lnTo>
                <a:lnTo>
                  <a:pt x="1660" y="2411"/>
                </a:lnTo>
                <a:lnTo>
                  <a:pt x="1669" y="2394"/>
                </a:lnTo>
                <a:lnTo>
                  <a:pt x="1679" y="2377"/>
                </a:lnTo>
                <a:lnTo>
                  <a:pt x="1689" y="2359"/>
                </a:lnTo>
                <a:lnTo>
                  <a:pt x="1701" y="2342"/>
                </a:lnTo>
                <a:lnTo>
                  <a:pt x="1725" y="2310"/>
                </a:lnTo>
                <a:lnTo>
                  <a:pt x="1725" y="2310"/>
                </a:lnTo>
                <a:lnTo>
                  <a:pt x="1726" y="2309"/>
                </a:lnTo>
                <a:lnTo>
                  <a:pt x="1727" y="2309"/>
                </a:lnTo>
                <a:lnTo>
                  <a:pt x="1728" y="2313"/>
                </a:lnTo>
                <a:lnTo>
                  <a:pt x="1725" y="2335"/>
                </a:lnTo>
                <a:lnTo>
                  <a:pt x="1721" y="2368"/>
                </a:lnTo>
                <a:lnTo>
                  <a:pt x="1715" y="2410"/>
                </a:lnTo>
                <a:lnTo>
                  <a:pt x="1713" y="2433"/>
                </a:lnTo>
                <a:lnTo>
                  <a:pt x="1711" y="2456"/>
                </a:lnTo>
                <a:lnTo>
                  <a:pt x="1711" y="2478"/>
                </a:lnTo>
                <a:lnTo>
                  <a:pt x="1711" y="2499"/>
                </a:lnTo>
                <a:lnTo>
                  <a:pt x="1713" y="2519"/>
                </a:lnTo>
                <a:lnTo>
                  <a:pt x="1716" y="2536"/>
                </a:lnTo>
                <a:lnTo>
                  <a:pt x="1719" y="2544"/>
                </a:lnTo>
                <a:lnTo>
                  <a:pt x="1722" y="2551"/>
                </a:lnTo>
                <a:lnTo>
                  <a:pt x="1726" y="2557"/>
                </a:lnTo>
                <a:lnTo>
                  <a:pt x="1730" y="2562"/>
                </a:lnTo>
                <a:lnTo>
                  <a:pt x="2050" y="2479"/>
                </a:lnTo>
                <a:lnTo>
                  <a:pt x="2050" y="2479"/>
                </a:lnTo>
                <a:lnTo>
                  <a:pt x="2046" y="2469"/>
                </a:lnTo>
                <a:lnTo>
                  <a:pt x="2043" y="2457"/>
                </a:lnTo>
                <a:lnTo>
                  <a:pt x="2041" y="2446"/>
                </a:lnTo>
                <a:lnTo>
                  <a:pt x="2039" y="2434"/>
                </a:lnTo>
                <a:lnTo>
                  <a:pt x="2038" y="2422"/>
                </a:lnTo>
                <a:lnTo>
                  <a:pt x="2038" y="2409"/>
                </a:lnTo>
                <a:lnTo>
                  <a:pt x="2039" y="2383"/>
                </a:lnTo>
                <a:lnTo>
                  <a:pt x="2043" y="2356"/>
                </a:lnTo>
                <a:lnTo>
                  <a:pt x="2048" y="2330"/>
                </a:lnTo>
                <a:lnTo>
                  <a:pt x="2055" y="2303"/>
                </a:lnTo>
                <a:lnTo>
                  <a:pt x="2064" y="2279"/>
                </a:lnTo>
                <a:lnTo>
                  <a:pt x="2064" y="2279"/>
                </a:lnTo>
                <a:lnTo>
                  <a:pt x="2072" y="2306"/>
                </a:lnTo>
                <a:lnTo>
                  <a:pt x="2079" y="2335"/>
                </a:lnTo>
                <a:lnTo>
                  <a:pt x="2088" y="2362"/>
                </a:lnTo>
                <a:lnTo>
                  <a:pt x="2098" y="2390"/>
                </a:lnTo>
                <a:lnTo>
                  <a:pt x="2108" y="2417"/>
                </a:lnTo>
                <a:lnTo>
                  <a:pt x="2121" y="2443"/>
                </a:lnTo>
                <a:lnTo>
                  <a:pt x="2135" y="2469"/>
                </a:lnTo>
                <a:lnTo>
                  <a:pt x="2149" y="2494"/>
                </a:lnTo>
                <a:lnTo>
                  <a:pt x="2166" y="2519"/>
                </a:lnTo>
                <a:lnTo>
                  <a:pt x="2183" y="2541"/>
                </a:lnTo>
                <a:lnTo>
                  <a:pt x="2201" y="2563"/>
                </a:lnTo>
                <a:lnTo>
                  <a:pt x="2222" y="2583"/>
                </a:lnTo>
                <a:lnTo>
                  <a:pt x="2244" y="2603"/>
                </a:lnTo>
                <a:lnTo>
                  <a:pt x="2268" y="2619"/>
                </a:lnTo>
                <a:lnTo>
                  <a:pt x="2280" y="2627"/>
                </a:lnTo>
                <a:lnTo>
                  <a:pt x="2292" y="2634"/>
                </a:lnTo>
                <a:lnTo>
                  <a:pt x="2306" y="2641"/>
                </a:lnTo>
                <a:lnTo>
                  <a:pt x="2320" y="2648"/>
                </a:lnTo>
                <a:lnTo>
                  <a:pt x="2320" y="2648"/>
                </a:lnTo>
                <a:lnTo>
                  <a:pt x="2365" y="2667"/>
                </a:lnTo>
                <a:lnTo>
                  <a:pt x="2410" y="2685"/>
                </a:lnTo>
                <a:lnTo>
                  <a:pt x="2454" y="2702"/>
                </a:lnTo>
                <a:lnTo>
                  <a:pt x="2499" y="2718"/>
                </a:lnTo>
                <a:lnTo>
                  <a:pt x="2544" y="2733"/>
                </a:lnTo>
                <a:lnTo>
                  <a:pt x="2589" y="2749"/>
                </a:lnTo>
                <a:lnTo>
                  <a:pt x="2683" y="2778"/>
                </a:lnTo>
                <a:lnTo>
                  <a:pt x="2782" y="2807"/>
                </a:lnTo>
                <a:lnTo>
                  <a:pt x="2889" y="2838"/>
                </a:lnTo>
                <a:lnTo>
                  <a:pt x="3005" y="2872"/>
                </a:lnTo>
                <a:lnTo>
                  <a:pt x="3133" y="2908"/>
                </a:lnTo>
                <a:lnTo>
                  <a:pt x="3133" y="2908"/>
                </a:lnTo>
                <a:lnTo>
                  <a:pt x="3205" y="2931"/>
                </a:lnTo>
                <a:lnTo>
                  <a:pt x="3273" y="2954"/>
                </a:lnTo>
                <a:lnTo>
                  <a:pt x="3305" y="2966"/>
                </a:lnTo>
                <a:lnTo>
                  <a:pt x="3333" y="2977"/>
                </a:lnTo>
                <a:lnTo>
                  <a:pt x="3358" y="2987"/>
                </a:lnTo>
                <a:lnTo>
                  <a:pt x="3377" y="2996"/>
                </a:lnTo>
                <a:lnTo>
                  <a:pt x="3377" y="2996"/>
                </a:lnTo>
                <a:lnTo>
                  <a:pt x="3383" y="2999"/>
                </a:lnTo>
                <a:lnTo>
                  <a:pt x="3389" y="3003"/>
                </a:lnTo>
                <a:lnTo>
                  <a:pt x="3393" y="3006"/>
                </a:lnTo>
                <a:lnTo>
                  <a:pt x="3397" y="3011"/>
                </a:lnTo>
                <a:lnTo>
                  <a:pt x="3399" y="3015"/>
                </a:lnTo>
                <a:lnTo>
                  <a:pt x="3401" y="3020"/>
                </a:lnTo>
                <a:lnTo>
                  <a:pt x="3402" y="3024"/>
                </a:lnTo>
                <a:lnTo>
                  <a:pt x="3402" y="3028"/>
                </a:lnTo>
                <a:lnTo>
                  <a:pt x="3401" y="3037"/>
                </a:lnTo>
                <a:lnTo>
                  <a:pt x="3397" y="3046"/>
                </a:lnTo>
                <a:lnTo>
                  <a:pt x="3392" y="3055"/>
                </a:lnTo>
                <a:lnTo>
                  <a:pt x="3386" y="3064"/>
                </a:lnTo>
                <a:lnTo>
                  <a:pt x="3378" y="3072"/>
                </a:lnTo>
                <a:lnTo>
                  <a:pt x="3371" y="3080"/>
                </a:lnTo>
                <a:lnTo>
                  <a:pt x="3357" y="3092"/>
                </a:lnTo>
                <a:lnTo>
                  <a:pt x="3346" y="3102"/>
                </a:lnTo>
                <a:lnTo>
                  <a:pt x="3341" y="3105"/>
                </a:lnTo>
                <a:lnTo>
                  <a:pt x="3341" y="3105"/>
                </a:lnTo>
                <a:lnTo>
                  <a:pt x="3355" y="3113"/>
                </a:lnTo>
                <a:lnTo>
                  <a:pt x="3371" y="3121"/>
                </a:lnTo>
                <a:lnTo>
                  <a:pt x="3411" y="3139"/>
                </a:lnTo>
                <a:lnTo>
                  <a:pt x="3435" y="3152"/>
                </a:lnTo>
                <a:lnTo>
                  <a:pt x="3461" y="3167"/>
                </a:lnTo>
                <a:lnTo>
                  <a:pt x="3492" y="3186"/>
                </a:lnTo>
                <a:lnTo>
                  <a:pt x="3527" y="3211"/>
                </a:lnTo>
                <a:lnTo>
                  <a:pt x="3527" y="3211"/>
                </a:lnTo>
                <a:lnTo>
                  <a:pt x="3545" y="3226"/>
                </a:lnTo>
                <a:lnTo>
                  <a:pt x="3563" y="3244"/>
                </a:lnTo>
                <a:lnTo>
                  <a:pt x="3580" y="3263"/>
                </a:lnTo>
                <a:lnTo>
                  <a:pt x="3595" y="3284"/>
                </a:lnTo>
                <a:lnTo>
                  <a:pt x="3608" y="3305"/>
                </a:lnTo>
                <a:lnTo>
                  <a:pt x="3622" y="3329"/>
                </a:lnTo>
                <a:lnTo>
                  <a:pt x="3634" y="3352"/>
                </a:lnTo>
                <a:lnTo>
                  <a:pt x="3645" y="3378"/>
                </a:lnTo>
                <a:lnTo>
                  <a:pt x="3655" y="3404"/>
                </a:lnTo>
                <a:lnTo>
                  <a:pt x="3665" y="3432"/>
                </a:lnTo>
                <a:lnTo>
                  <a:pt x="3674" y="3460"/>
                </a:lnTo>
                <a:lnTo>
                  <a:pt x="3682" y="3489"/>
                </a:lnTo>
                <a:lnTo>
                  <a:pt x="3698" y="3549"/>
                </a:lnTo>
                <a:lnTo>
                  <a:pt x="3714" y="3612"/>
                </a:lnTo>
                <a:lnTo>
                  <a:pt x="3714" y="3612"/>
                </a:lnTo>
                <a:lnTo>
                  <a:pt x="3725" y="3662"/>
                </a:lnTo>
                <a:lnTo>
                  <a:pt x="3734" y="3715"/>
                </a:lnTo>
                <a:lnTo>
                  <a:pt x="3742" y="3768"/>
                </a:lnTo>
                <a:lnTo>
                  <a:pt x="3744" y="3795"/>
                </a:lnTo>
                <a:lnTo>
                  <a:pt x="3746" y="3819"/>
                </a:lnTo>
                <a:lnTo>
                  <a:pt x="3748" y="3844"/>
                </a:lnTo>
                <a:lnTo>
                  <a:pt x="3749" y="3867"/>
                </a:lnTo>
                <a:lnTo>
                  <a:pt x="3748" y="3889"/>
                </a:lnTo>
                <a:lnTo>
                  <a:pt x="3745" y="3909"/>
                </a:lnTo>
                <a:lnTo>
                  <a:pt x="3742" y="3928"/>
                </a:lnTo>
                <a:lnTo>
                  <a:pt x="3737" y="3944"/>
                </a:lnTo>
                <a:lnTo>
                  <a:pt x="3731" y="3957"/>
                </a:lnTo>
                <a:lnTo>
                  <a:pt x="3728" y="3963"/>
                </a:lnTo>
                <a:lnTo>
                  <a:pt x="3724" y="3969"/>
                </a:lnTo>
                <a:lnTo>
                  <a:pt x="3724" y="3969"/>
                </a:lnTo>
                <a:lnTo>
                  <a:pt x="3715" y="3979"/>
                </a:lnTo>
                <a:lnTo>
                  <a:pt x="3705" y="3989"/>
                </a:lnTo>
                <a:lnTo>
                  <a:pt x="3691" y="3998"/>
                </a:lnTo>
                <a:lnTo>
                  <a:pt x="3683" y="4003"/>
                </a:lnTo>
                <a:lnTo>
                  <a:pt x="3673" y="4008"/>
                </a:lnTo>
                <a:lnTo>
                  <a:pt x="3663" y="4014"/>
                </a:lnTo>
                <a:lnTo>
                  <a:pt x="3650" y="4019"/>
                </a:lnTo>
                <a:lnTo>
                  <a:pt x="3621" y="4028"/>
                </a:lnTo>
                <a:lnTo>
                  <a:pt x="3582" y="4038"/>
                </a:lnTo>
                <a:lnTo>
                  <a:pt x="3535" y="4048"/>
                </a:lnTo>
                <a:lnTo>
                  <a:pt x="3560" y="4171"/>
                </a:lnTo>
                <a:lnTo>
                  <a:pt x="3560" y="4171"/>
                </a:lnTo>
                <a:lnTo>
                  <a:pt x="3579" y="4172"/>
                </a:lnTo>
                <a:lnTo>
                  <a:pt x="3597" y="4172"/>
                </a:lnTo>
                <a:lnTo>
                  <a:pt x="3615" y="4171"/>
                </a:lnTo>
                <a:lnTo>
                  <a:pt x="3631" y="4169"/>
                </a:lnTo>
                <a:lnTo>
                  <a:pt x="3646" y="4167"/>
                </a:lnTo>
                <a:lnTo>
                  <a:pt x="3662" y="4164"/>
                </a:lnTo>
                <a:lnTo>
                  <a:pt x="3688" y="4157"/>
                </a:lnTo>
                <a:lnTo>
                  <a:pt x="3711" y="4150"/>
                </a:lnTo>
                <a:lnTo>
                  <a:pt x="3728" y="4143"/>
                </a:lnTo>
                <a:lnTo>
                  <a:pt x="3742" y="4137"/>
                </a:lnTo>
                <a:lnTo>
                  <a:pt x="3742" y="4137"/>
                </a:lnTo>
                <a:lnTo>
                  <a:pt x="3736" y="4143"/>
                </a:lnTo>
                <a:lnTo>
                  <a:pt x="3730" y="4151"/>
                </a:lnTo>
                <a:lnTo>
                  <a:pt x="3722" y="4161"/>
                </a:lnTo>
                <a:lnTo>
                  <a:pt x="3722" y="4161"/>
                </a:lnTo>
                <a:lnTo>
                  <a:pt x="3711" y="4177"/>
                </a:lnTo>
                <a:lnTo>
                  <a:pt x="3700" y="4194"/>
                </a:lnTo>
                <a:lnTo>
                  <a:pt x="3692" y="4209"/>
                </a:lnTo>
                <a:lnTo>
                  <a:pt x="3685" y="4224"/>
                </a:lnTo>
                <a:lnTo>
                  <a:pt x="3680" y="4240"/>
                </a:lnTo>
                <a:lnTo>
                  <a:pt x="3675" y="4257"/>
                </a:lnTo>
                <a:lnTo>
                  <a:pt x="3672" y="4274"/>
                </a:lnTo>
                <a:lnTo>
                  <a:pt x="3669" y="4295"/>
                </a:lnTo>
                <a:lnTo>
                  <a:pt x="3799" y="4379"/>
                </a:lnTo>
                <a:lnTo>
                  <a:pt x="3799" y="4379"/>
                </a:lnTo>
                <a:lnTo>
                  <a:pt x="3812" y="4338"/>
                </a:lnTo>
                <a:lnTo>
                  <a:pt x="3826" y="4298"/>
                </a:lnTo>
                <a:lnTo>
                  <a:pt x="3841" y="4262"/>
                </a:lnTo>
                <a:lnTo>
                  <a:pt x="3855" y="4229"/>
                </a:lnTo>
                <a:lnTo>
                  <a:pt x="3870" y="4202"/>
                </a:lnTo>
                <a:lnTo>
                  <a:pt x="3877" y="4189"/>
                </a:lnTo>
                <a:lnTo>
                  <a:pt x="3885" y="4179"/>
                </a:lnTo>
                <a:lnTo>
                  <a:pt x="3892" y="4170"/>
                </a:lnTo>
                <a:lnTo>
                  <a:pt x="3899" y="4163"/>
                </a:lnTo>
                <a:lnTo>
                  <a:pt x="3906" y="4158"/>
                </a:lnTo>
                <a:lnTo>
                  <a:pt x="3913" y="4154"/>
                </a:lnTo>
                <a:lnTo>
                  <a:pt x="3913" y="4154"/>
                </a:lnTo>
                <a:lnTo>
                  <a:pt x="3919" y="4152"/>
                </a:lnTo>
                <a:lnTo>
                  <a:pt x="3926" y="4152"/>
                </a:lnTo>
                <a:lnTo>
                  <a:pt x="3935" y="4152"/>
                </a:lnTo>
                <a:lnTo>
                  <a:pt x="3944" y="4153"/>
                </a:lnTo>
                <a:lnTo>
                  <a:pt x="3954" y="4155"/>
                </a:lnTo>
                <a:lnTo>
                  <a:pt x="3965" y="4157"/>
                </a:lnTo>
                <a:lnTo>
                  <a:pt x="3990" y="4166"/>
                </a:lnTo>
                <a:lnTo>
                  <a:pt x="4017" y="4177"/>
                </a:lnTo>
                <a:lnTo>
                  <a:pt x="4047" y="4192"/>
                </a:lnTo>
                <a:lnTo>
                  <a:pt x="4078" y="4212"/>
                </a:lnTo>
                <a:lnTo>
                  <a:pt x="4110" y="4233"/>
                </a:lnTo>
                <a:lnTo>
                  <a:pt x="4127" y="4246"/>
                </a:lnTo>
                <a:lnTo>
                  <a:pt x="4143" y="4259"/>
                </a:lnTo>
                <a:lnTo>
                  <a:pt x="4160" y="4273"/>
                </a:lnTo>
                <a:lnTo>
                  <a:pt x="4176" y="4288"/>
                </a:lnTo>
                <a:lnTo>
                  <a:pt x="4192" y="4303"/>
                </a:lnTo>
                <a:lnTo>
                  <a:pt x="4208" y="4319"/>
                </a:lnTo>
                <a:lnTo>
                  <a:pt x="4224" y="4337"/>
                </a:lnTo>
                <a:lnTo>
                  <a:pt x="4239" y="4355"/>
                </a:lnTo>
                <a:lnTo>
                  <a:pt x="4254" y="4373"/>
                </a:lnTo>
                <a:lnTo>
                  <a:pt x="4268" y="4393"/>
                </a:lnTo>
                <a:lnTo>
                  <a:pt x="4282" y="4413"/>
                </a:lnTo>
                <a:lnTo>
                  <a:pt x="4296" y="4435"/>
                </a:lnTo>
                <a:lnTo>
                  <a:pt x="4308" y="4456"/>
                </a:lnTo>
                <a:lnTo>
                  <a:pt x="4320" y="4479"/>
                </a:lnTo>
                <a:lnTo>
                  <a:pt x="4331" y="4502"/>
                </a:lnTo>
                <a:lnTo>
                  <a:pt x="4342" y="4527"/>
                </a:lnTo>
                <a:lnTo>
                  <a:pt x="4342" y="4527"/>
                </a:lnTo>
                <a:lnTo>
                  <a:pt x="4347" y="4541"/>
                </a:lnTo>
                <a:lnTo>
                  <a:pt x="4352" y="4558"/>
                </a:lnTo>
                <a:lnTo>
                  <a:pt x="4356" y="4574"/>
                </a:lnTo>
                <a:lnTo>
                  <a:pt x="4360" y="4591"/>
                </a:lnTo>
                <a:lnTo>
                  <a:pt x="4363" y="4610"/>
                </a:lnTo>
                <a:lnTo>
                  <a:pt x="4366" y="4628"/>
                </a:lnTo>
                <a:lnTo>
                  <a:pt x="4370" y="4667"/>
                </a:lnTo>
                <a:lnTo>
                  <a:pt x="4372" y="4706"/>
                </a:lnTo>
                <a:lnTo>
                  <a:pt x="4371" y="4747"/>
                </a:lnTo>
                <a:lnTo>
                  <a:pt x="4370" y="4767"/>
                </a:lnTo>
                <a:lnTo>
                  <a:pt x="4369" y="4787"/>
                </a:lnTo>
                <a:lnTo>
                  <a:pt x="4366" y="4807"/>
                </a:lnTo>
                <a:lnTo>
                  <a:pt x="4363" y="4826"/>
                </a:lnTo>
                <a:lnTo>
                  <a:pt x="4360" y="4846"/>
                </a:lnTo>
                <a:lnTo>
                  <a:pt x="4356" y="4864"/>
                </a:lnTo>
                <a:lnTo>
                  <a:pt x="4351" y="4883"/>
                </a:lnTo>
                <a:lnTo>
                  <a:pt x="4345" y="4900"/>
                </a:lnTo>
                <a:lnTo>
                  <a:pt x="4339" y="4917"/>
                </a:lnTo>
                <a:lnTo>
                  <a:pt x="4332" y="4933"/>
                </a:lnTo>
                <a:lnTo>
                  <a:pt x="4324" y="4948"/>
                </a:lnTo>
                <a:lnTo>
                  <a:pt x="4316" y="4962"/>
                </a:lnTo>
                <a:lnTo>
                  <a:pt x="4307" y="4976"/>
                </a:lnTo>
                <a:lnTo>
                  <a:pt x="4298" y="4988"/>
                </a:lnTo>
                <a:lnTo>
                  <a:pt x="4287" y="4999"/>
                </a:lnTo>
                <a:lnTo>
                  <a:pt x="4276" y="5008"/>
                </a:lnTo>
                <a:lnTo>
                  <a:pt x="4264" y="5017"/>
                </a:lnTo>
                <a:lnTo>
                  <a:pt x="4252" y="5024"/>
                </a:lnTo>
                <a:lnTo>
                  <a:pt x="4238" y="5029"/>
                </a:lnTo>
                <a:lnTo>
                  <a:pt x="4224" y="5032"/>
                </a:lnTo>
                <a:lnTo>
                  <a:pt x="4224" y="5032"/>
                </a:lnTo>
                <a:lnTo>
                  <a:pt x="4216" y="5033"/>
                </a:lnTo>
                <a:lnTo>
                  <a:pt x="4208" y="5033"/>
                </a:lnTo>
                <a:lnTo>
                  <a:pt x="4198" y="5032"/>
                </a:lnTo>
                <a:lnTo>
                  <a:pt x="4188" y="5030"/>
                </a:lnTo>
                <a:lnTo>
                  <a:pt x="4168" y="5025"/>
                </a:lnTo>
                <a:lnTo>
                  <a:pt x="4145" y="5017"/>
                </a:lnTo>
                <a:lnTo>
                  <a:pt x="4123" y="5006"/>
                </a:lnTo>
                <a:lnTo>
                  <a:pt x="4099" y="4995"/>
                </a:lnTo>
                <a:lnTo>
                  <a:pt x="4051" y="4973"/>
                </a:lnTo>
                <a:lnTo>
                  <a:pt x="4028" y="4961"/>
                </a:lnTo>
                <a:lnTo>
                  <a:pt x="4005" y="4952"/>
                </a:lnTo>
                <a:lnTo>
                  <a:pt x="3984" y="4945"/>
                </a:lnTo>
                <a:lnTo>
                  <a:pt x="3964" y="4940"/>
                </a:lnTo>
                <a:lnTo>
                  <a:pt x="3955" y="4939"/>
                </a:lnTo>
                <a:lnTo>
                  <a:pt x="3947" y="4938"/>
                </a:lnTo>
                <a:lnTo>
                  <a:pt x="3939" y="4939"/>
                </a:lnTo>
                <a:lnTo>
                  <a:pt x="3932" y="4940"/>
                </a:lnTo>
                <a:lnTo>
                  <a:pt x="3924" y="4943"/>
                </a:lnTo>
                <a:lnTo>
                  <a:pt x="3919" y="4947"/>
                </a:lnTo>
                <a:lnTo>
                  <a:pt x="3914" y="4952"/>
                </a:lnTo>
                <a:lnTo>
                  <a:pt x="3909" y="4958"/>
                </a:lnTo>
                <a:lnTo>
                  <a:pt x="3909" y="4958"/>
                </a:lnTo>
                <a:lnTo>
                  <a:pt x="3905" y="4965"/>
                </a:lnTo>
                <a:lnTo>
                  <a:pt x="3900" y="4973"/>
                </a:lnTo>
                <a:lnTo>
                  <a:pt x="3893" y="4979"/>
                </a:lnTo>
                <a:lnTo>
                  <a:pt x="3886" y="4985"/>
                </a:lnTo>
                <a:lnTo>
                  <a:pt x="3869" y="4996"/>
                </a:lnTo>
                <a:lnTo>
                  <a:pt x="3851" y="5006"/>
                </a:lnTo>
                <a:lnTo>
                  <a:pt x="3810" y="5028"/>
                </a:lnTo>
                <a:lnTo>
                  <a:pt x="3789" y="5039"/>
                </a:lnTo>
                <a:lnTo>
                  <a:pt x="3770" y="5052"/>
                </a:lnTo>
                <a:lnTo>
                  <a:pt x="3761" y="5058"/>
                </a:lnTo>
                <a:lnTo>
                  <a:pt x="3752" y="5067"/>
                </a:lnTo>
                <a:lnTo>
                  <a:pt x="3743" y="5074"/>
                </a:lnTo>
                <a:lnTo>
                  <a:pt x="3735" y="5083"/>
                </a:lnTo>
                <a:lnTo>
                  <a:pt x="3728" y="5092"/>
                </a:lnTo>
                <a:lnTo>
                  <a:pt x="3722" y="5102"/>
                </a:lnTo>
                <a:lnTo>
                  <a:pt x="3717" y="5113"/>
                </a:lnTo>
                <a:lnTo>
                  <a:pt x="3713" y="5125"/>
                </a:lnTo>
                <a:lnTo>
                  <a:pt x="3710" y="5137"/>
                </a:lnTo>
                <a:lnTo>
                  <a:pt x="3708" y="5151"/>
                </a:lnTo>
                <a:lnTo>
                  <a:pt x="3707" y="5165"/>
                </a:lnTo>
                <a:lnTo>
                  <a:pt x="3707" y="5181"/>
                </a:lnTo>
                <a:lnTo>
                  <a:pt x="3709" y="5198"/>
                </a:lnTo>
                <a:lnTo>
                  <a:pt x="3713" y="5215"/>
                </a:lnTo>
                <a:lnTo>
                  <a:pt x="3718" y="5234"/>
                </a:lnTo>
                <a:lnTo>
                  <a:pt x="3724" y="5255"/>
                </a:lnTo>
                <a:lnTo>
                  <a:pt x="3724" y="5255"/>
                </a:lnTo>
                <a:lnTo>
                  <a:pt x="3741" y="5234"/>
                </a:lnTo>
                <a:lnTo>
                  <a:pt x="3759" y="5213"/>
                </a:lnTo>
                <a:lnTo>
                  <a:pt x="3776" y="5194"/>
                </a:lnTo>
                <a:lnTo>
                  <a:pt x="3794" y="5178"/>
                </a:lnTo>
                <a:lnTo>
                  <a:pt x="3802" y="5171"/>
                </a:lnTo>
                <a:lnTo>
                  <a:pt x="3811" y="5165"/>
                </a:lnTo>
                <a:lnTo>
                  <a:pt x="3819" y="5159"/>
                </a:lnTo>
                <a:lnTo>
                  <a:pt x="3827" y="5155"/>
                </a:lnTo>
                <a:lnTo>
                  <a:pt x="3835" y="5153"/>
                </a:lnTo>
                <a:lnTo>
                  <a:pt x="3843" y="5151"/>
                </a:lnTo>
                <a:lnTo>
                  <a:pt x="3850" y="5151"/>
                </a:lnTo>
                <a:lnTo>
                  <a:pt x="3857" y="5153"/>
                </a:lnTo>
                <a:lnTo>
                  <a:pt x="3857" y="5153"/>
                </a:lnTo>
                <a:lnTo>
                  <a:pt x="3861" y="5155"/>
                </a:lnTo>
                <a:lnTo>
                  <a:pt x="3864" y="5157"/>
                </a:lnTo>
                <a:lnTo>
                  <a:pt x="3870" y="5163"/>
                </a:lnTo>
                <a:lnTo>
                  <a:pt x="3875" y="5171"/>
                </a:lnTo>
                <a:lnTo>
                  <a:pt x="3879" y="5179"/>
                </a:lnTo>
                <a:lnTo>
                  <a:pt x="3888" y="5200"/>
                </a:lnTo>
                <a:lnTo>
                  <a:pt x="3894" y="5210"/>
                </a:lnTo>
                <a:lnTo>
                  <a:pt x="3901" y="5220"/>
                </a:lnTo>
                <a:lnTo>
                  <a:pt x="3901" y="5220"/>
                </a:lnTo>
                <a:lnTo>
                  <a:pt x="3904" y="5223"/>
                </a:lnTo>
                <a:lnTo>
                  <a:pt x="3908" y="5225"/>
                </a:lnTo>
                <a:lnTo>
                  <a:pt x="3913" y="5227"/>
                </a:lnTo>
                <a:lnTo>
                  <a:pt x="3919" y="5228"/>
                </a:lnTo>
                <a:lnTo>
                  <a:pt x="3934" y="5230"/>
                </a:lnTo>
                <a:lnTo>
                  <a:pt x="3950" y="5230"/>
                </a:lnTo>
                <a:lnTo>
                  <a:pt x="3968" y="5229"/>
                </a:lnTo>
                <a:lnTo>
                  <a:pt x="3989" y="5227"/>
                </a:lnTo>
                <a:lnTo>
                  <a:pt x="4032" y="5223"/>
                </a:lnTo>
                <a:lnTo>
                  <a:pt x="4074" y="5219"/>
                </a:lnTo>
                <a:lnTo>
                  <a:pt x="4093" y="5217"/>
                </a:lnTo>
                <a:lnTo>
                  <a:pt x="4110" y="5217"/>
                </a:lnTo>
                <a:lnTo>
                  <a:pt x="4126" y="5217"/>
                </a:lnTo>
                <a:lnTo>
                  <a:pt x="4137" y="5219"/>
                </a:lnTo>
                <a:lnTo>
                  <a:pt x="4142" y="5221"/>
                </a:lnTo>
                <a:lnTo>
                  <a:pt x="4146" y="5223"/>
                </a:lnTo>
                <a:lnTo>
                  <a:pt x="4148" y="5225"/>
                </a:lnTo>
                <a:lnTo>
                  <a:pt x="4150" y="5228"/>
                </a:lnTo>
                <a:lnTo>
                  <a:pt x="4150" y="5228"/>
                </a:lnTo>
                <a:lnTo>
                  <a:pt x="4151" y="5231"/>
                </a:lnTo>
                <a:lnTo>
                  <a:pt x="4150" y="5234"/>
                </a:lnTo>
                <a:lnTo>
                  <a:pt x="4149" y="5236"/>
                </a:lnTo>
                <a:lnTo>
                  <a:pt x="4148" y="5238"/>
                </a:lnTo>
                <a:lnTo>
                  <a:pt x="4143" y="5242"/>
                </a:lnTo>
                <a:lnTo>
                  <a:pt x="4136" y="5243"/>
                </a:lnTo>
                <a:lnTo>
                  <a:pt x="4118" y="5246"/>
                </a:lnTo>
                <a:lnTo>
                  <a:pt x="4100" y="5248"/>
                </a:lnTo>
                <a:lnTo>
                  <a:pt x="4100" y="5248"/>
                </a:lnTo>
                <a:lnTo>
                  <a:pt x="4021" y="5262"/>
                </a:lnTo>
                <a:lnTo>
                  <a:pt x="3981" y="5269"/>
                </a:lnTo>
                <a:lnTo>
                  <a:pt x="3943" y="5277"/>
                </a:lnTo>
                <a:lnTo>
                  <a:pt x="3925" y="5282"/>
                </a:lnTo>
                <a:lnTo>
                  <a:pt x="3909" y="5288"/>
                </a:lnTo>
                <a:lnTo>
                  <a:pt x="3894" y="5294"/>
                </a:lnTo>
                <a:lnTo>
                  <a:pt x="3881" y="5300"/>
                </a:lnTo>
                <a:lnTo>
                  <a:pt x="3869" y="5306"/>
                </a:lnTo>
                <a:lnTo>
                  <a:pt x="3860" y="5314"/>
                </a:lnTo>
                <a:lnTo>
                  <a:pt x="3853" y="5322"/>
                </a:lnTo>
                <a:lnTo>
                  <a:pt x="3850" y="5326"/>
                </a:lnTo>
                <a:lnTo>
                  <a:pt x="3848" y="5331"/>
                </a:lnTo>
                <a:lnTo>
                  <a:pt x="3848" y="5331"/>
                </a:lnTo>
                <a:lnTo>
                  <a:pt x="3846" y="5338"/>
                </a:lnTo>
                <a:lnTo>
                  <a:pt x="3846" y="5342"/>
                </a:lnTo>
                <a:lnTo>
                  <a:pt x="3847" y="5352"/>
                </a:lnTo>
                <a:lnTo>
                  <a:pt x="3847" y="5357"/>
                </a:lnTo>
                <a:lnTo>
                  <a:pt x="3846" y="5363"/>
                </a:lnTo>
                <a:lnTo>
                  <a:pt x="3845" y="5371"/>
                </a:lnTo>
                <a:lnTo>
                  <a:pt x="3842" y="5382"/>
                </a:lnTo>
                <a:lnTo>
                  <a:pt x="3842" y="5382"/>
                </a:lnTo>
                <a:lnTo>
                  <a:pt x="3837" y="5393"/>
                </a:lnTo>
                <a:lnTo>
                  <a:pt x="3831" y="5402"/>
                </a:lnTo>
                <a:lnTo>
                  <a:pt x="3823" y="5410"/>
                </a:lnTo>
                <a:lnTo>
                  <a:pt x="3815" y="5418"/>
                </a:lnTo>
                <a:lnTo>
                  <a:pt x="3796" y="5434"/>
                </a:lnTo>
                <a:lnTo>
                  <a:pt x="3786" y="5442"/>
                </a:lnTo>
                <a:lnTo>
                  <a:pt x="3776" y="5451"/>
                </a:lnTo>
                <a:lnTo>
                  <a:pt x="3767" y="5460"/>
                </a:lnTo>
                <a:lnTo>
                  <a:pt x="3758" y="5472"/>
                </a:lnTo>
                <a:lnTo>
                  <a:pt x="3750" y="5485"/>
                </a:lnTo>
                <a:lnTo>
                  <a:pt x="3742" y="5499"/>
                </a:lnTo>
                <a:lnTo>
                  <a:pt x="3736" y="5517"/>
                </a:lnTo>
                <a:lnTo>
                  <a:pt x="3732" y="5536"/>
                </a:lnTo>
                <a:lnTo>
                  <a:pt x="3730" y="5558"/>
                </a:lnTo>
                <a:lnTo>
                  <a:pt x="3730" y="5584"/>
                </a:lnTo>
                <a:lnTo>
                  <a:pt x="3730" y="5584"/>
                </a:lnTo>
                <a:lnTo>
                  <a:pt x="3732" y="5597"/>
                </a:lnTo>
                <a:lnTo>
                  <a:pt x="3735" y="5610"/>
                </a:lnTo>
                <a:lnTo>
                  <a:pt x="3739" y="5622"/>
                </a:lnTo>
                <a:lnTo>
                  <a:pt x="3744" y="5634"/>
                </a:lnTo>
                <a:lnTo>
                  <a:pt x="3751" y="5644"/>
                </a:lnTo>
                <a:lnTo>
                  <a:pt x="3757" y="5656"/>
                </a:lnTo>
                <a:lnTo>
                  <a:pt x="3763" y="5665"/>
                </a:lnTo>
                <a:lnTo>
                  <a:pt x="3770" y="5674"/>
                </a:lnTo>
                <a:lnTo>
                  <a:pt x="3784" y="5689"/>
                </a:lnTo>
                <a:lnTo>
                  <a:pt x="3797" y="5701"/>
                </a:lnTo>
                <a:lnTo>
                  <a:pt x="3807" y="5708"/>
                </a:lnTo>
                <a:lnTo>
                  <a:pt x="3810" y="5710"/>
                </a:lnTo>
                <a:lnTo>
                  <a:pt x="3813" y="5711"/>
                </a:lnTo>
                <a:lnTo>
                  <a:pt x="3813" y="5711"/>
                </a:lnTo>
                <a:lnTo>
                  <a:pt x="3814" y="5710"/>
                </a:lnTo>
                <a:lnTo>
                  <a:pt x="3815" y="5709"/>
                </a:lnTo>
                <a:lnTo>
                  <a:pt x="3816" y="5704"/>
                </a:lnTo>
                <a:lnTo>
                  <a:pt x="3818" y="5696"/>
                </a:lnTo>
                <a:lnTo>
                  <a:pt x="3818" y="5686"/>
                </a:lnTo>
                <a:lnTo>
                  <a:pt x="3820" y="5662"/>
                </a:lnTo>
                <a:lnTo>
                  <a:pt x="3823" y="5633"/>
                </a:lnTo>
                <a:lnTo>
                  <a:pt x="3825" y="5619"/>
                </a:lnTo>
                <a:lnTo>
                  <a:pt x="3828" y="5603"/>
                </a:lnTo>
                <a:lnTo>
                  <a:pt x="3831" y="5590"/>
                </a:lnTo>
                <a:lnTo>
                  <a:pt x="3836" y="5577"/>
                </a:lnTo>
                <a:lnTo>
                  <a:pt x="3843" y="5566"/>
                </a:lnTo>
                <a:lnTo>
                  <a:pt x="3847" y="5562"/>
                </a:lnTo>
                <a:lnTo>
                  <a:pt x="3851" y="5556"/>
                </a:lnTo>
                <a:lnTo>
                  <a:pt x="3855" y="5553"/>
                </a:lnTo>
                <a:lnTo>
                  <a:pt x="3860" y="5550"/>
                </a:lnTo>
                <a:lnTo>
                  <a:pt x="3865" y="5547"/>
                </a:lnTo>
                <a:lnTo>
                  <a:pt x="3871" y="5546"/>
                </a:lnTo>
                <a:lnTo>
                  <a:pt x="3871" y="5546"/>
                </a:lnTo>
                <a:lnTo>
                  <a:pt x="3877" y="5545"/>
                </a:lnTo>
                <a:lnTo>
                  <a:pt x="3882" y="5546"/>
                </a:lnTo>
                <a:lnTo>
                  <a:pt x="3888" y="5548"/>
                </a:lnTo>
                <a:lnTo>
                  <a:pt x="3892" y="5552"/>
                </a:lnTo>
                <a:lnTo>
                  <a:pt x="3902" y="5561"/>
                </a:lnTo>
                <a:lnTo>
                  <a:pt x="3911" y="5571"/>
                </a:lnTo>
                <a:lnTo>
                  <a:pt x="3921" y="5581"/>
                </a:lnTo>
                <a:lnTo>
                  <a:pt x="3926" y="5586"/>
                </a:lnTo>
                <a:lnTo>
                  <a:pt x="3933" y="5590"/>
                </a:lnTo>
                <a:lnTo>
                  <a:pt x="3940" y="5594"/>
                </a:lnTo>
                <a:lnTo>
                  <a:pt x="3946" y="5597"/>
                </a:lnTo>
                <a:lnTo>
                  <a:pt x="3954" y="5598"/>
                </a:lnTo>
                <a:lnTo>
                  <a:pt x="3962" y="5599"/>
                </a:lnTo>
                <a:lnTo>
                  <a:pt x="3962" y="5599"/>
                </a:lnTo>
                <a:lnTo>
                  <a:pt x="3970" y="5598"/>
                </a:lnTo>
                <a:lnTo>
                  <a:pt x="3979" y="5595"/>
                </a:lnTo>
                <a:lnTo>
                  <a:pt x="3987" y="5592"/>
                </a:lnTo>
                <a:lnTo>
                  <a:pt x="3996" y="5588"/>
                </a:lnTo>
                <a:lnTo>
                  <a:pt x="4005" y="5582"/>
                </a:lnTo>
                <a:lnTo>
                  <a:pt x="4014" y="5576"/>
                </a:lnTo>
                <a:lnTo>
                  <a:pt x="4035" y="5559"/>
                </a:lnTo>
                <a:lnTo>
                  <a:pt x="4055" y="5542"/>
                </a:lnTo>
                <a:lnTo>
                  <a:pt x="4077" y="5522"/>
                </a:lnTo>
                <a:lnTo>
                  <a:pt x="4122" y="5479"/>
                </a:lnTo>
                <a:lnTo>
                  <a:pt x="4144" y="5457"/>
                </a:lnTo>
                <a:lnTo>
                  <a:pt x="4166" y="5437"/>
                </a:lnTo>
                <a:lnTo>
                  <a:pt x="4187" y="5417"/>
                </a:lnTo>
                <a:lnTo>
                  <a:pt x="4208" y="5402"/>
                </a:lnTo>
                <a:lnTo>
                  <a:pt x="4227" y="5389"/>
                </a:lnTo>
                <a:lnTo>
                  <a:pt x="4236" y="5384"/>
                </a:lnTo>
                <a:lnTo>
                  <a:pt x="4245" y="5380"/>
                </a:lnTo>
                <a:lnTo>
                  <a:pt x="4254" y="5376"/>
                </a:lnTo>
                <a:lnTo>
                  <a:pt x="4262" y="5374"/>
                </a:lnTo>
                <a:lnTo>
                  <a:pt x="4270" y="5374"/>
                </a:lnTo>
                <a:lnTo>
                  <a:pt x="4277" y="5375"/>
                </a:lnTo>
                <a:lnTo>
                  <a:pt x="4277" y="5375"/>
                </a:lnTo>
                <a:lnTo>
                  <a:pt x="4278" y="5376"/>
                </a:lnTo>
                <a:lnTo>
                  <a:pt x="4279" y="5379"/>
                </a:lnTo>
                <a:lnTo>
                  <a:pt x="4278" y="5382"/>
                </a:lnTo>
                <a:lnTo>
                  <a:pt x="4277" y="5384"/>
                </a:lnTo>
                <a:lnTo>
                  <a:pt x="4272" y="5391"/>
                </a:lnTo>
                <a:lnTo>
                  <a:pt x="4264" y="5399"/>
                </a:lnTo>
                <a:lnTo>
                  <a:pt x="4241" y="5420"/>
                </a:lnTo>
                <a:lnTo>
                  <a:pt x="4212" y="5447"/>
                </a:lnTo>
                <a:lnTo>
                  <a:pt x="4181" y="5477"/>
                </a:lnTo>
                <a:lnTo>
                  <a:pt x="4167" y="5492"/>
                </a:lnTo>
                <a:lnTo>
                  <a:pt x="4152" y="5508"/>
                </a:lnTo>
                <a:lnTo>
                  <a:pt x="4140" y="5525"/>
                </a:lnTo>
                <a:lnTo>
                  <a:pt x="4129" y="5542"/>
                </a:lnTo>
                <a:lnTo>
                  <a:pt x="4121" y="5558"/>
                </a:lnTo>
                <a:lnTo>
                  <a:pt x="4118" y="5567"/>
                </a:lnTo>
                <a:lnTo>
                  <a:pt x="4116" y="5576"/>
                </a:lnTo>
                <a:lnTo>
                  <a:pt x="4116" y="5576"/>
                </a:lnTo>
                <a:lnTo>
                  <a:pt x="4114" y="5588"/>
                </a:lnTo>
                <a:lnTo>
                  <a:pt x="4114" y="5599"/>
                </a:lnTo>
                <a:lnTo>
                  <a:pt x="4115" y="5611"/>
                </a:lnTo>
                <a:lnTo>
                  <a:pt x="4119" y="5620"/>
                </a:lnTo>
                <a:lnTo>
                  <a:pt x="4123" y="5628"/>
                </a:lnTo>
                <a:lnTo>
                  <a:pt x="4129" y="5636"/>
                </a:lnTo>
                <a:lnTo>
                  <a:pt x="4135" y="5643"/>
                </a:lnTo>
                <a:lnTo>
                  <a:pt x="4142" y="5649"/>
                </a:lnTo>
                <a:lnTo>
                  <a:pt x="4157" y="5663"/>
                </a:lnTo>
                <a:lnTo>
                  <a:pt x="4163" y="5669"/>
                </a:lnTo>
                <a:lnTo>
                  <a:pt x="4169" y="5676"/>
                </a:lnTo>
                <a:lnTo>
                  <a:pt x="4175" y="5683"/>
                </a:lnTo>
                <a:lnTo>
                  <a:pt x="4179" y="5690"/>
                </a:lnTo>
                <a:lnTo>
                  <a:pt x="4182" y="5699"/>
                </a:lnTo>
                <a:lnTo>
                  <a:pt x="4183" y="5708"/>
                </a:lnTo>
                <a:lnTo>
                  <a:pt x="4183" y="5708"/>
                </a:lnTo>
                <a:lnTo>
                  <a:pt x="4184" y="5718"/>
                </a:lnTo>
                <a:lnTo>
                  <a:pt x="4186" y="5729"/>
                </a:lnTo>
                <a:lnTo>
                  <a:pt x="4189" y="5738"/>
                </a:lnTo>
                <a:lnTo>
                  <a:pt x="4193" y="5749"/>
                </a:lnTo>
                <a:lnTo>
                  <a:pt x="4198" y="5758"/>
                </a:lnTo>
                <a:lnTo>
                  <a:pt x="4205" y="5767"/>
                </a:lnTo>
                <a:lnTo>
                  <a:pt x="4212" y="5775"/>
                </a:lnTo>
                <a:lnTo>
                  <a:pt x="4220" y="5783"/>
                </a:lnTo>
                <a:lnTo>
                  <a:pt x="4228" y="5792"/>
                </a:lnTo>
                <a:lnTo>
                  <a:pt x="4237" y="5799"/>
                </a:lnTo>
                <a:lnTo>
                  <a:pt x="4257" y="5812"/>
                </a:lnTo>
                <a:lnTo>
                  <a:pt x="4278" y="5824"/>
                </a:lnTo>
                <a:lnTo>
                  <a:pt x="4300" y="5835"/>
                </a:lnTo>
                <a:lnTo>
                  <a:pt x="4322" y="5844"/>
                </a:lnTo>
                <a:lnTo>
                  <a:pt x="4344" y="5852"/>
                </a:lnTo>
                <a:lnTo>
                  <a:pt x="4364" y="5857"/>
                </a:lnTo>
                <a:lnTo>
                  <a:pt x="4382" y="5862"/>
                </a:lnTo>
                <a:lnTo>
                  <a:pt x="4399" y="5864"/>
                </a:lnTo>
                <a:lnTo>
                  <a:pt x="4412" y="5865"/>
                </a:lnTo>
                <a:lnTo>
                  <a:pt x="4421" y="5865"/>
                </a:lnTo>
                <a:lnTo>
                  <a:pt x="4424" y="5864"/>
                </a:lnTo>
                <a:lnTo>
                  <a:pt x="4426" y="5863"/>
                </a:lnTo>
                <a:lnTo>
                  <a:pt x="4426" y="5863"/>
                </a:lnTo>
                <a:lnTo>
                  <a:pt x="4427" y="5861"/>
                </a:lnTo>
                <a:lnTo>
                  <a:pt x="4427" y="5859"/>
                </a:lnTo>
                <a:lnTo>
                  <a:pt x="4425" y="5853"/>
                </a:lnTo>
                <a:lnTo>
                  <a:pt x="4420" y="5846"/>
                </a:lnTo>
                <a:lnTo>
                  <a:pt x="4412" y="5836"/>
                </a:lnTo>
                <a:lnTo>
                  <a:pt x="4393" y="5813"/>
                </a:lnTo>
                <a:lnTo>
                  <a:pt x="4369" y="5786"/>
                </a:lnTo>
                <a:lnTo>
                  <a:pt x="4358" y="5773"/>
                </a:lnTo>
                <a:lnTo>
                  <a:pt x="4348" y="5759"/>
                </a:lnTo>
                <a:lnTo>
                  <a:pt x="4339" y="5745"/>
                </a:lnTo>
                <a:lnTo>
                  <a:pt x="4330" y="5731"/>
                </a:lnTo>
                <a:lnTo>
                  <a:pt x="4325" y="5718"/>
                </a:lnTo>
                <a:lnTo>
                  <a:pt x="4324" y="5712"/>
                </a:lnTo>
                <a:lnTo>
                  <a:pt x="4323" y="5706"/>
                </a:lnTo>
                <a:lnTo>
                  <a:pt x="4323" y="5700"/>
                </a:lnTo>
                <a:lnTo>
                  <a:pt x="4324" y="5694"/>
                </a:lnTo>
                <a:lnTo>
                  <a:pt x="4326" y="5689"/>
                </a:lnTo>
                <a:lnTo>
                  <a:pt x="4329" y="5684"/>
                </a:lnTo>
                <a:lnTo>
                  <a:pt x="4329" y="5684"/>
                </a:lnTo>
                <a:lnTo>
                  <a:pt x="4333" y="5680"/>
                </a:lnTo>
                <a:lnTo>
                  <a:pt x="4337" y="5677"/>
                </a:lnTo>
                <a:lnTo>
                  <a:pt x="4343" y="5676"/>
                </a:lnTo>
                <a:lnTo>
                  <a:pt x="4347" y="5675"/>
                </a:lnTo>
                <a:lnTo>
                  <a:pt x="4352" y="5675"/>
                </a:lnTo>
                <a:lnTo>
                  <a:pt x="4358" y="5676"/>
                </a:lnTo>
                <a:lnTo>
                  <a:pt x="4370" y="5678"/>
                </a:lnTo>
                <a:lnTo>
                  <a:pt x="4384" y="5681"/>
                </a:lnTo>
                <a:lnTo>
                  <a:pt x="4392" y="5682"/>
                </a:lnTo>
                <a:lnTo>
                  <a:pt x="4399" y="5682"/>
                </a:lnTo>
                <a:lnTo>
                  <a:pt x="4408" y="5682"/>
                </a:lnTo>
                <a:lnTo>
                  <a:pt x="4416" y="5681"/>
                </a:lnTo>
                <a:lnTo>
                  <a:pt x="4425" y="5679"/>
                </a:lnTo>
                <a:lnTo>
                  <a:pt x="4436" y="5675"/>
                </a:lnTo>
                <a:lnTo>
                  <a:pt x="4436" y="5675"/>
                </a:lnTo>
                <a:lnTo>
                  <a:pt x="4437" y="5673"/>
                </a:lnTo>
                <a:lnTo>
                  <a:pt x="4438" y="5670"/>
                </a:lnTo>
                <a:lnTo>
                  <a:pt x="4438" y="5663"/>
                </a:lnTo>
                <a:lnTo>
                  <a:pt x="4436" y="5652"/>
                </a:lnTo>
                <a:lnTo>
                  <a:pt x="4434" y="5637"/>
                </a:lnTo>
                <a:lnTo>
                  <a:pt x="4431" y="5621"/>
                </a:lnTo>
                <a:lnTo>
                  <a:pt x="4428" y="5602"/>
                </a:lnTo>
                <a:lnTo>
                  <a:pt x="4426" y="5581"/>
                </a:lnTo>
                <a:lnTo>
                  <a:pt x="4426" y="5557"/>
                </a:lnTo>
                <a:lnTo>
                  <a:pt x="4428" y="5533"/>
                </a:lnTo>
                <a:lnTo>
                  <a:pt x="4431" y="5520"/>
                </a:lnTo>
                <a:lnTo>
                  <a:pt x="4434" y="5505"/>
                </a:lnTo>
                <a:lnTo>
                  <a:pt x="4437" y="5492"/>
                </a:lnTo>
                <a:lnTo>
                  <a:pt x="4441" y="5477"/>
                </a:lnTo>
                <a:lnTo>
                  <a:pt x="4446" y="5462"/>
                </a:lnTo>
                <a:lnTo>
                  <a:pt x="4453" y="5447"/>
                </a:lnTo>
                <a:lnTo>
                  <a:pt x="4460" y="5432"/>
                </a:lnTo>
                <a:lnTo>
                  <a:pt x="4469" y="5416"/>
                </a:lnTo>
                <a:lnTo>
                  <a:pt x="4479" y="5400"/>
                </a:lnTo>
                <a:lnTo>
                  <a:pt x="4490" y="5384"/>
                </a:lnTo>
                <a:lnTo>
                  <a:pt x="4503" y="5367"/>
                </a:lnTo>
                <a:lnTo>
                  <a:pt x="4516" y="5351"/>
                </a:lnTo>
                <a:lnTo>
                  <a:pt x="4533" y="5334"/>
                </a:lnTo>
                <a:lnTo>
                  <a:pt x="4550" y="5317"/>
                </a:lnTo>
                <a:lnTo>
                  <a:pt x="4550" y="5317"/>
                </a:lnTo>
                <a:lnTo>
                  <a:pt x="4557" y="5328"/>
                </a:lnTo>
                <a:lnTo>
                  <a:pt x="4566" y="5340"/>
                </a:lnTo>
                <a:lnTo>
                  <a:pt x="4578" y="5353"/>
                </a:lnTo>
                <a:lnTo>
                  <a:pt x="4586" y="5360"/>
                </a:lnTo>
                <a:lnTo>
                  <a:pt x="4594" y="5367"/>
                </a:lnTo>
                <a:lnTo>
                  <a:pt x="4603" y="5373"/>
                </a:lnTo>
                <a:lnTo>
                  <a:pt x="4614" y="5381"/>
                </a:lnTo>
                <a:lnTo>
                  <a:pt x="4624" y="5386"/>
                </a:lnTo>
                <a:lnTo>
                  <a:pt x="4636" y="5390"/>
                </a:lnTo>
                <a:lnTo>
                  <a:pt x="4648" y="5394"/>
                </a:lnTo>
                <a:lnTo>
                  <a:pt x="4662" y="5396"/>
                </a:lnTo>
                <a:lnTo>
                  <a:pt x="4662" y="5396"/>
                </a:lnTo>
                <a:lnTo>
                  <a:pt x="4668" y="5397"/>
                </a:lnTo>
                <a:lnTo>
                  <a:pt x="4673" y="5399"/>
                </a:lnTo>
                <a:lnTo>
                  <a:pt x="4677" y="5402"/>
                </a:lnTo>
                <a:lnTo>
                  <a:pt x="4681" y="5405"/>
                </a:lnTo>
                <a:lnTo>
                  <a:pt x="4685" y="5409"/>
                </a:lnTo>
                <a:lnTo>
                  <a:pt x="4688" y="5413"/>
                </a:lnTo>
                <a:lnTo>
                  <a:pt x="4692" y="5425"/>
                </a:lnTo>
                <a:lnTo>
                  <a:pt x="4696" y="5437"/>
                </a:lnTo>
                <a:lnTo>
                  <a:pt x="4698" y="5450"/>
                </a:lnTo>
                <a:lnTo>
                  <a:pt x="4698" y="5463"/>
                </a:lnTo>
                <a:lnTo>
                  <a:pt x="4698" y="5478"/>
                </a:lnTo>
                <a:lnTo>
                  <a:pt x="4696" y="5506"/>
                </a:lnTo>
                <a:lnTo>
                  <a:pt x="4694" y="5531"/>
                </a:lnTo>
                <a:lnTo>
                  <a:pt x="4692" y="5548"/>
                </a:lnTo>
                <a:lnTo>
                  <a:pt x="4692" y="5553"/>
                </a:lnTo>
                <a:lnTo>
                  <a:pt x="4693" y="5554"/>
                </a:lnTo>
                <a:lnTo>
                  <a:pt x="4694" y="5554"/>
                </a:lnTo>
                <a:lnTo>
                  <a:pt x="4694" y="5554"/>
                </a:lnTo>
                <a:lnTo>
                  <a:pt x="4697" y="5553"/>
                </a:lnTo>
                <a:lnTo>
                  <a:pt x="4702" y="5550"/>
                </a:lnTo>
                <a:lnTo>
                  <a:pt x="4708" y="5545"/>
                </a:lnTo>
                <a:lnTo>
                  <a:pt x="4714" y="5538"/>
                </a:lnTo>
                <a:lnTo>
                  <a:pt x="4721" y="5529"/>
                </a:lnTo>
                <a:lnTo>
                  <a:pt x="4729" y="5519"/>
                </a:lnTo>
                <a:lnTo>
                  <a:pt x="4736" y="5505"/>
                </a:lnTo>
                <a:lnTo>
                  <a:pt x="4743" y="5492"/>
                </a:lnTo>
                <a:lnTo>
                  <a:pt x="4751" y="5477"/>
                </a:lnTo>
                <a:lnTo>
                  <a:pt x="4758" y="5459"/>
                </a:lnTo>
                <a:lnTo>
                  <a:pt x="4763" y="5442"/>
                </a:lnTo>
                <a:lnTo>
                  <a:pt x="4768" y="5422"/>
                </a:lnTo>
                <a:lnTo>
                  <a:pt x="4771" y="5402"/>
                </a:lnTo>
                <a:lnTo>
                  <a:pt x="4773" y="5382"/>
                </a:lnTo>
                <a:lnTo>
                  <a:pt x="4772" y="5360"/>
                </a:lnTo>
                <a:lnTo>
                  <a:pt x="4770" y="5338"/>
                </a:lnTo>
                <a:lnTo>
                  <a:pt x="4770" y="5338"/>
                </a:lnTo>
                <a:lnTo>
                  <a:pt x="4778" y="5330"/>
                </a:lnTo>
                <a:lnTo>
                  <a:pt x="4798" y="5313"/>
                </a:lnTo>
                <a:lnTo>
                  <a:pt x="4809" y="5302"/>
                </a:lnTo>
                <a:lnTo>
                  <a:pt x="4819" y="5290"/>
                </a:lnTo>
                <a:lnTo>
                  <a:pt x="4827" y="5276"/>
                </a:lnTo>
                <a:lnTo>
                  <a:pt x="4830" y="5270"/>
                </a:lnTo>
                <a:lnTo>
                  <a:pt x="4832" y="5264"/>
                </a:lnTo>
                <a:lnTo>
                  <a:pt x="4832" y="5264"/>
                </a:lnTo>
                <a:lnTo>
                  <a:pt x="4834" y="5255"/>
                </a:lnTo>
                <a:lnTo>
                  <a:pt x="4835" y="5246"/>
                </a:lnTo>
                <a:lnTo>
                  <a:pt x="4836" y="5237"/>
                </a:lnTo>
                <a:lnTo>
                  <a:pt x="4835" y="5230"/>
                </a:lnTo>
                <a:lnTo>
                  <a:pt x="4834" y="5224"/>
                </a:lnTo>
                <a:lnTo>
                  <a:pt x="4832" y="5218"/>
                </a:lnTo>
                <a:lnTo>
                  <a:pt x="4830" y="5213"/>
                </a:lnTo>
                <a:lnTo>
                  <a:pt x="4827" y="5208"/>
                </a:lnTo>
                <a:lnTo>
                  <a:pt x="4819" y="5199"/>
                </a:lnTo>
                <a:lnTo>
                  <a:pt x="4810" y="5189"/>
                </a:lnTo>
                <a:lnTo>
                  <a:pt x="4800" y="5180"/>
                </a:lnTo>
                <a:lnTo>
                  <a:pt x="4789" y="5169"/>
                </a:lnTo>
                <a:lnTo>
                  <a:pt x="4778" y="5156"/>
                </a:lnTo>
                <a:lnTo>
                  <a:pt x="4772" y="5148"/>
                </a:lnTo>
                <a:lnTo>
                  <a:pt x="4767" y="5139"/>
                </a:lnTo>
                <a:lnTo>
                  <a:pt x="4762" y="5130"/>
                </a:lnTo>
                <a:lnTo>
                  <a:pt x="4757" y="5120"/>
                </a:lnTo>
                <a:lnTo>
                  <a:pt x="4753" y="5108"/>
                </a:lnTo>
                <a:lnTo>
                  <a:pt x="4749" y="5095"/>
                </a:lnTo>
                <a:lnTo>
                  <a:pt x="4744" y="5081"/>
                </a:lnTo>
                <a:lnTo>
                  <a:pt x="4741" y="5065"/>
                </a:lnTo>
                <a:lnTo>
                  <a:pt x="4738" y="5048"/>
                </a:lnTo>
                <a:lnTo>
                  <a:pt x="4736" y="5029"/>
                </a:lnTo>
                <a:lnTo>
                  <a:pt x="4735" y="5008"/>
                </a:lnTo>
                <a:lnTo>
                  <a:pt x="4734" y="4986"/>
                </a:lnTo>
                <a:lnTo>
                  <a:pt x="4734" y="4961"/>
                </a:lnTo>
                <a:lnTo>
                  <a:pt x="4735" y="4935"/>
                </a:lnTo>
                <a:lnTo>
                  <a:pt x="4735" y="4935"/>
                </a:lnTo>
                <a:lnTo>
                  <a:pt x="4735" y="4917"/>
                </a:lnTo>
                <a:lnTo>
                  <a:pt x="4734" y="4911"/>
                </a:lnTo>
                <a:lnTo>
                  <a:pt x="4733" y="4906"/>
                </a:lnTo>
                <a:lnTo>
                  <a:pt x="4731" y="4901"/>
                </a:lnTo>
                <a:lnTo>
                  <a:pt x="4729" y="4897"/>
                </a:lnTo>
                <a:lnTo>
                  <a:pt x="4727" y="4894"/>
                </a:lnTo>
                <a:lnTo>
                  <a:pt x="4724" y="4891"/>
                </a:lnTo>
                <a:lnTo>
                  <a:pt x="4716" y="4885"/>
                </a:lnTo>
                <a:lnTo>
                  <a:pt x="4706" y="4878"/>
                </a:lnTo>
                <a:lnTo>
                  <a:pt x="4693" y="4868"/>
                </a:lnTo>
                <a:lnTo>
                  <a:pt x="4679" y="4856"/>
                </a:lnTo>
                <a:lnTo>
                  <a:pt x="4679" y="4856"/>
                </a:lnTo>
                <a:lnTo>
                  <a:pt x="4671" y="4846"/>
                </a:lnTo>
                <a:lnTo>
                  <a:pt x="4664" y="4836"/>
                </a:lnTo>
                <a:lnTo>
                  <a:pt x="4659" y="4825"/>
                </a:lnTo>
                <a:lnTo>
                  <a:pt x="4655" y="4815"/>
                </a:lnTo>
                <a:lnTo>
                  <a:pt x="4654" y="4807"/>
                </a:lnTo>
                <a:lnTo>
                  <a:pt x="4654" y="4804"/>
                </a:lnTo>
                <a:lnTo>
                  <a:pt x="4654" y="4802"/>
                </a:lnTo>
                <a:lnTo>
                  <a:pt x="4657" y="4800"/>
                </a:lnTo>
                <a:lnTo>
                  <a:pt x="4659" y="4799"/>
                </a:lnTo>
                <a:lnTo>
                  <a:pt x="4661" y="4799"/>
                </a:lnTo>
                <a:lnTo>
                  <a:pt x="4665" y="4800"/>
                </a:lnTo>
                <a:lnTo>
                  <a:pt x="4665" y="4800"/>
                </a:lnTo>
                <a:lnTo>
                  <a:pt x="4679" y="4806"/>
                </a:lnTo>
                <a:lnTo>
                  <a:pt x="4693" y="4810"/>
                </a:lnTo>
                <a:lnTo>
                  <a:pt x="4708" y="4813"/>
                </a:lnTo>
                <a:lnTo>
                  <a:pt x="4723" y="4814"/>
                </a:lnTo>
                <a:lnTo>
                  <a:pt x="4737" y="4815"/>
                </a:lnTo>
                <a:lnTo>
                  <a:pt x="4752" y="4816"/>
                </a:lnTo>
                <a:lnTo>
                  <a:pt x="4765" y="4815"/>
                </a:lnTo>
                <a:lnTo>
                  <a:pt x="4778" y="4814"/>
                </a:lnTo>
                <a:lnTo>
                  <a:pt x="4802" y="4811"/>
                </a:lnTo>
                <a:lnTo>
                  <a:pt x="4819" y="4807"/>
                </a:lnTo>
                <a:lnTo>
                  <a:pt x="4835" y="4803"/>
                </a:lnTo>
                <a:lnTo>
                  <a:pt x="4835" y="4803"/>
                </a:lnTo>
                <a:lnTo>
                  <a:pt x="4844" y="4707"/>
                </a:lnTo>
                <a:lnTo>
                  <a:pt x="4849" y="4632"/>
                </a:lnTo>
                <a:lnTo>
                  <a:pt x="4851" y="4577"/>
                </a:lnTo>
                <a:lnTo>
                  <a:pt x="4851" y="4539"/>
                </a:lnTo>
                <a:lnTo>
                  <a:pt x="4849" y="4514"/>
                </a:lnTo>
                <a:lnTo>
                  <a:pt x="4847" y="4499"/>
                </a:lnTo>
                <a:lnTo>
                  <a:pt x="4845" y="4493"/>
                </a:lnTo>
                <a:lnTo>
                  <a:pt x="4844" y="4491"/>
                </a:lnTo>
                <a:lnTo>
                  <a:pt x="4844" y="4491"/>
                </a:lnTo>
                <a:lnTo>
                  <a:pt x="4825" y="4492"/>
                </a:lnTo>
                <a:lnTo>
                  <a:pt x="4808" y="4491"/>
                </a:lnTo>
                <a:lnTo>
                  <a:pt x="4791" y="4490"/>
                </a:lnTo>
                <a:lnTo>
                  <a:pt x="4776" y="4489"/>
                </a:lnTo>
                <a:lnTo>
                  <a:pt x="4763" y="4487"/>
                </a:lnTo>
                <a:lnTo>
                  <a:pt x="4750" y="4484"/>
                </a:lnTo>
                <a:lnTo>
                  <a:pt x="4737" y="4481"/>
                </a:lnTo>
                <a:lnTo>
                  <a:pt x="4726" y="4477"/>
                </a:lnTo>
                <a:lnTo>
                  <a:pt x="4716" y="4473"/>
                </a:lnTo>
                <a:lnTo>
                  <a:pt x="4707" y="4469"/>
                </a:lnTo>
                <a:lnTo>
                  <a:pt x="4698" y="4463"/>
                </a:lnTo>
                <a:lnTo>
                  <a:pt x="4690" y="4458"/>
                </a:lnTo>
                <a:lnTo>
                  <a:pt x="4683" y="4452"/>
                </a:lnTo>
                <a:lnTo>
                  <a:pt x="4676" y="4447"/>
                </a:lnTo>
                <a:lnTo>
                  <a:pt x="4665" y="4434"/>
                </a:lnTo>
                <a:lnTo>
                  <a:pt x="4665" y="4434"/>
                </a:lnTo>
                <a:lnTo>
                  <a:pt x="4677" y="4437"/>
                </a:lnTo>
                <a:lnTo>
                  <a:pt x="4690" y="4439"/>
                </a:lnTo>
                <a:lnTo>
                  <a:pt x="4717" y="4441"/>
                </a:lnTo>
                <a:lnTo>
                  <a:pt x="4742" y="4441"/>
                </a:lnTo>
                <a:lnTo>
                  <a:pt x="4768" y="4439"/>
                </a:lnTo>
                <a:lnTo>
                  <a:pt x="4790" y="4435"/>
                </a:lnTo>
                <a:lnTo>
                  <a:pt x="4812" y="4429"/>
                </a:lnTo>
                <a:lnTo>
                  <a:pt x="4821" y="4426"/>
                </a:lnTo>
                <a:lnTo>
                  <a:pt x="4829" y="4422"/>
                </a:lnTo>
                <a:lnTo>
                  <a:pt x="4838" y="4416"/>
                </a:lnTo>
                <a:lnTo>
                  <a:pt x="4844" y="4412"/>
                </a:lnTo>
                <a:lnTo>
                  <a:pt x="4844" y="4412"/>
                </a:lnTo>
                <a:lnTo>
                  <a:pt x="4843" y="4364"/>
                </a:lnTo>
                <a:lnTo>
                  <a:pt x="4841" y="4316"/>
                </a:lnTo>
                <a:lnTo>
                  <a:pt x="4838" y="4261"/>
                </a:lnTo>
                <a:lnTo>
                  <a:pt x="4833" y="4206"/>
                </a:lnTo>
                <a:lnTo>
                  <a:pt x="4831" y="4181"/>
                </a:lnTo>
                <a:lnTo>
                  <a:pt x="4828" y="4159"/>
                </a:lnTo>
                <a:lnTo>
                  <a:pt x="4825" y="4140"/>
                </a:lnTo>
                <a:lnTo>
                  <a:pt x="4822" y="4126"/>
                </a:lnTo>
                <a:lnTo>
                  <a:pt x="4820" y="4121"/>
                </a:lnTo>
                <a:lnTo>
                  <a:pt x="4818" y="4118"/>
                </a:lnTo>
                <a:lnTo>
                  <a:pt x="4816" y="4116"/>
                </a:lnTo>
                <a:lnTo>
                  <a:pt x="4814" y="4116"/>
                </a:lnTo>
                <a:lnTo>
                  <a:pt x="4814" y="4116"/>
                </a:lnTo>
                <a:lnTo>
                  <a:pt x="4786" y="4123"/>
                </a:lnTo>
                <a:lnTo>
                  <a:pt x="4760" y="4128"/>
                </a:lnTo>
                <a:lnTo>
                  <a:pt x="4746" y="4129"/>
                </a:lnTo>
                <a:lnTo>
                  <a:pt x="4734" y="4130"/>
                </a:lnTo>
                <a:lnTo>
                  <a:pt x="4722" y="4130"/>
                </a:lnTo>
                <a:lnTo>
                  <a:pt x="4711" y="4129"/>
                </a:lnTo>
                <a:lnTo>
                  <a:pt x="4698" y="4127"/>
                </a:lnTo>
                <a:lnTo>
                  <a:pt x="4687" y="4125"/>
                </a:lnTo>
                <a:lnTo>
                  <a:pt x="4675" y="4122"/>
                </a:lnTo>
                <a:lnTo>
                  <a:pt x="4664" y="4118"/>
                </a:lnTo>
                <a:lnTo>
                  <a:pt x="4652" y="4113"/>
                </a:lnTo>
                <a:lnTo>
                  <a:pt x="4640" y="4108"/>
                </a:lnTo>
                <a:lnTo>
                  <a:pt x="4629" y="4100"/>
                </a:lnTo>
                <a:lnTo>
                  <a:pt x="4618" y="4093"/>
                </a:lnTo>
                <a:lnTo>
                  <a:pt x="4618" y="4093"/>
                </a:lnTo>
                <a:lnTo>
                  <a:pt x="4613" y="4090"/>
                </a:lnTo>
                <a:lnTo>
                  <a:pt x="4608" y="4086"/>
                </a:lnTo>
                <a:lnTo>
                  <a:pt x="4602" y="4078"/>
                </a:lnTo>
                <a:lnTo>
                  <a:pt x="4597" y="4069"/>
                </a:lnTo>
                <a:lnTo>
                  <a:pt x="4594" y="4059"/>
                </a:lnTo>
                <a:lnTo>
                  <a:pt x="4592" y="4047"/>
                </a:lnTo>
                <a:lnTo>
                  <a:pt x="4591" y="4037"/>
                </a:lnTo>
                <a:lnTo>
                  <a:pt x="4590" y="4015"/>
                </a:lnTo>
                <a:lnTo>
                  <a:pt x="4589" y="3993"/>
                </a:lnTo>
                <a:lnTo>
                  <a:pt x="4587" y="3984"/>
                </a:lnTo>
                <a:lnTo>
                  <a:pt x="4585" y="3976"/>
                </a:lnTo>
                <a:lnTo>
                  <a:pt x="4581" y="3969"/>
                </a:lnTo>
                <a:lnTo>
                  <a:pt x="4575" y="3962"/>
                </a:lnTo>
                <a:lnTo>
                  <a:pt x="4571" y="3959"/>
                </a:lnTo>
                <a:lnTo>
                  <a:pt x="4567" y="3957"/>
                </a:lnTo>
                <a:lnTo>
                  <a:pt x="4561" y="3956"/>
                </a:lnTo>
                <a:lnTo>
                  <a:pt x="4556" y="3955"/>
                </a:lnTo>
                <a:lnTo>
                  <a:pt x="4556" y="3955"/>
                </a:lnTo>
                <a:lnTo>
                  <a:pt x="4534" y="3948"/>
                </a:lnTo>
                <a:lnTo>
                  <a:pt x="4511" y="3941"/>
                </a:lnTo>
                <a:lnTo>
                  <a:pt x="4489" y="3933"/>
                </a:lnTo>
                <a:lnTo>
                  <a:pt x="4468" y="3923"/>
                </a:lnTo>
                <a:lnTo>
                  <a:pt x="4448" y="3913"/>
                </a:lnTo>
                <a:lnTo>
                  <a:pt x="4428" y="3902"/>
                </a:lnTo>
                <a:lnTo>
                  <a:pt x="4410" y="3892"/>
                </a:lnTo>
                <a:lnTo>
                  <a:pt x="4394" y="3881"/>
                </a:lnTo>
                <a:lnTo>
                  <a:pt x="4377" y="3869"/>
                </a:lnTo>
                <a:lnTo>
                  <a:pt x="4363" y="3859"/>
                </a:lnTo>
                <a:lnTo>
                  <a:pt x="4337" y="3839"/>
                </a:lnTo>
                <a:lnTo>
                  <a:pt x="4318" y="3820"/>
                </a:lnTo>
                <a:lnTo>
                  <a:pt x="4306" y="3805"/>
                </a:lnTo>
                <a:lnTo>
                  <a:pt x="4306" y="3805"/>
                </a:lnTo>
                <a:lnTo>
                  <a:pt x="4297" y="3793"/>
                </a:lnTo>
                <a:lnTo>
                  <a:pt x="4288" y="3780"/>
                </a:lnTo>
                <a:lnTo>
                  <a:pt x="4282" y="3769"/>
                </a:lnTo>
                <a:lnTo>
                  <a:pt x="4277" y="3758"/>
                </a:lnTo>
                <a:lnTo>
                  <a:pt x="4273" y="3748"/>
                </a:lnTo>
                <a:lnTo>
                  <a:pt x="4270" y="3739"/>
                </a:lnTo>
                <a:lnTo>
                  <a:pt x="4266" y="3722"/>
                </a:lnTo>
                <a:lnTo>
                  <a:pt x="4265" y="3709"/>
                </a:lnTo>
                <a:lnTo>
                  <a:pt x="4265" y="3699"/>
                </a:lnTo>
                <a:lnTo>
                  <a:pt x="4266" y="3690"/>
                </a:lnTo>
                <a:lnTo>
                  <a:pt x="4266" y="3690"/>
                </a:lnTo>
                <a:lnTo>
                  <a:pt x="4284" y="3700"/>
                </a:lnTo>
                <a:lnTo>
                  <a:pt x="4302" y="3706"/>
                </a:lnTo>
                <a:lnTo>
                  <a:pt x="4321" y="3711"/>
                </a:lnTo>
                <a:lnTo>
                  <a:pt x="4340" y="3714"/>
                </a:lnTo>
                <a:lnTo>
                  <a:pt x="4358" y="3716"/>
                </a:lnTo>
                <a:lnTo>
                  <a:pt x="4377" y="3715"/>
                </a:lnTo>
                <a:lnTo>
                  <a:pt x="4396" y="3712"/>
                </a:lnTo>
                <a:lnTo>
                  <a:pt x="4414" y="3708"/>
                </a:lnTo>
                <a:lnTo>
                  <a:pt x="4434" y="3468"/>
                </a:lnTo>
                <a:lnTo>
                  <a:pt x="4434" y="3468"/>
                </a:lnTo>
                <a:lnTo>
                  <a:pt x="4425" y="3467"/>
                </a:lnTo>
                <a:lnTo>
                  <a:pt x="4405" y="3464"/>
                </a:lnTo>
                <a:lnTo>
                  <a:pt x="4392" y="3461"/>
                </a:lnTo>
                <a:lnTo>
                  <a:pt x="4377" y="3457"/>
                </a:lnTo>
                <a:lnTo>
                  <a:pt x="4362" y="3453"/>
                </a:lnTo>
                <a:lnTo>
                  <a:pt x="4348" y="3447"/>
                </a:lnTo>
                <a:lnTo>
                  <a:pt x="4348" y="3447"/>
                </a:lnTo>
                <a:lnTo>
                  <a:pt x="4339" y="3443"/>
                </a:lnTo>
                <a:lnTo>
                  <a:pt x="4331" y="3438"/>
                </a:lnTo>
                <a:lnTo>
                  <a:pt x="4323" y="3432"/>
                </a:lnTo>
                <a:lnTo>
                  <a:pt x="4316" y="3426"/>
                </a:lnTo>
                <a:lnTo>
                  <a:pt x="4302" y="3412"/>
                </a:lnTo>
                <a:lnTo>
                  <a:pt x="4289" y="3399"/>
                </a:lnTo>
                <a:lnTo>
                  <a:pt x="4280" y="3386"/>
                </a:lnTo>
                <a:lnTo>
                  <a:pt x="4273" y="3376"/>
                </a:lnTo>
                <a:lnTo>
                  <a:pt x="4267" y="3366"/>
                </a:lnTo>
                <a:lnTo>
                  <a:pt x="4267" y="3366"/>
                </a:lnTo>
                <a:lnTo>
                  <a:pt x="4274" y="3369"/>
                </a:lnTo>
                <a:lnTo>
                  <a:pt x="4293" y="3377"/>
                </a:lnTo>
                <a:lnTo>
                  <a:pt x="4321" y="3385"/>
                </a:lnTo>
                <a:lnTo>
                  <a:pt x="4339" y="3389"/>
                </a:lnTo>
                <a:lnTo>
                  <a:pt x="4356" y="3392"/>
                </a:lnTo>
                <a:lnTo>
                  <a:pt x="4356" y="3392"/>
                </a:lnTo>
                <a:lnTo>
                  <a:pt x="4375" y="3394"/>
                </a:lnTo>
                <a:lnTo>
                  <a:pt x="4392" y="3395"/>
                </a:lnTo>
                <a:lnTo>
                  <a:pt x="4407" y="3393"/>
                </a:lnTo>
                <a:lnTo>
                  <a:pt x="4419" y="3391"/>
                </a:lnTo>
                <a:lnTo>
                  <a:pt x="4430" y="3389"/>
                </a:lnTo>
                <a:lnTo>
                  <a:pt x="4438" y="3387"/>
                </a:lnTo>
                <a:lnTo>
                  <a:pt x="4444" y="3384"/>
                </a:lnTo>
                <a:lnTo>
                  <a:pt x="4477" y="3113"/>
                </a:lnTo>
                <a:lnTo>
                  <a:pt x="4477" y="3113"/>
                </a:lnTo>
                <a:lnTo>
                  <a:pt x="4451" y="3114"/>
                </a:lnTo>
                <a:lnTo>
                  <a:pt x="4427" y="3113"/>
                </a:lnTo>
                <a:lnTo>
                  <a:pt x="4408" y="3111"/>
                </a:lnTo>
                <a:lnTo>
                  <a:pt x="4392" y="3106"/>
                </a:lnTo>
                <a:lnTo>
                  <a:pt x="4377" y="3100"/>
                </a:lnTo>
                <a:lnTo>
                  <a:pt x="4365" y="3093"/>
                </a:lnTo>
                <a:lnTo>
                  <a:pt x="4356" y="3085"/>
                </a:lnTo>
                <a:lnTo>
                  <a:pt x="4348" y="3077"/>
                </a:lnTo>
                <a:lnTo>
                  <a:pt x="4343" y="3069"/>
                </a:lnTo>
                <a:lnTo>
                  <a:pt x="4337" y="3060"/>
                </a:lnTo>
                <a:lnTo>
                  <a:pt x="4335" y="3051"/>
                </a:lnTo>
                <a:lnTo>
                  <a:pt x="4333" y="3043"/>
                </a:lnTo>
                <a:lnTo>
                  <a:pt x="4332" y="3035"/>
                </a:lnTo>
                <a:lnTo>
                  <a:pt x="4331" y="3029"/>
                </a:lnTo>
                <a:lnTo>
                  <a:pt x="4332" y="3020"/>
                </a:lnTo>
                <a:lnTo>
                  <a:pt x="4332" y="3020"/>
                </a:lnTo>
                <a:lnTo>
                  <a:pt x="4357" y="3015"/>
                </a:lnTo>
                <a:lnTo>
                  <a:pt x="4381" y="3009"/>
                </a:lnTo>
                <a:lnTo>
                  <a:pt x="4405" y="3001"/>
                </a:lnTo>
                <a:lnTo>
                  <a:pt x="4428" y="2994"/>
                </a:lnTo>
                <a:lnTo>
                  <a:pt x="4451" y="2985"/>
                </a:lnTo>
                <a:lnTo>
                  <a:pt x="4473" y="2975"/>
                </a:lnTo>
                <a:lnTo>
                  <a:pt x="4495" y="2964"/>
                </a:lnTo>
                <a:lnTo>
                  <a:pt x="4515" y="2951"/>
                </a:lnTo>
                <a:lnTo>
                  <a:pt x="4536" y="2939"/>
                </a:lnTo>
                <a:lnTo>
                  <a:pt x="4555" y="2926"/>
                </a:lnTo>
                <a:lnTo>
                  <a:pt x="4574" y="2911"/>
                </a:lnTo>
                <a:lnTo>
                  <a:pt x="4592" y="2896"/>
                </a:lnTo>
                <a:lnTo>
                  <a:pt x="4609" y="2881"/>
                </a:lnTo>
                <a:lnTo>
                  <a:pt x="4627" y="2864"/>
                </a:lnTo>
                <a:lnTo>
                  <a:pt x="4642" y="2848"/>
                </a:lnTo>
                <a:lnTo>
                  <a:pt x="4659" y="2831"/>
                </a:lnTo>
                <a:lnTo>
                  <a:pt x="4673" y="2812"/>
                </a:lnTo>
                <a:lnTo>
                  <a:pt x="4688" y="2794"/>
                </a:lnTo>
                <a:lnTo>
                  <a:pt x="4702" y="2775"/>
                </a:lnTo>
                <a:lnTo>
                  <a:pt x="4715" y="2756"/>
                </a:lnTo>
                <a:lnTo>
                  <a:pt x="4727" y="2737"/>
                </a:lnTo>
                <a:lnTo>
                  <a:pt x="4738" y="2717"/>
                </a:lnTo>
                <a:lnTo>
                  <a:pt x="4750" y="2698"/>
                </a:lnTo>
                <a:lnTo>
                  <a:pt x="4760" y="2677"/>
                </a:lnTo>
                <a:lnTo>
                  <a:pt x="4770" y="2657"/>
                </a:lnTo>
                <a:lnTo>
                  <a:pt x="4779" y="2636"/>
                </a:lnTo>
                <a:lnTo>
                  <a:pt x="4787" y="2616"/>
                </a:lnTo>
                <a:lnTo>
                  <a:pt x="4796" y="2595"/>
                </a:lnTo>
                <a:lnTo>
                  <a:pt x="4803" y="2575"/>
                </a:lnTo>
                <a:lnTo>
                  <a:pt x="4809" y="2555"/>
                </a:lnTo>
                <a:lnTo>
                  <a:pt x="4815" y="2534"/>
                </a:lnTo>
                <a:lnTo>
                  <a:pt x="4820" y="2515"/>
                </a:lnTo>
                <a:lnTo>
                  <a:pt x="4820" y="2515"/>
                </a:lnTo>
                <a:lnTo>
                  <a:pt x="4831" y="2521"/>
                </a:lnTo>
                <a:lnTo>
                  <a:pt x="4847" y="2527"/>
                </a:lnTo>
                <a:lnTo>
                  <a:pt x="4864" y="2533"/>
                </a:lnTo>
                <a:lnTo>
                  <a:pt x="4882" y="2538"/>
                </a:lnTo>
                <a:lnTo>
                  <a:pt x="4903" y="2541"/>
                </a:lnTo>
                <a:lnTo>
                  <a:pt x="4913" y="2542"/>
                </a:lnTo>
                <a:lnTo>
                  <a:pt x="4923" y="2543"/>
                </a:lnTo>
                <a:lnTo>
                  <a:pt x="4935" y="2542"/>
                </a:lnTo>
                <a:lnTo>
                  <a:pt x="4945" y="2541"/>
                </a:lnTo>
                <a:lnTo>
                  <a:pt x="4955" y="2539"/>
                </a:lnTo>
                <a:lnTo>
                  <a:pt x="4965" y="2536"/>
                </a:lnTo>
                <a:lnTo>
                  <a:pt x="4965" y="2536"/>
                </a:lnTo>
                <a:lnTo>
                  <a:pt x="4967" y="2508"/>
                </a:lnTo>
                <a:lnTo>
                  <a:pt x="4970" y="2441"/>
                </a:lnTo>
                <a:lnTo>
                  <a:pt x="4972" y="2405"/>
                </a:lnTo>
                <a:lnTo>
                  <a:pt x="4973" y="2371"/>
                </a:lnTo>
                <a:lnTo>
                  <a:pt x="4972" y="2343"/>
                </a:lnTo>
                <a:lnTo>
                  <a:pt x="4972" y="2333"/>
                </a:lnTo>
                <a:lnTo>
                  <a:pt x="4970" y="2327"/>
                </a:lnTo>
                <a:lnTo>
                  <a:pt x="4970" y="2327"/>
                </a:lnTo>
                <a:lnTo>
                  <a:pt x="4955" y="2325"/>
                </a:lnTo>
                <a:lnTo>
                  <a:pt x="4938" y="2322"/>
                </a:lnTo>
                <a:lnTo>
                  <a:pt x="4919" y="2317"/>
                </a:lnTo>
                <a:lnTo>
                  <a:pt x="4911" y="2314"/>
                </a:lnTo>
                <a:lnTo>
                  <a:pt x="4902" y="2311"/>
                </a:lnTo>
                <a:lnTo>
                  <a:pt x="4893" y="2306"/>
                </a:lnTo>
                <a:lnTo>
                  <a:pt x="4885" y="2302"/>
                </a:lnTo>
                <a:lnTo>
                  <a:pt x="4876" y="2296"/>
                </a:lnTo>
                <a:lnTo>
                  <a:pt x="4868" y="2289"/>
                </a:lnTo>
                <a:lnTo>
                  <a:pt x="4861" y="2282"/>
                </a:lnTo>
                <a:lnTo>
                  <a:pt x="4854" y="2273"/>
                </a:lnTo>
                <a:lnTo>
                  <a:pt x="4848" y="2264"/>
                </a:lnTo>
                <a:lnTo>
                  <a:pt x="4842" y="225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86" name="Freeform 37"/>
          <p:cNvSpPr>
            <a:spLocks/>
          </p:cNvSpPr>
          <p:nvPr userDrawn="1"/>
        </p:nvSpPr>
        <p:spPr bwMode="auto">
          <a:xfrm>
            <a:off x="8332789" y="-385339"/>
            <a:ext cx="276225" cy="73025"/>
          </a:xfrm>
          <a:custGeom>
            <a:avLst/>
            <a:gdLst>
              <a:gd name="T0" fmla="*/ 0 w 349"/>
              <a:gd name="T1" fmla="*/ 34 h 91"/>
              <a:gd name="T2" fmla="*/ 0 w 349"/>
              <a:gd name="T3" fmla="*/ 34 h 91"/>
              <a:gd name="T4" fmla="*/ 20 w 349"/>
              <a:gd name="T5" fmla="*/ 49 h 91"/>
              <a:gd name="T6" fmla="*/ 38 w 349"/>
              <a:gd name="T7" fmla="*/ 60 h 91"/>
              <a:gd name="T8" fmla="*/ 38 w 349"/>
              <a:gd name="T9" fmla="*/ 60 h 91"/>
              <a:gd name="T10" fmla="*/ 69 w 349"/>
              <a:gd name="T11" fmla="*/ 71 h 91"/>
              <a:gd name="T12" fmla="*/ 89 w 349"/>
              <a:gd name="T13" fmla="*/ 78 h 91"/>
              <a:gd name="T14" fmla="*/ 111 w 349"/>
              <a:gd name="T15" fmla="*/ 84 h 91"/>
              <a:gd name="T16" fmla="*/ 137 w 349"/>
              <a:gd name="T17" fmla="*/ 87 h 91"/>
              <a:gd name="T18" fmla="*/ 164 w 349"/>
              <a:gd name="T19" fmla="*/ 91 h 91"/>
              <a:gd name="T20" fmla="*/ 194 w 349"/>
              <a:gd name="T21" fmla="*/ 91 h 91"/>
              <a:gd name="T22" fmla="*/ 226 w 349"/>
              <a:gd name="T23" fmla="*/ 89 h 91"/>
              <a:gd name="T24" fmla="*/ 226 w 349"/>
              <a:gd name="T25" fmla="*/ 89 h 91"/>
              <a:gd name="T26" fmla="*/ 256 w 349"/>
              <a:gd name="T27" fmla="*/ 86 h 91"/>
              <a:gd name="T28" fmla="*/ 279 w 349"/>
              <a:gd name="T29" fmla="*/ 80 h 91"/>
              <a:gd name="T30" fmla="*/ 301 w 349"/>
              <a:gd name="T31" fmla="*/ 75 h 91"/>
              <a:gd name="T32" fmla="*/ 318 w 349"/>
              <a:gd name="T33" fmla="*/ 69 h 91"/>
              <a:gd name="T34" fmla="*/ 342 w 349"/>
              <a:gd name="T35" fmla="*/ 56 h 91"/>
              <a:gd name="T36" fmla="*/ 349 w 349"/>
              <a:gd name="T37" fmla="*/ 53 h 91"/>
              <a:gd name="T38" fmla="*/ 349 w 349"/>
              <a:gd name="T39" fmla="*/ 53 h 91"/>
              <a:gd name="T40" fmla="*/ 338 w 349"/>
              <a:gd name="T41" fmla="*/ 49 h 91"/>
              <a:gd name="T42" fmla="*/ 329 w 349"/>
              <a:gd name="T43" fmla="*/ 44 h 91"/>
              <a:gd name="T44" fmla="*/ 314 w 349"/>
              <a:gd name="T45" fmla="*/ 31 h 91"/>
              <a:gd name="T46" fmla="*/ 314 w 349"/>
              <a:gd name="T47" fmla="*/ 31 h 91"/>
              <a:gd name="T48" fmla="*/ 312 w 349"/>
              <a:gd name="T49" fmla="*/ 38 h 91"/>
              <a:gd name="T50" fmla="*/ 312 w 349"/>
              <a:gd name="T51" fmla="*/ 38 h 91"/>
              <a:gd name="T52" fmla="*/ 311 w 349"/>
              <a:gd name="T53" fmla="*/ 51 h 91"/>
              <a:gd name="T54" fmla="*/ 311 w 349"/>
              <a:gd name="T55" fmla="*/ 51 h 91"/>
              <a:gd name="T56" fmla="*/ 303 w 349"/>
              <a:gd name="T57" fmla="*/ 49 h 91"/>
              <a:gd name="T58" fmla="*/ 303 w 349"/>
              <a:gd name="T59" fmla="*/ 49 h 91"/>
              <a:gd name="T60" fmla="*/ 298 w 349"/>
              <a:gd name="T61" fmla="*/ 45 h 91"/>
              <a:gd name="T62" fmla="*/ 292 w 349"/>
              <a:gd name="T63" fmla="*/ 40 h 91"/>
              <a:gd name="T64" fmla="*/ 289 w 349"/>
              <a:gd name="T65" fmla="*/ 33 h 91"/>
              <a:gd name="T66" fmla="*/ 287 w 349"/>
              <a:gd name="T67" fmla="*/ 23 h 91"/>
              <a:gd name="T68" fmla="*/ 287 w 349"/>
              <a:gd name="T69" fmla="*/ 23 h 91"/>
              <a:gd name="T70" fmla="*/ 287 w 349"/>
              <a:gd name="T71" fmla="*/ 22 h 91"/>
              <a:gd name="T72" fmla="*/ 287 w 349"/>
              <a:gd name="T73" fmla="*/ 22 h 91"/>
              <a:gd name="T74" fmla="*/ 272 w 349"/>
              <a:gd name="T75" fmla="*/ 27 h 91"/>
              <a:gd name="T76" fmla="*/ 252 w 349"/>
              <a:gd name="T77" fmla="*/ 33 h 91"/>
              <a:gd name="T78" fmla="*/ 228 w 349"/>
              <a:gd name="T79" fmla="*/ 38 h 91"/>
              <a:gd name="T80" fmla="*/ 205 w 349"/>
              <a:gd name="T81" fmla="*/ 40 h 91"/>
              <a:gd name="T82" fmla="*/ 205 w 349"/>
              <a:gd name="T83" fmla="*/ 40 h 91"/>
              <a:gd name="T84" fmla="*/ 161 w 349"/>
              <a:gd name="T85" fmla="*/ 38 h 91"/>
              <a:gd name="T86" fmla="*/ 139 w 349"/>
              <a:gd name="T87" fmla="*/ 36 h 91"/>
              <a:gd name="T88" fmla="*/ 117 w 349"/>
              <a:gd name="T89" fmla="*/ 33 h 91"/>
              <a:gd name="T90" fmla="*/ 95 w 349"/>
              <a:gd name="T91" fmla="*/ 29 h 91"/>
              <a:gd name="T92" fmla="*/ 73 w 349"/>
              <a:gd name="T93" fmla="*/ 22 h 91"/>
              <a:gd name="T94" fmla="*/ 51 w 349"/>
              <a:gd name="T95" fmla="*/ 14 h 91"/>
              <a:gd name="T96" fmla="*/ 31 w 349"/>
              <a:gd name="T97" fmla="*/ 7 h 91"/>
              <a:gd name="T98" fmla="*/ 31 w 349"/>
              <a:gd name="T99" fmla="*/ 7 h 91"/>
              <a:gd name="T100" fmla="*/ 15 w 349"/>
              <a:gd name="T101" fmla="*/ 0 h 91"/>
              <a:gd name="T102" fmla="*/ 15 w 349"/>
              <a:gd name="T103" fmla="*/ 0 h 91"/>
              <a:gd name="T104" fmla="*/ 15 w 349"/>
              <a:gd name="T105" fmla="*/ 1 h 91"/>
              <a:gd name="T106" fmla="*/ 15 w 349"/>
              <a:gd name="T107" fmla="*/ 5 h 91"/>
              <a:gd name="T108" fmla="*/ 18 w 349"/>
              <a:gd name="T109" fmla="*/ 14 h 91"/>
              <a:gd name="T110" fmla="*/ 25 w 349"/>
              <a:gd name="T111" fmla="*/ 25 h 91"/>
              <a:gd name="T112" fmla="*/ 25 w 349"/>
              <a:gd name="T113" fmla="*/ 25 h 91"/>
              <a:gd name="T114" fmla="*/ 16 w 349"/>
              <a:gd name="T115" fmla="*/ 23 h 91"/>
              <a:gd name="T116" fmla="*/ 7 w 349"/>
              <a:gd name="T117" fmla="*/ 27 h 91"/>
              <a:gd name="T118" fmla="*/ 7 w 349"/>
              <a:gd name="T119" fmla="*/ 27 h 91"/>
              <a:gd name="T120" fmla="*/ 2 w 349"/>
              <a:gd name="T121" fmla="*/ 31 h 91"/>
              <a:gd name="T122" fmla="*/ 0 w 349"/>
              <a:gd name="T123" fmla="*/ 3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9" h="91">
                <a:moveTo>
                  <a:pt x="0" y="34"/>
                </a:moveTo>
                <a:lnTo>
                  <a:pt x="0" y="34"/>
                </a:lnTo>
                <a:lnTo>
                  <a:pt x="20" y="49"/>
                </a:lnTo>
                <a:lnTo>
                  <a:pt x="38" y="60"/>
                </a:lnTo>
                <a:lnTo>
                  <a:pt x="38" y="60"/>
                </a:lnTo>
                <a:lnTo>
                  <a:pt x="69" y="71"/>
                </a:lnTo>
                <a:lnTo>
                  <a:pt x="89" y="78"/>
                </a:lnTo>
                <a:lnTo>
                  <a:pt x="111" y="84"/>
                </a:lnTo>
                <a:lnTo>
                  <a:pt x="137" y="87"/>
                </a:lnTo>
                <a:lnTo>
                  <a:pt x="164" y="91"/>
                </a:lnTo>
                <a:lnTo>
                  <a:pt x="194" y="91"/>
                </a:lnTo>
                <a:lnTo>
                  <a:pt x="226" y="89"/>
                </a:lnTo>
                <a:lnTo>
                  <a:pt x="226" y="89"/>
                </a:lnTo>
                <a:lnTo>
                  <a:pt x="256" y="86"/>
                </a:lnTo>
                <a:lnTo>
                  <a:pt x="279" y="80"/>
                </a:lnTo>
                <a:lnTo>
                  <a:pt x="301" y="75"/>
                </a:lnTo>
                <a:lnTo>
                  <a:pt x="318" y="69"/>
                </a:lnTo>
                <a:lnTo>
                  <a:pt x="342" y="56"/>
                </a:lnTo>
                <a:lnTo>
                  <a:pt x="349" y="53"/>
                </a:lnTo>
                <a:lnTo>
                  <a:pt x="349" y="53"/>
                </a:lnTo>
                <a:lnTo>
                  <a:pt x="338" y="49"/>
                </a:lnTo>
                <a:lnTo>
                  <a:pt x="329" y="44"/>
                </a:lnTo>
                <a:lnTo>
                  <a:pt x="314" y="31"/>
                </a:lnTo>
                <a:lnTo>
                  <a:pt x="314" y="31"/>
                </a:lnTo>
                <a:lnTo>
                  <a:pt x="312" y="38"/>
                </a:lnTo>
                <a:lnTo>
                  <a:pt x="312" y="38"/>
                </a:lnTo>
                <a:lnTo>
                  <a:pt x="311" y="51"/>
                </a:lnTo>
                <a:lnTo>
                  <a:pt x="311" y="51"/>
                </a:lnTo>
                <a:lnTo>
                  <a:pt x="303" y="49"/>
                </a:lnTo>
                <a:lnTo>
                  <a:pt x="303" y="49"/>
                </a:lnTo>
                <a:lnTo>
                  <a:pt x="298" y="45"/>
                </a:lnTo>
                <a:lnTo>
                  <a:pt x="292" y="40"/>
                </a:lnTo>
                <a:lnTo>
                  <a:pt x="289" y="33"/>
                </a:lnTo>
                <a:lnTo>
                  <a:pt x="287" y="23"/>
                </a:lnTo>
                <a:lnTo>
                  <a:pt x="287" y="23"/>
                </a:lnTo>
                <a:lnTo>
                  <a:pt x="287" y="22"/>
                </a:lnTo>
                <a:lnTo>
                  <a:pt x="287" y="22"/>
                </a:lnTo>
                <a:lnTo>
                  <a:pt x="272" y="27"/>
                </a:lnTo>
                <a:lnTo>
                  <a:pt x="252" y="33"/>
                </a:lnTo>
                <a:lnTo>
                  <a:pt x="228" y="38"/>
                </a:lnTo>
                <a:lnTo>
                  <a:pt x="205" y="40"/>
                </a:lnTo>
                <a:lnTo>
                  <a:pt x="205" y="40"/>
                </a:lnTo>
                <a:lnTo>
                  <a:pt x="161" y="38"/>
                </a:lnTo>
                <a:lnTo>
                  <a:pt x="139" y="36"/>
                </a:lnTo>
                <a:lnTo>
                  <a:pt x="117" y="33"/>
                </a:lnTo>
                <a:lnTo>
                  <a:pt x="95" y="29"/>
                </a:lnTo>
                <a:lnTo>
                  <a:pt x="73" y="22"/>
                </a:lnTo>
                <a:lnTo>
                  <a:pt x="51" y="14"/>
                </a:lnTo>
                <a:lnTo>
                  <a:pt x="31" y="7"/>
                </a:lnTo>
                <a:lnTo>
                  <a:pt x="31" y="7"/>
                </a:lnTo>
                <a:lnTo>
                  <a:pt x="15" y="0"/>
                </a:lnTo>
                <a:lnTo>
                  <a:pt x="15" y="0"/>
                </a:lnTo>
                <a:lnTo>
                  <a:pt x="15" y="1"/>
                </a:lnTo>
                <a:lnTo>
                  <a:pt x="15" y="5"/>
                </a:lnTo>
                <a:lnTo>
                  <a:pt x="18" y="14"/>
                </a:lnTo>
                <a:lnTo>
                  <a:pt x="25" y="25"/>
                </a:lnTo>
                <a:lnTo>
                  <a:pt x="25" y="25"/>
                </a:lnTo>
                <a:lnTo>
                  <a:pt x="16" y="23"/>
                </a:lnTo>
                <a:lnTo>
                  <a:pt x="7" y="27"/>
                </a:lnTo>
                <a:lnTo>
                  <a:pt x="7" y="27"/>
                </a:lnTo>
                <a:lnTo>
                  <a:pt x="2" y="31"/>
                </a:lnTo>
                <a:lnTo>
                  <a:pt x="0" y="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87" name="Freeform 38"/>
          <p:cNvSpPr>
            <a:spLocks/>
          </p:cNvSpPr>
          <p:nvPr userDrawn="1"/>
        </p:nvSpPr>
        <p:spPr bwMode="auto">
          <a:xfrm>
            <a:off x="8270876" y="-618703"/>
            <a:ext cx="282575" cy="201613"/>
          </a:xfrm>
          <a:custGeom>
            <a:avLst/>
            <a:gdLst>
              <a:gd name="T0" fmla="*/ 326 w 357"/>
              <a:gd name="T1" fmla="*/ 20 h 253"/>
              <a:gd name="T2" fmla="*/ 320 w 357"/>
              <a:gd name="T3" fmla="*/ 3 h 253"/>
              <a:gd name="T4" fmla="*/ 311 w 357"/>
              <a:gd name="T5" fmla="*/ 0 h 253"/>
              <a:gd name="T6" fmla="*/ 227 w 357"/>
              <a:gd name="T7" fmla="*/ 40 h 253"/>
              <a:gd name="T8" fmla="*/ 207 w 357"/>
              <a:gd name="T9" fmla="*/ 53 h 253"/>
              <a:gd name="T10" fmla="*/ 176 w 357"/>
              <a:gd name="T11" fmla="*/ 53 h 253"/>
              <a:gd name="T12" fmla="*/ 181 w 357"/>
              <a:gd name="T13" fmla="*/ 71 h 253"/>
              <a:gd name="T14" fmla="*/ 172 w 357"/>
              <a:gd name="T15" fmla="*/ 78 h 253"/>
              <a:gd name="T16" fmla="*/ 181 w 357"/>
              <a:gd name="T17" fmla="*/ 93 h 253"/>
              <a:gd name="T18" fmla="*/ 198 w 357"/>
              <a:gd name="T19" fmla="*/ 91 h 253"/>
              <a:gd name="T20" fmla="*/ 189 w 357"/>
              <a:gd name="T21" fmla="*/ 115 h 253"/>
              <a:gd name="T22" fmla="*/ 147 w 357"/>
              <a:gd name="T23" fmla="*/ 146 h 253"/>
              <a:gd name="T24" fmla="*/ 101 w 357"/>
              <a:gd name="T25" fmla="*/ 155 h 253"/>
              <a:gd name="T26" fmla="*/ 79 w 357"/>
              <a:gd name="T27" fmla="*/ 137 h 253"/>
              <a:gd name="T28" fmla="*/ 68 w 357"/>
              <a:gd name="T29" fmla="*/ 126 h 253"/>
              <a:gd name="T30" fmla="*/ 50 w 357"/>
              <a:gd name="T31" fmla="*/ 126 h 253"/>
              <a:gd name="T32" fmla="*/ 28 w 357"/>
              <a:gd name="T33" fmla="*/ 137 h 253"/>
              <a:gd name="T34" fmla="*/ 48 w 357"/>
              <a:gd name="T35" fmla="*/ 140 h 253"/>
              <a:gd name="T36" fmla="*/ 44 w 357"/>
              <a:gd name="T37" fmla="*/ 149 h 253"/>
              <a:gd name="T38" fmla="*/ 75 w 357"/>
              <a:gd name="T39" fmla="*/ 169 h 253"/>
              <a:gd name="T40" fmla="*/ 75 w 357"/>
              <a:gd name="T41" fmla="*/ 171 h 253"/>
              <a:gd name="T42" fmla="*/ 39 w 357"/>
              <a:gd name="T43" fmla="*/ 160 h 253"/>
              <a:gd name="T44" fmla="*/ 28 w 357"/>
              <a:gd name="T45" fmla="*/ 164 h 253"/>
              <a:gd name="T46" fmla="*/ 8 w 357"/>
              <a:gd name="T47" fmla="*/ 171 h 253"/>
              <a:gd name="T48" fmla="*/ 2 w 357"/>
              <a:gd name="T49" fmla="*/ 193 h 253"/>
              <a:gd name="T50" fmla="*/ 17 w 357"/>
              <a:gd name="T51" fmla="*/ 180 h 253"/>
              <a:gd name="T52" fmla="*/ 22 w 357"/>
              <a:gd name="T53" fmla="*/ 188 h 253"/>
              <a:gd name="T54" fmla="*/ 26 w 357"/>
              <a:gd name="T55" fmla="*/ 197 h 253"/>
              <a:gd name="T56" fmla="*/ 66 w 357"/>
              <a:gd name="T57" fmla="*/ 195 h 253"/>
              <a:gd name="T58" fmla="*/ 75 w 357"/>
              <a:gd name="T59" fmla="*/ 197 h 253"/>
              <a:gd name="T60" fmla="*/ 39 w 357"/>
              <a:gd name="T61" fmla="*/ 206 h 253"/>
              <a:gd name="T62" fmla="*/ 37 w 357"/>
              <a:gd name="T63" fmla="*/ 213 h 253"/>
              <a:gd name="T64" fmla="*/ 28 w 357"/>
              <a:gd name="T65" fmla="*/ 233 h 253"/>
              <a:gd name="T66" fmla="*/ 35 w 357"/>
              <a:gd name="T67" fmla="*/ 248 h 253"/>
              <a:gd name="T68" fmla="*/ 41 w 357"/>
              <a:gd name="T69" fmla="*/ 244 h 253"/>
              <a:gd name="T70" fmla="*/ 42 w 357"/>
              <a:gd name="T71" fmla="*/ 235 h 253"/>
              <a:gd name="T72" fmla="*/ 55 w 357"/>
              <a:gd name="T73" fmla="*/ 243 h 253"/>
              <a:gd name="T74" fmla="*/ 72 w 357"/>
              <a:gd name="T75" fmla="*/ 232 h 253"/>
              <a:gd name="T76" fmla="*/ 94 w 357"/>
              <a:gd name="T77" fmla="*/ 213 h 253"/>
              <a:gd name="T78" fmla="*/ 108 w 357"/>
              <a:gd name="T79" fmla="*/ 211 h 253"/>
              <a:gd name="T80" fmla="*/ 110 w 357"/>
              <a:gd name="T81" fmla="*/ 222 h 253"/>
              <a:gd name="T82" fmla="*/ 115 w 357"/>
              <a:gd name="T83" fmla="*/ 233 h 253"/>
              <a:gd name="T84" fmla="*/ 114 w 357"/>
              <a:gd name="T85" fmla="*/ 243 h 253"/>
              <a:gd name="T86" fmla="*/ 136 w 357"/>
              <a:gd name="T87" fmla="*/ 224 h 253"/>
              <a:gd name="T88" fmla="*/ 141 w 357"/>
              <a:gd name="T89" fmla="*/ 219 h 253"/>
              <a:gd name="T90" fmla="*/ 145 w 357"/>
              <a:gd name="T91" fmla="*/ 211 h 253"/>
              <a:gd name="T92" fmla="*/ 147 w 357"/>
              <a:gd name="T93" fmla="*/ 200 h 253"/>
              <a:gd name="T94" fmla="*/ 167 w 357"/>
              <a:gd name="T95" fmla="*/ 193 h 253"/>
              <a:gd name="T96" fmla="*/ 170 w 357"/>
              <a:gd name="T97" fmla="*/ 180 h 253"/>
              <a:gd name="T98" fmla="*/ 181 w 357"/>
              <a:gd name="T99" fmla="*/ 179 h 253"/>
              <a:gd name="T100" fmla="*/ 199 w 357"/>
              <a:gd name="T101" fmla="*/ 197 h 253"/>
              <a:gd name="T102" fmla="*/ 231 w 357"/>
              <a:gd name="T103" fmla="*/ 182 h 253"/>
              <a:gd name="T104" fmla="*/ 227 w 357"/>
              <a:gd name="T105" fmla="*/ 169 h 253"/>
              <a:gd name="T106" fmla="*/ 223 w 357"/>
              <a:gd name="T107" fmla="*/ 155 h 253"/>
              <a:gd name="T108" fmla="*/ 245 w 357"/>
              <a:gd name="T109" fmla="*/ 173 h 253"/>
              <a:gd name="T110" fmla="*/ 276 w 357"/>
              <a:gd name="T111" fmla="*/ 155 h 253"/>
              <a:gd name="T112" fmla="*/ 273 w 357"/>
              <a:gd name="T113" fmla="*/ 149 h 253"/>
              <a:gd name="T114" fmla="*/ 263 w 357"/>
              <a:gd name="T115" fmla="*/ 131 h 253"/>
              <a:gd name="T116" fmla="*/ 262 w 357"/>
              <a:gd name="T117" fmla="*/ 115 h 253"/>
              <a:gd name="T118" fmla="*/ 262 w 357"/>
              <a:gd name="T119" fmla="*/ 98 h 253"/>
              <a:gd name="T120" fmla="*/ 353 w 357"/>
              <a:gd name="T121" fmla="*/ 45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7" h="253">
                <a:moveTo>
                  <a:pt x="344" y="31"/>
                </a:moveTo>
                <a:lnTo>
                  <a:pt x="344" y="31"/>
                </a:lnTo>
                <a:lnTo>
                  <a:pt x="335" y="23"/>
                </a:lnTo>
                <a:lnTo>
                  <a:pt x="326" y="20"/>
                </a:lnTo>
                <a:lnTo>
                  <a:pt x="309" y="12"/>
                </a:lnTo>
                <a:lnTo>
                  <a:pt x="309" y="12"/>
                </a:lnTo>
                <a:lnTo>
                  <a:pt x="316" y="7"/>
                </a:lnTo>
                <a:lnTo>
                  <a:pt x="320" y="3"/>
                </a:lnTo>
                <a:lnTo>
                  <a:pt x="320" y="1"/>
                </a:lnTo>
                <a:lnTo>
                  <a:pt x="320" y="1"/>
                </a:lnTo>
                <a:lnTo>
                  <a:pt x="315" y="0"/>
                </a:lnTo>
                <a:lnTo>
                  <a:pt x="311" y="0"/>
                </a:lnTo>
                <a:lnTo>
                  <a:pt x="311" y="0"/>
                </a:lnTo>
                <a:lnTo>
                  <a:pt x="280" y="12"/>
                </a:lnTo>
                <a:lnTo>
                  <a:pt x="252" y="25"/>
                </a:lnTo>
                <a:lnTo>
                  <a:pt x="227" y="40"/>
                </a:lnTo>
                <a:lnTo>
                  <a:pt x="209" y="53"/>
                </a:lnTo>
                <a:lnTo>
                  <a:pt x="209" y="53"/>
                </a:lnTo>
                <a:lnTo>
                  <a:pt x="207" y="53"/>
                </a:lnTo>
                <a:lnTo>
                  <a:pt x="207" y="53"/>
                </a:lnTo>
                <a:lnTo>
                  <a:pt x="201" y="56"/>
                </a:lnTo>
                <a:lnTo>
                  <a:pt x="196" y="56"/>
                </a:lnTo>
                <a:lnTo>
                  <a:pt x="185" y="54"/>
                </a:lnTo>
                <a:lnTo>
                  <a:pt x="176" y="53"/>
                </a:lnTo>
                <a:lnTo>
                  <a:pt x="174" y="51"/>
                </a:lnTo>
                <a:lnTo>
                  <a:pt x="170" y="67"/>
                </a:lnTo>
                <a:lnTo>
                  <a:pt x="170" y="67"/>
                </a:lnTo>
                <a:lnTo>
                  <a:pt x="181" y="71"/>
                </a:lnTo>
                <a:lnTo>
                  <a:pt x="189" y="74"/>
                </a:lnTo>
                <a:lnTo>
                  <a:pt x="189" y="74"/>
                </a:lnTo>
                <a:lnTo>
                  <a:pt x="178" y="76"/>
                </a:lnTo>
                <a:lnTo>
                  <a:pt x="172" y="78"/>
                </a:lnTo>
                <a:lnTo>
                  <a:pt x="168" y="82"/>
                </a:lnTo>
                <a:lnTo>
                  <a:pt x="174" y="96"/>
                </a:lnTo>
                <a:lnTo>
                  <a:pt x="174" y="96"/>
                </a:lnTo>
                <a:lnTo>
                  <a:pt x="181" y="93"/>
                </a:lnTo>
                <a:lnTo>
                  <a:pt x="189" y="91"/>
                </a:lnTo>
                <a:lnTo>
                  <a:pt x="198" y="89"/>
                </a:lnTo>
                <a:lnTo>
                  <a:pt x="198" y="89"/>
                </a:lnTo>
                <a:lnTo>
                  <a:pt x="198" y="91"/>
                </a:lnTo>
                <a:lnTo>
                  <a:pt x="198" y="91"/>
                </a:lnTo>
                <a:lnTo>
                  <a:pt x="198" y="98"/>
                </a:lnTo>
                <a:lnTo>
                  <a:pt x="194" y="105"/>
                </a:lnTo>
                <a:lnTo>
                  <a:pt x="189" y="115"/>
                </a:lnTo>
                <a:lnTo>
                  <a:pt x="181" y="122"/>
                </a:lnTo>
                <a:lnTo>
                  <a:pt x="165" y="137"/>
                </a:lnTo>
                <a:lnTo>
                  <a:pt x="156" y="142"/>
                </a:lnTo>
                <a:lnTo>
                  <a:pt x="147" y="146"/>
                </a:lnTo>
                <a:lnTo>
                  <a:pt x="147" y="146"/>
                </a:lnTo>
                <a:lnTo>
                  <a:pt x="128" y="151"/>
                </a:lnTo>
                <a:lnTo>
                  <a:pt x="112" y="155"/>
                </a:lnTo>
                <a:lnTo>
                  <a:pt x="101" y="155"/>
                </a:lnTo>
                <a:lnTo>
                  <a:pt x="95" y="153"/>
                </a:lnTo>
                <a:lnTo>
                  <a:pt x="95" y="153"/>
                </a:lnTo>
                <a:lnTo>
                  <a:pt x="84" y="144"/>
                </a:lnTo>
                <a:lnTo>
                  <a:pt x="79" y="137"/>
                </a:lnTo>
                <a:lnTo>
                  <a:pt x="73" y="129"/>
                </a:lnTo>
                <a:lnTo>
                  <a:pt x="72" y="126"/>
                </a:lnTo>
                <a:lnTo>
                  <a:pt x="68" y="126"/>
                </a:lnTo>
                <a:lnTo>
                  <a:pt x="68" y="126"/>
                </a:lnTo>
                <a:lnTo>
                  <a:pt x="64" y="126"/>
                </a:lnTo>
                <a:lnTo>
                  <a:pt x="61" y="127"/>
                </a:lnTo>
                <a:lnTo>
                  <a:pt x="61" y="127"/>
                </a:lnTo>
                <a:lnTo>
                  <a:pt x="50" y="126"/>
                </a:lnTo>
                <a:lnTo>
                  <a:pt x="41" y="127"/>
                </a:lnTo>
                <a:lnTo>
                  <a:pt x="33" y="131"/>
                </a:lnTo>
                <a:lnTo>
                  <a:pt x="30" y="133"/>
                </a:lnTo>
                <a:lnTo>
                  <a:pt x="28" y="137"/>
                </a:lnTo>
                <a:lnTo>
                  <a:pt x="28" y="137"/>
                </a:lnTo>
                <a:lnTo>
                  <a:pt x="41" y="137"/>
                </a:lnTo>
                <a:lnTo>
                  <a:pt x="48" y="138"/>
                </a:lnTo>
                <a:lnTo>
                  <a:pt x="48" y="140"/>
                </a:lnTo>
                <a:lnTo>
                  <a:pt x="46" y="142"/>
                </a:lnTo>
                <a:lnTo>
                  <a:pt x="46" y="142"/>
                </a:lnTo>
                <a:lnTo>
                  <a:pt x="42" y="146"/>
                </a:lnTo>
                <a:lnTo>
                  <a:pt x="44" y="149"/>
                </a:lnTo>
                <a:lnTo>
                  <a:pt x="46" y="153"/>
                </a:lnTo>
                <a:lnTo>
                  <a:pt x="52" y="157"/>
                </a:lnTo>
                <a:lnTo>
                  <a:pt x="75" y="169"/>
                </a:lnTo>
                <a:lnTo>
                  <a:pt x="75" y="169"/>
                </a:lnTo>
                <a:lnTo>
                  <a:pt x="75" y="169"/>
                </a:lnTo>
                <a:lnTo>
                  <a:pt x="75" y="171"/>
                </a:lnTo>
                <a:lnTo>
                  <a:pt x="75" y="171"/>
                </a:lnTo>
                <a:lnTo>
                  <a:pt x="75" y="171"/>
                </a:lnTo>
                <a:lnTo>
                  <a:pt x="68" y="171"/>
                </a:lnTo>
                <a:lnTo>
                  <a:pt x="59" y="168"/>
                </a:lnTo>
                <a:lnTo>
                  <a:pt x="39" y="160"/>
                </a:lnTo>
                <a:lnTo>
                  <a:pt x="39" y="160"/>
                </a:lnTo>
                <a:lnTo>
                  <a:pt x="35" y="160"/>
                </a:lnTo>
                <a:lnTo>
                  <a:pt x="31" y="160"/>
                </a:lnTo>
                <a:lnTo>
                  <a:pt x="28" y="164"/>
                </a:lnTo>
                <a:lnTo>
                  <a:pt x="28" y="164"/>
                </a:lnTo>
                <a:lnTo>
                  <a:pt x="24" y="164"/>
                </a:lnTo>
                <a:lnTo>
                  <a:pt x="19" y="164"/>
                </a:lnTo>
                <a:lnTo>
                  <a:pt x="11" y="168"/>
                </a:lnTo>
                <a:lnTo>
                  <a:pt x="8" y="171"/>
                </a:lnTo>
                <a:lnTo>
                  <a:pt x="2" y="175"/>
                </a:lnTo>
                <a:lnTo>
                  <a:pt x="0" y="180"/>
                </a:lnTo>
                <a:lnTo>
                  <a:pt x="0" y="186"/>
                </a:lnTo>
                <a:lnTo>
                  <a:pt x="2" y="193"/>
                </a:lnTo>
                <a:lnTo>
                  <a:pt x="2" y="193"/>
                </a:lnTo>
                <a:lnTo>
                  <a:pt x="8" y="186"/>
                </a:lnTo>
                <a:lnTo>
                  <a:pt x="13" y="180"/>
                </a:lnTo>
                <a:lnTo>
                  <a:pt x="17" y="180"/>
                </a:lnTo>
                <a:lnTo>
                  <a:pt x="20" y="180"/>
                </a:lnTo>
                <a:lnTo>
                  <a:pt x="20" y="180"/>
                </a:lnTo>
                <a:lnTo>
                  <a:pt x="22" y="182"/>
                </a:lnTo>
                <a:lnTo>
                  <a:pt x="22" y="188"/>
                </a:lnTo>
                <a:lnTo>
                  <a:pt x="22" y="191"/>
                </a:lnTo>
                <a:lnTo>
                  <a:pt x="24" y="195"/>
                </a:lnTo>
                <a:lnTo>
                  <a:pt x="26" y="197"/>
                </a:lnTo>
                <a:lnTo>
                  <a:pt x="26" y="197"/>
                </a:lnTo>
                <a:lnTo>
                  <a:pt x="30" y="199"/>
                </a:lnTo>
                <a:lnTo>
                  <a:pt x="37" y="199"/>
                </a:lnTo>
                <a:lnTo>
                  <a:pt x="52" y="197"/>
                </a:lnTo>
                <a:lnTo>
                  <a:pt x="66" y="195"/>
                </a:lnTo>
                <a:lnTo>
                  <a:pt x="73" y="195"/>
                </a:lnTo>
                <a:lnTo>
                  <a:pt x="75" y="195"/>
                </a:lnTo>
                <a:lnTo>
                  <a:pt x="75" y="195"/>
                </a:lnTo>
                <a:lnTo>
                  <a:pt x="75" y="197"/>
                </a:lnTo>
                <a:lnTo>
                  <a:pt x="72" y="199"/>
                </a:lnTo>
                <a:lnTo>
                  <a:pt x="59" y="200"/>
                </a:lnTo>
                <a:lnTo>
                  <a:pt x="44" y="202"/>
                </a:lnTo>
                <a:lnTo>
                  <a:pt x="39" y="206"/>
                </a:lnTo>
                <a:lnTo>
                  <a:pt x="37" y="208"/>
                </a:lnTo>
                <a:lnTo>
                  <a:pt x="37" y="208"/>
                </a:lnTo>
                <a:lnTo>
                  <a:pt x="37" y="213"/>
                </a:lnTo>
                <a:lnTo>
                  <a:pt x="37" y="213"/>
                </a:lnTo>
                <a:lnTo>
                  <a:pt x="37" y="215"/>
                </a:lnTo>
                <a:lnTo>
                  <a:pt x="33" y="219"/>
                </a:lnTo>
                <a:lnTo>
                  <a:pt x="30" y="226"/>
                </a:lnTo>
                <a:lnTo>
                  <a:pt x="28" y="233"/>
                </a:lnTo>
                <a:lnTo>
                  <a:pt x="28" y="233"/>
                </a:lnTo>
                <a:lnTo>
                  <a:pt x="28" y="237"/>
                </a:lnTo>
                <a:lnTo>
                  <a:pt x="30" y="243"/>
                </a:lnTo>
                <a:lnTo>
                  <a:pt x="35" y="248"/>
                </a:lnTo>
                <a:lnTo>
                  <a:pt x="41" y="253"/>
                </a:lnTo>
                <a:lnTo>
                  <a:pt x="41" y="253"/>
                </a:lnTo>
                <a:lnTo>
                  <a:pt x="42" y="252"/>
                </a:lnTo>
                <a:lnTo>
                  <a:pt x="41" y="244"/>
                </a:lnTo>
                <a:lnTo>
                  <a:pt x="41" y="239"/>
                </a:lnTo>
                <a:lnTo>
                  <a:pt x="42" y="237"/>
                </a:lnTo>
                <a:lnTo>
                  <a:pt x="42" y="235"/>
                </a:lnTo>
                <a:lnTo>
                  <a:pt x="42" y="235"/>
                </a:lnTo>
                <a:lnTo>
                  <a:pt x="46" y="235"/>
                </a:lnTo>
                <a:lnTo>
                  <a:pt x="48" y="237"/>
                </a:lnTo>
                <a:lnTo>
                  <a:pt x="52" y="241"/>
                </a:lnTo>
                <a:lnTo>
                  <a:pt x="55" y="243"/>
                </a:lnTo>
                <a:lnTo>
                  <a:pt x="55" y="243"/>
                </a:lnTo>
                <a:lnTo>
                  <a:pt x="59" y="241"/>
                </a:lnTo>
                <a:lnTo>
                  <a:pt x="62" y="239"/>
                </a:lnTo>
                <a:lnTo>
                  <a:pt x="72" y="232"/>
                </a:lnTo>
                <a:lnTo>
                  <a:pt x="81" y="222"/>
                </a:lnTo>
                <a:lnTo>
                  <a:pt x="86" y="217"/>
                </a:lnTo>
                <a:lnTo>
                  <a:pt x="94" y="213"/>
                </a:lnTo>
                <a:lnTo>
                  <a:pt x="94" y="213"/>
                </a:lnTo>
                <a:lnTo>
                  <a:pt x="103" y="210"/>
                </a:lnTo>
                <a:lnTo>
                  <a:pt x="106" y="208"/>
                </a:lnTo>
                <a:lnTo>
                  <a:pt x="108" y="210"/>
                </a:lnTo>
                <a:lnTo>
                  <a:pt x="108" y="211"/>
                </a:lnTo>
                <a:lnTo>
                  <a:pt x="108" y="217"/>
                </a:lnTo>
                <a:lnTo>
                  <a:pt x="108" y="221"/>
                </a:lnTo>
                <a:lnTo>
                  <a:pt x="110" y="222"/>
                </a:lnTo>
                <a:lnTo>
                  <a:pt x="110" y="222"/>
                </a:lnTo>
                <a:lnTo>
                  <a:pt x="115" y="224"/>
                </a:lnTo>
                <a:lnTo>
                  <a:pt x="117" y="226"/>
                </a:lnTo>
                <a:lnTo>
                  <a:pt x="117" y="230"/>
                </a:lnTo>
                <a:lnTo>
                  <a:pt x="115" y="233"/>
                </a:lnTo>
                <a:lnTo>
                  <a:pt x="112" y="239"/>
                </a:lnTo>
                <a:lnTo>
                  <a:pt x="108" y="243"/>
                </a:lnTo>
                <a:lnTo>
                  <a:pt x="108" y="243"/>
                </a:lnTo>
                <a:lnTo>
                  <a:pt x="114" y="243"/>
                </a:lnTo>
                <a:lnTo>
                  <a:pt x="121" y="241"/>
                </a:lnTo>
                <a:lnTo>
                  <a:pt x="128" y="233"/>
                </a:lnTo>
                <a:lnTo>
                  <a:pt x="132" y="230"/>
                </a:lnTo>
                <a:lnTo>
                  <a:pt x="136" y="224"/>
                </a:lnTo>
                <a:lnTo>
                  <a:pt x="136" y="224"/>
                </a:lnTo>
                <a:lnTo>
                  <a:pt x="136" y="221"/>
                </a:lnTo>
                <a:lnTo>
                  <a:pt x="137" y="221"/>
                </a:lnTo>
                <a:lnTo>
                  <a:pt x="141" y="219"/>
                </a:lnTo>
                <a:lnTo>
                  <a:pt x="143" y="217"/>
                </a:lnTo>
                <a:lnTo>
                  <a:pt x="143" y="217"/>
                </a:lnTo>
                <a:lnTo>
                  <a:pt x="145" y="215"/>
                </a:lnTo>
                <a:lnTo>
                  <a:pt x="145" y="211"/>
                </a:lnTo>
                <a:lnTo>
                  <a:pt x="145" y="208"/>
                </a:lnTo>
                <a:lnTo>
                  <a:pt x="145" y="204"/>
                </a:lnTo>
                <a:lnTo>
                  <a:pt x="145" y="204"/>
                </a:lnTo>
                <a:lnTo>
                  <a:pt x="147" y="200"/>
                </a:lnTo>
                <a:lnTo>
                  <a:pt x="150" y="199"/>
                </a:lnTo>
                <a:lnTo>
                  <a:pt x="157" y="197"/>
                </a:lnTo>
                <a:lnTo>
                  <a:pt x="165" y="195"/>
                </a:lnTo>
                <a:lnTo>
                  <a:pt x="167" y="193"/>
                </a:lnTo>
                <a:lnTo>
                  <a:pt x="167" y="191"/>
                </a:lnTo>
                <a:lnTo>
                  <a:pt x="167" y="191"/>
                </a:lnTo>
                <a:lnTo>
                  <a:pt x="167" y="186"/>
                </a:lnTo>
                <a:lnTo>
                  <a:pt x="170" y="180"/>
                </a:lnTo>
                <a:lnTo>
                  <a:pt x="176" y="179"/>
                </a:lnTo>
                <a:lnTo>
                  <a:pt x="179" y="177"/>
                </a:lnTo>
                <a:lnTo>
                  <a:pt x="179" y="177"/>
                </a:lnTo>
                <a:lnTo>
                  <a:pt x="181" y="179"/>
                </a:lnTo>
                <a:lnTo>
                  <a:pt x="183" y="184"/>
                </a:lnTo>
                <a:lnTo>
                  <a:pt x="189" y="190"/>
                </a:lnTo>
                <a:lnTo>
                  <a:pt x="194" y="193"/>
                </a:lnTo>
                <a:lnTo>
                  <a:pt x="199" y="197"/>
                </a:lnTo>
                <a:lnTo>
                  <a:pt x="199" y="197"/>
                </a:lnTo>
                <a:lnTo>
                  <a:pt x="221" y="186"/>
                </a:lnTo>
                <a:lnTo>
                  <a:pt x="221" y="186"/>
                </a:lnTo>
                <a:lnTo>
                  <a:pt x="231" y="182"/>
                </a:lnTo>
                <a:lnTo>
                  <a:pt x="234" y="179"/>
                </a:lnTo>
                <a:lnTo>
                  <a:pt x="234" y="179"/>
                </a:lnTo>
                <a:lnTo>
                  <a:pt x="231" y="173"/>
                </a:lnTo>
                <a:lnTo>
                  <a:pt x="227" y="169"/>
                </a:lnTo>
                <a:lnTo>
                  <a:pt x="225" y="164"/>
                </a:lnTo>
                <a:lnTo>
                  <a:pt x="225" y="164"/>
                </a:lnTo>
                <a:lnTo>
                  <a:pt x="223" y="158"/>
                </a:lnTo>
                <a:lnTo>
                  <a:pt x="223" y="155"/>
                </a:lnTo>
                <a:lnTo>
                  <a:pt x="223" y="155"/>
                </a:lnTo>
                <a:lnTo>
                  <a:pt x="229" y="162"/>
                </a:lnTo>
                <a:lnTo>
                  <a:pt x="236" y="168"/>
                </a:lnTo>
                <a:lnTo>
                  <a:pt x="245" y="173"/>
                </a:lnTo>
                <a:lnTo>
                  <a:pt x="245" y="173"/>
                </a:lnTo>
                <a:lnTo>
                  <a:pt x="271" y="157"/>
                </a:lnTo>
                <a:lnTo>
                  <a:pt x="271" y="157"/>
                </a:lnTo>
                <a:lnTo>
                  <a:pt x="276" y="155"/>
                </a:lnTo>
                <a:lnTo>
                  <a:pt x="276" y="155"/>
                </a:lnTo>
                <a:lnTo>
                  <a:pt x="276" y="155"/>
                </a:lnTo>
                <a:lnTo>
                  <a:pt x="276" y="155"/>
                </a:lnTo>
                <a:lnTo>
                  <a:pt x="273" y="149"/>
                </a:lnTo>
                <a:lnTo>
                  <a:pt x="267" y="144"/>
                </a:lnTo>
                <a:lnTo>
                  <a:pt x="262" y="137"/>
                </a:lnTo>
                <a:lnTo>
                  <a:pt x="262" y="133"/>
                </a:lnTo>
                <a:lnTo>
                  <a:pt x="263" y="131"/>
                </a:lnTo>
                <a:lnTo>
                  <a:pt x="263" y="131"/>
                </a:lnTo>
                <a:lnTo>
                  <a:pt x="265" y="129"/>
                </a:lnTo>
                <a:lnTo>
                  <a:pt x="265" y="126"/>
                </a:lnTo>
                <a:lnTo>
                  <a:pt x="262" y="115"/>
                </a:lnTo>
                <a:lnTo>
                  <a:pt x="258" y="105"/>
                </a:lnTo>
                <a:lnTo>
                  <a:pt x="258" y="100"/>
                </a:lnTo>
                <a:lnTo>
                  <a:pt x="262" y="98"/>
                </a:lnTo>
                <a:lnTo>
                  <a:pt x="262" y="98"/>
                </a:lnTo>
                <a:lnTo>
                  <a:pt x="313" y="73"/>
                </a:lnTo>
                <a:lnTo>
                  <a:pt x="357" y="51"/>
                </a:lnTo>
                <a:lnTo>
                  <a:pt x="357" y="51"/>
                </a:lnTo>
                <a:lnTo>
                  <a:pt x="353" y="45"/>
                </a:lnTo>
                <a:lnTo>
                  <a:pt x="349" y="38"/>
                </a:lnTo>
                <a:lnTo>
                  <a:pt x="344" y="3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88" name="Freeform 39"/>
          <p:cNvSpPr>
            <a:spLocks/>
          </p:cNvSpPr>
          <p:nvPr userDrawn="1"/>
        </p:nvSpPr>
        <p:spPr bwMode="auto">
          <a:xfrm>
            <a:off x="8229601" y="-437728"/>
            <a:ext cx="120650" cy="115888"/>
          </a:xfrm>
          <a:custGeom>
            <a:avLst/>
            <a:gdLst>
              <a:gd name="T0" fmla="*/ 0 w 152"/>
              <a:gd name="T1" fmla="*/ 42 h 144"/>
              <a:gd name="T2" fmla="*/ 2 w 152"/>
              <a:gd name="T3" fmla="*/ 51 h 144"/>
              <a:gd name="T4" fmla="*/ 4 w 152"/>
              <a:gd name="T5" fmla="*/ 57 h 144"/>
              <a:gd name="T6" fmla="*/ 15 w 152"/>
              <a:gd name="T7" fmla="*/ 60 h 144"/>
              <a:gd name="T8" fmla="*/ 18 w 152"/>
              <a:gd name="T9" fmla="*/ 58 h 144"/>
              <a:gd name="T10" fmla="*/ 20 w 152"/>
              <a:gd name="T11" fmla="*/ 51 h 144"/>
              <a:gd name="T12" fmla="*/ 22 w 152"/>
              <a:gd name="T13" fmla="*/ 44 h 144"/>
              <a:gd name="T14" fmla="*/ 24 w 152"/>
              <a:gd name="T15" fmla="*/ 42 h 144"/>
              <a:gd name="T16" fmla="*/ 26 w 152"/>
              <a:gd name="T17" fmla="*/ 42 h 144"/>
              <a:gd name="T18" fmla="*/ 28 w 152"/>
              <a:gd name="T19" fmla="*/ 40 h 144"/>
              <a:gd name="T20" fmla="*/ 68 w 152"/>
              <a:gd name="T21" fmla="*/ 60 h 144"/>
              <a:gd name="T22" fmla="*/ 106 w 152"/>
              <a:gd name="T23" fmla="*/ 86 h 144"/>
              <a:gd name="T24" fmla="*/ 112 w 152"/>
              <a:gd name="T25" fmla="*/ 89 h 144"/>
              <a:gd name="T26" fmla="*/ 106 w 152"/>
              <a:gd name="T27" fmla="*/ 100 h 144"/>
              <a:gd name="T28" fmla="*/ 95 w 152"/>
              <a:gd name="T29" fmla="*/ 128 h 144"/>
              <a:gd name="T30" fmla="*/ 93 w 152"/>
              <a:gd name="T31" fmla="*/ 135 h 144"/>
              <a:gd name="T32" fmla="*/ 97 w 152"/>
              <a:gd name="T33" fmla="*/ 142 h 144"/>
              <a:gd name="T34" fmla="*/ 104 w 152"/>
              <a:gd name="T35" fmla="*/ 144 h 144"/>
              <a:gd name="T36" fmla="*/ 110 w 152"/>
              <a:gd name="T37" fmla="*/ 144 h 144"/>
              <a:gd name="T38" fmla="*/ 117 w 152"/>
              <a:gd name="T39" fmla="*/ 139 h 144"/>
              <a:gd name="T40" fmla="*/ 119 w 152"/>
              <a:gd name="T41" fmla="*/ 135 h 144"/>
              <a:gd name="T42" fmla="*/ 119 w 152"/>
              <a:gd name="T43" fmla="*/ 130 h 144"/>
              <a:gd name="T44" fmla="*/ 112 w 152"/>
              <a:gd name="T45" fmla="*/ 122 h 144"/>
              <a:gd name="T46" fmla="*/ 110 w 152"/>
              <a:gd name="T47" fmla="*/ 122 h 144"/>
              <a:gd name="T48" fmla="*/ 115 w 152"/>
              <a:gd name="T49" fmla="*/ 110 h 144"/>
              <a:gd name="T50" fmla="*/ 123 w 152"/>
              <a:gd name="T51" fmla="*/ 93 h 144"/>
              <a:gd name="T52" fmla="*/ 132 w 152"/>
              <a:gd name="T53" fmla="*/ 86 h 144"/>
              <a:gd name="T54" fmla="*/ 141 w 152"/>
              <a:gd name="T55" fmla="*/ 84 h 144"/>
              <a:gd name="T56" fmla="*/ 139 w 152"/>
              <a:gd name="T57" fmla="*/ 80 h 144"/>
              <a:gd name="T58" fmla="*/ 135 w 152"/>
              <a:gd name="T59" fmla="*/ 69 h 144"/>
              <a:gd name="T60" fmla="*/ 137 w 152"/>
              <a:gd name="T61" fmla="*/ 57 h 144"/>
              <a:gd name="T62" fmla="*/ 141 w 152"/>
              <a:gd name="T63" fmla="*/ 49 h 144"/>
              <a:gd name="T64" fmla="*/ 152 w 152"/>
              <a:gd name="T65" fmla="*/ 18 h 144"/>
              <a:gd name="T66" fmla="*/ 152 w 152"/>
              <a:gd name="T67" fmla="*/ 13 h 144"/>
              <a:gd name="T68" fmla="*/ 146 w 152"/>
              <a:gd name="T69" fmla="*/ 5 h 144"/>
              <a:gd name="T70" fmla="*/ 141 w 152"/>
              <a:gd name="T71" fmla="*/ 4 h 144"/>
              <a:gd name="T72" fmla="*/ 132 w 152"/>
              <a:gd name="T73" fmla="*/ 7 h 144"/>
              <a:gd name="T74" fmla="*/ 128 w 152"/>
              <a:gd name="T75" fmla="*/ 15 h 144"/>
              <a:gd name="T76" fmla="*/ 128 w 152"/>
              <a:gd name="T77" fmla="*/ 20 h 144"/>
              <a:gd name="T78" fmla="*/ 134 w 152"/>
              <a:gd name="T79" fmla="*/ 27 h 144"/>
              <a:gd name="T80" fmla="*/ 137 w 152"/>
              <a:gd name="T81" fmla="*/ 29 h 144"/>
              <a:gd name="T82" fmla="*/ 132 w 152"/>
              <a:gd name="T83" fmla="*/ 46 h 144"/>
              <a:gd name="T84" fmla="*/ 124 w 152"/>
              <a:gd name="T85" fmla="*/ 55 h 144"/>
              <a:gd name="T86" fmla="*/ 117 w 152"/>
              <a:gd name="T87" fmla="*/ 51 h 144"/>
              <a:gd name="T88" fmla="*/ 60 w 152"/>
              <a:gd name="T89" fmla="*/ 24 h 144"/>
              <a:gd name="T90" fmla="*/ 40 w 152"/>
              <a:gd name="T91" fmla="*/ 18 h 144"/>
              <a:gd name="T92" fmla="*/ 42 w 152"/>
              <a:gd name="T93" fmla="*/ 13 h 144"/>
              <a:gd name="T94" fmla="*/ 50 w 152"/>
              <a:gd name="T95" fmla="*/ 0 h 144"/>
              <a:gd name="T96" fmla="*/ 46 w 152"/>
              <a:gd name="T97" fmla="*/ 2 h 144"/>
              <a:gd name="T98" fmla="*/ 39 w 152"/>
              <a:gd name="T99" fmla="*/ 5 h 144"/>
              <a:gd name="T100" fmla="*/ 24 w 152"/>
              <a:gd name="T101" fmla="*/ 11 h 144"/>
              <a:gd name="T102" fmla="*/ 18 w 152"/>
              <a:gd name="T103" fmla="*/ 11 h 144"/>
              <a:gd name="T104" fmla="*/ 15 w 152"/>
              <a:gd name="T105" fmla="*/ 11 h 144"/>
              <a:gd name="T106" fmla="*/ 9 w 152"/>
              <a:gd name="T107" fmla="*/ 22 h 144"/>
              <a:gd name="T108" fmla="*/ 6 w 152"/>
              <a:gd name="T109" fmla="*/ 33 h 144"/>
              <a:gd name="T110" fmla="*/ 2 w 152"/>
              <a:gd name="T111" fmla="*/ 3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2" h="144">
                <a:moveTo>
                  <a:pt x="0" y="42"/>
                </a:moveTo>
                <a:lnTo>
                  <a:pt x="0" y="42"/>
                </a:lnTo>
                <a:lnTo>
                  <a:pt x="0" y="47"/>
                </a:lnTo>
                <a:lnTo>
                  <a:pt x="2" y="51"/>
                </a:lnTo>
                <a:lnTo>
                  <a:pt x="4" y="57"/>
                </a:lnTo>
                <a:lnTo>
                  <a:pt x="4" y="57"/>
                </a:lnTo>
                <a:lnTo>
                  <a:pt x="11" y="58"/>
                </a:lnTo>
                <a:lnTo>
                  <a:pt x="15" y="60"/>
                </a:lnTo>
                <a:lnTo>
                  <a:pt x="18" y="58"/>
                </a:lnTo>
                <a:lnTo>
                  <a:pt x="18" y="58"/>
                </a:lnTo>
                <a:lnTo>
                  <a:pt x="20" y="55"/>
                </a:lnTo>
                <a:lnTo>
                  <a:pt x="20" y="51"/>
                </a:lnTo>
                <a:lnTo>
                  <a:pt x="20" y="47"/>
                </a:lnTo>
                <a:lnTo>
                  <a:pt x="22" y="44"/>
                </a:lnTo>
                <a:lnTo>
                  <a:pt x="22" y="44"/>
                </a:lnTo>
                <a:lnTo>
                  <a:pt x="24" y="42"/>
                </a:lnTo>
                <a:lnTo>
                  <a:pt x="26" y="42"/>
                </a:lnTo>
                <a:lnTo>
                  <a:pt x="26" y="42"/>
                </a:lnTo>
                <a:lnTo>
                  <a:pt x="28" y="40"/>
                </a:lnTo>
                <a:lnTo>
                  <a:pt x="28" y="40"/>
                </a:lnTo>
                <a:lnTo>
                  <a:pt x="48" y="49"/>
                </a:lnTo>
                <a:lnTo>
                  <a:pt x="68" y="60"/>
                </a:lnTo>
                <a:lnTo>
                  <a:pt x="106" y="86"/>
                </a:lnTo>
                <a:lnTo>
                  <a:pt x="106" y="86"/>
                </a:lnTo>
                <a:lnTo>
                  <a:pt x="112" y="89"/>
                </a:lnTo>
                <a:lnTo>
                  <a:pt x="112" y="89"/>
                </a:lnTo>
                <a:lnTo>
                  <a:pt x="106" y="100"/>
                </a:lnTo>
                <a:lnTo>
                  <a:pt x="106" y="100"/>
                </a:lnTo>
                <a:lnTo>
                  <a:pt x="97" y="119"/>
                </a:lnTo>
                <a:lnTo>
                  <a:pt x="95" y="128"/>
                </a:lnTo>
                <a:lnTo>
                  <a:pt x="93" y="135"/>
                </a:lnTo>
                <a:lnTo>
                  <a:pt x="93" y="135"/>
                </a:lnTo>
                <a:lnTo>
                  <a:pt x="95" y="139"/>
                </a:lnTo>
                <a:lnTo>
                  <a:pt x="97" y="142"/>
                </a:lnTo>
                <a:lnTo>
                  <a:pt x="101" y="144"/>
                </a:lnTo>
                <a:lnTo>
                  <a:pt x="104" y="144"/>
                </a:lnTo>
                <a:lnTo>
                  <a:pt x="104" y="144"/>
                </a:lnTo>
                <a:lnTo>
                  <a:pt x="110" y="144"/>
                </a:lnTo>
                <a:lnTo>
                  <a:pt x="113" y="142"/>
                </a:lnTo>
                <a:lnTo>
                  <a:pt x="117" y="139"/>
                </a:lnTo>
                <a:lnTo>
                  <a:pt x="119" y="135"/>
                </a:lnTo>
                <a:lnTo>
                  <a:pt x="119" y="135"/>
                </a:lnTo>
                <a:lnTo>
                  <a:pt x="119" y="131"/>
                </a:lnTo>
                <a:lnTo>
                  <a:pt x="119" y="130"/>
                </a:lnTo>
                <a:lnTo>
                  <a:pt x="115" y="124"/>
                </a:lnTo>
                <a:lnTo>
                  <a:pt x="112" y="122"/>
                </a:lnTo>
                <a:lnTo>
                  <a:pt x="110" y="122"/>
                </a:lnTo>
                <a:lnTo>
                  <a:pt x="110" y="122"/>
                </a:lnTo>
                <a:lnTo>
                  <a:pt x="115" y="110"/>
                </a:lnTo>
                <a:lnTo>
                  <a:pt x="115" y="110"/>
                </a:lnTo>
                <a:lnTo>
                  <a:pt x="119" y="100"/>
                </a:lnTo>
                <a:lnTo>
                  <a:pt x="123" y="93"/>
                </a:lnTo>
                <a:lnTo>
                  <a:pt x="128" y="89"/>
                </a:lnTo>
                <a:lnTo>
                  <a:pt x="132" y="86"/>
                </a:lnTo>
                <a:lnTo>
                  <a:pt x="137" y="84"/>
                </a:lnTo>
                <a:lnTo>
                  <a:pt x="141" y="84"/>
                </a:lnTo>
                <a:lnTo>
                  <a:pt x="141" y="84"/>
                </a:lnTo>
                <a:lnTo>
                  <a:pt x="139" y="80"/>
                </a:lnTo>
                <a:lnTo>
                  <a:pt x="135" y="75"/>
                </a:lnTo>
                <a:lnTo>
                  <a:pt x="135" y="69"/>
                </a:lnTo>
                <a:lnTo>
                  <a:pt x="135" y="64"/>
                </a:lnTo>
                <a:lnTo>
                  <a:pt x="137" y="57"/>
                </a:lnTo>
                <a:lnTo>
                  <a:pt x="141" y="49"/>
                </a:lnTo>
                <a:lnTo>
                  <a:pt x="141" y="49"/>
                </a:lnTo>
                <a:lnTo>
                  <a:pt x="148" y="31"/>
                </a:lnTo>
                <a:lnTo>
                  <a:pt x="152" y="18"/>
                </a:lnTo>
                <a:lnTo>
                  <a:pt x="152" y="18"/>
                </a:lnTo>
                <a:lnTo>
                  <a:pt x="152" y="13"/>
                </a:lnTo>
                <a:lnTo>
                  <a:pt x="150" y="9"/>
                </a:lnTo>
                <a:lnTo>
                  <a:pt x="146" y="5"/>
                </a:lnTo>
                <a:lnTo>
                  <a:pt x="141" y="4"/>
                </a:lnTo>
                <a:lnTo>
                  <a:pt x="141" y="4"/>
                </a:lnTo>
                <a:lnTo>
                  <a:pt x="137" y="5"/>
                </a:lnTo>
                <a:lnTo>
                  <a:pt x="132" y="7"/>
                </a:lnTo>
                <a:lnTo>
                  <a:pt x="130" y="11"/>
                </a:lnTo>
                <a:lnTo>
                  <a:pt x="128" y="15"/>
                </a:lnTo>
                <a:lnTo>
                  <a:pt x="128" y="15"/>
                </a:lnTo>
                <a:lnTo>
                  <a:pt x="128" y="20"/>
                </a:lnTo>
                <a:lnTo>
                  <a:pt x="130" y="24"/>
                </a:lnTo>
                <a:lnTo>
                  <a:pt x="134" y="27"/>
                </a:lnTo>
                <a:lnTo>
                  <a:pt x="137" y="29"/>
                </a:lnTo>
                <a:lnTo>
                  <a:pt x="137" y="29"/>
                </a:lnTo>
                <a:lnTo>
                  <a:pt x="137" y="29"/>
                </a:lnTo>
                <a:lnTo>
                  <a:pt x="132" y="46"/>
                </a:lnTo>
                <a:lnTo>
                  <a:pt x="124" y="55"/>
                </a:lnTo>
                <a:lnTo>
                  <a:pt x="124" y="55"/>
                </a:lnTo>
                <a:lnTo>
                  <a:pt x="117" y="51"/>
                </a:lnTo>
                <a:lnTo>
                  <a:pt x="117" y="51"/>
                </a:lnTo>
                <a:lnTo>
                  <a:pt x="81" y="31"/>
                </a:lnTo>
                <a:lnTo>
                  <a:pt x="60" y="24"/>
                </a:lnTo>
                <a:lnTo>
                  <a:pt x="40" y="18"/>
                </a:lnTo>
                <a:lnTo>
                  <a:pt x="40" y="18"/>
                </a:lnTo>
                <a:lnTo>
                  <a:pt x="42" y="13"/>
                </a:lnTo>
                <a:lnTo>
                  <a:pt x="42" y="13"/>
                </a:lnTo>
                <a:lnTo>
                  <a:pt x="48" y="4"/>
                </a:lnTo>
                <a:lnTo>
                  <a:pt x="50" y="0"/>
                </a:lnTo>
                <a:lnTo>
                  <a:pt x="50" y="0"/>
                </a:lnTo>
                <a:lnTo>
                  <a:pt x="46" y="2"/>
                </a:lnTo>
                <a:lnTo>
                  <a:pt x="39" y="5"/>
                </a:lnTo>
                <a:lnTo>
                  <a:pt x="39" y="5"/>
                </a:lnTo>
                <a:lnTo>
                  <a:pt x="29" y="9"/>
                </a:lnTo>
                <a:lnTo>
                  <a:pt x="24" y="11"/>
                </a:lnTo>
                <a:lnTo>
                  <a:pt x="24" y="11"/>
                </a:lnTo>
                <a:lnTo>
                  <a:pt x="18" y="11"/>
                </a:lnTo>
                <a:lnTo>
                  <a:pt x="15" y="11"/>
                </a:lnTo>
                <a:lnTo>
                  <a:pt x="15" y="11"/>
                </a:lnTo>
                <a:lnTo>
                  <a:pt x="13" y="13"/>
                </a:lnTo>
                <a:lnTo>
                  <a:pt x="9" y="22"/>
                </a:lnTo>
                <a:lnTo>
                  <a:pt x="9" y="22"/>
                </a:lnTo>
                <a:lnTo>
                  <a:pt x="6" y="33"/>
                </a:lnTo>
                <a:lnTo>
                  <a:pt x="6" y="33"/>
                </a:lnTo>
                <a:lnTo>
                  <a:pt x="2" y="38"/>
                </a:lnTo>
                <a:lnTo>
                  <a:pt x="0" y="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89" name="Freeform 40"/>
          <p:cNvSpPr>
            <a:spLocks/>
          </p:cNvSpPr>
          <p:nvPr userDrawn="1"/>
        </p:nvSpPr>
        <p:spPr bwMode="auto">
          <a:xfrm>
            <a:off x="8226426" y="-921915"/>
            <a:ext cx="30163" cy="34925"/>
          </a:xfrm>
          <a:custGeom>
            <a:avLst/>
            <a:gdLst>
              <a:gd name="T0" fmla="*/ 12 w 36"/>
              <a:gd name="T1" fmla="*/ 44 h 44"/>
              <a:gd name="T2" fmla="*/ 12 w 36"/>
              <a:gd name="T3" fmla="*/ 44 h 44"/>
              <a:gd name="T4" fmla="*/ 27 w 36"/>
              <a:gd name="T5" fmla="*/ 42 h 44"/>
              <a:gd name="T6" fmla="*/ 36 w 36"/>
              <a:gd name="T7" fmla="*/ 40 h 44"/>
              <a:gd name="T8" fmla="*/ 36 w 36"/>
              <a:gd name="T9" fmla="*/ 3 h 44"/>
              <a:gd name="T10" fmla="*/ 36 w 36"/>
              <a:gd name="T11" fmla="*/ 3 h 44"/>
              <a:gd name="T12" fmla="*/ 16 w 36"/>
              <a:gd name="T13" fmla="*/ 0 h 44"/>
              <a:gd name="T14" fmla="*/ 16 w 36"/>
              <a:gd name="T15" fmla="*/ 0 h 44"/>
              <a:gd name="T16" fmla="*/ 11 w 36"/>
              <a:gd name="T17" fmla="*/ 0 h 44"/>
              <a:gd name="T18" fmla="*/ 7 w 36"/>
              <a:gd name="T19" fmla="*/ 2 h 44"/>
              <a:gd name="T20" fmla="*/ 3 w 36"/>
              <a:gd name="T21" fmla="*/ 3 h 44"/>
              <a:gd name="T22" fmla="*/ 1 w 36"/>
              <a:gd name="T23" fmla="*/ 7 h 44"/>
              <a:gd name="T24" fmla="*/ 0 w 36"/>
              <a:gd name="T25" fmla="*/ 13 h 44"/>
              <a:gd name="T26" fmla="*/ 0 w 36"/>
              <a:gd name="T27" fmla="*/ 16 h 44"/>
              <a:gd name="T28" fmla="*/ 0 w 36"/>
              <a:gd name="T29" fmla="*/ 27 h 44"/>
              <a:gd name="T30" fmla="*/ 0 w 36"/>
              <a:gd name="T31" fmla="*/ 27 h 44"/>
              <a:gd name="T32" fmla="*/ 1 w 36"/>
              <a:gd name="T33" fmla="*/ 34 h 44"/>
              <a:gd name="T34" fmla="*/ 5 w 36"/>
              <a:gd name="T35" fmla="*/ 40 h 44"/>
              <a:gd name="T36" fmla="*/ 9 w 36"/>
              <a:gd name="T37" fmla="*/ 42 h 44"/>
              <a:gd name="T38" fmla="*/ 12 w 36"/>
              <a:gd name="T3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 h="44">
                <a:moveTo>
                  <a:pt x="12" y="44"/>
                </a:moveTo>
                <a:lnTo>
                  <a:pt x="12" y="44"/>
                </a:lnTo>
                <a:lnTo>
                  <a:pt x="27" y="42"/>
                </a:lnTo>
                <a:lnTo>
                  <a:pt x="36" y="40"/>
                </a:lnTo>
                <a:lnTo>
                  <a:pt x="36" y="3"/>
                </a:lnTo>
                <a:lnTo>
                  <a:pt x="36" y="3"/>
                </a:lnTo>
                <a:lnTo>
                  <a:pt x="16" y="0"/>
                </a:lnTo>
                <a:lnTo>
                  <a:pt x="16" y="0"/>
                </a:lnTo>
                <a:lnTo>
                  <a:pt x="11" y="0"/>
                </a:lnTo>
                <a:lnTo>
                  <a:pt x="7" y="2"/>
                </a:lnTo>
                <a:lnTo>
                  <a:pt x="3" y="3"/>
                </a:lnTo>
                <a:lnTo>
                  <a:pt x="1" y="7"/>
                </a:lnTo>
                <a:lnTo>
                  <a:pt x="0" y="13"/>
                </a:lnTo>
                <a:lnTo>
                  <a:pt x="0" y="16"/>
                </a:lnTo>
                <a:lnTo>
                  <a:pt x="0" y="27"/>
                </a:lnTo>
                <a:lnTo>
                  <a:pt x="0" y="27"/>
                </a:lnTo>
                <a:lnTo>
                  <a:pt x="1" y="34"/>
                </a:lnTo>
                <a:lnTo>
                  <a:pt x="5" y="40"/>
                </a:lnTo>
                <a:lnTo>
                  <a:pt x="9" y="42"/>
                </a:lnTo>
                <a:lnTo>
                  <a:pt x="12" y="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0" name="Freeform 41"/>
          <p:cNvSpPr>
            <a:spLocks/>
          </p:cNvSpPr>
          <p:nvPr userDrawn="1"/>
        </p:nvSpPr>
        <p:spPr bwMode="auto">
          <a:xfrm>
            <a:off x="8262939" y="-928264"/>
            <a:ext cx="44450" cy="41275"/>
          </a:xfrm>
          <a:custGeom>
            <a:avLst/>
            <a:gdLst>
              <a:gd name="T0" fmla="*/ 55 w 55"/>
              <a:gd name="T1" fmla="*/ 38 h 53"/>
              <a:gd name="T2" fmla="*/ 55 w 55"/>
              <a:gd name="T3" fmla="*/ 27 h 53"/>
              <a:gd name="T4" fmla="*/ 55 w 55"/>
              <a:gd name="T5" fmla="*/ 7 h 53"/>
              <a:gd name="T6" fmla="*/ 55 w 55"/>
              <a:gd name="T7" fmla="*/ 1 h 53"/>
              <a:gd name="T8" fmla="*/ 53 w 55"/>
              <a:gd name="T9" fmla="*/ 0 h 53"/>
              <a:gd name="T10" fmla="*/ 46 w 55"/>
              <a:gd name="T11" fmla="*/ 0 h 53"/>
              <a:gd name="T12" fmla="*/ 40 w 55"/>
              <a:gd name="T13" fmla="*/ 0 h 53"/>
              <a:gd name="T14" fmla="*/ 29 w 55"/>
              <a:gd name="T15" fmla="*/ 0 h 53"/>
              <a:gd name="T16" fmla="*/ 28 w 55"/>
              <a:gd name="T17" fmla="*/ 7 h 53"/>
              <a:gd name="T18" fmla="*/ 26 w 55"/>
              <a:gd name="T19" fmla="*/ 0 h 53"/>
              <a:gd name="T20" fmla="*/ 17 w 55"/>
              <a:gd name="T21" fmla="*/ 0 h 53"/>
              <a:gd name="T22" fmla="*/ 11 w 55"/>
              <a:gd name="T23" fmla="*/ 0 h 53"/>
              <a:gd name="T24" fmla="*/ 4 w 55"/>
              <a:gd name="T25" fmla="*/ 0 h 53"/>
              <a:gd name="T26" fmla="*/ 2 w 55"/>
              <a:gd name="T27" fmla="*/ 1 h 53"/>
              <a:gd name="T28" fmla="*/ 0 w 55"/>
              <a:gd name="T29" fmla="*/ 7 h 53"/>
              <a:gd name="T30" fmla="*/ 0 w 55"/>
              <a:gd name="T31" fmla="*/ 27 h 53"/>
              <a:gd name="T32" fmla="*/ 0 w 55"/>
              <a:gd name="T33" fmla="*/ 49 h 53"/>
              <a:gd name="T34" fmla="*/ 6 w 55"/>
              <a:gd name="T35" fmla="*/ 49 h 53"/>
              <a:gd name="T36" fmla="*/ 9 w 55"/>
              <a:gd name="T37" fmla="*/ 47 h 53"/>
              <a:gd name="T38" fmla="*/ 13 w 55"/>
              <a:gd name="T39" fmla="*/ 40 h 53"/>
              <a:gd name="T40" fmla="*/ 13 w 55"/>
              <a:gd name="T41" fmla="*/ 53 h 53"/>
              <a:gd name="T42" fmla="*/ 17 w 55"/>
              <a:gd name="T43" fmla="*/ 53 h 53"/>
              <a:gd name="T44" fmla="*/ 24 w 55"/>
              <a:gd name="T45" fmla="*/ 49 h 53"/>
              <a:gd name="T46" fmla="*/ 26 w 55"/>
              <a:gd name="T47" fmla="*/ 43 h 53"/>
              <a:gd name="T48" fmla="*/ 28 w 55"/>
              <a:gd name="T49" fmla="*/ 40 h 53"/>
              <a:gd name="T50" fmla="*/ 28 w 55"/>
              <a:gd name="T51" fmla="*/ 53 h 53"/>
              <a:gd name="T52" fmla="*/ 39 w 55"/>
              <a:gd name="T53" fmla="*/ 49 h 53"/>
              <a:gd name="T54" fmla="*/ 42 w 55"/>
              <a:gd name="T55" fmla="*/ 43 h 53"/>
              <a:gd name="T56" fmla="*/ 42 w 55"/>
              <a:gd name="T57" fmla="*/ 40 h 53"/>
              <a:gd name="T58" fmla="*/ 42 w 55"/>
              <a:gd name="T59" fmla="*/ 49 h 53"/>
              <a:gd name="T60" fmla="*/ 46 w 55"/>
              <a:gd name="T61" fmla="*/ 47 h 53"/>
              <a:gd name="T62" fmla="*/ 51 w 55"/>
              <a:gd name="T63" fmla="*/ 45 h 53"/>
              <a:gd name="T64" fmla="*/ 55 w 55"/>
              <a:gd name="T65" fmla="*/ 38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5" h="53">
                <a:moveTo>
                  <a:pt x="55" y="38"/>
                </a:moveTo>
                <a:lnTo>
                  <a:pt x="55" y="38"/>
                </a:lnTo>
                <a:lnTo>
                  <a:pt x="55" y="27"/>
                </a:lnTo>
                <a:lnTo>
                  <a:pt x="55" y="27"/>
                </a:lnTo>
                <a:lnTo>
                  <a:pt x="55" y="7"/>
                </a:lnTo>
                <a:lnTo>
                  <a:pt x="55" y="7"/>
                </a:lnTo>
                <a:lnTo>
                  <a:pt x="55" y="3"/>
                </a:lnTo>
                <a:lnTo>
                  <a:pt x="55" y="1"/>
                </a:lnTo>
                <a:lnTo>
                  <a:pt x="53" y="0"/>
                </a:lnTo>
                <a:lnTo>
                  <a:pt x="53" y="0"/>
                </a:lnTo>
                <a:lnTo>
                  <a:pt x="46" y="0"/>
                </a:lnTo>
                <a:lnTo>
                  <a:pt x="46" y="0"/>
                </a:lnTo>
                <a:lnTo>
                  <a:pt x="42" y="7"/>
                </a:lnTo>
                <a:lnTo>
                  <a:pt x="40" y="0"/>
                </a:lnTo>
                <a:lnTo>
                  <a:pt x="40" y="0"/>
                </a:lnTo>
                <a:lnTo>
                  <a:pt x="29" y="0"/>
                </a:lnTo>
                <a:lnTo>
                  <a:pt x="29" y="0"/>
                </a:lnTo>
                <a:lnTo>
                  <a:pt x="28" y="7"/>
                </a:lnTo>
                <a:lnTo>
                  <a:pt x="26" y="0"/>
                </a:lnTo>
                <a:lnTo>
                  <a:pt x="26" y="0"/>
                </a:lnTo>
                <a:lnTo>
                  <a:pt x="17" y="0"/>
                </a:lnTo>
                <a:lnTo>
                  <a:pt x="17" y="0"/>
                </a:lnTo>
                <a:lnTo>
                  <a:pt x="13" y="7"/>
                </a:lnTo>
                <a:lnTo>
                  <a:pt x="11" y="0"/>
                </a:lnTo>
                <a:lnTo>
                  <a:pt x="11" y="0"/>
                </a:lnTo>
                <a:lnTo>
                  <a:pt x="4" y="0"/>
                </a:lnTo>
                <a:lnTo>
                  <a:pt x="4" y="0"/>
                </a:lnTo>
                <a:lnTo>
                  <a:pt x="2" y="1"/>
                </a:lnTo>
                <a:lnTo>
                  <a:pt x="0" y="3"/>
                </a:lnTo>
                <a:lnTo>
                  <a:pt x="0" y="7"/>
                </a:lnTo>
                <a:lnTo>
                  <a:pt x="0" y="7"/>
                </a:lnTo>
                <a:lnTo>
                  <a:pt x="0" y="27"/>
                </a:lnTo>
                <a:lnTo>
                  <a:pt x="0" y="27"/>
                </a:lnTo>
                <a:lnTo>
                  <a:pt x="0" y="49"/>
                </a:lnTo>
                <a:lnTo>
                  <a:pt x="0" y="49"/>
                </a:lnTo>
                <a:lnTo>
                  <a:pt x="6" y="49"/>
                </a:lnTo>
                <a:lnTo>
                  <a:pt x="9" y="47"/>
                </a:lnTo>
                <a:lnTo>
                  <a:pt x="9" y="47"/>
                </a:lnTo>
                <a:lnTo>
                  <a:pt x="11" y="42"/>
                </a:lnTo>
                <a:lnTo>
                  <a:pt x="13" y="40"/>
                </a:lnTo>
                <a:lnTo>
                  <a:pt x="13" y="40"/>
                </a:lnTo>
                <a:lnTo>
                  <a:pt x="13" y="53"/>
                </a:lnTo>
                <a:lnTo>
                  <a:pt x="13" y="53"/>
                </a:lnTo>
                <a:lnTo>
                  <a:pt x="17" y="53"/>
                </a:lnTo>
                <a:lnTo>
                  <a:pt x="20" y="51"/>
                </a:lnTo>
                <a:lnTo>
                  <a:pt x="24" y="49"/>
                </a:lnTo>
                <a:lnTo>
                  <a:pt x="24" y="49"/>
                </a:lnTo>
                <a:lnTo>
                  <a:pt x="26" y="43"/>
                </a:lnTo>
                <a:lnTo>
                  <a:pt x="28" y="40"/>
                </a:lnTo>
                <a:lnTo>
                  <a:pt x="28" y="40"/>
                </a:lnTo>
                <a:lnTo>
                  <a:pt x="28" y="53"/>
                </a:lnTo>
                <a:lnTo>
                  <a:pt x="28" y="53"/>
                </a:lnTo>
                <a:lnTo>
                  <a:pt x="33" y="51"/>
                </a:lnTo>
                <a:lnTo>
                  <a:pt x="39" y="49"/>
                </a:lnTo>
                <a:lnTo>
                  <a:pt x="39" y="49"/>
                </a:lnTo>
                <a:lnTo>
                  <a:pt x="42" y="43"/>
                </a:lnTo>
                <a:lnTo>
                  <a:pt x="42" y="40"/>
                </a:lnTo>
                <a:lnTo>
                  <a:pt x="42" y="40"/>
                </a:lnTo>
                <a:lnTo>
                  <a:pt x="42" y="49"/>
                </a:lnTo>
                <a:lnTo>
                  <a:pt x="42" y="49"/>
                </a:lnTo>
                <a:lnTo>
                  <a:pt x="46" y="47"/>
                </a:lnTo>
                <a:lnTo>
                  <a:pt x="46" y="47"/>
                </a:lnTo>
                <a:lnTo>
                  <a:pt x="51" y="45"/>
                </a:lnTo>
                <a:lnTo>
                  <a:pt x="51" y="45"/>
                </a:lnTo>
                <a:lnTo>
                  <a:pt x="53" y="43"/>
                </a:lnTo>
                <a:lnTo>
                  <a:pt x="55" y="3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1" name="Freeform 42"/>
          <p:cNvSpPr>
            <a:spLocks/>
          </p:cNvSpPr>
          <p:nvPr userDrawn="1"/>
        </p:nvSpPr>
        <p:spPr bwMode="auto">
          <a:xfrm>
            <a:off x="8269289" y="-926677"/>
            <a:ext cx="53975" cy="60325"/>
          </a:xfrm>
          <a:custGeom>
            <a:avLst/>
            <a:gdLst>
              <a:gd name="T0" fmla="*/ 67 w 67"/>
              <a:gd name="T1" fmla="*/ 57 h 77"/>
              <a:gd name="T2" fmla="*/ 67 w 67"/>
              <a:gd name="T3" fmla="*/ 44 h 77"/>
              <a:gd name="T4" fmla="*/ 67 w 67"/>
              <a:gd name="T5" fmla="*/ 44 h 77"/>
              <a:gd name="T6" fmla="*/ 65 w 67"/>
              <a:gd name="T7" fmla="*/ 42 h 77"/>
              <a:gd name="T8" fmla="*/ 63 w 67"/>
              <a:gd name="T9" fmla="*/ 37 h 77"/>
              <a:gd name="T10" fmla="*/ 63 w 67"/>
              <a:gd name="T11" fmla="*/ 30 h 77"/>
              <a:gd name="T12" fmla="*/ 63 w 67"/>
              <a:gd name="T13" fmla="*/ 30 h 77"/>
              <a:gd name="T14" fmla="*/ 63 w 67"/>
              <a:gd name="T15" fmla="*/ 26 h 77"/>
              <a:gd name="T16" fmla="*/ 65 w 67"/>
              <a:gd name="T17" fmla="*/ 21 h 77"/>
              <a:gd name="T18" fmla="*/ 67 w 67"/>
              <a:gd name="T19" fmla="*/ 17 h 77"/>
              <a:gd name="T20" fmla="*/ 67 w 67"/>
              <a:gd name="T21" fmla="*/ 6 h 77"/>
              <a:gd name="T22" fmla="*/ 67 w 67"/>
              <a:gd name="T23" fmla="*/ 6 h 77"/>
              <a:gd name="T24" fmla="*/ 63 w 67"/>
              <a:gd name="T25" fmla="*/ 2 h 77"/>
              <a:gd name="T26" fmla="*/ 60 w 67"/>
              <a:gd name="T27" fmla="*/ 0 h 77"/>
              <a:gd name="T28" fmla="*/ 56 w 67"/>
              <a:gd name="T29" fmla="*/ 0 h 77"/>
              <a:gd name="T30" fmla="*/ 56 w 67"/>
              <a:gd name="T31" fmla="*/ 41 h 77"/>
              <a:gd name="T32" fmla="*/ 56 w 67"/>
              <a:gd name="T33" fmla="*/ 41 h 77"/>
              <a:gd name="T34" fmla="*/ 54 w 67"/>
              <a:gd name="T35" fmla="*/ 46 h 77"/>
              <a:gd name="T36" fmla="*/ 51 w 67"/>
              <a:gd name="T37" fmla="*/ 52 h 77"/>
              <a:gd name="T38" fmla="*/ 45 w 67"/>
              <a:gd name="T39" fmla="*/ 55 h 77"/>
              <a:gd name="T40" fmla="*/ 38 w 67"/>
              <a:gd name="T41" fmla="*/ 57 h 77"/>
              <a:gd name="T42" fmla="*/ 38 w 67"/>
              <a:gd name="T43" fmla="*/ 57 h 77"/>
              <a:gd name="T44" fmla="*/ 23 w 67"/>
              <a:gd name="T45" fmla="*/ 59 h 77"/>
              <a:gd name="T46" fmla="*/ 10 w 67"/>
              <a:gd name="T47" fmla="*/ 61 h 77"/>
              <a:gd name="T48" fmla="*/ 0 w 67"/>
              <a:gd name="T49" fmla="*/ 61 h 77"/>
              <a:gd name="T50" fmla="*/ 0 w 67"/>
              <a:gd name="T51" fmla="*/ 61 h 77"/>
              <a:gd name="T52" fmla="*/ 1 w 67"/>
              <a:gd name="T53" fmla="*/ 70 h 77"/>
              <a:gd name="T54" fmla="*/ 1 w 67"/>
              <a:gd name="T55" fmla="*/ 70 h 77"/>
              <a:gd name="T56" fmla="*/ 5 w 67"/>
              <a:gd name="T57" fmla="*/ 75 h 77"/>
              <a:gd name="T58" fmla="*/ 7 w 67"/>
              <a:gd name="T59" fmla="*/ 77 h 77"/>
              <a:gd name="T60" fmla="*/ 54 w 67"/>
              <a:gd name="T61" fmla="*/ 77 h 77"/>
              <a:gd name="T62" fmla="*/ 67 w 67"/>
              <a:gd name="T63" fmla="*/ 5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7" h="77">
                <a:moveTo>
                  <a:pt x="67" y="57"/>
                </a:moveTo>
                <a:lnTo>
                  <a:pt x="67" y="44"/>
                </a:lnTo>
                <a:lnTo>
                  <a:pt x="67" y="44"/>
                </a:lnTo>
                <a:lnTo>
                  <a:pt x="65" y="42"/>
                </a:lnTo>
                <a:lnTo>
                  <a:pt x="63" y="37"/>
                </a:lnTo>
                <a:lnTo>
                  <a:pt x="63" y="30"/>
                </a:lnTo>
                <a:lnTo>
                  <a:pt x="63" y="30"/>
                </a:lnTo>
                <a:lnTo>
                  <a:pt x="63" y="26"/>
                </a:lnTo>
                <a:lnTo>
                  <a:pt x="65" y="21"/>
                </a:lnTo>
                <a:lnTo>
                  <a:pt x="67" y="17"/>
                </a:lnTo>
                <a:lnTo>
                  <a:pt x="67" y="6"/>
                </a:lnTo>
                <a:lnTo>
                  <a:pt x="67" y="6"/>
                </a:lnTo>
                <a:lnTo>
                  <a:pt x="63" y="2"/>
                </a:lnTo>
                <a:lnTo>
                  <a:pt x="60" y="0"/>
                </a:lnTo>
                <a:lnTo>
                  <a:pt x="56" y="0"/>
                </a:lnTo>
                <a:lnTo>
                  <a:pt x="56" y="41"/>
                </a:lnTo>
                <a:lnTo>
                  <a:pt x="56" y="41"/>
                </a:lnTo>
                <a:lnTo>
                  <a:pt x="54" y="46"/>
                </a:lnTo>
                <a:lnTo>
                  <a:pt x="51" y="52"/>
                </a:lnTo>
                <a:lnTo>
                  <a:pt x="45" y="55"/>
                </a:lnTo>
                <a:lnTo>
                  <a:pt x="38" y="57"/>
                </a:lnTo>
                <a:lnTo>
                  <a:pt x="38" y="57"/>
                </a:lnTo>
                <a:lnTo>
                  <a:pt x="23" y="59"/>
                </a:lnTo>
                <a:lnTo>
                  <a:pt x="10" y="61"/>
                </a:lnTo>
                <a:lnTo>
                  <a:pt x="0" y="61"/>
                </a:lnTo>
                <a:lnTo>
                  <a:pt x="0" y="61"/>
                </a:lnTo>
                <a:lnTo>
                  <a:pt x="1" y="70"/>
                </a:lnTo>
                <a:lnTo>
                  <a:pt x="1" y="70"/>
                </a:lnTo>
                <a:lnTo>
                  <a:pt x="5" y="75"/>
                </a:lnTo>
                <a:lnTo>
                  <a:pt x="7" y="77"/>
                </a:lnTo>
                <a:lnTo>
                  <a:pt x="54" y="77"/>
                </a:lnTo>
                <a:lnTo>
                  <a:pt x="67" y="5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2" name="Freeform 43"/>
          <p:cNvSpPr>
            <a:spLocks/>
          </p:cNvSpPr>
          <p:nvPr userDrawn="1"/>
        </p:nvSpPr>
        <p:spPr bwMode="auto">
          <a:xfrm>
            <a:off x="8272464" y="-858415"/>
            <a:ext cx="42863" cy="14288"/>
          </a:xfrm>
          <a:custGeom>
            <a:avLst/>
            <a:gdLst>
              <a:gd name="T0" fmla="*/ 4 w 55"/>
              <a:gd name="T1" fmla="*/ 19 h 19"/>
              <a:gd name="T2" fmla="*/ 51 w 55"/>
              <a:gd name="T3" fmla="*/ 19 h 19"/>
              <a:gd name="T4" fmla="*/ 51 w 55"/>
              <a:gd name="T5" fmla="*/ 19 h 19"/>
              <a:gd name="T6" fmla="*/ 55 w 55"/>
              <a:gd name="T7" fmla="*/ 9 h 19"/>
              <a:gd name="T8" fmla="*/ 53 w 55"/>
              <a:gd name="T9" fmla="*/ 0 h 19"/>
              <a:gd name="T10" fmla="*/ 4 w 55"/>
              <a:gd name="T11" fmla="*/ 0 h 19"/>
              <a:gd name="T12" fmla="*/ 0 w 55"/>
              <a:gd name="T13" fmla="*/ 9 h 19"/>
              <a:gd name="T14" fmla="*/ 4 w 55"/>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19">
                <a:moveTo>
                  <a:pt x="4" y="19"/>
                </a:moveTo>
                <a:lnTo>
                  <a:pt x="51" y="19"/>
                </a:lnTo>
                <a:lnTo>
                  <a:pt x="51" y="19"/>
                </a:lnTo>
                <a:lnTo>
                  <a:pt x="55" y="9"/>
                </a:lnTo>
                <a:lnTo>
                  <a:pt x="53" y="0"/>
                </a:lnTo>
                <a:lnTo>
                  <a:pt x="4" y="0"/>
                </a:lnTo>
                <a:lnTo>
                  <a:pt x="0" y="9"/>
                </a:lnTo>
                <a:lnTo>
                  <a:pt x="4" y="1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3" name="Freeform 44"/>
          <p:cNvSpPr>
            <a:spLocks/>
          </p:cNvSpPr>
          <p:nvPr userDrawn="1"/>
        </p:nvSpPr>
        <p:spPr bwMode="auto">
          <a:xfrm>
            <a:off x="8274051" y="-837778"/>
            <a:ext cx="44450" cy="50800"/>
          </a:xfrm>
          <a:custGeom>
            <a:avLst/>
            <a:gdLst>
              <a:gd name="T0" fmla="*/ 47 w 55"/>
              <a:gd name="T1" fmla="*/ 0 h 64"/>
              <a:gd name="T2" fmla="*/ 0 w 55"/>
              <a:gd name="T3" fmla="*/ 0 h 64"/>
              <a:gd name="T4" fmla="*/ 0 w 55"/>
              <a:gd name="T5" fmla="*/ 62 h 64"/>
              <a:gd name="T6" fmla="*/ 42 w 55"/>
              <a:gd name="T7" fmla="*/ 64 h 64"/>
              <a:gd name="T8" fmla="*/ 55 w 55"/>
              <a:gd name="T9" fmla="*/ 53 h 64"/>
              <a:gd name="T10" fmla="*/ 47 w 55"/>
              <a:gd name="T11" fmla="*/ 0 h 64"/>
            </a:gdLst>
            <a:ahLst/>
            <a:cxnLst>
              <a:cxn ang="0">
                <a:pos x="T0" y="T1"/>
              </a:cxn>
              <a:cxn ang="0">
                <a:pos x="T2" y="T3"/>
              </a:cxn>
              <a:cxn ang="0">
                <a:pos x="T4" y="T5"/>
              </a:cxn>
              <a:cxn ang="0">
                <a:pos x="T6" y="T7"/>
              </a:cxn>
              <a:cxn ang="0">
                <a:pos x="T8" y="T9"/>
              </a:cxn>
              <a:cxn ang="0">
                <a:pos x="T10" y="T11"/>
              </a:cxn>
            </a:cxnLst>
            <a:rect l="0" t="0" r="r" b="b"/>
            <a:pathLst>
              <a:path w="55" h="64">
                <a:moveTo>
                  <a:pt x="47" y="0"/>
                </a:moveTo>
                <a:lnTo>
                  <a:pt x="0" y="0"/>
                </a:lnTo>
                <a:lnTo>
                  <a:pt x="0" y="62"/>
                </a:lnTo>
                <a:lnTo>
                  <a:pt x="42" y="64"/>
                </a:lnTo>
                <a:lnTo>
                  <a:pt x="55" y="53"/>
                </a:lnTo>
                <a:lnTo>
                  <a:pt x="4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4" name="Freeform 45"/>
          <p:cNvSpPr>
            <a:spLocks/>
          </p:cNvSpPr>
          <p:nvPr userDrawn="1"/>
        </p:nvSpPr>
        <p:spPr bwMode="auto">
          <a:xfrm>
            <a:off x="8274050" y="-788565"/>
            <a:ext cx="57150" cy="50800"/>
          </a:xfrm>
          <a:custGeom>
            <a:avLst/>
            <a:gdLst>
              <a:gd name="T0" fmla="*/ 73 w 73"/>
              <a:gd name="T1" fmla="*/ 16 h 64"/>
              <a:gd name="T2" fmla="*/ 73 w 73"/>
              <a:gd name="T3" fmla="*/ 16 h 64"/>
              <a:gd name="T4" fmla="*/ 64 w 73"/>
              <a:gd name="T5" fmla="*/ 9 h 64"/>
              <a:gd name="T6" fmla="*/ 64 w 73"/>
              <a:gd name="T7" fmla="*/ 9 h 64"/>
              <a:gd name="T8" fmla="*/ 62 w 73"/>
              <a:gd name="T9" fmla="*/ 0 h 64"/>
              <a:gd name="T10" fmla="*/ 48 w 73"/>
              <a:gd name="T11" fmla="*/ 11 h 64"/>
              <a:gd name="T12" fmla="*/ 0 w 73"/>
              <a:gd name="T13" fmla="*/ 11 h 64"/>
              <a:gd name="T14" fmla="*/ 0 w 73"/>
              <a:gd name="T15" fmla="*/ 11 h 64"/>
              <a:gd name="T16" fmla="*/ 0 w 73"/>
              <a:gd name="T17" fmla="*/ 27 h 64"/>
              <a:gd name="T18" fmla="*/ 0 w 73"/>
              <a:gd name="T19" fmla="*/ 45 h 64"/>
              <a:gd name="T20" fmla="*/ 0 w 73"/>
              <a:gd name="T21" fmla="*/ 45 h 64"/>
              <a:gd name="T22" fmla="*/ 11 w 73"/>
              <a:gd name="T23" fmla="*/ 55 h 64"/>
              <a:gd name="T24" fmla="*/ 24 w 73"/>
              <a:gd name="T25" fmla="*/ 64 h 64"/>
              <a:gd name="T26" fmla="*/ 55 w 73"/>
              <a:gd name="T27" fmla="*/ 25 h 64"/>
              <a:gd name="T28" fmla="*/ 73 w 73"/>
              <a:gd name="T29"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64">
                <a:moveTo>
                  <a:pt x="73" y="16"/>
                </a:moveTo>
                <a:lnTo>
                  <a:pt x="73" y="16"/>
                </a:lnTo>
                <a:lnTo>
                  <a:pt x="64" y="9"/>
                </a:lnTo>
                <a:lnTo>
                  <a:pt x="64" y="9"/>
                </a:lnTo>
                <a:lnTo>
                  <a:pt x="62" y="0"/>
                </a:lnTo>
                <a:lnTo>
                  <a:pt x="48" y="11"/>
                </a:lnTo>
                <a:lnTo>
                  <a:pt x="0" y="11"/>
                </a:lnTo>
                <a:lnTo>
                  <a:pt x="0" y="11"/>
                </a:lnTo>
                <a:lnTo>
                  <a:pt x="0" y="27"/>
                </a:lnTo>
                <a:lnTo>
                  <a:pt x="0" y="45"/>
                </a:lnTo>
                <a:lnTo>
                  <a:pt x="0" y="45"/>
                </a:lnTo>
                <a:lnTo>
                  <a:pt x="11" y="55"/>
                </a:lnTo>
                <a:lnTo>
                  <a:pt x="24" y="64"/>
                </a:lnTo>
                <a:lnTo>
                  <a:pt x="55" y="25"/>
                </a:lnTo>
                <a:lnTo>
                  <a:pt x="73"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5" name="Freeform 46"/>
          <p:cNvSpPr>
            <a:spLocks/>
          </p:cNvSpPr>
          <p:nvPr userDrawn="1"/>
        </p:nvSpPr>
        <p:spPr bwMode="auto">
          <a:xfrm>
            <a:off x="8301038" y="-769515"/>
            <a:ext cx="85725" cy="50800"/>
          </a:xfrm>
          <a:custGeom>
            <a:avLst/>
            <a:gdLst>
              <a:gd name="T0" fmla="*/ 27 w 108"/>
              <a:gd name="T1" fmla="*/ 7 h 63"/>
              <a:gd name="T2" fmla="*/ 0 w 108"/>
              <a:gd name="T3" fmla="*/ 43 h 63"/>
              <a:gd name="T4" fmla="*/ 45 w 108"/>
              <a:gd name="T5" fmla="*/ 63 h 63"/>
              <a:gd name="T6" fmla="*/ 45 w 108"/>
              <a:gd name="T7" fmla="*/ 63 h 63"/>
              <a:gd name="T8" fmla="*/ 65 w 108"/>
              <a:gd name="T9" fmla="*/ 51 h 63"/>
              <a:gd name="T10" fmla="*/ 86 w 108"/>
              <a:gd name="T11" fmla="*/ 38 h 63"/>
              <a:gd name="T12" fmla="*/ 108 w 108"/>
              <a:gd name="T13" fmla="*/ 23 h 63"/>
              <a:gd name="T14" fmla="*/ 44 w 108"/>
              <a:gd name="T15" fmla="*/ 0 h 63"/>
              <a:gd name="T16" fmla="*/ 27 w 108"/>
              <a:gd name="T17" fmla="*/ 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63">
                <a:moveTo>
                  <a:pt x="27" y="7"/>
                </a:moveTo>
                <a:lnTo>
                  <a:pt x="0" y="43"/>
                </a:lnTo>
                <a:lnTo>
                  <a:pt x="45" y="63"/>
                </a:lnTo>
                <a:lnTo>
                  <a:pt x="45" y="63"/>
                </a:lnTo>
                <a:lnTo>
                  <a:pt x="65" y="51"/>
                </a:lnTo>
                <a:lnTo>
                  <a:pt x="86" y="38"/>
                </a:lnTo>
                <a:lnTo>
                  <a:pt x="108" y="23"/>
                </a:lnTo>
                <a:lnTo>
                  <a:pt x="44" y="0"/>
                </a:lnTo>
                <a:lnTo>
                  <a:pt x="2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6" name="Freeform 47"/>
          <p:cNvSpPr>
            <a:spLocks/>
          </p:cNvSpPr>
          <p:nvPr userDrawn="1"/>
        </p:nvSpPr>
        <p:spPr bwMode="auto">
          <a:xfrm>
            <a:off x="8324851" y="-952078"/>
            <a:ext cx="22225" cy="93663"/>
          </a:xfrm>
          <a:custGeom>
            <a:avLst/>
            <a:gdLst>
              <a:gd name="T0" fmla="*/ 22 w 27"/>
              <a:gd name="T1" fmla="*/ 50 h 117"/>
              <a:gd name="T2" fmla="*/ 22 w 27"/>
              <a:gd name="T3" fmla="*/ 50 h 117"/>
              <a:gd name="T4" fmla="*/ 22 w 27"/>
              <a:gd name="T5" fmla="*/ 11 h 117"/>
              <a:gd name="T6" fmla="*/ 22 w 27"/>
              <a:gd name="T7" fmla="*/ 11 h 117"/>
              <a:gd name="T8" fmla="*/ 24 w 27"/>
              <a:gd name="T9" fmla="*/ 8 h 117"/>
              <a:gd name="T10" fmla="*/ 24 w 27"/>
              <a:gd name="T11" fmla="*/ 8 h 117"/>
              <a:gd name="T12" fmla="*/ 24 w 27"/>
              <a:gd name="T13" fmla="*/ 4 h 117"/>
              <a:gd name="T14" fmla="*/ 24 w 27"/>
              <a:gd name="T15" fmla="*/ 0 h 117"/>
              <a:gd name="T16" fmla="*/ 2 w 27"/>
              <a:gd name="T17" fmla="*/ 0 h 117"/>
              <a:gd name="T18" fmla="*/ 2 w 27"/>
              <a:gd name="T19" fmla="*/ 0 h 117"/>
              <a:gd name="T20" fmla="*/ 2 w 27"/>
              <a:gd name="T21" fmla="*/ 6 h 117"/>
              <a:gd name="T22" fmla="*/ 2 w 27"/>
              <a:gd name="T23" fmla="*/ 6 h 117"/>
              <a:gd name="T24" fmla="*/ 2 w 27"/>
              <a:gd name="T25" fmla="*/ 9 h 117"/>
              <a:gd name="T26" fmla="*/ 3 w 27"/>
              <a:gd name="T27" fmla="*/ 11 h 117"/>
              <a:gd name="T28" fmla="*/ 3 w 27"/>
              <a:gd name="T29" fmla="*/ 50 h 117"/>
              <a:gd name="T30" fmla="*/ 3 w 27"/>
              <a:gd name="T31" fmla="*/ 50 h 117"/>
              <a:gd name="T32" fmla="*/ 2 w 27"/>
              <a:gd name="T33" fmla="*/ 52 h 117"/>
              <a:gd name="T34" fmla="*/ 0 w 27"/>
              <a:gd name="T35" fmla="*/ 61 h 117"/>
              <a:gd name="T36" fmla="*/ 0 w 27"/>
              <a:gd name="T37" fmla="*/ 61 h 117"/>
              <a:gd name="T38" fmla="*/ 0 w 27"/>
              <a:gd name="T39" fmla="*/ 66 h 117"/>
              <a:gd name="T40" fmla="*/ 2 w 27"/>
              <a:gd name="T41" fmla="*/ 72 h 117"/>
              <a:gd name="T42" fmla="*/ 5 w 27"/>
              <a:gd name="T43" fmla="*/ 75 h 117"/>
              <a:gd name="T44" fmla="*/ 3 w 27"/>
              <a:gd name="T45" fmla="*/ 106 h 117"/>
              <a:gd name="T46" fmla="*/ 3 w 27"/>
              <a:gd name="T47" fmla="*/ 106 h 117"/>
              <a:gd name="T48" fmla="*/ 3 w 27"/>
              <a:gd name="T49" fmla="*/ 108 h 117"/>
              <a:gd name="T50" fmla="*/ 2 w 27"/>
              <a:gd name="T51" fmla="*/ 112 h 117"/>
              <a:gd name="T52" fmla="*/ 2 w 27"/>
              <a:gd name="T53" fmla="*/ 112 h 117"/>
              <a:gd name="T54" fmla="*/ 2 w 27"/>
              <a:gd name="T55" fmla="*/ 117 h 117"/>
              <a:gd name="T56" fmla="*/ 24 w 27"/>
              <a:gd name="T57" fmla="*/ 117 h 117"/>
              <a:gd name="T58" fmla="*/ 24 w 27"/>
              <a:gd name="T59" fmla="*/ 117 h 117"/>
              <a:gd name="T60" fmla="*/ 24 w 27"/>
              <a:gd name="T61" fmla="*/ 110 h 117"/>
              <a:gd name="T62" fmla="*/ 24 w 27"/>
              <a:gd name="T63" fmla="*/ 110 h 117"/>
              <a:gd name="T64" fmla="*/ 22 w 27"/>
              <a:gd name="T65" fmla="*/ 106 h 117"/>
              <a:gd name="T66" fmla="*/ 22 w 27"/>
              <a:gd name="T67" fmla="*/ 75 h 117"/>
              <a:gd name="T68" fmla="*/ 22 w 27"/>
              <a:gd name="T69" fmla="*/ 75 h 117"/>
              <a:gd name="T70" fmla="*/ 25 w 27"/>
              <a:gd name="T71" fmla="*/ 70 h 117"/>
              <a:gd name="T72" fmla="*/ 25 w 27"/>
              <a:gd name="T73" fmla="*/ 66 h 117"/>
              <a:gd name="T74" fmla="*/ 27 w 27"/>
              <a:gd name="T75" fmla="*/ 62 h 117"/>
              <a:gd name="T76" fmla="*/ 27 w 27"/>
              <a:gd name="T77" fmla="*/ 62 h 117"/>
              <a:gd name="T78" fmla="*/ 24 w 27"/>
              <a:gd name="T79" fmla="*/ 53 h 117"/>
              <a:gd name="T80" fmla="*/ 22 w 27"/>
              <a:gd name="T81" fmla="*/ 5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7" h="117">
                <a:moveTo>
                  <a:pt x="22" y="50"/>
                </a:moveTo>
                <a:lnTo>
                  <a:pt x="22" y="50"/>
                </a:lnTo>
                <a:lnTo>
                  <a:pt x="22" y="11"/>
                </a:lnTo>
                <a:lnTo>
                  <a:pt x="22" y="11"/>
                </a:lnTo>
                <a:lnTo>
                  <a:pt x="24" y="8"/>
                </a:lnTo>
                <a:lnTo>
                  <a:pt x="24" y="8"/>
                </a:lnTo>
                <a:lnTo>
                  <a:pt x="24" y="4"/>
                </a:lnTo>
                <a:lnTo>
                  <a:pt x="24" y="0"/>
                </a:lnTo>
                <a:lnTo>
                  <a:pt x="2" y="0"/>
                </a:lnTo>
                <a:lnTo>
                  <a:pt x="2" y="0"/>
                </a:lnTo>
                <a:lnTo>
                  <a:pt x="2" y="6"/>
                </a:lnTo>
                <a:lnTo>
                  <a:pt x="2" y="6"/>
                </a:lnTo>
                <a:lnTo>
                  <a:pt x="2" y="9"/>
                </a:lnTo>
                <a:lnTo>
                  <a:pt x="3" y="11"/>
                </a:lnTo>
                <a:lnTo>
                  <a:pt x="3" y="50"/>
                </a:lnTo>
                <a:lnTo>
                  <a:pt x="3" y="50"/>
                </a:lnTo>
                <a:lnTo>
                  <a:pt x="2" y="52"/>
                </a:lnTo>
                <a:lnTo>
                  <a:pt x="0" y="61"/>
                </a:lnTo>
                <a:lnTo>
                  <a:pt x="0" y="61"/>
                </a:lnTo>
                <a:lnTo>
                  <a:pt x="0" y="66"/>
                </a:lnTo>
                <a:lnTo>
                  <a:pt x="2" y="72"/>
                </a:lnTo>
                <a:lnTo>
                  <a:pt x="5" y="75"/>
                </a:lnTo>
                <a:lnTo>
                  <a:pt x="3" y="106"/>
                </a:lnTo>
                <a:lnTo>
                  <a:pt x="3" y="106"/>
                </a:lnTo>
                <a:lnTo>
                  <a:pt x="3" y="108"/>
                </a:lnTo>
                <a:lnTo>
                  <a:pt x="2" y="112"/>
                </a:lnTo>
                <a:lnTo>
                  <a:pt x="2" y="112"/>
                </a:lnTo>
                <a:lnTo>
                  <a:pt x="2" y="117"/>
                </a:lnTo>
                <a:lnTo>
                  <a:pt x="24" y="117"/>
                </a:lnTo>
                <a:lnTo>
                  <a:pt x="24" y="117"/>
                </a:lnTo>
                <a:lnTo>
                  <a:pt x="24" y="110"/>
                </a:lnTo>
                <a:lnTo>
                  <a:pt x="24" y="110"/>
                </a:lnTo>
                <a:lnTo>
                  <a:pt x="22" y="106"/>
                </a:lnTo>
                <a:lnTo>
                  <a:pt x="22" y="75"/>
                </a:lnTo>
                <a:lnTo>
                  <a:pt x="22" y="75"/>
                </a:lnTo>
                <a:lnTo>
                  <a:pt x="25" y="70"/>
                </a:lnTo>
                <a:lnTo>
                  <a:pt x="25" y="66"/>
                </a:lnTo>
                <a:lnTo>
                  <a:pt x="27" y="62"/>
                </a:lnTo>
                <a:lnTo>
                  <a:pt x="27" y="62"/>
                </a:lnTo>
                <a:lnTo>
                  <a:pt x="24" y="53"/>
                </a:lnTo>
                <a:lnTo>
                  <a:pt x="22" y="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7" name="Freeform 48"/>
          <p:cNvSpPr>
            <a:spLocks/>
          </p:cNvSpPr>
          <p:nvPr userDrawn="1"/>
        </p:nvSpPr>
        <p:spPr bwMode="auto">
          <a:xfrm>
            <a:off x="8347076" y="-923502"/>
            <a:ext cx="60325" cy="42863"/>
          </a:xfrm>
          <a:custGeom>
            <a:avLst/>
            <a:gdLst>
              <a:gd name="T0" fmla="*/ 42 w 77"/>
              <a:gd name="T1" fmla="*/ 46 h 55"/>
              <a:gd name="T2" fmla="*/ 77 w 77"/>
              <a:gd name="T3" fmla="*/ 9 h 55"/>
              <a:gd name="T4" fmla="*/ 77 w 77"/>
              <a:gd name="T5" fmla="*/ 9 h 55"/>
              <a:gd name="T6" fmla="*/ 26 w 77"/>
              <a:gd name="T7" fmla="*/ 9 h 55"/>
              <a:gd name="T8" fmla="*/ 26 w 77"/>
              <a:gd name="T9" fmla="*/ 9 h 55"/>
              <a:gd name="T10" fmla="*/ 20 w 77"/>
              <a:gd name="T11" fmla="*/ 7 h 55"/>
              <a:gd name="T12" fmla="*/ 15 w 77"/>
              <a:gd name="T13" fmla="*/ 4 h 55"/>
              <a:gd name="T14" fmla="*/ 7 w 77"/>
              <a:gd name="T15" fmla="*/ 0 h 55"/>
              <a:gd name="T16" fmla="*/ 6 w 77"/>
              <a:gd name="T17" fmla="*/ 0 h 55"/>
              <a:gd name="T18" fmla="*/ 6 w 77"/>
              <a:gd name="T19" fmla="*/ 0 h 55"/>
              <a:gd name="T20" fmla="*/ 0 w 77"/>
              <a:gd name="T21" fmla="*/ 11 h 55"/>
              <a:gd name="T22" fmla="*/ 0 w 77"/>
              <a:gd name="T23" fmla="*/ 11 h 55"/>
              <a:gd name="T24" fmla="*/ 4 w 77"/>
              <a:gd name="T25" fmla="*/ 17 h 55"/>
              <a:gd name="T26" fmla="*/ 6 w 77"/>
              <a:gd name="T27" fmla="*/ 20 h 55"/>
              <a:gd name="T28" fmla="*/ 7 w 77"/>
              <a:gd name="T29" fmla="*/ 27 h 55"/>
              <a:gd name="T30" fmla="*/ 7 w 77"/>
              <a:gd name="T31" fmla="*/ 27 h 55"/>
              <a:gd name="T32" fmla="*/ 7 w 77"/>
              <a:gd name="T33" fmla="*/ 33 h 55"/>
              <a:gd name="T34" fmla="*/ 4 w 77"/>
              <a:gd name="T35" fmla="*/ 38 h 55"/>
              <a:gd name="T36" fmla="*/ 0 w 77"/>
              <a:gd name="T37" fmla="*/ 42 h 55"/>
              <a:gd name="T38" fmla="*/ 0 w 77"/>
              <a:gd name="T39" fmla="*/ 42 h 55"/>
              <a:gd name="T40" fmla="*/ 7 w 77"/>
              <a:gd name="T41" fmla="*/ 55 h 55"/>
              <a:gd name="T42" fmla="*/ 7 w 77"/>
              <a:gd name="T43" fmla="*/ 55 h 55"/>
              <a:gd name="T44" fmla="*/ 13 w 77"/>
              <a:gd name="T45" fmla="*/ 51 h 55"/>
              <a:gd name="T46" fmla="*/ 28 w 77"/>
              <a:gd name="T47" fmla="*/ 46 h 55"/>
              <a:gd name="T48" fmla="*/ 28 w 77"/>
              <a:gd name="T49" fmla="*/ 46 h 55"/>
              <a:gd name="T50" fmla="*/ 42 w 77"/>
              <a:gd name="T51" fmla="*/ 4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7" h="55">
                <a:moveTo>
                  <a:pt x="42" y="46"/>
                </a:moveTo>
                <a:lnTo>
                  <a:pt x="77" y="9"/>
                </a:lnTo>
                <a:lnTo>
                  <a:pt x="77" y="9"/>
                </a:lnTo>
                <a:lnTo>
                  <a:pt x="26" y="9"/>
                </a:lnTo>
                <a:lnTo>
                  <a:pt x="26" y="9"/>
                </a:lnTo>
                <a:lnTo>
                  <a:pt x="20" y="7"/>
                </a:lnTo>
                <a:lnTo>
                  <a:pt x="15" y="4"/>
                </a:lnTo>
                <a:lnTo>
                  <a:pt x="7" y="0"/>
                </a:lnTo>
                <a:lnTo>
                  <a:pt x="6" y="0"/>
                </a:lnTo>
                <a:lnTo>
                  <a:pt x="6" y="0"/>
                </a:lnTo>
                <a:lnTo>
                  <a:pt x="0" y="11"/>
                </a:lnTo>
                <a:lnTo>
                  <a:pt x="0" y="11"/>
                </a:lnTo>
                <a:lnTo>
                  <a:pt x="4" y="17"/>
                </a:lnTo>
                <a:lnTo>
                  <a:pt x="6" y="20"/>
                </a:lnTo>
                <a:lnTo>
                  <a:pt x="7" y="27"/>
                </a:lnTo>
                <a:lnTo>
                  <a:pt x="7" y="27"/>
                </a:lnTo>
                <a:lnTo>
                  <a:pt x="7" y="33"/>
                </a:lnTo>
                <a:lnTo>
                  <a:pt x="4" y="38"/>
                </a:lnTo>
                <a:lnTo>
                  <a:pt x="0" y="42"/>
                </a:lnTo>
                <a:lnTo>
                  <a:pt x="0" y="42"/>
                </a:lnTo>
                <a:lnTo>
                  <a:pt x="7" y="55"/>
                </a:lnTo>
                <a:lnTo>
                  <a:pt x="7" y="55"/>
                </a:lnTo>
                <a:lnTo>
                  <a:pt x="13" y="51"/>
                </a:lnTo>
                <a:lnTo>
                  <a:pt x="28" y="46"/>
                </a:lnTo>
                <a:lnTo>
                  <a:pt x="28" y="46"/>
                </a:lnTo>
                <a:lnTo>
                  <a:pt x="42" y="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8" name="Freeform 49"/>
          <p:cNvSpPr>
            <a:spLocks/>
          </p:cNvSpPr>
          <p:nvPr userDrawn="1"/>
        </p:nvSpPr>
        <p:spPr bwMode="auto">
          <a:xfrm>
            <a:off x="8423276" y="-982240"/>
            <a:ext cx="119063" cy="93663"/>
          </a:xfrm>
          <a:custGeom>
            <a:avLst/>
            <a:gdLst>
              <a:gd name="T0" fmla="*/ 152 w 152"/>
              <a:gd name="T1" fmla="*/ 60 h 119"/>
              <a:gd name="T2" fmla="*/ 148 w 152"/>
              <a:gd name="T3" fmla="*/ 58 h 119"/>
              <a:gd name="T4" fmla="*/ 139 w 152"/>
              <a:gd name="T5" fmla="*/ 62 h 119"/>
              <a:gd name="T6" fmla="*/ 135 w 152"/>
              <a:gd name="T7" fmla="*/ 64 h 119"/>
              <a:gd name="T8" fmla="*/ 134 w 152"/>
              <a:gd name="T9" fmla="*/ 75 h 119"/>
              <a:gd name="T10" fmla="*/ 130 w 152"/>
              <a:gd name="T11" fmla="*/ 71 h 119"/>
              <a:gd name="T12" fmla="*/ 121 w 152"/>
              <a:gd name="T13" fmla="*/ 69 h 119"/>
              <a:gd name="T14" fmla="*/ 113 w 152"/>
              <a:gd name="T15" fmla="*/ 71 h 119"/>
              <a:gd name="T16" fmla="*/ 117 w 152"/>
              <a:gd name="T17" fmla="*/ 80 h 119"/>
              <a:gd name="T18" fmla="*/ 113 w 152"/>
              <a:gd name="T19" fmla="*/ 90 h 119"/>
              <a:gd name="T20" fmla="*/ 110 w 152"/>
              <a:gd name="T21" fmla="*/ 90 h 119"/>
              <a:gd name="T22" fmla="*/ 103 w 152"/>
              <a:gd name="T23" fmla="*/ 84 h 119"/>
              <a:gd name="T24" fmla="*/ 103 w 152"/>
              <a:gd name="T25" fmla="*/ 79 h 119"/>
              <a:gd name="T26" fmla="*/ 93 w 152"/>
              <a:gd name="T27" fmla="*/ 82 h 119"/>
              <a:gd name="T28" fmla="*/ 88 w 152"/>
              <a:gd name="T29" fmla="*/ 79 h 119"/>
              <a:gd name="T30" fmla="*/ 90 w 152"/>
              <a:gd name="T31" fmla="*/ 69 h 119"/>
              <a:gd name="T32" fmla="*/ 104 w 152"/>
              <a:gd name="T33" fmla="*/ 66 h 119"/>
              <a:gd name="T34" fmla="*/ 103 w 152"/>
              <a:gd name="T35" fmla="*/ 60 h 119"/>
              <a:gd name="T36" fmla="*/ 97 w 152"/>
              <a:gd name="T37" fmla="*/ 53 h 119"/>
              <a:gd name="T38" fmla="*/ 92 w 152"/>
              <a:gd name="T39" fmla="*/ 51 h 119"/>
              <a:gd name="T40" fmla="*/ 82 w 152"/>
              <a:gd name="T41" fmla="*/ 53 h 119"/>
              <a:gd name="T42" fmla="*/ 86 w 152"/>
              <a:gd name="T43" fmla="*/ 51 h 119"/>
              <a:gd name="T44" fmla="*/ 90 w 152"/>
              <a:gd name="T45" fmla="*/ 44 h 119"/>
              <a:gd name="T46" fmla="*/ 90 w 152"/>
              <a:gd name="T47" fmla="*/ 35 h 119"/>
              <a:gd name="T48" fmla="*/ 84 w 152"/>
              <a:gd name="T49" fmla="*/ 26 h 119"/>
              <a:gd name="T50" fmla="*/ 84 w 152"/>
              <a:gd name="T51" fmla="*/ 26 h 119"/>
              <a:gd name="T52" fmla="*/ 79 w 152"/>
              <a:gd name="T53" fmla="*/ 27 h 119"/>
              <a:gd name="T54" fmla="*/ 68 w 152"/>
              <a:gd name="T55" fmla="*/ 33 h 119"/>
              <a:gd name="T56" fmla="*/ 66 w 152"/>
              <a:gd name="T57" fmla="*/ 38 h 119"/>
              <a:gd name="T58" fmla="*/ 66 w 152"/>
              <a:gd name="T59" fmla="*/ 46 h 119"/>
              <a:gd name="T60" fmla="*/ 62 w 152"/>
              <a:gd name="T61" fmla="*/ 40 h 119"/>
              <a:gd name="T62" fmla="*/ 55 w 152"/>
              <a:gd name="T63" fmla="*/ 35 h 119"/>
              <a:gd name="T64" fmla="*/ 50 w 152"/>
              <a:gd name="T65" fmla="*/ 35 h 119"/>
              <a:gd name="T66" fmla="*/ 42 w 152"/>
              <a:gd name="T67" fmla="*/ 38 h 119"/>
              <a:gd name="T68" fmla="*/ 48 w 152"/>
              <a:gd name="T69" fmla="*/ 46 h 119"/>
              <a:gd name="T70" fmla="*/ 48 w 152"/>
              <a:gd name="T71" fmla="*/ 57 h 119"/>
              <a:gd name="T72" fmla="*/ 42 w 152"/>
              <a:gd name="T73" fmla="*/ 58 h 119"/>
              <a:gd name="T74" fmla="*/ 35 w 152"/>
              <a:gd name="T75" fmla="*/ 53 h 119"/>
              <a:gd name="T76" fmla="*/ 33 w 152"/>
              <a:gd name="T77" fmla="*/ 47 h 119"/>
              <a:gd name="T78" fmla="*/ 26 w 152"/>
              <a:gd name="T79" fmla="*/ 53 h 119"/>
              <a:gd name="T80" fmla="*/ 20 w 152"/>
              <a:gd name="T81" fmla="*/ 51 h 119"/>
              <a:gd name="T82" fmla="*/ 17 w 152"/>
              <a:gd name="T83" fmla="*/ 42 h 119"/>
              <a:gd name="T84" fmla="*/ 31 w 152"/>
              <a:gd name="T85" fmla="*/ 35 h 119"/>
              <a:gd name="T86" fmla="*/ 29 w 152"/>
              <a:gd name="T87" fmla="*/ 33 h 119"/>
              <a:gd name="T88" fmla="*/ 22 w 152"/>
              <a:gd name="T89" fmla="*/ 24 h 119"/>
              <a:gd name="T90" fmla="*/ 15 w 152"/>
              <a:gd name="T91" fmla="*/ 24 h 119"/>
              <a:gd name="T92" fmla="*/ 18 w 152"/>
              <a:gd name="T93" fmla="*/ 18 h 119"/>
              <a:gd name="T94" fmla="*/ 20 w 152"/>
              <a:gd name="T95" fmla="*/ 9 h 119"/>
              <a:gd name="T96" fmla="*/ 18 w 152"/>
              <a:gd name="T97" fmla="*/ 5 h 119"/>
              <a:gd name="T98" fmla="*/ 13 w 152"/>
              <a:gd name="T99" fmla="*/ 0 h 119"/>
              <a:gd name="T100" fmla="*/ 35 w 152"/>
              <a:gd name="T101" fmla="*/ 88 h 119"/>
              <a:gd name="T102" fmla="*/ 46 w 152"/>
              <a:gd name="T103" fmla="*/ 82 h 119"/>
              <a:gd name="T104" fmla="*/ 51 w 152"/>
              <a:gd name="T105" fmla="*/ 79 h 119"/>
              <a:gd name="T106" fmla="*/ 66 w 152"/>
              <a:gd name="T107" fmla="*/ 80 h 119"/>
              <a:gd name="T108" fmla="*/ 71 w 152"/>
              <a:gd name="T109" fmla="*/ 82 h 119"/>
              <a:gd name="T110" fmla="*/ 82 w 152"/>
              <a:gd name="T111" fmla="*/ 90 h 119"/>
              <a:gd name="T112" fmla="*/ 84 w 152"/>
              <a:gd name="T113" fmla="*/ 99 h 119"/>
              <a:gd name="T114" fmla="*/ 84 w 152"/>
              <a:gd name="T115" fmla="*/ 104 h 119"/>
              <a:gd name="T116" fmla="*/ 106 w 152"/>
              <a:gd name="T117"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2" h="119">
                <a:moveTo>
                  <a:pt x="106" y="119"/>
                </a:moveTo>
                <a:lnTo>
                  <a:pt x="152" y="60"/>
                </a:lnTo>
                <a:lnTo>
                  <a:pt x="152" y="60"/>
                </a:lnTo>
                <a:lnTo>
                  <a:pt x="148" y="58"/>
                </a:lnTo>
                <a:lnTo>
                  <a:pt x="145" y="60"/>
                </a:lnTo>
                <a:lnTo>
                  <a:pt x="139" y="62"/>
                </a:lnTo>
                <a:lnTo>
                  <a:pt x="139" y="62"/>
                </a:lnTo>
                <a:lnTo>
                  <a:pt x="135" y="64"/>
                </a:lnTo>
                <a:lnTo>
                  <a:pt x="134" y="69"/>
                </a:lnTo>
                <a:lnTo>
                  <a:pt x="134" y="75"/>
                </a:lnTo>
                <a:lnTo>
                  <a:pt x="134" y="75"/>
                </a:lnTo>
                <a:lnTo>
                  <a:pt x="130" y="71"/>
                </a:lnTo>
                <a:lnTo>
                  <a:pt x="128" y="69"/>
                </a:lnTo>
                <a:lnTo>
                  <a:pt x="121" y="69"/>
                </a:lnTo>
                <a:lnTo>
                  <a:pt x="115" y="69"/>
                </a:lnTo>
                <a:lnTo>
                  <a:pt x="113" y="71"/>
                </a:lnTo>
                <a:lnTo>
                  <a:pt x="113" y="71"/>
                </a:lnTo>
                <a:lnTo>
                  <a:pt x="117" y="80"/>
                </a:lnTo>
                <a:lnTo>
                  <a:pt x="117" y="86"/>
                </a:lnTo>
                <a:lnTo>
                  <a:pt x="113" y="90"/>
                </a:lnTo>
                <a:lnTo>
                  <a:pt x="110" y="90"/>
                </a:lnTo>
                <a:lnTo>
                  <a:pt x="110" y="90"/>
                </a:lnTo>
                <a:lnTo>
                  <a:pt x="104" y="88"/>
                </a:lnTo>
                <a:lnTo>
                  <a:pt x="103" y="84"/>
                </a:lnTo>
                <a:lnTo>
                  <a:pt x="103" y="79"/>
                </a:lnTo>
                <a:lnTo>
                  <a:pt x="103" y="79"/>
                </a:lnTo>
                <a:lnTo>
                  <a:pt x="97" y="82"/>
                </a:lnTo>
                <a:lnTo>
                  <a:pt x="93" y="82"/>
                </a:lnTo>
                <a:lnTo>
                  <a:pt x="88" y="79"/>
                </a:lnTo>
                <a:lnTo>
                  <a:pt x="88" y="79"/>
                </a:lnTo>
                <a:lnTo>
                  <a:pt x="86" y="75"/>
                </a:lnTo>
                <a:lnTo>
                  <a:pt x="90" y="69"/>
                </a:lnTo>
                <a:lnTo>
                  <a:pt x="95" y="68"/>
                </a:lnTo>
                <a:lnTo>
                  <a:pt x="104" y="66"/>
                </a:lnTo>
                <a:lnTo>
                  <a:pt x="104" y="66"/>
                </a:lnTo>
                <a:lnTo>
                  <a:pt x="103" y="60"/>
                </a:lnTo>
                <a:lnTo>
                  <a:pt x="101" y="57"/>
                </a:lnTo>
                <a:lnTo>
                  <a:pt x="97" y="53"/>
                </a:lnTo>
                <a:lnTo>
                  <a:pt x="97" y="53"/>
                </a:lnTo>
                <a:lnTo>
                  <a:pt x="92" y="51"/>
                </a:lnTo>
                <a:lnTo>
                  <a:pt x="88" y="51"/>
                </a:lnTo>
                <a:lnTo>
                  <a:pt x="82" y="53"/>
                </a:lnTo>
                <a:lnTo>
                  <a:pt x="82" y="53"/>
                </a:lnTo>
                <a:lnTo>
                  <a:pt x="86" y="51"/>
                </a:lnTo>
                <a:lnTo>
                  <a:pt x="88" y="47"/>
                </a:lnTo>
                <a:lnTo>
                  <a:pt x="90" y="44"/>
                </a:lnTo>
                <a:lnTo>
                  <a:pt x="90" y="44"/>
                </a:lnTo>
                <a:lnTo>
                  <a:pt x="90" y="35"/>
                </a:lnTo>
                <a:lnTo>
                  <a:pt x="88" y="31"/>
                </a:lnTo>
                <a:lnTo>
                  <a:pt x="84" y="26"/>
                </a:lnTo>
                <a:lnTo>
                  <a:pt x="84" y="26"/>
                </a:lnTo>
                <a:lnTo>
                  <a:pt x="84" y="26"/>
                </a:lnTo>
                <a:lnTo>
                  <a:pt x="84" y="26"/>
                </a:lnTo>
                <a:lnTo>
                  <a:pt x="79" y="27"/>
                </a:lnTo>
                <a:lnTo>
                  <a:pt x="73" y="29"/>
                </a:lnTo>
                <a:lnTo>
                  <a:pt x="68" y="33"/>
                </a:lnTo>
                <a:lnTo>
                  <a:pt x="68" y="33"/>
                </a:lnTo>
                <a:lnTo>
                  <a:pt x="66" y="38"/>
                </a:lnTo>
                <a:lnTo>
                  <a:pt x="66" y="42"/>
                </a:lnTo>
                <a:lnTo>
                  <a:pt x="66" y="46"/>
                </a:lnTo>
                <a:lnTo>
                  <a:pt x="66" y="46"/>
                </a:lnTo>
                <a:lnTo>
                  <a:pt x="62" y="40"/>
                </a:lnTo>
                <a:lnTo>
                  <a:pt x="60" y="37"/>
                </a:lnTo>
                <a:lnTo>
                  <a:pt x="55" y="35"/>
                </a:lnTo>
                <a:lnTo>
                  <a:pt x="55" y="35"/>
                </a:lnTo>
                <a:lnTo>
                  <a:pt x="50" y="35"/>
                </a:lnTo>
                <a:lnTo>
                  <a:pt x="46" y="37"/>
                </a:lnTo>
                <a:lnTo>
                  <a:pt x="42" y="38"/>
                </a:lnTo>
                <a:lnTo>
                  <a:pt x="42" y="38"/>
                </a:lnTo>
                <a:lnTo>
                  <a:pt x="48" y="46"/>
                </a:lnTo>
                <a:lnTo>
                  <a:pt x="48" y="53"/>
                </a:lnTo>
                <a:lnTo>
                  <a:pt x="48" y="57"/>
                </a:lnTo>
                <a:lnTo>
                  <a:pt x="42" y="58"/>
                </a:lnTo>
                <a:lnTo>
                  <a:pt x="42" y="58"/>
                </a:lnTo>
                <a:lnTo>
                  <a:pt x="37" y="57"/>
                </a:lnTo>
                <a:lnTo>
                  <a:pt x="35" y="53"/>
                </a:lnTo>
                <a:lnTo>
                  <a:pt x="33" y="47"/>
                </a:lnTo>
                <a:lnTo>
                  <a:pt x="33" y="47"/>
                </a:lnTo>
                <a:lnTo>
                  <a:pt x="29" y="51"/>
                </a:lnTo>
                <a:lnTo>
                  <a:pt x="26" y="53"/>
                </a:lnTo>
                <a:lnTo>
                  <a:pt x="20" y="51"/>
                </a:lnTo>
                <a:lnTo>
                  <a:pt x="20" y="51"/>
                </a:lnTo>
                <a:lnTo>
                  <a:pt x="17" y="47"/>
                </a:lnTo>
                <a:lnTo>
                  <a:pt x="17" y="42"/>
                </a:lnTo>
                <a:lnTo>
                  <a:pt x="22" y="38"/>
                </a:lnTo>
                <a:lnTo>
                  <a:pt x="31" y="35"/>
                </a:lnTo>
                <a:lnTo>
                  <a:pt x="31" y="35"/>
                </a:lnTo>
                <a:lnTo>
                  <a:pt x="29" y="33"/>
                </a:lnTo>
                <a:lnTo>
                  <a:pt x="28" y="27"/>
                </a:lnTo>
                <a:lnTo>
                  <a:pt x="22" y="24"/>
                </a:lnTo>
                <a:lnTo>
                  <a:pt x="18" y="22"/>
                </a:lnTo>
                <a:lnTo>
                  <a:pt x="15" y="24"/>
                </a:lnTo>
                <a:lnTo>
                  <a:pt x="15" y="24"/>
                </a:lnTo>
                <a:lnTo>
                  <a:pt x="18" y="18"/>
                </a:lnTo>
                <a:lnTo>
                  <a:pt x="20" y="15"/>
                </a:lnTo>
                <a:lnTo>
                  <a:pt x="20" y="9"/>
                </a:lnTo>
                <a:lnTo>
                  <a:pt x="20" y="9"/>
                </a:lnTo>
                <a:lnTo>
                  <a:pt x="18" y="5"/>
                </a:lnTo>
                <a:lnTo>
                  <a:pt x="17" y="2"/>
                </a:lnTo>
                <a:lnTo>
                  <a:pt x="13" y="0"/>
                </a:lnTo>
                <a:lnTo>
                  <a:pt x="0" y="73"/>
                </a:lnTo>
                <a:lnTo>
                  <a:pt x="35" y="88"/>
                </a:lnTo>
                <a:lnTo>
                  <a:pt x="35" y="88"/>
                </a:lnTo>
                <a:lnTo>
                  <a:pt x="46" y="82"/>
                </a:lnTo>
                <a:lnTo>
                  <a:pt x="46" y="82"/>
                </a:lnTo>
                <a:lnTo>
                  <a:pt x="51" y="79"/>
                </a:lnTo>
                <a:lnTo>
                  <a:pt x="59" y="79"/>
                </a:lnTo>
                <a:lnTo>
                  <a:pt x="66" y="80"/>
                </a:lnTo>
                <a:lnTo>
                  <a:pt x="71" y="82"/>
                </a:lnTo>
                <a:lnTo>
                  <a:pt x="71" y="82"/>
                </a:lnTo>
                <a:lnTo>
                  <a:pt x="79" y="86"/>
                </a:lnTo>
                <a:lnTo>
                  <a:pt x="82" y="90"/>
                </a:lnTo>
                <a:lnTo>
                  <a:pt x="84" y="95"/>
                </a:lnTo>
                <a:lnTo>
                  <a:pt x="84" y="99"/>
                </a:lnTo>
                <a:lnTo>
                  <a:pt x="84" y="99"/>
                </a:lnTo>
                <a:lnTo>
                  <a:pt x="84" y="104"/>
                </a:lnTo>
                <a:lnTo>
                  <a:pt x="81" y="110"/>
                </a:lnTo>
                <a:lnTo>
                  <a:pt x="106" y="11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9" name="Freeform 50"/>
          <p:cNvSpPr>
            <a:spLocks/>
          </p:cNvSpPr>
          <p:nvPr userDrawn="1"/>
        </p:nvSpPr>
        <p:spPr bwMode="auto">
          <a:xfrm>
            <a:off x="8520113" y="-917153"/>
            <a:ext cx="142875" cy="25400"/>
          </a:xfrm>
          <a:custGeom>
            <a:avLst/>
            <a:gdLst>
              <a:gd name="T0" fmla="*/ 151 w 180"/>
              <a:gd name="T1" fmla="*/ 28 h 31"/>
              <a:gd name="T2" fmla="*/ 180 w 180"/>
              <a:gd name="T3" fmla="*/ 15 h 31"/>
              <a:gd name="T4" fmla="*/ 151 w 180"/>
              <a:gd name="T5" fmla="*/ 2 h 31"/>
              <a:gd name="T6" fmla="*/ 151 w 180"/>
              <a:gd name="T7" fmla="*/ 2 h 31"/>
              <a:gd name="T8" fmla="*/ 102 w 180"/>
              <a:gd name="T9" fmla="*/ 2 h 31"/>
              <a:gd name="T10" fmla="*/ 23 w 180"/>
              <a:gd name="T11" fmla="*/ 0 h 31"/>
              <a:gd name="T12" fmla="*/ 0 w 180"/>
              <a:gd name="T13" fmla="*/ 31 h 31"/>
              <a:gd name="T14" fmla="*/ 0 w 180"/>
              <a:gd name="T15" fmla="*/ 31 h 31"/>
              <a:gd name="T16" fmla="*/ 151 w 180"/>
              <a:gd name="T17"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31">
                <a:moveTo>
                  <a:pt x="151" y="28"/>
                </a:moveTo>
                <a:lnTo>
                  <a:pt x="180" y="15"/>
                </a:lnTo>
                <a:lnTo>
                  <a:pt x="151" y="2"/>
                </a:lnTo>
                <a:lnTo>
                  <a:pt x="151" y="2"/>
                </a:lnTo>
                <a:lnTo>
                  <a:pt x="102" y="2"/>
                </a:lnTo>
                <a:lnTo>
                  <a:pt x="23" y="0"/>
                </a:lnTo>
                <a:lnTo>
                  <a:pt x="0" y="31"/>
                </a:lnTo>
                <a:lnTo>
                  <a:pt x="0" y="31"/>
                </a:lnTo>
                <a:lnTo>
                  <a:pt x="151"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100" name="Freeform 51"/>
          <p:cNvSpPr>
            <a:spLocks/>
          </p:cNvSpPr>
          <p:nvPr userDrawn="1"/>
        </p:nvSpPr>
        <p:spPr bwMode="auto">
          <a:xfrm>
            <a:off x="8566151" y="-855240"/>
            <a:ext cx="85725" cy="84138"/>
          </a:xfrm>
          <a:custGeom>
            <a:avLst/>
            <a:gdLst>
              <a:gd name="T0" fmla="*/ 55 w 108"/>
              <a:gd name="T1" fmla="*/ 106 h 106"/>
              <a:gd name="T2" fmla="*/ 55 w 108"/>
              <a:gd name="T3" fmla="*/ 106 h 106"/>
              <a:gd name="T4" fmla="*/ 38 w 108"/>
              <a:gd name="T5" fmla="*/ 97 h 106"/>
              <a:gd name="T6" fmla="*/ 26 w 108"/>
              <a:gd name="T7" fmla="*/ 89 h 106"/>
              <a:gd name="T8" fmla="*/ 13 w 108"/>
              <a:gd name="T9" fmla="*/ 80 h 106"/>
              <a:gd name="T10" fmla="*/ 4 w 108"/>
              <a:gd name="T11" fmla="*/ 69 h 106"/>
              <a:gd name="T12" fmla="*/ 4 w 108"/>
              <a:gd name="T13" fmla="*/ 69 h 106"/>
              <a:gd name="T14" fmla="*/ 0 w 108"/>
              <a:gd name="T15" fmla="*/ 62 h 106"/>
              <a:gd name="T16" fmla="*/ 0 w 108"/>
              <a:gd name="T17" fmla="*/ 53 h 106"/>
              <a:gd name="T18" fmla="*/ 0 w 108"/>
              <a:gd name="T19" fmla="*/ 45 h 106"/>
              <a:gd name="T20" fmla="*/ 0 w 108"/>
              <a:gd name="T21" fmla="*/ 36 h 106"/>
              <a:gd name="T22" fmla="*/ 4 w 108"/>
              <a:gd name="T23" fmla="*/ 27 h 106"/>
              <a:gd name="T24" fmla="*/ 7 w 108"/>
              <a:gd name="T25" fmla="*/ 20 h 106"/>
              <a:gd name="T26" fmla="*/ 15 w 108"/>
              <a:gd name="T27" fmla="*/ 13 h 106"/>
              <a:gd name="T28" fmla="*/ 22 w 108"/>
              <a:gd name="T29" fmla="*/ 7 h 106"/>
              <a:gd name="T30" fmla="*/ 22 w 108"/>
              <a:gd name="T31" fmla="*/ 7 h 106"/>
              <a:gd name="T32" fmla="*/ 26 w 108"/>
              <a:gd name="T33" fmla="*/ 11 h 106"/>
              <a:gd name="T34" fmla="*/ 27 w 108"/>
              <a:gd name="T35" fmla="*/ 14 h 106"/>
              <a:gd name="T36" fmla="*/ 27 w 108"/>
              <a:gd name="T37" fmla="*/ 18 h 106"/>
              <a:gd name="T38" fmla="*/ 27 w 108"/>
              <a:gd name="T39" fmla="*/ 18 h 106"/>
              <a:gd name="T40" fmla="*/ 51 w 108"/>
              <a:gd name="T41" fmla="*/ 16 h 106"/>
              <a:gd name="T42" fmla="*/ 51 w 108"/>
              <a:gd name="T43" fmla="*/ 16 h 106"/>
              <a:gd name="T44" fmla="*/ 51 w 108"/>
              <a:gd name="T45" fmla="*/ 9 h 106"/>
              <a:gd name="T46" fmla="*/ 51 w 108"/>
              <a:gd name="T47" fmla="*/ 3 h 106"/>
              <a:gd name="T48" fmla="*/ 49 w 108"/>
              <a:gd name="T49" fmla="*/ 0 h 106"/>
              <a:gd name="T50" fmla="*/ 49 w 108"/>
              <a:gd name="T51" fmla="*/ 0 h 106"/>
              <a:gd name="T52" fmla="*/ 57 w 108"/>
              <a:gd name="T53" fmla="*/ 5 h 106"/>
              <a:gd name="T54" fmla="*/ 59 w 108"/>
              <a:gd name="T55" fmla="*/ 11 h 106"/>
              <a:gd name="T56" fmla="*/ 60 w 108"/>
              <a:gd name="T57" fmla="*/ 16 h 106"/>
              <a:gd name="T58" fmla="*/ 60 w 108"/>
              <a:gd name="T59" fmla="*/ 16 h 106"/>
              <a:gd name="T60" fmla="*/ 82 w 108"/>
              <a:gd name="T61" fmla="*/ 18 h 106"/>
              <a:gd name="T62" fmla="*/ 82 w 108"/>
              <a:gd name="T63" fmla="*/ 18 h 106"/>
              <a:gd name="T64" fmla="*/ 82 w 108"/>
              <a:gd name="T65" fmla="*/ 11 h 106"/>
              <a:gd name="T66" fmla="*/ 79 w 108"/>
              <a:gd name="T67" fmla="*/ 3 h 106"/>
              <a:gd name="T68" fmla="*/ 79 w 108"/>
              <a:gd name="T69" fmla="*/ 3 h 106"/>
              <a:gd name="T70" fmla="*/ 86 w 108"/>
              <a:gd name="T71" fmla="*/ 9 h 106"/>
              <a:gd name="T72" fmla="*/ 93 w 108"/>
              <a:gd name="T73" fmla="*/ 13 h 106"/>
              <a:gd name="T74" fmla="*/ 99 w 108"/>
              <a:gd name="T75" fmla="*/ 20 h 106"/>
              <a:gd name="T76" fmla="*/ 102 w 108"/>
              <a:gd name="T77" fmla="*/ 25 h 106"/>
              <a:gd name="T78" fmla="*/ 106 w 108"/>
              <a:gd name="T79" fmla="*/ 38 h 106"/>
              <a:gd name="T80" fmla="*/ 108 w 108"/>
              <a:gd name="T81" fmla="*/ 49 h 106"/>
              <a:gd name="T82" fmla="*/ 108 w 108"/>
              <a:gd name="T83" fmla="*/ 49 h 106"/>
              <a:gd name="T84" fmla="*/ 106 w 108"/>
              <a:gd name="T85" fmla="*/ 62 h 106"/>
              <a:gd name="T86" fmla="*/ 102 w 108"/>
              <a:gd name="T87" fmla="*/ 73 h 106"/>
              <a:gd name="T88" fmla="*/ 95 w 108"/>
              <a:gd name="T89" fmla="*/ 82 h 106"/>
              <a:gd name="T90" fmla="*/ 86 w 108"/>
              <a:gd name="T91" fmla="*/ 89 h 106"/>
              <a:gd name="T92" fmla="*/ 86 w 108"/>
              <a:gd name="T93" fmla="*/ 89 h 106"/>
              <a:gd name="T94" fmla="*/ 69 w 108"/>
              <a:gd name="T95" fmla="*/ 98 h 106"/>
              <a:gd name="T96" fmla="*/ 55 w 108"/>
              <a:gd name="T97"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 h="106">
                <a:moveTo>
                  <a:pt x="55" y="106"/>
                </a:moveTo>
                <a:lnTo>
                  <a:pt x="55" y="106"/>
                </a:lnTo>
                <a:lnTo>
                  <a:pt x="38" y="97"/>
                </a:lnTo>
                <a:lnTo>
                  <a:pt x="26" y="89"/>
                </a:lnTo>
                <a:lnTo>
                  <a:pt x="13" y="80"/>
                </a:lnTo>
                <a:lnTo>
                  <a:pt x="4" y="69"/>
                </a:lnTo>
                <a:lnTo>
                  <a:pt x="4" y="69"/>
                </a:lnTo>
                <a:lnTo>
                  <a:pt x="0" y="62"/>
                </a:lnTo>
                <a:lnTo>
                  <a:pt x="0" y="53"/>
                </a:lnTo>
                <a:lnTo>
                  <a:pt x="0" y="45"/>
                </a:lnTo>
                <a:lnTo>
                  <a:pt x="0" y="36"/>
                </a:lnTo>
                <a:lnTo>
                  <a:pt x="4" y="27"/>
                </a:lnTo>
                <a:lnTo>
                  <a:pt x="7" y="20"/>
                </a:lnTo>
                <a:lnTo>
                  <a:pt x="15" y="13"/>
                </a:lnTo>
                <a:lnTo>
                  <a:pt x="22" y="7"/>
                </a:lnTo>
                <a:lnTo>
                  <a:pt x="22" y="7"/>
                </a:lnTo>
                <a:lnTo>
                  <a:pt x="26" y="11"/>
                </a:lnTo>
                <a:lnTo>
                  <a:pt x="27" y="14"/>
                </a:lnTo>
                <a:lnTo>
                  <a:pt x="27" y="18"/>
                </a:lnTo>
                <a:lnTo>
                  <a:pt x="27" y="18"/>
                </a:lnTo>
                <a:lnTo>
                  <a:pt x="51" y="16"/>
                </a:lnTo>
                <a:lnTo>
                  <a:pt x="51" y="16"/>
                </a:lnTo>
                <a:lnTo>
                  <a:pt x="51" y="9"/>
                </a:lnTo>
                <a:lnTo>
                  <a:pt x="51" y="3"/>
                </a:lnTo>
                <a:lnTo>
                  <a:pt x="49" y="0"/>
                </a:lnTo>
                <a:lnTo>
                  <a:pt x="49" y="0"/>
                </a:lnTo>
                <a:lnTo>
                  <a:pt x="57" y="5"/>
                </a:lnTo>
                <a:lnTo>
                  <a:pt x="59" y="11"/>
                </a:lnTo>
                <a:lnTo>
                  <a:pt x="60" y="16"/>
                </a:lnTo>
                <a:lnTo>
                  <a:pt x="60" y="16"/>
                </a:lnTo>
                <a:lnTo>
                  <a:pt x="82" y="18"/>
                </a:lnTo>
                <a:lnTo>
                  <a:pt x="82" y="18"/>
                </a:lnTo>
                <a:lnTo>
                  <a:pt x="82" y="11"/>
                </a:lnTo>
                <a:lnTo>
                  <a:pt x="79" y="3"/>
                </a:lnTo>
                <a:lnTo>
                  <a:pt x="79" y="3"/>
                </a:lnTo>
                <a:lnTo>
                  <a:pt x="86" y="9"/>
                </a:lnTo>
                <a:lnTo>
                  <a:pt x="93" y="13"/>
                </a:lnTo>
                <a:lnTo>
                  <a:pt x="99" y="20"/>
                </a:lnTo>
                <a:lnTo>
                  <a:pt x="102" y="25"/>
                </a:lnTo>
                <a:lnTo>
                  <a:pt x="106" y="38"/>
                </a:lnTo>
                <a:lnTo>
                  <a:pt x="108" y="49"/>
                </a:lnTo>
                <a:lnTo>
                  <a:pt x="108" y="49"/>
                </a:lnTo>
                <a:lnTo>
                  <a:pt x="106" y="62"/>
                </a:lnTo>
                <a:lnTo>
                  <a:pt x="102" y="73"/>
                </a:lnTo>
                <a:lnTo>
                  <a:pt x="95" y="82"/>
                </a:lnTo>
                <a:lnTo>
                  <a:pt x="86" y="89"/>
                </a:lnTo>
                <a:lnTo>
                  <a:pt x="86" y="89"/>
                </a:lnTo>
                <a:lnTo>
                  <a:pt x="69" y="98"/>
                </a:lnTo>
                <a:lnTo>
                  <a:pt x="55" y="1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101" name="Freeform 52"/>
          <p:cNvSpPr>
            <a:spLocks/>
          </p:cNvSpPr>
          <p:nvPr userDrawn="1"/>
        </p:nvSpPr>
        <p:spPr bwMode="auto">
          <a:xfrm>
            <a:off x="8589963" y="-648865"/>
            <a:ext cx="1588" cy="1588"/>
          </a:xfrm>
          <a:custGeom>
            <a:avLst/>
            <a:gdLst>
              <a:gd name="T0" fmla="*/ 4 w 4"/>
              <a:gd name="T1" fmla="*/ 2 h 2"/>
              <a:gd name="T2" fmla="*/ 4 w 4"/>
              <a:gd name="T3" fmla="*/ 2 h 2"/>
              <a:gd name="T4" fmla="*/ 2 w 4"/>
              <a:gd name="T5" fmla="*/ 0 h 2"/>
              <a:gd name="T6" fmla="*/ 2 w 4"/>
              <a:gd name="T7" fmla="*/ 0 h 2"/>
              <a:gd name="T8" fmla="*/ 0 w 4"/>
              <a:gd name="T9" fmla="*/ 0 h 2"/>
              <a:gd name="T10" fmla="*/ 0 w 4"/>
              <a:gd name="T11" fmla="*/ 0 h 2"/>
              <a:gd name="T12" fmla="*/ 4 w 4"/>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2"/>
                </a:moveTo>
                <a:lnTo>
                  <a:pt x="4" y="2"/>
                </a:lnTo>
                <a:lnTo>
                  <a:pt x="2" y="0"/>
                </a:lnTo>
                <a:lnTo>
                  <a:pt x="2" y="0"/>
                </a:lnTo>
                <a:lnTo>
                  <a:pt x="0" y="0"/>
                </a:lnTo>
                <a:lnTo>
                  <a:pt x="0" y="0"/>
                </a:lnTo>
                <a:lnTo>
                  <a:pt x="4"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102" name="Freeform 53"/>
          <p:cNvSpPr>
            <a:spLocks/>
          </p:cNvSpPr>
          <p:nvPr userDrawn="1"/>
        </p:nvSpPr>
        <p:spPr bwMode="auto">
          <a:xfrm>
            <a:off x="8405814" y="-885403"/>
            <a:ext cx="15875" cy="9525"/>
          </a:xfrm>
          <a:custGeom>
            <a:avLst/>
            <a:gdLst>
              <a:gd name="T0" fmla="*/ 20 w 20"/>
              <a:gd name="T1" fmla="*/ 10 h 11"/>
              <a:gd name="T2" fmla="*/ 20 w 20"/>
              <a:gd name="T3" fmla="*/ 10 h 11"/>
              <a:gd name="T4" fmla="*/ 19 w 20"/>
              <a:gd name="T5" fmla="*/ 10 h 11"/>
              <a:gd name="T6" fmla="*/ 11 w 20"/>
              <a:gd name="T7" fmla="*/ 11 h 11"/>
              <a:gd name="T8" fmla="*/ 2 w 20"/>
              <a:gd name="T9" fmla="*/ 11 h 11"/>
              <a:gd name="T10" fmla="*/ 2 w 20"/>
              <a:gd name="T11" fmla="*/ 11 h 11"/>
              <a:gd name="T12" fmla="*/ 0 w 20"/>
              <a:gd name="T13" fmla="*/ 8 h 11"/>
              <a:gd name="T14" fmla="*/ 0 w 20"/>
              <a:gd name="T15" fmla="*/ 0 h 11"/>
              <a:gd name="T16" fmla="*/ 0 w 20"/>
              <a:gd name="T17" fmla="*/ 0 h 11"/>
              <a:gd name="T18" fmla="*/ 4 w 20"/>
              <a:gd name="T19" fmla="*/ 0 h 11"/>
              <a:gd name="T20" fmla="*/ 11 w 20"/>
              <a:gd name="T21" fmla="*/ 2 h 11"/>
              <a:gd name="T22" fmla="*/ 17 w 20"/>
              <a:gd name="T23" fmla="*/ 4 h 11"/>
              <a:gd name="T24" fmla="*/ 20 w 20"/>
              <a:gd name="T25"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1">
                <a:moveTo>
                  <a:pt x="20" y="10"/>
                </a:moveTo>
                <a:lnTo>
                  <a:pt x="20" y="10"/>
                </a:lnTo>
                <a:lnTo>
                  <a:pt x="19" y="10"/>
                </a:lnTo>
                <a:lnTo>
                  <a:pt x="11" y="11"/>
                </a:lnTo>
                <a:lnTo>
                  <a:pt x="2" y="11"/>
                </a:lnTo>
                <a:lnTo>
                  <a:pt x="2" y="11"/>
                </a:lnTo>
                <a:lnTo>
                  <a:pt x="0" y="8"/>
                </a:lnTo>
                <a:lnTo>
                  <a:pt x="0" y="0"/>
                </a:lnTo>
                <a:lnTo>
                  <a:pt x="0" y="0"/>
                </a:lnTo>
                <a:lnTo>
                  <a:pt x="4" y="0"/>
                </a:lnTo>
                <a:lnTo>
                  <a:pt x="11" y="2"/>
                </a:lnTo>
                <a:lnTo>
                  <a:pt x="17" y="4"/>
                </a:lnTo>
                <a:lnTo>
                  <a:pt x="20"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103" name="Freeform 54"/>
          <p:cNvSpPr>
            <a:spLocks/>
          </p:cNvSpPr>
          <p:nvPr userDrawn="1"/>
        </p:nvSpPr>
        <p:spPr bwMode="auto">
          <a:xfrm>
            <a:off x="8197851" y="-917153"/>
            <a:ext cx="492125" cy="579438"/>
          </a:xfrm>
          <a:custGeom>
            <a:avLst/>
            <a:gdLst>
              <a:gd name="T0" fmla="*/ 592 w 619"/>
              <a:gd name="T1" fmla="*/ 245 h 729"/>
              <a:gd name="T2" fmla="*/ 588 w 619"/>
              <a:gd name="T3" fmla="*/ 150 h 729"/>
              <a:gd name="T4" fmla="*/ 513 w 619"/>
              <a:gd name="T5" fmla="*/ 57 h 729"/>
              <a:gd name="T6" fmla="*/ 446 w 619"/>
              <a:gd name="T7" fmla="*/ 150 h 729"/>
              <a:gd name="T8" fmla="*/ 460 w 619"/>
              <a:gd name="T9" fmla="*/ 243 h 729"/>
              <a:gd name="T10" fmla="*/ 490 w 619"/>
              <a:gd name="T11" fmla="*/ 256 h 729"/>
              <a:gd name="T12" fmla="*/ 506 w 619"/>
              <a:gd name="T13" fmla="*/ 240 h 729"/>
              <a:gd name="T14" fmla="*/ 568 w 619"/>
              <a:gd name="T15" fmla="*/ 250 h 729"/>
              <a:gd name="T16" fmla="*/ 533 w 619"/>
              <a:gd name="T17" fmla="*/ 345 h 729"/>
              <a:gd name="T18" fmla="*/ 429 w 619"/>
              <a:gd name="T19" fmla="*/ 291 h 729"/>
              <a:gd name="T20" fmla="*/ 417 w 619"/>
              <a:gd name="T21" fmla="*/ 198 h 729"/>
              <a:gd name="T22" fmla="*/ 418 w 619"/>
              <a:gd name="T23" fmla="*/ 183 h 729"/>
              <a:gd name="T24" fmla="*/ 375 w 619"/>
              <a:gd name="T25" fmla="*/ 121 h 729"/>
              <a:gd name="T26" fmla="*/ 424 w 619"/>
              <a:gd name="T27" fmla="*/ 77 h 729"/>
              <a:gd name="T28" fmla="*/ 353 w 619"/>
              <a:gd name="T29" fmla="*/ 28 h 729"/>
              <a:gd name="T30" fmla="*/ 247 w 619"/>
              <a:gd name="T31" fmla="*/ 33 h 729"/>
              <a:gd name="T32" fmla="*/ 225 w 619"/>
              <a:gd name="T33" fmla="*/ 73 h 729"/>
              <a:gd name="T34" fmla="*/ 243 w 619"/>
              <a:gd name="T35" fmla="*/ 104 h 729"/>
              <a:gd name="T36" fmla="*/ 292 w 619"/>
              <a:gd name="T37" fmla="*/ 88 h 729"/>
              <a:gd name="T38" fmla="*/ 219 w 619"/>
              <a:gd name="T39" fmla="*/ 115 h 729"/>
              <a:gd name="T40" fmla="*/ 190 w 619"/>
              <a:gd name="T41" fmla="*/ 110 h 729"/>
              <a:gd name="T42" fmla="*/ 258 w 619"/>
              <a:gd name="T43" fmla="*/ 112 h 729"/>
              <a:gd name="T44" fmla="*/ 261 w 619"/>
              <a:gd name="T45" fmla="*/ 128 h 729"/>
              <a:gd name="T46" fmla="*/ 238 w 619"/>
              <a:gd name="T47" fmla="*/ 152 h 729"/>
              <a:gd name="T48" fmla="*/ 259 w 619"/>
              <a:gd name="T49" fmla="*/ 192 h 729"/>
              <a:gd name="T50" fmla="*/ 133 w 619"/>
              <a:gd name="T51" fmla="*/ 276 h 729"/>
              <a:gd name="T52" fmla="*/ 53 w 619"/>
              <a:gd name="T53" fmla="*/ 252 h 729"/>
              <a:gd name="T54" fmla="*/ 42 w 619"/>
              <a:gd name="T55" fmla="*/ 267 h 729"/>
              <a:gd name="T56" fmla="*/ 51 w 619"/>
              <a:gd name="T57" fmla="*/ 287 h 729"/>
              <a:gd name="T58" fmla="*/ 2 w 619"/>
              <a:gd name="T59" fmla="*/ 305 h 729"/>
              <a:gd name="T60" fmla="*/ 58 w 619"/>
              <a:gd name="T61" fmla="*/ 313 h 729"/>
              <a:gd name="T62" fmla="*/ 37 w 619"/>
              <a:gd name="T63" fmla="*/ 331 h 729"/>
              <a:gd name="T64" fmla="*/ 53 w 619"/>
              <a:gd name="T65" fmla="*/ 345 h 729"/>
              <a:gd name="T66" fmla="*/ 104 w 619"/>
              <a:gd name="T67" fmla="*/ 345 h 729"/>
              <a:gd name="T68" fmla="*/ 117 w 619"/>
              <a:gd name="T69" fmla="*/ 347 h 729"/>
              <a:gd name="T70" fmla="*/ 163 w 619"/>
              <a:gd name="T71" fmla="*/ 309 h 729"/>
              <a:gd name="T72" fmla="*/ 214 w 619"/>
              <a:gd name="T73" fmla="*/ 300 h 729"/>
              <a:gd name="T74" fmla="*/ 283 w 619"/>
              <a:gd name="T75" fmla="*/ 325 h 729"/>
              <a:gd name="T76" fmla="*/ 417 w 619"/>
              <a:gd name="T77" fmla="*/ 386 h 729"/>
              <a:gd name="T78" fmla="*/ 466 w 619"/>
              <a:gd name="T79" fmla="*/ 492 h 729"/>
              <a:gd name="T80" fmla="*/ 464 w 619"/>
              <a:gd name="T81" fmla="*/ 517 h 729"/>
              <a:gd name="T82" fmla="*/ 512 w 619"/>
              <a:gd name="T83" fmla="*/ 526 h 729"/>
              <a:gd name="T84" fmla="*/ 526 w 619"/>
              <a:gd name="T85" fmla="*/ 627 h 729"/>
              <a:gd name="T86" fmla="*/ 462 w 619"/>
              <a:gd name="T87" fmla="*/ 638 h 729"/>
              <a:gd name="T88" fmla="*/ 491 w 619"/>
              <a:gd name="T89" fmla="*/ 651 h 729"/>
              <a:gd name="T90" fmla="*/ 479 w 619"/>
              <a:gd name="T91" fmla="*/ 663 h 729"/>
              <a:gd name="T92" fmla="*/ 475 w 619"/>
              <a:gd name="T93" fmla="*/ 711 h 729"/>
              <a:gd name="T94" fmla="*/ 502 w 619"/>
              <a:gd name="T95" fmla="*/ 693 h 729"/>
              <a:gd name="T96" fmla="*/ 513 w 619"/>
              <a:gd name="T97" fmla="*/ 700 h 729"/>
              <a:gd name="T98" fmla="*/ 544 w 619"/>
              <a:gd name="T99" fmla="*/ 720 h 729"/>
              <a:gd name="T100" fmla="*/ 554 w 619"/>
              <a:gd name="T101" fmla="*/ 678 h 729"/>
              <a:gd name="T102" fmla="*/ 586 w 619"/>
              <a:gd name="T103" fmla="*/ 689 h 729"/>
              <a:gd name="T104" fmla="*/ 590 w 619"/>
              <a:gd name="T105" fmla="*/ 625 h 729"/>
              <a:gd name="T106" fmla="*/ 603 w 619"/>
              <a:gd name="T107" fmla="*/ 598 h 729"/>
              <a:gd name="T108" fmla="*/ 599 w 619"/>
              <a:gd name="T109" fmla="*/ 552 h 729"/>
              <a:gd name="T110" fmla="*/ 574 w 619"/>
              <a:gd name="T111" fmla="*/ 508 h 729"/>
              <a:gd name="T112" fmla="*/ 532 w 619"/>
              <a:gd name="T113" fmla="*/ 462 h 729"/>
              <a:gd name="T114" fmla="*/ 532 w 619"/>
              <a:gd name="T115" fmla="*/ 419 h 729"/>
              <a:gd name="T116" fmla="*/ 539 w 619"/>
              <a:gd name="T117" fmla="*/ 377 h 729"/>
              <a:gd name="T118" fmla="*/ 618 w 619"/>
              <a:gd name="T119" fmla="*/ 316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9" h="729">
                <a:moveTo>
                  <a:pt x="603" y="280"/>
                </a:moveTo>
                <a:lnTo>
                  <a:pt x="603" y="280"/>
                </a:lnTo>
                <a:lnTo>
                  <a:pt x="612" y="282"/>
                </a:lnTo>
                <a:lnTo>
                  <a:pt x="619" y="280"/>
                </a:lnTo>
                <a:lnTo>
                  <a:pt x="619" y="280"/>
                </a:lnTo>
                <a:lnTo>
                  <a:pt x="618" y="269"/>
                </a:lnTo>
                <a:lnTo>
                  <a:pt x="616" y="252"/>
                </a:lnTo>
                <a:lnTo>
                  <a:pt x="616" y="252"/>
                </a:lnTo>
                <a:lnTo>
                  <a:pt x="610" y="252"/>
                </a:lnTo>
                <a:lnTo>
                  <a:pt x="605" y="252"/>
                </a:lnTo>
                <a:lnTo>
                  <a:pt x="599" y="250"/>
                </a:lnTo>
                <a:lnTo>
                  <a:pt x="592" y="245"/>
                </a:lnTo>
                <a:lnTo>
                  <a:pt x="592" y="245"/>
                </a:lnTo>
                <a:lnTo>
                  <a:pt x="588" y="238"/>
                </a:lnTo>
                <a:lnTo>
                  <a:pt x="588" y="238"/>
                </a:lnTo>
                <a:lnTo>
                  <a:pt x="577" y="223"/>
                </a:lnTo>
                <a:lnTo>
                  <a:pt x="565" y="212"/>
                </a:lnTo>
                <a:lnTo>
                  <a:pt x="552" y="203"/>
                </a:lnTo>
                <a:lnTo>
                  <a:pt x="541" y="196"/>
                </a:lnTo>
                <a:lnTo>
                  <a:pt x="541" y="196"/>
                </a:lnTo>
                <a:lnTo>
                  <a:pt x="559" y="185"/>
                </a:lnTo>
                <a:lnTo>
                  <a:pt x="572" y="174"/>
                </a:lnTo>
                <a:lnTo>
                  <a:pt x="581" y="165"/>
                </a:lnTo>
                <a:lnTo>
                  <a:pt x="585" y="157"/>
                </a:lnTo>
                <a:lnTo>
                  <a:pt x="585" y="157"/>
                </a:lnTo>
                <a:lnTo>
                  <a:pt x="588" y="150"/>
                </a:lnTo>
                <a:lnTo>
                  <a:pt x="592" y="139"/>
                </a:lnTo>
                <a:lnTo>
                  <a:pt x="592" y="128"/>
                </a:lnTo>
                <a:lnTo>
                  <a:pt x="592" y="115"/>
                </a:lnTo>
                <a:lnTo>
                  <a:pt x="588" y="103"/>
                </a:lnTo>
                <a:lnTo>
                  <a:pt x="583" y="90"/>
                </a:lnTo>
                <a:lnTo>
                  <a:pt x="574" y="79"/>
                </a:lnTo>
                <a:lnTo>
                  <a:pt x="566" y="73"/>
                </a:lnTo>
                <a:lnTo>
                  <a:pt x="559" y="68"/>
                </a:lnTo>
                <a:lnTo>
                  <a:pt x="559" y="68"/>
                </a:lnTo>
                <a:lnTo>
                  <a:pt x="548" y="62"/>
                </a:lnTo>
                <a:lnTo>
                  <a:pt x="535" y="59"/>
                </a:lnTo>
                <a:lnTo>
                  <a:pt x="524" y="57"/>
                </a:lnTo>
                <a:lnTo>
                  <a:pt x="513" y="57"/>
                </a:lnTo>
                <a:lnTo>
                  <a:pt x="495" y="60"/>
                </a:lnTo>
                <a:lnTo>
                  <a:pt x="481" y="64"/>
                </a:lnTo>
                <a:lnTo>
                  <a:pt x="481" y="64"/>
                </a:lnTo>
                <a:lnTo>
                  <a:pt x="471" y="70"/>
                </a:lnTo>
                <a:lnTo>
                  <a:pt x="462" y="77"/>
                </a:lnTo>
                <a:lnTo>
                  <a:pt x="455" y="84"/>
                </a:lnTo>
                <a:lnTo>
                  <a:pt x="449" y="93"/>
                </a:lnTo>
                <a:lnTo>
                  <a:pt x="446" y="104"/>
                </a:lnTo>
                <a:lnTo>
                  <a:pt x="442" y="115"/>
                </a:lnTo>
                <a:lnTo>
                  <a:pt x="442" y="126"/>
                </a:lnTo>
                <a:lnTo>
                  <a:pt x="442" y="141"/>
                </a:lnTo>
                <a:lnTo>
                  <a:pt x="442" y="141"/>
                </a:lnTo>
                <a:lnTo>
                  <a:pt x="446" y="150"/>
                </a:lnTo>
                <a:lnTo>
                  <a:pt x="449" y="159"/>
                </a:lnTo>
                <a:lnTo>
                  <a:pt x="455" y="168"/>
                </a:lnTo>
                <a:lnTo>
                  <a:pt x="460" y="174"/>
                </a:lnTo>
                <a:lnTo>
                  <a:pt x="477" y="185"/>
                </a:lnTo>
                <a:lnTo>
                  <a:pt x="495" y="196"/>
                </a:lnTo>
                <a:lnTo>
                  <a:pt x="495" y="196"/>
                </a:lnTo>
                <a:lnTo>
                  <a:pt x="481" y="203"/>
                </a:lnTo>
                <a:lnTo>
                  <a:pt x="470" y="214"/>
                </a:lnTo>
                <a:lnTo>
                  <a:pt x="466" y="219"/>
                </a:lnTo>
                <a:lnTo>
                  <a:pt x="464" y="227"/>
                </a:lnTo>
                <a:lnTo>
                  <a:pt x="462" y="234"/>
                </a:lnTo>
                <a:lnTo>
                  <a:pt x="460" y="243"/>
                </a:lnTo>
                <a:lnTo>
                  <a:pt x="460" y="243"/>
                </a:lnTo>
                <a:lnTo>
                  <a:pt x="462" y="254"/>
                </a:lnTo>
                <a:lnTo>
                  <a:pt x="466" y="267"/>
                </a:lnTo>
                <a:lnTo>
                  <a:pt x="468" y="282"/>
                </a:lnTo>
                <a:lnTo>
                  <a:pt x="468" y="291"/>
                </a:lnTo>
                <a:lnTo>
                  <a:pt x="466" y="300"/>
                </a:lnTo>
                <a:lnTo>
                  <a:pt x="466" y="300"/>
                </a:lnTo>
                <a:lnTo>
                  <a:pt x="468" y="300"/>
                </a:lnTo>
                <a:lnTo>
                  <a:pt x="475" y="298"/>
                </a:lnTo>
                <a:lnTo>
                  <a:pt x="484" y="291"/>
                </a:lnTo>
                <a:lnTo>
                  <a:pt x="484" y="291"/>
                </a:lnTo>
                <a:lnTo>
                  <a:pt x="488" y="280"/>
                </a:lnTo>
                <a:lnTo>
                  <a:pt x="490" y="269"/>
                </a:lnTo>
                <a:lnTo>
                  <a:pt x="490" y="256"/>
                </a:lnTo>
                <a:lnTo>
                  <a:pt x="490" y="256"/>
                </a:lnTo>
                <a:lnTo>
                  <a:pt x="493" y="261"/>
                </a:lnTo>
                <a:lnTo>
                  <a:pt x="495" y="271"/>
                </a:lnTo>
                <a:lnTo>
                  <a:pt x="495" y="278"/>
                </a:lnTo>
                <a:lnTo>
                  <a:pt x="493" y="285"/>
                </a:lnTo>
                <a:lnTo>
                  <a:pt x="493" y="285"/>
                </a:lnTo>
                <a:lnTo>
                  <a:pt x="501" y="282"/>
                </a:lnTo>
                <a:lnTo>
                  <a:pt x="504" y="278"/>
                </a:lnTo>
                <a:lnTo>
                  <a:pt x="508" y="274"/>
                </a:lnTo>
                <a:lnTo>
                  <a:pt x="508" y="274"/>
                </a:lnTo>
                <a:lnTo>
                  <a:pt x="510" y="261"/>
                </a:lnTo>
                <a:lnTo>
                  <a:pt x="510" y="249"/>
                </a:lnTo>
                <a:lnTo>
                  <a:pt x="506" y="240"/>
                </a:lnTo>
                <a:lnTo>
                  <a:pt x="504" y="232"/>
                </a:lnTo>
                <a:lnTo>
                  <a:pt x="504" y="232"/>
                </a:lnTo>
                <a:lnTo>
                  <a:pt x="502" y="225"/>
                </a:lnTo>
                <a:lnTo>
                  <a:pt x="504" y="218"/>
                </a:lnTo>
                <a:lnTo>
                  <a:pt x="510" y="210"/>
                </a:lnTo>
                <a:lnTo>
                  <a:pt x="515" y="207"/>
                </a:lnTo>
                <a:lnTo>
                  <a:pt x="515" y="207"/>
                </a:lnTo>
                <a:lnTo>
                  <a:pt x="533" y="216"/>
                </a:lnTo>
                <a:lnTo>
                  <a:pt x="533" y="216"/>
                </a:lnTo>
                <a:lnTo>
                  <a:pt x="541" y="221"/>
                </a:lnTo>
                <a:lnTo>
                  <a:pt x="552" y="230"/>
                </a:lnTo>
                <a:lnTo>
                  <a:pt x="563" y="243"/>
                </a:lnTo>
                <a:lnTo>
                  <a:pt x="568" y="250"/>
                </a:lnTo>
                <a:lnTo>
                  <a:pt x="572" y="260"/>
                </a:lnTo>
                <a:lnTo>
                  <a:pt x="572" y="260"/>
                </a:lnTo>
                <a:lnTo>
                  <a:pt x="577" y="271"/>
                </a:lnTo>
                <a:lnTo>
                  <a:pt x="579" y="282"/>
                </a:lnTo>
                <a:lnTo>
                  <a:pt x="579" y="291"/>
                </a:lnTo>
                <a:lnTo>
                  <a:pt x="579" y="300"/>
                </a:lnTo>
                <a:lnTo>
                  <a:pt x="576" y="313"/>
                </a:lnTo>
                <a:lnTo>
                  <a:pt x="572" y="320"/>
                </a:lnTo>
                <a:lnTo>
                  <a:pt x="572" y="320"/>
                </a:lnTo>
                <a:lnTo>
                  <a:pt x="565" y="329"/>
                </a:lnTo>
                <a:lnTo>
                  <a:pt x="557" y="338"/>
                </a:lnTo>
                <a:lnTo>
                  <a:pt x="546" y="344"/>
                </a:lnTo>
                <a:lnTo>
                  <a:pt x="533" y="345"/>
                </a:lnTo>
                <a:lnTo>
                  <a:pt x="533" y="345"/>
                </a:lnTo>
                <a:lnTo>
                  <a:pt x="532" y="345"/>
                </a:lnTo>
                <a:lnTo>
                  <a:pt x="532" y="345"/>
                </a:lnTo>
                <a:lnTo>
                  <a:pt x="517" y="345"/>
                </a:lnTo>
                <a:lnTo>
                  <a:pt x="517" y="345"/>
                </a:lnTo>
                <a:lnTo>
                  <a:pt x="504" y="342"/>
                </a:lnTo>
                <a:lnTo>
                  <a:pt x="504" y="342"/>
                </a:lnTo>
                <a:lnTo>
                  <a:pt x="493" y="338"/>
                </a:lnTo>
                <a:lnTo>
                  <a:pt x="493" y="338"/>
                </a:lnTo>
                <a:lnTo>
                  <a:pt x="482" y="333"/>
                </a:lnTo>
                <a:lnTo>
                  <a:pt x="466" y="322"/>
                </a:lnTo>
                <a:lnTo>
                  <a:pt x="448" y="309"/>
                </a:lnTo>
                <a:lnTo>
                  <a:pt x="429" y="291"/>
                </a:lnTo>
                <a:lnTo>
                  <a:pt x="429" y="291"/>
                </a:lnTo>
                <a:lnTo>
                  <a:pt x="406" y="261"/>
                </a:lnTo>
                <a:lnTo>
                  <a:pt x="389" y="241"/>
                </a:lnTo>
                <a:lnTo>
                  <a:pt x="389" y="241"/>
                </a:lnTo>
                <a:lnTo>
                  <a:pt x="398" y="245"/>
                </a:lnTo>
                <a:lnTo>
                  <a:pt x="406" y="245"/>
                </a:lnTo>
                <a:lnTo>
                  <a:pt x="415" y="245"/>
                </a:lnTo>
                <a:lnTo>
                  <a:pt x="415" y="245"/>
                </a:lnTo>
                <a:lnTo>
                  <a:pt x="417" y="229"/>
                </a:lnTo>
                <a:lnTo>
                  <a:pt x="417" y="212"/>
                </a:lnTo>
                <a:lnTo>
                  <a:pt x="417" y="212"/>
                </a:lnTo>
                <a:lnTo>
                  <a:pt x="417" y="198"/>
                </a:lnTo>
                <a:lnTo>
                  <a:pt x="417" y="198"/>
                </a:lnTo>
                <a:lnTo>
                  <a:pt x="411" y="198"/>
                </a:lnTo>
                <a:lnTo>
                  <a:pt x="398" y="194"/>
                </a:lnTo>
                <a:lnTo>
                  <a:pt x="393" y="192"/>
                </a:lnTo>
                <a:lnTo>
                  <a:pt x="386" y="188"/>
                </a:lnTo>
                <a:lnTo>
                  <a:pt x="380" y="185"/>
                </a:lnTo>
                <a:lnTo>
                  <a:pt x="376" y="179"/>
                </a:lnTo>
                <a:lnTo>
                  <a:pt x="376" y="179"/>
                </a:lnTo>
                <a:lnTo>
                  <a:pt x="382" y="181"/>
                </a:lnTo>
                <a:lnTo>
                  <a:pt x="387" y="183"/>
                </a:lnTo>
                <a:lnTo>
                  <a:pt x="395" y="185"/>
                </a:lnTo>
                <a:lnTo>
                  <a:pt x="395" y="185"/>
                </a:lnTo>
                <a:lnTo>
                  <a:pt x="411" y="183"/>
                </a:lnTo>
                <a:lnTo>
                  <a:pt x="418" y="183"/>
                </a:lnTo>
                <a:lnTo>
                  <a:pt x="418" y="183"/>
                </a:lnTo>
                <a:lnTo>
                  <a:pt x="420" y="166"/>
                </a:lnTo>
                <a:lnTo>
                  <a:pt x="420" y="152"/>
                </a:lnTo>
                <a:lnTo>
                  <a:pt x="420" y="152"/>
                </a:lnTo>
                <a:lnTo>
                  <a:pt x="420" y="137"/>
                </a:lnTo>
                <a:lnTo>
                  <a:pt x="420" y="137"/>
                </a:lnTo>
                <a:lnTo>
                  <a:pt x="409" y="137"/>
                </a:lnTo>
                <a:lnTo>
                  <a:pt x="396" y="135"/>
                </a:lnTo>
                <a:lnTo>
                  <a:pt x="396" y="135"/>
                </a:lnTo>
                <a:lnTo>
                  <a:pt x="384" y="130"/>
                </a:lnTo>
                <a:lnTo>
                  <a:pt x="378" y="126"/>
                </a:lnTo>
                <a:lnTo>
                  <a:pt x="375" y="121"/>
                </a:lnTo>
                <a:lnTo>
                  <a:pt x="375" y="121"/>
                </a:lnTo>
                <a:lnTo>
                  <a:pt x="380" y="123"/>
                </a:lnTo>
                <a:lnTo>
                  <a:pt x="395" y="126"/>
                </a:lnTo>
                <a:lnTo>
                  <a:pt x="395" y="126"/>
                </a:lnTo>
                <a:lnTo>
                  <a:pt x="404" y="126"/>
                </a:lnTo>
                <a:lnTo>
                  <a:pt x="413" y="124"/>
                </a:lnTo>
                <a:lnTo>
                  <a:pt x="420" y="124"/>
                </a:lnTo>
                <a:lnTo>
                  <a:pt x="422" y="123"/>
                </a:lnTo>
                <a:lnTo>
                  <a:pt x="422" y="123"/>
                </a:lnTo>
                <a:lnTo>
                  <a:pt x="422" y="93"/>
                </a:lnTo>
                <a:lnTo>
                  <a:pt x="422" y="93"/>
                </a:lnTo>
                <a:lnTo>
                  <a:pt x="424" y="86"/>
                </a:lnTo>
                <a:lnTo>
                  <a:pt x="424" y="77"/>
                </a:lnTo>
                <a:lnTo>
                  <a:pt x="424" y="77"/>
                </a:lnTo>
                <a:lnTo>
                  <a:pt x="418" y="77"/>
                </a:lnTo>
                <a:lnTo>
                  <a:pt x="407" y="75"/>
                </a:lnTo>
                <a:lnTo>
                  <a:pt x="395" y="70"/>
                </a:lnTo>
                <a:lnTo>
                  <a:pt x="389" y="66"/>
                </a:lnTo>
                <a:lnTo>
                  <a:pt x="382" y="60"/>
                </a:lnTo>
                <a:lnTo>
                  <a:pt x="382" y="60"/>
                </a:lnTo>
                <a:lnTo>
                  <a:pt x="380" y="57"/>
                </a:lnTo>
                <a:lnTo>
                  <a:pt x="380" y="53"/>
                </a:lnTo>
                <a:lnTo>
                  <a:pt x="382" y="46"/>
                </a:lnTo>
                <a:lnTo>
                  <a:pt x="382" y="46"/>
                </a:lnTo>
                <a:lnTo>
                  <a:pt x="349" y="31"/>
                </a:lnTo>
                <a:lnTo>
                  <a:pt x="349" y="31"/>
                </a:lnTo>
                <a:lnTo>
                  <a:pt x="353" y="28"/>
                </a:lnTo>
                <a:lnTo>
                  <a:pt x="356" y="22"/>
                </a:lnTo>
                <a:lnTo>
                  <a:pt x="356" y="18"/>
                </a:lnTo>
                <a:lnTo>
                  <a:pt x="356" y="18"/>
                </a:lnTo>
                <a:lnTo>
                  <a:pt x="354" y="13"/>
                </a:lnTo>
                <a:lnTo>
                  <a:pt x="349" y="9"/>
                </a:lnTo>
                <a:lnTo>
                  <a:pt x="343" y="8"/>
                </a:lnTo>
                <a:lnTo>
                  <a:pt x="336" y="8"/>
                </a:lnTo>
                <a:lnTo>
                  <a:pt x="336" y="8"/>
                </a:lnTo>
                <a:lnTo>
                  <a:pt x="329" y="9"/>
                </a:lnTo>
                <a:lnTo>
                  <a:pt x="325" y="13"/>
                </a:lnTo>
                <a:lnTo>
                  <a:pt x="320" y="18"/>
                </a:lnTo>
                <a:lnTo>
                  <a:pt x="280" y="0"/>
                </a:lnTo>
                <a:lnTo>
                  <a:pt x="247" y="33"/>
                </a:lnTo>
                <a:lnTo>
                  <a:pt x="247" y="33"/>
                </a:lnTo>
                <a:lnTo>
                  <a:pt x="245" y="35"/>
                </a:lnTo>
                <a:lnTo>
                  <a:pt x="245" y="39"/>
                </a:lnTo>
                <a:lnTo>
                  <a:pt x="245" y="42"/>
                </a:lnTo>
                <a:lnTo>
                  <a:pt x="245" y="42"/>
                </a:lnTo>
                <a:lnTo>
                  <a:pt x="245" y="44"/>
                </a:lnTo>
                <a:lnTo>
                  <a:pt x="243" y="46"/>
                </a:lnTo>
                <a:lnTo>
                  <a:pt x="243" y="46"/>
                </a:lnTo>
                <a:lnTo>
                  <a:pt x="234" y="57"/>
                </a:lnTo>
                <a:lnTo>
                  <a:pt x="234" y="57"/>
                </a:lnTo>
                <a:lnTo>
                  <a:pt x="228" y="66"/>
                </a:lnTo>
                <a:lnTo>
                  <a:pt x="228" y="66"/>
                </a:lnTo>
                <a:lnTo>
                  <a:pt x="225" y="73"/>
                </a:lnTo>
                <a:lnTo>
                  <a:pt x="223" y="79"/>
                </a:lnTo>
                <a:lnTo>
                  <a:pt x="223" y="79"/>
                </a:lnTo>
                <a:lnTo>
                  <a:pt x="221" y="81"/>
                </a:lnTo>
                <a:lnTo>
                  <a:pt x="221" y="84"/>
                </a:lnTo>
                <a:lnTo>
                  <a:pt x="225" y="92"/>
                </a:lnTo>
                <a:lnTo>
                  <a:pt x="234" y="99"/>
                </a:lnTo>
                <a:lnTo>
                  <a:pt x="234" y="101"/>
                </a:lnTo>
                <a:lnTo>
                  <a:pt x="234" y="101"/>
                </a:lnTo>
                <a:lnTo>
                  <a:pt x="236" y="99"/>
                </a:lnTo>
                <a:lnTo>
                  <a:pt x="238" y="99"/>
                </a:lnTo>
                <a:lnTo>
                  <a:pt x="238" y="99"/>
                </a:lnTo>
                <a:lnTo>
                  <a:pt x="243" y="104"/>
                </a:lnTo>
                <a:lnTo>
                  <a:pt x="243" y="104"/>
                </a:lnTo>
                <a:lnTo>
                  <a:pt x="245" y="101"/>
                </a:lnTo>
                <a:lnTo>
                  <a:pt x="248" y="95"/>
                </a:lnTo>
                <a:lnTo>
                  <a:pt x="248" y="95"/>
                </a:lnTo>
                <a:lnTo>
                  <a:pt x="254" y="88"/>
                </a:lnTo>
                <a:lnTo>
                  <a:pt x="261" y="82"/>
                </a:lnTo>
                <a:lnTo>
                  <a:pt x="261" y="82"/>
                </a:lnTo>
                <a:lnTo>
                  <a:pt x="269" y="79"/>
                </a:lnTo>
                <a:lnTo>
                  <a:pt x="276" y="79"/>
                </a:lnTo>
                <a:lnTo>
                  <a:pt x="276" y="79"/>
                </a:lnTo>
                <a:lnTo>
                  <a:pt x="283" y="79"/>
                </a:lnTo>
                <a:lnTo>
                  <a:pt x="289" y="82"/>
                </a:lnTo>
                <a:lnTo>
                  <a:pt x="289" y="82"/>
                </a:lnTo>
                <a:lnTo>
                  <a:pt x="292" y="88"/>
                </a:lnTo>
                <a:lnTo>
                  <a:pt x="294" y="95"/>
                </a:lnTo>
                <a:lnTo>
                  <a:pt x="294" y="103"/>
                </a:lnTo>
                <a:lnTo>
                  <a:pt x="294" y="108"/>
                </a:lnTo>
                <a:lnTo>
                  <a:pt x="294" y="108"/>
                </a:lnTo>
                <a:lnTo>
                  <a:pt x="290" y="104"/>
                </a:lnTo>
                <a:lnTo>
                  <a:pt x="290" y="104"/>
                </a:lnTo>
                <a:lnTo>
                  <a:pt x="285" y="103"/>
                </a:lnTo>
                <a:lnTo>
                  <a:pt x="276" y="101"/>
                </a:lnTo>
                <a:lnTo>
                  <a:pt x="265" y="101"/>
                </a:lnTo>
                <a:lnTo>
                  <a:pt x="254" y="103"/>
                </a:lnTo>
                <a:lnTo>
                  <a:pt x="254" y="103"/>
                </a:lnTo>
                <a:lnTo>
                  <a:pt x="241" y="108"/>
                </a:lnTo>
                <a:lnTo>
                  <a:pt x="219" y="115"/>
                </a:lnTo>
                <a:lnTo>
                  <a:pt x="219" y="115"/>
                </a:lnTo>
                <a:lnTo>
                  <a:pt x="214" y="117"/>
                </a:lnTo>
                <a:lnTo>
                  <a:pt x="208" y="117"/>
                </a:lnTo>
                <a:lnTo>
                  <a:pt x="205" y="113"/>
                </a:lnTo>
                <a:lnTo>
                  <a:pt x="203" y="110"/>
                </a:lnTo>
                <a:lnTo>
                  <a:pt x="203" y="110"/>
                </a:lnTo>
                <a:lnTo>
                  <a:pt x="203" y="104"/>
                </a:lnTo>
                <a:lnTo>
                  <a:pt x="203" y="101"/>
                </a:lnTo>
                <a:lnTo>
                  <a:pt x="205" y="97"/>
                </a:lnTo>
                <a:lnTo>
                  <a:pt x="205" y="97"/>
                </a:lnTo>
                <a:lnTo>
                  <a:pt x="199" y="101"/>
                </a:lnTo>
                <a:lnTo>
                  <a:pt x="194" y="104"/>
                </a:lnTo>
                <a:lnTo>
                  <a:pt x="190" y="110"/>
                </a:lnTo>
                <a:lnTo>
                  <a:pt x="190" y="110"/>
                </a:lnTo>
                <a:lnTo>
                  <a:pt x="190" y="117"/>
                </a:lnTo>
                <a:lnTo>
                  <a:pt x="192" y="124"/>
                </a:lnTo>
                <a:lnTo>
                  <a:pt x="195" y="128"/>
                </a:lnTo>
                <a:lnTo>
                  <a:pt x="201" y="132"/>
                </a:lnTo>
                <a:lnTo>
                  <a:pt x="201" y="132"/>
                </a:lnTo>
                <a:lnTo>
                  <a:pt x="208" y="132"/>
                </a:lnTo>
                <a:lnTo>
                  <a:pt x="217" y="130"/>
                </a:lnTo>
                <a:lnTo>
                  <a:pt x="234" y="123"/>
                </a:lnTo>
                <a:lnTo>
                  <a:pt x="234" y="123"/>
                </a:lnTo>
                <a:lnTo>
                  <a:pt x="250" y="113"/>
                </a:lnTo>
                <a:lnTo>
                  <a:pt x="250" y="113"/>
                </a:lnTo>
                <a:lnTo>
                  <a:pt x="258" y="112"/>
                </a:lnTo>
                <a:lnTo>
                  <a:pt x="263" y="110"/>
                </a:lnTo>
                <a:lnTo>
                  <a:pt x="270" y="112"/>
                </a:lnTo>
                <a:lnTo>
                  <a:pt x="278" y="113"/>
                </a:lnTo>
                <a:lnTo>
                  <a:pt x="278" y="113"/>
                </a:lnTo>
                <a:lnTo>
                  <a:pt x="285" y="119"/>
                </a:lnTo>
                <a:lnTo>
                  <a:pt x="289" y="121"/>
                </a:lnTo>
                <a:lnTo>
                  <a:pt x="289" y="121"/>
                </a:lnTo>
                <a:lnTo>
                  <a:pt x="285" y="126"/>
                </a:lnTo>
                <a:lnTo>
                  <a:pt x="281" y="130"/>
                </a:lnTo>
                <a:lnTo>
                  <a:pt x="274" y="130"/>
                </a:lnTo>
                <a:lnTo>
                  <a:pt x="274" y="130"/>
                </a:lnTo>
                <a:lnTo>
                  <a:pt x="267" y="130"/>
                </a:lnTo>
                <a:lnTo>
                  <a:pt x="261" y="128"/>
                </a:lnTo>
                <a:lnTo>
                  <a:pt x="256" y="124"/>
                </a:lnTo>
                <a:lnTo>
                  <a:pt x="254" y="121"/>
                </a:lnTo>
                <a:lnTo>
                  <a:pt x="254" y="121"/>
                </a:lnTo>
                <a:lnTo>
                  <a:pt x="250" y="128"/>
                </a:lnTo>
                <a:lnTo>
                  <a:pt x="250" y="128"/>
                </a:lnTo>
                <a:lnTo>
                  <a:pt x="248" y="132"/>
                </a:lnTo>
                <a:lnTo>
                  <a:pt x="248" y="135"/>
                </a:lnTo>
                <a:lnTo>
                  <a:pt x="250" y="137"/>
                </a:lnTo>
                <a:lnTo>
                  <a:pt x="248" y="141"/>
                </a:lnTo>
                <a:lnTo>
                  <a:pt x="248" y="141"/>
                </a:lnTo>
                <a:lnTo>
                  <a:pt x="247" y="143"/>
                </a:lnTo>
                <a:lnTo>
                  <a:pt x="245" y="146"/>
                </a:lnTo>
                <a:lnTo>
                  <a:pt x="238" y="152"/>
                </a:lnTo>
                <a:lnTo>
                  <a:pt x="238" y="152"/>
                </a:lnTo>
                <a:lnTo>
                  <a:pt x="227" y="157"/>
                </a:lnTo>
                <a:lnTo>
                  <a:pt x="219" y="159"/>
                </a:lnTo>
                <a:lnTo>
                  <a:pt x="219" y="159"/>
                </a:lnTo>
                <a:lnTo>
                  <a:pt x="227" y="176"/>
                </a:lnTo>
                <a:lnTo>
                  <a:pt x="227" y="176"/>
                </a:lnTo>
                <a:lnTo>
                  <a:pt x="232" y="187"/>
                </a:lnTo>
                <a:lnTo>
                  <a:pt x="236" y="194"/>
                </a:lnTo>
                <a:lnTo>
                  <a:pt x="239" y="199"/>
                </a:lnTo>
                <a:lnTo>
                  <a:pt x="239" y="199"/>
                </a:lnTo>
                <a:lnTo>
                  <a:pt x="247" y="198"/>
                </a:lnTo>
                <a:lnTo>
                  <a:pt x="259" y="192"/>
                </a:lnTo>
                <a:lnTo>
                  <a:pt x="259" y="192"/>
                </a:lnTo>
                <a:lnTo>
                  <a:pt x="269" y="185"/>
                </a:lnTo>
                <a:lnTo>
                  <a:pt x="274" y="177"/>
                </a:lnTo>
                <a:lnTo>
                  <a:pt x="274" y="177"/>
                </a:lnTo>
                <a:lnTo>
                  <a:pt x="267" y="194"/>
                </a:lnTo>
                <a:lnTo>
                  <a:pt x="261" y="203"/>
                </a:lnTo>
                <a:lnTo>
                  <a:pt x="254" y="210"/>
                </a:lnTo>
                <a:lnTo>
                  <a:pt x="248" y="216"/>
                </a:lnTo>
                <a:lnTo>
                  <a:pt x="248" y="216"/>
                </a:lnTo>
                <a:lnTo>
                  <a:pt x="225" y="232"/>
                </a:lnTo>
                <a:lnTo>
                  <a:pt x="192" y="250"/>
                </a:lnTo>
                <a:lnTo>
                  <a:pt x="172" y="261"/>
                </a:lnTo>
                <a:lnTo>
                  <a:pt x="153" y="269"/>
                </a:lnTo>
                <a:lnTo>
                  <a:pt x="133" y="276"/>
                </a:lnTo>
                <a:lnTo>
                  <a:pt x="113" y="280"/>
                </a:lnTo>
                <a:lnTo>
                  <a:pt x="113" y="280"/>
                </a:lnTo>
                <a:lnTo>
                  <a:pt x="108" y="278"/>
                </a:lnTo>
                <a:lnTo>
                  <a:pt x="100" y="276"/>
                </a:lnTo>
                <a:lnTo>
                  <a:pt x="88" y="267"/>
                </a:lnTo>
                <a:lnTo>
                  <a:pt x="75" y="258"/>
                </a:lnTo>
                <a:lnTo>
                  <a:pt x="68" y="249"/>
                </a:lnTo>
                <a:lnTo>
                  <a:pt x="68" y="249"/>
                </a:lnTo>
                <a:lnTo>
                  <a:pt x="66" y="249"/>
                </a:lnTo>
                <a:lnTo>
                  <a:pt x="62" y="247"/>
                </a:lnTo>
                <a:lnTo>
                  <a:pt x="58" y="249"/>
                </a:lnTo>
                <a:lnTo>
                  <a:pt x="53" y="252"/>
                </a:lnTo>
                <a:lnTo>
                  <a:pt x="53" y="252"/>
                </a:lnTo>
                <a:lnTo>
                  <a:pt x="49" y="252"/>
                </a:lnTo>
                <a:lnTo>
                  <a:pt x="42" y="252"/>
                </a:lnTo>
                <a:lnTo>
                  <a:pt x="31" y="254"/>
                </a:lnTo>
                <a:lnTo>
                  <a:pt x="27" y="258"/>
                </a:lnTo>
                <a:lnTo>
                  <a:pt x="24" y="261"/>
                </a:lnTo>
                <a:lnTo>
                  <a:pt x="24" y="261"/>
                </a:lnTo>
                <a:lnTo>
                  <a:pt x="24" y="263"/>
                </a:lnTo>
                <a:lnTo>
                  <a:pt x="29" y="263"/>
                </a:lnTo>
                <a:lnTo>
                  <a:pt x="35" y="261"/>
                </a:lnTo>
                <a:lnTo>
                  <a:pt x="42" y="263"/>
                </a:lnTo>
                <a:lnTo>
                  <a:pt x="42" y="263"/>
                </a:lnTo>
                <a:lnTo>
                  <a:pt x="44" y="265"/>
                </a:lnTo>
                <a:lnTo>
                  <a:pt x="42" y="267"/>
                </a:lnTo>
                <a:lnTo>
                  <a:pt x="40" y="269"/>
                </a:lnTo>
                <a:lnTo>
                  <a:pt x="40" y="272"/>
                </a:lnTo>
                <a:lnTo>
                  <a:pt x="40" y="272"/>
                </a:lnTo>
                <a:lnTo>
                  <a:pt x="40" y="274"/>
                </a:lnTo>
                <a:lnTo>
                  <a:pt x="44" y="278"/>
                </a:lnTo>
                <a:lnTo>
                  <a:pt x="53" y="282"/>
                </a:lnTo>
                <a:lnTo>
                  <a:pt x="71" y="289"/>
                </a:lnTo>
                <a:lnTo>
                  <a:pt x="71" y="289"/>
                </a:lnTo>
                <a:lnTo>
                  <a:pt x="73" y="291"/>
                </a:lnTo>
                <a:lnTo>
                  <a:pt x="73" y="293"/>
                </a:lnTo>
                <a:lnTo>
                  <a:pt x="73" y="293"/>
                </a:lnTo>
                <a:lnTo>
                  <a:pt x="60" y="291"/>
                </a:lnTo>
                <a:lnTo>
                  <a:pt x="51" y="287"/>
                </a:lnTo>
                <a:lnTo>
                  <a:pt x="38" y="282"/>
                </a:lnTo>
                <a:lnTo>
                  <a:pt x="38" y="282"/>
                </a:lnTo>
                <a:lnTo>
                  <a:pt x="29" y="280"/>
                </a:lnTo>
                <a:lnTo>
                  <a:pt x="24" y="280"/>
                </a:lnTo>
                <a:lnTo>
                  <a:pt x="22" y="283"/>
                </a:lnTo>
                <a:lnTo>
                  <a:pt x="20" y="287"/>
                </a:lnTo>
                <a:lnTo>
                  <a:pt x="20" y="287"/>
                </a:lnTo>
                <a:lnTo>
                  <a:pt x="18" y="289"/>
                </a:lnTo>
                <a:lnTo>
                  <a:pt x="16" y="289"/>
                </a:lnTo>
                <a:lnTo>
                  <a:pt x="11" y="293"/>
                </a:lnTo>
                <a:lnTo>
                  <a:pt x="7" y="294"/>
                </a:lnTo>
                <a:lnTo>
                  <a:pt x="4" y="300"/>
                </a:lnTo>
                <a:lnTo>
                  <a:pt x="2" y="305"/>
                </a:lnTo>
                <a:lnTo>
                  <a:pt x="0" y="314"/>
                </a:lnTo>
                <a:lnTo>
                  <a:pt x="0" y="314"/>
                </a:lnTo>
                <a:lnTo>
                  <a:pt x="4" y="313"/>
                </a:lnTo>
                <a:lnTo>
                  <a:pt x="9" y="307"/>
                </a:lnTo>
                <a:lnTo>
                  <a:pt x="15" y="303"/>
                </a:lnTo>
                <a:lnTo>
                  <a:pt x="18" y="302"/>
                </a:lnTo>
                <a:lnTo>
                  <a:pt x="18" y="303"/>
                </a:lnTo>
                <a:lnTo>
                  <a:pt x="18" y="303"/>
                </a:lnTo>
                <a:lnTo>
                  <a:pt x="22" y="311"/>
                </a:lnTo>
                <a:lnTo>
                  <a:pt x="27" y="314"/>
                </a:lnTo>
                <a:lnTo>
                  <a:pt x="35" y="314"/>
                </a:lnTo>
                <a:lnTo>
                  <a:pt x="42" y="314"/>
                </a:lnTo>
                <a:lnTo>
                  <a:pt x="58" y="313"/>
                </a:lnTo>
                <a:lnTo>
                  <a:pt x="66" y="313"/>
                </a:lnTo>
                <a:lnTo>
                  <a:pt x="69" y="313"/>
                </a:lnTo>
                <a:lnTo>
                  <a:pt x="69" y="313"/>
                </a:lnTo>
                <a:lnTo>
                  <a:pt x="69" y="314"/>
                </a:lnTo>
                <a:lnTo>
                  <a:pt x="69" y="314"/>
                </a:lnTo>
                <a:lnTo>
                  <a:pt x="66" y="316"/>
                </a:lnTo>
                <a:lnTo>
                  <a:pt x="53" y="318"/>
                </a:lnTo>
                <a:lnTo>
                  <a:pt x="46" y="320"/>
                </a:lnTo>
                <a:lnTo>
                  <a:pt x="38" y="324"/>
                </a:lnTo>
                <a:lnTo>
                  <a:pt x="37" y="325"/>
                </a:lnTo>
                <a:lnTo>
                  <a:pt x="35" y="329"/>
                </a:lnTo>
                <a:lnTo>
                  <a:pt x="37" y="331"/>
                </a:lnTo>
                <a:lnTo>
                  <a:pt x="37" y="331"/>
                </a:lnTo>
                <a:lnTo>
                  <a:pt x="33" y="335"/>
                </a:lnTo>
                <a:lnTo>
                  <a:pt x="29" y="342"/>
                </a:lnTo>
                <a:lnTo>
                  <a:pt x="27" y="345"/>
                </a:lnTo>
                <a:lnTo>
                  <a:pt x="27" y="351"/>
                </a:lnTo>
                <a:lnTo>
                  <a:pt x="29" y="356"/>
                </a:lnTo>
                <a:lnTo>
                  <a:pt x="35" y="364"/>
                </a:lnTo>
                <a:lnTo>
                  <a:pt x="35" y="364"/>
                </a:lnTo>
                <a:lnTo>
                  <a:pt x="37" y="353"/>
                </a:lnTo>
                <a:lnTo>
                  <a:pt x="40" y="347"/>
                </a:lnTo>
                <a:lnTo>
                  <a:pt x="42" y="345"/>
                </a:lnTo>
                <a:lnTo>
                  <a:pt x="46" y="345"/>
                </a:lnTo>
                <a:lnTo>
                  <a:pt x="46" y="345"/>
                </a:lnTo>
                <a:lnTo>
                  <a:pt x="53" y="345"/>
                </a:lnTo>
                <a:lnTo>
                  <a:pt x="58" y="349"/>
                </a:lnTo>
                <a:lnTo>
                  <a:pt x="64" y="349"/>
                </a:lnTo>
                <a:lnTo>
                  <a:pt x="71" y="345"/>
                </a:lnTo>
                <a:lnTo>
                  <a:pt x="71" y="345"/>
                </a:lnTo>
                <a:lnTo>
                  <a:pt x="79" y="340"/>
                </a:lnTo>
                <a:lnTo>
                  <a:pt x="84" y="336"/>
                </a:lnTo>
                <a:lnTo>
                  <a:pt x="95" y="333"/>
                </a:lnTo>
                <a:lnTo>
                  <a:pt x="95" y="333"/>
                </a:lnTo>
                <a:lnTo>
                  <a:pt x="95" y="336"/>
                </a:lnTo>
                <a:lnTo>
                  <a:pt x="99" y="342"/>
                </a:lnTo>
                <a:lnTo>
                  <a:pt x="99" y="342"/>
                </a:lnTo>
                <a:lnTo>
                  <a:pt x="102" y="344"/>
                </a:lnTo>
                <a:lnTo>
                  <a:pt x="104" y="345"/>
                </a:lnTo>
                <a:lnTo>
                  <a:pt x="104" y="345"/>
                </a:lnTo>
                <a:lnTo>
                  <a:pt x="104" y="345"/>
                </a:lnTo>
                <a:lnTo>
                  <a:pt x="102" y="351"/>
                </a:lnTo>
                <a:lnTo>
                  <a:pt x="99" y="356"/>
                </a:lnTo>
                <a:lnTo>
                  <a:pt x="95" y="360"/>
                </a:lnTo>
                <a:lnTo>
                  <a:pt x="95" y="360"/>
                </a:lnTo>
                <a:lnTo>
                  <a:pt x="97" y="360"/>
                </a:lnTo>
                <a:lnTo>
                  <a:pt x="102" y="360"/>
                </a:lnTo>
                <a:lnTo>
                  <a:pt x="108" y="358"/>
                </a:lnTo>
                <a:lnTo>
                  <a:pt x="111" y="355"/>
                </a:lnTo>
                <a:lnTo>
                  <a:pt x="115" y="349"/>
                </a:lnTo>
                <a:lnTo>
                  <a:pt x="115" y="349"/>
                </a:lnTo>
                <a:lnTo>
                  <a:pt x="117" y="347"/>
                </a:lnTo>
                <a:lnTo>
                  <a:pt x="119" y="347"/>
                </a:lnTo>
                <a:lnTo>
                  <a:pt x="124" y="347"/>
                </a:lnTo>
                <a:lnTo>
                  <a:pt x="124" y="347"/>
                </a:lnTo>
                <a:lnTo>
                  <a:pt x="128" y="345"/>
                </a:lnTo>
                <a:lnTo>
                  <a:pt x="130" y="344"/>
                </a:lnTo>
                <a:lnTo>
                  <a:pt x="130" y="338"/>
                </a:lnTo>
                <a:lnTo>
                  <a:pt x="130" y="333"/>
                </a:lnTo>
                <a:lnTo>
                  <a:pt x="130" y="329"/>
                </a:lnTo>
                <a:lnTo>
                  <a:pt x="132" y="327"/>
                </a:lnTo>
                <a:lnTo>
                  <a:pt x="132" y="327"/>
                </a:lnTo>
                <a:lnTo>
                  <a:pt x="139" y="322"/>
                </a:lnTo>
                <a:lnTo>
                  <a:pt x="146" y="316"/>
                </a:lnTo>
                <a:lnTo>
                  <a:pt x="163" y="309"/>
                </a:lnTo>
                <a:lnTo>
                  <a:pt x="163" y="309"/>
                </a:lnTo>
                <a:lnTo>
                  <a:pt x="161" y="316"/>
                </a:lnTo>
                <a:lnTo>
                  <a:pt x="161" y="324"/>
                </a:lnTo>
                <a:lnTo>
                  <a:pt x="164" y="333"/>
                </a:lnTo>
                <a:lnTo>
                  <a:pt x="205" y="322"/>
                </a:lnTo>
                <a:lnTo>
                  <a:pt x="205" y="322"/>
                </a:lnTo>
                <a:lnTo>
                  <a:pt x="203" y="313"/>
                </a:lnTo>
                <a:lnTo>
                  <a:pt x="205" y="305"/>
                </a:lnTo>
                <a:lnTo>
                  <a:pt x="210" y="296"/>
                </a:lnTo>
                <a:lnTo>
                  <a:pt x="216" y="287"/>
                </a:lnTo>
                <a:lnTo>
                  <a:pt x="216" y="287"/>
                </a:lnTo>
                <a:lnTo>
                  <a:pt x="216" y="291"/>
                </a:lnTo>
                <a:lnTo>
                  <a:pt x="214" y="300"/>
                </a:lnTo>
                <a:lnTo>
                  <a:pt x="214" y="311"/>
                </a:lnTo>
                <a:lnTo>
                  <a:pt x="214" y="316"/>
                </a:lnTo>
                <a:lnTo>
                  <a:pt x="216" y="318"/>
                </a:lnTo>
                <a:lnTo>
                  <a:pt x="256" y="309"/>
                </a:lnTo>
                <a:lnTo>
                  <a:pt x="256" y="309"/>
                </a:lnTo>
                <a:lnTo>
                  <a:pt x="254" y="303"/>
                </a:lnTo>
                <a:lnTo>
                  <a:pt x="254" y="296"/>
                </a:lnTo>
                <a:lnTo>
                  <a:pt x="258" y="283"/>
                </a:lnTo>
                <a:lnTo>
                  <a:pt x="258" y="283"/>
                </a:lnTo>
                <a:lnTo>
                  <a:pt x="261" y="298"/>
                </a:lnTo>
                <a:lnTo>
                  <a:pt x="269" y="311"/>
                </a:lnTo>
                <a:lnTo>
                  <a:pt x="278" y="322"/>
                </a:lnTo>
                <a:lnTo>
                  <a:pt x="283" y="325"/>
                </a:lnTo>
                <a:lnTo>
                  <a:pt x="289" y="329"/>
                </a:lnTo>
                <a:lnTo>
                  <a:pt x="289" y="329"/>
                </a:lnTo>
                <a:lnTo>
                  <a:pt x="311" y="338"/>
                </a:lnTo>
                <a:lnTo>
                  <a:pt x="334" y="345"/>
                </a:lnTo>
                <a:lnTo>
                  <a:pt x="391" y="362"/>
                </a:lnTo>
                <a:lnTo>
                  <a:pt x="391" y="362"/>
                </a:lnTo>
                <a:lnTo>
                  <a:pt x="407" y="367"/>
                </a:lnTo>
                <a:lnTo>
                  <a:pt x="420" y="373"/>
                </a:lnTo>
                <a:lnTo>
                  <a:pt x="420" y="373"/>
                </a:lnTo>
                <a:lnTo>
                  <a:pt x="424" y="375"/>
                </a:lnTo>
                <a:lnTo>
                  <a:pt x="424" y="377"/>
                </a:lnTo>
                <a:lnTo>
                  <a:pt x="422" y="382"/>
                </a:lnTo>
                <a:lnTo>
                  <a:pt x="417" y="386"/>
                </a:lnTo>
                <a:lnTo>
                  <a:pt x="417" y="386"/>
                </a:lnTo>
                <a:lnTo>
                  <a:pt x="424" y="391"/>
                </a:lnTo>
                <a:lnTo>
                  <a:pt x="438" y="400"/>
                </a:lnTo>
                <a:lnTo>
                  <a:pt x="438" y="400"/>
                </a:lnTo>
                <a:lnTo>
                  <a:pt x="448" y="409"/>
                </a:lnTo>
                <a:lnTo>
                  <a:pt x="453" y="420"/>
                </a:lnTo>
                <a:lnTo>
                  <a:pt x="459" y="435"/>
                </a:lnTo>
                <a:lnTo>
                  <a:pt x="462" y="450"/>
                </a:lnTo>
                <a:lnTo>
                  <a:pt x="462" y="450"/>
                </a:lnTo>
                <a:lnTo>
                  <a:pt x="466" y="462"/>
                </a:lnTo>
                <a:lnTo>
                  <a:pt x="466" y="475"/>
                </a:lnTo>
                <a:lnTo>
                  <a:pt x="466" y="486"/>
                </a:lnTo>
                <a:lnTo>
                  <a:pt x="466" y="492"/>
                </a:lnTo>
                <a:lnTo>
                  <a:pt x="464" y="493"/>
                </a:lnTo>
                <a:lnTo>
                  <a:pt x="464" y="493"/>
                </a:lnTo>
                <a:lnTo>
                  <a:pt x="460" y="497"/>
                </a:lnTo>
                <a:lnTo>
                  <a:pt x="457" y="499"/>
                </a:lnTo>
                <a:lnTo>
                  <a:pt x="451" y="501"/>
                </a:lnTo>
                <a:lnTo>
                  <a:pt x="440" y="504"/>
                </a:lnTo>
                <a:lnTo>
                  <a:pt x="444" y="519"/>
                </a:lnTo>
                <a:lnTo>
                  <a:pt x="444" y="519"/>
                </a:lnTo>
                <a:lnTo>
                  <a:pt x="451" y="519"/>
                </a:lnTo>
                <a:lnTo>
                  <a:pt x="459" y="517"/>
                </a:lnTo>
                <a:lnTo>
                  <a:pt x="466" y="515"/>
                </a:lnTo>
                <a:lnTo>
                  <a:pt x="466" y="515"/>
                </a:lnTo>
                <a:lnTo>
                  <a:pt x="464" y="517"/>
                </a:lnTo>
                <a:lnTo>
                  <a:pt x="464" y="517"/>
                </a:lnTo>
                <a:lnTo>
                  <a:pt x="459" y="526"/>
                </a:lnTo>
                <a:lnTo>
                  <a:pt x="457" y="534"/>
                </a:lnTo>
                <a:lnTo>
                  <a:pt x="473" y="545"/>
                </a:lnTo>
                <a:lnTo>
                  <a:pt x="473" y="545"/>
                </a:lnTo>
                <a:lnTo>
                  <a:pt x="481" y="526"/>
                </a:lnTo>
                <a:lnTo>
                  <a:pt x="484" y="521"/>
                </a:lnTo>
                <a:lnTo>
                  <a:pt x="488" y="517"/>
                </a:lnTo>
                <a:lnTo>
                  <a:pt x="488" y="517"/>
                </a:lnTo>
                <a:lnTo>
                  <a:pt x="491" y="517"/>
                </a:lnTo>
                <a:lnTo>
                  <a:pt x="497" y="519"/>
                </a:lnTo>
                <a:lnTo>
                  <a:pt x="504" y="523"/>
                </a:lnTo>
                <a:lnTo>
                  <a:pt x="512" y="526"/>
                </a:lnTo>
                <a:lnTo>
                  <a:pt x="521" y="534"/>
                </a:lnTo>
                <a:lnTo>
                  <a:pt x="528" y="543"/>
                </a:lnTo>
                <a:lnTo>
                  <a:pt x="535" y="552"/>
                </a:lnTo>
                <a:lnTo>
                  <a:pt x="541" y="563"/>
                </a:lnTo>
                <a:lnTo>
                  <a:pt x="541" y="563"/>
                </a:lnTo>
                <a:lnTo>
                  <a:pt x="543" y="572"/>
                </a:lnTo>
                <a:lnTo>
                  <a:pt x="544" y="581"/>
                </a:lnTo>
                <a:lnTo>
                  <a:pt x="544" y="590"/>
                </a:lnTo>
                <a:lnTo>
                  <a:pt x="543" y="601"/>
                </a:lnTo>
                <a:lnTo>
                  <a:pt x="541" y="610"/>
                </a:lnTo>
                <a:lnTo>
                  <a:pt x="537" y="618"/>
                </a:lnTo>
                <a:lnTo>
                  <a:pt x="532" y="623"/>
                </a:lnTo>
                <a:lnTo>
                  <a:pt x="526" y="627"/>
                </a:lnTo>
                <a:lnTo>
                  <a:pt x="526" y="627"/>
                </a:lnTo>
                <a:lnTo>
                  <a:pt x="521" y="627"/>
                </a:lnTo>
                <a:lnTo>
                  <a:pt x="517" y="625"/>
                </a:lnTo>
                <a:lnTo>
                  <a:pt x="504" y="620"/>
                </a:lnTo>
                <a:lnTo>
                  <a:pt x="493" y="614"/>
                </a:lnTo>
                <a:lnTo>
                  <a:pt x="490" y="614"/>
                </a:lnTo>
                <a:lnTo>
                  <a:pt x="486" y="618"/>
                </a:lnTo>
                <a:lnTo>
                  <a:pt x="486" y="618"/>
                </a:lnTo>
                <a:lnTo>
                  <a:pt x="484" y="620"/>
                </a:lnTo>
                <a:lnTo>
                  <a:pt x="479" y="623"/>
                </a:lnTo>
                <a:lnTo>
                  <a:pt x="470" y="629"/>
                </a:lnTo>
                <a:lnTo>
                  <a:pt x="466" y="632"/>
                </a:lnTo>
                <a:lnTo>
                  <a:pt x="462" y="638"/>
                </a:lnTo>
                <a:lnTo>
                  <a:pt x="462" y="645"/>
                </a:lnTo>
                <a:lnTo>
                  <a:pt x="464" y="654"/>
                </a:lnTo>
                <a:lnTo>
                  <a:pt x="464" y="654"/>
                </a:lnTo>
                <a:lnTo>
                  <a:pt x="473" y="645"/>
                </a:lnTo>
                <a:lnTo>
                  <a:pt x="477" y="641"/>
                </a:lnTo>
                <a:lnTo>
                  <a:pt x="481" y="641"/>
                </a:lnTo>
                <a:lnTo>
                  <a:pt x="481" y="641"/>
                </a:lnTo>
                <a:lnTo>
                  <a:pt x="482" y="643"/>
                </a:lnTo>
                <a:lnTo>
                  <a:pt x="482" y="645"/>
                </a:lnTo>
                <a:lnTo>
                  <a:pt x="486" y="649"/>
                </a:lnTo>
                <a:lnTo>
                  <a:pt x="486" y="649"/>
                </a:lnTo>
                <a:lnTo>
                  <a:pt x="488" y="651"/>
                </a:lnTo>
                <a:lnTo>
                  <a:pt x="491" y="651"/>
                </a:lnTo>
                <a:lnTo>
                  <a:pt x="502" y="651"/>
                </a:lnTo>
                <a:lnTo>
                  <a:pt x="512" y="649"/>
                </a:lnTo>
                <a:lnTo>
                  <a:pt x="515" y="649"/>
                </a:lnTo>
                <a:lnTo>
                  <a:pt x="517" y="651"/>
                </a:lnTo>
                <a:lnTo>
                  <a:pt x="517" y="651"/>
                </a:lnTo>
                <a:lnTo>
                  <a:pt x="517" y="652"/>
                </a:lnTo>
                <a:lnTo>
                  <a:pt x="515" y="652"/>
                </a:lnTo>
                <a:lnTo>
                  <a:pt x="510" y="652"/>
                </a:lnTo>
                <a:lnTo>
                  <a:pt x="510" y="652"/>
                </a:lnTo>
                <a:lnTo>
                  <a:pt x="491" y="656"/>
                </a:lnTo>
                <a:lnTo>
                  <a:pt x="484" y="660"/>
                </a:lnTo>
                <a:lnTo>
                  <a:pt x="479" y="663"/>
                </a:lnTo>
                <a:lnTo>
                  <a:pt x="479" y="663"/>
                </a:lnTo>
                <a:lnTo>
                  <a:pt x="479" y="665"/>
                </a:lnTo>
                <a:lnTo>
                  <a:pt x="479" y="669"/>
                </a:lnTo>
                <a:lnTo>
                  <a:pt x="479" y="669"/>
                </a:lnTo>
                <a:lnTo>
                  <a:pt x="475" y="674"/>
                </a:lnTo>
                <a:lnTo>
                  <a:pt x="470" y="678"/>
                </a:lnTo>
                <a:lnTo>
                  <a:pt x="466" y="683"/>
                </a:lnTo>
                <a:lnTo>
                  <a:pt x="464" y="689"/>
                </a:lnTo>
                <a:lnTo>
                  <a:pt x="464" y="694"/>
                </a:lnTo>
                <a:lnTo>
                  <a:pt x="464" y="694"/>
                </a:lnTo>
                <a:lnTo>
                  <a:pt x="466" y="702"/>
                </a:lnTo>
                <a:lnTo>
                  <a:pt x="470" y="705"/>
                </a:lnTo>
                <a:lnTo>
                  <a:pt x="475" y="711"/>
                </a:lnTo>
                <a:lnTo>
                  <a:pt x="475" y="711"/>
                </a:lnTo>
                <a:lnTo>
                  <a:pt x="475" y="707"/>
                </a:lnTo>
                <a:lnTo>
                  <a:pt x="477" y="702"/>
                </a:lnTo>
                <a:lnTo>
                  <a:pt x="479" y="694"/>
                </a:lnTo>
                <a:lnTo>
                  <a:pt x="479" y="691"/>
                </a:lnTo>
                <a:lnTo>
                  <a:pt x="482" y="691"/>
                </a:lnTo>
                <a:lnTo>
                  <a:pt x="482" y="691"/>
                </a:lnTo>
                <a:lnTo>
                  <a:pt x="484" y="691"/>
                </a:lnTo>
                <a:lnTo>
                  <a:pt x="488" y="693"/>
                </a:lnTo>
                <a:lnTo>
                  <a:pt x="490" y="696"/>
                </a:lnTo>
                <a:lnTo>
                  <a:pt x="493" y="696"/>
                </a:lnTo>
                <a:lnTo>
                  <a:pt x="493" y="696"/>
                </a:lnTo>
                <a:lnTo>
                  <a:pt x="497" y="696"/>
                </a:lnTo>
                <a:lnTo>
                  <a:pt x="502" y="693"/>
                </a:lnTo>
                <a:lnTo>
                  <a:pt x="513" y="682"/>
                </a:lnTo>
                <a:lnTo>
                  <a:pt x="524" y="672"/>
                </a:lnTo>
                <a:lnTo>
                  <a:pt x="528" y="669"/>
                </a:lnTo>
                <a:lnTo>
                  <a:pt x="532" y="669"/>
                </a:lnTo>
                <a:lnTo>
                  <a:pt x="532" y="669"/>
                </a:lnTo>
                <a:lnTo>
                  <a:pt x="533" y="671"/>
                </a:lnTo>
                <a:lnTo>
                  <a:pt x="532" y="672"/>
                </a:lnTo>
                <a:lnTo>
                  <a:pt x="524" y="678"/>
                </a:lnTo>
                <a:lnTo>
                  <a:pt x="517" y="685"/>
                </a:lnTo>
                <a:lnTo>
                  <a:pt x="513" y="689"/>
                </a:lnTo>
                <a:lnTo>
                  <a:pt x="512" y="694"/>
                </a:lnTo>
                <a:lnTo>
                  <a:pt x="512" y="694"/>
                </a:lnTo>
                <a:lnTo>
                  <a:pt x="513" y="700"/>
                </a:lnTo>
                <a:lnTo>
                  <a:pt x="515" y="704"/>
                </a:lnTo>
                <a:lnTo>
                  <a:pt x="519" y="707"/>
                </a:lnTo>
                <a:lnTo>
                  <a:pt x="521" y="711"/>
                </a:lnTo>
                <a:lnTo>
                  <a:pt x="521" y="711"/>
                </a:lnTo>
                <a:lnTo>
                  <a:pt x="523" y="715"/>
                </a:lnTo>
                <a:lnTo>
                  <a:pt x="526" y="720"/>
                </a:lnTo>
                <a:lnTo>
                  <a:pt x="530" y="724"/>
                </a:lnTo>
                <a:lnTo>
                  <a:pt x="535" y="725"/>
                </a:lnTo>
                <a:lnTo>
                  <a:pt x="546" y="729"/>
                </a:lnTo>
                <a:lnTo>
                  <a:pt x="552" y="729"/>
                </a:lnTo>
                <a:lnTo>
                  <a:pt x="552" y="729"/>
                </a:lnTo>
                <a:lnTo>
                  <a:pt x="550" y="725"/>
                </a:lnTo>
                <a:lnTo>
                  <a:pt x="544" y="720"/>
                </a:lnTo>
                <a:lnTo>
                  <a:pt x="539" y="713"/>
                </a:lnTo>
                <a:lnTo>
                  <a:pt x="539" y="711"/>
                </a:lnTo>
                <a:lnTo>
                  <a:pt x="539" y="707"/>
                </a:lnTo>
                <a:lnTo>
                  <a:pt x="539" y="707"/>
                </a:lnTo>
                <a:lnTo>
                  <a:pt x="541" y="705"/>
                </a:lnTo>
                <a:lnTo>
                  <a:pt x="544" y="707"/>
                </a:lnTo>
                <a:lnTo>
                  <a:pt x="548" y="707"/>
                </a:lnTo>
                <a:lnTo>
                  <a:pt x="552" y="705"/>
                </a:lnTo>
                <a:lnTo>
                  <a:pt x="552" y="705"/>
                </a:lnTo>
                <a:lnTo>
                  <a:pt x="552" y="702"/>
                </a:lnTo>
                <a:lnTo>
                  <a:pt x="552" y="691"/>
                </a:lnTo>
                <a:lnTo>
                  <a:pt x="552" y="685"/>
                </a:lnTo>
                <a:lnTo>
                  <a:pt x="554" y="678"/>
                </a:lnTo>
                <a:lnTo>
                  <a:pt x="559" y="671"/>
                </a:lnTo>
                <a:lnTo>
                  <a:pt x="566" y="662"/>
                </a:lnTo>
                <a:lnTo>
                  <a:pt x="566" y="662"/>
                </a:lnTo>
                <a:lnTo>
                  <a:pt x="570" y="667"/>
                </a:lnTo>
                <a:lnTo>
                  <a:pt x="574" y="669"/>
                </a:lnTo>
                <a:lnTo>
                  <a:pt x="581" y="671"/>
                </a:lnTo>
                <a:lnTo>
                  <a:pt x="581" y="671"/>
                </a:lnTo>
                <a:lnTo>
                  <a:pt x="583" y="672"/>
                </a:lnTo>
                <a:lnTo>
                  <a:pt x="585" y="674"/>
                </a:lnTo>
                <a:lnTo>
                  <a:pt x="585" y="682"/>
                </a:lnTo>
                <a:lnTo>
                  <a:pt x="585" y="691"/>
                </a:lnTo>
                <a:lnTo>
                  <a:pt x="585" y="691"/>
                </a:lnTo>
                <a:lnTo>
                  <a:pt x="586" y="689"/>
                </a:lnTo>
                <a:lnTo>
                  <a:pt x="590" y="683"/>
                </a:lnTo>
                <a:lnTo>
                  <a:pt x="594" y="674"/>
                </a:lnTo>
                <a:lnTo>
                  <a:pt x="594" y="663"/>
                </a:lnTo>
                <a:lnTo>
                  <a:pt x="594" y="663"/>
                </a:lnTo>
                <a:lnTo>
                  <a:pt x="597" y="662"/>
                </a:lnTo>
                <a:lnTo>
                  <a:pt x="601" y="654"/>
                </a:lnTo>
                <a:lnTo>
                  <a:pt x="601" y="654"/>
                </a:lnTo>
                <a:lnTo>
                  <a:pt x="603" y="651"/>
                </a:lnTo>
                <a:lnTo>
                  <a:pt x="601" y="649"/>
                </a:lnTo>
                <a:lnTo>
                  <a:pt x="596" y="643"/>
                </a:lnTo>
                <a:lnTo>
                  <a:pt x="594" y="640"/>
                </a:lnTo>
                <a:lnTo>
                  <a:pt x="592" y="634"/>
                </a:lnTo>
                <a:lnTo>
                  <a:pt x="590" y="625"/>
                </a:lnTo>
                <a:lnTo>
                  <a:pt x="590" y="614"/>
                </a:lnTo>
                <a:lnTo>
                  <a:pt x="590" y="614"/>
                </a:lnTo>
                <a:lnTo>
                  <a:pt x="590" y="610"/>
                </a:lnTo>
                <a:lnTo>
                  <a:pt x="588" y="609"/>
                </a:lnTo>
                <a:lnTo>
                  <a:pt x="583" y="605"/>
                </a:lnTo>
                <a:lnTo>
                  <a:pt x="583" y="605"/>
                </a:lnTo>
                <a:lnTo>
                  <a:pt x="579" y="599"/>
                </a:lnTo>
                <a:lnTo>
                  <a:pt x="579" y="598"/>
                </a:lnTo>
                <a:lnTo>
                  <a:pt x="581" y="598"/>
                </a:lnTo>
                <a:lnTo>
                  <a:pt x="581" y="598"/>
                </a:lnTo>
                <a:lnTo>
                  <a:pt x="588" y="599"/>
                </a:lnTo>
                <a:lnTo>
                  <a:pt x="596" y="599"/>
                </a:lnTo>
                <a:lnTo>
                  <a:pt x="603" y="598"/>
                </a:lnTo>
                <a:lnTo>
                  <a:pt x="603" y="598"/>
                </a:lnTo>
                <a:lnTo>
                  <a:pt x="603" y="576"/>
                </a:lnTo>
                <a:lnTo>
                  <a:pt x="605" y="565"/>
                </a:lnTo>
                <a:lnTo>
                  <a:pt x="603" y="559"/>
                </a:lnTo>
                <a:lnTo>
                  <a:pt x="603" y="559"/>
                </a:lnTo>
                <a:lnTo>
                  <a:pt x="596" y="559"/>
                </a:lnTo>
                <a:lnTo>
                  <a:pt x="588" y="557"/>
                </a:lnTo>
                <a:lnTo>
                  <a:pt x="585" y="556"/>
                </a:lnTo>
                <a:lnTo>
                  <a:pt x="581" y="552"/>
                </a:lnTo>
                <a:lnTo>
                  <a:pt x="581" y="552"/>
                </a:lnTo>
                <a:lnTo>
                  <a:pt x="586" y="552"/>
                </a:lnTo>
                <a:lnTo>
                  <a:pt x="594" y="552"/>
                </a:lnTo>
                <a:lnTo>
                  <a:pt x="599" y="552"/>
                </a:lnTo>
                <a:lnTo>
                  <a:pt x="603" y="548"/>
                </a:lnTo>
                <a:lnTo>
                  <a:pt x="603" y="548"/>
                </a:lnTo>
                <a:lnTo>
                  <a:pt x="603" y="530"/>
                </a:lnTo>
                <a:lnTo>
                  <a:pt x="601" y="517"/>
                </a:lnTo>
                <a:lnTo>
                  <a:pt x="601" y="514"/>
                </a:lnTo>
                <a:lnTo>
                  <a:pt x="599" y="512"/>
                </a:lnTo>
                <a:lnTo>
                  <a:pt x="599" y="512"/>
                </a:lnTo>
                <a:lnTo>
                  <a:pt x="592" y="514"/>
                </a:lnTo>
                <a:lnTo>
                  <a:pt x="586" y="514"/>
                </a:lnTo>
                <a:lnTo>
                  <a:pt x="581" y="512"/>
                </a:lnTo>
                <a:lnTo>
                  <a:pt x="576" y="510"/>
                </a:lnTo>
                <a:lnTo>
                  <a:pt x="576" y="510"/>
                </a:lnTo>
                <a:lnTo>
                  <a:pt x="574" y="508"/>
                </a:lnTo>
                <a:lnTo>
                  <a:pt x="572" y="504"/>
                </a:lnTo>
                <a:lnTo>
                  <a:pt x="572" y="499"/>
                </a:lnTo>
                <a:lnTo>
                  <a:pt x="570" y="495"/>
                </a:lnTo>
                <a:lnTo>
                  <a:pt x="570" y="493"/>
                </a:lnTo>
                <a:lnTo>
                  <a:pt x="568" y="492"/>
                </a:lnTo>
                <a:lnTo>
                  <a:pt x="568" y="492"/>
                </a:lnTo>
                <a:lnTo>
                  <a:pt x="557" y="488"/>
                </a:lnTo>
                <a:lnTo>
                  <a:pt x="546" y="482"/>
                </a:lnTo>
                <a:lnTo>
                  <a:pt x="541" y="477"/>
                </a:lnTo>
                <a:lnTo>
                  <a:pt x="535" y="473"/>
                </a:lnTo>
                <a:lnTo>
                  <a:pt x="535" y="473"/>
                </a:lnTo>
                <a:lnTo>
                  <a:pt x="532" y="468"/>
                </a:lnTo>
                <a:lnTo>
                  <a:pt x="532" y="462"/>
                </a:lnTo>
                <a:lnTo>
                  <a:pt x="532" y="459"/>
                </a:lnTo>
                <a:lnTo>
                  <a:pt x="532" y="459"/>
                </a:lnTo>
                <a:lnTo>
                  <a:pt x="541" y="462"/>
                </a:lnTo>
                <a:lnTo>
                  <a:pt x="544" y="462"/>
                </a:lnTo>
                <a:lnTo>
                  <a:pt x="550" y="461"/>
                </a:lnTo>
                <a:lnTo>
                  <a:pt x="552" y="431"/>
                </a:lnTo>
                <a:lnTo>
                  <a:pt x="552" y="431"/>
                </a:lnTo>
                <a:lnTo>
                  <a:pt x="548" y="431"/>
                </a:lnTo>
                <a:lnTo>
                  <a:pt x="541" y="430"/>
                </a:lnTo>
                <a:lnTo>
                  <a:pt x="541" y="430"/>
                </a:lnTo>
                <a:lnTo>
                  <a:pt x="537" y="426"/>
                </a:lnTo>
                <a:lnTo>
                  <a:pt x="533" y="422"/>
                </a:lnTo>
                <a:lnTo>
                  <a:pt x="532" y="419"/>
                </a:lnTo>
                <a:lnTo>
                  <a:pt x="532" y="419"/>
                </a:lnTo>
                <a:lnTo>
                  <a:pt x="535" y="420"/>
                </a:lnTo>
                <a:lnTo>
                  <a:pt x="543" y="422"/>
                </a:lnTo>
                <a:lnTo>
                  <a:pt x="543" y="422"/>
                </a:lnTo>
                <a:lnTo>
                  <a:pt x="550" y="422"/>
                </a:lnTo>
                <a:lnTo>
                  <a:pt x="554" y="420"/>
                </a:lnTo>
                <a:lnTo>
                  <a:pt x="557" y="387"/>
                </a:lnTo>
                <a:lnTo>
                  <a:pt x="557" y="387"/>
                </a:lnTo>
                <a:lnTo>
                  <a:pt x="552" y="387"/>
                </a:lnTo>
                <a:lnTo>
                  <a:pt x="546" y="386"/>
                </a:lnTo>
                <a:lnTo>
                  <a:pt x="541" y="384"/>
                </a:lnTo>
                <a:lnTo>
                  <a:pt x="539" y="378"/>
                </a:lnTo>
                <a:lnTo>
                  <a:pt x="539" y="377"/>
                </a:lnTo>
                <a:lnTo>
                  <a:pt x="539" y="377"/>
                </a:lnTo>
                <a:lnTo>
                  <a:pt x="552" y="373"/>
                </a:lnTo>
                <a:lnTo>
                  <a:pt x="563" y="367"/>
                </a:lnTo>
                <a:lnTo>
                  <a:pt x="572" y="360"/>
                </a:lnTo>
                <a:lnTo>
                  <a:pt x="579" y="353"/>
                </a:lnTo>
                <a:lnTo>
                  <a:pt x="586" y="344"/>
                </a:lnTo>
                <a:lnTo>
                  <a:pt x="592" y="333"/>
                </a:lnTo>
                <a:lnTo>
                  <a:pt x="597" y="324"/>
                </a:lnTo>
                <a:lnTo>
                  <a:pt x="599" y="313"/>
                </a:lnTo>
                <a:lnTo>
                  <a:pt x="599" y="313"/>
                </a:lnTo>
                <a:lnTo>
                  <a:pt x="608" y="316"/>
                </a:lnTo>
                <a:lnTo>
                  <a:pt x="614" y="316"/>
                </a:lnTo>
                <a:lnTo>
                  <a:pt x="618" y="316"/>
                </a:lnTo>
                <a:lnTo>
                  <a:pt x="618" y="316"/>
                </a:lnTo>
                <a:lnTo>
                  <a:pt x="619" y="303"/>
                </a:lnTo>
                <a:lnTo>
                  <a:pt x="619" y="289"/>
                </a:lnTo>
                <a:lnTo>
                  <a:pt x="619" y="289"/>
                </a:lnTo>
                <a:lnTo>
                  <a:pt x="610" y="287"/>
                </a:lnTo>
                <a:lnTo>
                  <a:pt x="607" y="285"/>
                </a:lnTo>
                <a:lnTo>
                  <a:pt x="603" y="28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pic>
        <p:nvPicPr>
          <p:cNvPr id="53" name="Picture 3">
            <a:extLst>
              <a:ext uri="{FF2B5EF4-FFF2-40B4-BE49-F238E27FC236}">
                <a16:creationId xmlns:a16="http://schemas.microsoft.com/office/drawing/2014/main" id="{F1689B57-8BAA-BF42-B648-10782572357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804249" y="4443959"/>
            <a:ext cx="2088034" cy="397877"/>
          </a:xfrm>
          <a:prstGeom prst="rect">
            <a:avLst/>
          </a:prstGeom>
        </p:spPr>
      </p:pic>
      <p:pic>
        <p:nvPicPr>
          <p:cNvPr id="55" name="Picture 5">
            <a:extLst>
              <a:ext uri="{FF2B5EF4-FFF2-40B4-BE49-F238E27FC236}">
                <a16:creationId xmlns:a16="http://schemas.microsoft.com/office/drawing/2014/main" id="{4F591584-9FCE-5A4F-A985-77C337C3AB8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04449" y="235341"/>
            <a:ext cx="305495" cy="419486"/>
          </a:xfrm>
          <a:prstGeom prst="rect">
            <a:avLst/>
          </a:prstGeom>
        </p:spPr>
      </p:pic>
    </p:spTree>
    <p:extLst>
      <p:ext uri="{BB962C8B-B14F-4D97-AF65-F5344CB8AC3E}">
        <p14:creationId xmlns:p14="http://schemas.microsoft.com/office/powerpoint/2010/main" val="289810122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11_Väliotsikko">
    <p:spTree>
      <p:nvGrpSpPr>
        <p:cNvPr id="1" name=""/>
        <p:cNvGrpSpPr/>
        <p:nvPr/>
      </p:nvGrpSpPr>
      <p:grpSpPr>
        <a:xfrm>
          <a:off x="0" y="0"/>
          <a:ext cx="0" cy="0"/>
          <a:chOff x="0" y="0"/>
          <a:chExt cx="0" cy="0"/>
        </a:xfrm>
      </p:grpSpPr>
      <p:pic>
        <p:nvPicPr>
          <p:cNvPr id="3" name="Kuva 2"/>
          <p:cNvPicPr>
            <a:picLocks noChangeAspect="1"/>
          </p:cNvPicPr>
          <p:nvPr userDrawn="1"/>
        </p:nvPicPr>
        <p:blipFill rotWithShape="1">
          <a:blip r:embed="rId2" cstate="print">
            <a:extLst>
              <a:ext uri="{28A0092B-C50C-407E-A947-70E740481C1C}">
                <a14:useLocalDpi xmlns:a14="http://schemas.microsoft.com/office/drawing/2010/main" val="0"/>
              </a:ext>
            </a:extLst>
          </a:blip>
          <a:srcRect t="1388" r="13103"/>
          <a:stretch/>
        </p:blipFill>
        <p:spPr>
          <a:xfrm>
            <a:off x="2280667" y="-20538"/>
            <a:ext cx="6899845" cy="5164037"/>
          </a:xfrm>
          <a:prstGeom prst="rect">
            <a:avLst/>
          </a:prstGeom>
        </p:spPr>
      </p:pic>
      <p:sp>
        <p:nvSpPr>
          <p:cNvPr id="51" name="Rectangle 50"/>
          <p:cNvSpPr/>
          <p:nvPr userDrawn="1"/>
        </p:nvSpPr>
        <p:spPr>
          <a:xfrm rot="10800000" flipV="1">
            <a:off x="-10666" y="-21804"/>
            <a:ext cx="4582667" cy="5165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a:p>
        </p:txBody>
      </p:sp>
      <p:sp>
        <p:nvSpPr>
          <p:cNvPr id="58" name="Rectangle 57"/>
          <p:cNvSpPr/>
          <p:nvPr userDrawn="1"/>
        </p:nvSpPr>
        <p:spPr>
          <a:xfrm rot="10800000" flipV="1">
            <a:off x="4499988" y="-21803"/>
            <a:ext cx="4680522" cy="5165304"/>
          </a:xfrm>
          <a:prstGeom prst="rect">
            <a:avLst/>
          </a:pr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a:p>
        </p:txBody>
      </p:sp>
      <p:sp>
        <p:nvSpPr>
          <p:cNvPr id="54" name="Freeform 7"/>
          <p:cNvSpPr>
            <a:spLocks/>
          </p:cNvSpPr>
          <p:nvPr userDrawn="1"/>
        </p:nvSpPr>
        <p:spPr bwMode="auto">
          <a:xfrm rot="10800000" flipV="1">
            <a:off x="3392895" y="-21803"/>
            <a:ext cx="4279900" cy="5165302"/>
          </a:xfrm>
          <a:custGeom>
            <a:avLst/>
            <a:gdLst>
              <a:gd name="T0" fmla="*/ 2425 w 2696"/>
              <a:gd name="T1" fmla="*/ 3240 h 3240"/>
              <a:gd name="T2" fmla="*/ 2398 w 2696"/>
              <a:gd name="T3" fmla="*/ 3171 h 3240"/>
              <a:gd name="T4" fmla="*/ 2372 w 2696"/>
              <a:gd name="T5" fmla="*/ 3103 h 3240"/>
              <a:gd name="T6" fmla="*/ 2325 w 2696"/>
              <a:gd name="T7" fmla="*/ 2966 h 3240"/>
              <a:gd name="T8" fmla="*/ 2283 w 2696"/>
              <a:gd name="T9" fmla="*/ 2828 h 3240"/>
              <a:gd name="T10" fmla="*/ 2248 w 2696"/>
              <a:gd name="T11" fmla="*/ 2689 h 3240"/>
              <a:gd name="T12" fmla="*/ 2219 w 2696"/>
              <a:gd name="T13" fmla="*/ 2550 h 3240"/>
              <a:gd name="T14" fmla="*/ 2196 w 2696"/>
              <a:gd name="T15" fmla="*/ 2411 h 3240"/>
              <a:gd name="T16" fmla="*/ 2178 w 2696"/>
              <a:gd name="T17" fmla="*/ 2273 h 3240"/>
              <a:gd name="T18" fmla="*/ 2164 w 2696"/>
              <a:gd name="T19" fmla="*/ 2133 h 3240"/>
              <a:gd name="T20" fmla="*/ 2157 w 2696"/>
              <a:gd name="T21" fmla="*/ 1995 h 3240"/>
              <a:gd name="T22" fmla="*/ 2156 w 2696"/>
              <a:gd name="T23" fmla="*/ 1856 h 3240"/>
              <a:gd name="T24" fmla="*/ 2160 w 2696"/>
              <a:gd name="T25" fmla="*/ 1718 h 3240"/>
              <a:gd name="T26" fmla="*/ 2170 w 2696"/>
              <a:gd name="T27" fmla="*/ 1581 h 3240"/>
              <a:gd name="T28" fmla="*/ 2183 w 2696"/>
              <a:gd name="T29" fmla="*/ 1445 h 3240"/>
              <a:gd name="T30" fmla="*/ 2203 w 2696"/>
              <a:gd name="T31" fmla="*/ 1310 h 3240"/>
              <a:gd name="T32" fmla="*/ 2228 w 2696"/>
              <a:gd name="T33" fmla="*/ 1175 h 3240"/>
              <a:gd name="T34" fmla="*/ 2259 w 2696"/>
              <a:gd name="T35" fmla="*/ 1042 h 3240"/>
              <a:gd name="T36" fmla="*/ 2274 w 2696"/>
              <a:gd name="T37" fmla="*/ 977 h 3240"/>
              <a:gd name="T38" fmla="*/ 2313 w 2696"/>
              <a:gd name="T39" fmla="*/ 845 h 3240"/>
              <a:gd name="T40" fmla="*/ 2354 w 2696"/>
              <a:gd name="T41" fmla="*/ 716 h 3240"/>
              <a:gd name="T42" fmla="*/ 2400 w 2696"/>
              <a:gd name="T43" fmla="*/ 590 h 3240"/>
              <a:gd name="T44" fmla="*/ 2452 w 2696"/>
              <a:gd name="T45" fmla="*/ 466 h 3240"/>
              <a:gd name="T46" fmla="*/ 2507 w 2696"/>
              <a:gd name="T47" fmla="*/ 345 h 3240"/>
              <a:gd name="T48" fmla="*/ 2566 w 2696"/>
              <a:gd name="T49" fmla="*/ 227 h 3240"/>
              <a:gd name="T50" fmla="*/ 2630 w 2696"/>
              <a:gd name="T51" fmla="*/ 113 h 3240"/>
              <a:gd name="T52" fmla="*/ 2696 w 2696"/>
              <a:gd name="T53" fmla="*/ 0 h 3240"/>
              <a:gd name="T54" fmla="*/ 0 w 2696"/>
              <a:gd name="T55" fmla="*/ 0 h 3240"/>
              <a:gd name="T56" fmla="*/ 72 w 2696"/>
              <a:gd name="T57" fmla="*/ 207 h 3240"/>
              <a:gd name="T58" fmla="*/ 150 w 2696"/>
              <a:gd name="T59" fmla="*/ 414 h 3240"/>
              <a:gd name="T60" fmla="*/ 187 w 2696"/>
              <a:gd name="T61" fmla="*/ 510 h 3240"/>
              <a:gd name="T62" fmla="*/ 266 w 2696"/>
              <a:gd name="T63" fmla="*/ 701 h 3240"/>
              <a:gd name="T64" fmla="*/ 349 w 2696"/>
              <a:gd name="T65" fmla="*/ 890 h 3240"/>
              <a:gd name="T66" fmla="*/ 436 w 2696"/>
              <a:gd name="T67" fmla="*/ 1077 h 3240"/>
              <a:gd name="T68" fmla="*/ 527 w 2696"/>
              <a:gd name="T69" fmla="*/ 1262 h 3240"/>
              <a:gd name="T70" fmla="*/ 622 w 2696"/>
              <a:gd name="T71" fmla="*/ 1446 h 3240"/>
              <a:gd name="T72" fmla="*/ 722 w 2696"/>
              <a:gd name="T73" fmla="*/ 1627 h 3240"/>
              <a:gd name="T74" fmla="*/ 826 w 2696"/>
              <a:gd name="T75" fmla="*/ 1807 h 3240"/>
              <a:gd name="T76" fmla="*/ 934 w 2696"/>
              <a:gd name="T77" fmla="*/ 1983 h 3240"/>
              <a:gd name="T78" fmla="*/ 1046 w 2696"/>
              <a:gd name="T79" fmla="*/ 2159 h 3240"/>
              <a:gd name="T80" fmla="*/ 1162 w 2696"/>
              <a:gd name="T81" fmla="*/ 2332 h 3240"/>
              <a:gd name="T82" fmla="*/ 1282 w 2696"/>
              <a:gd name="T83" fmla="*/ 2503 h 3240"/>
              <a:gd name="T84" fmla="*/ 1406 w 2696"/>
              <a:gd name="T85" fmla="*/ 2671 h 3240"/>
              <a:gd name="T86" fmla="*/ 1535 w 2696"/>
              <a:gd name="T87" fmla="*/ 2837 h 3240"/>
              <a:gd name="T88" fmla="*/ 1667 w 2696"/>
              <a:gd name="T89" fmla="*/ 3000 h 3240"/>
              <a:gd name="T90" fmla="*/ 1804 w 2696"/>
              <a:gd name="T91" fmla="*/ 3160 h 3240"/>
              <a:gd name="T92" fmla="*/ 1874 w 2696"/>
              <a:gd name="T93" fmla="*/ 3240 h 3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96" h="3240">
                <a:moveTo>
                  <a:pt x="1874" y="3240"/>
                </a:moveTo>
                <a:lnTo>
                  <a:pt x="2425" y="3240"/>
                </a:lnTo>
                <a:lnTo>
                  <a:pt x="2425" y="3240"/>
                </a:lnTo>
                <a:lnTo>
                  <a:pt x="2398" y="3171"/>
                </a:lnTo>
                <a:lnTo>
                  <a:pt x="2398" y="3171"/>
                </a:lnTo>
                <a:lnTo>
                  <a:pt x="2372" y="3103"/>
                </a:lnTo>
                <a:lnTo>
                  <a:pt x="2347" y="3034"/>
                </a:lnTo>
                <a:lnTo>
                  <a:pt x="2325" y="2966"/>
                </a:lnTo>
                <a:lnTo>
                  <a:pt x="2304" y="2897"/>
                </a:lnTo>
                <a:lnTo>
                  <a:pt x="2283" y="2828"/>
                </a:lnTo>
                <a:lnTo>
                  <a:pt x="2265" y="2759"/>
                </a:lnTo>
                <a:lnTo>
                  <a:pt x="2248" y="2689"/>
                </a:lnTo>
                <a:lnTo>
                  <a:pt x="2233" y="2620"/>
                </a:lnTo>
                <a:lnTo>
                  <a:pt x="2219" y="2550"/>
                </a:lnTo>
                <a:lnTo>
                  <a:pt x="2207" y="2481"/>
                </a:lnTo>
                <a:lnTo>
                  <a:pt x="2196" y="2411"/>
                </a:lnTo>
                <a:lnTo>
                  <a:pt x="2185" y="2342"/>
                </a:lnTo>
                <a:lnTo>
                  <a:pt x="2178" y="2273"/>
                </a:lnTo>
                <a:lnTo>
                  <a:pt x="2170" y="2203"/>
                </a:lnTo>
                <a:lnTo>
                  <a:pt x="2164" y="2133"/>
                </a:lnTo>
                <a:lnTo>
                  <a:pt x="2161" y="2063"/>
                </a:lnTo>
                <a:lnTo>
                  <a:pt x="2157" y="1995"/>
                </a:lnTo>
                <a:lnTo>
                  <a:pt x="2156" y="1925"/>
                </a:lnTo>
                <a:lnTo>
                  <a:pt x="2156" y="1856"/>
                </a:lnTo>
                <a:lnTo>
                  <a:pt x="2157" y="1787"/>
                </a:lnTo>
                <a:lnTo>
                  <a:pt x="2160" y="1718"/>
                </a:lnTo>
                <a:lnTo>
                  <a:pt x="2164" y="1649"/>
                </a:lnTo>
                <a:lnTo>
                  <a:pt x="2170" y="1581"/>
                </a:lnTo>
                <a:lnTo>
                  <a:pt x="2175" y="1513"/>
                </a:lnTo>
                <a:lnTo>
                  <a:pt x="2183" y="1445"/>
                </a:lnTo>
                <a:lnTo>
                  <a:pt x="2193" y="1377"/>
                </a:lnTo>
                <a:lnTo>
                  <a:pt x="2203" y="1310"/>
                </a:lnTo>
                <a:lnTo>
                  <a:pt x="2215" y="1242"/>
                </a:lnTo>
                <a:lnTo>
                  <a:pt x="2228" y="1175"/>
                </a:lnTo>
                <a:lnTo>
                  <a:pt x="2243" y="1108"/>
                </a:lnTo>
                <a:lnTo>
                  <a:pt x="2259" y="1042"/>
                </a:lnTo>
                <a:lnTo>
                  <a:pt x="2274" y="977"/>
                </a:lnTo>
                <a:lnTo>
                  <a:pt x="2274" y="977"/>
                </a:lnTo>
                <a:lnTo>
                  <a:pt x="2293" y="910"/>
                </a:lnTo>
                <a:lnTo>
                  <a:pt x="2313" y="845"/>
                </a:lnTo>
                <a:lnTo>
                  <a:pt x="2333" y="780"/>
                </a:lnTo>
                <a:lnTo>
                  <a:pt x="2354" y="716"/>
                </a:lnTo>
                <a:lnTo>
                  <a:pt x="2377" y="653"/>
                </a:lnTo>
                <a:lnTo>
                  <a:pt x="2400" y="590"/>
                </a:lnTo>
                <a:lnTo>
                  <a:pt x="2426" y="528"/>
                </a:lnTo>
                <a:lnTo>
                  <a:pt x="2452" y="466"/>
                </a:lnTo>
                <a:lnTo>
                  <a:pt x="2479" y="405"/>
                </a:lnTo>
                <a:lnTo>
                  <a:pt x="2507" y="345"/>
                </a:lnTo>
                <a:lnTo>
                  <a:pt x="2536" y="286"/>
                </a:lnTo>
                <a:lnTo>
                  <a:pt x="2566" y="227"/>
                </a:lnTo>
                <a:lnTo>
                  <a:pt x="2597" y="169"/>
                </a:lnTo>
                <a:lnTo>
                  <a:pt x="2630" y="113"/>
                </a:lnTo>
                <a:lnTo>
                  <a:pt x="2662" y="55"/>
                </a:lnTo>
                <a:lnTo>
                  <a:pt x="2696" y="0"/>
                </a:lnTo>
                <a:lnTo>
                  <a:pt x="0" y="0"/>
                </a:lnTo>
                <a:lnTo>
                  <a:pt x="0" y="0"/>
                </a:lnTo>
                <a:lnTo>
                  <a:pt x="35" y="104"/>
                </a:lnTo>
                <a:lnTo>
                  <a:pt x="72" y="207"/>
                </a:lnTo>
                <a:lnTo>
                  <a:pt x="111" y="311"/>
                </a:lnTo>
                <a:lnTo>
                  <a:pt x="150" y="414"/>
                </a:lnTo>
                <a:lnTo>
                  <a:pt x="150" y="414"/>
                </a:lnTo>
                <a:lnTo>
                  <a:pt x="187" y="510"/>
                </a:lnTo>
                <a:lnTo>
                  <a:pt x="226" y="605"/>
                </a:lnTo>
                <a:lnTo>
                  <a:pt x="266" y="701"/>
                </a:lnTo>
                <a:lnTo>
                  <a:pt x="306" y="795"/>
                </a:lnTo>
                <a:lnTo>
                  <a:pt x="349" y="890"/>
                </a:lnTo>
                <a:lnTo>
                  <a:pt x="392" y="983"/>
                </a:lnTo>
                <a:lnTo>
                  <a:pt x="436" y="1077"/>
                </a:lnTo>
                <a:lnTo>
                  <a:pt x="481" y="1169"/>
                </a:lnTo>
                <a:lnTo>
                  <a:pt x="527" y="1262"/>
                </a:lnTo>
                <a:lnTo>
                  <a:pt x="574" y="1353"/>
                </a:lnTo>
                <a:lnTo>
                  <a:pt x="622" y="1446"/>
                </a:lnTo>
                <a:lnTo>
                  <a:pt x="672" y="1537"/>
                </a:lnTo>
                <a:lnTo>
                  <a:pt x="722" y="1627"/>
                </a:lnTo>
                <a:lnTo>
                  <a:pt x="773" y="1717"/>
                </a:lnTo>
                <a:lnTo>
                  <a:pt x="826" y="1807"/>
                </a:lnTo>
                <a:lnTo>
                  <a:pt x="879" y="1896"/>
                </a:lnTo>
                <a:lnTo>
                  <a:pt x="934" y="1983"/>
                </a:lnTo>
                <a:lnTo>
                  <a:pt x="989" y="2072"/>
                </a:lnTo>
                <a:lnTo>
                  <a:pt x="1046" y="2159"/>
                </a:lnTo>
                <a:lnTo>
                  <a:pt x="1104" y="2246"/>
                </a:lnTo>
                <a:lnTo>
                  <a:pt x="1162" y="2332"/>
                </a:lnTo>
                <a:lnTo>
                  <a:pt x="1222" y="2418"/>
                </a:lnTo>
                <a:lnTo>
                  <a:pt x="1282" y="2503"/>
                </a:lnTo>
                <a:lnTo>
                  <a:pt x="1344" y="2588"/>
                </a:lnTo>
                <a:lnTo>
                  <a:pt x="1406" y="2671"/>
                </a:lnTo>
                <a:lnTo>
                  <a:pt x="1470" y="2754"/>
                </a:lnTo>
                <a:lnTo>
                  <a:pt x="1535" y="2837"/>
                </a:lnTo>
                <a:lnTo>
                  <a:pt x="1601" y="2918"/>
                </a:lnTo>
                <a:lnTo>
                  <a:pt x="1667" y="3000"/>
                </a:lnTo>
                <a:lnTo>
                  <a:pt x="1736" y="3080"/>
                </a:lnTo>
                <a:lnTo>
                  <a:pt x="1804" y="3160"/>
                </a:lnTo>
                <a:lnTo>
                  <a:pt x="1874" y="3240"/>
                </a:lnTo>
                <a:lnTo>
                  <a:pt x="1874" y="3240"/>
                </a:lnTo>
                <a:close/>
              </a:path>
            </a:pathLst>
          </a:custGeom>
          <a:solidFill>
            <a:srgbClr val="EA006F"/>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10" name="Otsikko 1"/>
          <p:cNvSpPr>
            <a:spLocks noGrp="1"/>
          </p:cNvSpPr>
          <p:nvPr userDrawn="1">
            <p:ph type="ctrTitle"/>
          </p:nvPr>
        </p:nvSpPr>
        <p:spPr>
          <a:xfrm>
            <a:off x="366652" y="411510"/>
            <a:ext cx="3485269" cy="2967062"/>
          </a:xfrm>
        </p:spPr>
        <p:txBody>
          <a:bodyPr anchor="b" anchorCtr="0">
            <a:noAutofit/>
          </a:bodyPr>
          <a:lstStyle>
            <a:lvl1pPr algn="l">
              <a:defRPr sz="4000">
                <a:solidFill>
                  <a:schemeClr val="accent4"/>
                </a:solidFill>
              </a:defRPr>
            </a:lvl1pPr>
          </a:lstStyle>
          <a:p>
            <a:r>
              <a:rPr lang="en-US" dirty="0"/>
              <a:t>Click to edit Master title style</a:t>
            </a:r>
            <a:endParaRPr lang="fi-FI" dirty="0"/>
          </a:p>
        </p:txBody>
      </p:sp>
      <p:sp>
        <p:nvSpPr>
          <p:cNvPr id="11" name="Alaotsikko 2"/>
          <p:cNvSpPr>
            <a:spLocks noGrp="1"/>
          </p:cNvSpPr>
          <p:nvPr userDrawn="1">
            <p:ph type="subTitle" idx="1"/>
          </p:nvPr>
        </p:nvSpPr>
        <p:spPr>
          <a:xfrm>
            <a:off x="366652" y="3507854"/>
            <a:ext cx="3485270" cy="1512168"/>
          </a:xfrm>
        </p:spPr>
        <p:txBody>
          <a:bodyPr>
            <a:normAutofit/>
          </a:bodyPr>
          <a:lstStyle>
            <a:lvl1pPr marL="0" indent="0" algn="l">
              <a:spcBef>
                <a:spcPts val="0"/>
              </a:spcBef>
              <a:buNone/>
              <a:defRPr sz="1800">
                <a:solidFill>
                  <a:srgbClr val="595965"/>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endParaRPr lang="fi-FI" dirty="0"/>
          </a:p>
        </p:txBody>
      </p:sp>
      <p:sp>
        <p:nvSpPr>
          <p:cNvPr id="32" name="Freeform 30"/>
          <p:cNvSpPr>
            <a:spLocks/>
          </p:cNvSpPr>
          <p:nvPr userDrawn="1"/>
        </p:nvSpPr>
        <p:spPr bwMode="auto">
          <a:xfrm>
            <a:off x="7331075" y="1931691"/>
            <a:ext cx="371475" cy="98425"/>
          </a:xfrm>
          <a:custGeom>
            <a:avLst/>
            <a:gdLst>
              <a:gd name="T0" fmla="*/ 87 w 2807"/>
              <a:gd name="T1" fmla="*/ 343 h 743"/>
              <a:gd name="T2" fmla="*/ 203 w 2807"/>
              <a:gd name="T3" fmla="*/ 417 h 743"/>
              <a:gd name="T4" fmla="*/ 319 w 2807"/>
              <a:gd name="T5" fmla="*/ 479 h 743"/>
              <a:gd name="T6" fmla="*/ 430 w 2807"/>
              <a:gd name="T7" fmla="*/ 529 h 743"/>
              <a:gd name="T8" fmla="*/ 603 w 2807"/>
              <a:gd name="T9" fmla="*/ 595 h 743"/>
              <a:gd name="T10" fmla="*/ 724 w 2807"/>
              <a:gd name="T11" fmla="*/ 633 h 743"/>
              <a:gd name="T12" fmla="*/ 857 w 2807"/>
              <a:gd name="T13" fmla="*/ 666 h 743"/>
              <a:gd name="T14" fmla="*/ 1001 w 2807"/>
              <a:gd name="T15" fmla="*/ 696 h 743"/>
              <a:gd name="T16" fmla="*/ 1157 w 2807"/>
              <a:gd name="T17" fmla="*/ 719 h 743"/>
              <a:gd name="T18" fmla="*/ 1324 w 2807"/>
              <a:gd name="T19" fmla="*/ 736 h 743"/>
              <a:gd name="T20" fmla="*/ 1502 w 2807"/>
              <a:gd name="T21" fmla="*/ 743 h 743"/>
              <a:gd name="T22" fmla="*/ 1689 w 2807"/>
              <a:gd name="T23" fmla="*/ 738 h 743"/>
              <a:gd name="T24" fmla="*/ 1819 w 2807"/>
              <a:gd name="T25" fmla="*/ 729 h 743"/>
              <a:gd name="T26" fmla="*/ 1999 w 2807"/>
              <a:gd name="T27" fmla="*/ 706 h 743"/>
              <a:gd name="T28" fmla="*/ 2159 w 2807"/>
              <a:gd name="T29" fmla="*/ 678 h 743"/>
              <a:gd name="T30" fmla="*/ 2302 w 2807"/>
              <a:gd name="T31" fmla="*/ 643 h 743"/>
              <a:gd name="T32" fmla="*/ 2426 w 2807"/>
              <a:gd name="T33" fmla="*/ 605 h 743"/>
              <a:gd name="T34" fmla="*/ 2533 w 2807"/>
              <a:gd name="T35" fmla="*/ 566 h 743"/>
              <a:gd name="T36" fmla="*/ 2672 w 2807"/>
              <a:gd name="T37" fmla="*/ 505 h 743"/>
              <a:gd name="T38" fmla="*/ 2773 w 2807"/>
              <a:gd name="T39" fmla="*/ 449 h 743"/>
              <a:gd name="T40" fmla="*/ 2807 w 2807"/>
              <a:gd name="T41" fmla="*/ 426 h 743"/>
              <a:gd name="T42" fmla="*/ 2745 w 2807"/>
              <a:gd name="T43" fmla="*/ 402 h 743"/>
              <a:gd name="T44" fmla="*/ 2688 w 2807"/>
              <a:gd name="T45" fmla="*/ 372 h 743"/>
              <a:gd name="T46" fmla="*/ 2586 w 2807"/>
              <a:gd name="T47" fmla="*/ 303 h 743"/>
              <a:gd name="T48" fmla="*/ 2529 w 2807"/>
              <a:gd name="T49" fmla="*/ 256 h 743"/>
              <a:gd name="T50" fmla="*/ 2518 w 2807"/>
              <a:gd name="T51" fmla="*/ 294 h 743"/>
              <a:gd name="T52" fmla="*/ 2507 w 2807"/>
              <a:gd name="T53" fmla="*/ 381 h 743"/>
              <a:gd name="T54" fmla="*/ 2499 w 2807"/>
              <a:gd name="T55" fmla="*/ 413 h 743"/>
              <a:gd name="T56" fmla="*/ 2443 w 2807"/>
              <a:gd name="T57" fmla="*/ 391 h 743"/>
              <a:gd name="T58" fmla="*/ 2423 w 2807"/>
              <a:gd name="T59" fmla="*/ 381 h 743"/>
              <a:gd name="T60" fmla="*/ 2392 w 2807"/>
              <a:gd name="T61" fmla="*/ 357 h 743"/>
              <a:gd name="T62" fmla="*/ 2361 w 2807"/>
              <a:gd name="T63" fmla="*/ 324 h 743"/>
              <a:gd name="T64" fmla="*/ 2334 w 2807"/>
              <a:gd name="T65" fmla="*/ 283 h 743"/>
              <a:gd name="T66" fmla="*/ 2316 w 2807"/>
              <a:gd name="T67" fmla="*/ 235 h 743"/>
              <a:gd name="T68" fmla="*/ 2310 w 2807"/>
              <a:gd name="T69" fmla="*/ 199 h 743"/>
              <a:gd name="T70" fmla="*/ 2252 w 2807"/>
              <a:gd name="T71" fmla="*/ 195 h 743"/>
              <a:gd name="T72" fmla="*/ 2110 w 2807"/>
              <a:gd name="T73" fmla="*/ 243 h 743"/>
              <a:gd name="T74" fmla="*/ 1984 w 2807"/>
              <a:gd name="T75" fmla="*/ 277 h 743"/>
              <a:gd name="T76" fmla="*/ 1843 w 2807"/>
              <a:gd name="T77" fmla="*/ 303 h 743"/>
              <a:gd name="T78" fmla="*/ 1697 w 2807"/>
              <a:gd name="T79" fmla="*/ 319 h 743"/>
              <a:gd name="T80" fmla="*/ 1558 w 2807"/>
              <a:gd name="T81" fmla="*/ 322 h 743"/>
              <a:gd name="T82" fmla="*/ 1293 w 2807"/>
              <a:gd name="T83" fmla="*/ 312 h 743"/>
              <a:gd name="T84" fmla="*/ 1030 w 2807"/>
              <a:gd name="T85" fmla="*/ 282 h 743"/>
              <a:gd name="T86" fmla="*/ 855 w 2807"/>
              <a:gd name="T87" fmla="*/ 251 h 743"/>
              <a:gd name="T88" fmla="*/ 725 w 2807"/>
              <a:gd name="T89" fmla="*/ 221 h 743"/>
              <a:gd name="T90" fmla="*/ 594 w 2807"/>
              <a:gd name="T91" fmla="*/ 185 h 743"/>
              <a:gd name="T92" fmla="*/ 465 w 2807"/>
              <a:gd name="T93" fmla="*/ 143 h 743"/>
              <a:gd name="T94" fmla="*/ 336 w 2807"/>
              <a:gd name="T95" fmla="*/ 94 h 743"/>
              <a:gd name="T96" fmla="*/ 251 w 2807"/>
              <a:gd name="T97" fmla="*/ 58 h 743"/>
              <a:gd name="T98" fmla="*/ 122 w 2807"/>
              <a:gd name="T99" fmla="*/ 0 h 743"/>
              <a:gd name="T100" fmla="*/ 119 w 2807"/>
              <a:gd name="T101" fmla="*/ 19 h 743"/>
              <a:gd name="T102" fmla="*/ 121 w 2807"/>
              <a:gd name="T103" fmla="*/ 51 h 743"/>
              <a:gd name="T104" fmla="*/ 136 w 2807"/>
              <a:gd name="T105" fmla="*/ 96 h 743"/>
              <a:gd name="T106" fmla="*/ 171 w 2807"/>
              <a:gd name="T107" fmla="*/ 156 h 743"/>
              <a:gd name="T108" fmla="*/ 207 w 2807"/>
              <a:gd name="T109" fmla="*/ 204 h 743"/>
              <a:gd name="T110" fmla="*/ 151 w 2807"/>
              <a:gd name="T111" fmla="*/ 199 h 743"/>
              <a:gd name="T112" fmla="*/ 98 w 2807"/>
              <a:gd name="T113" fmla="*/ 204 h 743"/>
              <a:gd name="T114" fmla="*/ 69 w 2807"/>
              <a:gd name="T115" fmla="*/ 215 h 743"/>
              <a:gd name="T116" fmla="*/ 32 w 2807"/>
              <a:gd name="T117" fmla="*/ 244 h 743"/>
              <a:gd name="T118" fmla="*/ 7 w 2807"/>
              <a:gd name="T119" fmla="*/ 272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07" h="743">
                <a:moveTo>
                  <a:pt x="0" y="284"/>
                </a:moveTo>
                <a:lnTo>
                  <a:pt x="0" y="284"/>
                </a:lnTo>
                <a:lnTo>
                  <a:pt x="87" y="343"/>
                </a:lnTo>
                <a:lnTo>
                  <a:pt x="127" y="369"/>
                </a:lnTo>
                <a:lnTo>
                  <a:pt x="166" y="394"/>
                </a:lnTo>
                <a:lnTo>
                  <a:pt x="203" y="417"/>
                </a:lnTo>
                <a:lnTo>
                  <a:pt x="241" y="438"/>
                </a:lnTo>
                <a:lnTo>
                  <a:pt x="280" y="460"/>
                </a:lnTo>
                <a:lnTo>
                  <a:pt x="319" y="479"/>
                </a:lnTo>
                <a:lnTo>
                  <a:pt x="319" y="479"/>
                </a:lnTo>
                <a:lnTo>
                  <a:pt x="372" y="504"/>
                </a:lnTo>
                <a:lnTo>
                  <a:pt x="430" y="529"/>
                </a:lnTo>
                <a:lnTo>
                  <a:pt x="495" y="556"/>
                </a:lnTo>
                <a:lnTo>
                  <a:pt x="565" y="581"/>
                </a:lnTo>
                <a:lnTo>
                  <a:pt x="603" y="595"/>
                </a:lnTo>
                <a:lnTo>
                  <a:pt x="642" y="607"/>
                </a:lnTo>
                <a:lnTo>
                  <a:pt x="682" y="620"/>
                </a:lnTo>
                <a:lnTo>
                  <a:pt x="724" y="633"/>
                </a:lnTo>
                <a:lnTo>
                  <a:pt x="767" y="644"/>
                </a:lnTo>
                <a:lnTo>
                  <a:pt x="811" y="655"/>
                </a:lnTo>
                <a:lnTo>
                  <a:pt x="857" y="666"/>
                </a:lnTo>
                <a:lnTo>
                  <a:pt x="903" y="677"/>
                </a:lnTo>
                <a:lnTo>
                  <a:pt x="952" y="687"/>
                </a:lnTo>
                <a:lnTo>
                  <a:pt x="1001" y="696"/>
                </a:lnTo>
                <a:lnTo>
                  <a:pt x="1052" y="705"/>
                </a:lnTo>
                <a:lnTo>
                  <a:pt x="1104" y="713"/>
                </a:lnTo>
                <a:lnTo>
                  <a:pt x="1157" y="719"/>
                </a:lnTo>
                <a:lnTo>
                  <a:pt x="1212" y="727"/>
                </a:lnTo>
                <a:lnTo>
                  <a:pt x="1267" y="732"/>
                </a:lnTo>
                <a:lnTo>
                  <a:pt x="1324" y="736"/>
                </a:lnTo>
                <a:lnTo>
                  <a:pt x="1382" y="739"/>
                </a:lnTo>
                <a:lnTo>
                  <a:pt x="1442" y="741"/>
                </a:lnTo>
                <a:lnTo>
                  <a:pt x="1502" y="743"/>
                </a:lnTo>
                <a:lnTo>
                  <a:pt x="1563" y="742"/>
                </a:lnTo>
                <a:lnTo>
                  <a:pt x="1626" y="741"/>
                </a:lnTo>
                <a:lnTo>
                  <a:pt x="1689" y="738"/>
                </a:lnTo>
                <a:lnTo>
                  <a:pt x="1754" y="734"/>
                </a:lnTo>
                <a:lnTo>
                  <a:pt x="1819" y="729"/>
                </a:lnTo>
                <a:lnTo>
                  <a:pt x="1819" y="729"/>
                </a:lnTo>
                <a:lnTo>
                  <a:pt x="1881" y="723"/>
                </a:lnTo>
                <a:lnTo>
                  <a:pt x="1941" y="714"/>
                </a:lnTo>
                <a:lnTo>
                  <a:pt x="1999" y="706"/>
                </a:lnTo>
                <a:lnTo>
                  <a:pt x="2054" y="697"/>
                </a:lnTo>
                <a:lnTo>
                  <a:pt x="2108" y="688"/>
                </a:lnTo>
                <a:lnTo>
                  <a:pt x="2159" y="678"/>
                </a:lnTo>
                <a:lnTo>
                  <a:pt x="2209" y="666"/>
                </a:lnTo>
                <a:lnTo>
                  <a:pt x="2257" y="655"/>
                </a:lnTo>
                <a:lnTo>
                  <a:pt x="2302" y="643"/>
                </a:lnTo>
                <a:lnTo>
                  <a:pt x="2346" y="631"/>
                </a:lnTo>
                <a:lnTo>
                  <a:pt x="2387" y="618"/>
                </a:lnTo>
                <a:lnTo>
                  <a:pt x="2426" y="605"/>
                </a:lnTo>
                <a:lnTo>
                  <a:pt x="2464" y="593"/>
                </a:lnTo>
                <a:lnTo>
                  <a:pt x="2500" y="579"/>
                </a:lnTo>
                <a:lnTo>
                  <a:pt x="2533" y="566"/>
                </a:lnTo>
                <a:lnTo>
                  <a:pt x="2564" y="554"/>
                </a:lnTo>
                <a:lnTo>
                  <a:pt x="2622" y="528"/>
                </a:lnTo>
                <a:lnTo>
                  <a:pt x="2672" y="505"/>
                </a:lnTo>
                <a:lnTo>
                  <a:pt x="2713" y="483"/>
                </a:lnTo>
                <a:lnTo>
                  <a:pt x="2747" y="465"/>
                </a:lnTo>
                <a:lnTo>
                  <a:pt x="2773" y="449"/>
                </a:lnTo>
                <a:lnTo>
                  <a:pt x="2792" y="436"/>
                </a:lnTo>
                <a:lnTo>
                  <a:pt x="2807" y="426"/>
                </a:lnTo>
                <a:lnTo>
                  <a:pt x="2807" y="426"/>
                </a:lnTo>
                <a:lnTo>
                  <a:pt x="2786" y="419"/>
                </a:lnTo>
                <a:lnTo>
                  <a:pt x="2766" y="410"/>
                </a:lnTo>
                <a:lnTo>
                  <a:pt x="2745" y="402"/>
                </a:lnTo>
                <a:lnTo>
                  <a:pt x="2726" y="391"/>
                </a:lnTo>
                <a:lnTo>
                  <a:pt x="2706" y="382"/>
                </a:lnTo>
                <a:lnTo>
                  <a:pt x="2688" y="372"/>
                </a:lnTo>
                <a:lnTo>
                  <a:pt x="2651" y="349"/>
                </a:lnTo>
                <a:lnTo>
                  <a:pt x="2618" y="327"/>
                </a:lnTo>
                <a:lnTo>
                  <a:pt x="2586" y="303"/>
                </a:lnTo>
                <a:lnTo>
                  <a:pt x="2556" y="280"/>
                </a:lnTo>
                <a:lnTo>
                  <a:pt x="2529" y="256"/>
                </a:lnTo>
                <a:lnTo>
                  <a:pt x="2529" y="256"/>
                </a:lnTo>
                <a:lnTo>
                  <a:pt x="2524" y="266"/>
                </a:lnTo>
                <a:lnTo>
                  <a:pt x="2521" y="279"/>
                </a:lnTo>
                <a:lnTo>
                  <a:pt x="2518" y="294"/>
                </a:lnTo>
                <a:lnTo>
                  <a:pt x="2515" y="312"/>
                </a:lnTo>
                <a:lnTo>
                  <a:pt x="2515" y="312"/>
                </a:lnTo>
                <a:lnTo>
                  <a:pt x="2507" y="381"/>
                </a:lnTo>
                <a:lnTo>
                  <a:pt x="2503" y="414"/>
                </a:lnTo>
                <a:lnTo>
                  <a:pt x="2503" y="414"/>
                </a:lnTo>
                <a:lnTo>
                  <a:pt x="2499" y="413"/>
                </a:lnTo>
                <a:lnTo>
                  <a:pt x="2489" y="410"/>
                </a:lnTo>
                <a:lnTo>
                  <a:pt x="2470" y="403"/>
                </a:lnTo>
                <a:lnTo>
                  <a:pt x="2443" y="391"/>
                </a:lnTo>
                <a:lnTo>
                  <a:pt x="2443" y="391"/>
                </a:lnTo>
                <a:lnTo>
                  <a:pt x="2433" y="387"/>
                </a:lnTo>
                <a:lnTo>
                  <a:pt x="2423" y="381"/>
                </a:lnTo>
                <a:lnTo>
                  <a:pt x="2413" y="374"/>
                </a:lnTo>
                <a:lnTo>
                  <a:pt x="2403" y="366"/>
                </a:lnTo>
                <a:lnTo>
                  <a:pt x="2392" y="357"/>
                </a:lnTo>
                <a:lnTo>
                  <a:pt x="2381" y="347"/>
                </a:lnTo>
                <a:lnTo>
                  <a:pt x="2371" y="336"/>
                </a:lnTo>
                <a:lnTo>
                  <a:pt x="2361" y="324"/>
                </a:lnTo>
                <a:lnTo>
                  <a:pt x="2351" y="312"/>
                </a:lnTo>
                <a:lnTo>
                  <a:pt x="2342" y="297"/>
                </a:lnTo>
                <a:lnTo>
                  <a:pt x="2334" y="283"/>
                </a:lnTo>
                <a:lnTo>
                  <a:pt x="2326" y="268"/>
                </a:lnTo>
                <a:lnTo>
                  <a:pt x="2320" y="251"/>
                </a:lnTo>
                <a:lnTo>
                  <a:pt x="2316" y="235"/>
                </a:lnTo>
                <a:lnTo>
                  <a:pt x="2312" y="216"/>
                </a:lnTo>
                <a:lnTo>
                  <a:pt x="2310" y="199"/>
                </a:lnTo>
                <a:lnTo>
                  <a:pt x="2310" y="199"/>
                </a:lnTo>
                <a:lnTo>
                  <a:pt x="2309" y="174"/>
                </a:lnTo>
                <a:lnTo>
                  <a:pt x="2309" y="174"/>
                </a:lnTo>
                <a:lnTo>
                  <a:pt x="2252" y="195"/>
                </a:lnTo>
                <a:lnTo>
                  <a:pt x="2186" y="218"/>
                </a:lnTo>
                <a:lnTo>
                  <a:pt x="2149" y="231"/>
                </a:lnTo>
                <a:lnTo>
                  <a:pt x="2110" y="243"/>
                </a:lnTo>
                <a:lnTo>
                  <a:pt x="2069" y="254"/>
                </a:lnTo>
                <a:lnTo>
                  <a:pt x="2028" y="266"/>
                </a:lnTo>
                <a:lnTo>
                  <a:pt x="1984" y="277"/>
                </a:lnTo>
                <a:lnTo>
                  <a:pt x="1938" y="286"/>
                </a:lnTo>
                <a:lnTo>
                  <a:pt x="1892" y="295"/>
                </a:lnTo>
                <a:lnTo>
                  <a:pt x="1843" y="303"/>
                </a:lnTo>
                <a:lnTo>
                  <a:pt x="1795" y="311"/>
                </a:lnTo>
                <a:lnTo>
                  <a:pt x="1746" y="316"/>
                </a:lnTo>
                <a:lnTo>
                  <a:pt x="1697" y="319"/>
                </a:lnTo>
                <a:lnTo>
                  <a:pt x="1647" y="321"/>
                </a:lnTo>
                <a:lnTo>
                  <a:pt x="1647" y="321"/>
                </a:lnTo>
                <a:lnTo>
                  <a:pt x="1558" y="322"/>
                </a:lnTo>
                <a:lnTo>
                  <a:pt x="1470" y="321"/>
                </a:lnTo>
                <a:lnTo>
                  <a:pt x="1382" y="317"/>
                </a:lnTo>
                <a:lnTo>
                  <a:pt x="1293" y="312"/>
                </a:lnTo>
                <a:lnTo>
                  <a:pt x="1205" y="304"/>
                </a:lnTo>
                <a:lnTo>
                  <a:pt x="1118" y="294"/>
                </a:lnTo>
                <a:lnTo>
                  <a:pt x="1030" y="282"/>
                </a:lnTo>
                <a:lnTo>
                  <a:pt x="943" y="268"/>
                </a:lnTo>
                <a:lnTo>
                  <a:pt x="899" y="259"/>
                </a:lnTo>
                <a:lnTo>
                  <a:pt x="855" y="251"/>
                </a:lnTo>
                <a:lnTo>
                  <a:pt x="812" y="241"/>
                </a:lnTo>
                <a:lnTo>
                  <a:pt x="768" y="231"/>
                </a:lnTo>
                <a:lnTo>
                  <a:pt x="725" y="221"/>
                </a:lnTo>
                <a:lnTo>
                  <a:pt x="681" y="209"/>
                </a:lnTo>
                <a:lnTo>
                  <a:pt x="638" y="197"/>
                </a:lnTo>
                <a:lnTo>
                  <a:pt x="594" y="185"/>
                </a:lnTo>
                <a:lnTo>
                  <a:pt x="551" y="171"/>
                </a:lnTo>
                <a:lnTo>
                  <a:pt x="508" y="157"/>
                </a:lnTo>
                <a:lnTo>
                  <a:pt x="465" y="143"/>
                </a:lnTo>
                <a:lnTo>
                  <a:pt x="422" y="127"/>
                </a:lnTo>
                <a:lnTo>
                  <a:pt x="379" y="111"/>
                </a:lnTo>
                <a:lnTo>
                  <a:pt x="336" y="94"/>
                </a:lnTo>
                <a:lnTo>
                  <a:pt x="294" y="76"/>
                </a:lnTo>
                <a:lnTo>
                  <a:pt x="251" y="58"/>
                </a:lnTo>
                <a:lnTo>
                  <a:pt x="251" y="58"/>
                </a:lnTo>
                <a:lnTo>
                  <a:pt x="165" y="19"/>
                </a:lnTo>
                <a:lnTo>
                  <a:pt x="122" y="0"/>
                </a:lnTo>
                <a:lnTo>
                  <a:pt x="122" y="0"/>
                </a:lnTo>
                <a:lnTo>
                  <a:pt x="121" y="3"/>
                </a:lnTo>
                <a:lnTo>
                  <a:pt x="119" y="12"/>
                </a:lnTo>
                <a:lnTo>
                  <a:pt x="119" y="19"/>
                </a:lnTo>
                <a:lnTo>
                  <a:pt x="119" y="28"/>
                </a:lnTo>
                <a:lnTo>
                  <a:pt x="119" y="39"/>
                </a:lnTo>
                <a:lnTo>
                  <a:pt x="121" y="51"/>
                </a:lnTo>
                <a:lnTo>
                  <a:pt x="125" y="64"/>
                </a:lnTo>
                <a:lnTo>
                  <a:pt x="129" y="79"/>
                </a:lnTo>
                <a:lnTo>
                  <a:pt x="136" y="96"/>
                </a:lnTo>
                <a:lnTo>
                  <a:pt x="145" y="114"/>
                </a:lnTo>
                <a:lnTo>
                  <a:pt x="156" y="135"/>
                </a:lnTo>
                <a:lnTo>
                  <a:pt x="171" y="156"/>
                </a:lnTo>
                <a:lnTo>
                  <a:pt x="187" y="180"/>
                </a:lnTo>
                <a:lnTo>
                  <a:pt x="207" y="204"/>
                </a:lnTo>
                <a:lnTo>
                  <a:pt x="207" y="204"/>
                </a:lnTo>
                <a:lnTo>
                  <a:pt x="189" y="201"/>
                </a:lnTo>
                <a:lnTo>
                  <a:pt x="170" y="199"/>
                </a:lnTo>
                <a:lnTo>
                  <a:pt x="151" y="199"/>
                </a:lnTo>
                <a:lnTo>
                  <a:pt x="132" y="199"/>
                </a:lnTo>
                <a:lnTo>
                  <a:pt x="114" y="201"/>
                </a:lnTo>
                <a:lnTo>
                  <a:pt x="98" y="204"/>
                </a:lnTo>
                <a:lnTo>
                  <a:pt x="83" y="209"/>
                </a:lnTo>
                <a:lnTo>
                  <a:pt x="69" y="215"/>
                </a:lnTo>
                <a:lnTo>
                  <a:pt x="69" y="215"/>
                </a:lnTo>
                <a:lnTo>
                  <a:pt x="55" y="224"/>
                </a:lnTo>
                <a:lnTo>
                  <a:pt x="42" y="234"/>
                </a:lnTo>
                <a:lnTo>
                  <a:pt x="32" y="244"/>
                </a:lnTo>
                <a:lnTo>
                  <a:pt x="21" y="253"/>
                </a:lnTo>
                <a:lnTo>
                  <a:pt x="13" y="262"/>
                </a:lnTo>
                <a:lnTo>
                  <a:pt x="7" y="272"/>
                </a:lnTo>
                <a:lnTo>
                  <a:pt x="0" y="28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3" name="Freeform 31"/>
          <p:cNvSpPr>
            <a:spLocks/>
          </p:cNvSpPr>
          <p:nvPr userDrawn="1"/>
        </p:nvSpPr>
        <p:spPr bwMode="auto">
          <a:xfrm>
            <a:off x="7248526" y="1618954"/>
            <a:ext cx="377825" cy="271463"/>
          </a:xfrm>
          <a:custGeom>
            <a:avLst/>
            <a:gdLst>
              <a:gd name="T0" fmla="*/ 2491 w 2863"/>
              <a:gd name="T1" fmla="*/ 103 h 2054"/>
              <a:gd name="T2" fmla="*/ 2575 w 2863"/>
              <a:gd name="T3" fmla="*/ 23 h 2054"/>
              <a:gd name="T4" fmla="*/ 2196 w 2863"/>
              <a:gd name="T5" fmla="*/ 132 h 2054"/>
              <a:gd name="T6" fmla="*/ 1671 w 2863"/>
              <a:gd name="T7" fmla="*/ 429 h 2054"/>
              <a:gd name="T8" fmla="*/ 1528 w 2863"/>
              <a:gd name="T9" fmla="*/ 462 h 2054"/>
              <a:gd name="T10" fmla="*/ 1416 w 2863"/>
              <a:gd name="T11" fmla="*/ 568 h 2054"/>
              <a:gd name="T12" fmla="*/ 1409 w 2863"/>
              <a:gd name="T13" fmla="*/ 634 h 2054"/>
              <a:gd name="T14" fmla="*/ 1479 w 2863"/>
              <a:gd name="T15" fmla="*/ 748 h 2054"/>
              <a:gd name="T16" fmla="*/ 1586 w 2863"/>
              <a:gd name="T17" fmla="*/ 787 h 2054"/>
              <a:gd name="T18" fmla="*/ 1476 w 2863"/>
              <a:gd name="T19" fmla="*/ 974 h 2054"/>
              <a:gd name="T20" fmla="*/ 1133 w 2863"/>
              <a:gd name="T21" fmla="*/ 1199 h 2054"/>
              <a:gd name="T22" fmla="*/ 799 w 2863"/>
              <a:gd name="T23" fmla="*/ 1254 h 2054"/>
              <a:gd name="T24" fmla="*/ 634 w 2863"/>
              <a:gd name="T25" fmla="*/ 1102 h 2054"/>
              <a:gd name="T26" fmla="*/ 539 w 2863"/>
              <a:gd name="T27" fmla="*/ 1015 h 2054"/>
              <a:gd name="T28" fmla="*/ 406 w 2863"/>
              <a:gd name="T29" fmla="*/ 1023 h 2054"/>
              <a:gd name="T30" fmla="*/ 231 w 2863"/>
              <a:gd name="T31" fmla="*/ 1090 h 2054"/>
              <a:gd name="T32" fmla="*/ 382 w 2863"/>
              <a:gd name="T33" fmla="*/ 1121 h 2054"/>
              <a:gd name="T34" fmla="*/ 351 w 2863"/>
              <a:gd name="T35" fmla="*/ 1168 h 2054"/>
              <a:gd name="T36" fmla="*/ 418 w 2863"/>
              <a:gd name="T37" fmla="*/ 1270 h 2054"/>
              <a:gd name="T38" fmla="*/ 608 w 2863"/>
              <a:gd name="T39" fmla="*/ 1387 h 2054"/>
              <a:gd name="T40" fmla="*/ 314 w 2863"/>
              <a:gd name="T41" fmla="*/ 1296 h 2054"/>
              <a:gd name="T42" fmla="*/ 234 w 2863"/>
              <a:gd name="T43" fmla="*/ 1324 h 2054"/>
              <a:gd name="T44" fmla="*/ 77 w 2863"/>
              <a:gd name="T45" fmla="*/ 1367 h 2054"/>
              <a:gd name="T46" fmla="*/ 0 w 2863"/>
              <a:gd name="T47" fmla="*/ 1480 h 2054"/>
              <a:gd name="T48" fmla="*/ 63 w 2863"/>
              <a:gd name="T49" fmla="*/ 1501 h 2054"/>
              <a:gd name="T50" fmla="*/ 166 w 2863"/>
              <a:gd name="T51" fmla="*/ 1461 h 2054"/>
              <a:gd name="T52" fmla="*/ 187 w 2863"/>
              <a:gd name="T53" fmla="*/ 1573 h 2054"/>
              <a:gd name="T54" fmla="*/ 354 w 2863"/>
              <a:gd name="T55" fmla="*/ 1597 h 2054"/>
              <a:gd name="T56" fmla="*/ 616 w 2863"/>
              <a:gd name="T57" fmla="*/ 1588 h 2054"/>
              <a:gd name="T58" fmla="*/ 382 w 2863"/>
              <a:gd name="T59" fmla="*/ 1636 h 2054"/>
              <a:gd name="T60" fmla="*/ 295 w 2863"/>
              <a:gd name="T61" fmla="*/ 1696 h 2054"/>
              <a:gd name="T62" fmla="*/ 254 w 2863"/>
              <a:gd name="T63" fmla="*/ 1795 h 2054"/>
              <a:gd name="T64" fmla="*/ 239 w 2863"/>
              <a:gd name="T65" fmla="*/ 1953 h 2054"/>
              <a:gd name="T66" fmla="*/ 335 w 2863"/>
              <a:gd name="T67" fmla="*/ 2045 h 2054"/>
              <a:gd name="T68" fmla="*/ 341 w 2863"/>
              <a:gd name="T69" fmla="*/ 1906 h 2054"/>
              <a:gd name="T70" fmla="*/ 417 w 2863"/>
              <a:gd name="T71" fmla="*/ 1946 h 2054"/>
              <a:gd name="T72" fmla="*/ 509 w 2863"/>
              <a:gd name="T73" fmla="*/ 1935 h 2054"/>
              <a:gd name="T74" fmla="*/ 732 w 2863"/>
              <a:gd name="T75" fmla="*/ 1733 h 2054"/>
              <a:gd name="T76" fmla="*/ 874 w 2863"/>
              <a:gd name="T77" fmla="*/ 1691 h 2054"/>
              <a:gd name="T78" fmla="*/ 870 w 2863"/>
              <a:gd name="T79" fmla="*/ 1786 h 2054"/>
              <a:gd name="T80" fmla="*/ 945 w 2863"/>
              <a:gd name="T81" fmla="*/ 1834 h 2054"/>
              <a:gd name="T82" fmla="*/ 875 w 2863"/>
              <a:gd name="T83" fmla="*/ 1948 h 2054"/>
              <a:gd name="T84" fmla="*/ 1004 w 2863"/>
              <a:gd name="T85" fmla="*/ 1919 h 2054"/>
              <a:gd name="T86" fmla="*/ 1100 w 2863"/>
              <a:gd name="T87" fmla="*/ 1787 h 2054"/>
              <a:gd name="T88" fmla="*/ 1159 w 2863"/>
              <a:gd name="T89" fmla="*/ 1734 h 2054"/>
              <a:gd name="T90" fmla="*/ 1183 w 2863"/>
              <a:gd name="T91" fmla="*/ 1628 h 2054"/>
              <a:gd name="T92" fmla="*/ 1338 w 2863"/>
              <a:gd name="T93" fmla="*/ 1564 h 2054"/>
              <a:gd name="T94" fmla="*/ 1370 w 2863"/>
              <a:gd name="T95" fmla="*/ 1465 h 2054"/>
              <a:gd name="T96" fmla="*/ 1461 w 2863"/>
              <a:gd name="T97" fmla="*/ 1462 h 2054"/>
              <a:gd name="T98" fmla="*/ 1684 w 2863"/>
              <a:gd name="T99" fmla="*/ 1556 h 2054"/>
              <a:gd name="T100" fmla="*/ 1888 w 2863"/>
              <a:gd name="T101" fmla="*/ 1440 h 2054"/>
              <a:gd name="T102" fmla="*/ 1799 w 2863"/>
              <a:gd name="T103" fmla="*/ 1308 h 2054"/>
              <a:gd name="T104" fmla="*/ 1857 w 2863"/>
              <a:gd name="T105" fmla="*/ 1327 h 2054"/>
              <a:gd name="T106" fmla="*/ 2183 w 2863"/>
              <a:gd name="T107" fmla="*/ 1273 h 2054"/>
              <a:gd name="T108" fmla="*/ 2142 w 2863"/>
              <a:gd name="T109" fmla="*/ 1164 h 2054"/>
              <a:gd name="T110" fmla="*/ 2112 w 2863"/>
              <a:gd name="T111" fmla="*/ 1069 h 2054"/>
              <a:gd name="T112" fmla="*/ 2121 w 2863"/>
              <a:gd name="T113" fmla="*/ 977 h 2054"/>
              <a:gd name="T114" fmla="*/ 2085 w 2863"/>
              <a:gd name="T115" fmla="*/ 807 h 2054"/>
              <a:gd name="T116" fmla="*/ 2859 w 2863"/>
              <a:gd name="T117" fmla="*/ 408 h 2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63" h="2054">
                <a:moveTo>
                  <a:pt x="2759" y="252"/>
                </a:moveTo>
                <a:lnTo>
                  <a:pt x="2759" y="252"/>
                </a:lnTo>
                <a:lnTo>
                  <a:pt x="2742" y="239"/>
                </a:lnTo>
                <a:lnTo>
                  <a:pt x="2725" y="227"/>
                </a:lnTo>
                <a:lnTo>
                  <a:pt x="2708" y="214"/>
                </a:lnTo>
                <a:lnTo>
                  <a:pt x="2690" y="203"/>
                </a:lnTo>
                <a:lnTo>
                  <a:pt x="2655" y="184"/>
                </a:lnTo>
                <a:lnTo>
                  <a:pt x="2621" y="165"/>
                </a:lnTo>
                <a:lnTo>
                  <a:pt x="2586" y="148"/>
                </a:lnTo>
                <a:lnTo>
                  <a:pt x="2553" y="133"/>
                </a:lnTo>
                <a:lnTo>
                  <a:pt x="2522" y="118"/>
                </a:lnTo>
                <a:lnTo>
                  <a:pt x="2491" y="103"/>
                </a:lnTo>
                <a:lnTo>
                  <a:pt x="2491" y="103"/>
                </a:lnTo>
                <a:lnTo>
                  <a:pt x="2507" y="93"/>
                </a:lnTo>
                <a:lnTo>
                  <a:pt x="2523" y="82"/>
                </a:lnTo>
                <a:lnTo>
                  <a:pt x="2540" y="68"/>
                </a:lnTo>
                <a:lnTo>
                  <a:pt x="2556" y="54"/>
                </a:lnTo>
                <a:lnTo>
                  <a:pt x="2570" y="41"/>
                </a:lnTo>
                <a:lnTo>
                  <a:pt x="2574" y="35"/>
                </a:lnTo>
                <a:lnTo>
                  <a:pt x="2577" y="30"/>
                </a:lnTo>
                <a:lnTo>
                  <a:pt x="2577" y="26"/>
                </a:lnTo>
                <a:lnTo>
                  <a:pt x="2577" y="24"/>
                </a:lnTo>
                <a:lnTo>
                  <a:pt x="2575" y="23"/>
                </a:lnTo>
                <a:lnTo>
                  <a:pt x="2575" y="23"/>
                </a:lnTo>
                <a:lnTo>
                  <a:pt x="2562" y="16"/>
                </a:lnTo>
                <a:lnTo>
                  <a:pt x="2550" y="10"/>
                </a:lnTo>
                <a:lnTo>
                  <a:pt x="2538" y="6"/>
                </a:lnTo>
                <a:lnTo>
                  <a:pt x="2527" y="4"/>
                </a:lnTo>
                <a:lnTo>
                  <a:pt x="2508" y="1"/>
                </a:lnTo>
                <a:lnTo>
                  <a:pt x="2501" y="0"/>
                </a:lnTo>
                <a:lnTo>
                  <a:pt x="2501" y="0"/>
                </a:lnTo>
                <a:lnTo>
                  <a:pt x="2440" y="24"/>
                </a:lnTo>
                <a:lnTo>
                  <a:pt x="2377" y="50"/>
                </a:lnTo>
                <a:lnTo>
                  <a:pt x="2317" y="76"/>
                </a:lnTo>
                <a:lnTo>
                  <a:pt x="2256" y="103"/>
                </a:lnTo>
                <a:lnTo>
                  <a:pt x="2196" y="132"/>
                </a:lnTo>
                <a:lnTo>
                  <a:pt x="2138" y="160"/>
                </a:lnTo>
                <a:lnTo>
                  <a:pt x="2081" y="189"/>
                </a:lnTo>
                <a:lnTo>
                  <a:pt x="2026" y="219"/>
                </a:lnTo>
                <a:lnTo>
                  <a:pt x="1972" y="247"/>
                </a:lnTo>
                <a:lnTo>
                  <a:pt x="1921" y="276"/>
                </a:lnTo>
                <a:lnTo>
                  <a:pt x="1872" y="303"/>
                </a:lnTo>
                <a:lnTo>
                  <a:pt x="1825" y="331"/>
                </a:lnTo>
                <a:lnTo>
                  <a:pt x="1782" y="358"/>
                </a:lnTo>
                <a:lnTo>
                  <a:pt x="1741" y="383"/>
                </a:lnTo>
                <a:lnTo>
                  <a:pt x="1705" y="407"/>
                </a:lnTo>
                <a:lnTo>
                  <a:pt x="1671" y="429"/>
                </a:lnTo>
                <a:lnTo>
                  <a:pt x="1671" y="429"/>
                </a:lnTo>
                <a:lnTo>
                  <a:pt x="1666" y="432"/>
                </a:lnTo>
                <a:lnTo>
                  <a:pt x="1666" y="432"/>
                </a:lnTo>
                <a:lnTo>
                  <a:pt x="1654" y="439"/>
                </a:lnTo>
                <a:lnTo>
                  <a:pt x="1643" y="446"/>
                </a:lnTo>
                <a:lnTo>
                  <a:pt x="1632" y="451"/>
                </a:lnTo>
                <a:lnTo>
                  <a:pt x="1620" y="455"/>
                </a:lnTo>
                <a:lnTo>
                  <a:pt x="1608" y="458"/>
                </a:lnTo>
                <a:lnTo>
                  <a:pt x="1597" y="461"/>
                </a:lnTo>
                <a:lnTo>
                  <a:pt x="1585" y="462"/>
                </a:lnTo>
                <a:lnTo>
                  <a:pt x="1574" y="463"/>
                </a:lnTo>
                <a:lnTo>
                  <a:pt x="1550" y="464"/>
                </a:lnTo>
                <a:lnTo>
                  <a:pt x="1528" y="462"/>
                </a:lnTo>
                <a:lnTo>
                  <a:pt x="1505" y="459"/>
                </a:lnTo>
                <a:lnTo>
                  <a:pt x="1485" y="454"/>
                </a:lnTo>
                <a:lnTo>
                  <a:pt x="1465" y="449"/>
                </a:lnTo>
                <a:lnTo>
                  <a:pt x="1448" y="442"/>
                </a:lnTo>
                <a:lnTo>
                  <a:pt x="1433" y="436"/>
                </a:lnTo>
                <a:lnTo>
                  <a:pt x="1418" y="430"/>
                </a:lnTo>
                <a:lnTo>
                  <a:pt x="1399" y="420"/>
                </a:lnTo>
                <a:lnTo>
                  <a:pt x="1393" y="416"/>
                </a:lnTo>
                <a:lnTo>
                  <a:pt x="1372" y="544"/>
                </a:lnTo>
                <a:lnTo>
                  <a:pt x="1372" y="544"/>
                </a:lnTo>
                <a:lnTo>
                  <a:pt x="1395" y="557"/>
                </a:lnTo>
                <a:lnTo>
                  <a:pt x="1416" y="568"/>
                </a:lnTo>
                <a:lnTo>
                  <a:pt x="1437" y="577"/>
                </a:lnTo>
                <a:lnTo>
                  <a:pt x="1454" y="586"/>
                </a:lnTo>
                <a:lnTo>
                  <a:pt x="1470" y="592"/>
                </a:lnTo>
                <a:lnTo>
                  <a:pt x="1486" y="596"/>
                </a:lnTo>
                <a:lnTo>
                  <a:pt x="1499" y="600"/>
                </a:lnTo>
                <a:lnTo>
                  <a:pt x="1510" y="602"/>
                </a:lnTo>
                <a:lnTo>
                  <a:pt x="1510" y="602"/>
                </a:lnTo>
                <a:lnTo>
                  <a:pt x="1491" y="606"/>
                </a:lnTo>
                <a:lnTo>
                  <a:pt x="1470" y="611"/>
                </a:lnTo>
                <a:lnTo>
                  <a:pt x="1450" y="617"/>
                </a:lnTo>
                <a:lnTo>
                  <a:pt x="1428" y="625"/>
                </a:lnTo>
                <a:lnTo>
                  <a:pt x="1409" y="634"/>
                </a:lnTo>
                <a:lnTo>
                  <a:pt x="1391" y="645"/>
                </a:lnTo>
                <a:lnTo>
                  <a:pt x="1381" y="650"/>
                </a:lnTo>
                <a:lnTo>
                  <a:pt x="1373" y="656"/>
                </a:lnTo>
                <a:lnTo>
                  <a:pt x="1366" y="663"/>
                </a:lnTo>
                <a:lnTo>
                  <a:pt x="1360" y="670"/>
                </a:lnTo>
                <a:lnTo>
                  <a:pt x="1404" y="788"/>
                </a:lnTo>
                <a:lnTo>
                  <a:pt x="1404" y="788"/>
                </a:lnTo>
                <a:lnTo>
                  <a:pt x="1416" y="779"/>
                </a:lnTo>
                <a:lnTo>
                  <a:pt x="1432" y="770"/>
                </a:lnTo>
                <a:lnTo>
                  <a:pt x="1453" y="758"/>
                </a:lnTo>
                <a:lnTo>
                  <a:pt x="1465" y="753"/>
                </a:lnTo>
                <a:lnTo>
                  <a:pt x="1479" y="748"/>
                </a:lnTo>
                <a:lnTo>
                  <a:pt x="1494" y="743"/>
                </a:lnTo>
                <a:lnTo>
                  <a:pt x="1509" y="738"/>
                </a:lnTo>
                <a:lnTo>
                  <a:pt x="1527" y="734"/>
                </a:lnTo>
                <a:lnTo>
                  <a:pt x="1545" y="731"/>
                </a:lnTo>
                <a:lnTo>
                  <a:pt x="1564" y="729"/>
                </a:lnTo>
                <a:lnTo>
                  <a:pt x="1585" y="728"/>
                </a:lnTo>
                <a:lnTo>
                  <a:pt x="1585" y="728"/>
                </a:lnTo>
                <a:lnTo>
                  <a:pt x="1588" y="744"/>
                </a:lnTo>
                <a:lnTo>
                  <a:pt x="1588" y="744"/>
                </a:lnTo>
                <a:lnTo>
                  <a:pt x="1588" y="758"/>
                </a:lnTo>
                <a:lnTo>
                  <a:pt x="1588" y="773"/>
                </a:lnTo>
                <a:lnTo>
                  <a:pt x="1586" y="787"/>
                </a:lnTo>
                <a:lnTo>
                  <a:pt x="1583" y="802"/>
                </a:lnTo>
                <a:lnTo>
                  <a:pt x="1578" y="818"/>
                </a:lnTo>
                <a:lnTo>
                  <a:pt x="1573" y="833"/>
                </a:lnTo>
                <a:lnTo>
                  <a:pt x="1565" y="848"/>
                </a:lnTo>
                <a:lnTo>
                  <a:pt x="1557" y="864"/>
                </a:lnTo>
                <a:lnTo>
                  <a:pt x="1549" y="880"/>
                </a:lnTo>
                <a:lnTo>
                  <a:pt x="1539" y="895"/>
                </a:lnTo>
                <a:lnTo>
                  <a:pt x="1528" y="912"/>
                </a:lnTo>
                <a:lnTo>
                  <a:pt x="1516" y="927"/>
                </a:lnTo>
                <a:lnTo>
                  <a:pt x="1503" y="943"/>
                </a:lnTo>
                <a:lnTo>
                  <a:pt x="1490" y="959"/>
                </a:lnTo>
                <a:lnTo>
                  <a:pt x="1476" y="974"/>
                </a:lnTo>
                <a:lnTo>
                  <a:pt x="1461" y="989"/>
                </a:lnTo>
                <a:lnTo>
                  <a:pt x="1429" y="1020"/>
                </a:lnTo>
                <a:lnTo>
                  <a:pt x="1396" y="1049"/>
                </a:lnTo>
                <a:lnTo>
                  <a:pt x="1360" y="1076"/>
                </a:lnTo>
                <a:lnTo>
                  <a:pt x="1323" y="1102"/>
                </a:lnTo>
                <a:lnTo>
                  <a:pt x="1285" y="1126"/>
                </a:lnTo>
                <a:lnTo>
                  <a:pt x="1247" y="1148"/>
                </a:lnTo>
                <a:lnTo>
                  <a:pt x="1209" y="1167"/>
                </a:lnTo>
                <a:lnTo>
                  <a:pt x="1189" y="1177"/>
                </a:lnTo>
                <a:lnTo>
                  <a:pt x="1171" y="1185"/>
                </a:lnTo>
                <a:lnTo>
                  <a:pt x="1171" y="1185"/>
                </a:lnTo>
                <a:lnTo>
                  <a:pt x="1133" y="1199"/>
                </a:lnTo>
                <a:lnTo>
                  <a:pt x="1095" y="1211"/>
                </a:lnTo>
                <a:lnTo>
                  <a:pt x="1060" y="1223"/>
                </a:lnTo>
                <a:lnTo>
                  <a:pt x="1026" y="1232"/>
                </a:lnTo>
                <a:lnTo>
                  <a:pt x="993" y="1240"/>
                </a:lnTo>
                <a:lnTo>
                  <a:pt x="962" y="1246"/>
                </a:lnTo>
                <a:lnTo>
                  <a:pt x="933" y="1250"/>
                </a:lnTo>
                <a:lnTo>
                  <a:pt x="905" y="1254"/>
                </a:lnTo>
                <a:lnTo>
                  <a:pt x="879" y="1256"/>
                </a:lnTo>
                <a:lnTo>
                  <a:pt x="856" y="1257"/>
                </a:lnTo>
                <a:lnTo>
                  <a:pt x="834" y="1257"/>
                </a:lnTo>
                <a:lnTo>
                  <a:pt x="815" y="1256"/>
                </a:lnTo>
                <a:lnTo>
                  <a:pt x="799" y="1254"/>
                </a:lnTo>
                <a:lnTo>
                  <a:pt x="785" y="1251"/>
                </a:lnTo>
                <a:lnTo>
                  <a:pt x="774" y="1247"/>
                </a:lnTo>
                <a:lnTo>
                  <a:pt x="765" y="1243"/>
                </a:lnTo>
                <a:lnTo>
                  <a:pt x="765" y="1243"/>
                </a:lnTo>
                <a:lnTo>
                  <a:pt x="741" y="1227"/>
                </a:lnTo>
                <a:lnTo>
                  <a:pt x="720" y="1209"/>
                </a:lnTo>
                <a:lnTo>
                  <a:pt x="701" y="1191"/>
                </a:lnTo>
                <a:lnTo>
                  <a:pt x="685" y="1172"/>
                </a:lnTo>
                <a:lnTo>
                  <a:pt x="670" y="1155"/>
                </a:lnTo>
                <a:lnTo>
                  <a:pt x="656" y="1137"/>
                </a:lnTo>
                <a:lnTo>
                  <a:pt x="645" y="1119"/>
                </a:lnTo>
                <a:lnTo>
                  <a:pt x="634" y="1102"/>
                </a:lnTo>
                <a:lnTo>
                  <a:pt x="615" y="1071"/>
                </a:lnTo>
                <a:lnTo>
                  <a:pt x="605" y="1057"/>
                </a:lnTo>
                <a:lnTo>
                  <a:pt x="596" y="1045"/>
                </a:lnTo>
                <a:lnTo>
                  <a:pt x="587" y="1033"/>
                </a:lnTo>
                <a:lnTo>
                  <a:pt x="577" y="1025"/>
                </a:lnTo>
                <a:lnTo>
                  <a:pt x="565" y="1018"/>
                </a:lnTo>
                <a:lnTo>
                  <a:pt x="559" y="1015"/>
                </a:lnTo>
                <a:lnTo>
                  <a:pt x="553" y="1013"/>
                </a:lnTo>
                <a:lnTo>
                  <a:pt x="553" y="1013"/>
                </a:lnTo>
                <a:lnTo>
                  <a:pt x="549" y="1013"/>
                </a:lnTo>
                <a:lnTo>
                  <a:pt x="546" y="1013"/>
                </a:lnTo>
                <a:lnTo>
                  <a:pt x="539" y="1015"/>
                </a:lnTo>
                <a:lnTo>
                  <a:pt x="532" y="1018"/>
                </a:lnTo>
                <a:lnTo>
                  <a:pt x="524" y="1022"/>
                </a:lnTo>
                <a:lnTo>
                  <a:pt x="516" y="1026"/>
                </a:lnTo>
                <a:lnTo>
                  <a:pt x="507" y="1029"/>
                </a:lnTo>
                <a:lnTo>
                  <a:pt x="499" y="1031"/>
                </a:lnTo>
                <a:lnTo>
                  <a:pt x="494" y="1031"/>
                </a:lnTo>
                <a:lnTo>
                  <a:pt x="489" y="1031"/>
                </a:lnTo>
                <a:lnTo>
                  <a:pt x="489" y="1031"/>
                </a:lnTo>
                <a:lnTo>
                  <a:pt x="468" y="1028"/>
                </a:lnTo>
                <a:lnTo>
                  <a:pt x="448" y="1025"/>
                </a:lnTo>
                <a:lnTo>
                  <a:pt x="427" y="1024"/>
                </a:lnTo>
                <a:lnTo>
                  <a:pt x="406" y="1023"/>
                </a:lnTo>
                <a:lnTo>
                  <a:pt x="386" y="1023"/>
                </a:lnTo>
                <a:lnTo>
                  <a:pt x="366" y="1025"/>
                </a:lnTo>
                <a:lnTo>
                  <a:pt x="347" y="1027"/>
                </a:lnTo>
                <a:lnTo>
                  <a:pt x="327" y="1031"/>
                </a:lnTo>
                <a:lnTo>
                  <a:pt x="309" y="1035"/>
                </a:lnTo>
                <a:lnTo>
                  <a:pt x="292" y="1043"/>
                </a:lnTo>
                <a:lnTo>
                  <a:pt x="276" y="1050"/>
                </a:lnTo>
                <a:lnTo>
                  <a:pt x="262" y="1059"/>
                </a:lnTo>
                <a:lnTo>
                  <a:pt x="248" y="1070"/>
                </a:lnTo>
                <a:lnTo>
                  <a:pt x="242" y="1076"/>
                </a:lnTo>
                <a:lnTo>
                  <a:pt x="236" y="1082"/>
                </a:lnTo>
                <a:lnTo>
                  <a:pt x="231" y="1090"/>
                </a:lnTo>
                <a:lnTo>
                  <a:pt x="227" y="1098"/>
                </a:lnTo>
                <a:lnTo>
                  <a:pt x="223" y="1105"/>
                </a:lnTo>
                <a:lnTo>
                  <a:pt x="219" y="1114"/>
                </a:lnTo>
                <a:lnTo>
                  <a:pt x="219" y="1114"/>
                </a:lnTo>
                <a:lnTo>
                  <a:pt x="257" y="1112"/>
                </a:lnTo>
                <a:lnTo>
                  <a:pt x="292" y="1111"/>
                </a:lnTo>
                <a:lnTo>
                  <a:pt x="312" y="1111"/>
                </a:lnTo>
                <a:lnTo>
                  <a:pt x="331" y="1112"/>
                </a:lnTo>
                <a:lnTo>
                  <a:pt x="349" y="1113"/>
                </a:lnTo>
                <a:lnTo>
                  <a:pt x="364" y="1116"/>
                </a:lnTo>
                <a:lnTo>
                  <a:pt x="377" y="1119"/>
                </a:lnTo>
                <a:lnTo>
                  <a:pt x="382" y="1121"/>
                </a:lnTo>
                <a:lnTo>
                  <a:pt x="387" y="1123"/>
                </a:lnTo>
                <a:lnTo>
                  <a:pt x="389" y="1126"/>
                </a:lnTo>
                <a:lnTo>
                  <a:pt x="391" y="1130"/>
                </a:lnTo>
                <a:lnTo>
                  <a:pt x="391" y="1133"/>
                </a:lnTo>
                <a:lnTo>
                  <a:pt x="389" y="1137"/>
                </a:lnTo>
                <a:lnTo>
                  <a:pt x="386" y="1141"/>
                </a:lnTo>
                <a:lnTo>
                  <a:pt x="381" y="1146"/>
                </a:lnTo>
                <a:lnTo>
                  <a:pt x="374" y="1151"/>
                </a:lnTo>
                <a:lnTo>
                  <a:pt x="366" y="1156"/>
                </a:lnTo>
                <a:lnTo>
                  <a:pt x="366" y="1156"/>
                </a:lnTo>
                <a:lnTo>
                  <a:pt x="357" y="1162"/>
                </a:lnTo>
                <a:lnTo>
                  <a:pt x="351" y="1168"/>
                </a:lnTo>
                <a:lnTo>
                  <a:pt x="346" y="1175"/>
                </a:lnTo>
                <a:lnTo>
                  <a:pt x="344" y="1182"/>
                </a:lnTo>
                <a:lnTo>
                  <a:pt x="343" y="1189"/>
                </a:lnTo>
                <a:lnTo>
                  <a:pt x="344" y="1195"/>
                </a:lnTo>
                <a:lnTo>
                  <a:pt x="346" y="1202"/>
                </a:lnTo>
                <a:lnTo>
                  <a:pt x="349" y="1209"/>
                </a:lnTo>
                <a:lnTo>
                  <a:pt x="354" y="1217"/>
                </a:lnTo>
                <a:lnTo>
                  <a:pt x="360" y="1225"/>
                </a:lnTo>
                <a:lnTo>
                  <a:pt x="368" y="1232"/>
                </a:lnTo>
                <a:lnTo>
                  <a:pt x="376" y="1239"/>
                </a:lnTo>
                <a:lnTo>
                  <a:pt x="396" y="1254"/>
                </a:lnTo>
                <a:lnTo>
                  <a:pt x="418" y="1270"/>
                </a:lnTo>
                <a:lnTo>
                  <a:pt x="442" y="1285"/>
                </a:lnTo>
                <a:lnTo>
                  <a:pt x="467" y="1299"/>
                </a:lnTo>
                <a:lnTo>
                  <a:pt x="519" y="1327"/>
                </a:lnTo>
                <a:lnTo>
                  <a:pt x="565" y="1350"/>
                </a:lnTo>
                <a:lnTo>
                  <a:pt x="585" y="1361"/>
                </a:lnTo>
                <a:lnTo>
                  <a:pt x="601" y="1370"/>
                </a:lnTo>
                <a:lnTo>
                  <a:pt x="601" y="1370"/>
                </a:lnTo>
                <a:lnTo>
                  <a:pt x="608" y="1375"/>
                </a:lnTo>
                <a:lnTo>
                  <a:pt x="611" y="1379"/>
                </a:lnTo>
                <a:lnTo>
                  <a:pt x="613" y="1382"/>
                </a:lnTo>
                <a:lnTo>
                  <a:pt x="611" y="1385"/>
                </a:lnTo>
                <a:lnTo>
                  <a:pt x="608" y="1387"/>
                </a:lnTo>
                <a:lnTo>
                  <a:pt x="604" y="1389"/>
                </a:lnTo>
                <a:lnTo>
                  <a:pt x="598" y="1390"/>
                </a:lnTo>
                <a:lnTo>
                  <a:pt x="598" y="1390"/>
                </a:lnTo>
                <a:lnTo>
                  <a:pt x="588" y="1390"/>
                </a:lnTo>
                <a:lnTo>
                  <a:pt x="576" y="1388"/>
                </a:lnTo>
                <a:lnTo>
                  <a:pt x="561" y="1385"/>
                </a:lnTo>
                <a:lnTo>
                  <a:pt x="545" y="1380"/>
                </a:lnTo>
                <a:lnTo>
                  <a:pt x="509" y="1369"/>
                </a:lnTo>
                <a:lnTo>
                  <a:pt x="469" y="1354"/>
                </a:lnTo>
                <a:lnTo>
                  <a:pt x="387" y="1323"/>
                </a:lnTo>
                <a:lnTo>
                  <a:pt x="349" y="1307"/>
                </a:lnTo>
                <a:lnTo>
                  <a:pt x="314" y="1296"/>
                </a:lnTo>
                <a:lnTo>
                  <a:pt x="314" y="1296"/>
                </a:lnTo>
                <a:lnTo>
                  <a:pt x="303" y="1293"/>
                </a:lnTo>
                <a:lnTo>
                  <a:pt x="292" y="1291"/>
                </a:lnTo>
                <a:lnTo>
                  <a:pt x="283" y="1291"/>
                </a:lnTo>
                <a:lnTo>
                  <a:pt x="275" y="1292"/>
                </a:lnTo>
                <a:lnTo>
                  <a:pt x="268" y="1294"/>
                </a:lnTo>
                <a:lnTo>
                  <a:pt x="262" y="1297"/>
                </a:lnTo>
                <a:lnTo>
                  <a:pt x="257" y="1300"/>
                </a:lnTo>
                <a:lnTo>
                  <a:pt x="253" y="1303"/>
                </a:lnTo>
                <a:lnTo>
                  <a:pt x="244" y="1312"/>
                </a:lnTo>
                <a:lnTo>
                  <a:pt x="238" y="1319"/>
                </a:lnTo>
                <a:lnTo>
                  <a:pt x="234" y="1324"/>
                </a:lnTo>
                <a:lnTo>
                  <a:pt x="231" y="1325"/>
                </a:lnTo>
                <a:lnTo>
                  <a:pt x="229" y="1326"/>
                </a:lnTo>
                <a:lnTo>
                  <a:pt x="229" y="1326"/>
                </a:lnTo>
                <a:lnTo>
                  <a:pt x="220" y="1325"/>
                </a:lnTo>
                <a:lnTo>
                  <a:pt x="210" y="1324"/>
                </a:lnTo>
                <a:lnTo>
                  <a:pt x="198" y="1325"/>
                </a:lnTo>
                <a:lnTo>
                  <a:pt x="188" y="1325"/>
                </a:lnTo>
                <a:lnTo>
                  <a:pt x="166" y="1329"/>
                </a:lnTo>
                <a:lnTo>
                  <a:pt x="143" y="1335"/>
                </a:lnTo>
                <a:lnTo>
                  <a:pt x="121" y="1343"/>
                </a:lnTo>
                <a:lnTo>
                  <a:pt x="98" y="1353"/>
                </a:lnTo>
                <a:lnTo>
                  <a:pt x="77" y="1367"/>
                </a:lnTo>
                <a:lnTo>
                  <a:pt x="66" y="1374"/>
                </a:lnTo>
                <a:lnTo>
                  <a:pt x="57" y="1381"/>
                </a:lnTo>
                <a:lnTo>
                  <a:pt x="48" y="1389"/>
                </a:lnTo>
                <a:lnTo>
                  <a:pt x="40" y="1397"/>
                </a:lnTo>
                <a:lnTo>
                  <a:pt x="32" y="1407"/>
                </a:lnTo>
                <a:lnTo>
                  <a:pt x="25" y="1416"/>
                </a:lnTo>
                <a:lnTo>
                  <a:pt x="18" y="1426"/>
                </a:lnTo>
                <a:lnTo>
                  <a:pt x="12" y="1435"/>
                </a:lnTo>
                <a:lnTo>
                  <a:pt x="8" y="1446"/>
                </a:lnTo>
                <a:lnTo>
                  <a:pt x="4" y="1458"/>
                </a:lnTo>
                <a:lnTo>
                  <a:pt x="2" y="1469"/>
                </a:lnTo>
                <a:lnTo>
                  <a:pt x="0" y="1480"/>
                </a:lnTo>
                <a:lnTo>
                  <a:pt x="0" y="1492"/>
                </a:lnTo>
                <a:lnTo>
                  <a:pt x="0" y="1505"/>
                </a:lnTo>
                <a:lnTo>
                  <a:pt x="3" y="1518"/>
                </a:lnTo>
                <a:lnTo>
                  <a:pt x="6" y="1530"/>
                </a:lnTo>
                <a:lnTo>
                  <a:pt x="11" y="1544"/>
                </a:lnTo>
                <a:lnTo>
                  <a:pt x="17" y="1558"/>
                </a:lnTo>
                <a:lnTo>
                  <a:pt x="17" y="1558"/>
                </a:lnTo>
                <a:lnTo>
                  <a:pt x="20" y="1553"/>
                </a:lnTo>
                <a:lnTo>
                  <a:pt x="30" y="1540"/>
                </a:lnTo>
                <a:lnTo>
                  <a:pt x="45" y="1521"/>
                </a:lnTo>
                <a:lnTo>
                  <a:pt x="53" y="1511"/>
                </a:lnTo>
                <a:lnTo>
                  <a:pt x="63" y="1501"/>
                </a:lnTo>
                <a:lnTo>
                  <a:pt x="75" y="1490"/>
                </a:lnTo>
                <a:lnTo>
                  <a:pt x="86" y="1481"/>
                </a:lnTo>
                <a:lnTo>
                  <a:pt x="98" y="1473"/>
                </a:lnTo>
                <a:lnTo>
                  <a:pt x="111" y="1466"/>
                </a:lnTo>
                <a:lnTo>
                  <a:pt x="125" y="1461"/>
                </a:lnTo>
                <a:lnTo>
                  <a:pt x="131" y="1459"/>
                </a:lnTo>
                <a:lnTo>
                  <a:pt x="138" y="1458"/>
                </a:lnTo>
                <a:lnTo>
                  <a:pt x="145" y="1458"/>
                </a:lnTo>
                <a:lnTo>
                  <a:pt x="151" y="1458"/>
                </a:lnTo>
                <a:lnTo>
                  <a:pt x="159" y="1459"/>
                </a:lnTo>
                <a:lnTo>
                  <a:pt x="166" y="1461"/>
                </a:lnTo>
                <a:lnTo>
                  <a:pt x="166" y="1461"/>
                </a:lnTo>
                <a:lnTo>
                  <a:pt x="171" y="1463"/>
                </a:lnTo>
                <a:lnTo>
                  <a:pt x="174" y="1467"/>
                </a:lnTo>
                <a:lnTo>
                  <a:pt x="175" y="1473"/>
                </a:lnTo>
                <a:lnTo>
                  <a:pt x="176" y="1479"/>
                </a:lnTo>
                <a:lnTo>
                  <a:pt x="176" y="1496"/>
                </a:lnTo>
                <a:lnTo>
                  <a:pt x="174" y="1514"/>
                </a:lnTo>
                <a:lnTo>
                  <a:pt x="174" y="1524"/>
                </a:lnTo>
                <a:lnTo>
                  <a:pt x="174" y="1534"/>
                </a:lnTo>
                <a:lnTo>
                  <a:pt x="176" y="1545"/>
                </a:lnTo>
                <a:lnTo>
                  <a:pt x="178" y="1554"/>
                </a:lnTo>
                <a:lnTo>
                  <a:pt x="182" y="1564"/>
                </a:lnTo>
                <a:lnTo>
                  <a:pt x="187" y="1573"/>
                </a:lnTo>
                <a:lnTo>
                  <a:pt x="195" y="1581"/>
                </a:lnTo>
                <a:lnTo>
                  <a:pt x="205" y="1589"/>
                </a:lnTo>
                <a:lnTo>
                  <a:pt x="205" y="1589"/>
                </a:lnTo>
                <a:lnTo>
                  <a:pt x="213" y="1593"/>
                </a:lnTo>
                <a:lnTo>
                  <a:pt x="221" y="1596"/>
                </a:lnTo>
                <a:lnTo>
                  <a:pt x="231" y="1599"/>
                </a:lnTo>
                <a:lnTo>
                  <a:pt x="242" y="1600"/>
                </a:lnTo>
                <a:lnTo>
                  <a:pt x="254" y="1602"/>
                </a:lnTo>
                <a:lnTo>
                  <a:pt x="267" y="1602"/>
                </a:lnTo>
                <a:lnTo>
                  <a:pt x="293" y="1602"/>
                </a:lnTo>
                <a:lnTo>
                  <a:pt x="323" y="1600"/>
                </a:lnTo>
                <a:lnTo>
                  <a:pt x="354" y="1597"/>
                </a:lnTo>
                <a:lnTo>
                  <a:pt x="418" y="1589"/>
                </a:lnTo>
                <a:lnTo>
                  <a:pt x="481" y="1580"/>
                </a:lnTo>
                <a:lnTo>
                  <a:pt x="510" y="1576"/>
                </a:lnTo>
                <a:lnTo>
                  <a:pt x="538" y="1574"/>
                </a:lnTo>
                <a:lnTo>
                  <a:pt x="562" y="1573"/>
                </a:lnTo>
                <a:lnTo>
                  <a:pt x="583" y="1574"/>
                </a:lnTo>
                <a:lnTo>
                  <a:pt x="592" y="1575"/>
                </a:lnTo>
                <a:lnTo>
                  <a:pt x="600" y="1577"/>
                </a:lnTo>
                <a:lnTo>
                  <a:pt x="607" y="1580"/>
                </a:lnTo>
                <a:lnTo>
                  <a:pt x="613" y="1585"/>
                </a:lnTo>
                <a:lnTo>
                  <a:pt x="613" y="1585"/>
                </a:lnTo>
                <a:lnTo>
                  <a:pt x="616" y="1588"/>
                </a:lnTo>
                <a:lnTo>
                  <a:pt x="617" y="1591"/>
                </a:lnTo>
                <a:lnTo>
                  <a:pt x="616" y="1593"/>
                </a:lnTo>
                <a:lnTo>
                  <a:pt x="611" y="1596"/>
                </a:lnTo>
                <a:lnTo>
                  <a:pt x="607" y="1598"/>
                </a:lnTo>
                <a:lnTo>
                  <a:pt x="600" y="1601"/>
                </a:lnTo>
                <a:lnTo>
                  <a:pt x="583" y="1605"/>
                </a:lnTo>
                <a:lnTo>
                  <a:pt x="560" y="1609"/>
                </a:lnTo>
                <a:lnTo>
                  <a:pt x="535" y="1612"/>
                </a:lnTo>
                <a:lnTo>
                  <a:pt x="474" y="1620"/>
                </a:lnTo>
                <a:lnTo>
                  <a:pt x="443" y="1624"/>
                </a:lnTo>
                <a:lnTo>
                  <a:pt x="412" y="1629"/>
                </a:lnTo>
                <a:lnTo>
                  <a:pt x="382" y="1636"/>
                </a:lnTo>
                <a:lnTo>
                  <a:pt x="356" y="1642"/>
                </a:lnTo>
                <a:lnTo>
                  <a:pt x="344" y="1646"/>
                </a:lnTo>
                <a:lnTo>
                  <a:pt x="332" y="1650"/>
                </a:lnTo>
                <a:lnTo>
                  <a:pt x="322" y="1654"/>
                </a:lnTo>
                <a:lnTo>
                  <a:pt x="314" y="1659"/>
                </a:lnTo>
                <a:lnTo>
                  <a:pt x="307" y="1664"/>
                </a:lnTo>
                <a:lnTo>
                  <a:pt x="302" y="1669"/>
                </a:lnTo>
                <a:lnTo>
                  <a:pt x="298" y="1676"/>
                </a:lnTo>
                <a:lnTo>
                  <a:pt x="296" y="1682"/>
                </a:lnTo>
                <a:lnTo>
                  <a:pt x="296" y="1682"/>
                </a:lnTo>
                <a:lnTo>
                  <a:pt x="295" y="1687"/>
                </a:lnTo>
                <a:lnTo>
                  <a:pt x="295" y="1696"/>
                </a:lnTo>
                <a:lnTo>
                  <a:pt x="296" y="1707"/>
                </a:lnTo>
                <a:lnTo>
                  <a:pt x="298" y="1713"/>
                </a:lnTo>
                <a:lnTo>
                  <a:pt x="300" y="1718"/>
                </a:lnTo>
                <a:lnTo>
                  <a:pt x="300" y="1718"/>
                </a:lnTo>
                <a:lnTo>
                  <a:pt x="301" y="1725"/>
                </a:lnTo>
                <a:lnTo>
                  <a:pt x="301" y="1731"/>
                </a:lnTo>
                <a:lnTo>
                  <a:pt x="298" y="1737"/>
                </a:lnTo>
                <a:lnTo>
                  <a:pt x="293" y="1743"/>
                </a:lnTo>
                <a:lnTo>
                  <a:pt x="283" y="1757"/>
                </a:lnTo>
                <a:lnTo>
                  <a:pt x="269" y="1775"/>
                </a:lnTo>
                <a:lnTo>
                  <a:pt x="261" y="1785"/>
                </a:lnTo>
                <a:lnTo>
                  <a:pt x="254" y="1795"/>
                </a:lnTo>
                <a:lnTo>
                  <a:pt x="246" y="1807"/>
                </a:lnTo>
                <a:lnTo>
                  <a:pt x="240" y="1820"/>
                </a:lnTo>
                <a:lnTo>
                  <a:pt x="234" y="1834"/>
                </a:lnTo>
                <a:lnTo>
                  <a:pt x="230" y="1849"/>
                </a:lnTo>
                <a:lnTo>
                  <a:pt x="226" y="1866"/>
                </a:lnTo>
                <a:lnTo>
                  <a:pt x="225" y="1884"/>
                </a:lnTo>
                <a:lnTo>
                  <a:pt x="225" y="1884"/>
                </a:lnTo>
                <a:lnTo>
                  <a:pt x="225" y="1893"/>
                </a:lnTo>
                <a:lnTo>
                  <a:pt x="225" y="1902"/>
                </a:lnTo>
                <a:lnTo>
                  <a:pt x="228" y="1920"/>
                </a:lnTo>
                <a:lnTo>
                  <a:pt x="233" y="1937"/>
                </a:lnTo>
                <a:lnTo>
                  <a:pt x="239" y="1953"/>
                </a:lnTo>
                <a:lnTo>
                  <a:pt x="247" y="1968"/>
                </a:lnTo>
                <a:lnTo>
                  <a:pt x="257" y="1982"/>
                </a:lnTo>
                <a:lnTo>
                  <a:pt x="267" y="1995"/>
                </a:lnTo>
                <a:lnTo>
                  <a:pt x="277" y="2007"/>
                </a:lnTo>
                <a:lnTo>
                  <a:pt x="287" y="2017"/>
                </a:lnTo>
                <a:lnTo>
                  <a:pt x="298" y="2026"/>
                </a:lnTo>
                <a:lnTo>
                  <a:pt x="315" y="2042"/>
                </a:lnTo>
                <a:lnTo>
                  <a:pt x="327" y="2050"/>
                </a:lnTo>
                <a:lnTo>
                  <a:pt x="332" y="2054"/>
                </a:lnTo>
                <a:lnTo>
                  <a:pt x="332" y="2054"/>
                </a:lnTo>
                <a:lnTo>
                  <a:pt x="334" y="2050"/>
                </a:lnTo>
                <a:lnTo>
                  <a:pt x="335" y="2045"/>
                </a:lnTo>
                <a:lnTo>
                  <a:pt x="335" y="2036"/>
                </a:lnTo>
                <a:lnTo>
                  <a:pt x="334" y="2027"/>
                </a:lnTo>
                <a:lnTo>
                  <a:pt x="331" y="2006"/>
                </a:lnTo>
                <a:lnTo>
                  <a:pt x="328" y="1980"/>
                </a:lnTo>
                <a:lnTo>
                  <a:pt x="327" y="1968"/>
                </a:lnTo>
                <a:lnTo>
                  <a:pt x="326" y="1955"/>
                </a:lnTo>
                <a:lnTo>
                  <a:pt x="326" y="1943"/>
                </a:lnTo>
                <a:lnTo>
                  <a:pt x="328" y="1932"/>
                </a:lnTo>
                <a:lnTo>
                  <a:pt x="330" y="1922"/>
                </a:lnTo>
                <a:lnTo>
                  <a:pt x="334" y="1913"/>
                </a:lnTo>
                <a:lnTo>
                  <a:pt x="337" y="1910"/>
                </a:lnTo>
                <a:lnTo>
                  <a:pt x="341" y="1906"/>
                </a:lnTo>
                <a:lnTo>
                  <a:pt x="344" y="1904"/>
                </a:lnTo>
                <a:lnTo>
                  <a:pt x="348" y="1901"/>
                </a:lnTo>
                <a:lnTo>
                  <a:pt x="348" y="1901"/>
                </a:lnTo>
                <a:lnTo>
                  <a:pt x="353" y="1900"/>
                </a:lnTo>
                <a:lnTo>
                  <a:pt x="357" y="1900"/>
                </a:lnTo>
                <a:lnTo>
                  <a:pt x="362" y="1901"/>
                </a:lnTo>
                <a:lnTo>
                  <a:pt x="366" y="1905"/>
                </a:lnTo>
                <a:lnTo>
                  <a:pt x="375" y="1912"/>
                </a:lnTo>
                <a:lnTo>
                  <a:pt x="386" y="1921"/>
                </a:lnTo>
                <a:lnTo>
                  <a:pt x="397" y="1932"/>
                </a:lnTo>
                <a:lnTo>
                  <a:pt x="410" y="1941"/>
                </a:lnTo>
                <a:lnTo>
                  <a:pt x="417" y="1946"/>
                </a:lnTo>
                <a:lnTo>
                  <a:pt x="424" y="1950"/>
                </a:lnTo>
                <a:lnTo>
                  <a:pt x="434" y="1953"/>
                </a:lnTo>
                <a:lnTo>
                  <a:pt x="442" y="1955"/>
                </a:lnTo>
                <a:lnTo>
                  <a:pt x="442" y="1955"/>
                </a:lnTo>
                <a:lnTo>
                  <a:pt x="451" y="1955"/>
                </a:lnTo>
                <a:lnTo>
                  <a:pt x="460" y="1955"/>
                </a:lnTo>
                <a:lnTo>
                  <a:pt x="468" y="1954"/>
                </a:lnTo>
                <a:lnTo>
                  <a:pt x="478" y="1952"/>
                </a:lnTo>
                <a:lnTo>
                  <a:pt x="486" y="1948"/>
                </a:lnTo>
                <a:lnTo>
                  <a:pt x="494" y="1944"/>
                </a:lnTo>
                <a:lnTo>
                  <a:pt x="501" y="1940"/>
                </a:lnTo>
                <a:lnTo>
                  <a:pt x="509" y="1935"/>
                </a:lnTo>
                <a:lnTo>
                  <a:pt x="525" y="1923"/>
                </a:lnTo>
                <a:lnTo>
                  <a:pt x="539" y="1909"/>
                </a:lnTo>
                <a:lnTo>
                  <a:pt x="554" y="1892"/>
                </a:lnTo>
                <a:lnTo>
                  <a:pt x="571" y="1875"/>
                </a:lnTo>
                <a:lnTo>
                  <a:pt x="604" y="1836"/>
                </a:lnTo>
                <a:lnTo>
                  <a:pt x="624" y="1817"/>
                </a:lnTo>
                <a:lnTo>
                  <a:pt x="644" y="1797"/>
                </a:lnTo>
                <a:lnTo>
                  <a:pt x="667" y="1777"/>
                </a:lnTo>
                <a:lnTo>
                  <a:pt x="691" y="1758"/>
                </a:lnTo>
                <a:lnTo>
                  <a:pt x="705" y="1749"/>
                </a:lnTo>
                <a:lnTo>
                  <a:pt x="718" y="1741"/>
                </a:lnTo>
                <a:lnTo>
                  <a:pt x="732" y="1733"/>
                </a:lnTo>
                <a:lnTo>
                  <a:pt x="747" y="1725"/>
                </a:lnTo>
                <a:lnTo>
                  <a:pt x="747" y="1725"/>
                </a:lnTo>
                <a:lnTo>
                  <a:pt x="787" y="1706"/>
                </a:lnTo>
                <a:lnTo>
                  <a:pt x="819" y="1694"/>
                </a:lnTo>
                <a:lnTo>
                  <a:pt x="831" y="1689"/>
                </a:lnTo>
                <a:lnTo>
                  <a:pt x="843" y="1686"/>
                </a:lnTo>
                <a:lnTo>
                  <a:pt x="852" y="1685"/>
                </a:lnTo>
                <a:lnTo>
                  <a:pt x="859" y="1684"/>
                </a:lnTo>
                <a:lnTo>
                  <a:pt x="865" y="1684"/>
                </a:lnTo>
                <a:lnTo>
                  <a:pt x="869" y="1686"/>
                </a:lnTo>
                <a:lnTo>
                  <a:pt x="872" y="1688"/>
                </a:lnTo>
                <a:lnTo>
                  <a:pt x="874" y="1691"/>
                </a:lnTo>
                <a:lnTo>
                  <a:pt x="876" y="1694"/>
                </a:lnTo>
                <a:lnTo>
                  <a:pt x="876" y="1698"/>
                </a:lnTo>
                <a:lnTo>
                  <a:pt x="875" y="1708"/>
                </a:lnTo>
                <a:lnTo>
                  <a:pt x="872" y="1720"/>
                </a:lnTo>
                <a:lnTo>
                  <a:pt x="868" y="1734"/>
                </a:lnTo>
                <a:lnTo>
                  <a:pt x="865" y="1747"/>
                </a:lnTo>
                <a:lnTo>
                  <a:pt x="863" y="1759"/>
                </a:lnTo>
                <a:lnTo>
                  <a:pt x="863" y="1765"/>
                </a:lnTo>
                <a:lnTo>
                  <a:pt x="863" y="1772"/>
                </a:lnTo>
                <a:lnTo>
                  <a:pt x="865" y="1777"/>
                </a:lnTo>
                <a:lnTo>
                  <a:pt x="867" y="1782"/>
                </a:lnTo>
                <a:lnTo>
                  <a:pt x="870" y="1786"/>
                </a:lnTo>
                <a:lnTo>
                  <a:pt x="875" y="1790"/>
                </a:lnTo>
                <a:lnTo>
                  <a:pt x="881" y="1793"/>
                </a:lnTo>
                <a:lnTo>
                  <a:pt x="889" y="1795"/>
                </a:lnTo>
                <a:lnTo>
                  <a:pt x="889" y="1795"/>
                </a:lnTo>
                <a:lnTo>
                  <a:pt x="901" y="1799"/>
                </a:lnTo>
                <a:lnTo>
                  <a:pt x="912" y="1802"/>
                </a:lnTo>
                <a:lnTo>
                  <a:pt x="921" y="1807"/>
                </a:lnTo>
                <a:lnTo>
                  <a:pt x="928" y="1811"/>
                </a:lnTo>
                <a:lnTo>
                  <a:pt x="935" y="1817"/>
                </a:lnTo>
                <a:lnTo>
                  <a:pt x="940" y="1822"/>
                </a:lnTo>
                <a:lnTo>
                  <a:pt x="943" y="1828"/>
                </a:lnTo>
                <a:lnTo>
                  <a:pt x="945" y="1834"/>
                </a:lnTo>
                <a:lnTo>
                  <a:pt x="947" y="1840"/>
                </a:lnTo>
                <a:lnTo>
                  <a:pt x="947" y="1846"/>
                </a:lnTo>
                <a:lnTo>
                  <a:pt x="946" y="1853"/>
                </a:lnTo>
                <a:lnTo>
                  <a:pt x="945" y="1860"/>
                </a:lnTo>
                <a:lnTo>
                  <a:pt x="943" y="1867"/>
                </a:lnTo>
                <a:lnTo>
                  <a:pt x="940" y="1874"/>
                </a:lnTo>
                <a:lnTo>
                  <a:pt x="932" y="1887"/>
                </a:lnTo>
                <a:lnTo>
                  <a:pt x="922" y="1900"/>
                </a:lnTo>
                <a:lnTo>
                  <a:pt x="912" y="1913"/>
                </a:lnTo>
                <a:lnTo>
                  <a:pt x="902" y="1924"/>
                </a:lnTo>
                <a:lnTo>
                  <a:pt x="892" y="1934"/>
                </a:lnTo>
                <a:lnTo>
                  <a:pt x="875" y="1948"/>
                </a:lnTo>
                <a:lnTo>
                  <a:pt x="869" y="1955"/>
                </a:lnTo>
                <a:lnTo>
                  <a:pt x="869" y="1955"/>
                </a:lnTo>
                <a:lnTo>
                  <a:pt x="877" y="1959"/>
                </a:lnTo>
                <a:lnTo>
                  <a:pt x="888" y="1961"/>
                </a:lnTo>
                <a:lnTo>
                  <a:pt x="899" y="1962"/>
                </a:lnTo>
                <a:lnTo>
                  <a:pt x="912" y="1961"/>
                </a:lnTo>
                <a:lnTo>
                  <a:pt x="926" y="1958"/>
                </a:lnTo>
                <a:lnTo>
                  <a:pt x="941" y="1954"/>
                </a:lnTo>
                <a:lnTo>
                  <a:pt x="957" y="1947"/>
                </a:lnTo>
                <a:lnTo>
                  <a:pt x="972" y="1939"/>
                </a:lnTo>
                <a:lnTo>
                  <a:pt x="989" y="1930"/>
                </a:lnTo>
                <a:lnTo>
                  <a:pt x="1004" y="1919"/>
                </a:lnTo>
                <a:lnTo>
                  <a:pt x="1019" y="1906"/>
                </a:lnTo>
                <a:lnTo>
                  <a:pt x="1035" y="1891"/>
                </a:lnTo>
                <a:lnTo>
                  <a:pt x="1048" y="1874"/>
                </a:lnTo>
                <a:lnTo>
                  <a:pt x="1061" y="1855"/>
                </a:lnTo>
                <a:lnTo>
                  <a:pt x="1073" y="1835"/>
                </a:lnTo>
                <a:lnTo>
                  <a:pt x="1083" y="1814"/>
                </a:lnTo>
                <a:lnTo>
                  <a:pt x="1083" y="1814"/>
                </a:lnTo>
                <a:lnTo>
                  <a:pt x="1086" y="1805"/>
                </a:lnTo>
                <a:lnTo>
                  <a:pt x="1089" y="1799"/>
                </a:lnTo>
                <a:lnTo>
                  <a:pt x="1092" y="1794"/>
                </a:lnTo>
                <a:lnTo>
                  <a:pt x="1096" y="1790"/>
                </a:lnTo>
                <a:lnTo>
                  <a:pt x="1100" y="1787"/>
                </a:lnTo>
                <a:lnTo>
                  <a:pt x="1103" y="1784"/>
                </a:lnTo>
                <a:lnTo>
                  <a:pt x="1111" y="1781"/>
                </a:lnTo>
                <a:lnTo>
                  <a:pt x="1120" y="1778"/>
                </a:lnTo>
                <a:lnTo>
                  <a:pt x="1129" y="1774"/>
                </a:lnTo>
                <a:lnTo>
                  <a:pt x="1138" y="1768"/>
                </a:lnTo>
                <a:lnTo>
                  <a:pt x="1143" y="1763"/>
                </a:lnTo>
                <a:lnTo>
                  <a:pt x="1148" y="1758"/>
                </a:lnTo>
                <a:lnTo>
                  <a:pt x="1148" y="1758"/>
                </a:lnTo>
                <a:lnTo>
                  <a:pt x="1151" y="1752"/>
                </a:lnTo>
                <a:lnTo>
                  <a:pt x="1154" y="1746"/>
                </a:lnTo>
                <a:lnTo>
                  <a:pt x="1158" y="1740"/>
                </a:lnTo>
                <a:lnTo>
                  <a:pt x="1159" y="1734"/>
                </a:lnTo>
                <a:lnTo>
                  <a:pt x="1160" y="1719"/>
                </a:lnTo>
                <a:lnTo>
                  <a:pt x="1160" y="1705"/>
                </a:lnTo>
                <a:lnTo>
                  <a:pt x="1160" y="1690"/>
                </a:lnTo>
                <a:lnTo>
                  <a:pt x="1160" y="1676"/>
                </a:lnTo>
                <a:lnTo>
                  <a:pt x="1162" y="1661"/>
                </a:lnTo>
                <a:lnTo>
                  <a:pt x="1164" y="1655"/>
                </a:lnTo>
                <a:lnTo>
                  <a:pt x="1166" y="1649"/>
                </a:lnTo>
                <a:lnTo>
                  <a:pt x="1166" y="1649"/>
                </a:lnTo>
                <a:lnTo>
                  <a:pt x="1170" y="1643"/>
                </a:lnTo>
                <a:lnTo>
                  <a:pt x="1174" y="1638"/>
                </a:lnTo>
                <a:lnTo>
                  <a:pt x="1178" y="1633"/>
                </a:lnTo>
                <a:lnTo>
                  <a:pt x="1183" y="1628"/>
                </a:lnTo>
                <a:lnTo>
                  <a:pt x="1195" y="1620"/>
                </a:lnTo>
                <a:lnTo>
                  <a:pt x="1209" y="1614"/>
                </a:lnTo>
                <a:lnTo>
                  <a:pt x="1223" y="1609"/>
                </a:lnTo>
                <a:lnTo>
                  <a:pt x="1237" y="1605"/>
                </a:lnTo>
                <a:lnTo>
                  <a:pt x="1268" y="1597"/>
                </a:lnTo>
                <a:lnTo>
                  <a:pt x="1298" y="1591"/>
                </a:lnTo>
                <a:lnTo>
                  <a:pt x="1310" y="1587"/>
                </a:lnTo>
                <a:lnTo>
                  <a:pt x="1321" y="1581"/>
                </a:lnTo>
                <a:lnTo>
                  <a:pt x="1329" y="1575"/>
                </a:lnTo>
                <a:lnTo>
                  <a:pt x="1333" y="1572"/>
                </a:lnTo>
                <a:lnTo>
                  <a:pt x="1335" y="1568"/>
                </a:lnTo>
                <a:lnTo>
                  <a:pt x="1338" y="1564"/>
                </a:lnTo>
                <a:lnTo>
                  <a:pt x="1340" y="1559"/>
                </a:lnTo>
                <a:lnTo>
                  <a:pt x="1340" y="1554"/>
                </a:lnTo>
                <a:lnTo>
                  <a:pt x="1340" y="1549"/>
                </a:lnTo>
                <a:lnTo>
                  <a:pt x="1340" y="1549"/>
                </a:lnTo>
                <a:lnTo>
                  <a:pt x="1338" y="1534"/>
                </a:lnTo>
                <a:lnTo>
                  <a:pt x="1338" y="1521"/>
                </a:lnTo>
                <a:lnTo>
                  <a:pt x="1341" y="1509"/>
                </a:lnTo>
                <a:lnTo>
                  <a:pt x="1345" y="1499"/>
                </a:lnTo>
                <a:lnTo>
                  <a:pt x="1350" y="1488"/>
                </a:lnTo>
                <a:lnTo>
                  <a:pt x="1355" y="1480"/>
                </a:lnTo>
                <a:lnTo>
                  <a:pt x="1362" y="1472"/>
                </a:lnTo>
                <a:lnTo>
                  <a:pt x="1370" y="1465"/>
                </a:lnTo>
                <a:lnTo>
                  <a:pt x="1378" y="1459"/>
                </a:lnTo>
                <a:lnTo>
                  <a:pt x="1388" y="1453"/>
                </a:lnTo>
                <a:lnTo>
                  <a:pt x="1406" y="1443"/>
                </a:lnTo>
                <a:lnTo>
                  <a:pt x="1424" y="1435"/>
                </a:lnTo>
                <a:lnTo>
                  <a:pt x="1441" y="1428"/>
                </a:lnTo>
                <a:lnTo>
                  <a:pt x="1441" y="1428"/>
                </a:lnTo>
                <a:lnTo>
                  <a:pt x="1443" y="1428"/>
                </a:lnTo>
                <a:lnTo>
                  <a:pt x="1444" y="1429"/>
                </a:lnTo>
                <a:lnTo>
                  <a:pt x="1447" y="1431"/>
                </a:lnTo>
                <a:lnTo>
                  <a:pt x="1449" y="1436"/>
                </a:lnTo>
                <a:lnTo>
                  <a:pt x="1453" y="1443"/>
                </a:lnTo>
                <a:lnTo>
                  <a:pt x="1461" y="1462"/>
                </a:lnTo>
                <a:lnTo>
                  <a:pt x="1467" y="1473"/>
                </a:lnTo>
                <a:lnTo>
                  <a:pt x="1474" y="1485"/>
                </a:lnTo>
                <a:lnTo>
                  <a:pt x="1484" y="1498"/>
                </a:lnTo>
                <a:lnTo>
                  <a:pt x="1494" y="1511"/>
                </a:lnTo>
                <a:lnTo>
                  <a:pt x="1506" y="1525"/>
                </a:lnTo>
                <a:lnTo>
                  <a:pt x="1522" y="1539"/>
                </a:lnTo>
                <a:lnTo>
                  <a:pt x="1539" y="1552"/>
                </a:lnTo>
                <a:lnTo>
                  <a:pt x="1559" y="1564"/>
                </a:lnTo>
                <a:lnTo>
                  <a:pt x="1583" y="1576"/>
                </a:lnTo>
                <a:lnTo>
                  <a:pt x="1609" y="1587"/>
                </a:lnTo>
                <a:lnTo>
                  <a:pt x="1609" y="1587"/>
                </a:lnTo>
                <a:lnTo>
                  <a:pt x="1684" y="1556"/>
                </a:lnTo>
                <a:lnTo>
                  <a:pt x="1730" y="1534"/>
                </a:lnTo>
                <a:lnTo>
                  <a:pt x="1757" y="1521"/>
                </a:lnTo>
                <a:lnTo>
                  <a:pt x="1786" y="1506"/>
                </a:lnTo>
                <a:lnTo>
                  <a:pt x="1786" y="1506"/>
                </a:lnTo>
                <a:lnTo>
                  <a:pt x="1818" y="1489"/>
                </a:lnTo>
                <a:lnTo>
                  <a:pt x="1848" y="1472"/>
                </a:lnTo>
                <a:lnTo>
                  <a:pt x="1860" y="1464"/>
                </a:lnTo>
                <a:lnTo>
                  <a:pt x="1871" y="1457"/>
                </a:lnTo>
                <a:lnTo>
                  <a:pt x="1881" y="1449"/>
                </a:lnTo>
                <a:lnTo>
                  <a:pt x="1889" y="1442"/>
                </a:lnTo>
                <a:lnTo>
                  <a:pt x="1889" y="1442"/>
                </a:lnTo>
                <a:lnTo>
                  <a:pt x="1888" y="1440"/>
                </a:lnTo>
                <a:lnTo>
                  <a:pt x="1887" y="1438"/>
                </a:lnTo>
                <a:lnTo>
                  <a:pt x="1879" y="1431"/>
                </a:lnTo>
                <a:lnTo>
                  <a:pt x="1868" y="1420"/>
                </a:lnTo>
                <a:lnTo>
                  <a:pt x="1855" y="1406"/>
                </a:lnTo>
                <a:lnTo>
                  <a:pt x="1840" y="1388"/>
                </a:lnTo>
                <a:lnTo>
                  <a:pt x="1825" y="1369"/>
                </a:lnTo>
                <a:lnTo>
                  <a:pt x="1818" y="1358"/>
                </a:lnTo>
                <a:lnTo>
                  <a:pt x="1812" y="1345"/>
                </a:lnTo>
                <a:lnTo>
                  <a:pt x="1807" y="1334"/>
                </a:lnTo>
                <a:lnTo>
                  <a:pt x="1802" y="1321"/>
                </a:lnTo>
                <a:lnTo>
                  <a:pt x="1802" y="1321"/>
                </a:lnTo>
                <a:lnTo>
                  <a:pt x="1799" y="1308"/>
                </a:lnTo>
                <a:lnTo>
                  <a:pt x="1796" y="1297"/>
                </a:lnTo>
                <a:lnTo>
                  <a:pt x="1794" y="1288"/>
                </a:lnTo>
                <a:lnTo>
                  <a:pt x="1794" y="1279"/>
                </a:lnTo>
                <a:lnTo>
                  <a:pt x="1794" y="1272"/>
                </a:lnTo>
                <a:lnTo>
                  <a:pt x="1794" y="1267"/>
                </a:lnTo>
                <a:lnTo>
                  <a:pt x="1795" y="1263"/>
                </a:lnTo>
                <a:lnTo>
                  <a:pt x="1796" y="1261"/>
                </a:lnTo>
                <a:lnTo>
                  <a:pt x="1796" y="1261"/>
                </a:lnTo>
                <a:lnTo>
                  <a:pt x="1809" y="1278"/>
                </a:lnTo>
                <a:lnTo>
                  <a:pt x="1824" y="1295"/>
                </a:lnTo>
                <a:lnTo>
                  <a:pt x="1845" y="1316"/>
                </a:lnTo>
                <a:lnTo>
                  <a:pt x="1857" y="1327"/>
                </a:lnTo>
                <a:lnTo>
                  <a:pt x="1869" y="1338"/>
                </a:lnTo>
                <a:lnTo>
                  <a:pt x="1883" y="1349"/>
                </a:lnTo>
                <a:lnTo>
                  <a:pt x="1899" y="1361"/>
                </a:lnTo>
                <a:lnTo>
                  <a:pt x="1915" y="1372"/>
                </a:lnTo>
                <a:lnTo>
                  <a:pt x="1932" y="1381"/>
                </a:lnTo>
                <a:lnTo>
                  <a:pt x="1949" y="1390"/>
                </a:lnTo>
                <a:lnTo>
                  <a:pt x="1967" y="1398"/>
                </a:lnTo>
                <a:lnTo>
                  <a:pt x="1967" y="1398"/>
                </a:lnTo>
                <a:lnTo>
                  <a:pt x="2021" y="1370"/>
                </a:lnTo>
                <a:lnTo>
                  <a:pt x="2075" y="1340"/>
                </a:lnTo>
                <a:lnTo>
                  <a:pt x="2129" y="1307"/>
                </a:lnTo>
                <a:lnTo>
                  <a:pt x="2183" y="1273"/>
                </a:lnTo>
                <a:lnTo>
                  <a:pt x="2183" y="1273"/>
                </a:lnTo>
                <a:lnTo>
                  <a:pt x="2218" y="1249"/>
                </a:lnTo>
                <a:lnTo>
                  <a:pt x="2218" y="1249"/>
                </a:lnTo>
                <a:lnTo>
                  <a:pt x="2219" y="1248"/>
                </a:lnTo>
                <a:lnTo>
                  <a:pt x="2219" y="1248"/>
                </a:lnTo>
                <a:lnTo>
                  <a:pt x="2220" y="1246"/>
                </a:lnTo>
                <a:lnTo>
                  <a:pt x="2219" y="1244"/>
                </a:lnTo>
                <a:lnTo>
                  <a:pt x="2215" y="1237"/>
                </a:lnTo>
                <a:lnTo>
                  <a:pt x="2207" y="1228"/>
                </a:lnTo>
                <a:lnTo>
                  <a:pt x="2196" y="1217"/>
                </a:lnTo>
                <a:lnTo>
                  <a:pt x="2171" y="1193"/>
                </a:lnTo>
                <a:lnTo>
                  <a:pt x="2142" y="1164"/>
                </a:lnTo>
                <a:lnTo>
                  <a:pt x="2129" y="1150"/>
                </a:lnTo>
                <a:lnTo>
                  <a:pt x="2118" y="1136"/>
                </a:lnTo>
                <a:lnTo>
                  <a:pt x="2108" y="1121"/>
                </a:lnTo>
                <a:lnTo>
                  <a:pt x="2104" y="1114"/>
                </a:lnTo>
                <a:lnTo>
                  <a:pt x="2101" y="1108"/>
                </a:lnTo>
                <a:lnTo>
                  <a:pt x="2100" y="1101"/>
                </a:lnTo>
                <a:lnTo>
                  <a:pt x="2099" y="1095"/>
                </a:lnTo>
                <a:lnTo>
                  <a:pt x="2099" y="1089"/>
                </a:lnTo>
                <a:lnTo>
                  <a:pt x="2100" y="1084"/>
                </a:lnTo>
                <a:lnTo>
                  <a:pt x="2102" y="1078"/>
                </a:lnTo>
                <a:lnTo>
                  <a:pt x="2106" y="1073"/>
                </a:lnTo>
                <a:lnTo>
                  <a:pt x="2112" y="1069"/>
                </a:lnTo>
                <a:lnTo>
                  <a:pt x="2119" y="1065"/>
                </a:lnTo>
                <a:lnTo>
                  <a:pt x="2119" y="1065"/>
                </a:lnTo>
                <a:lnTo>
                  <a:pt x="2125" y="1061"/>
                </a:lnTo>
                <a:lnTo>
                  <a:pt x="2130" y="1056"/>
                </a:lnTo>
                <a:lnTo>
                  <a:pt x="2133" y="1051"/>
                </a:lnTo>
                <a:lnTo>
                  <a:pt x="2135" y="1045"/>
                </a:lnTo>
                <a:lnTo>
                  <a:pt x="2136" y="1039"/>
                </a:lnTo>
                <a:lnTo>
                  <a:pt x="2136" y="1030"/>
                </a:lnTo>
                <a:lnTo>
                  <a:pt x="2136" y="1023"/>
                </a:lnTo>
                <a:lnTo>
                  <a:pt x="2134" y="1014"/>
                </a:lnTo>
                <a:lnTo>
                  <a:pt x="2129" y="997"/>
                </a:lnTo>
                <a:lnTo>
                  <a:pt x="2121" y="977"/>
                </a:lnTo>
                <a:lnTo>
                  <a:pt x="2102" y="935"/>
                </a:lnTo>
                <a:lnTo>
                  <a:pt x="2093" y="914"/>
                </a:lnTo>
                <a:lnTo>
                  <a:pt x="2085" y="893"/>
                </a:lnTo>
                <a:lnTo>
                  <a:pt x="2078" y="873"/>
                </a:lnTo>
                <a:lnTo>
                  <a:pt x="2076" y="863"/>
                </a:lnTo>
                <a:lnTo>
                  <a:pt x="2074" y="853"/>
                </a:lnTo>
                <a:lnTo>
                  <a:pt x="2074" y="844"/>
                </a:lnTo>
                <a:lnTo>
                  <a:pt x="2074" y="836"/>
                </a:lnTo>
                <a:lnTo>
                  <a:pt x="2075" y="828"/>
                </a:lnTo>
                <a:lnTo>
                  <a:pt x="2077" y="821"/>
                </a:lnTo>
                <a:lnTo>
                  <a:pt x="2080" y="814"/>
                </a:lnTo>
                <a:lnTo>
                  <a:pt x="2085" y="807"/>
                </a:lnTo>
                <a:lnTo>
                  <a:pt x="2091" y="801"/>
                </a:lnTo>
                <a:lnTo>
                  <a:pt x="2099" y="797"/>
                </a:lnTo>
                <a:lnTo>
                  <a:pt x="2099" y="797"/>
                </a:lnTo>
                <a:lnTo>
                  <a:pt x="2200" y="744"/>
                </a:lnTo>
                <a:lnTo>
                  <a:pt x="2306" y="693"/>
                </a:lnTo>
                <a:lnTo>
                  <a:pt x="2410" y="642"/>
                </a:lnTo>
                <a:lnTo>
                  <a:pt x="2513" y="592"/>
                </a:lnTo>
                <a:lnTo>
                  <a:pt x="2705" y="501"/>
                </a:lnTo>
                <a:lnTo>
                  <a:pt x="2788" y="461"/>
                </a:lnTo>
                <a:lnTo>
                  <a:pt x="2863" y="424"/>
                </a:lnTo>
                <a:lnTo>
                  <a:pt x="2863" y="424"/>
                </a:lnTo>
                <a:lnTo>
                  <a:pt x="2859" y="408"/>
                </a:lnTo>
                <a:lnTo>
                  <a:pt x="2853" y="389"/>
                </a:lnTo>
                <a:lnTo>
                  <a:pt x="2843" y="366"/>
                </a:lnTo>
                <a:lnTo>
                  <a:pt x="2836" y="354"/>
                </a:lnTo>
                <a:lnTo>
                  <a:pt x="2829" y="339"/>
                </a:lnTo>
                <a:lnTo>
                  <a:pt x="2821" y="325"/>
                </a:lnTo>
                <a:lnTo>
                  <a:pt x="2812" y="311"/>
                </a:lnTo>
                <a:lnTo>
                  <a:pt x="2801" y="296"/>
                </a:lnTo>
                <a:lnTo>
                  <a:pt x="2788" y="281"/>
                </a:lnTo>
                <a:lnTo>
                  <a:pt x="2774" y="267"/>
                </a:lnTo>
                <a:lnTo>
                  <a:pt x="2759" y="25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5" name="Freeform 32"/>
          <p:cNvSpPr>
            <a:spLocks/>
          </p:cNvSpPr>
          <p:nvPr userDrawn="1"/>
        </p:nvSpPr>
        <p:spPr bwMode="auto">
          <a:xfrm>
            <a:off x="7194551" y="1861841"/>
            <a:ext cx="161925" cy="153988"/>
          </a:xfrm>
          <a:custGeom>
            <a:avLst/>
            <a:gdLst>
              <a:gd name="T0" fmla="*/ 2 w 1226"/>
              <a:gd name="T1" fmla="*/ 386 h 1168"/>
              <a:gd name="T2" fmla="*/ 22 w 1226"/>
              <a:gd name="T3" fmla="*/ 434 h 1168"/>
              <a:gd name="T4" fmla="*/ 61 w 1226"/>
              <a:gd name="T5" fmla="*/ 466 h 1168"/>
              <a:gd name="T6" fmla="*/ 120 w 1226"/>
              <a:gd name="T7" fmla="*/ 479 h 1168"/>
              <a:gd name="T8" fmla="*/ 142 w 1226"/>
              <a:gd name="T9" fmla="*/ 469 h 1168"/>
              <a:gd name="T10" fmla="*/ 160 w 1226"/>
              <a:gd name="T11" fmla="*/ 436 h 1168"/>
              <a:gd name="T12" fmla="*/ 164 w 1226"/>
              <a:gd name="T13" fmla="*/ 370 h 1168"/>
              <a:gd name="T14" fmla="*/ 174 w 1226"/>
              <a:gd name="T15" fmla="*/ 344 h 1168"/>
              <a:gd name="T16" fmla="*/ 198 w 1226"/>
              <a:gd name="T17" fmla="*/ 331 h 1168"/>
              <a:gd name="T18" fmla="*/ 223 w 1226"/>
              <a:gd name="T19" fmla="*/ 318 h 1168"/>
              <a:gd name="T20" fmla="*/ 427 w 1226"/>
              <a:gd name="T21" fmla="*/ 416 h 1168"/>
              <a:gd name="T22" fmla="*/ 628 w 1226"/>
              <a:gd name="T23" fmla="*/ 534 h 1168"/>
              <a:gd name="T24" fmla="*/ 876 w 1226"/>
              <a:gd name="T25" fmla="*/ 703 h 1168"/>
              <a:gd name="T26" fmla="*/ 868 w 1226"/>
              <a:gd name="T27" fmla="*/ 783 h 1168"/>
              <a:gd name="T28" fmla="*/ 779 w 1226"/>
              <a:gd name="T29" fmla="*/ 957 h 1168"/>
              <a:gd name="T30" fmla="*/ 753 w 1226"/>
              <a:gd name="T31" fmla="*/ 1040 h 1168"/>
              <a:gd name="T32" fmla="*/ 754 w 1226"/>
              <a:gd name="T33" fmla="*/ 1090 h 1168"/>
              <a:gd name="T34" fmla="*/ 771 w 1226"/>
              <a:gd name="T35" fmla="*/ 1130 h 1168"/>
              <a:gd name="T36" fmla="*/ 801 w 1226"/>
              <a:gd name="T37" fmla="*/ 1157 h 1168"/>
              <a:gd name="T38" fmla="*/ 842 w 1226"/>
              <a:gd name="T39" fmla="*/ 1168 h 1168"/>
              <a:gd name="T40" fmla="*/ 880 w 1226"/>
              <a:gd name="T41" fmla="*/ 1163 h 1168"/>
              <a:gd name="T42" fmla="*/ 919 w 1226"/>
              <a:gd name="T43" fmla="*/ 1140 h 1168"/>
              <a:gd name="T44" fmla="*/ 944 w 1226"/>
              <a:gd name="T45" fmla="*/ 1107 h 1168"/>
              <a:gd name="T46" fmla="*/ 952 w 1226"/>
              <a:gd name="T47" fmla="*/ 1060 h 1168"/>
              <a:gd name="T48" fmla="*/ 930 w 1226"/>
              <a:gd name="T49" fmla="*/ 1010 h 1168"/>
              <a:gd name="T50" fmla="*/ 885 w 1226"/>
              <a:gd name="T51" fmla="*/ 989 h 1168"/>
              <a:gd name="T52" fmla="*/ 919 w 1226"/>
              <a:gd name="T53" fmla="*/ 879 h 1168"/>
              <a:gd name="T54" fmla="*/ 954 w 1226"/>
              <a:gd name="T55" fmla="*/ 807 h 1168"/>
              <a:gd name="T56" fmla="*/ 1024 w 1226"/>
              <a:gd name="T57" fmla="*/ 715 h 1168"/>
              <a:gd name="T58" fmla="*/ 1095 w 1226"/>
              <a:gd name="T59" fmla="*/ 673 h 1168"/>
              <a:gd name="T60" fmla="*/ 1125 w 1226"/>
              <a:gd name="T61" fmla="*/ 670 h 1168"/>
              <a:gd name="T62" fmla="*/ 1099 w 1226"/>
              <a:gd name="T63" fmla="*/ 633 h 1168"/>
              <a:gd name="T64" fmla="*/ 1083 w 1226"/>
              <a:gd name="T65" fmla="*/ 543 h 1168"/>
              <a:gd name="T66" fmla="*/ 1096 w 1226"/>
              <a:gd name="T67" fmla="*/ 477 h 1168"/>
              <a:gd name="T68" fmla="*/ 1132 w 1226"/>
              <a:gd name="T69" fmla="*/ 395 h 1168"/>
              <a:gd name="T70" fmla="*/ 1195 w 1226"/>
              <a:gd name="T71" fmla="*/ 258 h 1168"/>
              <a:gd name="T72" fmla="*/ 1225 w 1226"/>
              <a:gd name="T73" fmla="*/ 141 h 1168"/>
              <a:gd name="T74" fmla="*/ 1217 w 1226"/>
              <a:gd name="T75" fmla="*/ 95 h 1168"/>
              <a:gd name="T76" fmla="*/ 1187 w 1226"/>
              <a:gd name="T77" fmla="*/ 55 h 1168"/>
              <a:gd name="T78" fmla="*/ 1144 w 1226"/>
              <a:gd name="T79" fmla="*/ 34 h 1168"/>
              <a:gd name="T80" fmla="*/ 1104 w 1226"/>
              <a:gd name="T81" fmla="*/ 35 h 1168"/>
              <a:gd name="T82" fmla="*/ 1061 w 1226"/>
              <a:gd name="T83" fmla="*/ 57 h 1168"/>
              <a:gd name="T84" fmla="*/ 1033 w 1226"/>
              <a:gd name="T85" fmla="*/ 94 h 1168"/>
              <a:gd name="T86" fmla="*/ 1025 w 1226"/>
              <a:gd name="T87" fmla="*/ 139 h 1168"/>
              <a:gd name="T88" fmla="*/ 1048 w 1226"/>
              <a:gd name="T89" fmla="*/ 205 h 1168"/>
              <a:gd name="T90" fmla="*/ 1095 w 1226"/>
              <a:gd name="T91" fmla="*/ 230 h 1168"/>
              <a:gd name="T92" fmla="*/ 1107 w 1226"/>
              <a:gd name="T93" fmla="*/ 240 h 1168"/>
              <a:gd name="T94" fmla="*/ 1044 w 1226"/>
              <a:gd name="T95" fmla="*/ 390 h 1168"/>
              <a:gd name="T96" fmla="*/ 975 w 1226"/>
              <a:gd name="T97" fmla="*/ 431 h 1168"/>
              <a:gd name="T98" fmla="*/ 717 w 1226"/>
              <a:gd name="T99" fmla="*/ 289 h 1168"/>
              <a:gd name="T100" fmla="*/ 529 w 1226"/>
              <a:gd name="T101" fmla="*/ 205 h 1168"/>
              <a:gd name="T102" fmla="*/ 317 w 1226"/>
              <a:gd name="T103" fmla="*/ 140 h 1168"/>
              <a:gd name="T104" fmla="*/ 378 w 1226"/>
              <a:gd name="T105" fmla="*/ 31 h 1168"/>
              <a:gd name="T106" fmla="*/ 389 w 1226"/>
              <a:gd name="T107" fmla="*/ 0 h 1168"/>
              <a:gd name="T108" fmla="*/ 367 w 1226"/>
              <a:gd name="T109" fmla="*/ 10 h 1168"/>
              <a:gd name="T110" fmla="*/ 285 w 1226"/>
              <a:gd name="T111" fmla="*/ 57 h 1168"/>
              <a:gd name="T112" fmla="*/ 211 w 1226"/>
              <a:gd name="T113" fmla="*/ 85 h 1168"/>
              <a:gd name="T114" fmla="*/ 147 w 1226"/>
              <a:gd name="T115" fmla="*/ 85 h 1168"/>
              <a:gd name="T116" fmla="*/ 114 w 1226"/>
              <a:gd name="T117" fmla="*/ 85 h 1168"/>
              <a:gd name="T118" fmla="*/ 87 w 1226"/>
              <a:gd name="T119" fmla="*/ 134 h 1168"/>
              <a:gd name="T120" fmla="*/ 42 w 1226"/>
              <a:gd name="T121" fmla="*/ 261 h 1168"/>
              <a:gd name="T122" fmla="*/ 6 w 1226"/>
              <a:gd name="T123" fmla="*/ 327 h 1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6" h="1168">
                <a:moveTo>
                  <a:pt x="1" y="345"/>
                </a:moveTo>
                <a:lnTo>
                  <a:pt x="1" y="345"/>
                </a:lnTo>
                <a:lnTo>
                  <a:pt x="0" y="359"/>
                </a:lnTo>
                <a:lnTo>
                  <a:pt x="0" y="370"/>
                </a:lnTo>
                <a:lnTo>
                  <a:pt x="2" y="386"/>
                </a:lnTo>
                <a:lnTo>
                  <a:pt x="5" y="401"/>
                </a:lnTo>
                <a:lnTo>
                  <a:pt x="8" y="409"/>
                </a:lnTo>
                <a:lnTo>
                  <a:pt x="11" y="417"/>
                </a:lnTo>
                <a:lnTo>
                  <a:pt x="16" y="425"/>
                </a:lnTo>
                <a:lnTo>
                  <a:pt x="22" y="434"/>
                </a:lnTo>
                <a:lnTo>
                  <a:pt x="28" y="442"/>
                </a:lnTo>
                <a:lnTo>
                  <a:pt x="36" y="449"/>
                </a:lnTo>
                <a:lnTo>
                  <a:pt x="36" y="449"/>
                </a:lnTo>
                <a:lnTo>
                  <a:pt x="48" y="458"/>
                </a:lnTo>
                <a:lnTo>
                  <a:pt x="61" y="466"/>
                </a:lnTo>
                <a:lnTo>
                  <a:pt x="76" y="473"/>
                </a:lnTo>
                <a:lnTo>
                  <a:pt x="91" y="478"/>
                </a:lnTo>
                <a:lnTo>
                  <a:pt x="105" y="480"/>
                </a:lnTo>
                <a:lnTo>
                  <a:pt x="113" y="480"/>
                </a:lnTo>
                <a:lnTo>
                  <a:pt x="120" y="479"/>
                </a:lnTo>
                <a:lnTo>
                  <a:pt x="126" y="478"/>
                </a:lnTo>
                <a:lnTo>
                  <a:pt x="132" y="476"/>
                </a:lnTo>
                <a:lnTo>
                  <a:pt x="137" y="473"/>
                </a:lnTo>
                <a:lnTo>
                  <a:pt x="142" y="469"/>
                </a:lnTo>
                <a:lnTo>
                  <a:pt x="142" y="469"/>
                </a:lnTo>
                <a:lnTo>
                  <a:pt x="147" y="464"/>
                </a:lnTo>
                <a:lnTo>
                  <a:pt x="152" y="457"/>
                </a:lnTo>
                <a:lnTo>
                  <a:pt x="155" y="451"/>
                </a:lnTo>
                <a:lnTo>
                  <a:pt x="158" y="444"/>
                </a:lnTo>
                <a:lnTo>
                  <a:pt x="160" y="436"/>
                </a:lnTo>
                <a:lnTo>
                  <a:pt x="161" y="428"/>
                </a:lnTo>
                <a:lnTo>
                  <a:pt x="162" y="411"/>
                </a:lnTo>
                <a:lnTo>
                  <a:pt x="162" y="395"/>
                </a:lnTo>
                <a:lnTo>
                  <a:pt x="163" y="378"/>
                </a:lnTo>
                <a:lnTo>
                  <a:pt x="164" y="370"/>
                </a:lnTo>
                <a:lnTo>
                  <a:pt x="166" y="362"/>
                </a:lnTo>
                <a:lnTo>
                  <a:pt x="168" y="355"/>
                </a:lnTo>
                <a:lnTo>
                  <a:pt x="172" y="347"/>
                </a:lnTo>
                <a:lnTo>
                  <a:pt x="172" y="347"/>
                </a:lnTo>
                <a:lnTo>
                  <a:pt x="174" y="344"/>
                </a:lnTo>
                <a:lnTo>
                  <a:pt x="178" y="341"/>
                </a:lnTo>
                <a:lnTo>
                  <a:pt x="187" y="335"/>
                </a:lnTo>
                <a:lnTo>
                  <a:pt x="195" y="332"/>
                </a:lnTo>
                <a:lnTo>
                  <a:pt x="198" y="331"/>
                </a:lnTo>
                <a:lnTo>
                  <a:pt x="198" y="331"/>
                </a:lnTo>
                <a:lnTo>
                  <a:pt x="205" y="329"/>
                </a:lnTo>
                <a:lnTo>
                  <a:pt x="211" y="326"/>
                </a:lnTo>
                <a:lnTo>
                  <a:pt x="217" y="323"/>
                </a:lnTo>
                <a:lnTo>
                  <a:pt x="223" y="318"/>
                </a:lnTo>
                <a:lnTo>
                  <a:pt x="223" y="318"/>
                </a:lnTo>
                <a:lnTo>
                  <a:pt x="264" y="337"/>
                </a:lnTo>
                <a:lnTo>
                  <a:pt x="305" y="355"/>
                </a:lnTo>
                <a:lnTo>
                  <a:pt x="347" y="374"/>
                </a:lnTo>
                <a:lnTo>
                  <a:pt x="388" y="395"/>
                </a:lnTo>
                <a:lnTo>
                  <a:pt x="427" y="416"/>
                </a:lnTo>
                <a:lnTo>
                  <a:pt x="468" y="439"/>
                </a:lnTo>
                <a:lnTo>
                  <a:pt x="509" y="461"/>
                </a:lnTo>
                <a:lnTo>
                  <a:pt x="549" y="485"/>
                </a:lnTo>
                <a:lnTo>
                  <a:pt x="589" y="509"/>
                </a:lnTo>
                <a:lnTo>
                  <a:pt x="628" y="534"/>
                </a:lnTo>
                <a:lnTo>
                  <a:pt x="706" y="584"/>
                </a:lnTo>
                <a:lnTo>
                  <a:pt x="782" y="636"/>
                </a:lnTo>
                <a:lnTo>
                  <a:pt x="857" y="689"/>
                </a:lnTo>
                <a:lnTo>
                  <a:pt x="857" y="689"/>
                </a:lnTo>
                <a:lnTo>
                  <a:pt x="876" y="703"/>
                </a:lnTo>
                <a:lnTo>
                  <a:pt x="894" y="714"/>
                </a:lnTo>
                <a:lnTo>
                  <a:pt x="894" y="714"/>
                </a:lnTo>
                <a:lnTo>
                  <a:pt x="887" y="736"/>
                </a:lnTo>
                <a:lnTo>
                  <a:pt x="878" y="759"/>
                </a:lnTo>
                <a:lnTo>
                  <a:pt x="868" y="783"/>
                </a:lnTo>
                <a:lnTo>
                  <a:pt x="856" y="809"/>
                </a:lnTo>
                <a:lnTo>
                  <a:pt x="856" y="809"/>
                </a:lnTo>
                <a:lnTo>
                  <a:pt x="816" y="885"/>
                </a:lnTo>
                <a:lnTo>
                  <a:pt x="797" y="921"/>
                </a:lnTo>
                <a:lnTo>
                  <a:pt x="779" y="957"/>
                </a:lnTo>
                <a:lnTo>
                  <a:pt x="772" y="975"/>
                </a:lnTo>
                <a:lnTo>
                  <a:pt x="766" y="992"/>
                </a:lnTo>
                <a:lnTo>
                  <a:pt x="760" y="1008"/>
                </a:lnTo>
                <a:lnTo>
                  <a:pt x="756" y="1025"/>
                </a:lnTo>
                <a:lnTo>
                  <a:pt x="753" y="1040"/>
                </a:lnTo>
                <a:lnTo>
                  <a:pt x="751" y="1054"/>
                </a:lnTo>
                <a:lnTo>
                  <a:pt x="751" y="1069"/>
                </a:lnTo>
                <a:lnTo>
                  <a:pt x="752" y="1081"/>
                </a:lnTo>
                <a:lnTo>
                  <a:pt x="752" y="1081"/>
                </a:lnTo>
                <a:lnTo>
                  <a:pt x="754" y="1090"/>
                </a:lnTo>
                <a:lnTo>
                  <a:pt x="756" y="1099"/>
                </a:lnTo>
                <a:lnTo>
                  <a:pt x="759" y="1107"/>
                </a:lnTo>
                <a:lnTo>
                  <a:pt x="762" y="1116"/>
                </a:lnTo>
                <a:lnTo>
                  <a:pt x="766" y="1123"/>
                </a:lnTo>
                <a:lnTo>
                  <a:pt x="771" y="1130"/>
                </a:lnTo>
                <a:lnTo>
                  <a:pt x="776" y="1136"/>
                </a:lnTo>
                <a:lnTo>
                  <a:pt x="781" y="1142"/>
                </a:lnTo>
                <a:lnTo>
                  <a:pt x="787" y="1147"/>
                </a:lnTo>
                <a:lnTo>
                  <a:pt x="794" y="1152"/>
                </a:lnTo>
                <a:lnTo>
                  <a:pt x="801" y="1157"/>
                </a:lnTo>
                <a:lnTo>
                  <a:pt x="808" y="1160"/>
                </a:lnTo>
                <a:lnTo>
                  <a:pt x="816" y="1163"/>
                </a:lnTo>
                <a:lnTo>
                  <a:pt x="824" y="1165"/>
                </a:lnTo>
                <a:lnTo>
                  <a:pt x="833" y="1167"/>
                </a:lnTo>
                <a:lnTo>
                  <a:pt x="842" y="1168"/>
                </a:lnTo>
                <a:lnTo>
                  <a:pt x="842" y="1168"/>
                </a:lnTo>
                <a:lnTo>
                  <a:pt x="852" y="1168"/>
                </a:lnTo>
                <a:lnTo>
                  <a:pt x="862" y="1167"/>
                </a:lnTo>
                <a:lnTo>
                  <a:pt x="871" y="1165"/>
                </a:lnTo>
                <a:lnTo>
                  <a:pt x="880" y="1163"/>
                </a:lnTo>
                <a:lnTo>
                  <a:pt x="889" y="1160"/>
                </a:lnTo>
                <a:lnTo>
                  <a:pt x="897" y="1155"/>
                </a:lnTo>
                <a:lnTo>
                  <a:pt x="905" y="1151"/>
                </a:lnTo>
                <a:lnTo>
                  <a:pt x="912" y="1146"/>
                </a:lnTo>
                <a:lnTo>
                  <a:pt x="919" y="1140"/>
                </a:lnTo>
                <a:lnTo>
                  <a:pt x="925" y="1135"/>
                </a:lnTo>
                <a:lnTo>
                  <a:pt x="931" y="1129"/>
                </a:lnTo>
                <a:lnTo>
                  <a:pt x="936" y="1122"/>
                </a:lnTo>
                <a:lnTo>
                  <a:pt x="940" y="1115"/>
                </a:lnTo>
                <a:lnTo>
                  <a:pt x="944" y="1107"/>
                </a:lnTo>
                <a:lnTo>
                  <a:pt x="947" y="1100"/>
                </a:lnTo>
                <a:lnTo>
                  <a:pt x="949" y="1092"/>
                </a:lnTo>
                <a:lnTo>
                  <a:pt x="949" y="1092"/>
                </a:lnTo>
                <a:lnTo>
                  <a:pt x="951" y="1076"/>
                </a:lnTo>
                <a:lnTo>
                  <a:pt x="952" y="1060"/>
                </a:lnTo>
                <a:lnTo>
                  <a:pt x="950" y="1048"/>
                </a:lnTo>
                <a:lnTo>
                  <a:pt x="947" y="1036"/>
                </a:lnTo>
                <a:lnTo>
                  <a:pt x="942" y="1027"/>
                </a:lnTo>
                <a:lnTo>
                  <a:pt x="937" y="1017"/>
                </a:lnTo>
                <a:lnTo>
                  <a:pt x="930" y="1010"/>
                </a:lnTo>
                <a:lnTo>
                  <a:pt x="922" y="1005"/>
                </a:lnTo>
                <a:lnTo>
                  <a:pt x="915" y="1000"/>
                </a:lnTo>
                <a:lnTo>
                  <a:pt x="908" y="996"/>
                </a:lnTo>
                <a:lnTo>
                  <a:pt x="894" y="991"/>
                </a:lnTo>
                <a:lnTo>
                  <a:pt x="885" y="989"/>
                </a:lnTo>
                <a:lnTo>
                  <a:pt x="880" y="989"/>
                </a:lnTo>
                <a:lnTo>
                  <a:pt x="880" y="989"/>
                </a:lnTo>
                <a:lnTo>
                  <a:pt x="896" y="944"/>
                </a:lnTo>
                <a:lnTo>
                  <a:pt x="908" y="908"/>
                </a:lnTo>
                <a:lnTo>
                  <a:pt x="919" y="879"/>
                </a:lnTo>
                <a:lnTo>
                  <a:pt x="919" y="879"/>
                </a:lnTo>
                <a:lnTo>
                  <a:pt x="927" y="859"/>
                </a:lnTo>
                <a:lnTo>
                  <a:pt x="937" y="841"/>
                </a:lnTo>
                <a:lnTo>
                  <a:pt x="945" y="823"/>
                </a:lnTo>
                <a:lnTo>
                  <a:pt x="954" y="807"/>
                </a:lnTo>
                <a:lnTo>
                  <a:pt x="962" y="792"/>
                </a:lnTo>
                <a:lnTo>
                  <a:pt x="971" y="777"/>
                </a:lnTo>
                <a:lnTo>
                  <a:pt x="989" y="753"/>
                </a:lnTo>
                <a:lnTo>
                  <a:pt x="1006" y="732"/>
                </a:lnTo>
                <a:lnTo>
                  <a:pt x="1024" y="715"/>
                </a:lnTo>
                <a:lnTo>
                  <a:pt x="1040" y="702"/>
                </a:lnTo>
                <a:lnTo>
                  <a:pt x="1055" y="690"/>
                </a:lnTo>
                <a:lnTo>
                  <a:pt x="1070" y="683"/>
                </a:lnTo>
                <a:lnTo>
                  <a:pt x="1083" y="677"/>
                </a:lnTo>
                <a:lnTo>
                  <a:pt x="1095" y="673"/>
                </a:lnTo>
                <a:lnTo>
                  <a:pt x="1105" y="671"/>
                </a:lnTo>
                <a:lnTo>
                  <a:pt x="1114" y="670"/>
                </a:lnTo>
                <a:lnTo>
                  <a:pt x="1120" y="670"/>
                </a:lnTo>
                <a:lnTo>
                  <a:pt x="1125" y="670"/>
                </a:lnTo>
                <a:lnTo>
                  <a:pt x="1125" y="670"/>
                </a:lnTo>
                <a:lnTo>
                  <a:pt x="1121" y="666"/>
                </a:lnTo>
                <a:lnTo>
                  <a:pt x="1116" y="661"/>
                </a:lnTo>
                <a:lnTo>
                  <a:pt x="1111" y="653"/>
                </a:lnTo>
                <a:lnTo>
                  <a:pt x="1104" y="644"/>
                </a:lnTo>
                <a:lnTo>
                  <a:pt x="1099" y="633"/>
                </a:lnTo>
                <a:lnTo>
                  <a:pt x="1093" y="620"/>
                </a:lnTo>
                <a:lnTo>
                  <a:pt x="1088" y="603"/>
                </a:lnTo>
                <a:lnTo>
                  <a:pt x="1085" y="586"/>
                </a:lnTo>
                <a:lnTo>
                  <a:pt x="1083" y="566"/>
                </a:lnTo>
                <a:lnTo>
                  <a:pt x="1083" y="543"/>
                </a:lnTo>
                <a:lnTo>
                  <a:pt x="1084" y="531"/>
                </a:lnTo>
                <a:lnTo>
                  <a:pt x="1086" y="519"/>
                </a:lnTo>
                <a:lnTo>
                  <a:pt x="1088" y="505"/>
                </a:lnTo>
                <a:lnTo>
                  <a:pt x="1092" y="491"/>
                </a:lnTo>
                <a:lnTo>
                  <a:pt x="1096" y="477"/>
                </a:lnTo>
                <a:lnTo>
                  <a:pt x="1101" y="461"/>
                </a:lnTo>
                <a:lnTo>
                  <a:pt x="1107" y="446"/>
                </a:lnTo>
                <a:lnTo>
                  <a:pt x="1115" y="430"/>
                </a:lnTo>
                <a:lnTo>
                  <a:pt x="1123" y="412"/>
                </a:lnTo>
                <a:lnTo>
                  <a:pt x="1132" y="395"/>
                </a:lnTo>
                <a:lnTo>
                  <a:pt x="1132" y="395"/>
                </a:lnTo>
                <a:lnTo>
                  <a:pt x="1152" y="358"/>
                </a:lnTo>
                <a:lnTo>
                  <a:pt x="1169" y="322"/>
                </a:lnTo>
                <a:lnTo>
                  <a:pt x="1184" y="289"/>
                </a:lnTo>
                <a:lnTo>
                  <a:pt x="1195" y="258"/>
                </a:lnTo>
                <a:lnTo>
                  <a:pt x="1206" y="227"/>
                </a:lnTo>
                <a:lnTo>
                  <a:pt x="1214" y="197"/>
                </a:lnTo>
                <a:lnTo>
                  <a:pt x="1220" y="169"/>
                </a:lnTo>
                <a:lnTo>
                  <a:pt x="1225" y="141"/>
                </a:lnTo>
                <a:lnTo>
                  <a:pt x="1225" y="141"/>
                </a:lnTo>
                <a:lnTo>
                  <a:pt x="1226" y="132"/>
                </a:lnTo>
                <a:lnTo>
                  <a:pt x="1225" y="123"/>
                </a:lnTo>
                <a:lnTo>
                  <a:pt x="1224" y="114"/>
                </a:lnTo>
                <a:lnTo>
                  <a:pt x="1221" y="104"/>
                </a:lnTo>
                <a:lnTo>
                  <a:pt x="1217" y="95"/>
                </a:lnTo>
                <a:lnTo>
                  <a:pt x="1213" y="87"/>
                </a:lnTo>
                <a:lnTo>
                  <a:pt x="1208" y="78"/>
                </a:lnTo>
                <a:lnTo>
                  <a:pt x="1202" y="70"/>
                </a:lnTo>
                <a:lnTo>
                  <a:pt x="1194" y="63"/>
                </a:lnTo>
                <a:lnTo>
                  <a:pt x="1187" y="55"/>
                </a:lnTo>
                <a:lnTo>
                  <a:pt x="1179" y="49"/>
                </a:lnTo>
                <a:lnTo>
                  <a:pt x="1171" y="44"/>
                </a:lnTo>
                <a:lnTo>
                  <a:pt x="1163" y="39"/>
                </a:lnTo>
                <a:lnTo>
                  <a:pt x="1153" y="36"/>
                </a:lnTo>
                <a:lnTo>
                  <a:pt x="1144" y="34"/>
                </a:lnTo>
                <a:lnTo>
                  <a:pt x="1134" y="32"/>
                </a:lnTo>
                <a:lnTo>
                  <a:pt x="1134" y="32"/>
                </a:lnTo>
                <a:lnTo>
                  <a:pt x="1124" y="32"/>
                </a:lnTo>
                <a:lnTo>
                  <a:pt x="1115" y="33"/>
                </a:lnTo>
                <a:lnTo>
                  <a:pt x="1104" y="35"/>
                </a:lnTo>
                <a:lnTo>
                  <a:pt x="1095" y="38"/>
                </a:lnTo>
                <a:lnTo>
                  <a:pt x="1086" y="42"/>
                </a:lnTo>
                <a:lnTo>
                  <a:pt x="1078" y="46"/>
                </a:lnTo>
                <a:lnTo>
                  <a:pt x="1070" y="52"/>
                </a:lnTo>
                <a:lnTo>
                  <a:pt x="1061" y="57"/>
                </a:lnTo>
                <a:lnTo>
                  <a:pt x="1054" y="65"/>
                </a:lnTo>
                <a:lnTo>
                  <a:pt x="1048" y="71"/>
                </a:lnTo>
                <a:lnTo>
                  <a:pt x="1042" y="78"/>
                </a:lnTo>
                <a:lnTo>
                  <a:pt x="1037" y="86"/>
                </a:lnTo>
                <a:lnTo>
                  <a:pt x="1033" y="94"/>
                </a:lnTo>
                <a:lnTo>
                  <a:pt x="1029" y="102"/>
                </a:lnTo>
                <a:lnTo>
                  <a:pt x="1027" y="111"/>
                </a:lnTo>
                <a:lnTo>
                  <a:pt x="1026" y="119"/>
                </a:lnTo>
                <a:lnTo>
                  <a:pt x="1026" y="119"/>
                </a:lnTo>
                <a:lnTo>
                  <a:pt x="1025" y="139"/>
                </a:lnTo>
                <a:lnTo>
                  <a:pt x="1026" y="158"/>
                </a:lnTo>
                <a:lnTo>
                  <a:pt x="1030" y="173"/>
                </a:lnTo>
                <a:lnTo>
                  <a:pt x="1035" y="185"/>
                </a:lnTo>
                <a:lnTo>
                  <a:pt x="1041" y="195"/>
                </a:lnTo>
                <a:lnTo>
                  <a:pt x="1048" y="205"/>
                </a:lnTo>
                <a:lnTo>
                  <a:pt x="1056" y="212"/>
                </a:lnTo>
                <a:lnTo>
                  <a:pt x="1065" y="217"/>
                </a:lnTo>
                <a:lnTo>
                  <a:pt x="1073" y="221"/>
                </a:lnTo>
                <a:lnTo>
                  <a:pt x="1081" y="225"/>
                </a:lnTo>
                <a:lnTo>
                  <a:pt x="1095" y="230"/>
                </a:lnTo>
                <a:lnTo>
                  <a:pt x="1101" y="232"/>
                </a:lnTo>
                <a:lnTo>
                  <a:pt x="1104" y="234"/>
                </a:lnTo>
                <a:lnTo>
                  <a:pt x="1107" y="237"/>
                </a:lnTo>
                <a:lnTo>
                  <a:pt x="1107" y="240"/>
                </a:lnTo>
                <a:lnTo>
                  <a:pt x="1107" y="240"/>
                </a:lnTo>
                <a:lnTo>
                  <a:pt x="1096" y="276"/>
                </a:lnTo>
                <a:lnTo>
                  <a:pt x="1084" y="309"/>
                </a:lnTo>
                <a:lnTo>
                  <a:pt x="1071" y="339"/>
                </a:lnTo>
                <a:lnTo>
                  <a:pt x="1057" y="365"/>
                </a:lnTo>
                <a:lnTo>
                  <a:pt x="1044" y="390"/>
                </a:lnTo>
                <a:lnTo>
                  <a:pt x="1031" y="411"/>
                </a:lnTo>
                <a:lnTo>
                  <a:pt x="1016" y="431"/>
                </a:lnTo>
                <a:lnTo>
                  <a:pt x="1002" y="447"/>
                </a:lnTo>
                <a:lnTo>
                  <a:pt x="1002" y="447"/>
                </a:lnTo>
                <a:lnTo>
                  <a:pt x="975" y="431"/>
                </a:lnTo>
                <a:lnTo>
                  <a:pt x="942" y="411"/>
                </a:lnTo>
                <a:lnTo>
                  <a:pt x="942" y="411"/>
                </a:lnTo>
                <a:lnTo>
                  <a:pt x="865" y="369"/>
                </a:lnTo>
                <a:lnTo>
                  <a:pt x="790" y="328"/>
                </a:lnTo>
                <a:lnTo>
                  <a:pt x="717" y="289"/>
                </a:lnTo>
                <a:lnTo>
                  <a:pt x="680" y="271"/>
                </a:lnTo>
                <a:lnTo>
                  <a:pt x="643" y="254"/>
                </a:lnTo>
                <a:lnTo>
                  <a:pt x="606" y="236"/>
                </a:lnTo>
                <a:lnTo>
                  <a:pt x="568" y="221"/>
                </a:lnTo>
                <a:lnTo>
                  <a:pt x="529" y="205"/>
                </a:lnTo>
                <a:lnTo>
                  <a:pt x="489" y="190"/>
                </a:lnTo>
                <a:lnTo>
                  <a:pt x="448" y="176"/>
                </a:lnTo>
                <a:lnTo>
                  <a:pt x="406" y="164"/>
                </a:lnTo>
                <a:lnTo>
                  <a:pt x="362" y="151"/>
                </a:lnTo>
                <a:lnTo>
                  <a:pt x="317" y="140"/>
                </a:lnTo>
                <a:lnTo>
                  <a:pt x="317" y="140"/>
                </a:lnTo>
                <a:lnTo>
                  <a:pt x="334" y="107"/>
                </a:lnTo>
                <a:lnTo>
                  <a:pt x="334" y="107"/>
                </a:lnTo>
                <a:lnTo>
                  <a:pt x="360" y="63"/>
                </a:lnTo>
                <a:lnTo>
                  <a:pt x="378" y="31"/>
                </a:lnTo>
                <a:lnTo>
                  <a:pt x="385" y="20"/>
                </a:lnTo>
                <a:lnTo>
                  <a:pt x="389" y="10"/>
                </a:lnTo>
                <a:lnTo>
                  <a:pt x="391" y="4"/>
                </a:lnTo>
                <a:lnTo>
                  <a:pt x="390" y="2"/>
                </a:lnTo>
                <a:lnTo>
                  <a:pt x="389" y="0"/>
                </a:lnTo>
                <a:lnTo>
                  <a:pt x="389" y="0"/>
                </a:lnTo>
                <a:lnTo>
                  <a:pt x="388" y="0"/>
                </a:lnTo>
                <a:lnTo>
                  <a:pt x="387" y="0"/>
                </a:lnTo>
                <a:lnTo>
                  <a:pt x="381" y="1"/>
                </a:lnTo>
                <a:lnTo>
                  <a:pt x="367" y="10"/>
                </a:lnTo>
                <a:lnTo>
                  <a:pt x="343" y="26"/>
                </a:lnTo>
                <a:lnTo>
                  <a:pt x="326" y="35"/>
                </a:lnTo>
                <a:lnTo>
                  <a:pt x="307" y="46"/>
                </a:lnTo>
                <a:lnTo>
                  <a:pt x="307" y="46"/>
                </a:lnTo>
                <a:lnTo>
                  <a:pt x="285" y="57"/>
                </a:lnTo>
                <a:lnTo>
                  <a:pt x="267" y="67"/>
                </a:lnTo>
                <a:lnTo>
                  <a:pt x="252" y="73"/>
                </a:lnTo>
                <a:lnTo>
                  <a:pt x="237" y="78"/>
                </a:lnTo>
                <a:lnTo>
                  <a:pt x="224" y="82"/>
                </a:lnTo>
                <a:lnTo>
                  <a:pt x="211" y="85"/>
                </a:lnTo>
                <a:lnTo>
                  <a:pt x="183" y="89"/>
                </a:lnTo>
                <a:lnTo>
                  <a:pt x="183" y="89"/>
                </a:lnTo>
                <a:lnTo>
                  <a:pt x="174" y="89"/>
                </a:lnTo>
                <a:lnTo>
                  <a:pt x="165" y="88"/>
                </a:lnTo>
                <a:lnTo>
                  <a:pt x="147" y="85"/>
                </a:lnTo>
                <a:lnTo>
                  <a:pt x="132" y="81"/>
                </a:lnTo>
                <a:lnTo>
                  <a:pt x="125" y="81"/>
                </a:lnTo>
                <a:lnTo>
                  <a:pt x="120" y="82"/>
                </a:lnTo>
                <a:lnTo>
                  <a:pt x="120" y="82"/>
                </a:lnTo>
                <a:lnTo>
                  <a:pt x="114" y="85"/>
                </a:lnTo>
                <a:lnTo>
                  <a:pt x="107" y="91"/>
                </a:lnTo>
                <a:lnTo>
                  <a:pt x="102" y="98"/>
                </a:lnTo>
                <a:lnTo>
                  <a:pt x="97" y="107"/>
                </a:lnTo>
                <a:lnTo>
                  <a:pt x="92" y="120"/>
                </a:lnTo>
                <a:lnTo>
                  <a:pt x="87" y="134"/>
                </a:lnTo>
                <a:lnTo>
                  <a:pt x="74" y="171"/>
                </a:lnTo>
                <a:lnTo>
                  <a:pt x="74" y="171"/>
                </a:lnTo>
                <a:lnTo>
                  <a:pt x="49" y="242"/>
                </a:lnTo>
                <a:lnTo>
                  <a:pt x="42" y="261"/>
                </a:lnTo>
                <a:lnTo>
                  <a:pt x="42" y="261"/>
                </a:lnTo>
                <a:lnTo>
                  <a:pt x="34" y="279"/>
                </a:lnTo>
                <a:lnTo>
                  <a:pt x="27" y="293"/>
                </a:lnTo>
                <a:lnTo>
                  <a:pt x="14" y="312"/>
                </a:lnTo>
                <a:lnTo>
                  <a:pt x="10" y="320"/>
                </a:lnTo>
                <a:lnTo>
                  <a:pt x="6" y="327"/>
                </a:lnTo>
                <a:lnTo>
                  <a:pt x="3" y="335"/>
                </a:lnTo>
                <a:lnTo>
                  <a:pt x="1" y="34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6" name="Freeform 33"/>
          <p:cNvSpPr>
            <a:spLocks/>
          </p:cNvSpPr>
          <p:nvPr userDrawn="1"/>
        </p:nvSpPr>
        <p:spPr bwMode="auto">
          <a:xfrm>
            <a:off x="7189787" y="1214140"/>
            <a:ext cx="39688" cy="46038"/>
          </a:xfrm>
          <a:custGeom>
            <a:avLst/>
            <a:gdLst>
              <a:gd name="T0" fmla="*/ 103 w 296"/>
              <a:gd name="T1" fmla="*/ 350 h 350"/>
              <a:gd name="T2" fmla="*/ 103 w 296"/>
              <a:gd name="T3" fmla="*/ 350 h 350"/>
              <a:gd name="T4" fmla="*/ 132 w 296"/>
              <a:gd name="T5" fmla="*/ 349 h 350"/>
              <a:gd name="T6" fmla="*/ 164 w 296"/>
              <a:gd name="T7" fmla="*/ 346 h 350"/>
              <a:gd name="T8" fmla="*/ 196 w 296"/>
              <a:gd name="T9" fmla="*/ 343 h 350"/>
              <a:gd name="T10" fmla="*/ 226 w 296"/>
              <a:gd name="T11" fmla="*/ 339 h 350"/>
              <a:gd name="T12" fmla="*/ 276 w 296"/>
              <a:gd name="T13" fmla="*/ 333 h 350"/>
              <a:gd name="T14" fmla="*/ 296 w 296"/>
              <a:gd name="T15" fmla="*/ 329 h 350"/>
              <a:gd name="T16" fmla="*/ 293 w 296"/>
              <a:gd name="T17" fmla="*/ 25 h 350"/>
              <a:gd name="T18" fmla="*/ 293 w 296"/>
              <a:gd name="T19" fmla="*/ 25 h 350"/>
              <a:gd name="T20" fmla="*/ 244 w 296"/>
              <a:gd name="T21" fmla="*/ 18 h 350"/>
              <a:gd name="T22" fmla="*/ 142 w 296"/>
              <a:gd name="T23" fmla="*/ 2 h 350"/>
              <a:gd name="T24" fmla="*/ 142 w 296"/>
              <a:gd name="T25" fmla="*/ 2 h 350"/>
              <a:gd name="T26" fmla="*/ 129 w 296"/>
              <a:gd name="T27" fmla="*/ 1 h 350"/>
              <a:gd name="T28" fmla="*/ 117 w 296"/>
              <a:gd name="T29" fmla="*/ 0 h 350"/>
              <a:gd name="T30" fmla="*/ 105 w 296"/>
              <a:gd name="T31" fmla="*/ 0 h 350"/>
              <a:gd name="T32" fmla="*/ 94 w 296"/>
              <a:gd name="T33" fmla="*/ 1 h 350"/>
              <a:gd name="T34" fmla="*/ 84 w 296"/>
              <a:gd name="T35" fmla="*/ 3 h 350"/>
              <a:gd name="T36" fmla="*/ 75 w 296"/>
              <a:gd name="T37" fmla="*/ 6 h 350"/>
              <a:gd name="T38" fmla="*/ 66 w 296"/>
              <a:gd name="T39" fmla="*/ 9 h 350"/>
              <a:gd name="T40" fmla="*/ 59 w 296"/>
              <a:gd name="T41" fmla="*/ 13 h 350"/>
              <a:gd name="T42" fmla="*/ 51 w 296"/>
              <a:gd name="T43" fmla="*/ 17 h 350"/>
              <a:gd name="T44" fmla="*/ 44 w 296"/>
              <a:gd name="T45" fmla="*/ 22 h 350"/>
              <a:gd name="T46" fmla="*/ 38 w 296"/>
              <a:gd name="T47" fmla="*/ 27 h 350"/>
              <a:gd name="T48" fmla="*/ 33 w 296"/>
              <a:gd name="T49" fmla="*/ 32 h 350"/>
              <a:gd name="T50" fmla="*/ 24 w 296"/>
              <a:gd name="T51" fmla="*/ 45 h 350"/>
              <a:gd name="T52" fmla="*/ 17 w 296"/>
              <a:gd name="T53" fmla="*/ 57 h 350"/>
              <a:gd name="T54" fmla="*/ 11 w 296"/>
              <a:gd name="T55" fmla="*/ 70 h 350"/>
              <a:gd name="T56" fmla="*/ 6 w 296"/>
              <a:gd name="T57" fmla="*/ 83 h 350"/>
              <a:gd name="T58" fmla="*/ 3 w 296"/>
              <a:gd name="T59" fmla="*/ 96 h 350"/>
              <a:gd name="T60" fmla="*/ 1 w 296"/>
              <a:gd name="T61" fmla="*/ 106 h 350"/>
              <a:gd name="T62" fmla="*/ 0 w 296"/>
              <a:gd name="T63" fmla="*/ 123 h 350"/>
              <a:gd name="T64" fmla="*/ 0 w 296"/>
              <a:gd name="T65" fmla="*/ 129 h 350"/>
              <a:gd name="T66" fmla="*/ 4 w 296"/>
              <a:gd name="T67" fmla="*/ 213 h 350"/>
              <a:gd name="T68" fmla="*/ 4 w 296"/>
              <a:gd name="T69" fmla="*/ 213 h 350"/>
              <a:gd name="T70" fmla="*/ 4 w 296"/>
              <a:gd name="T71" fmla="*/ 219 h 350"/>
              <a:gd name="T72" fmla="*/ 6 w 296"/>
              <a:gd name="T73" fmla="*/ 235 h 350"/>
              <a:gd name="T74" fmla="*/ 11 w 296"/>
              <a:gd name="T75" fmla="*/ 256 h 350"/>
              <a:gd name="T76" fmla="*/ 15 w 296"/>
              <a:gd name="T77" fmla="*/ 268 h 350"/>
              <a:gd name="T78" fmla="*/ 19 w 296"/>
              <a:gd name="T79" fmla="*/ 282 h 350"/>
              <a:gd name="T80" fmla="*/ 24 w 296"/>
              <a:gd name="T81" fmla="*/ 294 h 350"/>
              <a:gd name="T82" fmla="*/ 31 w 296"/>
              <a:gd name="T83" fmla="*/ 306 h 350"/>
              <a:gd name="T84" fmla="*/ 39 w 296"/>
              <a:gd name="T85" fmla="*/ 319 h 350"/>
              <a:gd name="T86" fmla="*/ 48 w 296"/>
              <a:gd name="T87" fmla="*/ 329 h 350"/>
              <a:gd name="T88" fmla="*/ 53 w 296"/>
              <a:gd name="T89" fmla="*/ 333 h 350"/>
              <a:gd name="T90" fmla="*/ 60 w 296"/>
              <a:gd name="T91" fmla="*/ 337 h 350"/>
              <a:gd name="T92" fmla="*/ 66 w 296"/>
              <a:gd name="T93" fmla="*/ 341 h 350"/>
              <a:gd name="T94" fmla="*/ 72 w 296"/>
              <a:gd name="T95" fmla="*/ 344 h 350"/>
              <a:gd name="T96" fmla="*/ 79 w 296"/>
              <a:gd name="T97" fmla="*/ 346 h 350"/>
              <a:gd name="T98" fmla="*/ 86 w 296"/>
              <a:gd name="T99" fmla="*/ 348 h 350"/>
              <a:gd name="T100" fmla="*/ 94 w 296"/>
              <a:gd name="T101" fmla="*/ 349 h 350"/>
              <a:gd name="T102" fmla="*/ 103 w 296"/>
              <a:gd name="T103" fmla="*/ 35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6" h="350">
                <a:moveTo>
                  <a:pt x="103" y="350"/>
                </a:moveTo>
                <a:lnTo>
                  <a:pt x="103" y="350"/>
                </a:lnTo>
                <a:lnTo>
                  <a:pt x="132" y="349"/>
                </a:lnTo>
                <a:lnTo>
                  <a:pt x="164" y="346"/>
                </a:lnTo>
                <a:lnTo>
                  <a:pt x="196" y="343"/>
                </a:lnTo>
                <a:lnTo>
                  <a:pt x="226" y="339"/>
                </a:lnTo>
                <a:lnTo>
                  <a:pt x="276" y="333"/>
                </a:lnTo>
                <a:lnTo>
                  <a:pt x="296" y="329"/>
                </a:lnTo>
                <a:lnTo>
                  <a:pt x="293" y="25"/>
                </a:lnTo>
                <a:lnTo>
                  <a:pt x="293" y="25"/>
                </a:lnTo>
                <a:lnTo>
                  <a:pt x="244" y="18"/>
                </a:lnTo>
                <a:lnTo>
                  <a:pt x="142" y="2"/>
                </a:lnTo>
                <a:lnTo>
                  <a:pt x="142" y="2"/>
                </a:lnTo>
                <a:lnTo>
                  <a:pt x="129" y="1"/>
                </a:lnTo>
                <a:lnTo>
                  <a:pt x="117" y="0"/>
                </a:lnTo>
                <a:lnTo>
                  <a:pt x="105" y="0"/>
                </a:lnTo>
                <a:lnTo>
                  <a:pt x="94" y="1"/>
                </a:lnTo>
                <a:lnTo>
                  <a:pt x="84" y="3"/>
                </a:lnTo>
                <a:lnTo>
                  <a:pt x="75" y="6"/>
                </a:lnTo>
                <a:lnTo>
                  <a:pt x="66" y="9"/>
                </a:lnTo>
                <a:lnTo>
                  <a:pt x="59" y="13"/>
                </a:lnTo>
                <a:lnTo>
                  <a:pt x="51" y="17"/>
                </a:lnTo>
                <a:lnTo>
                  <a:pt x="44" y="22"/>
                </a:lnTo>
                <a:lnTo>
                  <a:pt x="38" y="27"/>
                </a:lnTo>
                <a:lnTo>
                  <a:pt x="33" y="32"/>
                </a:lnTo>
                <a:lnTo>
                  <a:pt x="24" y="45"/>
                </a:lnTo>
                <a:lnTo>
                  <a:pt x="17" y="57"/>
                </a:lnTo>
                <a:lnTo>
                  <a:pt x="11" y="70"/>
                </a:lnTo>
                <a:lnTo>
                  <a:pt x="6" y="83"/>
                </a:lnTo>
                <a:lnTo>
                  <a:pt x="3" y="96"/>
                </a:lnTo>
                <a:lnTo>
                  <a:pt x="1" y="106"/>
                </a:lnTo>
                <a:lnTo>
                  <a:pt x="0" y="123"/>
                </a:lnTo>
                <a:lnTo>
                  <a:pt x="0" y="129"/>
                </a:lnTo>
                <a:lnTo>
                  <a:pt x="4" y="213"/>
                </a:lnTo>
                <a:lnTo>
                  <a:pt x="4" y="213"/>
                </a:lnTo>
                <a:lnTo>
                  <a:pt x="4" y="219"/>
                </a:lnTo>
                <a:lnTo>
                  <a:pt x="6" y="235"/>
                </a:lnTo>
                <a:lnTo>
                  <a:pt x="11" y="256"/>
                </a:lnTo>
                <a:lnTo>
                  <a:pt x="15" y="268"/>
                </a:lnTo>
                <a:lnTo>
                  <a:pt x="19" y="282"/>
                </a:lnTo>
                <a:lnTo>
                  <a:pt x="24" y="294"/>
                </a:lnTo>
                <a:lnTo>
                  <a:pt x="31" y="306"/>
                </a:lnTo>
                <a:lnTo>
                  <a:pt x="39" y="319"/>
                </a:lnTo>
                <a:lnTo>
                  <a:pt x="48" y="329"/>
                </a:lnTo>
                <a:lnTo>
                  <a:pt x="53" y="333"/>
                </a:lnTo>
                <a:lnTo>
                  <a:pt x="60" y="337"/>
                </a:lnTo>
                <a:lnTo>
                  <a:pt x="66" y="341"/>
                </a:lnTo>
                <a:lnTo>
                  <a:pt x="72" y="344"/>
                </a:lnTo>
                <a:lnTo>
                  <a:pt x="79" y="346"/>
                </a:lnTo>
                <a:lnTo>
                  <a:pt x="86" y="348"/>
                </a:lnTo>
                <a:lnTo>
                  <a:pt x="94" y="349"/>
                </a:lnTo>
                <a:lnTo>
                  <a:pt x="103" y="3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7" name="Freeform 34"/>
          <p:cNvSpPr>
            <a:spLocks/>
          </p:cNvSpPr>
          <p:nvPr userDrawn="1"/>
        </p:nvSpPr>
        <p:spPr bwMode="auto">
          <a:xfrm>
            <a:off x="7237413" y="1203028"/>
            <a:ext cx="60325" cy="57150"/>
          </a:xfrm>
          <a:custGeom>
            <a:avLst/>
            <a:gdLst>
              <a:gd name="T0" fmla="*/ 450 w 450"/>
              <a:gd name="T1" fmla="*/ 290 h 425"/>
              <a:gd name="T2" fmla="*/ 450 w 450"/>
              <a:gd name="T3" fmla="*/ 225 h 425"/>
              <a:gd name="T4" fmla="*/ 449 w 450"/>
              <a:gd name="T5" fmla="*/ 54 h 425"/>
              <a:gd name="T6" fmla="*/ 444 w 450"/>
              <a:gd name="T7" fmla="*/ 20 h 425"/>
              <a:gd name="T8" fmla="*/ 436 w 450"/>
              <a:gd name="T9" fmla="*/ 3 h 425"/>
              <a:gd name="T10" fmla="*/ 429 w 450"/>
              <a:gd name="T11" fmla="*/ 0 h 425"/>
              <a:gd name="T12" fmla="*/ 367 w 450"/>
              <a:gd name="T13" fmla="*/ 2 h 425"/>
              <a:gd name="T14" fmla="*/ 362 w 450"/>
              <a:gd name="T15" fmla="*/ 14 h 425"/>
              <a:gd name="T16" fmla="*/ 347 w 450"/>
              <a:gd name="T17" fmla="*/ 59 h 425"/>
              <a:gd name="T18" fmla="*/ 325 w 450"/>
              <a:gd name="T19" fmla="*/ 2 h 425"/>
              <a:gd name="T20" fmla="*/ 261 w 450"/>
              <a:gd name="T21" fmla="*/ 2 h 425"/>
              <a:gd name="T22" fmla="*/ 242 w 450"/>
              <a:gd name="T23" fmla="*/ 16 h 425"/>
              <a:gd name="T24" fmla="*/ 224 w 450"/>
              <a:gd name="T25" fmla="*/ 64 h 425"/>
              <a:gd name="T26" fmla="*/ 192 w 450"/>
              <a:gd name="T27" fmla="*/ 4 h 425"/>
              <a:gd name="T28" fmla="*/ 135 w 450"/>
              <a:gd name="T29" fmla="*/ 6 h 425"/>
              <a:gd name="T30" fmla="*/ 127 w 450"/>
              <a:gd name="T31" fmla="*/ 11 h 425"/>
              <a:gd name="T32" fmla="*/ 110 w 450"/>
              <a:gd name="T33" fmla="*/ 53 h 425"/>
              <a:gd name="T34" fmla="*/ 86 w 450"/>
              <a:gd name="T35" fmla="*/ 6 h 425"/>
              <a:gd name="T36" fmla="*/ 38 w 450"/>
              <a:gd name="T37" fmla="*/ 6 h 425"/>
              <a:gd name="T38" fmla="*/ 25 w 450"/>
              <a:gd name="T39" fmla="*/ 10 h 425"/>
              <a:gd name="T40" fmla="*/ 10 w 450"/>
              <a:gd name="T41" fmla="*/ 28 h 425"/>
              <a:gd name="T42" fmla="*/ 1 w 450"/>
              <a:gd name="T43" fmla="*/ 55 h 425"/>
              <a:gd name="T44" fmla="*/ 1 w 450"/>
              <a:gd name="T45" fmla="*/ 141 h 425"/>
              <a:gd name="T46" fmla="*/ 5 w 450"/>
              <a:gd name="T47" fmla="*/ 324 h 425"/>
              <a:gd name="T48" fmla="*/ 27 w 450"/>
              <a:gd name="T49" fmla="*/ 401 h 425"/>
              <a:gd name="T50" fmla="*/ 54 w 450"/>
              <a:gd name="T51" fmla="*/ 396 h 425"/>
              <a:gd name="T52" fmla="*/ 74 w 450"/>
              <a:gd name="T53" fmla="*/ 384 h 425"/>
              <a:gd name="T54" fmla="*/ 83 w 450"/>
              <a:gd name="T55" fmla="*/ 374 h 425"/>
              <a:gd name="T56" fmla="*/ 100 w 450"/>
              <a:gd name="T57" fmla="*/ 341 h 425"/>
              <a:gd name="T58" fmla="*/ 105 w 450"/>
              <a:gd name="T59" fmla="*/ 317 h 425"/>
              <a:gd name="T60" fmla="*/ 105 w 450"/>
              <a:gd name="T61" fmla="*/ 367 h 425"/>
              <a:gd name="T62" fmla="*/ 108 w 450"/>
              <a:gd name="T63" fmla="*/ 420 h 425"/>
              <a:gd name="T64" fmla="*/ 116 w 450"/>
              <a:gd name="T65" fmla="*/ 424 h 425"/>
              <a:gd name="T66" fmla="*/ 150 w 450"/>
              <a:gd name="T67" fmla="*/ 423 h 425"/>
              <a:gd name="T68" fmla="*/ 176 w 450"/>
              <a:gd name="T69" fmla="*/ 412 h 425"/>
              <a:gd name="T70" fmla="*/ 189 w 450"/>
              <a:gd name="T71" fmla="*/ 402 h 425"/>
              <a:gd name="T72" fmla="*/ 209 w 450"/>
              <a:gd name="T73" fmla="*/ 368 h 425"/>
              <a:gd name="T74" fmla="*/ 224 w 450"/>
              <a:gd name="T75" fmla="*/ 317 h 425"/>
              <a:gd name="T76" fmla="*/ 225 w 450"/>
              <a:gd name="T77" fmla="*/ 381 h 425"/>
              <a:gd name="T78" fmla="*/ 229 w 450"/>
              <a:gd name="T79" fmla="*/ 419 h 425"/>
              <a:gd name="T80" fmla="*/ 237 w 450"/>
              <a:gd name="T81" fmla="*/ 421 h 425"/>
              <a:gd name="T82" fmla="*/ 266 w 450"/>
              <a:gd name="T83" fmla="*/ 418 h 425"/>
              <a:gd name="T84" fmla="*/ 300 w 450"/>
              <a:gd name="T85" fmla="*/ 405 h 425"/>
              <a:gd name="T86" fmla="*/ 309 w 450"/>
              <a:gd name="T87" fmla="*/ 397 h 425"/>
              <a:gd name="T88" fmla="*/ 331 w 450"/>
              <a:gd name="T89" fmla="*/ 367 h 425"/>
              <a:gd name="T90" fmla="*/ 342 w 450"/>
              <a:gd name="T91" fmla="*/ 334 h 425"/>
              <a:gd name="T92" fmla="*/ 345 w 450"/>
              <a:gd name="T93" fmla="*/ 346 h 425"/>
              <a:gd name="T94" fmla="*/ 348 w 450"/>
              <a:gd name="T95" fmla="*/ 391 h 425"/>
              <a:gd name="T96" fmla="*/ 379 w 450"/>
              <a:gd name="T97" fmla="*/ 386 h 425"/>
              <a:gd name="T98" fmla="*/ 404 w 450"/>
              <a:gd name="T99" fmla="*/ 375 h 425"/>
              <a:gd name="T100" fmla="*/ 425 w 450"/>
              <a:gd name="T101" fmla="*/ 360 h 425"/>
              <a:gd name="T102" fmla="*/ 439 w 450"/>
              <a:gd name="T103" fmla="*/ 342 h 425"/>
              <a:gd name="T104" fmla="*/ 448 w 450"/>
              <a:gd name="T105" fmla="*/ 311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0" h="425">
                <a:moveTo>
                  <a:pt x="448" y="311"/>
                </a:moveTo>
                <a:lnTo>
                  <a:pt x="448" y="311"/>
                </a:lnTo>
                <a:lnTo>
                  <a:pt x="450" y="290"/>
                </a:lnTo>
                <a:lnTo>
                  <a:pt x="450" y="268"/>
                </a:lnTo>
                <a:lnTo>
                  <a:pt x="450" y="225"/>
                </a:lnTo>
                <a:lnTo>
                  <a:pt x="450" y="225"/>
                </a:lnTo>
                <a:lnTo>
                  <a:pt x="449" y="64"/>
                </a:lnTo>
                <a:lnTo>
                  <a:pt x="449" y="64"/>
                </a:lnTo>
                <a:lnTo>
                  <a:pt x="449" y="54"/>
                </a:lnTo>
                <a:lnTo>
                  <a:pt x="448" y="44"/>
                </a:lnTo>
                <a:lnTo>
                  <a:pt x="447" y="33"/>
                </a:lnTo>
                <a:lnTo>
                  <a:pt x="444" y="20"/>
                </a:lnTo>
                <a:lnTo>
                  <a:pt x="441" y="10"/>
                </a:lnTo>
                <a:lnTo>
                  <a:pt x="439" y="6"/>
                </a:lnTo>
                <a:lnTo>
                  <a:pt x="436" y="3"/>
                </a:lnTo>
                <a:lnTo>
                  <a:pt x="433" y="1"/>
                </a:lnTo>
                <a:lnTo>
                  <a:pt x="429" y="0"/>
                </a:lnTo>
                <a:lnTo>
                  <a:pt x="429" y="0"/>
                </a:lnTo>
                <a:lnTo>
                  <a:pt x="396" y="0"/>
                </a:lnTo>
                <a:lnTo>
                  <a:pt x="378" y="1"/>
                </a:lnTo>
                <a:lnTo>
                  <a:pt x="367" y="2"/>
                </a:lnTo>
                <a:lnTo>
                  <a:pt x="367" y="2"/>
                </a:lnTo>
                <a:lnTo>
                  <a:pt x="364" y="7"/>
                </a:lnTo>
                <a:lnTo>
                  <a:pt x="362" y="14"/>
                </a:lnTo>
                <a:lnTo>
                  <a:pt x="356" y="33"/>
                </a:lnTo>
                <a:lnTo>
                  <a:pt x="350" y="52"/>
                </a:lnTo>
                <a:lnTo>
                  <a:pt x="347" y="59"/>
                </a:lnTo>
                <a:lnTo>
                  <a:pt x="345" y="64"/>
                </a:lnTo>
                <a:lnTo>
                  <a:pt x="325" y="2"/>
                </a:lnTo>
                <a:lnTo>
                  <a:pt x="325" y="2"/>
                </a:lnTo>
                <a:lnTo>
                  <a:pt x="309" y="1"/>
                </a:lnTo>
                <a:lnTo>
                  <a:pt x="286" y="1"/>
                </a:lnTo>
                <a:lnTo>
                  <a:pt x="261" y="2"/>
                </a:lnTo>
                <a:lnTo>
                  <a:pt x="247" y="4"/>
                </a:lnTo>
                <a:lnTo>
                  <a:pt x="247" y="4"/>
                </a:lnTo>
                <a:lnTo>
                  <a:pt x="242" y="16"/>
                </a:lnTo>
                <a:lnTo>
                  <a:pt x="236" y="34"/>
                </a:lnTo>
                <a:lnTo>
                  <a:pt x="229" y="52"/>
                </a:lnTo>
                <a:lnTo>
                  <a:pt x="224" y="64"/>
                </a:lnTo>
                <a:lnTo>
                  <a:pt x="205" y="5"/>
                </a:lnTo>
                <a:lnTo>
                  <a:pt x="205" y="5"/>
                </a:lnTo>
                <a:lnTo>
                  <a:pt x="192" y="4"/>
                </a:lnTo>
                <a:lnTo>
                  <a:pt x="168" y="4"/>
                </a:lnTo>
                <a:lnTo>
                  <a:pt x="144" y="5"/>
                </a:lnTo>
                <a:lnTo>
                  <a:pt x="135" y="6"/>
                </a:lnTo>
                <a:lnTo>
                  <a:pt x="131" y="6"/>
                </a:lnTo>
                <a:lnTo>
                  <a:pt x="131" y="6"/>
                </a:lnTo>
                <a:lnTo>
                  <a:pt x="127" y="11"/>
                </a:lnTo>
                <a:lnTo>
                  <a:pt x="124" y="18"/>
                </a:lnTo>
                <a:lnTo>
                  <a:pt x="117" y="36"/>
                </a:lnTo>
                <a:lnTo>
                  <a:pt x="110" y="53"/>
                </a:lnTo>
                <a:lnTo>
                  <a:pt x="105" y="64"/>
                </a:lnTo>
                <a:lnTo>
                  <a:pt x="86" y="6"/>
                </a:lnTo>
                <a:lnTo>
                  <a:pt x="86" y="6"/>
                </a:lnTo>
                <a:lnTo>
                  <a:pt x="69" y="6"/>
                </a:lnTo>
                <a:lnTo>
                  <a:pt x="38" y="6"/>
                </a:lnTo>
                <a:lnTo>
                  <a:pt x="38" y="6"/>
                </a:lnTo>
                <a:lnTo>
                  <a:pt x="33" y="7"/>
                </a:lnTo>
                <a:lnTo>
                  <a:pt x="29" y="8"/>
                </a:lnTo>
                <a:lnTo>
                  <a:pt x="25" y="10"/>
                </a:lnTo>
                <a:lnTo>
                  <a:pt x="21" y="12"/>
                </a:lnTo>
                <a:lnTo>
                  <a:pt x="15" y="19"/>
                </a:lnTo>
                <a:lnTo>
                  <a:pt x="10" y="28"/>
                </a:lnTo>
                <a:lnTo>
                  <a:pt x="5" y="36"/>
                </a:lnTo>
                <a:lnTo>
                  <a:pt x="2" y="46"/>
                </a:lnTo>
                <a:lnTo>
                  <a:pt x="1" y="55"/>
                </a:lnTo>
                <a:lnTo>
                  <a:pt x="0" y="63"/>
                </a:lnTo>
                <a:lnTo>
                  <a:pt x="0" y="63"/>
                </a:lnTo>
                <a:lnTo>
                  <a:pt x="1" y="141"/>
                </a:lnTo>
                <a:lnTo>
                  <a:pt x="2" y="220"/>
                </a:lnTo>
                <a:lnTo>
                  <a:pt x="2" y="220"/>
                </a:lnTo>
                <a:lnTo>
                  <a:pt x="5" y="324"/>
                </a:lnTo>
                <a:lnTo>
                  <a:pt x="8" y="402"/>
                </a:lnTo>
                <a:lnTo>
                  <a:pt x="8" y="402"/>
                </a:lnTo>
                <a:lnTo>
                  <a:pt x="27" y="401"/>
                </a:lnTo>
                <a:lnTo>
                  <a:pt x="37" y="399"/>
                </a:lnTo>
                <a:lnTo>
                  <a:pt x="45" y="398"/>
                </a:lnTo>
                <a:lnTo>
                  <a:pt x="54" y="396"/>
                </a:lnTo>
                <a:lnTo>
                  <a:pt x="62" y="393"/>
                </a:lnTo>
                <a:lnTo>
                  <a:pt x="68" y="388"/>
                </a:lnTo>
                <a:lnTo>
                  <a:pt x="74" y="384"/>
                </a:lnTo>
                <a:lnTo>
                  <a:pt x="74" y="384"/>
                </a:lnTo>
                <a:lnTo>
                  <a:pt x="79" y="379"/>
                </a:lnTo>
                <a:lnTo>
                  <a:pt x="83" y="374"/>
                </a:lnTo>
                <a:lnTo>
                  <a:pt x="90" y="363"/>
                </a:lnTo>
                <a:lnTo>
                  <a:pt x="95" y="352"/>
                </a:lnTo>
                <a:lnTo>
                  <a:pt x="100" y="341"/>
                </a:lnTo>
                <a:lnTo>
                  <a:pt x="103" y="331"/>
                </a:lnTo>
                <a:lnTo>
                  <a:pt x="104" y="324"/>
                </a:lnTo>
                <a:lnTo>
                  <a:pt x="105" y="317"/>
                </a:lnTo>
                <a:lnTo>
                  <a:pt x="105" y="317"/>
                </a:lnTo>
                <a:lnTo>
                  <a:pt x="105" y="337"/>
                </a:lnTo>
                <a:lnTo>
                  <a:pt x="105" y="367"/>
                </a:lnTo>
                <a:lnTo>
                  <a:pt x="106" y="397"/>
                </a:lnTo>
                <a:lnTo>
                  <a:pt x="108" y="420"/>
                </a:lnTo>
                <a:lnTo>
                  <a:pt x="108" y="420"/>
                </a:lnTo>
                <a:lnTo>
                  <a:pt x="108" y="421"/>
                </a:lnTo>
                <a:lnTo>
                  <a:pt x="110" y="422"/>
                </a:lnTo>
                <a:lnTo>
                  <a:pt x="116" y="424"/>
                </a:lnTo>
                <a:lnTo>
                  <a:pt x="125" y="425"/>
                </a:lnTo>
                <a:lnTo>
                  <a:pt x="136" y="425"/>
                </a:lnTo>
                <a:lnTo>
                  <a:pt x="150" y="423"/>
                </a:lnTo>
                <a:lnTo>
                  <a:pt x="163" y="418"/>
                </a:lnTo>
                <a:lnTo>
                  <a:pt x="169" y="415"/>
                </a:lnTo>
                <a:lnTo>
                  <a:pt x="176" y="412"/>
                </a:lnTo>
                <a:lnTo>
                  <a:pt x="182" y="407"/>
                </a:lnTo>
                <a:lnTo>
                  <a:pt x="189" y="402"/>
                </a:lnTo>
                <a:lnTo>
                  <a:pt x="189" y="402"/>
                </a:lnTo>
                <a:lnTo>
                  <a:pt x="197" y="392"/>
                </a:lnTo>
                <a:lnTo>
                  <a:pt x="204" y="380"/>
                </a:lnTo>
                <a:lnTo>
                  <a:pt x="209" y="368"/>
                </a:lnTo>
                <a:lnTo>
                  <a:pt x="213" y="356"/>
                </a:lnTo>
                <a:lnTo>
                  <a:pt x="220" y="333"/>
                </a:lnTo>
                <a:lnTo>
                  <a:pt x="224" y="317"/>
                </a:lnTo>
                <a:lnTo>
                  <a:pt x="224" y="317"/>
                </a:lnTo>
                <a:lnTo>
                  <a:pt x="224" y="348"/>
                </a:lnTo>
                <a:lnTo>
                  <a:pt x="225" y="381"/>
                </a:lnTo>
                <a:lnTo>
                  <a:pt x="227" y="408"/>
                </a:lnTo>
                <a:lnTo>
                  <a:pt x="228" y="417"/>
                </a:lnTo>
                <a:lnTo>
                  <a:pt x="229" y="419"/>
                </a:lnTo>
                <a:lnTo>
                  <a:pt x="230" y="420"/>
                </a:lnTo>
                <a:lnTo>
                  <a:pt x="230" y="420"/>
                </a:lnTo>
                <a:lnTo>
                  <a:pt x="237" y="421"/>
                </a:lnTo>
                <a:lnTo>
                  <a:pt x="245" y="421"/>
                </a:lnTo>
                <a:lnTo>
                  <a:pt x="255" y="420"/>
                </a:lnTo>
                <a:lnTo>
                  <a:pt x="266" y="418"/>
                </a:lnTo>
                <a:lnTo>
                  <a:pt x="277" y="415"/>
                </a:lnTo>
                <a:lnTo>
                  <a:pt x="289" y="411"/>
                </a:lnTo>
                <a:lnTo>
                  <a:pt x="300" y="405"/>
                </a:lnTo>
                <a:lnTo>
                  <a:pt x="305" y="401"/>
                </a:lnTo>
                <a:lnTo>
                  <a:pt x="309" y="397"/>
                </a:lnTo>
                <a:lnTo>
                  <a:pt x="309" y="397"/>
                </a:lnTo>
                <a:lnTo>
                  <a:pt x="317" y="387"/>
                </a:lnTo>
                <a:lnTo>
                  <a:pt x="325" y="377"/>
                </a:lnTo>
                <a:lnTo>
                  <a:pt x="331" y="367"/>
                </a:lnTo>
                <a:lnTo>
                  <a:pt x="336" y="356"/>
                </a:lnTo>
                <a:lnTo>
                  <a:pt x="339" y="345"/>
                </a:lnTo>
                <a:lnTo>
                  <a:pt x="342" y="334"/>
                </a:lnTo>
                <a:lnTo>
                  <a:pt x="345" y="317"/>
                </a:lnTo>
                <a:lnTo>
                  <a:pt x="345" y="317"/>
                </a:lnTo>
                <a:lnTo>
                  <a:pt x="345" y="346"/>
                </a:lnTo>
                <a:lnTo>
                  <a:pt x="346" y="370"/>
                </a:lnTo>
                <a:lnTo>
                  <a:pt x="348" y="391"/>
                </a:lnTo>
                <a:lnTo>
                  <a:pt x="348" y="391"/>
                </a:lnTo>
                <a:lnTo>
                  <a:pt x="362" y="390"/>
                </a:lnTo>
                <a:lnTo>
                  <a:pt x="371" y="388"/>
                </a:lnTo>
                <a:lnTo>
                  <a:pt x="379" y="386"/>
                </a:lnTo>
                <a:lnTo>
                  <a:pt x="379" y="386"/>
                </a:lnTo>
                <a:lnTo>
                  <a:pt x="393" y="380"/>
                </a:lnTo>
                <a:lnTo>
                  <a:pt x="404" y="375"/>
                </a:lnTo>
                <a:lnTo>
                  <a:pt x="415" y="368"/>
                </a:lnTo>
                <a:lnTo>
                  <a:pt x="415" y="368"/>
                </a:lnTo>
                <a:lnTo>
                  <a:pt x="425" y="360"/>
                </a:lnTo>
                <a:lnTo>
                  <a:pt x="430" y="355"/>
                </a:lnTo>
                <a:lnTo>
                  <a:pt x="435" y="349"/>
                </a:lnTo>
                <a:lnTo>
                  <a:pt x="439" y="342"/>
                </a:lnTo>
                <a:lnTo>
                  <a:pt x="443" y="333"/>
                </a:lnTo>
                <a:lnTo>
                  <a:pt x="446" y="323"/>
                </a:lnTo>
                <a:lnTo>
                  <a:pt x="448" y="3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8" name="Freeform 35"/>
          <p:cNvSpPr>
            <a:spLocks/>
          </p:cNvSpPr>
          <p:nvPr userDrawn="1"/>
        </p:nvSpPr>
        <p:spPr bwMode="auto">
          <a:xfrm>
            <a:off x="7245351" y="1206204"/>
            <a:ext cx="73025" cy="80963"/>
          </a:xfrm>
          <a:custGeom>
            <a:avLst/>
            <a:gdLst>
              <a:gd name="T0" fmla="*/ 554 w 554"/>
              <a:gd name="T1" fmla="*/ 356 h 620"/>
              <a:gd name="T2" fmla="*/ 549 w 554"/>
              <a:gd name="T3" fmla="*/ 350 h 620"/>
              <a:gd name="T4" fmla="*/ 535 w 554"/>
              <a:gd name="T5" fmla="*/ 331 h 620"/>
              <a:gd name="T6" fmla="*/ 525 w 554"/>
              <a:gd name="T7" fmla="*/ 306 h 620"/>
              <a:gd name="T8" fmla="*/ 520 w 554"/>
              <a:gd name="T9" fmla="*/ 285 h 620"/>
              <a:gd name="T10" fmla="*/ 516 w 554"/>
              <a:gd name="T11" fmla="*/ 258 h 620"/>
              <a:gd name="T12" fmla="*/ 515 w 554"/>
              <a:gd name="T13" fmla="*/ 243 h 620"/>
              <a:gd name="T14" fmla="*/ 516 w 554"/>
              <a:gd name="T15" fmla="*/ 222 h 620"/>
              <a:gd name="T16" fmla="*/ 520 w 554"/>
              <a:gd name="T17" fmla="*/ 202 h 620"/>
              <a:gd name="T18" fmla="*/ 532 w 554"/>
              <a:gd name="T19" fmla="*/ 167 h 620"/>
              <a:gd name="T20" fmla="*/ 546 w 554"/>
              <a:gd name="T21" fmla="*/ 142 h 620"/>
              <a:gd name="T22" fmla="*/ 551 w 554"/>
              <a:gd name="T23" fmla="*/ 43 h 620"/>
              <a:gd name="T24" fmla="*/ 542 w 554"/>
              <a:gd name="T25" fmla="*/ 36 h 620"/>
              <a:gd name="T26" fmla="*/ 504 w 554"/>
              <a:gd name="T27" fmla="*/ 13 h 620"/>
              <a:gd name="T28" fmla="*/ 482 w 554"/>
              <a:gd name="T29" fmla="*/ 2 h 620"/>
              <a:gd name="T30" fmla="*/ 470 w 554"/>
              <a:gd name="T31" fmla="*/ 0 h 620"/>
              <a:gd name="T32" fmla="*/ 465 w 554"/>
              <a:gd name="T33" fmla="*/ 327 h 620"/>
              <a:gd name="T34" fmla="*/ 465 w 554"/>
              <a:gd name="T35" fmla="*/ 339 h 620"/>
              <a:gd name="T36" fmla="*/ 458 w 554"/>
              <a:gd name="T37" fmla="*/ 360 h 620"/>
              <a:gd name="T38" fmla="*/ 444 w 554"/>
              <a:gd name="T39" fmla="*/ 382 h 620"/>
              <a:gd name="T40" fmla="*/ 426 w 554"/>
              <a:gd name="T41" fmla="*/ 402 h 620"/>
              <a:gd name="T42" fmla="*/ 405 w 554"/>
              <a:gd name="T43" fmla="*/ 421 h 620"/>
              <a:gd name="T44" fmla="*/ 380 w 554"/>
              <a:gd name="T45" fmla="*/ 437 h 620"/>
              <a:gd name="T46" fmla="*/ 353 w 554"/>
              <a:gd name="T47" fmla="*/ 449 h 620"/>
              <a:gd name="T48" fmla="*/ 327 w 554"/>
              <a:gd name="T49" fmla="*/ 458 h 620"/>
              <a:gd name="T50" fmla="*/ 314 w 554"/>
              <a:gd name="T51" fmla="*/ 461 h 620"/>
              <a:gd name="T52" fmla="*/ 255 w 554"/>
              <a:gd name="T53" fmla="*/ 471 h 620"/>
              <a:gd name="T54" fmla="*/ 199 w 554"/>
              <a:gd name="T55" fmla="*/ 477 h 620"/>
              <a:gd name="T56" fmla="*/ 98 w 554"/>
              <a:gd name="T57" fmla="*/ 482 h 620"/>
              <a:gd name="T58" fmla="*/ 27 w 554"/>
              <a:gd name="T59" fmla="*/ 482 h 620"/>
              <a:gd name="T60" fmla="*/ 0 w 554"/>
              <a:gd name="T61" fmla="*/ 481 h 620"/>
              <a:gd name="T62" fmla="*/ 4 w 554"/>
              <a:gd name="T63" fmla="*/ 508 h 620"/>
              <a:gd name="T64" fmla="*/ 13 w 554"/>
              <a:gd name="T65" fmla="*/ 550 h 620"/>
              <a:gd name="T66" fmla="*/ 18 w 554"/>
              <a:gd name="T67" fmla="*/ 566 h 620"/>
              <a:gd name="T68" fmla="*/ 29 w 554"/>
              <a:gd name="T69" fmla="*/ 586 h 620"/>
              <a:gd name="T70" fmla="*/ 44 w 554"/>
              <a:gd name="T71" fmla="*/ 604 h 620"/>
              <a:gd name="T72" fmla="*/ 62 w 554"/>
              <a:gd name="T73" fmla="*/ 620 h 620"/>
              <a:gd name="T74" fmla="*/ 554 w 554"/>
              <a:gd name="T75" fmla="*/ 450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4" h="620">
                <a:moveTo>
                  <a:pt x="554" y="450"/>
                </a:moveTo>
                <a:lnTo>
                  <a:pt x="554" y="356"/>
                </a:lnTo>
                <a:lnTo>
                  <a:pt x="554" y="356"/>
                </a:lnTo>
                <a:lnTo>
                  <a:pt x="549" y="350"/>
                </a:lnTo>
                <a:lnTo>
                  <a:pt x="543" y="342"/>
                </a:lnTo>
                <a:lnTo>
                  <a:pt x="535" y="331"/>
                </a:lnTo>
                <a:lnTo>
                  <a:pt x="528" y="315"/>
                </a:lnTo>
                <a:lnTo>
                  <a:pt x="525" y="306"/>
                </a:lnTo>
                <a:lnTo>
                  <a:pt x="522" y="296"/>
                </a:lnTo>
                <a:lnTo>
                  <a:pt x="520" y="285"/>
                </a:lnTo>
                <a:lnTo>
                  <a:pt x="517" y="271"/>
                </a:lnTo>
                <a:lnTo>
                  <a:pt x="516" y="258"/>
                </a:lnTo>
                <a:lnTo>
                  <a:pt x="515" y="243"/>
                </a:lnTo>
                <a:lnTo>
                  <a:pt x="515" y="243"/>
                </a:lnTo>
                <a:lnTo>
                  <a:pt x="515" y="232"/>
                </a:lnTo>
                <a:lnTo>
                  <a:pt x="516" y="222"/>
                </a:lnTo>
                <a:lnTo>
                  <a:pt x="517" y="212"/>
                </a:lnTo>
                <a:lnTo>
                  <a:pt x="520" y="202"/>
                </a:lnTo>
                <a:lnTo>
                  <a:pt x="526" y="183"/>
                </a:lnTo>
                <a:lnTo>
                  <a:pt x="532" y="167"/>
                </a:lnTo>
                <a:lnTo>
                  <a:pt x="540" y="154"/>
                </a:lnTo>
                <a:lnTo>
                  <a:pt x="546" y="142"/>
                </a:lnTo>
                <a:lnTo>
                  <a:pt x="552" y="133"/>
                </a:lnTo>
                <a:lnTo>
                  <a:pt x="551" y="43"/>
                </a:lnTo>
                <a:lnTo>
                  <a:pt x="551" y="43"/>
                </a:lnTo>
                <a:lnTo>
                  <a:pt x="542" y="36"/>
                </a:lnTo>
                <a:lnTo>
                  <a:pt x="518" y="21"/>
                </a:lnTo>
                <a:lnTo>
                  <a:pt x="504" y="13"/>
                </a:lnTo>
                <a:lnTo>
                  <a:pt x="489" y="5"/>
                </a:lnTo>
                <a:lnTo>
                  <a:pt x="482" y="2"/>
                </a:lnTo>
                <a:lnTo>
                  <a:pt x="476" y="1"/>
                </a:lnTo>
                <a:lnTo>
                  <a:pt x="470" y="0"/>
                </a:lnTo>
                <a:lnTo>
                  <a:pt x="464" y="0"/>
                </a:lnTo>
                <a:lnTo>
                  <a:pt x="465" y="327"/>
                </a:lnTo>
                <a:lnTo>
                  <a:pt x="465" y="327"/>
                </a:lnTo>
                <a:lnTo>
                  <a:pt x="465" y="339"/>
                </a:lnTo>
                <a:lnTo>
                  <a:pt x="462" y="349"/>
                </a:lnTo>
                <a:lnTo>
                  <a:pt x="458" y="360"/>
                </a:lnTo>
                <a:lnTo>
                  <a:pt x="452" y="370"/>
                </a:lnTo>
                <a:lnTo>
                  <a:pt x="444" y="382"/>
                </a:lnTo>
                <a:lnTo>
                  <a:pt x="436" y="392"/>
                </a:lnTo>
                <a:lnTo>
                  <a:pt x="426" y="402"/>
                </a:lnTo>
                <a:lnTo>
                  <a:pt x="416" y="411"/>
                </a:lnTo>
                <a:lnTo>
                  <a:pt x="405" y="421"/>
                </a:lnTo>
                <a:lnTo>
                  <a:pt x="392" y="429"/>
                </a:lnTo>
                <a:lnTo>
                  <a:pt x="380" y="437"/>
                </a:lnTo>
                <a:lnTo>
                  <a:pt x="367" y="443"/>
                </a:lnTo>
                <a:lnTo>
                  <a:pt x="353" y="449"/>
                </a:lnTo>
                <a:lnTo>
                  <a:pt x="340" y="454"/>
                </a:lnTo>
                <a:lnTo>
                  <a:pt x="327" y="458"/>
                </a:lnTo>
                <a:lnTo>
                  <a:pt x="314" y="461"/>
                </a:lnTo>
                <a:lnTo>
                  <a:pt x="314" y="461"/>
                </a:lnTo>
                <a:lnTo>
                  <a:pt x="284" y="467"/>
                </a:lnTo>
                <a:lnTo>
                  <a:pt x="255" y="471"/>
                </a:lnTo>
                <a:lnTo>
                  <a:pt x="227" y="474"/>
                </a:lnTo>
                <a:lnTo>
                  <a:pt x="199" y="477"/>
                </a:lnTo>
                <a:lnTo>
                  <a:pt x="146" y="480"/>
                </a:lnTo>
                <a:lnTo>
                  <a:pt x="98" y="482"/>
                </a:lnTo>
                <a:lnTo>
                  <a:pt x="58" y="482"/>
                </a:lnTo>
                <a:lnTo>
                  <a:pt x="27" y="482"/>
                </a:lnTo>
                <a:lnTo>
                  <a:pt x="0" y="481"/>
                </a:lnTo>
                <a:lnTo>
                  <a:pt x="0" y="481"/>
                </a:lnTo>
                <a:lnTo>
                  <a:pt x="1" y="488"/>
                </a:lnTo>
                <a:lnTo>
                  <a:pt x="4" y="508"/>
                </a:lnTo>
                <a:lnTo>
                  <a:pt x="10" y="535"/>
                </a:lnTo>
                <a:lnTo>
                  <a:pt x="13" y="550"/>
                </a:lnTo>
                <a:lnTo>
                  <a:pt x="18" y="566"/>
                </a:lnTo>
                <a:lnTo>
                  <a:pt x="18" y="566"/>
                </a:lnTo>
                <a:lnTo>
                  <a:pt x="23" y="576"/>
                </a:lnTo>
                <a:lnTo>
                  <a:pt x="29" y="586"/>
                </a:lnTo>
                <a:lnTo>
                  <a:pt x="36" y="595"/>
                </a:lnTo>
                <a:lnTo>
                  <a:pt x="44" y="604"/>
                </a:lnTo>
                <a:lnTo>
                  <a:pt x="57" y="616"/>
                </a:lnTo>
                <a:lnTo>
                  <a:pt x="62" y="620"/>
                </a:lnTo>
                <a:lnTo>
                  <a:pt x="451" y="620"/>
                </a:lnTo>
                <a:lnTo>
                  <a:pt x="554" y="4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9" name="Freeform 36"/>
          <p:cNvSpPr>
            <a:spLocks/>
          </p:cNvSpPr>
          <p:nvPr userDrawn="1"/>
        </p:nvSpPr>
        <p:spPr bwMode="auto">
          <a:xfrm>
            <a:off x="7251700" y="1298279"/>
            <a:ext cx="57150" cy="17463"/>
          </a:xfrm>
          <a:custGeom>
            <a:avLst/>
            <a:gdLst>
              <a:gd name="T0" fmla="*/ 20 w 435"/>
              <a:gd name="T1" fmla="*/ 142 h 142"/>
              <a:gd name="T2" fmla="*/ 411 w 435"/>
              <a:gd name="T3" fmla="*/ 142 h 142"/>
              <a:gd name="T4" fmla="*/ 411 w 435"/>
              <a:gd name="T5" fmla="*/ 142 h 142"/>
              <a:gd name="T6" fmla="*/ 422 w 435"/>
              <a:gd name="T7" fmla="*/ 109 h 142"/>
              <a:gd name="T8" fmla="*/ 430 w 435"/>
              <a:gd name="T9" fmla="*/ 83 h 142"/>
              <a:gd name="T10" fmla="*/ 433 w 435"/>
              <a:gd name="T11" fmla="*/ 72 h 142"/>
              <a:gd name="T12" fmla="*/ 435 w 435"/>
              <a:gd name="T13" fmla="*/ 63 h 142"/>
              <a:gd name="T14" fmla="*/ 417 w 435"/>
              <a:gd name="T15" fmla="*/ 0 h 142"/>
              <a:gd name="T16" fmla="*/ 22 w 435"/>
              <a:gd name="T17" fmla="*/ 0 h 142"/>
              <a:gd name="T18" fmla="*/ 0 w 435"/>
              <a:gd name="T19" fmla="*/ 65 h 142"/>
              <a:gd name="T20" fmla="*/ 20 w 435"/>
              <a:gd name="T2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5" h="142">
                <a:moveTo>
                  <a:pt x="20" y="142"/>
                </a:moveTo>
                <a:lnTo>
                  <a:pt x="411" y="142"/>
                </a:lnTo>
                <a:lnTo>
                  <a:pt x="411" y="142"/>
                </a:lnTo>
                <a:lnTo>
                  <a:pt x="422" y="109"/>
                </a:lnTo>
                <a:lnTo>
                  <a:pt x="430" y="83"/>
                </a:lnTo>
                <a:lnTo>
                  <a:pt x="433" y="72"/>
                </a:lnTo>
                <a:lnTo>
                  <a:pt x="435" y="63"/>
                </a:lnTo>
                <a:lnTo>
                  <a:pt x="417" y="0"/>
                </a:lnTo>
                <a:lnTo>
                  <a:pt x="22" y="0"/>
                </a:lnTo>
                <a:lnTo>
                  <a:pt x="0" y="65"/>
                </a:lnTo>
                <a:lnTo>
                  <a:pt x="20" y="1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0" name="Freeform 37"/>
          <p:cNvSpPr>
            <a:spLocks/>
          </p:cNvSpPr>
          <p:nvPr userDrawn="1"/>
        </p:nvSpPr>
        <p:spPr bwMode="auto">
          <a:xfrm>
            <a:off x="7254875" y="1326854"/>
            <a:ext cx="57150" cy="66675"/>
          </a:xfrm>
          <a:custGeom>
            <a:avLst/>
            <a:gdLst>
              <a:gd name="T0" fmla="*/ 384 w 436"/>
              <a:gd name="T1" fmla="*/ 0 h 514"/>
              <a:gd name="T2" fmla="*/ 2 w 436"/>
              <a:gd name="T3" fmla="*/ 0 h 514"/>
              <a:gd name="T4" fmla="*/ 0 w 436"/>
              <a:gd name="T5" fmla="*/ 505 h 514"/>
              <a:gd name="T6" fmla="*/ 331 w 436"/>
              <a:gd name="T7" fmla="*/ 514 h 514"/>
              <a:gd name="T8" fmla="*/ 436 w 436"/>
              <a:gd name="T9" fmla="*/ 431 h 514"/>
              <a:gd name="T10" fmla="*/ 384 w 436"/>
              <a:gd name="T11" fmla="*/ 0 h 514"/>
            </a:gdLst>
            <a:ahLst/>
            <a:cxnLst>
              <a:cxn ang="0">
                <a:pos x="T0" y="T1"/>
              </a:cxn>
              <a:cxn ang="0">
                <a:pos x="T2" y="T3"/>
              </a:cxn>
              <a:cxn ang="0">
                <a:pos x="T4" y="T5"/>
              </a:cxn>
              <a:cxn ang="0">
                <a:pos x="T6" y="T7"/>
              </a:cxn>
              <a:cxn ang="0">
                <a:pos x="T8" y="T9"/>
              </a:cxn>
              <a:cxn ang="0">
                <a:pos x="T10" y="T11"/>
              </a:cxn>
            </a:cxnLst>
            <a:rect l="0" t="0" r="r" b="b"/>
            <a:pathLst>
              <a:path w="436" h="514">
                <a:moveTo>
                  <a:pt x="384" y="0"/>
                </a:moveTo>
                <a:lnTo>
                  <a:pt x="2" y="0"/>
                </a:lnTo>
                <a:lnTo>
                  <a:pt x="0" y="505"/>
                </a:lnTo>
                <a:lnTo>
                  <a:pt x="331" y="514"/>
                </a:lnTo>
                <a:lnTo>
                  <a:pt x="436" y="431"/>
                </a:lnTo>
                <a:lnTo>
                  <a:pt x="3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1" name="Freeform 38"/>
          <p:cNvSpPr>
            <a:spLocks/>
          </p:cNvSpPr>
          <p:nvPr userDrawn="1"/>
        </p:nvSpPr>
        <p:spPr bwMode="auto">
          <a:xfrm>
            <a:off x="7251701" y="1391941"/>
            <a:ext cx="77788" cy="68263"/>
          </a:xfrm>
          <a:custGeom>
            <a:avLst/>
            <a:gdLst>
              <a:gd name="T0" fmla="*/ 586 w 586"/>
              <a:gd name="T1" fmla="*/ 139 h 523"/>
              <a:gd name="T2" fmla="*/ 586 w 586"/>
              <a:gd name="T3" fmla="*/ 139 h 523"/>
              <a:gd name="T4" fmla="*/ 552 w 586"/>
              <a:gd name="T5" fmla="*/ 115 h 523"/>
              <a:gd name="T6" fmla="*/ 527 w 586"/>
              <a:gd name="T7" fmla="*/ 97 h 523"/>
              <a:gd name="T8" fmla="*/ 519 w 586"/>
              <a:gd name="T9" fmla="*/ 90 h 523"/>
              <a:gd name="T10" fmla="*/ 514 w 586"/>
              <a:gd name="T11" fmla="*/ 85 h 523"/>
              <a:gd name="T12" fmla="*/ 514 w 586"/>
              <a:gd name="T13" fmla="*/ 85 h 523"/>
              <a:gd name="T14" fmla="*/ 512 w 586"/>
              <a:gd name="T15" fmla="*/ 79 h 523"/>
              <a:gd name="T16" fmla="*/ 510 w 586"/>
              <a:gd name="T17" fmla="*/ 69 h 523"/>
              <a:gd name="T18" fmla="*/ 506 w 586"/>
              <a:gd name="T19" fmla="*/ 40 h 523"/>
              <a:gd name="T20" fmla="*/ 503 w 586"/>
              <a:gd name="T21" fmla="*/ 0 h 523"/>
              <a:gd name="T22" fmla="*/ 381 w 586"/>
              <a:gd name="T23" fmla="*/ 98 h 523"/>
              <a:gd name="T24" fmla="*/ 8 w 586"/>
              <a:gd name="T25" fmla="*/ 97 h 523"/>
              <a:gd name="T26" fmla="*/ 8 w 586"/>
              <a:gd name="T27" fmla="*/ 97 h 523"/>
              <a:gd name="T28" fmla="*/ 8 w 586"/>
              <a:gd name="T29" fmla="*/ 98 h 523"/>
              <a:gd name="T30" fmla="*/ 7 w 586"/>
              <a:gd name="T31" fmla="*/ 100 h 523"/>
              <a:gd name="T32" fmla="*/ 5 w 586"/>
              <a:gd name="T33" fmla="*/ 108 h 523"/>
              <a:gd name="T34" fmla="*/ 3 w 586"/>
              <a:gd name="T35" fmla="*/ 139 h 523"/>
              <a:gd name="T36" fmla="*/ 2 w 586"/>
              <a:gd name="T37" fmla="*/ 183 h 523"/>
              <a:gd name="T38" fmla="*/ 1 w 586"/>
              <a:gd name="T39" fmla="*/ 233 h 523"/>
              <a:gd name="T40" fmla="*/ 0 w 586"/>
              <a:gd name="T41" fmla="*/ 327 h 523"/>
              <a:gd name="T42" fmla="*/ 0 w 586"/>
              <a:gd name="T43" fmla="*/ 369 h 523"/>
              <a:gd name="T44" fmla="*/ 0 w 586"/>
              <a:gd name="T45" fmla="*/ 369 h 523"/>
              <a:gd name="T46" fmla="*/ 29 w 586"/>
              <a:gd name="T47" fmla="*/ 395 h 523"/>
              <a:gd name="T48" fmla="*/ 95 w 586"/>
              <a:gd name="T49" fmla="*/ 448 h 523"/>
              <a:gd name="T50" fmla="*/ 131 w 586"/>
              <a:gd name="T51" fmla="*/ 477 h 523"/>
              <a:gd name="T52" fmla="*/ 162 w 586"/>
              <a:gd name="T53" fmla="*/ 501 h 523"/>
              <a:gd name="T54" fmla="*/ 186 w 586"/>
              <a:gd name="T55" fmla="*/ 517 h 523"/>
              <a:gd name="T56" fmla="*/ 193 w 586"/>
              <a:gd name="T57" fmla="*/ 522 h 523"/>
              <a:gd name="T58" fmla="*/ 195 w 586"/>
              <a:gd name="T59" fmla="*/ 523 h 523"/>
              <a:gd name="T60" fmla="*/ 197 w 586"/>
              <a:gd name="T61" fmla="*/ 523 h 523"/>
              <a:gd name="T62" fmla="*/ 448 w 586"/>
              <a:gd name="T63" fmla="*/ 206 h 523"/>
              <a:gd name="T64" fmla="*/ 586 w 586"/>
              <a:gd name="T65" fmla="*/ 139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86" h="523">
                <a:moveTo>
                  <a:pt x="586" y="139"/>
                </a:moveTo>
                <a:lnTo>
                  <a:pt x="586" y="139"/>
                </a:lnTo>
                <a:lnTo>
                  <a:pt x="552" y="115"/>
                </a:lnTo>
                <a:lnTo>
                  <a:pt x="527" y="97"/>
                </a:lnTo>
                <a:lnTo>
                  <a:pt x="519" y="90"/>
                </a:lnTo>
                <a:lnTo>
                  <a:pt x="514" y="85"/>
                </a:lnTo>
                <a:lnTo>
                  <a:pt x="514" y="85"/>
                </a:lnTo>
                <a:lnTo>
                  <a:pt x="512" y="79"/>
                </a:lnTo>
                <a:lnTo>
                  <a:pt x="510" y="69"/>
                </a:lnTo>
                <a:lnTo>
                  <a:pt x="506" y="40"/>
                </a:lnTo>
                <a:lnTo>
                  <a:pt x="503" y="0"/>
                </a:lnTo>
                <a:lnTo>
                  <a:pt x="381" y="98"/>
                </a:lnTo>
                <a:lnTo>
                  <a:pt x="8" y="97"/>
                </a:lnTo>
                <a:lnTo>
                  <a:pt x="8" y="97"/>
                </a:lnTo>
                <a:lnTo>
                  <a:pt x="8" y="98"/>
                </a:lnTo>
                <a:lnTo>
                  <a:pt x="7" y="100"/>
                </a:lnTo>
                <a:lnTo>
                  <a:pt x="5" y="108"/>
                </a:lnTo>
                <a:lnTo>
                  <a:pt x="3" y="139"/>
                </a:lnTo>
                <a:lnTo>
                  <a:pt x="2" y="183"/>
                </a:lnTo>
                <a:lnTo>
                  <a:pt x="1" y="233"/>
                </a:lnTo>
                <a:lnTo>
                  <a:pt x="0" y="327"/>
                </a:lnTo>
                <a:lnTo>
                  <a:pt x="0" y="369"/>
                </a:lnTo>
                <a:lnTo>
                  <a:pt x="0" y="369"/>
                </a:lnTo>
                <a:lnTo>
                  <a:pt x="29" y="395"/>
                </a:lnTo>
                <a:lnTo>
                  <a:pt x="95" y="448"/>
                </a:lnTo>
                <a:lnTo>
                  <a:pt x="131" y="477"/>
                </a:lnTo>
                <a:lnTo>
                  <a:pt x="162" y="501"/>
                </a:lnTo>
                <a:lnTo>
                  <a:pt x="186" y="517"/>
                </a:lnTo>
                <a:lnTo>
                  <a:pt x="193" y="522"/>
                </a:lnTo>
                <a:lnTo>
                  <a:pt x="195" y="523"/>
                </a:lnTo>
                <a:lnTo>
                  <a:pt x="197" y="523"/>
                </a:lnTo>
                <a:lnTo>
                  <a:pt x="448" y="206"/>
                </a:lnTo>
                <a:lnTo>
                  <a:pt x="586" y="13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2" name="Freeform 39"/>
          <p:cNvSpPr>
            <a:spLocks/>
          </p:cNvSpPr>
          <p:nvPr userDrawn="1"/>
        </p:nvSpPr>
        <p:spPr bwMode="auto">
          <a:xfrm>
            <a:off x="7288212" y="1417340"/>
            <a:ext cx="115888" cy="66675"/>
          </a:xfrm>
          <a:custGeom>
            <a:avLst/>
            <a:gdLst>
              <a:gd name="T0" fmla="*/ 226 w 879"/>
              <a:gd name="T1" fmla="*/ 65 h 509"/>
              <a:gd name="T2" fmla="*/ 0 w 879"/>
              <a:gd name="T3" fmla="*/ 355 h 509"/>
              <a:gd name="T4" fmla="*/ 369 w 879"/>
              <a:gd name="T5" fmla="*/ 509 h 509"/>
              <a:gd name="T6" fmla="*/ 369 w 879"/>
              <a:gd name="T7" fmla="*/ 509 h 509"/>
              <a:gd name="T8" fmla="*/ 409 w 879"/>
              <a:gd name="T9" fmla="*/ 487 h 509"/>
              <a:gd name="T10" fmla="*/ 452 w 879"/>
              <a:gd name="T11" fmla="*/ 464 h 509"/>
              <a:gd name="T12" fmla="*/ 495 w 879"/>
              <a:gd name="T13" fmla="*/ 439 h 509"/>
              <a:gd name="T14" fmla="*/ 538 w 879"/>
              <a:gd name="T15" fmla="*/ 413 h 509"/>
              <a:gd name="T16" fmla="*/ 623 w 879"/>
              <a:gd name="T17" fmla="*/ 361 h 509"/>
              <a:gd name="T18" fmla="*/ 703 w 879"/>
              <a:gd name="T19" fmla="*/ 311 h 509"/>
              <a:gd name="T20" fmla="*/ 773 w 879"/>
              <a:gd name="T21" fmla="*/ 266 h 509"/>
              <a:gd name="T22" fmla="*/ 829 w 879"/>
              <a:gd name="T23" fmla="*/ 229 h 509"/>
              <a:gd name="T24" fmla="*/ 879 w 879"/>
              <a:gd name="T25" fmla="*/ 196 h 509"/>
              <a:gd name="T26" fmla="*/ 359 w 879"/>
              <a:gd name="T27" fmla="*/ 0 h 509"/>
              <a:gd name="T28" fmla="*/ 226 w 879"/>
              <a:gd name="T29" fmla="*/ 65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9" h="509">
                <a:moveTo>
                  <a:pt x="226" y="65"/>
                </a:moveTo>
                <a:lnTo>
                  <a:pt x="0" y="355"/>
                </a:lnTo>
                <a:lnTo>
                  <a:pt x="369" y="509"/>
                </a:lnTo>
                <a:lnTo>
                  <a:pt x="369" y="509"/>
                </a:lnTo>
                <a:lnTo>
                  <a:pt x="409" y="487"/>
                </a:lnTo>
                <a:lnTo>
                  <a:pt x="452" y="464"/>
                </a:lnTo>
                <a:lnTo>
                  <a:pt x="495" y="439"/>
                </a:lnTo>
                <a:lnTo>
                  <a:pt x="538" y="413"/>
                </a:lnTo>
                <a:lnTo>
                  <a:pt x="623" y="361"/>
                </a:lnTo>
                <a:lnTo>
                  <a:pt x="703" y="311"/>
                </a:lnTo>
                <a:lnTo>
                  <a:pt x="773" y="266"/>
                </a:lnTo>
                <a:lnTo>
                  <a:pt x="829" y="229"/>
                </a:lnTo>
                <a:lnTo>
                  <a:pt x="879" y="196"/>
                </a:lnTo>
                <a:lnTo>
                  <a:pt x="359" y="0"/>
                </a:lnTo>
                <a:lnTo>
                  <a:pt x="226" y="6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3" name="Freeform 40"/>
          <p:cNvSpPr>
            <a:spLocks/>
          </p:cNvSpPr>
          <p:nvPr userDrawn="1"/>
        </p:nvSpPr>
        <p:spPr bwMode="auto">
          <a:xfrm>
            <a:off x="7323137" y="1172866"/>
            <a:ext cx="26988" cy="123825"/>
          </a:xfrm>
          <a:custGeom>
            <a:avLst/>
            <a:gdLst>
              <a:gd name="T0" fmla="*/ 170 w 211"/>
              <a:gd name="T1" fmla="*/ 388 h 928"/>
              <a:gd name="T2" fmla="*/ 169 w 211"/>
              <a:gd name="T3" fmla="*/ 133 h 928"/>
              <a:gd name="T4" fmla="*/ 171 w 211"/>
              <a:gd name="T5" fmla="*/ 84 h 928"/>
              <a:gd name="T6" fmla="*/ 172 w 211"/>
              <a:gd name="T7" fmla="*/ 79 h 928"/>
              <a:gd name="T8" fmla="*/ 182 w 211"/>
              <a:gd name="T9" fmla="*/ 64 h 928"/>
              <a:gd name="T10" fmla="*/ 188 w 211"/>
              <a:gd name="T11" fmla="*/ 53 h 928"/>
              <a:gd name="T12" fmla="*/ 192 w 211"/>
              <a:gd name="T13" fmla="*/ 36 h 928"/>
              <a:gd name="T14" fmla="*/ 191 w 211"/>
              <a:gd name="T15" fmla="*/ 18 h 928"/>
              <a:gd name="T16" fmla="*/ 188 w 211"/>
              <a:gd name="T17" fmla="*/ 0 h 928"/>
              <a:gd name="T18" fmla="*/ 6 w 211"/>
              <a:gd name="T19" fmla="*/ 0 h 928"/>
              <a:gd name="T20" fmla="*/ 4 w 211"/>
              <a:gd name="T21" fmla="*/ 8 h 928"/>
              <a:gd name="T22" fmla="*/ 5 w 211"/>
              <a:gd name="T23" fmla="*/ 33 h 928"/>
              <a:gd name="T24" fmla="*/ 7 w 211"/>
              <a:gd name="T25" fmla="*/ 43 h 928"/>
              <a:gd name="T26" fmla="*/ 17 w 211"/>
              <a:gd name="T27" fmla="*/ 65 h 928"/>
              <a:gd name="T28" fmla="*/ 28 w 211"/>
              <a:gd name="T29" fmla="*/ 80 h 928"/>
              <a:gd name="T30" fmla="*/ 33 w 211"/>
              <a:gd name="T31" fmla="*/ 388 h 928"/>
              <a:gd name="T32" fmla="*/ 29 w 211"/>
              <a:gd name="T33" fmla="*/ 395 h 928"/>
              <a:gd name="T34" fmla="*/ 19 w 211"/>
              <a:gd name="T35" fmla="*/ 412 h 928"/>
              <a:gd name="T36" fmla="*/ 9 w 211"/>
              <a:gd name="T37" fmla="*/ 443 h 928"/>
              <a:gd name="T38" fmla="*/ 0 w 211"/>
              <a:gd name="T39" fmla="*/ 487 h 928"/>
              <a:gd name="T40" fmla="*/ 0 w 211"/>
              <a:gd name="T41" fmla="*/ 498 h 928"/>
              <a:gd name="T42" fmla="*/ 1 w 211"/>
              <a:gd name="T43" fmla="*/ 518 h 928"/>
              <a:gd name="T44" fmla="*/ 10 w 211"/>
              <a:gd name="T45" fmla="*/ 546 h 928"/>
              <a:gd name="T46" fmla="*/ 23 w 211"/>
              <a:gd name="T47" fmla="*/ 576 h 928"/>
              <a:gd name="T48" fmla="*/ 35 w 211"/>
              <a:gd name="T49" fmla="*/ 594 h 928"/>
              <a:gd name="T50" fmla="*/ 31 w 211"/>
              <a:gd name="T51" fmla="*/ 850 h 928"/>
              <a:gd name="T52" fmla="*/ 23 w 211"/>
              <a:gd name="T53" fmla="*/ 859 h 928"/>
              <a:gd name="T54" fmla="*/ 18 w 211"/>
              <a:gd name="T55" fmla="*/ 871 h 928"/>
              <a:gd name="T56" fmla="*/ 14 w 211"/>
              <a:gd name="T57" fmla="*/ 888 h 928"/>
              <a:gd name="T58" fmla="*/ 14 w 211"/>
              <a:gd name="T59" fmla="*/ 898 h 928"/>
              <a:gd name="T60" fmla="*/ 15 w 211"/>
              <a:gd name="T61" fmla="*/ 919 h 928"/>
              <a:gd name="T62" fmla="*/ 18 w 211"/>
              <a:gd name="T63" fmla="*/ 928 h 928"/>
              <a:gd name="T64" fmla="*/ 188 w 211"/>
              <a:gd name="T65" fmla="*/ 928 h 928"/>
              <a:gd name="T66" fmla="*/ 191 w 211"/>
              <a:gd name="T67" fmla="*/ 906 h 928"/>
              <a:gd name="T68" fmla="*/ 190 w 211"/>
              <a:gd name="T69" fmla="*/ 881 h 928"/>
              <a:gd name="T70" fmla="*/ 188 w 211"/>
              <a:gd name="T71" fmla="*/ 873 h 928"/>
              <a:gd name="T72" fmla="*/ 179 w 211"/>
              <a:gd name="T73" fmla="*/ 857 h 928"/>
              <a:gd name="T74" fmla="*/ 169 w 211"/>
              <a:gd name="T75" fmla="*/ 846 h 928"/>
              <a:gd name="T76" fmla="*/ 168 w 211"/>
              <a:gd name="T77" fmla="*/ 594 h 928"/>
              <a:gd name="T78" fmla="*/ 190 w 211"/>
              <a:gd name="T79" fmla="*/ 561 h 928"/>
              <a:gd name="T80" fmla="*/ 202 w 211"/>
              <a:gd name="T81" fmla="*/ 537 h 928"/>
              <a:gd name="T82" fmla="*/ 210 w 211"/>
              <a:gd name="T83" fmla="*/ 507 h 928"/>
              <a:gd name="T84" fmla="*/ 211 w 211"/>
              <a:gd name="T85" fmla="*/ 491 h 928"/>
              <a:gd name="T86" fmla="*/ 211 w 211"/>
              <a:gd name="T87" fmla="*/ 482 h 928"/>
              <a:gd name="T88" fmla="*/ 206 w 211"/>
              <a:gd name="T89" fmla="*/ 458 h 928"/>
              <a:gd name="T90" fmla="*/ 195 w 211"/>
              <a:gd name="T91" fmla="*/ 428 h 928"/>
              <a:gd name="T92" fmla="*/ 181 w 211"/>
              <a:gd name="T93" fmla="*/ 405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1" h="928">
                <a:moveTo>
                  <a:pt x="170" y="388"/>
                </a:moveTo>
                <a:lnTo>
                  <a:pt x="170" y="388"/>
                </a:lnTo>
                <a:lnTo>
                  <a:pt x="169" y="238"/>
                </a:lnTo>
                <a:lnTo>
                  <a:pt x="169" y="133"/>
                </a:lnTo>
                <a:lnTo>
                  <a:pt x="170" y="96"/>
                </a:lnTo>
                <a:lnTo>
                  <a:pt x="171" y="84"/>
                </a:lnTo>
                <a:lnTo>
                  <a:pt x="172" y="79"/>
                </a:lnTo>
                <a:lnTo>
                  <a:pt x="172" y="79"/>
                </a:lnTo>
                <a:lnTo>
                  <a:pt x="177" y="71"/>
                </a:lnTo>
                <a:lnTo>
                  <a:pt x="182" y="64"/>
                </a:lnTo>
                <a:lnTo>
                  <a:pt x="188" y="53"/>
                </a:lnTo>
                <a:lnTo>
                  <a:pt x="188" y="53"/>
                </a:lnTo>
                <a:lnTo>
                  <a:pt x="191" y="45"/>
                </a:lnTo>
                <a:lnTo>
                  <a:pt x="192" y="36"/>
                </a:lnTo>
                <a:lnTo>
                  <a:pt x="192" y="28"/>
                </a:lnTo>
                <a:lnTo>
                  <a:pt x="191" y="18"/>
                </a:lnTo>
                <a:lnTo>
                  <a:pt x="189" y="5"/>
                </a:lnTo>
                <a:lnTo>
                  <a:pt x="188" y="0"/>
                </a:lnTo>
                <a:lnTo>
                  <a:pt x="6" y="0"/>
                </a:lnTo>
                <a:lnTo>
                  <a:pt x="6" y="0"/>
                </a:lnTo>
                <a:lnTo>
                  <a:pt x="5" y="4"/>
                </a:lnTo>
                <a:lnTo>
                  <a:pt x="4" y="8"/>
                </a:lnTo>
                <a:lnTo>
                  <a:pt x="4" y="20"/>
                </a:lnTo>
                <a:lnTo>
                  <a:pt x="5" y="33"/>
                </a:lnTo>
                <a:lnTo>
                  <a:pt x="7" y="43"/>
                </a:lnTo>
                <a:lnTo>
                  <a:pt x="7" y="43"/>
                </a:lnTo>
                <a:lnTo>
                  <a:pt x="11" y="54"/>
                </a:lnTo>
                <a:lnTo>
                  <a:pt x="17" y="65"/>
                </a:lnTo>
                <a:lnTo>
                  <a:pt x="24" y="76"/>
                </a:lnTo>
                <a:lnTo>
                  <a:pt x="28" y="80"/>
                </a:lnTo>
                <a:lnTo>
                  <a:pt x="33" y="83"/>
                </a:lnTo>
                <a:lnTo>
                  <a:pt x="33" y="388"/>
                </a:lnTo>
                <a:lnTo>
                  <a:pt x="33" y="388"/>
                </a:lnTo>
                <a:lnTo>
                  <a:pt x="29" y="395"/>
                </a:lnTo>
                <a:lnTo>
                  <a:pt x="24" y="402"/>
                </a:lnTo>
                <a:lnTo>
                  <a:pt x="19" y="412"/>
                </a:lnTo>
                <a:lnTo>
                  <a:pt x="14" y="426"/>
                </a:lnTo>
                <a:lnTo>
                  <a:pt x="9" y="443"/>
                </a:lnTo>
                <a:lnTo>
                  <a:pt x="4" y="463"/>
                </a:lnTo>
                <a:lnTo>
                  <a:pt x="0" y="487"/>
                </a:lnTo>
                <a:lnTo>
                  <a:pt x="0" y="487"/>
                </a:lnTo>
                <a:lnTo>
                  <a:pt x="0" y="498"/>
                </a:lnTo>
                <a:lnTo>
                  <a:pt x="0" y="508"/>
                </a:lnTo>
                <a:lnTo>
                  <a:pt x="1" y="518"/>
                </a:lnTo>
                <a:lnTo>
                  <a:pt x="4" y="529"/>
                </a:lnTo>
                <a:lnTo>
                  <a:pt x="10" y="546"/>
                </a:lnTo>
                <a:lnTo>
                  <a:pt x="16" y="562"/>
                </a:lnTo>
                <a:lnTo>
                  <a:pt x="23" y="576"/>
                </a:lnTo>
                <a:lnTo>
                  <a:pt x="29" y="585"/>
                </a:lnTo>
                <a:lnTo>
                  <a:pt x="35" y="594"/>
                </a:lnTo>
                <a:lnTo>
                  <a:pt x="31" y="850"/>
                </a:lnTo>
                <a:lnTo>
                  <a:pt x="31" y="850"/>
                </a:lnTo>
                <a:lnTo>
                  <a:pt x="29" y="852"/>
                </a:lnTo>
                <a:lnTo>
                  <a:pt x="23" y="859"/>
                </a:lnTo>
                <a:lnTo>
                  <a:pt x="20" y="864"/>
                </a:lnTo>
                <a:lnTo>
                  <a:pt x="18" y="871"/>
                </a:lnTo>
                <a:lnTo>
                  <a:pt x="15" y="879"/>
                </a:lnTo>
                <a:lnTo>
                  <a:pt x="14" y="888"/>
                </a:lnTo>
                <a:lnTo>
                  <a:pt x="14" y="888"/>
                </a:lnTo>
                <a:lnTo>
                  <a:pt x="14" y="898"/>
                </a:lnTo>
                <a:lnTo>
                  <a:pt x="14" y="906"/>
                </a:lnTo>
                <a:lnTo>
                  <a:pt x="15" y="919"/>
                </a:lnTo>
                <a:lnTo>
                  <a:pt x="17" y="926"/>
                </a:lnTo>
                <a:lnTo>
                  <a:pt x="18" y="928"/>
                </a:lnTo>
                <a:lnTo>
                  <a:pt x="188" y="928"/>
                </a:lnTo>
                <a:lnTo>
                  <a:pt x="188" y="928"/>
                </a:lnTo>
                <a:lnTo>
                  <a:pt x="190" y="920"/>
                </a:lnTo>
                <a:lnTo>
                  <a:pt x="191" y="906"/>
                </a:lnTo>
                <a:lnTo>
                  <a:pt x="190" y="889"/>
                </a:lnTo>
                <a:lnTo>
                  <a:pt x="190" y="881"/>
                </a:lnTo>
                <a:lnTo>
                  <a:pt x="188" y="873"/>
                </a:lnTo>
                <a:lnTo>
                  <a:pt x="188" y="873"/>
                </a:lnTo>
                <a:lnTo>
                  <a:pt x="185" y="864"/>
                </a:lnTo>
                <a:lnTo>
                  <a:pt x="179" y="857"/>
                </a:lnTo>
                <a:lnTo>
                  <a:pt x="174" y="851"/>
                </a:lnTo>
                <a:lnTo>
                  <a:pt x="169" y="846"/>
                </a:lnTo>
                <a:lnTo>
                  <a:pt x="168" y="594"/>
                </a:lnTo>
                <a:lnTo>
                  <a:pt x="168" y="594"/>
                </a:lnTo>
                <a:lnTo>
                  <a:pt x="181" y="573"/>
                </a:lnTo>
                <a:lnTo>
                  <a:pt x="190" y="561"/>
                </a:lnTo>
                <a:lnTo>
                  <a:pt x="196" y="550"/>
                </a:lnTo>
                <a:lnTo>
                  <a:pt x="202" y="537"/>
                </a:lnTo>
                <a:lnTo>
                  <a:pt x="207" y="522"/>
                </a:lnTo>
                <a:lnTo>
                  <a:pt x="210" y="507"/>
                </a:lnTo>
                <a:lnTo>
                  <a:pt x="211" y="499"/>
                </a:lnTo>
                <a:lnTo>
                  <a:pt x="211" y="491"/>
                </a:lnTo>
                <a:lnTo>
                  <a:pt x="211" y="491"/>
                </a:lnTo>
                <a:lnTo>
                  <a:pt x="211" y="482"/>
                </a:lnTo>
                <a:lnTo>
                  <a:pt x="210" y="473"/>
                </a:lnTo>
                <a:lnTo>
                  <a:pt x="206" y="458"/>
                </a:lnTo>
                <a:lnTo>
                  <a:pt x="201" y="443"/>
                </a:lnTo>
                <a:lnTo>
                  <a:pt x="195" y="428"/>
                </a:lnTo>
                <a:lnTo>
                  <a:pt x="189" y="416"/>
                </a:lnTo>
                <a:lnTo>
                  <a:pt x="181" y="405"/>
                </a:lnTo>
                <a:lnTo>
                  <a:pt x="170" y="3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4" name="Freeform 41"/>
          <p:cNvSpPr>
            <a:spLocks/>
          </p:cNvSpPr>
          <p:nvPr userDrawn="1"/>
        </p:nvSpPr>
        <p:spPr bwMode="auto">
          <a:xfrm>
            <a:off x="7351713" y="1209378"/>
            <a:ext cx="80963" cy="58738"/>
          </a:xfrm>
          <a:custGeom>
            <a:avLst/>
            <a:gdLst>
              <a:gd name="T0" fmla="*/ 617 w 617"/>
              <a:gd name="T1" fmla="*/ 73 h 442"/>
              <a:gd name="T2" fmla="*/ 433 w 617"/>
              <a:gd name="T3" fmla="*/ 70 h 442"/>
              <a:gd name="T4" fmla="*/ 202 w 617"/>
              <a:gd name="T5" fmla="*/ 68 h 442"/>
              <a:gd name="T6" fmla="*/ 195 w 617"/>
              <a:gd name="T7" fmla="*/ 67 h 442"/>
              <a:gd name="T8" fmla="*/ 174 w 617"/>
              <a:gd name="T9" fmla="*/ 61 h 442"/>
              <a:gd name="T10" fmla="*/ 137 w 617"/>
              <a:gd name="T11" fmla="*/ 44 h 442"/>
              <a:gd name="T12" fmla="*/ 84 w 617"/>
              <a:gd name="T13" fmla="*/ 16 h 442"/>
              <a:gd name="T14" fmla="*/ 53 w 617"/>
              <a:gd name="T15" fmla="*/ 2 h 442"/>
              <a:gd name="T16" fmla="*/ 40 w 617"/>
              <a:gd name="T17" fmla="*/ 0 h 442"/>
              <a:gd name="T18" fmla="*/ 37 w 617"/>
              <a:gd name="T19" fmla="*/ 2 h 442"/>
              <a:gd name="T20" fmla="*/ 22 w 617"/>
              <a:gd name="T21" fmla="*/ 38 h 442"/>
              <a:gd name="T22" fmla="*/ 1 w 617"/>
              <a:gd name="T23" fmla="*/ 91 h 442"/>
              <a:gd name="T24" fmla="*/ 19 w 617"/>
              <a:gd name="T25" fmla="*/ 113 h 442"/>
              <a:gd name="T26" fmla="*/ 38 w 617"/>
              <a:gd name="T27" fmla="*/ 147 h 442"/>
              <a:gd name="T28" fmla="*/ 47 w 617"/>
              <a:gd name="T29" fmla="*/ 169 h 442"/>
              <a:gd name="T30" fmla="*/ 52 w 617"/>
              <a:gd name="T31" fmla="*/ 191 h 442"/>
              <a:gd name="T32" fmla="*/ 55 w 617"/>
              <a:gd name="T33" fmla="*/ 216 h 442"/>
              <a:gd name="T34" fmla="*/ 53 w 617"/>
              <a:gd name="T35" fmla="*/ 235 h 442"/>
              <a:gd name="T36" fmla="*/ 48 w 617"/>
              <a:gd name="T37" fmla="*/ 265 h 442"/>
              <a:gd name="T38" fmla="*/ 42 w 617"/>
              <a:gd name="T39" fmla="*/ 283 h 442"/>
              <a:gd name="T40" fmla="*/ 32 w 617"/>
              <a:gd name="T41" fmla="*/ 304 h 442"/>
              <a:gd name="T42" fmla="*/ 19 w 617"/>
              <a:gd name="T43" fmla="*/ 324 h 442"/>
              <a:gd name="T44" fmla="*/ 0 w 617"/>
              <a:gd name="T45" fmla="*/ 345 h 442"/>
              <a:gd name="T46" fmla="*/ 23 w 617"/>
              <a:gd name="T47" fmla="*/ 391 h 442"/>
              <a:gd name="T48" fmla="*/ 47 w 617"/>
              <a:gd name="T49" fmla="*/ 435 h 442"/>
              <a:gd name="T50" fmla="*/ 52 w 617"/>
              <a:gd name="T51" fmla="*/ 442 h 442"/>
              <a:gd name="T52" fmla="*/ 84 w 617"/>
              <a:gd name="T53" fmla="*/ 423 h 442"/>
              <a:gd name="T54" fmla="*/ 129 w 617"/>
              <a:gd name="T55" fmla="*/ 400 h 442"/>
              <a:gd name="T56" fmla="*/ 183 w 617"/>
              <a:gd name="T57" fmla="*/ 378 h 442"/>
              <a:gd name="T58" fmla="*/ 211 w 617"/>
              <a:gd name="T59" fmla="*/ 371 h 442"/>
              <a:gd name="T60" fmla="*/ 224 w 617"/>
              <a:gd name="T61" fmla="*/ 369 h 442"/>
              <a:gd name="T62" fmla="*/ 330 w 617"/>
              <a:gd name="T63" fmla="*/ 363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17" h="442">
                <a:moveTo>
                  <a:pt x="330" y="363"/>
                </a:moveTo>
                <a:lnTo>
                  <a:pt x="617" y="73"/>
                </a:lnTo>
                <a:lnTo>
                  <a:pt x="617" y="73"/>
                </a:lnTo>
                <a:lnTo>
                  <a:pt x="433" y="70"/>
                </a:lnTo>
                <a:lnTo>
                  <a:pt x="324" y="69"/>
                </a:lnTo>
                <a:lnTo>
                  <a:pt x="202" y="68"/>
                </a:lnTo>
                <a:lnTo>
                  <a:pt x="202" y="68"/>
                </a:lnTo>
                <a:lnTo>
                  <a:pt x="195" y="67"/>
                </a:lnTo>
                <a:lnTo>
                  <a:pt x="185" y="65"/>
                </a:lnTo>
                <a:lnTo>
                  <a:pt x="174" y="61"/>
                </a:lnTo>
                <a:lnTo>
                  <a:pt x="163" y="56"/>
                </a:lnTo>
                <a:lnTo>
                  <a:pt x="137" y="44"/>
                </a:lnTo>
                <a:lnTo>
                  <a:pt x="110" y="30"/>
                </a:lnTo>
                <a:lnTo>
                  <a:pt x="84" y="16"/>
                </a:lnTo>
                <a:lnTo>
                  <a:pt x="63" y="6"/>
                </a:lnTo>
                <a:lnTo>
                  <a:pt x="53" y="2"/>
                </a:lnTo>
                <a:lnTo>
                  <a:pt x="45" y="1"/>
                </a:lnTo>
                <a:lnTo>
                  <a:pt x="40" y="0"/>
                </a:lnTo>
                <a:lnTo>
                  <a:pt x="38" y="1"/>
                </a:lnTo>
                <a:lnTo>
                  <a:pt x="37" y="2"/>
                </a:lnTo>
                <a:lnTo>
                  <a:pt x="37" y="2"/>
                </a:lnTo>
                <a:lnTo>
                  <a:pt x="22" y="38"/>
                </a:lnTo>
                <a:lnTo>
                  <a:pt x="1" y="91"/>
                </a:lnTo>
                <a:lnTo>
                  <a:pt x="1" y="91"/>
                </a:lnTo>
                <a:lnTo>
                  <a:pt x="10" y="101"/>
                </a:lnTo>
                <a:lnTo>
                  <a:pt x="19" y="113"/>
                </a:lnTo>
                <a:lnTo>
                  <a:pt x="29" y="129"/>
                </a:lnTo>
                <a:lnTo>
                  <a:pt x="38" y="147"/>
                </a:lnTo>
                <a:lnTo>
                  <a:pt x="43" y="157"/>
                </a:lnTo>
                <a:lnTo>
                  <a:pt x="47" y="169"/>
                </a:lnTo>
                <a:lnTo>
                  <a:pt x="50" y="180"/>
                </a:lnTo>
                <a:lnTo>
                  <a:pt x="52" y="191"/>
                </a:lnTo>
                <a:lnTo>
                  <a:pt x="55" y="203"/>
                </a:lnTo>
                <a:lnTo>
                  <a:pt x="55" y="216"/>
                </a:lnTo>
                <a:lnTo>
                  <a:pt x="55" y="216"/>
                </a:lnTo>
                <a:lnTo>
                  <a:pt x="53" y="235"/>
                </a:lnTo>
                <a:lnTo>
                  <a:pt x="51" y="248"/>
                </a:lnTo>
                <a:lnTo>
                  <a:pt x="48" y="265"/>
                </a:lnTo>
                <a:lnTo>
                  <a:pt x="45" y="274"/>
                </a:lnTo>
                <a:lnTo>
                  <a:pt x="42" y="283"/>
                </a:lnTo>
                <a:lnTo>
                  <a:pt x="38" y="293"/>
                </a:lnTo>
                <a:lnTo>
                  <a:pt x="32" y="304"/>
                </a:lnTo>
                <a:lnTo>
                  <a:pt x="26" y="313"/>
                </a:lnTo>
                <a:lnTo>
                  <a:pt x="19" y="324"/>
                </a:lnTo>
                <a:lnTo>
                  <a:pt x="11" y="334"/>
                </a:lnTo>
                <a:lnTo>
                  <a:pt x="0" y="345"/>
                </a:lnTo>
                <a:lnTo>
                  <a:pt x="0" y="345"/>
                </a:lnTo>
                <a:lnTo>
                  <a:pt x="23" y="391"/>
                </a:lnTo>
                <a:lnTo>
                  <a:pt x="40" y="423"/>
                </a:lnTo>
                <a:lnTo>
                  <a:pt x="47" y="435"/>
                </a:lnTo>
                <a:lnTo>
                  <a:pt x="52" y="442"/>
                </a:lnTo>
                <a:lnTo>
                  <a:pt x="52" y="442"/>
                </a:lnTo>
                <a:lnTo>
                  <a:pt x="67" y="433"/>
                </a:lnTo>
                <a:lnTo>
                  <a:pt x="84" y="423"/>
                </a:lnTo>
                <a:lnTo>
                  <a:pt x="105" y="412"/>
                </a:lnTo>
                <a:lnTo>
                  <a:pt x="129" y="400"/>
                </a:lnTo>
                <a:lnTo>
                  <a:pt x="156" y="388"/>
                </a:lnTo>
                <a:lnTo>
                  <a:pt x="183" y="378"/>
                </a:lnTo>
                <a:lnTo>
                  <a:pt x="198" y="374"/>
                </a:lnTo>
                <a:lnTo>
                  <a:pt x="211" y="371"/>
                </a:lnTo>
                <a:lnTo>
                  <a:pt x="211" y="371"/>
                </a:lnTo>
                <a:lnTo>
                  <a:pt x="224" y="369"/>
                </a:lnTo>
                <a:lnTo>
                  <a:pt x="248" y="367"/>
                </a:lnTo>
                <a:lnTo>
                  <a:pt x="330" y="36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5" name="Freeform 42"/>
          <p:cNvSpPr>
            <a:spLocks/>
          </p:cNvSpPr>
          <p:nvPr userDrawn="1"/>
        </p:nvSpPr>
        <p:spPr bwMode="auto">
          <a:xfrm>
            <a:off x="7453312" y="1131591"/>
            <a:ext cx="158750" cy="127000"/>
          </a:xfrm>
          <a:custGeom>
            <a:avLst/>
            <a:gdLst>
              <a:gd name="T0" fmla="*/ 1179 w 1207"/>
              <a:gd name="T1" fmla="*/ 480 h 962"/>
              <a:gd name="T2" fmla="*/ 1115 w 1207"/>
              <a:gd name="T3" fmla="*/ 496 h 962"/>
              <a:gd name="T4" fmla="*/ 1079 w 1207"/>
              <a:gd name="T5" fmla="*/ 532 h 962"/>
              <a:gd name="T6" fmla="*/ 1057 w 1207"/>
              <a:gd name="T7" fmla="*/ 600 h 962"/>
              <a:gd name="T8" fmla="*/ 1046 w 1207"/>
              <a:gd name="T9" fmla="*/ 585 h 962"/>
              <a:gd name="T10" fmla="*/ 1007 w 1207"/>
              <a:gd name="T11" fmla="*/ 556 h 962"/>
              <a:gd name="T12" fmla="*/ 935 w 1207"/>
              <a:gd name="T13" fmla="*/ 562 h 962"/>
              <a:gd name="T14" fmla="*/ 930 w 1207"/>
              <a:gd name="T15" fmla="*/ 613 h 962"/>
              <a:gd name="T16" fmla="*/ 935 w 1207"/>
              <a:gd name="T17" fmla="*/ 696 h 962"/>
              <a:gd name="T18" fmla="*/ 890 w 1207"/>
              <a:gd name="T19" fmla="*/ 725 h 962"/>
              <a:gd name="T20" fmla="*/ 842 w 1207"/>
              <a:gd name="T21" fmla="*/ 709 h 962"/>
              <a:gd name="T22" fmla="*/ 816 w 1207"/>
              <a:gd name="T23" fmla="*/ 658 h 962"/>
              <a:gd name="T24" fmla="*/ 805 w 1207"/>
              <a:gd name="T25" fmla="*/ 643 h 962"/>
              <a:gd name="T26" fmla="*/ 749 w 1207"/>
              <a:gd name="T27" fmla="*/ 659 h 962"/>
              <a:gd name="T28" fmla="*/ 701 w 1207"/>
              <a:gd name="T29" fmla="*/ 634 h 962"/>
              <a:gd name="T30" fmla="*/ 694 w 1207"/>
              <a:gd name="T31" fmla="*/ 581 h 962"/>
              <a:gd name="T32" fmla="*/ 754 w 1207"/>
              <a:gd name="T33" fmla="*/ 540 h 962"/>
              <a:gd name="T34" fmla="*/ 824 w 1207"/>
              <a:gd name="T35" fmla="*/ 520 h 962"/>
              <a:gd name="T36" fmla="*/ 805 w 1207"/>
              <a:gd name="T37" fmla="*/ 460 h 962"/>
              <a:gd name="T38" fmla="*/ 764 w 1207"/>
              <a:gd name="T39" fmla="*/ 421 h 962"/>
              <a:gd name="T40" fmla="*/ 698 w 1207"/>
              <a:gd name="T41" fmla="*/ 414 h 962"/>
              <a:gd name="T42" fmla="*/ 672 w 1207"/>
              <a:gd name="T43" fmla="*/ 415 h 962"/>
              <a:gd name="T44" fmla="*/ 712 w 1207"/>
              <a:gd name="T45" fmla="*/ 360 h 962"/>
              <a:gd name="T46" fmla="*/ 709 w 1207"/>
              <a:gd name="T47" fmla="*/ 285 h 962"/>
              <a:gd name="T48" fmla="*/ 668 w 1207"/>
              <a:gd name="T49" fmla="*/ 214 h 962"/>
              <a:gd name="T50" fmla="*/ 606 w 1207"/>
              <a:gd name="T51" fmla="*/ 224 h 962"/>
              <a:gd name="T52" fmla="*/ 535 w 1207"/>
              <a:gd name="T53" fmla="*/ 272 h 962"/>
              <a:gd name="T54" fmla="*/ 516 w 1207"/>
              <a:gd name="T55" fmla="*/ 334 h 962"/>
              <a:gd name="T56" fmla="*/ 508 w 1207"/>
              <a:gd name="T57" fmla="*/ 341 h 962"/>
              <a:gd name="T58" fmla="*/ 458 w 1207"/>
              <a:gd name="T59" fmla="*/ 287 h 962"/>
              <a:gd name="T60" fmla="*/ 404 w 1207"/>
              <a:gd name="T61" fmla="*/ 278 h 962"/>
              <a:gd name="T62" fmla="*/ 345 w 1207"/>
              <a:gd name="T63" fmla="*/ 300 h 962"/>
              <a:gd name="T64" fmla="*/ 362 w 1207"/>
              <a:gd name="T65" fmla="*/ 357 h 962"/>
              <a:gd name="T66" fmla="*/ 382 w 1207"/>
              <a:gd name="T67" fmla="*/ 432 h 962"/>
              <a:gd name="T68" fmla="*/ 347 w 1207"/>
              <a:gd name="T69" fmla="*/ 472 h 962"/>
              <a:gd name="T70" fmla="*/ 292 w 1207"/>
              <a:gd name="T71" fmla="*/ 462 h 962"/>
              <a:gd name="T72" fmla="*/ 262 w 1207"/>
              <a:gd name="T73" fmla="*/ 417 h 962"/>
              <a:gd name="T74" fmla="*/ 249 w 1207"/>
              <a:gd name="T75" fmla="*/ 398 h 962"/>
              <a:gd name="T76" fmla="*/ 194 w 1207"/>
              <a:gd name="T77" fmla="*/ 421 h 962"/>
              <a:gd name="T78" fmla="*/ 147 w 1207"/>
              <a:gd name="T79" fmla="*/ 404 h 962"/>
              <a:gd name="T80" fmla="*/ 128 w 1207"/>
              <a:gd name="T81" fmla="*/ 354 h 962"/>
              <a:gd name="T82" fmla="*/ 178 w 1207"/>
              <a:gd name="T83" fmla="*/ 300 h 962"/>
              <a:gd name="T84" fmla="*/ 233 w 1207"/>
              <a:gd name="T85" fmla="*/ 262 h 962"/>
              <a:gd name="T86" fmla="*/ 195 w 1207"/>
              <a:gd name="T87" fmla="*/ 203 h 962"/>
              <a:gd name="T88" fmla="*/ 145 w 1207"/>
              <a:gd name="T89" fmla="*/ 185 h 962"/>
              <a:gd name="T90" fmla="*/ 115 w 1207"/>
              <a:gd name="T91" fmla="*/ 191 h 962"/>
              <a:gd name="T92" fmla="*/ 153 w 1207"/>
              <a:gd name="T93" fmla="*/ 136 h 962"/>
              <a:gd name="T94" fmla="*/ 157 w 1207"/>
              <a:gd name="T95" fmla="*/ 76 h 962"/>
              <a:gd name="T96" fmla="*/ 134 w 1207"/>
              <a:gd name="T97" fmla="*/ 28 h 962"/>
              <a:gd name="T98" fmla="*/ 269 w 1207"/>
              <a:gd name="T99" fmla="*/ 712 h 962"/>
              <a:gd name="T100" fmla="*/ 354 w 1207"/>
              <a:gd name="T101" fmla="*/ 656 h 962"/>
              <a:gd name="T102" fmla="*/ 437 w 1207"/>
              <a:gd name="T103" fmla="*/ 636 h 962"/>
              <a:gd name="T104" fmla="*/ 517 w 1207"/>
              <a:gd name="T105" fmla="*/ 643 h 962"/>
              <a:gd name="T106" fmla="*/ 610 w 1207"/>
              <a:gd name="T107" fmla="*/ 683 h 962"/>
              <a:gd name="T108" fmla="*/ 658 w 1207"/>
              <a:gd name="T109" fmla="*/ 735 h 962"/>
              <a:gd name="T110" fmla="*/ 673 w 1207"/>
              <a:gd name="T111" fmla="*/ 793 h 962"/>
              <a:gd name="T112" fmla="*/ 646 w 1207"/>
              <a:gd name="T113" fmla="*/ 877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07" h="962">
                <a:moveTo>
                  <a:pt x="841" y="962"/>
                </a:moveTo>
                <a:lnTo>
                  <a:pt x="1207" y="484"/>
                </a:lnTo>
                <a:lnTo>
                  <a:pt x="1207" y="484"/>
                </a:lnTo>
                <a:lnTo>
                  <a:pt x="1200" y="482"/>
                </a:lnTo>
                <a:lnTo>
                  <a:pt x="1190" y="481"/>
                </a:lnTo>
                <a:lnTo>
                  <a:pt x="1179" y="480"/>
                </a:lnTo>
                <a:lnTo>
                  <a:pt x="1166" y="480"/>
                </a:lnTo>
                <a:lnTo>
                  <a:pt x="1149" y="483"/>
                </a:lnTo>
                <a:lnTo>
                  <a:pt x="1141" y="485"/>
                </a:lnTo>
                <a:lnTo>
                  <a:pt x="1133" y="488"/>
                </a:lnTo>
                <a:lnTo>
                  <a:pt x="1124" y="492"/>
                </a:lnTo>
                <a:lnTo>
                  <a:pt x="1115" y="496"/>
                </a:lnTo>
                <a:lnTo>
                  <a:pt x="1115" y="496"/>
                </a:lnTo>
                <a:lnTo>
                  <a:pt x="1106" y="502"/>
                </a:lnTo>
                <a:lnTo>
                  <a:pt x="1097" y="508"/>
                </a:lnTo>
                <a:lnTo>
                  <a:pt x="1090" y="515"/>
                </a:lnTo>
                <a:lnTo>
                  <a:pt x="1084" y="523"/>
                </a:lnTo>
                <a:lnTo>
                  <a:pt x="1079" y="532"/>
                </a:lnTo>
                <a:lnTo>
                  <a:pt x="1074" y="540"/>
                </a:lnTo>
                <a:lnTo>
                  <a:pt x="1070" y="548"/>
                </a:lnTo>
                <a:lnTo>
                  <a:pt x="1067" y="557"/>
                </a:lnTo>
                <a:lnTo>
                  <a:pt x="1062" y="574"/>
                </a:lnTo>
                <a:lnTo>
                  <a:pt x="1058" y="589"/>
                </a:lnTo>
                <a:lnTo>
                  <a:pt x="1057" y="600"/>
                </a:lnTo>
                <a:lnTo>
                  <a:pt x="1058" y="605"/>
                </a:lnTo>
                <a:lnTo>
                  <a:pt x="1059" y="608"/>
                </a:lnTo>
                <a:lnTo>
                  <a:pt x="1059" y="608"/>
                </a:lnTo>
                <a:lnTo>
                  <a:pt x="1055" y="599"/>
                </a:lnTo>
                <a:lnTo>
                  <a:pt x="1051" y="592"/>
                </a:lnTo>
                <a:lnTo>
                  <a:pt x="1046" y="585"/>
                </a:lnTo>
                <a:lnTo>
                  <a:pt x="1041" y="579"/>
                </a:lnTo>
                <a:lnTo>
                  <a:pt x="1036" y="574"/>
                </a:lnTo>
                <a:lnTo>
                  <a:pt x="1031" y="568"/>
                </a:lnTo>
                <a:lnTo>
                  <a:pt x="1025" y="564"/>
                </a:lnTo>
                <a:lnTo>
                  <a:pt x="1020" y="561"/>
                </a:lnTo>
                <a:lnTo>
                  <a:pt x="1007" y="556"/>
                </a:lnTo>
                <a:lnTo>
                  <a:pt x="994" y="554"/>
                </a:lnTo>
                <a:lnTo>
                  <a:pt x="982" y="553"/>
                </a:lnTo>
                <a:lnTo>
                  <a:pt x="970" y="554"/>
                </a:lnTo>
                <a:lnTo>
                  <a:pt x="957" y="556"/>
                </a:lnTo>
                <a:lnTo>
                  <a:pt x="946" y="558"/>
                </a:lnTo>
                <a:lnTo>
                  <a:pt x="935" y="562"/>
                </a:lnTo>
                <a:lnTo>
                  <a:pt x="927" y="565"/>
                </a:lnTo>
                <a:lnTo>
                  <a:pt x="913" y="572"/>
                </a:lnTo>
                <a:lnTo>
                  <a:pt x="908" y="574"/>
                </a:lnTo>
                <a:lnTo>
                  <a:pt x="908" y="574"/>
                </a:lnTo>
                <a:lnTo>
                  <a:pt x="920" y="594"/>
                </a:lnTo>
                <a:lnTo>
                  <a:pt x="930" y="613"/>
                </a:lnTo>
                <a:lnTo>
                  <a:pt x="936" y="632"/>
                </a:lnTo>
                <a:lnTo>
                  <a:pt x="940" y="647"/>
                </a:lnTo>
                <a:lnTo>
                  <a:pt x="941" y="663"/>
                </a:lnTo>
                <a:lnTo>
                  <a:pt x="941" y="675"/>
                </a:lnTo>
                <a:lnTo>
                  <a:pt x="939" y="687"/>
                </a:lnTo>
                <a:lnTo>
                  <a:pt x="935" y="696"/>
                </a:lnTo>
                <a:lnTo>
                  <a:pt x="930" y="705"/>
                </a:lnTo>
                <a:lnTo>
                  <a:pt x="924" y="712"/>
                </a:lnTo>
                <a:lnTo>
                  <a:pt x="915" y="718"/>
                </a:lnTo>
                <a:lnTo>
                  <a:pt x="907" y="722"/>
                </a:lnTo>
                <a:lnTo>
                  <a:pt x="899" y="724"/>
                </a:lnTo>
                <a:lnTo>
                  <a:pt x="890" y="725"/>
                </a:lnTo>
                <a:lnTo>
                  <a:pt x="881" y="725"/>
                </a:lnTo>
                <a:lnTo>
                  <a:pt x="871" y="724"/>
                </a:lnTo>
                <a:lnTo>
                  <a:pt x="871" y="724"/>
                </a:lnTo>
                <a:lnTo>
                  <a:pt x="859" y="720"/>
                </a:lnTo>
                <a:lnTo>
                  <a:pt x="850" y="715"/>
                </a:lnTo>
                <a:lnTo>
                  <a:pt x="842" y="709"/>
                </a:lnTo>
                <a:lnTo>
                  <a:pt x="835" y="702"/>
                </a:lnTo>
                <a:lnTo>
                  <a:pt x="829" y="695"/>
                </a:lnTo>
                <a:lnTo>
                  <a:pt x="825" y="688"/>
                </a:lnTo>
                <a:lnTo>
                  <a:pt x="821" y="680"/>
                </a:lnTo>
                <a:lnTo>
                  <a:pt x="819" y="673"/>
                </a:lnTo>
                <a:lnTo>
                  <a:pt x="816" y="658"/>
                </a:lnTo>
                <a:lnTo>
                  <a:pt x="816" y="646"/>
                </a:lnTo>
                <a:lnTo>
                  <a:pt x="816" y="638"/>
                </a:lnTo>
                <a:lnTo>
                  <a:pt x="816" y="635"/>
                </a:lnTo>
                <a:lnTo>
                  <a:pt x="816" y="635"/>
                </a:lnTo>
                <a:lnTo>
                  <a:pt x="813" y="637"/>
                </a:lnTo>
                <a:lnTo>
                  <a:pt x="805" y="643"/>
                </a:lnTo>
                <a:lnTo>
                  <a:pt x="793" y="650"/>
                </a:lnTo>
                <a:lnTo>
                  <a:pt x="785" y="653"/>
                </a:lnTo>
                <a:lnTo>
                  <a:pt x="777" y="656"/>
                </a:lnTo>
                <a:lnTo>
                  <a:pt x="768" y="658"/>
                </a:lnTo>
                <a:lnTo>
                  <a:pt x="759" y="659"/>
                </a:lnTo>
                <a:lnTo>
                  <a:pt x="749" y="659"/>
                </a:lnTo>
                <a:lnTo>
                  <a:pt x="739" y="658"/>
                </a:lnTo>
                <a:lnTo>
                  <a:pt x="729" y="655"/>
                </a:lnTo>
                <a:lnTo>
                  <a:pt x="720" y="650"/>
                </a:lnTo>
                <a:lnTo>
                  <a:pt x="710" y="643"/>
                </a:lnTo>
                <a:lnTo>
                  <a:pt x="701" y="634"/>
                </a:lnTo>
                <a:lnTo>
                  <a:pt x="701" y="634"/>
                </a:lnTo>
                <a:lnTo>
                  <a:pt x="694" y="625"/>
                </a:lnTo>
                <a:lnTo>
                  <a:pt x="690" y="616"/>
                </a:lnTo>
                <a:lnTo>
                  <a:pt x="688" y="607"/>
                </a:lnTo>
                <a:lnTo>
                  <a:pt x="689" y="598"/>
                </a:lnTo>
                <a:lnTo>
                  <a:pt x="690" y="589"/>
                </a:lnTo>
                <a:lnTo>
                  <a:pt x="694" y="581"/>
                </a:lnTo>
                <a:lnTo>
                  <a:pt x="701" y="572"/>
                </a:lnTo>
                <a:lnTo>
                  <a:pt x="708" y="564"/>
                </a:lnTo>
                <a:lnTo>
                  <a:pt x="717" y="557"/>
                </a:lnTo>
                <a:lnTo>
                  <a:pt x="727" y="550"/>
                </a:lnTo>
                <a:lnTo>
                  <a:pt x="740" y="544"/>
                </a:lnTo>
                <a:lnTo>
                  <a:pt x="754" y="540"/>
                </a:lnTo>
                <a:lnTo>
                  <a:pt x="769" y="536"/>
                </a:lnTo>
                <a:lnTo>
                  <a:pt x="786" y="533"/>
                </a:lnTo>
                <a:lnTo>
                  <a:pt x="804" y="532"/>
                </a:lnTo>
                <a:lnTo>
                  <a:pt x="823" y="531"/>
                </a:lnTo>
                <a:lnTo>
                  <a:pt x="823" y="531"/>
                </a:lnTo>
                <a:lnTo>
                  <a:pt x="824" y="520"/>
                </a:lnTo>
                <a:lnTo>
                  <a:pt x="823" y="509"/>
                </a:lnTo>
                <a:lnTo>
                  <a:pt x="820" y="494"/>
                </a:lnTo>
                <a:lnTo>
                  <a:pt x="817" y="486"/>
                </a:lnTo>
                <a:lnTo>
                  <a:pt x="814" y="477"/>
                </a:lnTo>
                <a:lnTo>
                  <a:pt x="810" y="469"/>
                </a:lnTo>
                <a:lnTo>
                  <a:pt x="805" y="460"/>
                </a:lnTo>
                <a:lnTo>
                  <a:pt x="799" y="451"/>
                </a:lnTo>
                <a:lnTo>
                  <a:pt x="792" y="443"/>
                </a:lnTo>
                <a:lnTo>
                  <a:pt x="782" y="435"/>
                </a:lnTo>
                <a:lnTo>
                  <a:pt x="772" y="426"/>
                </a:lnTo>
                <a:lnTo>
                  <a:pt x="772" y="426"/>
                </a:lnTo>
                <a:lnTo>
                  <a:pt x="764" y="421"/>
                </a:lnTo>
                <a:lnTo>
                  <a:pt x="755" y="417"/>
                </a:lnTo>
                <a:lnTo>
                  <a:pt x="745" y="415"/>
                </a:lnTo>
                <a:lnTo>
                  <a:pt x="735" y="413"/>
                </a:lnTo>
                <a:lnTo>
                  <a:pt x="725" y="412"/>
                </a:lnTo>
                <a:lnTo>
                  <a:pt x="716" y="412"/>
                </a:lnTo>
                <a:lnTo>
                  <a:pt x="698" y="414"/>
                </a:lnTo>
                <a:lnTo>
                  <a:pt x="681" y="418"/>
                </a:lnTo>
                <a:lnTo>
                  <a:pt x="668" y="421"/>
                </a:lnTo>
                <a:lnTo>
                  <a:pt x="657" y="425"/>
                </a:lnTo>
                <a:lnTo>
                  <a:pt x="657" y="425"/>
                </a:lnTo>
                <a:lnTo>
                  <a:pt x="664" y="421"/>
                </a:lnTo>
                <a:lnTo>
                  <a:pt x="672" y="415"/>
                </a:lnTo>
                <a:lnTo>
                  <a:pt x="681" y="408"/>
                </a:lnTo>
                <a:lnTo>
                  <a:pt x="691" y="397"/>
                </a:lnTo>
                <a:lnTo>
                  <a:pt x="701" y="384"/>
                </a:lnTo>
                <a:lnTo>
                  <a:pt x="705" y="376"/>
                </a:lnTo>
                <a:lnTo>
                  <a:pt x="709" y="369"/>
                </a:lnTo>
                <a:lnTo>
                  <a:pt x="712" y="360"/>
                </a:lnTo>
                <a:lnTo>
                  <a:pt x="714" y="351"/>
                </a:lnTo>
                <a:lnTo>
                  <a:pt x="714" y="351"/>
                </a:lnTo>
                <a:lnTo>
                  <a:pt x="716" y="336"/>
                </a:lnTo>
                <a:lnTo>
                  <a:pt x="715" y="320"/>
                </a:lnTo>
                <a:lnTo>
                  <a:pt x="713" y="303"/>
                </a:lnTo>
                <a:lnTo>
                  <a:pt x="709" y="285"/>
                </a:lnTo>
                <a:lnTo>
                  <a:pt x="702" y="267"/>
                </a:lnTo>
                <a:lnTo>
                  <a:pt x="693" y="249"/>
                </a:lnTo>
                <a:lnTo>
                  <a:pt x="682" y="232"/>
                </a:lnTo>
                <a:lnTo>
                  <a:pt x="676" y="223"/>
                </a:lnTo>
                <a:lnTo>
                  <a:pt x="669" y="216"/>
                </a:lnTo>
                <a:lnTo>
                  <a:pt x="668" y="214"/>
                </a:lnTo>
                <a:lnTo>
                  <a:pt x="665" y="214"/>
                </a:lnTo>
                <a:lnTo>
                  <a:pt x="665" y="214"/>
                </a:lnTo>
                <a:lnTo>
                  <a:pt x="655" y="214"/>
                </a:lnTo>
                <a:lnTo>
                  <a:pt x="644" y="215"/>
                </a:lnTo>
                <a:lnTo>
                  <a:pt x="624" y="219"/>
                </a:lnTo>
                <a:lnTo>
                  <a:pt x="606" y="224"/>
                </a:lnTo>
                <a:lnTo>
                  <a:pt x="587" y="232"/>
                </a:lnTo>
                <a:lnTo>
                  <a:pt x="572" y="240"/>
                </a:lnTo>
                <a:lnTo>
                  <a:pt x="557" y="250"/>
                </a:lnTo>
                <a:lnTo>
                  <a:pt x="545" y="261"/>
                </a:lnTo>
                <a:lnTo>
                  <a:pt x="535" y="272"/>
                </a:lnTo>
                <a:lnTo>
                  <a:pt x="535" y="272"/>
                </a:lnTo>
                <a:lnTo>
                  <a:pt x="530" y="280"/>
                </a:lnTo>
                <a:lnTo>
                  <a:pt x="526" y="288"/>
                </a:lnTo>
                <a:lnTo>
                  <a:pt x="523" y="297"/>
                </a:lnTo>
                <a:lnTo>
                  <a:pt x="520" y="305"/>
                </a:lnTo>
                <a:lnTo>
                  <a:pt x="517" y="320"/>
                </a:lnTo>
                <a:lnTo>
                  <a:pt x="516" y="334"/>
                </a:lnTo>
                <a:lnTo>
                  <a:pt x="516" y="347"/>
                </a:lnTo>
                <a:lnTo>
                  <a:pt x="517" y="357"/>
                </a:lnTo>
                <a:lnTo>
                  <a:pt x="519" y="365"/>
                </a:lnTo>
                <a:lnTo>
                  <a:pt x="519" y="365"/>
                </a:lnTo>
                <a:lnTo>
                  <a:pt x="513" y="354"/>
                </a:lnTo>
                <a:lnTo>
                  <a:pt x="508" y="341"/>
                </a:lnTo>
                <a:lnTo>
                  <a:pt x="499" y="327"/>
                </a:lnTo>
                <a:lnTo>
                  <a:pt x="488" y="313"/>
                </a:lnTo>
                <a:lnTo>
                  <a:pt x="482" y="306"/>
                </a:lnTo>
                <a:lnTo>
                  <a:pt x="475" y="299"/>
                </a:lnTo>
                <a:lnTo>
                  <a:pt x="467" y="292"/>
                </a:lnTo>
                <a:lnTo>
                  <a:pt x="458" y="287"/>
                </a:lnTo>
                <a:lnTo>
                  <a:pt x="450" y="283"/>
                </a:lnTo>
                <a:lnTo>
                  <a:pt x="440" y="281"/>
                </a:lnTo>
                <a:lnTo>
                  <a:pt x="440" y="281"/>
                </a:lnTo>
                <a:lnTo>
                  <a:pt x="428" y="278"/>
                </a:lnTo>
                <a:lnTo>
                  <a:pt x="415" y="278"/>
                </a:lnTo>
                <a:lnTo>
                  <a:pt x="404" y="278"/>
                </a:lnTo>
                <a:lnTo>
                  <a:pt x="393" y="279"/>
                </a:lnTo>
                <a:lnTo>
                  <a:pt x="384" y="281"/>
                </a:lnTo>
                <a:lnTo>
                  <a:pt x="374" y="284"/>
                </a:lnTo>
                <a:lnTo>
                  <a:pt x="365" y="287"/>
                </a:lnTo>
                <a:lnTo>
                  <a:pt x="358" y="291"/>
                </a:lnTo>
                <a:lnTo>
                  <a:pt x="345" y="300"/>
                </a:lnTo>
                <a:lnTo>
                  <a:pt x="336" y="307"/>
                </a:lnTo>
                <a:lnTo>
                  <a:pt x="328" y="314"/>
                </a:lnTo>
                <a:lnTo>
                  <a:pt x="328" y="314"/>
                </a:lnTo>
                <a:lnTo>
                  <a:pt x="342" y="328"/>
                </a:lnTo>
                <a:lnTo>
                  <a:pt x="353" y="343"/>
                </a:lnTo>
                <a:lnTo>
                  <a:pt x="362" y="357"/>
                </a:lnTo>
                <a:lnTo>
                  <a:pt x="369" y="371"/>
                </a:lnTo>
                <a:lnTo>
                  <a:pt x="375" y="384"/>
                </a:lnTo>
                <a:lnTo>
                  <a:pt x="380" y="398"/>
                </a:lnTo>
                <a:lnTo>
                  <a:pt x="382" y="410"/>
                </a:lnTo>
                <a:lnTo>
                  <a:pt x="383" y="421"/>
                </a:lnTo>
                <a:lnTo>
                  <a:pt x="382" y="432"/>
                </a:lnTo>
                <a:lnTo>
                  <a:pt x="380" y="442"/>
                </a:lnTo>
                <a:lnTo>
                  <a:pt x="375" y="451"/>
                </a:lnTo>
                <a:lnTo>
                  <a:pt x="370" y="458"/>
                </a:lnTo>
                <a:lnTo>
                  <a:pt x="363" y="464"/>
                </a:lnTo>
                <a:lnTo>
                  <a:pt x="356" y="469"/>
                </a:lnTo>
                <a:lnTo>
                  <a:pt x="347" y="472"/>
                </a:lnTo>
                <a:lnTo>
                  <a:pt x="337" y="473"/>
                </a:lnTo>
                <a:lnTo>
                  <a:pt x="337" y="473"/>
                </a:lnTo>
                <a:lnTo>
                  <a:pt x="322" y="473"/>
                </a:lnTo>
                <a:lnTo>
                  <a:pt x="311" y="471"/>
                </a:lnTo>
                <a:lnTo>
                  <a:pt x="301" y="467"/>
                </a:lnTo>
                <a:lnTo>
                  <a:pt x="292" y="462"/>
                </a:lnTo>
                <a:lnTo>
                  <a:pt x="283" y="456"/>
                </a:lnTo>
                <a:lnTo>
                  <a:pt x="277" y="449"/>
                </a:lnTo>
                <a:lnTo>
                  <a:pt x="272" y="441"/>
                </a:lnTo>
                <a:lnTo>
                  <a:pt x="268" y="432"/>
                </a:lnTo>
                <a:lnTo>
                  <a:pt x="264" y="424"/>
                </a:lnTo>
                <a:lnTo>
                  <a:pt x="262" y="417"/>
                </a:lnTo>
                <a:lnTo>
                  <a:pt x="259" y="403"/>
                </a:lnTo>
                <a:lnTo>
                  <a:pt x="257" y="393"/>
                </a:lnTo>
                <a:lnTo>
                  <a:pt x="257" y="390"/>
                </a:lnTo>
                <a:lnTo>
                  <a:pt x="257" y="390"/>
                </a:lnTo>
                <a:lnTo>
                  <a:pt x="255" y="392"/>
                </a:lnTo>
                <a:lnTo>
                  <a:pt x="249" y="398"/>
                </a:lnTo>
                <a:lnTo>
                  <a:pt x="239" y="405"/>
                </a:lnTo>
                <a:lnTo>
                  <a:pt x="227" y="413"/>
                </a:lnTo>
                <a:lnTo>
                  <a:pt x="220" y="416"/>
                </a:lnTo>
                <a:lnTo>
                  <a:pt x="212" y="419"/>
                </a:lnTo>
                <a:lnTo>
                  <a:pt x="204" y="420"/>
                </a:lnTo>
                <a:lnTo>
                  <a:pt x="194" y="421"/>
                </a:lnTo>
                <a:lnTo>
                  <a:pt x="185" y="421"/>
                </a:lnTo>
                <a:lnTo>
                  <a:pt x="175" y="419"/>
                </a:lnTo>
                <a:lnTo>
                  <a:pt x="165" y="415"/>
                </a:lnTo>
                <a:lnTo>
                  <a:pt x="155" y="409"/>
                </a:lnTo>
                <a:lnTo>
                  <a:pt x="155" y="409"/>
                </a:lnTo>
                <a:lnTo>
                  <a:pt x="147" y="404"/>
                </a:lnTo>
                <a:lnTo>
                  <a:pt x="140" y="397"/>
                </a:lnTo>
                <a:lnTo>
                  <a:pt x="135" y="390"/>
                </a:lnTo>
                <a:lnTo>
                  <a:pt x="131" y="381"/>
                </a:lnTo>
                <a:lnTo>
                  <a:pt x="129" y="372"/>
                </a:lnTo>
                <a:lnTo>
                  <a:pt x="128" y="363"/>
                </a:lnTo>
                <a:lnTo>
                  <a:pt x="128" y="354"/>
                </a:lnTo>
                <a:lnTo>
                  <a:pt x="131" y="345"/>
                </a:lnTo>
                <a:lnTo>
                  <a:pt x="136" y="334"/>
                </a:lnTo>
                <a:lnTo>
                  <a:pt x="142" y="325"/>
                </a:lnTo>
                <a:lnTo>
                  <a:pt x="153" y="316"/>
                </a:lnTo>
                <a:lnTo>
                  <a:pt x="164" y="308"/>
                </a:lnTo>
                <a:lnTo>
                  <a:pt x="178" y="300"/>
                </a:lnTo>
                <a:lnTo>
                  <a:pt x="195" y="292"/>
                </a:lnTo>
                <a:lnTo>
                  <a:pt x="216" y="286"/>
                </a:lnTo>
                <a:lnTo>
                  <a:pt x="239" y="280"/>
                </a:lnTo>
                <a:lnTo>
                  <a:pt x="239" y="280"/>
                </a:lnTo>
                <a:lnTo>
                  <a:pt x="238" y="275"/>
                </a:lnTo>
                <a:lnTo>
                  <a:pt x="233" y="262"/>
                </a:lnTo>
                <a:lnTo>
                  <a:pt x="230" y="253"/>
                </a:lnTo>
                <a:lnTo>
                  <a:pt x="225" y="242"/>
                </a:lnTo>
                <a:lnTo>
                  <a:pt x="220" y="232"/>
                </a:lnTo>
                <a:lnTo>
                  <a:pt x="213" y="222"/>
                </a:lnTo>
                <a:lnTo>
                  <a:pt x="205" y="213"/>
                </a:lnTo>
                <a:lnTo>
                  <a:pt x="195" y="203"/>
                </a:lnTo>
                <a:lnTo>
                  <a:pt x="185" y="196"/>
                </a:lnTo>
                <a:lnTo>
                  <a:pt x="173" y="190"/>
                </a:lnTo>
                <a:lnTo>
                  <a:pt x="167" y="188"/>
                </a:lnTo>
                <a:lnTo>
                  <a:pt x="161" y="187"/>
                </a:lnTo>
                <a:lnTo>
                  <a:pt x="154" y="186"/>
                </a:lnTo>
                <a:lnTo>
                  <a:pt x="145" y="185"/>
                </a:lnTo>
                <a:lnTo>
                  <a:pt x="138" y="186"/>
                </a:lnTo>
                <a:lnTo>
                  <a:pt x="129" y="187"/>
                </a:lnTo>
                <a:lnTo>
                  <a:pt x="121" y="190"/>
                </a:lnTo>
                <a:lnTo>
                  <a:pt x="112" y="193"/>
                </a:lnTo>
                <a:lnTo>
                  <a:pt x="112" y="193"/>
                </a:lnTo>
                <a:lnTo>
                  <a:pt x="115" y="191"/>
                </a:lnTo>
                <a:lnTo>
                  <a:pt x="119" y="188"/>
                </a:lnTo>
                <a:lnTo>
                  <a:pt x="127" y="180"/>
                </a:lnTo>
                <a:lnTo>
                  <a:pt x="136" y="168"/>
                </a:lnTo>
                <a:lnTo>
                  <a:pt x="144" y="153"/>
                </a:lnTo>
                <a:lnTo>
                  <a:pt x="148" y="144"/>
                </a:lnTo>
                <a:lnTo>
                  <a:pt x="153" y="136"/>
                </a:lnTo>
                <a:lnTo>
                  <a:pt x="156" y="127"/>
                </a:lnTo>
                <a:lnTo>
                  <a:pt x="158" y="117"/>
                </a:lnTo>
                <a:lnTo>
                  <a:pt x="159" y="106"/>
                </a:lnTo>
                <a:lnTo>
                  <a:pt x="160" y="97"/>
                </a:lnTo>
                <a:lnTo>
                  <a:pt x="159" y="86"/>
                </a:lnTo>
                <a:lnTo>
                  <a:pt x="157" y="76"/>
                </a:lnTo>
                <a:lnTo>
                  <a:pt x="157" y="76"/>
                </a:lnTo>
                <a:lnTo>
                  <a:pt x="155" y="66"/>
                </a:lnTo>
                <a:lnTo>
                  <a:pt x="150" y="57"/>
                </a:lnTo>
                <a:lnTo>
                  <a:pt x="147" y="49"/>
                </a:lnTo>
                <a:lnTo>
                  <a:pt x="143" y="41"/>
                </a:lnTo>
                <a:lnTo>
                  <a:pt x="134" y="28"/>
                </a:lnTo>
                <a:lnTo>
                  <a:pt x="125" y="17"/>
                </a:lnTo>
                <a:lnTo>
                  <a:pt x="117" y="9"/>
                </a:lnTo>
                <a:lnTo>
                  <a:pt x="110" y="4"/>
                </a:lnTo>
                <a:lnTo>
                  <a:pt x="103" y="0"/>
                </a:lnTo>
                <a:lnTo>
                  <a:pt x="0" y="593"/>
                </a:lnTo>
                <a:lnTo>
                  <a:pt x="269" y="712"/>
                </a:lnTo>
                <a:lnTo>
                  <a:pt x="269" y="712"/>
                </a:lnTo>
                <a:lnTo>
                  <a:pt x="293" y="693"/>
                </a:lnTo>
                <a:lnTo>
                  <a:pt x="315" y="677"/>
                </a:lnTo>
                <a:lnTo>
                  <a:pt x="336" y="665"/>
                </a:lnTo>
                <a:lnTo>
                  <a:pt x="354" y="656"/>
                </a:lnTo>
                <a:lnTo>
                  <a:pt x="354" y="656"/>
                </a:lnTo>
                <a:lnTo>
                  <a:pt x="367" y="650"/>
                </a:lnTo>
                <a:lnTo>
                  <a:pt x="382" y="646"/>
                </a:lnTo>
                <a:lnTo>
                  <a:pt x="396" y="642"/>
                </a:lnTo>
                <a:lnTo>
                  <a:pt x="409" y="639"/>
                </a:lnTo>
                <a:lnTo>
                  <a:pt x="423" y="637"/>
                </a:lnTo>
                <a:lnTo>
                  <a:pt x="437" y="636"/>
                </a:lnTo>
                <a:lnTo>
                  <a:pt x="450" y="635"/>
                </a:lnTo>
                <a:lnTo>
                  <a:pt x="464" y="635"/>
                </a:lnTo>
                <a:lnTo>
                  <a:pt x="478" y="636"/>
                </a:lnTo>
                <a:lnTo>
                  <a:pt x="491" y="638"/>
                </a:lnTo>
                <a:lnTo>
                  <a:pt x="504" y="640"/>
                </a:lnTo>
                <a:lnTo>
                  <a:pt x="517" y="643"/>
                </a:lnTo>
                <a:lnTo>
                  <a:pt x="542" y="650"/>
                </a:lnTo>
                <a:lnTo>
                  <a:pt x="566" y="658"/>
                </a:lnTo>
                <a:lnTo>
                  <a:pt x="566" y="658"/>
                </a:lnTo>
                <a:lnTo>
                  <a:pt x="582" y="667"/>
                </a:lnTo>
                <a:lnTo>
                  <a:pt x="596" y="675"/>
                </a:lnTo>
                <a:lnTo>
                  <a:pt x="610" y="683"/>
                </a:lnTo>
                <a:lnTo>
                  <a:pt x="621" y="691"/>
                </a:lnTo>
                <a:lnTo>
                  <a:pt x="631" y="699"/>
                </a:lnTo>
                <a:lnTo>
                  <a:pt x="639" y="709"/>
                </a:lnTo>
                <a:lnTo>
                  <a:pt x="646" y="717"/>
                </a:lnTo>
                <a:lnTo>
                  <a:pt x="653" y="726"/>
                </a:lnTo>
                <a:lnTo>
                  <a:pt x="658" y="735"/>
                </a:lnTo>
                <a:lnTo>
                  <a:pt x="662" y="743"/>
                </a:lnTo>
                <a:lnTo>
                  <a:pt x="665" y="753"/>
                </a:lnTo>
                <a:lnTo>
                  <a:pt x="668" y="761"/>
                </a:lnTo>
                <a:lnTo>
                  <a:pt x="671" y="778"/>
                </a:lnTo>
                <a:lnTo>
                  <a:pt x="673" y="793"/>
                </a:lnTo>
                <a:lnTo>
                  <a:pt x="673" y="793"/>
                </a:lnTo>
                <a:lnTo>
                  <a:pt x="672" y="804"/>
                </a:lnTo>
                <a:lnTo>
                  <a:pt x="670" y="815"/>
                </a:lnTo>
                <a:lnTo>
                  <a:pt x="667" y="827"/>
                </a:lnTo>
                <a:lnTo>
                  <a:pt x="663" y="839"/>
                </a:lnTo>
                <a:lnTo>
                  <a:pt x="654" y="863"/>
                </a:lnTo>
                <a:lnTo>
                  <a:pt x="646" y="877"/>
                </a:lnTo>
                <a:lnTo>
                  <a:pt x="841" y="96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6" name="Freeform 43"/>
          <p:cNvSpPr>
            <a:spLocks/>
          </p:cNvSpPr>
          <p:nvPr userDrawn="1"/>
        </p:nvSpPr>
        <p:spPr bwMode="auto">
          <a:xfrm>
            <a:off x="7581901" y="1218904"/>
            <a:ext cx="193675" cy="33338"/>
          </a:xfrm>
          <a:custGeom>
            <a:avLst/>
            <a:gdLst>
              <a:gd name="T0" fmla="*/ 1228 w 1463"/>
              <a:gd name="T1" fmla="*/ 227 h 256"/>
              <a:gd name="T2" fmla="*/ 1463 w 1463"/>
              <a:gd name="T3" fmla="*/ 113 h 256"/>
              <a:gd name="T4" fmla="*/ 1225 w 1463"/>
              <a:gd name="T5" fmla="*/ 14 h 256"/>
              <a:gd name="T6" fmla="*/ 1225 w 1463"/>
              <a:gd name="T7" fmla="*/ 14 h 256"/>
              <a:gd name="T8" fmla="*/ 1152 w 1463"/>
              <a:gd name="T9" fmla="*/ 15 h 256"/>
              <a:gd name="T10" fmla="*/ 1060 w 1463"/>
              <a:gd name="T11" fmla="*/ 16 h 256"/>
              <a:gd name="T12" fmla="*/ 949 w 1463"/>
              <a:gd name="T13" fmla="*/ 15 h 256"/>
              <a:gd name="T14" fmla="*/ 824 w 1463"/>
              <a:gd name="T15" fmla="*/ 13 h 256"/>
              <a:gd name="T16" fmla="*/ 531 w 1463"/>
              <a:gd name="T17" fmla="*/ 7 h 256"/>
              <a:gd name="T18" fmla="*/ 197 w 1463"/>
              <a:gd name="T19" fmla="*/ 0 h 256"/>
              <a:gd name="T20" fmla="*/ 0 w 1463"/>
              <a:gd name="T21" fmla="*/ 256 h 256"/>
              <a:gd name="T22" fmla="*/ 0 w 1463"/>
              <a:gd name="T23" fmla="*/ 256 h 256"/>
              <a:gd name="T24" fmla="*/ 734 w 1463"/>
              <a:gd name="T25" fmla="*/ 240 h 256"/>
              <a:gd name="T26" fmla="*/ 1024 w 1463"/>
              <a:gd name="T27" fmla="*/ 234 h 256"/>
              <a:gd name="T28" fmla="*/ 1228 w 1463"/>
              <a:gd name="T29" fmla="*/ 22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3" h="256">
                <a:moveTo>
                  <a:pt x="1228" y="227"/>
                </a:moveTo>
                <a:lnTo>
                  <a:pt x="1463" y="113"/>
                </a:lnTo>
                <a:lnTo>
                  <a:pt x="1225" y="14"/>
                </a:lnTo>
                <a:lnTo>
                  <a:pt x="1225" y="14"/>
                </a:lnTo>
                <a:lnTo>
                  <a:pt x="1152" y="15"/>
                </a:lnTo>
                <a:lnTo>
                  <a:pt x="1060" y="16"/>
                </a:lnTo>
                <a:lnTo>
                  <a:pt x="949" y="15"/>
                </a:lnTo>
                <a:lnTo>
                  <a:pt x="824" y="13"/>
                </a:lnTo>
                <a:lnTo>
                  <a:pt x="531" y="7"/>
                </a:lnTo>
                <a:lnTo>
                  <a:pt x="197" y="0"/>
                </a:lnTo>
                <a:lnTo>
                  <a:pt x="0" y="256"/>
                </a:lnTo>
                <a:lnTo>
                  <a:pt x="0" y="256"/>
                </a:lnTo>
                <a:lnTo>
                  <a:pt x="734" y="240"/>
                </a:lnTo>
                <a:lnTo>
                  <a:pt x="1024" y="234"/>
                </a:lnTo>
                <a:lnTo>
                  <a:pt x="1228" y="22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7" name="Freeform 44"/>
          <p:cNvSpPr>
            <a:spLocks/>
          </p:cNvSpPr>
          <p:nvPr userDrawn="1"/>
        </p:nvSpPr>
        <p:spPr bwMode="auto">
          <a:xfrm>
            <a:off x="7643812" y="1301453"/>
            <a:ext cx="114300" cy="112713"/>
          </a:xfrm>
          <a:custGeom>
            <a:avLst/>
            <a:gdLst>
              <a:gd name="T0" fmla="*/ 386 w 869"/>
              <a:gd name="T1" fmla="*/ 818 h 851"/>
              <a:gd name="T2" fmla="*/ 235 w 869"/>
              <a:gd name="T3" fmla="*/ 737 h 851"/>
              <a:gd name="T4" fmla="*/ 156 w 869"/>
              <a:gd name="T5" fmla="*/ 685 h 851"/>
              <a:gd name="T6" fmla="*/ 90 w 869"/>
              <a:gd name="T7" fmla="*/ 626 h 851"/>
              <a:gd name="T8" fmla="*/ 37 w 869"/>
              <a:gd name="T9" fmla="*/ 557 h 851"/>
              <a:gd name="T10" fmla="*/ 24 w 869"/>
              <a:gd name="T11" fmla="*/ 531 h 851"/>
              <a:gd name="T12" fmla="*/ 10 w 869"/>
              <a:gd name="T13" fmla="*/ 487 h 851"/>
              <a:gd name="T14" fmla="*/ 2 w 869"/>
              <a:gd name="T15" fmla="*/ 439 h 851"/>
              <a:gd name="T16" fmla="*/ 0 w 869"/>
              <a:gd name="T17" fmla="*/ 389 h 851"/>
              <a:gd name="T18" fmla="*/ 5 w 869"/>
              <a:gd name="T19" fmla="*/ 336 h 851"/>
              <a:gd name="T20" fmla="*/ 15 w 869"/>
              <a:gd name="T21" fmla="*/ 283 h 851"/>
              <a:gd name="T22" fmla="*/ 34 w 869"/>
              <a:gd name="T23" fmla="*/ 231 h 851"/>
              <a:gd name="T24" fmla="*/ 59 w 869"/>
              <a:gd name="T25" fmla="*/ 182 h 851"/>
              <a:gd name="T26" fmla="*/ 93 w 869"/>
              <a:gd name="T27" fmla="*/ 136 h 851"/>
              <a:gd name="T28" fmla="*/ 134 w 869"/>
              <a:gd name="T29" fmla="*/ 94 h 851"/>
              <a:gd name="T30" fmla="*/ 183 w 869"/>
              <a:gd name="T31" fmla="*/ 59 h 851"/>
              <a:gd name="T32" fmla="*/ 198 w 869"/>
              <a:gd name="T33" fmla="*/ 75 h 851"/>
              <a:gd name="T34" fmla="*/ 217 w 869"/>
              <a:gd name="T35" fmla="*/ 106 h 851"/>
              <a:gd name="T36" fmla="*/ 227 w 869"/>
              <a:gd name="T37" fmla="*/ 141 h 851"/>
              <a:gd name="T38" fmla="*/ 247 w 869"/>
              <a:gd name="T39" fmla="*/ 150 h 851"/>
              <a:gd name="T40" fmla="*/ 379 w 869"/>
              <a:gd name="T41" fmla="*/ 144 h 851"/>
              <a:gd name="T42" fmla="*/ 424 w 869"/>
              <a:gd name="T43" fmla="*/ 143 h 851"/>
              <a:gd name="T44" fmla="*/ 424 w 869"/>
              <a:gd name="T45" fmla="*/ 94 h 851"/>
              <a:gd name="T46" fmla="*/ 414 w 869"/>
              <a:gd name="T47" fmla="*/ 37 h 851"/>
              <a:gd name="T48" fmla="*/ 397 w 869"/>
              <a:gd name="T49" fmla="*/ 0 h 851"/>
              <a:gd name="T50" fmla="*/ 431 w 869"/>
              <a:gd name="T51" fmla="*/ 27 h 851"/>
              <a:gd name="T52" fmla="*/ 459 w 869"/>
              <a:gd name="T53" fmla="*/ 55 h 851"/>
              <a:gd name="T54" fmla="*/ 475 w 869"/>
              <a:gd name="T55" fmla="*/ 82 h 851"/>
              <a:gd name="T56" fmla="*/ 487 w 869"/>
              <a:gd name="T57" fmla="*/ 116 h 851"/>
              <a:gd name="T58" fmla="*/ 493 w 869"/>
              <a:gd name="T59" fmla="*/ 143 h 851"/>
              <a:gd name="T60" fmla="*/ 671 w 869"/>
              <a:gd name="T61" fmla="*/ 133 h 851"/>
              <a:gd name="T62" fmla="*/ 662 w 869"/>
              <a:gd name="T63" fmla="*/ 88 h 851"/>
              <a:gd name="T64" fmla="*/ 643 w 869"/>
              <a:gd name="T65" fmla="*/ 50 h 851"/>
              <a:gd name="T66" fmla="*/ 651 w 869"/>
              <a:gd name="T67" fmla="*/ 46 h 851"/>
              <a:gd name="T68" fmla="*/ 699 w 869"/>
              <a:gd name="T69" fmla="*/ 73 h 851"/>
              <a:gd name="T70" fmla="*/ 740 w 869"/>
              <a:gd name="T71" fmla="*/ 104 h 851"/>
              <a:gd name="T72" fmla="*/ 775 w 869"/>
              <a:gd name="T73" fmla="*/ 138 h 851"/>
              <a:gd name="T74" fmla="*/ 803 w 869"/>
              <a:gd name="T75" fmla="*/ 175 h 851"/>
              <a:gd name="T76" fmla="*/ 837 w 869"/>
              <a:gd name="T77" fmla="*/ 238 h 851"/>
              <a:gd name="T78" fmla="*/ 861 w 869"/>
              <a:gd name="T79" fmla="*/ 312 h 851"/>
              <a:gd name="T80" fmla="*/ 869 w 869"/>
              <a:gd name="T81" fmla="*/ 379 h 851"/>
              <a:gd name="T82" fmla="*/ 869 w 869"/>
              <a:gd name="T83" fmla="*/ 423 h 851"/>
              <a:gd name="T84" fmla="*/ 859 w 869"/>
              <a:gd name="T85" fmla="*/ 499 h 851"/>
              <a:gd name="T86" fmla="*/ 834 w 869"/>
              <a:gd name="T87" fmla="*/ 569 h 851"/>
              <a:gd name="T88" fmla="*/ 796 w 869"/>
              <a:gd name="T89" fmla="*/ 631 h 851"/>
              <a:gd name="T90" fmla="*/ 749 w 869"/>
              <a:gd name="T91" fmla="*/ 684 h 851"/>
              <a:gd name="T92" fmla="*/ 693 w 869"/>
              <a:gd name="T93" fmla="*/ 727 h 851"/>
              <a:gd name="T94" fmla="*/ 626 w 869"/>
              <a:gd name="T95" fmla="*/ 766 h 851"/>
              <a:gd name="T96" fmla="*/ 506 w 869"/>
              <a:gd name="T97" fmla="*/ 826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9" h="851">
                <a:moveTo>
                  <a:pt x="452" y="851"/>
                </a:moveTo>
                <a:lnTo>
                  <a:pt x="452" y="851"/>
                </a:lnTo>
                <a:lnTo>
                  <a:pt x="386" y="818"/>
                </a:lnTo>
                <a:lnTo>
                  <a:pt x="323" y="785"/>
                </a:lnTo>
                <a:lnTo>
                  <a:pt x="264" y="754"/>
                </a:lnTo>
                <a:lnTo>
                  <a:pt x="235" y="737"/>
                </a:lnTo>
                <a:lnTo>
                  <a:pt x="207" y="720"/>
                </a:lnTo>
                <a:lnTo>
                  <a:pt x="181" y="703"/>
                </a:lnTo>
                <a:lnTo>
                  <a:pt x="156" y="685"/>
                </a:lnTo>
                <a:lnTo>
                  <a:pt x="133" y="666"/>
                </a:lnTo>
                <a:lnTo>
                  <a:pt x="110" y="646"/>
                </a:lnTo>
                <a:lnTo>
                  <a:pt x="90" y="626"/>
                </a:lnTo>
                <a:lnTo>
                  <a:pt x="70" y="605"/>
                </a:lnTo>
                <a:lnTo>
                  <a:pt x="53" y="581"/>
                </a:lnTo>
                <a:lnTo>
                  <a:pt x="37" y="557"/>
                </a:lnTo>
                <a:lnTo>
                  <a:pt x="37" y="557"/>
                </a:lnTo>
                <a:lnTo>
                  <a:pt x="31" y="544"/>
                </a:lnTo>
                <a:lnTo>
                  <a:pt x="24" y="531"/>
                </a:lnTo>
                <a:lnTo>
                  <a:pt x="19" y="517"/>
                </a:lnTo>
                <a:lnTo>
                  <a:pt x="14" y="502"/>
                </a:lnTo>
                <a:lnTo>
                  <a:pt x="10" y="487"/>
                </a:lnTo>
                <a:lnTo>
                  <a:pt x="7" y="472"/>
                </a:lnTo>
                <a:lnTo>
                  <a:pt x="4" y="455"/>
                </a:lnTo>
                <a:lnTo>
                  <a:pt x="2" y="439"/>
                </a:lnTo>
                <a:lnTo>
                  <a:pt x="1" y="423"/>
                </a:lnTo>
                <a:lnTo>
                  <a:pt x="0" y="405"/>
                </a:lnTo>
                <a:lnTo>
                  <a:pt x="0" y="389"/>
                </a:lnTo>
                <a:lnTo>
                  <a:pt x="1" y="371"/>
                </a:lnTo>
                <a:lnTo>
                  <a:pt x="2" y="353"/>
                </a:lnTo>
                <a:lnTo>
                  <a:pt x="5" y="336"/>
                </a:lnTo>
                <a:lnTo>
                  <a:pt x="7" y="318"/>
                </a:lnTo>
                <a:lnTo>
                  <a:pt x="11" y="301"/>
                </a:lnTo>
                <a:lnTo>
                  <a:pt x="15" y="283"/>
                </a:lnTo>
                <a:lnTo>
                  <a:pt x="21" y="266"/>
                </a:lnTo>
                <a:lnTo>
                  <a:pt x="26" y="249"/>
                </a:lnTo>
                <a:lnTo>
                  <a:pt x="34" y="231"/>
                </a:lnTo>
                <a:lnTo>
                  <a:pt x="42" y="215"/>
                </a:lnTo>
                <a:lnTo>
                  <a:pt x="50" y="199"/>
                </a:lnTo>
                <a:lnTo>
                  <a:pt x="59" y="182"/>
                </a:lnTo>
                <a:lnTo>
                  <a:pt x="69" y="166"/>
                </a:lnTo>
                <a:lnTo>
                  <a:pt x="81" y="151"/>
                </a:lnTo>
                <a:lnTo>
                  <a:pt x="93" y="136"/>
                </a:lnTo>
                <a:lnTo>
                  <a:pt x="105" y="122"/>
                </a:lnTo>
                <a:lnTo>
                  <a:pt x="120" y="108"/>
                </a:lnTo>
                <a:lnTo>
                  <a:pt x="134" y="94"/>
                </a:lnTo>
                <a:lnTo>
                  <a:pt x="149" y="82"/>
                </a:lnTo>
                <a:lnTo>
                  <a:pt x="166" y="70"/>
                </a:lnTo>
                <a:lnTo>
                  <a:pt x="183" y="59"/>
                </a:lnTo>
                <a:lnTo>
                  <a:pt x="183" y="59"/>
                </a:lnTo>
                <a:lnTo>
                  <a:pt x="191" y="67"/>
                </a:lnTo>
                <a:lnTo>
                  <a:pt x="198" y="75"/>
                </a:lnTo>
                <a:lnTo>
                  <a:pt x="203" y="82"/>
                </a:lnTo>
                <a:lnTo>
                  <a:pt x="208" y="90"/>
                </a:lnTo>
                <a:lnTo>
                  <a:pt x="217" y="106"/>
                </a:lnTo>
                <a:lnTo>
                  <a:pt x="222" y="120"/>
                </a:lnTo>
                <a:lnTo>
                  <a:pt x="225" y="132"/>
                </a:lnTo>
                <a:lnTo>
                  <a:pt x="227" y="141"/>
                </a:lnTo>
                <a:lnTo>
                  <a:pt x="227" y="150"/>
                </a:lnTo>
                <a:lnTo>
                  <a:pt x="227" y="150"/>
                </a:lnTo>
                <a:lnTo>
                  <a:pt x="247" y="150"/>
                </a:lnTo>
                <a:lnTo>
                  <a:pt x="272" y="150"/>
                </a:lnTo>
                <a:lnTo>
                  <a:pt x="325" y="146"/>
                </a:lnTo>
                <a:lnTo>
                  <a:pt x="379" y="144"/>
                </a:lnTo>
                <a:lnTo>
                  <a:pt x="404" y="143"/>
                </a:lnTo>
                <a:lnTo>
                  <a:pt x="424" y="143"/>
                </a:lnTo>
                <a:lnTo>
                  <a:pt x="424" y="143"/>
                </a:lnTo>
                <a:lnTo>
                  <a:pt x="425" y="129"/>
                </a:lnTo>
                <a:lnTo>
                  <a:pt x="425" y="112"/>
                </a:lnTo>
                <a:lnTo>
                  <a:pt x="424" y="94"/>
                </a:lnTo>
                <a:lnTo>
                  <a:pt x="422" y="76"/>
                </a:lnTo>
                <a:lnTo>
                  <a:pt x="419" y="56"/>
                </a:lnTo>
                <a:lnTo>
                  <a:pt x="414" y="37"/>
                </a:lnTo>
                <a:lnTo>
                  <a:pt x="407" y="19"/>
                </a:lnTo>
                <a:lnTo>
                  <a:pt x="402" y="9"/>
                </a:lnTo>
                <a:lnTo>
                  <a:pt x="397" y="0"/>
                </a:lnTo>
                <a:lnTo>
                  <a:pt x="397" y="0"/>
                </a:lnTo>
                <a:lnTo>
                  <a:pt x="415" y="14"/>
                </a:lnTo>
                <a:lnTo>
                  <a:pt x="431" y="27"/>
                </a:lnTo>
                <a:lnTo>
                  <a:pt x="446" y="40"/>
                </a:lnTo>
                <a:lnTo>
                  <a:pt x="453" y="47"/>
                </a:lnTo>
                <a:lnTo>
                  <a:pt x="459" y="55"/>
                </a:lnTo>
                <a:lnTo>
                  <a:pt x="465" y="64"/>
                </a:lnTo>
                <a:lnTo>
                  <a:pt x="470" y="73"/>
                </a:lnTo>
                <a:lnTo>
                  <a:pt x="475" y="82"/>
                </a:lnTo>
                <a:lnTo>
                  <a:pt x="479" y="92"/>
                </a:lnTo>
                <a:lnTo>
                  <a:pt x="484" y="104"/>
                </a:lnTo>
                <a:lnTo>
                  <a:pt x="487" y="116"/>
                </a:lnTo>
                <a:lnTo>
                  <a:pt x="490" y="129"/>
                </a:lnTo>
                <a:lnTo>
                  <a:pt x="493" y="143"/>
                </a:lnTo>
                <a:lnTo>
                  <a:pt x="493" y="143"/>
                </a:lnTo>
                <a:lnTo>
                  <a:pt x="671" y="150"/>
                </a:lnTo>
                <a:lnTo>
                  <a:pt x="671" y="150"/>
                </a:lnTo>
                <a:lnTo>
                  <a:pt x="671" y="133"/>
                </a:lnTo>
                <a:lnTo>
                  <a:pt x="670" y="118"/>
                </a:lnTo>
                <a:lnTo>
                  <a:pt x="667" y="103"/>
                </a:lnTo>
                <a:lnTo>
                  <a:pt x="662" y="88"/>
                </a:lnTo>
                <a:lnTo>
                  <a:pt x="657" y="75"/>
                </a:lnTo>
                <a:lnTo>
                  <a:pt x="651" y="62"/>
                </a:lnTo>
                <a:lnTo>
                  <a:pt x="643" y="50"/>
                </a:lnTo>
                <a:lnTo>
                  <a:pt x="634" y="38"/>
                </a:lnTo>
                <a:lnTo>
                  <a:pt x="634" y="38"/>
                </a:lnTo>
                <a:lnTo>
                  <a:pt x="651" y="46"/>
                </a:lnTo>
                <a:lnTo>
                  <a:pt x="669" y="54"/>
                </a:lnTo>
                <a:lnTo>
                  <a:pt x="684" y="64"/>
                </a:lnTo>
                <a:lnTo>
                  <a:pt x="699" y="73"/>
                </a:lnTo>
                <a:lnTo>
                  <a:pt x="714" y="83"/>
                </a:lnTo>
                <a:lnTo>
                  <a:pt x="728" y="93"/>
                </a:lnTo>
                <a:lnTo>
                  <a:pt x="740" y="104"/>
                </a:lnTo>
                <a:lnTo>
                  <a:pt x="752" y="115"/>
                </a:lnTo>
                <a:lnTo>
                  <a:pt x="764" y="126"/>
                </a:lnTo>
                <a:lnTo>
                  <a:pt x="775" y="138"/>
                </a:lnTo>
                <a:lnTo>
                  <a:pt x="785" y="151"/>
                </a:lnTo>
                <a:lnTo>
                  <a:pt x="794" y="163"/>
                </a:lnTo>
                <a:lnTo>
                  <a:pt x="803" y="175"/>
                </a:lnTo>
                <a:lnTo>
                  <a:pt x="811" y="187"/>
                </a:lnTo>
                <a:lnTo>
                  <a:pt x="825" y="213"/>
                </a:lnTo>
                <a:lnTo>
                  <a:pt x="837" y="238"/>
                </a:lnTo>
                <a:lnTo>
                  <a:pt x="848" y="263"/>
                </a:lnTo>
                <a:lnTo>
                  <a:pt x="855" y="289"/>
                </a:lnTo>
                <a:lnTo>
                  <a:pt x="861" y="312"/>
                </a:lnTo>
                <a:lnTo>
                  <a:pt x="865" y="336"/>
                </a:lnTo>
                <a:lnTo>
                  <a:pt x="868" y="358"/>
                </a:lnTo>
                <a:lnTo>
                  <a:pt x="869" y="379"/>
                </a:lnTo>
                <a:lnTo>
                  <a:pt x="869" y="397"/>
                </a:lnTo>
                <a:lnTo>
                  <a:pt x="869" y="397"/>
                </a:lnTo>
                <a:lnTo>
                  <a:pt x="869" y="423"/>
                </a:lnTo>
                <a:lnTo>
                  <a:pt x="868" y="449"/>
                </a:lnTo>
                <a:lnTo>
                  <a:pt x="864" y="474"/>
                </a:lnTo>
                <a:lnTo>
                  <a:pt x="859" y="499"/>
                </a:lnTo>
                <a:lnTo>
                  <a:pt x="852" y="523"/>
                </a:lnTo>
                <a:lnTo>
                  <a:pt x="843" y="546"/>
                </a:lnTo>
                <a:lnTo>
                  <a:pt x="834" y="569"/>
                </a:lnTo>
                <a:lnTo>
                  <a:pt x="823" y="590"/>
                </a:lnTo>
                <a:lnTo>
                  <a:pt x="811" y="612"/>
                </a:lnTo>
                <a:lnTo>
                  <a:pt x="796" y="631"/>
                </a:lnTo>
                <a:lnTo>
                  <a:pt x="782" y="651"/>
                </a:lnTo>
                <a:lnTo>
                  <a:pt x="766" y="668"/>
                </a:lnTo>
                <a:lnTo>
                  <a:pt x="749" y="684"/>
                </a:lnTo>
                <a:lnTo>
                  <a:pt x="731" y="700"/>
                </a:lnTo>
                <a:lnTo>
                  <a:pt x="713" y="714"/>
                </a:lnTo>
                <a:lnTo>
                  <a:pt x="693" y="727"/>
                </a:lnTo>
                <a:lnTo>
                  <a:pt x="693" y="727"/>
                </a:lnTo>
                <a:lnTo>
                  <a:pt x="658" y="748"/>
                </a:lnTo>
                <a:lnTo>
                  <a:pt x="626" y="766"/>
                </a:lnTo>
                <a:lnTo>
                  <a:pt x="594" y="783"/>
                </a:lnTo>
                <a:lnTo>
                  <a:pt x="563" y="799"/>
                </a:lnTo>
                <a:lnTo>
                  <a:pt x="506" y="826"/>
                </a:lnTo>
                <a:lnTo>
                  <a:pt x="452" y="85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8" name="Freeform 45"/>
          <p:cNvSpPr>
            <a:spLocks/>
          </p:cNvSpPr>
          <p:nvPr userDrawn="1"/>
        </p:nvSpPr>
        <p:spPr bwMode="auto">
          <a:xfrm>
            <a:off x="7677150" y="1579265"/>
            <a:ext cx="1588" cy="0"/>
          </a:xfrm>
          <a:custGeom>
            <a:avLst/>
            <a:gdLst>
              <a:gd name="T0" fmla="*/ 22 w 22"/>
              <a:gd name="T1" fmla="*/ 9 h 9"/>
              <a:gd name="T2" fmla="*/ 22 w 22"/>
              <a:gd name="T3" fmla="*/ 9 h 9"/>
              <a:gd name="T4" fmla="*/ 3 w 22"/>
              <a:gd name="T5" fmla="*/ 2 h 9"/>
              <a:gd name="T6" fmla="*/ 3 w 22"/>
              <a:gd name="T7" fmla="*/ 2 h 9"/>
              <a:gd name="T8" fmla="*/ 0 w 22"/>
              <a:gd name="T9" fmla="*/ 0 h 9"/>
              <a:gd name="T10" fmla="*/ 0 w 22"/>
              <a:gd name="T11" fmla="*/ 0 h 9"/>
              <a:gd name="T12" fmla="*/ 22 w 22"/>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22" h="9">
                <a:moveTo>
                  <a:pt x="22" y="9"/>
                </a:moveTo>
                <a:lnTo>
                  <a:pt x="22" y="9"/>
                </a:lnTo>
                <a:lnTo>
                  <a:pt x="3" y="2"/>
                </a:lnTo>
                <a:lnTo>
                  <a:pt x="3" y="2"/>
                </a:lnTo>
                <a:lnTo>
                  <a:pt x="0" y="0"/>
                </a:lnTo>
                <a:lnTo>
                  <a:pt x="0" y="0"/>
                </a:lnTo>
                <a:lnTo>
                  <a:pt x="22"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9" name="Freeform 46"/>
          <p:cNvSpPr>
            <a:spLocks/>
          </p:cNvSpPr>
          <p:nvPr userDrawn="1"/>
        </p:nvSpPr>
        <p:spPr bwMode="auto">
          <a:xfrm>
            <a:off x="7429500" y="1261766"/>
            <a:ext cx="20638" cy="12700"/>
          </a:xfrm>
          <a:custGeom>
            <a:avLst/>
            <a:gdLst>
              <a:gd name="T0" fmla="*/ 166 w 166"/>
              <a:gd name="T1" fmla="*/ 69 h 96"/>
              <a:gd name="T2" fmla="*/ 166 w 166"/>
              <a:gd name="T3" fmla="*/ 69 h 96"/>
              <a:gd name="T4" fmla="*/ 166 w 166"/>
              <a:gd name="T5" fmla="*/ 70 h 96"/>
              <a:gd name="T6" fmla="*/ 165 w 166"/>
              <a:gd name="T7" fmla="*/ 72 h 96"/>
              <a:gd name="T8" fmla="*/ 161 w 166"/>
              <a:gd name="T9" fmla="*/ 74 h 96"/>
              <a:gd name="T10" fmla="*/ 155 w 166"/>
              <a:gd name="T11" fmla="*/ 77 h 96"/>
              <a:gd name="T12" fmla="*/ 145 w 166"/>
              <a:gd name="T13" fmla="*/ 79 h 96"/>
              <a:gd name="T14" fmla="*/ 123 w 166"/>
              <a:gd name="T15" fmla="*/ 85 h 96"/>
              <a:gd name="T16" fmla="*/ 95 w 166"/>
              <a:gd name="T17" fmla="*/ 90 h 96"/>
              <a:gd name="T18" fmla="*/ 68 w 166"/>
              <a:gd name="T19" fmla="*/ 94 h 96"/>
              <a:gd name="T20" fmla="*/ 42 w 166"/>
              <a:gd name="T21" fmla="*/ 96 h 96"/>
              <a:gd name="T22" fmla="*/ 24 w 166"/>
              <a:gd name="T23" fmla="*/ 96 h 96"/>
              <a:gd name="T24" fmla="*/ 17 w 166"/>
              <a:gd name="T25" fmla="*/ 95 h 96"/>
              <a:gd name="T26" fmla="*/ 13 w 166"/>
              <a:gd name="T27" fmla="*/ 94 h 96"/>
              <a:gd name="T28" fmla="*/ 13 w 166"/>
              <a:gd name="T29" fmla="*/ 94 h 96"/>
              <a:gd name="T30" fmla="*/ 10 w 166"/>
              <a:gd name="T31" fmla="*/ 92 h 96"/>
              <a:gd name="T32" fmla="*/ 8 w 166"/>
              <a:gd name="T33" fmla="*/ 88 h 96"/>
              <a:gd name="T34" fmla="*/ 5 w 166"/>
              <a:gd name="T35" fmla="*/ 77 h 96"/>
              <a:gd name="T36" fmla="*/ 2 w 166"/>
              <a:gd name="T37" fmla="*/ 65 h 96"/>
              <a:gd name="T38" fmla="*/ 0 w 166"/>
              <a:gd name="T39" fmla="*/ 51 h 96"/>
              <a:gd name="T40" fmla="*/ 0 w 166"/>
              <a:gd name="T41" fmla="*/ 36 h 96"/>
              <a:gd name="T42" fmla="*/ 0 w 166"/>
              <a:gd name="T43" fmla="*/ 23 h 96"/>
              <a:gd name="T44" fmla="*/ 1 w 166"/>
              <a:gd name="T45" fmla="*/ 13 h 96"/>
              <a:gd name="T46" fmla="*/ 2 w 166"/>
              <a:gd name="T47" fmla="*/ 8 h 96"/>
              <a:gd name="T48" fmla="*/ 4 w 166"/>
              <a:gd name="T49" fmla="*/ 5 h 96"/>
              <a:gd name="T50" fmla="*/ 4 w 166"/>
              <a:gd name="T51" fmla="*/ 5 h 96"/>
              <a:gd name="T52" fmla="*/ 5 w 166"/>
              <a:gd name="T53" fmla="*/ 4 h 96"/>
              <a:gd name="T54" fmla="*/ 7 w 166"/>
              <a:gd name="T55" fmla="*/ 2 h 96"/>
              <a:gd name="T56" fmla="*/ 13 w 166"/>
              <a:gd name="T57" fmla="*/ 1 h 96"/>
              <a:gd name="T58" fmla="*/ 22 w 166"/>
              <a:gd name="T59" fmla="*/ 0 h 96"/>
              <a:gd name="T60" fmla="*/ 32 w 166"/>
              <a:gd name="T61" fmla="*/ 0 h 96"/>
              <a:gd name="T62" fmla="*/ 43 w 166"/>
              <a:gd name="T63" fmla="*/ 1 h 96"/>
              <a:gd name="T64" fmla="*/ 55 w 166"/>
              <a:gd name="T65" fmla="*/ 3 h 96"/>
              <a:gd name="T66" fmla="*/ 69 w 166"/>
              <a:gd name="T67" fmla="*/ 6 h 96"/>
              <a:gd name="T68" fmla="*/ 83 w 166"/>
              <a:gd name="T69" fmla="*/ 10 h 96"/>
              <a:gd name="T70" fmla="*/ 96 w 166"/>
              <a:gd name="T71" fmla="*/ 15 h 96"/>
              <a:gd name="T72" fmla="*/ 110 w 166"/>
              <a:gd name="T73" fmla="*/ 20 h 96"/>
              <a:gd name="T74" fmla="*/ 123 w 166"/>
              <a:gd name="T75" fmla="*/ 27 h 96"/>
              <a:gd name="T76" fmla="*/ 135 w 166"/>
              <a:gd name="T77" fmla="*/ 34 h 96"/>
              <a:gd name="T78" fmla="*/ 145 w 166"/>
              <a:gd name="T79" fmla="*/ 42 h 96"/>
              <a:gd name="T80" fmla="*/ 155 w 166"/>
              <a:gd name="T81" fmla="*/ 51 h 96"/>
              <a:gd name="T82" fmla="*/ 162 w 166"/>
              <a:gd name="T83" fmla="*/ 60 h 96"/>
              <a:gd name="T84" fmla="*/ 164 w 166"/>
              <a:gd name="T85" fmla="*/ 64 h 96"/>
              <a:gd name="T86" fmla="*/ 166 w 166"/>
              <a:gd name="T87" fmla="*/ 6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6" h="96">
                <a:moveTo>
                  <a:pt x="166" y="69"/>
                </a:moveTo>
                <a:lnTo>
                  <a:pt x="166" y="69"/>
                </a:lnTo>
                <a:lnTo>
                  <a:pt x="166" y="70"/>
                </a:lnTo>
                <a:lnTo>
                  <a:pt x="165" y="72"/>
                </a:lnTo>
                <a:lnTo>
                  <a:pt x="161" y="74"/>
                </a:lnTo>
                <a:lnTo>
                  <a:pt x="155" y="77"/>
                </a:lnTo>
                <a:lnTo>
                  <a:pt x="145" y="79"/>
                </a:lnTo>
                <a:lnTo>
                  <a:pt x="123" y="85"/>
                </a:lnTo>
                <a:lnTo>
                  <a:pt x="95" y="90"/>
                </a:lnTo>
                <a:lnTo>
                  <a:pt x="68" y="94"/>
                </a:lnTo>
                <a:lnTo>
                  <a:pt x="42" y="96"/>
                </a:lnTo>
                <a:lnTo>
                  <a:pt x="24" y="96"/>
                </a:lnTo>
                <a:lnTo>
                  <a:pt x="17" y="95"/>
                </a:lnTo>
                <a:lnTo>
                  <a:pt x="13" y="94"/>
                </a:lnTo>
                <a:lnTo>
                  <a:pt x="13" y="94"/>
                </a:lnTo>
                <a:lnTo>
                  <a:pt x="10" y="92"/>
                </a:lnTo>
                <a:lnTo>
                  <a:pt x="8" y="88"/>
                </a:lnTo>
                <a:lnTo>
                  <a:pt x="5" y="77"/>
                </a:lnTo>
                <a:lnTo>
                  <a:pt x="2" y="65"/>
                </a:lnTo>
                <a:lnTo>
                  <a:pt x="0" y="51"/>
                </a:lnTo>
                <a:lnTo>
                  <a:pt x="0" y="36"/>
                </a:lnTo>
                <a:lnTo>
                  <a:pt x="0" y="23"/>
                </a:lnTo>
                <a:lnTo>
                  <a:pt x="1" y="13"/>
                </a:lnTo>
                <a:lnTo>
                  <a:pt x="2" y="8"/>
                </a:lnTo>
                <a:lnTo>
                  <a:pt x="4" y="5"/>
                </a:lnTo>
                <a:lnTo>
                  <a:pt x="4" y="5"/>
                </a:lnTo>
                <a:lnTo>
                  <a:pt x="5" y="4"/>
                </a:lnTo>
                <a:lnTo>
                  <a:pt x="7" y="2"/>
                </a:lnTo>
                <a:lnTo>
                  <a:pt x="13" y="1"/>
                </a:lnTo>
                <a:lnTo>
                  <a:pt x="22" y="0"/>
                </a:lnTo>
                <a:lnTo>
                  <a:pt x="32" y="0"/>
                </a:lnTo>
                <a:lnTo>
                  <a:pt x="43" y="1"/>
                </a:lnTo>
                <a:lnTo>
                  <a:pt x="55" y="3"/>
                </a:lnTo>
                <a:lnTo>
                  <a:pt x="69" y="6"/>
                </a:lnTo>
                <a:lnTo>
                  <a:pt x="83" y="10"/>
                </a:lnTo>
                <a:lnTo>
                  <a:pt x="96" y="15"/>
                </a:lnTo>
                <a:lnTo>
                  <a:pt x="110" y="20"/>
                </a:lnTo>
                <a:lnTo>
                  <a:pt x="123" y="27"/>
                </a:lnTo>
                <a:lnTo>
                  <a:pt x="135" y="34"/>
                </a:lnTo>
                <a:lnTo>
                  <a:pt x="145" y="42"/>
                </a:lnTo>
                <a:lnTo>
                  <a:pt x="155" y="51"/>
                </a:lnTo>
                <a:lnTo>
                  <a:pt x="162" y="60"/>
                </a:lnTo>
                <a:lnTo>
                  <a:pt x="164" y="64"/>
                </a:lnTo>
                <a:lnTo>
                  <a:pt x="166" y="6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50" name="Freeform 47"/>
          <p:cNvSpPr>
            <a:spLocks/>
          </p:cNvSpPr>
          <p:nvPr userDrawn="1"/>
        </p:nvSpPr>
        <p:spPr bwMode="auto">
          <a:xfrm>
            <a:off x="7151687" y="1218904"/>
            <a:ext cx="657225" cy="776288"/>
          </a:xfrm>
          <a:custGeom>
            <a:avLst/>
            <a:gdLst>
              <a:gd name="T0" fmla="*/ 4703 w 4973"/>
              <a:gd name="T1" fmla="*/ 1877 h 5865"/>
              <a:gd name="T2" fmla="*/ 4733 w 4973"/>
              <a:gd name="T3" fmla="*/ 1183 h 5865"/>
              <a:gd name="T4" fmla="*/ 4302 w 4973"/>
              <a:gd name="T5" fmla="*/ 476 h 5865"/>
              <a:gd name="T6" fmla="*/ 3581 w 4973"/>
              <a:gd name="T7" fmla="*/ 813 h 5865"/>
              <a:gd name="T8" fmla="*/ 3899 w 4973"/>
              <a:gd name="T9" fmla="*/ 1529 h 5865"/>
              <a:gd name="T10" fmla="*/ 3757 w 4973"/>
              <a:gd name="T11" fmla="*/ 2227 h 5865"/>
              <a:gd name="T12" fmla="*/ 3939 w 4973"/>
              <a:gd name="T13" fmla="*/ 2068 h 5865"/>
              <a:gd name="T14" fmla="*/ 4069 w 4973"/>
              <a:gd name="T15" fmla="*/ 1928 h 5865"/>
              <a:gd name="T16" fmla="*/ 4545 w 4973"/>
              <a:gd name="T17" fmla="*/ 1985 h 5865"/>
              <a:gd name="T18" fmla="*/ 4487 w 4973"/>
              <a:gd name="T19" fmla="*/ 2697 h 5865"/>
              <a:gd name="T20" fmla="*/ 3601 w 4973"/>
              <a:gd name="T21" fmla="*/ 2477 h 5865"/>
              <a:gd name="T22" fmla="*/ 3285 w 4973"/>
              <a:gd name="T23" fmla="*/ 1581 h 5865"/>
              <a:gd name="T24" fmla="*/ 3364 w 4973"/>
              <a:gd name="T25" fmla="*/ 1421 h 5865"/>
              <a:gd name="T26" fmla="*/ 3101 w 4973"/>
              <a:gd name="T27" fmla="*/ 996 h 5865"/>
              <a:gd name="T28" fmla="*/ 3251 w 4973"/>
              <a:gd name="T29" fmla="*/ 599 h 5865"/>
              <a:gd name="T30" fmla="*/ 2863 w 4973"/>
              <a:gd name="T31" fmla="*/ 144 h 5865"/>
              <a:gd name="T32" fmla="*/ 1960 w 4973"/>
              <a:gd name="T33" fmla="*/ 304 h 5865"/>
              <a:gd name="T34" fmla="*/ 1819 w 4973"/>
              <a:gd name="T35" fmla="*/ 748 h 5865"/>
              <a:gd name="T36" fmla="*/ 2202 w 4973"/>
              <a:gd name="T37" fmla="*/ 626 h 5865"/>
              <a:gd name="T38" fmla="*/ 2215 w 4973"/>
              <a:gd name="T39" fmla="*/ 803 h 5865"/>
              <a:gd name="T40" fmla="*/ 1623 w 4973"/>
              <a:gd name="T41" fmla="*/ 851 h 5865"/>
              <a:gd name="T42" fmla="*/ 1602 w 4973"/>
              <a:gd name="T43" fmla="*/ 1055 h 5865"/>
              <a:gd name="T44" fmla="*/ 2246 w 4973"/>
              <a:gd name="T45" fmla="*/ 924 h 5865"/>
              <a:gd name="T46" fmla="*/ 2036 w 4973"/>
              <a:gd name="T47" fmla="*/ 981 h 5865"/>
              <a:gd name="T48" fmla="*/ 1754 w 4973"/>
              <a:gd name="T49" fmla="*/ 1278 h 5865"/>
              <a:gd name="T50" fmla="*/ 2105 w 4973"/>
              <a:gd name="T51" fmla="*/ 1619 h 5865"/>
              <a:gd name="T52" fmla="*/ 863 w 4973"/>
              <a:gd name="T53" fmla="*/ 2239 h 5865"/>
              <a:gd name="T54" fmla="*/ 310 w 4973"/>
              <a:gd name="T55" fmla="*/ 2027 h 5865"/>
              <a:gd name="T56" fmla="*/ 319 w 4973"/>
              <a:gd name="T57" fmla="*/ 2172 h 5865"/>
              <a:gd name="T58" fmla="*/ 380 w 4973"/>
              <a:gd name="T59" fmla="*/ 2295 h 5865"/>
              <a:gd name="T60" fmla="*/ 39 w 4973"/>
              <a:gd name="T61" fmla="*/ 2396 h 5865"/>
              <a:gd name="T62" fmla="*/ 189 w 4973"/>
              <a:gd name="T63" fmla="*/ 2511 h 5865"/>
              <a:gd name="T64" fmla="*/ 322 w 4973"/>
              <a:gd name="T65" fmla="*/ 2588 h 5865"/>
              <a:gd name="T66" fmla="*/ 272 w 4973"/>
              <a:gd name="T67" fmla="*/ 2893 h 5865"/>
              <a:gd name="T68" fmla="*/ 630 w 4973"/>
              <a:gd name="T69" fmla="*/ 2730 h 5865"/>
              <a:gd name="T70" fmla="*/ 811 w 4973"/>
              <a:gd name="T71" fmla="*/ 2843 h 5865"/>
              <a:gd name="T72" fmla="*/ 1024 w 4973"/>
              <a:gd name="T73" fmla="*/ 2773 h 5865"/>
              <a:gd name="T74" fmla="*/ 1290 w 4973"/>
              <a:gd name="T75" fmla="*/ 2556 h 5865"/>
              <a:gd name="T76" fmla="*/ 1713 w 4973"/>
              <a:gd name="T77" fmla="*/ 2519 h 5865"/>
              <a:gd name="T78" fmla="*/ 2306 w 4973"/>
              <a:gd name="T79" fmla="*/ 2641 h 5865"/>
              <a:gd name="T80" fmla="*/ 3357 w 4973"/>
              <a:gd name="T81" fmla="*/ 3092 h 5865"/>
              <a:gd name="T82" fmla="*/ 3742 w 4973"/>
              <a:gd name="T83" fmla="*/ 3928 h 5865"/>
              <a:gd name="T84" fmla="*/ 3685 w 4973"/>
              <a:gd name="T85" fmla="*/ 4224 h 5865"/>
              <a:gd name="T86" fmla="*/ 4224 w 4973"/>
              <a:gd name="T87" fmla="*/ 4337 h 5865"/>
              <a:gd name="T88" fmla="*/ 4264 w 4973"/>
              <a:gd name="T89" fmla="*/ 5017 h 5865"/>
              <a:gd name="T90" fmla="*/ 3761 w 4973"/>
              <a:gd name="T91" fmla="*/ 5058 h 5865"/>
              <a:gd name="T92" fmla="*/ 3894 w 4973"/>
              <a:gd name="T93" fmla="*/ 5210 h 5865"/>
              <a:gd name="T94" fmla="*/ 3894 w 4973"/>
              <a:gd name="T95" fmla="*/ 5294 h 5865"/>
              <a:gd name="T96" fmla="*/ 3751 w 4973"/>
              <a:gd name="T97" fmla="*/ 5644 h 5865"/>
              <a:gd name="T98" fmla="*/ 3926 w 4973"/>
              <a:gd name="T99" fmla="*/ 5586 h 5865"/>
              <a:gd name="T100" fmla="*/ 4212 w 4973"/>
              <a:gd name="T101" fmla="*/ 5447 h 5865"/>
              <a:gd name="T102" fmla="*/ 4257 w 4973"/>
              <a:gd name="T103" fmla="*/ 5812 h 5865"/>
              <a:gd name="T104" fmla="*/ 4352 w 4973"/>
              <a:gd name="T105" fmla="*/ 5675 h 5865"/>
              <a:gd name="T106" fmla="*/ 4557 w 4973"/>
              <a:gd name="T107" fmla="*/ 5328 h 5865"/>
              <a:gd name="T108" fmla="*/ 4736 w 4973"/>
              <a:gd name="T109" fmla="*/ 5505 h 5865"/>
              <a:gd name="T110" fmla="*/ 4753 w 4973"/>
              <a:gd name="T111" fmla="*/ 5108 h 5865"/>
              <a:gd name="T112" fmla="*/ 4693 w 4973"/>
              <a:gd name="T113" fmla="*/ 4810 h 5865"/>
              <a:gd name="T114" fmla="*/ 4677 w 4973"/>
              <a:gd name="T115" fmla="*/ 4437 h 5865"/>
              <a:gd name="T116" fmla="*/ 4640 w 4973"/>
              <a:gd name="T117" fmla="*/ 4108 h 5865"/>
              <a:gd name="T118" fmla="*/ 4297 w 4973"/>
              <a:gd name="T119" fmla="*/ 3793 h 5865"/>
              <a:gd name="T120" fmla="*/ 4267 w 4973"/>
              <a:gd name="T121" fmla="*/ 3366 h 5865"/>
              <a:gd name="T122" fmla="*/ 4428 w 4973"/>
              <a:gd name="T123" fmla="*/ 2994 h 5865"/>
              <a:gd name="T124" fmla="*/ 4923 w 4973"/>
              <a:gd name="T125" fmla="*/ 2543 h 5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973" h="5865">
                <a:moveTo>
                  <a:pt x="4842" y="2253"/>
                </a:moveTo>
                <a:lnTo>
                  <a:pt x="4842" y="2253"/>
                </a:lnTo>
                <a:lnTo>
                  <a:pt x="4862" y="2257"/>
                </a:lnTo>
                <a:lnTo>
                  <a:pt x="4881" y="2259"/>
                </a:lnTo>
                <a:lnTo>
                  <a:pt x="4900" y="2260"/>
                </a:lnTo>
                <a:lnTo>
                  <a:pt x="4916" y="2259"/>
                </a:lnTo>
                <a:lnTo>
                  <a:pt x="4932" y="2257"/>
                </a:lnTo>
                <a:lnTo>
                  <a:pt x="4946" y="2254"/>
                </a:lnTo>
                <a:lnTo>
                  <a:pt x="4958" y="2249"/>
                </a:lnTo>
                <a:lnTo>
                  <a:pt x="4969" y="2243"/>
                </a:lnTo>
                <a:lnTo>
                  <a:pt x="4969" y="2243"/>
                </a:lnTo>
                <a:lnTo>
                  <a:pt x="4967" y="2217"/>
                </a:lnTo>
                <a:lnTo>
                  <a:pt x="4960" y="2157"/>
                </a:lnTo>
                <a:lnTo>
                  <a:pt x="4951" y="2084"/>
                </a:lnTo>
                <a:lnTo>
                  <a:pt x="4946" y="2052"/>
                </a:lnTo>
                <a:lnTo>
                  <a:pt x="4940" y="2024"/>
                </a:lnTo>
                <a:lnTo>
                  <a:pt x="4940" y="2024"/>
                </a:lnTo>
                <a:lnTo>
                  <a:pt x="4922" y="2027"/>
                </a:lnTo>
                <a:lnTo>
                  <a:pt x="4902" y="2030"/>
                </a:lnTo>
                <a:lnTo>
                  <a:pt x="4891" y="2030"/>
                </a:lnTo>
                <a:lnTo>
                  <a:pt x="4879" y="2030"/>
                </a:lnTo>
                <a:lnTo>
                  <a:pt x="4867" y="2029"/>
                </a:lnTo>
                <a:lnTo>
                  <a:pt x="4855" y="2027"/>
                </a:lnTo>
                <a:lnTo>
                  <a:pt x="4843" y="2024"/>
                </a:lnTo>
                <a:lnTo>
                  <a:pt x="4830" y="2020"/>
                </a:lnTo>
                <a:lnTo>
                  <a:pt x="4818" y="2015"/>
                </a:lnTo>
                <a:lnTo>
                  <a:pt x="4806" y="2008"/>
                </a:lnTo>
                <a:lnTo>
                  <a:pt x="4794" y="1998"/>
                </a:lnTo>
                <a:lnTo>
                  <a:pt x="4782" y="1988"/>
                </a:lnTo>
                <a:lnTo>
                  <a:pt x="4771" y="1976"/>
                </a:lnTo>
                <a:lnTo>
                  <a:pt x="4761" y="1962"/>
                </a:lnTo>
                <a:lnTo>
                  <a:pt x="4761" y="1962"/>
                </a:lnTo>
                <a:lnTo>
                  <a:pt x="4743" y="1933"/>
                </a:lnTo>
                <a:lnTo>
                  <a:pt x="4724" y="1905"/>
                </a:lnTo>
                <a:lnTo>
                  <a:pt x="4724" y="1905"/>
                </a:lnTo>
                <a:lnTo>
                  <a:pt x="4703" y="1877"/>
                </a:lnTo>
                <a:lnTo>
                  <a:pt x="4680" y="1849"/>
                </a:lnTo>
                <a:lnTo>
                  <a:pt x="4658" y="1823"/>
                </a:lnTo>
                <a:lnTo>
                  <a:pt x="4634" y="1797"/>
                </a:lnTo>
                <a:lnTo>
                  <a:pt x="4611" y="1773"/>
                </a:lnTo>
                <a:lnTo>
                  <a:pt x="4586" y="1750"/>
                </a:lnTo>
                <a:lnTo>
                  <a:pt x="4562" y="1727"/>
                </a:lnTo>
                <a:lnTo>
                  <a:pt x="4538" y="1707"/>
                </a:lnTo>
                <a:lnTo>
                  <a:pt x="4513" y="1687"/>
                </a:lnTo>
                <a:lnTo>
                  <a:pt x="4489" y="1667"/>
                </a:lnTo>
                <a:lnTo>
                  <a:pt x="4463" y="1649"/>
                </a:lnTo>
                <a:lnTo>
                  <a:pt x="4439" y="1630"/>
                </a:lnTo>
                <a:lnTo>
                  <a:pt x="4413" y="1614"/>
                </a:lnTo>
                <a:lnTo>
                  <a:pt x="4389" y="1598"/>
                </a:lnTo>
                <a:lnTo>
                  <a:pt x="4337" y="1566"/>
                </a:lnTo>
                <a:lnTo>
                  <a:pt x="4337" y="1566"/>
                </a:lnTo>
                <a:lnTo>
                  <a:pt x="4381" y="1543"/>
                </a:lnTo>
                <a:lnTo>
                  <a:pt x="4422" y="1521"/>
                </a:lnTo>
                <a:lnTo>
                  <a:pt x="4459" y="1498"/>
                </a:lnTo>
                <a:lnTo>
                  <a:pt x="4492" y="1477"/>
                </a:lnTo>
                <a:lnTo>
                  <a:pt x="4523" y="1455"/>
                </a:lnTo>
                <a:lnTo>
                  <a:pt x="4549" y="1434"/>
                </a:lnTo>
                <a:lnTo>
                  <a:pt x="4574" y="1414"/>
                </a:lnTo>
                <a:lnTo>
                  <a:pt x="4595" y="1393"/>
                </a:lnTo>
                <a:lnTo>
                  <a:pt x="4615" y="1374"/>
                </a:lnTo>
                <a:lnTo>
                  <a:pt x="4632" y="1355"/>
                </a:lnTo>
                <a:lnTo>
                  <a:pt x="4647" y="1337"/>
                </a:lnTo>
                <a:lnTo>
                  <a:pt x="4661" y="1319"/>
                </a:lnTo>
                <a:lnTo>
                  <a:pt x="4673" y="1303"/>
                </a:lnTo>
                <a:lnTo>
                  <a:pt x="4683" y="1288"/>
                </a:lnTo>
                <a:lnTo>
                  <a:pt x="4700" y="1260"/>
                </a:lnTo>
                <a:lnTo>
                  <a:pt x="4700" y="1260"/>
                </a:lnTo>
                <a:lnTo>
                  <a:pt x="4708" y="1248"/>
                </a:lnTo>
                <a:lnTo>
                  <a:pt x="4714" y="1234"/>
                </a:lnTo>
                <a:lnTo>
                  <a:pt x="4721" y="1218"/>
                </a:lnTo>
                <a:lnTo>
                  <a:pt x="4727" y="1202"/>
                </a:lnTo>
                <a:lnTo>
                  <a:pt x="4733" y="1183"/>
                </a:lnTo>
                <a:lnTo>
                  <a:pt x="4739" y="1164"/>
                </a:lnTo>
                <a:lnTo>
                  <a:pt x="4743" y="1144"/>
                </a:lnTo>
                <a:lnTo>
                  <a:pt x="4749" y="1123"/>
                </a:lnTo>
                <a:lnTo>
                  <a:pt x="4753" y="1101"/>
                </a:lnTo>
                <a:lnTo>
                  <a:pt x="4756" y="1078"/>
                </a:lnTo>
                <a:lnTo>
                  <a:pt x="4758" y="1054"/>
                </a:lnTo>
                <a:lnTo>
                  <a:pt x="4759" y="1030"/>
                </a:lnTo>
                <a:lnTo>
                  <a:pt x="4760" y="1005"/>
                </a:lnTo>
                <a:lnTo>
                  <a:pt x="4759" y="980"/>
                </a:lnTo>
                <a:lnTo>
                  <a:pt x="4758" y="954"/>
                </a:lnTo>
                <a:lnTo>
                  <a:pt x="4755" y="928"/>
                </a:lnTo>
                <a:lnTo>
                  <a:pt x="4751" y="902"/>
                </a:lnTo>
                <a:lnTo>
                  <a:pt x="4745" y="876"/>
                </a:lnTo>
                <a:lnTo>
                  <a:pt x="4738" y="849"/>
                </a:lnTo>
                <a:lnTo>
                  <a:pt x="4730" y="824"/>
                </a:lnTo>
                <a:lnTo>
                  <a:pt x="4720" y="797"/>
                </a:lnTo>
                <a:lnTo>
                  <a:pt x="4709" y="771"/>
                </a:lnTo>
                <a:lnTo>
                  <a:pt x="4695" y="746"/>
                </a:lnTo>
                <a:lnTo>
                  <a:pt x="4681" y="721"/>
                </a:lnTo>
                <a:lnTo>
                  <a:pt x="4665" y="697"/>
                </a:lnTo>
                <a:lnTo>
                  <a:pt x="4646" y="672"/>
                </a:lnTo>
                <a:lnTo>
                  <a:pt x="4625" y="649"/>
                </a:lnTo>
                <a:lnTo>
                  <a:pt x="4602" y="626"/>
                </a:lnTo>
                <a:lnTo>
                  <a:pt x="4578" y="605"/>
                </a:lnTo>
                <a:lnTo>
                  <a:pt x="4551" y="584"/>
                </a:lnTo>
                <a:lnTo>
                  <a:pt x="4522" y="565"/>
                </a:lnTo>
                <a:lnTo>
                  <a:pt x="4490" y="545"/>
                </a:lnTo>
                <a:lnTo>
                  <a:pt x="4490" y="545"/>
                </a:lnTo>
                <a:lnTo>
                  <a:pt x="4466" y="533"/>
                </a:lnTo>
                <a:lnTo>
                  <a:pt x="4443" y="522"/>
                </a:lnTo>
                <a:lnTo>
                  <a:pt x="4419" y="512"/>
                </a:lnTo>
                <a:lnTo>
                  <a:pt x="4396" y="503"/>
                </a:lnTo>
                <a:lnTo>
                  <a:pt x="4372" y="494"/>
                </a:lnTo>
                <a:lnTo>
                  <a:pt x="4348" y="487"/>
                </a:lnTo>
                <a:lnTo>
                  <a:pt x="4325" y="481"/>
                </a:lnTo>
                <a:lnTo>
                  <a:pt x="4302" y="476"/>
                </a:lnTo>
                <a:lnTo>
                  <a:pt x="4278" y="471"/>
                </a:lnTo>
                <a:lnTo>
                  <a:pt x="4256" y="468"/>
                </a:lnTo>
                <a:lnTo>
                  <a:pt x="4233" y="465"/>
                </a:lnTo>
                <a:lnTo>
                  <a:pt x="4211" y="463"/>
                </a:lnTo>
                <a:lnTo>
                  <a:pt x="4188" y="461"/>
                </a:lnTo>
                <a:lnTo>
                  <a:pt x="4167" y="461"/>
                </a:lnTo>
                <a:lnTo>
                  <a:pt x="4145" y="461"/>
                </a:lnTo>
                <a:lnTo>
                  <a:pt x="4124" y="461"/>
                </a:lnTo>
                <a:lnTo>
                  <a:pt x="4083" y="464"/>
                </a:lnTo>
                <a:lnTo>
                  <a:pt x="4044" y="468"/>
                </a:lnTo>
                <a:lnTo>
                  <a:pt x="4007" y="474"/>
                </a:lnTo>
                <a:lnTo>
                  <a:pt x="3973" y="482"/>
                </a:lnTo>
                <a:lnTo>
                  <a:pt x="3941" y="490"/>
                </a:lnTo>
                <a:lnTo>
                  <a:pt x="3912" y="499"/>
                </a:lnTo>
                <a:lnTo>
                  <a:pt x="3887" y="510"/>
                </a:lnTo>
                <a:lnTo>
                  <a:pt x="3864" y="519"/>
                </a:lnTo>
                <a:lnTo>
                  <a:pt x="3864" y="519"/>
                </a:lnTo>
                <a:lnTo>
                  <a:pt x="3844" y="529"/>
                </a:lnTo>
                <a:lnTo>
                  <a:pt x="3824" y="539"/>
                </a:lnTo>
                <a:lnTo>
                  <a:pt x="3806" y="551"/>
                </a:lnTo>
                <a:lnTo>
                  <a:pt x="3787" y="562"/>
                </a:lnTo>
                <a:lnTo>
                  <a:pt x="3769" y="575"/>
                </a:lnTo>
                <a:lnTo>
                  <a:pt x="3752" y="587"/>
                </a:lnTo>
                <a:lnTo>
                  <a:pt x="3735" y="602"/>
                </a:lnTo>
                <a:lnTo>
                  <a:pt x="3719" y="616"/>
                </a:lnTo>
                <a:lnTo>
                  <a:pt x="3703" y="631"/>
                </a:lnTo>
                <a:lnTo>
                  <a:pt x="3687" y="647"/>
                </a:lnTo>
                <a:lnTo>
                  <a:pt x="3673" y="663"/>
                </a:lnTo>
                <a:lnTo>
                  <a:pt x="3659" y="679"/>
                </a:lnTo>
                <a:lnTo>
                  <a:pt x="3645" y="697"/>
                </a:lnTo>
                <a:lnTo>
                  <a:pt x="3633" y="715"/>
                </a:lnTo>
                <a:lnTo>
                  <a:pt x="3621" y="734"/>
                </a:lnTo>
                <a:lnTo>
                  <a:pt x="3609" y="753"/>
                </a:lnTo>
                <a:lnTo>
                  <a:pt x="3599" y="772"/>
                </a:lnTo>
                <a:lnTo>
                  <a:pt x="3589" y="793"/>
                </a:lnTo>
                <a:lnTo>
                  <a:pt x="3581" y="813"/>
                </a:lnTo>
                <a:lnTo>
                  <a:pt x="3573" y="835"/>
                </a:lnTo>
                <a:lnTo>
                  <a:pt x="3565" y="856"/>
                </a:lnTo>
                <a:lnTo>
                  <a:pt x="3559" y="879"/>
                </a:lnTo>
                <a:lnTo>
                  <a:pt x="3554" y="901"/>
                </a:lnTo>
                <a:lnTo>
                  <a:pt x="3550" y="924"/>
                </a:lnTo>
                <a:lnTo>
                  <a:pt x="3547" y="947"/>
                </a:lnTo>
                <a:lnTo>
                  <a:pt x="3545" y="972"/>
                </a:lnTo>
                <a:lnTo>
                  <a:pt x="3544" y="996"/>
                </a:lnTo>
                <a:lnTo>
                  <a:pt x="3543" y="1021"/>
                </a:lnTo>
                <a:lnTo>
                  <a:pt x="3544" y="1046"/>
                </a:lnTo>
                <a:lnTo>
                  <a:pt x="3546" y="1072"/>
                </a:lnTo>
                <a:lnTo>
                  <a:pt x="3550" y="1098"/>
                </a:lnTo>
                <a:lnTo>
                  <a:pt x="3554" y="1124"/>
                </a:lnTo>
                <a:lnTo>
                  <a:pt x="3554" y="1124"/>
                </a:lnTo>
                <a:lnTo>
                  <a:pt x="3559" y="1148"/>
                </a:lnTo>
                <a:lnTo>
                  <a:pt x="3564" y="1169"/>
                </a:lnTo>
                <a:lnTo>
                  <a:pt x="3571" y="1191"/>
                </a:lnTo>
                <a:lnTo>
                  <a:pt x="3577" y="1211"/>
                </a:lnTo>
                <a:lnTo>
                  <a:pt x="3585" y="1231"/>
                </a:lnTo>
                <a:lnTo>
                  <a:pt x="3592" y="1249"/>
                </a:lnTo>
                <a:lnTo>
                  <a:pt x="3601" y="1267"/>
                </a:lnTo>
                <a:lnTo>
                  <a:pt x="3610" y="1285"/>
                </a:lnTo>
                <a:lnTo>
                  <a:pt x="3620" y="1301"/>
                </a:lnTo>
                <a:lnTo>
                  <a:pt x="3631" y="1316"/>
                </a:lnTo>
                <a:lnTo>
                  <a:pt x="3641" y="1332"/>
                </a:lnTo>
                <a:lnTo>
                  <a:pt x="3652" y="1347"/>
                </a:lnTo>
                <a:lnTo>
                  <a:pt x="3665" y="1361"/>
                </a:lnTo>
                <a:lnTo>
                  <a:pt x="3677" y="1375"/>
                </a:lnTo>
                <a:lnTo>
                  <a:pt x="3690" y="1388"/>
                </a:lnTo>
                <a:lnTo>
                  <a:pt x="3704" y="1400"/>
                </a:lnTo>
                <a:lnTo>
                  <a:pt x="3732" y="1425"/>
                </a:lnTo>
                <a:lnTo>
                  <a:pt x="3763" y="1447"/>
                </a:lnTo>
                <a:lnTo>
                  <a:pt x="3795" y="1469"/>
                </a:lnTo>
                <a:lnTo>
                  <a:pt x="3828" y="1489"/>
                </a:lnTo>
                <a:lnTo>
                  <a:pt x="3863" y="1510"/>
                </a:lnTo>
                <a:lnTo>
                  <a:pt x="3899" y="1529"/>
                </a:lnTo>
                <a:lnTo>
                  <a:pt x="3976" y="1567"/>
                </a:lnTo>
                <a:lnTo>
                  <a:pt x="3976" y="1567"/>
                </a:lnTo>
                <a:lnTo>
                  <a:pt x="3945" y="1584"/>
                </a:lnTo>
                <a:lnTo>
                  <a:pt x="3916" y="1601"/>
                </a:lnTo>
                <a:lnTo>
                  <a:pt x="3890" y="1618"/>
                </a:lnTo>
                <a:lnTo>
                  <a:pt x="3864" y="1636"/>
                </a:lnTo>
                <a:lnTo>
                  <a:pt x="3840" y="1656"/>
                </a:lnTo>
                <a:lnTo>
                  <a:pt x="3817" y="1675"/>
                </a:lnTo>
                <a:lnTo>
                  <a:pt x="3797" y="1696"/>
                </a:lnTo>
                <a:lnTo>
                  <a:pt x="3778" y="1717"/>
                </a:lnTo>
                <a:lnTo>
                  <a:pt x="3761" y="1741"/>
                </a:lnTo>
                <a:lnTo>
                  <a:pt x="3754" y="1753"/>
                </a:lnTo>
                <a:lnTo>
                  <a:pt x="3746" y="1765"/>
                </a:lnTo>
                <a:lnTo>
                  <a:pt x="3739" y="1778"/>
                </a:lnTo>
                <a:lnTo>
                  <a:pt x="3733" y="1791"/>
                </a:lnTo>
                <a:lnTo>
                  <a:pt x="3728" y="1804"/>
                </a:lnTo>
                <a:lnTo>
                  <a:pt x="3723" y="1818"/>
                </a:lnTo>
                <a:lnTo>
                  <a:pt x="3718" y="1833"/>
                </a:lnTo>
                <a:lnTo>
                  <a:pt x="3714" y="1848"/>
                </a:lnTo>
                <a:lnTo>
                  <a:pt x="3711" y="1863"/>
                </a:lnTo>
                <a:lnTo>
                  <a:pt x="3708" y="1879"/>
                </a:lnTo>
                <a:lnTo>
                  <a:pt x="3706" y="1895"/>
                </a:lnTo>
                <a:lnTo>
                  <a:pt x="3705" y="1912"/>
                </a:lnTo>
                <a:lnTo>
                  <a:pt x="3704" y="1930"/>
                </a:lnTo>
                <a:lnTo>
                  <a:pt x="3703" y="1947"/>
                </a:lnTo>
                <a:lnTo>
                  <a:pt x="3703" y="1947"/>
                </a:lnTo>
                <a:lnTo>
                  <a:pt x="3704" y="1970"/>
                </a:lnTo>
                <a:lnTo>
                  <a:pt x="3707" y="1993"/>
                </a:lnTo>
                <a:lnTo>
                  <a:pt x="3711" y="2016"/>
                </a:lnTo>
                <a:lnTo>
                  <a:pt x="3716" y="2039"/>
                </a:lnTo>
                <a:lnTo>
                  <a:pt x="3729" y="2087"/>
                </a:lnTo>
                <a:lnTo>
                  <a:pt x="3736" y="2113"/>
                </a:lnTo>
                <a:lnTo>
                  <a:pt x="3742" y="2139"/>
                </a:lnTo>
                <a:lnTo>
                  <a:pt x="3749" y="2168"/>
                </a:lnTo>
                <a:lnTo>
                  <a:pt x="3753" y="2197"/>
                </a:lnTo>
                <a:lnTo>
                  <a:pt x="3757" y="2227"/>
                </a:lnTo>
                <a:lnTo>
                  <a:pt x="3758" y="2260"/>
                </a:lnTo>
                <a:lnTo>
                  <a:pt x="3758" y="2295"/>
                </a:lnTo>
                <a:lnTo>
                  <a:pt x="3757" y="2313"/>
                </a:lnTo>
                <a:lnTo>
                  <a:pt x="3755" y="2332"/>
                </a:lnTo>
                <a:lnTo>
                  <a:pt x="3753" y="2350"/>
                </a:lnTo>
                <a:lnTo>
                  <a:pt x="3750" y="2371"/>
                </a:lnTo>
                <a:lnTo>
                  <a:pt x="3745" y="2391"/>
                </a:lnTo>
                <a:lnTo>
                  <a:pt x="3741" y="2411"/>
                </a:lnTo>
                <a:lnTo>
                  <a:pt x="3741" y="2411"/>
                </a:lnTo>
                <a:lnTo>
                  <a:pt x="3741" y="2413"/>
                </a:lnTo>
                <a:lnTo>
                  <a:pt x="3741" y="2414"/>
                </a:lnTo>
                <a:lnTo>
                  <a:pt x="3743" y="2414"/>
                </a:lnTo>
                <a:lnTo>
                  <a:pt x="3745" y="2416"/>
                </a:lnTo>
                <a:lnTo>
                  <a:pt x="3753" y="2413"/>
                </a:lnTo>
                <a:lnTo>
                  <a:pt x="3762" y="2411"/>
                </a:lnTo>
                <a:lnTo>
                  <a:pt x="3785" y="2401"/>
                </a:lnTo>
                <a:lnTo>
                  <a:pt x="3814" y="2389"/>
                </a:lnTo>
                <a:lnTo>
                  <a:pt x="3842" y="2374"/>
                </a:lnTo>
                <a:lnTo>
                  <a:pt x="3867" y="2360"/>
                </a:lnTo>
                <a:lnTo>
                  <a:pt x="3886" y="2349"/>
                </a:lnTo>
                <a:lnTo>
                  <a:pt x="3891" y="2345"/>
                </a:lnTo>
                <a:lnTo>
                  <a:pt x="3894" y="2343"/>
                </a:lnTo>
                <a:lnTo>
                  <a:pt x="3894" y="2343"/>
                </a:lnTo>
                <a:lnTo>
                  <a:pt x="3903" y="2319"/>
                </a:lnTo>
                <a:lnTo>
                  <a:pt x="3910" y="2296"/>
                </a:lnTo>
                <a:lnTo>
                  <a:pt x="3916" y="2272"/>
                </a:lnTo>
                <a:lnTo>
                  <a:pt x="3921" y="2248"/>
                </a:lnTo>
                <a:lnTo>
                  <a:pt x="3925" y="2224"/>
                </a:lnTo>
                <a:lnTo>
                  <a:pt x="3928" y="2201"/>
                </a:lnTo>
                <a:lnTo>
                  <a:pt x="3930" y="2178"/>
                </a:lnTo>
                <a:lnTo>
                  <a:pt x="3932" y="2156"/>
                </a:lnTo>
                <a:lnTo>
                  <a:pt x="3932" y="2117"/>
                </a:lnTo>
                <a:lnTo>
                  <a:pt x="3931" y="2086"/>
                </a:lnTo>
                <a:lnTo>
                  <a:pt x="3928" y="2059"/>
                </a:lnTo>
                <a:lnTo>
                  <a:pt x="3928" y="2059"/>
                </a:lnTo>
                <a:lnTo>
                  <a:pt x="3939" y="2068"/>
                </a:lnTo>
                <a:lnTo>
                  <a:pt x="3947" y="2079"/>
                </a:lnTo>
                <a:lnTo>
                  <a:pt x="3954" y="2091"/>
                </a:lnTo>
                <a:lnTo>
                  <a:pt x="3960" y="2105"/>
                </a:lnTo>
                <a:lnTo>
                  <a:pt x="3964" y="2120"/>
                </a:lnTo>
                <a:lnTo>
                  <a:pt x="3968" y="2135"/>
                </a:lnTo>
                <a:lnTo>
                  <a:pt x="3971" y="2152"/>
                </a:lnTo>
                <a:lnTo>
                  <a:pt x="3973" y="2168"/>
                </a:lnTo>
                <a:lnTo>
                  <a:pt x="3975" y="2185"/>
                </a:lnTo>
                <a:lnTo>
                  <a:pt x="3976" y="2203"/>
                </a:lnTo>
                <a:lnTo>
                  <a:pt x="3976" y="2219"/>
                </a:lnTo>
                <a:lnTo>
                  <a:pt x="3975" y="2237"/>
                </a:lnTo>
                <a:lnTo>
                  <a:pt x="3971" y="2268"/>
                </a:lnTo>
                <a:lnTo>
                  <a:pt x="3965" y="2297"/>
                </a:lnTo>
                <a:lnTo>
                  <a:pt x="3965" y="2297"/>
                </a:lnTo>
                <a:lnTo>
                  <a:pt x="3982" y="2288"/>
                </a:lnTo>
                <a:lnTo>
                  <a:pt x="3998" y="2276"/>
                </a:lnTo>
                <a:lnTo>
                  <a:pt x="4016" y="2263"/>
                </a:lnTo>
                <a:lnTo>
                  <a:pt x="4036" y="2249"/>
                </a:lnTo>
                <a:lnTo>
                  <a:pt x="4053" y="2234"/>
                </a:lnTo>
                <a:lnTo>
                  <a:pt x="4061" y="2226"/>
                </a:lnTo>
                <a:lnTo>
                  <a:pt x="4068" y="2219"/>
                </a:lnTo>
                <a:lnTo>
                  <a:pt x="4072" y="2212"/>
                </a:lnTo>
                <a:lnTo>
                  <a:pt x="4075" y="2206"/>
                </a:lnTo>
                <a:lnTo>
                  <a:pt x="4075" y="2206"/>
                </a:lnTo>
                <a:lnTo>
                  <a:pt x="4083" y="2176"/>
                </a:lnTo>
                <a:lnTo>
                  <a:pt x="4090" y="2148"/>
                </a:lnTo>
                <a:lnTo>
                  <a:pt x="4094" y="2121"/>
                </a:lnTo>
                <a:lnTo>
                  <a:pt x="4096" y="2095"/>
                </a:lnTo>
                <a:lnTo>
                  <a:pt x="4096" y="2071"/>
                </a:lnTo>
                <a:lnTo>
                  <a:pt x="4095" y="2047"/>
                </a:lnTo>
                <a:lnTo>
                  <a:pt x="4093" y="2025"/>
                </a:lnTo>
                <a:lnTo>
                  <a:pt x="4090" y="2003"/>
                </a:lnTo>
                <a:lnTo>
                  <a:pt x="4085" y="1983"/>
                </a:lnTo>
                <a:lnTo>
                  <a:pt x="4080" y="1964"/>
                </a:lnTo>
                <a:lnTo>
                  <a:pt x="4075" y="1945"/>
                </a:lnTo>
                <a:lnTo>
                  <a:pt x="4069" y="1928"/>
                </a:lnTo>
                <a:lnTo>
                  <a:pt x="4055" y="1894"/>
                </a:lnTo>
                <a:lnTo>
                  <a:pt x="4043" y="1862"/>
                </a:lnTo>
                <a:lnTo>
                  <a:pt x="4043" y="1862"/>
                </a:lnTo>
                <a:lnTo>
                  <a:pt x="4038" y="1847"/>
                </a:lnTo>
                <a:lnTo>
                  <a:pt x="4035" y="1832"/>
                </a:lnTo>
                <a:lnTo>
                  <a:pt x="4034" y="1817"/>
                </a:lnTo>
                <a:lnTo>
                  <a:pt x="4035" y="1802"/>
                </a:lnTo>
                <a:lnTo>
                  <a:pt x="4037" y="1788"/>
                </a:lnTo>
                <a:lnTo>
                  <a:pt x="4041" y="1773"/>
                </a:lnTo>
                <a:lnTo>
                  <a:pt x="4046" y="1759"/>
                </a:lnTo>
                <a:lnTo>
                  <a:pt x="4053" y="1746"/>
                </a:lnTo>
                <a:lnTo>
                  <a:pt x="4061" y="1733"/>
                </a:lnTo>
                <a:lnTo>
                  <a:pt x="4071" y="1719"/>
                </a:lnTo>
                <a:lnTo>
                  <a:pt x="4081" y="1707"/>
                </a:lnTo>
                <a:lnTo>
                  <a:pt x="4092" y="1696"/>
                </a:lnTo>
                <a:lnTo>
                  <a:pt x="4103" y="1684"/>
                </a:lnTo>
                <a:lnTo>
                  <a:pt x="4117" y="1673"/>
                </a:lnTo>
                <a:lnTo>
                  <a:pt x="4130" y="1664"/>
                </a:lnTo>
                <a:lnTo>
                  <a:pt x="4145" y="1655"/>
                </a:lnTo>
                <a:lnTo>
                  <a:pt x="4145" y="1655"/>
                </a:lnTo>
                <a:lnTo>
                  <a:pt x="4180" y="1674"/>
                </a:lnTo>
                <a:lnTo>
                  <a:pt x="4215" y="1695"/>
                </a:lnTo>
                <a:lnTo>
                  <a:pt x="4251" y="1716"/>
                </a:lnTo>
                <a:lnTo>
                  <a:pt x="4286" y="1740"/>
                </a:lnTo>
                <a:lnTo>
                  <a:pt x="4286" y="1740"/>
                </a:lnTo>
                <a:lnTo>
                  <a:pt x="4307" y="1754"/>
                </a:lnTo>
                <a:lnTo>
                  <a:pt x="4341" y="1779"/>
                </a:lnTo>
                <a:lnTo>
                  <a:pt x="4361" y="1794"/>
                </a:lnTo>
                <a:lnTo>
                  <a:pt x="4382" y="1812"/>
                </a:lnTo>
                <a:lnTo>
                  <a:pt x="4405" y="1832"/>
                </a:lnTo>
                <a:lnTo>
                  <a:pt x="4430" y="1853"/>
                </a:lnTo>
                <a:lnTo>
                  <a:pt x="4453" y="1877"/>
                </a:lnTo>
                <a:lnTo>
                  <a:pt x="4478" y="1901"/>
                </a:lnTo>
                <a:lnTo>
                  <a:pt x="4501" y="1928"/>
                </a:lnTo>
                <a:lnTo>
                  <a:pt x="4524" y="1956"/>
                </a:lnTo>
                <a:lnTo>
                  <a:pt x="4545" y="1985"/>
                </a:lnTo>
                <a:lnTo>
                  <a:pt x="4564" y="2016"/>
                </a:lnTo>
                <a:lnTo>
                  <a:pt x="4574" y="2031"/>
                </a:lnTo>
                <a:lnTo>
                  <a:pt x="4582" y="2047"/>
                </a:lnTo>
                <a:lnTo>
                  <a:pt x="4590" y="2064"/>
                </a:lnTo>
                <a:lnTo>
                  <a:pt x="4596" y="2080"/>
                </a:lnTo>
                <a:lnTo>
                  <a:pt x="4596" y="2080"/>
                </a:lnTo>
                <a:lnTo>
                  <a:pt x="4606" y="2106"/>
                </a:lnTo>
                <a:lnTo>
                  <a:pt x="4616" y="2130"/>
                </a:lnTo>
                <a:lnTo>
                  <a:pt x="4624" y="2155"/>
                </a:lnTo>
                <a:lnTo>
                  <a:pt x="4630" y="2178"/>
                </a:lnTo>
                <a:lnTo>
                  <a:pt x="4636" y="2202"/>
                </a:lnTo>
                <a:lnTo>
                  <a:pt x="4641" y="2224"/>
                </a:lnTo>
                <a:lnTo>
                  <a:pt x="4645" y="2246"/>
                </a:lnTo>
                <a:lnTo>
                  <a:pt x="4649" y="2266"/>
                </a:lnTo>
                <a:lnTo>
                  <a:pt x="4651" y="2287"/>
                </a:lnTo>
                <a:lnTo>
                  <a:pt x="4653" y="2306"/>
                </a:lnTo>
                <a:lnTo>
                  <a:pt x="4654" y="2325"/>
                </a:lnTo>
                <a:lnTo>
                  <a:pt x="4655" y="2343"/>
                </a:lnTo>
                <a:lnTo>
                  <a:pt x="4654" y="2377"/>
                </a:lnTo>
                <a:lnTo>
                  <a:pt x="4652" y="2408"/>
                </a:lnTo>
                <a:lnTo>
                  <a:pt x="4648" y="2437"/>
                </a:lnTo>
                <a:lnTo>
                  <a:pt x="4642" y="2464"/>
                </a:lnTo>
                <a:lnTo>
                  <a:pt x="4635" y="2487"/>
                </a:lnTo>
                <a:lnTo>
                  <a:pt x="4628" y="2509"/>
                </a:lnTo>
                <a:lnTo>
                  <a:pt x="4620" y="2527"/>
                </a:lnTo>
                <a:lnTo>
                  <a:pt x="4612" y="2544"/>
                </a:lnTo>
                <a:lnTo>
                  <a:pt x="4603" y="2559"/>
                </a:lnTo>
                <a:lnTo>
                  <a:pt x="4596" y="2570"/>
                </a:lnTo>
                <a:lnTo>
                  <a:pt x="4596" y="2570"/>
                </a:lnTo>
                <a:lnTo>
                  <a:pt x="4582" y="2590"/>
                </a:lnTo>
                <a:lnTo>
                  <a:pt x="4568" y="2611"/>
                </a:lnTo>
                <a:lnTo>
                  <a:pt x="4553" y="2629"/>
                </a:lnTo>
                <a:lnTo>
                  <a:pt x="4538" y="2648"/>
                </a:lnTo>
                <a:lnTo>
                  <a:pt x="4522" y="2665"/>
                </a:lnTo>
                <a:lnTo>
                  <a:pt x="4505" y="2681"/>
                </a:lnTo>
                <a:lnTo>
                  <a:pt x="4487" y="2697"/>
                </a:lnTo>
                <a:lnTo>
                  <a:pt x="4469" y="2711"/>
                </a:lnTo>
                <a:lnTo>
                  <a:pt x="4450" y="2724"/>
                </a:lnTo>
                <a:lnTo>
                  <a:pt x="4430" y="2736"/>
                </a:lnTo>
                <a:lnTo>
                  <a:pt x="4409" y="2747"/>
                </a:lnTo>
                <a:lnTo>
                  <a:pt x="4388" y="2756"/>
                </a:lnTo>
                <a:lnTo>
                  <a:pt x="4364" y="2764"/>
                </a:lnTo>
                <a:lnTo>
                  <a:pt x="4341" y="2771"/>
                </a:lnTo>
                <a:lnTo>
                  <a:pt x="4316" y="2776"/>
                </a:lnTo>
                <a:lnTo>
                  <a:pt x="4290" y="2779"/>
                </a:lnTo>
                <a:lnTo>
                  <a:pt x="4290" y="2779"/>
                </a:lnTo>
                <a:lnTo>
                  <a:pt x="4283" y="2778"/>
                </a:lnTo>
                <a:lnTo>
                  <a:pt x="4275" y="2778"/>
                </a:lnTo>
                <a:lnTo>
                  <a:pt x="4275" y="2778"/>
                </a:lnTo>
                <a:lnTo>
                  <a:pt x="4242" y="2779"/>
                </a:lnTo>
                <a:lnTo>
                  <a:pt x="4213" y="2779"/>
                </a:lnTo>
                <a:lnTo>
                  <a:pt x="4185" y="2778"/>
                </a:lnTo>
                <a:lnTo>
                  <a:pt x="4159" y="2775"/>
                </a:lnTo>
                <a:lnTo>
                  <a:pt x="4159" y="2775"/>
                </a:lnTo>
                <a:lnTo>
                  <a:pt x="4131" y="2770"/>
                </a:lnTo>
                <a:lnTo>
                  <a:pt x="4103" y="2765"/>
                </a:lnTo>
                <a:lnTo>
                  <a:pt x="4077" y="2758"/>
                </a:lnTo>
                <a:lnTo>
                  <a:pt x="4052" y="2751"/>
                </a:lnTo>
                <a:lnTo>
                  <a:pt x="4052" y="2751"/>
                </a:lnTo>
                <a:lnTo>
                  <a:pt x="4009" y="2736"/>
                </a:lnTo>
                <a:lnTo>
                  <a:pt x="3965" y="2717"/>
                </a:lnTo>
                <a:lnTo>
                  <a:pt x="3965" y="2717"/>
                </a:lnTo>
                <a:lnTo>
                  <a:pt x="3925" y="2697"/>
                </a:lnTo>
                <a:lnTo>
                  <a:pt x="3874" y="2669"/>
                </a:lnTo>
                <a:lnTo>
                  <a:pt x="3846" y="2652"/>
                </a:lnTo>
                <a:lnTo>
                  <a:pt x="3815" y="2632"/>
                </a:lnTo>
                <a:lnTo>
                  <a:pt x="3782" y="2612"/>
                </a:lnTo>
                <a:lnTo>
                  <a:pt x="3748" y="2588"/>
                </a:lnTo>
                <a:lnTo>
                  <a:pt x="3712" y="2564"/>
                </a:lnTo>
                <a:lnTo>
                  <a:pt x="3676" y="2536"/>
                </a:lnTo>
                <a:lnTo>
                  <a:pt x="3638" y="2508"/>
                </a:lnTo>
                <a:lnTo>
                  <a:pt x="3601" y="2477"/>
                </a:lnTo>
                <a:lnTo>
                  <a:pt x="3563" y="2444"/>
                </a:lnTo>
                <a:lnTo>
                  <a:pt x="3526" y="2409"/>
                </a:lnTo>
                <a:lnTo>
                  <a:pt x="3488" y="2373"/>
                </a:lnTo>
                <a:lnTo>
                  <a:pt x="3451" y="2335"/>
                </a:lnTo>
                <a:lnTo>
                  <a:pt x="3451" y="2335"/>
                </a:lnTo>
                <a:lnTo>
                  <a:pt x="3394" y="2271"/>
                </a:lnTo>
                <a:lnTo>
                  <a:pt x="3342" y="2212"/>
                </a:lnTo>
                <a:lnTo>
                  <a:pt x="3295" y="2157"/>
                </a:lnTo>
                <a:lnTo>
                  <a:pt x="3253" y="2107"/>
                </a:lnTo>
                <a:lnTo>
                  <a:pt x="3215" y="2060"/>
                </a:lnTo>
                <a:lnTo>
                  <a:pt x="3180" y="2017"/>
                </a:lnTo>
                <a:lnTo>
                  <a:pt x="3120" y="1940"/>
                </a:lnTo>
                <a:lnTo>
                  <a:pt x="3120" y="1940"/>
                </a:lnTo>
                <a:lnTo>
                  <a:pt x="3138" y="1947"/>
                </a:lnTo>
                <a:lnTo>
                  <a:pt x="3156" y="1953"/>
                </a:lnTo>
                <a:lnTo>
                  <a:pt x="3175" y="1958"/>
                </a:lnTo>
                <a:lnTo>
                  <a:pt x="3193" y="1963"/>
                </a:lnTo>
                <a:lnTo>
                  <a:pt x="3211" y="1966"/>
                </a:lnTo>
                <a:lnTo>
                  <a:pt x="3229" y="1968"/>
                </a:lnTo>
                <a:lnTo>
                  <a:pt x="3262" y="1971"/>
                </a:lnTo>
                <a:lnTo>
                  <a:pt x="3289" y="1971"/>
                </a:lnTo>
                <a:lnTo>
                  <a:pt x="3312" y="1970"/>
                </a:lnTo>
                <a:lnTo>
                  <a:pt x="3332" y="1968"/>
                </a:lnTo>
                <a:lnTo>
                  <a:pt x="3332" y="1968"/>
                </a:lnTo>
                <a:lnTo>
                  <a:pt x="3336" y="1918"/>
                </a:lnTo>
                <a:lnTo>
                  <a:pt x="3338" y="1873"/>
                </a:lnTo>
                <a:lnTo>
                  <a:pt x="3340" y="1833"/>
                </a:lnTo>
                <a:lnTo>
                  <a:pt x="3346" y="1698"/>
                </a:lnTo>
                <a:lnTo>
                  <a:pt x="3346" y="1698"/>
                </a:lnTo>
                <a:lnTo>
                  <a:pt x="3349" y="1661"/>
                </a:lnTo>
                <a:lnTo>
                  <a:pt x="3351" y="1626"/>
                </a:lnTo>
                <a:lnTo>
                  <a:pt x="3352" y="1589"/>
                </a:lnTo>
                <a:lnTo>
                  <a:pt x="3352" y="1589"/>
                </a:lnTo>
                <a:lnTo>
                  <a:pt x="3340" y="1588"/>
                </a:lnTo>
                <a:lnTo>
                  <a:pt x="3307" y="1584"/>
                </a:lnTo>
                <a:lnTo>
                  <a:pt x="3285" y="1581"/>
                </a:lnTo>
                <a:lnTo>
                  <a:pt x="3260" y="1576"/>
                </a:lnTo>
                <a:lnTo>
                  <a:pt x="3233" y="1571"/>
                </a:lnTo>
                <a:lnTo>
                  <a:pt x="3206" y="1564"/>
                </a:lnTo>
                <a:lnTo>
                  <a:pt x="3176" y="1555"/>
                </a:lnTo>
                <a:lnTo>
                  <a:pt x="3147" y="1544"/>
                </a:lnTo>
                <a:lnTo>
                  <a:pt x="3120" y="1532"/>
                </a:lnTo>
                <a:lnTo>
                  <a:pt x="3106" y="1526"/>
                </a:lnTo>
                <a:lnTo>
                  <a:pt x="3093" y="1519"/>
                </a:lnTo>
                <a:lnTo>
                  <a:pt x="3081" y="1511"/>
                </a:lnTo>
                <a:lnTo>
                  <a:pt x="3070" y="1502"/>
                </a:lnTo>
                <a:lnTo>
                  <a:pt x="3058" y="1493"/>
                </a:lnTo>
                <a:lnTo>
                  <a:pt x="3049" y="1484"/>
                </a:lnTo>
                <a:lnTo>
                  <a:pt x="3040" y="1474"/>
                </a:lnTo>
                <a:lnTo>
                  <a:pt x="3032" y="1463"/>
                </a:lnTo>
                <a:lnTo>
                  <a:pt x="3025" y="1451"/>
                </a:lnTo>
                <a:lnTo>
                  <a:pt x="3019" y="1439"/>
                </a:lnTo>
                <a:lnTo>
                  <a:pt x="3019" y="1439"/>
                </a:lnTo>
                <a:lnTo>
                  <a:pt x="3030" y="1445"/>
                </a:lnTo>
                <a:lnTo>
                  <a:pt x="3042" y="1450"/>
                </a:lnTo>
                <a:lnTo>
                  <a:pt x="3059" y="1457"/>
                </a:lnTo>
                <a:lnTo>
                  <a:pt x="3081" y="1465"/>
                </a:lnTo>
                <a:lnTo>
                  <a:pt x="3106" y="1472"/>
                </a:lnTo>
                <a:lnTo>
                  <a:pt x="3136" y="1477"/>
                </a:lnTo>
                <a:lnTo>
                  <a:pt x="3152" y="1479"/>
                </a:lnTo>
                <a:lnTo>
                  <a:pt x="3169" y="1480"/>
                </a:lnTo>
                <a:lnTo>
                  <a:pt x="3169" y="1480"/>
                </a:lnTo>
                <a:lnTo>
                  <a:pt x="3201" y="1481"/>
                </a:lnTo>
                <a:lnTo>
                  <a:pt x="3234" y="1481"/>
                </a:lnTo>
                <a:lnTo>
                  <a:pt x="3266" y="1479"/>
                </a:lnTo>
                <a:lnTo>
                  <a:pt x="3295" y="1477"/>
                </a:lnTo>
                <a:lnTo>
                  <a:pt x="3340" y="1471"/>
                </a:lnTo>
                <a:lnTo>
                  <a:pt x="3357" y="1469"/>
                </a:lnTo>
                <a:lnTo>
                  <a:pt x="3357" y="1469"/>
                </a:lnTo>
                <a:lnTo>
                  <a:pt x="3359" y="1463"/>
                </a:lnTo>
                <a:lnTo>
                  <a:pt x="3361" y="1451"/>
                </a:lnTo>
                <a:lnTo>
                  <a:pt x="3364" y="1421"/>
                </a:lnTo>
                <a:lnTo>
                  <a:pt x="3367" y="1381"/>
                </a:lnTo>
                <a:lnTo>
                  <a:pt x="3369" y="1337"/>
                </a:lnTo>
                <a:lnTo>
                  <a:pt x="3373" y="1257"/>
                </a:lnTo>
                <a:lnTo>
                  <a:pt x="3375" y="1222"/>
                </a:lnTo>
                <a:lnTo>
                  <a:pt x="3375" y="1222"/>
                </a:lnTo>
                <a:lnTo>
                  <a:pt x="3376" y="1194"/>
                </a:lnTo>
                <a:lnTo>
                  <a:pt x="3377" y="1154"/>
                </a:lnTo>
                <a:lnTo>
                  <a:pt x="3377" y="1105"/>
                </a:lnTo>
                <a:lnTo>
                  <a:pt x="3377" y="1105"/>
                </a:lnTo>
                <a:lnTo>
                  <a:pt x="3369" y="1107"/>
                </a:lnTo>
                <a:lnTo>
                  <a:pt x="3359" y="1108"/>
                </a:lnTo>
                <a:lnTo>
                  <a:pt x="3338" y="1110"/>
                </a:lnTo>
                <a:lnTo>
                  <a:pt x="3315" y="1109"/>
                </a:lnTo>
                <a:lnTo>
                  <a:pt x="3290" y="1107"/>
                </a:lnTo>
                <a:lnTo>
                  <a:pt x="3264" y="1104"/>
                </a:lnTo>
                <a:lnTo>
                  <a:pt x="3236" y="1100"/>
                </a:lnTo>
                <a:lnTo>
                  <a:pt x="3208" y="1094"/>
                </a:lnTo>
                <a:lnTo>
                  <a:pt x="3178" y="1086"/>
                </a:lnTo>
                <a:lnTo>
                  <a:pt x="3178" y="1086"/>
                </a:lnTo>
                <a:lnTo>
                  <a:pt x="3158" y="1080"/>
                </a:lnTo>
                <a:lnTo>
                  <a:pt x="3135" y="1071"/>
                </a:lnTo>
                <a:lnTo>
                  <a:pt x="3112" y="1059"/>
                </a:lnTo>
                <a:lnTo>
                  <a:pt x="3088" y="1044"/>
                </a:lnTo>
                <a:lnTo>
                  <a:pt x="3064" y="1028"/>
                </a:lnTo>
                <a:lnTo>
                  <a:pt x="3053" y="1019"/>
                </a:lnTo>
                <a:lnTo>
                  <a:pt x="3043" y="1010"/>
                </a:lnTo>
                <a:lnTo>
                  <a:pt x="3034" y="999"/>
                </a:lnTo>
                <a:lnTo>
                  <a:pt x="3025" y="990"/>
                </a:lnTo>
                <a:lnTo>
                  <a:pt x="3017" y="980"/>
                </a:lnTo>
                <a:lnTo>
                  <a:pt x="3010" y="969"/>
                </a:lnTo>
                <a:lnTo>
                  <a:pt x="3010" y="969"/>
                </a:lnTo>
                <a:lnTo>
                  <a:pt x="3022" y="974"/>
                </a:lnTo>
                <a:lnTo>
                  <a:pt x="3035" y="978"/>
                </a:lnTo>
                <a:lnTo>
                  <a:pt x="3052" y="984"/>
                </a:lnTo>
                <a:lnTo>
                  <a:pt x="3075" y="990"/>
                </a:lnTo>
                <a:lnTo>
                  <a:pt x="3101" y="996"/>
                </a:lnTo>
                <a:lnTo>
                  <a:pt x="3132" y="1003"/>
                </a:lnTo>
                <a:lnTo>
                  <a:pt x="3167" y="1008"/>
                </a:lnTo>
                <a:lnTo>
                  <a:pt x="3167" y="1008"/>
                </a:lnTo>
                <a:lnTo>
                  <a:pt x="3187" y="1010"/>
                </a:lnTo>
                <a:lnTo>
                  <a:pt x="3207" y="1011"/>
                </a:lnTo>
                <a:lnTo>
                  <a:pt x="3226" y="1012"/>
                </a:lnTo>
                <a:lnTo>
                  <a:pt x="3245" y="1012"/>
                </a:lnTo>
                <a:lnTo>
                  <a:pt x="3283" y="1010"/>
                </a:lnTo>
                <a:lnTo>
                  <a:pt x="3317" y="1007"/>
                </a:lnTo>
                <a:lnTo>
                  <a:pt x="3346" y="1001"/>
                </a:lnTo>
                <a:lnTo>
                  <a:pt x="3369" y="996"/>
                </a:lnTo>
                <a:lnTo>
                  <a:pt x="3377" y="993"/>
                </a:lnTo>
                <a:lnTo>
                  <a:pt x="3383" y="991"/>
                </a:lnTo>
                <a:lnTo>
                  <a:pt x="3388" y="988"/>
                </a:lnTo>
                <a:lnTo>
                  <a:pt x="3390" y="985"/>
                </a:lnTo>
                <a:lnTo>
                  <a:pt x="3390" y="985"/>
                </a:lnTo>
                <a:lnTo>
                  <a:pt x="3392" y="959"/>
                </a:lnTo>
                <a:lnTo>
                  <a:pt x="3393" y="925"/>
                </a:lnTo>
                <a:lnTo>
                  <a:pt x="3394" y="848"/>
                </a:lnTo>
                <a:lnTo>
                  <a:pt x="3394" y="750"/>
                </a:lnTo>
                <a:lnTo>
                  <a:pt x="3394" y="750"/>
                </a:lnTo>
                <a:lnTo>
                  <a:pt x="3399" y="686"/>
                </a:lnTo>
                <a:lnTo>
                  <a:pt x="3400" y="642"/>
                </a:lnTo>
                <a:lnTo>
                  <a:pt x="3400" y="627"/>
                </a:lnTo>
                <a:lnTo>
                  <a:pt x="3399" y="623"/>
                </a:lnTo>
                <a:lnTo>
                  <a:pt x="3398" y="622"/>
                </a:lnTo>
                <a:lnTo>
                  <a:pt x="3398" y="622"/>
                </a:lnTo>
                <a:lnTo>
                  <a:pt x="3392" y="622"/>
                </a:lnTo>
                <a:lnTo>
                  <a:pt x="3381" y="623"/>
                </a:lnTo>
                <a:lnTo>
                  <a:pt x="3368" y="623"/>
                </a:lnTo>
                <a:lnTo>
                  <a:pt x="3354" y="622"/>
                </a:lnTo>
                <a:lnTo>
                  <a:pt x="3336" y="620"/>
                </a:lnTo>
                <a:lnTo>
                  <a:pt x="3317" y="617"/>
                </a:lnTo>
                <a:lnTo>
                  <a:pt x="3297" y="612"/>
                </a:lnTo>
                <a:lnTo>
                  <a:pt x="3274" y="607"/>
                </a:lnTo>
                <a:lnTo>
                  <a:pt x="3251" y="599"/>
                </a:lnTo>
                <a:lnTo>
                  <a:pt x="3226" y="589"/>
                </a:lnTo>
                <a:lnTo>
                  <a:pt x="3200" y="578"/>
                </a:lnTo>
                <a:lnTo>
                  <a:pt x="3175" y="564"/>
                </a:lnTo>
                <a:lnTo>
                  <a:pt x="3149" y="548"/>
                </a:lnTo>
                <a:lnTo>
                  <a:pt x="3123" y="529"/>
                </a:lnTo>
                <a:lnTo>
                  <a:pt x="3110" y="519"/>
                </a:lnTo>
                <a:lnTo>
                  <a:pt x="3097" y="508"/>
                </a:lnTo>
                <a:lnTo>
                  <a:pt x="3085" y="495"/>
                </a:lnTo>
                <a:lnTo>
                  <a:pt x="3073" y="483"/>
                </a:lnTo>
                <a:lnTo>
                  <a:pt x="3073" y="483"/>
                </a:lnTo>
                <a:lnTo>
                  <a:pt x="3071" y="481"/>
                </a:lnTo>
                <a:lnTo>
                  <a:pt x="3065" y="476"/>
                </a:lnTo>
                <a:lnTo>
                  <a:pt x="3059" y="467"/>
                </a:lnTo>
                <a:lnTo>
                  <a:pt x="3056" y="461"/>
                </a:lnTo>
                <a:lnTo>
                  <a:pt x="3053" y="454"/>
                </a:lnTo>
                <a:lnTo>
                  <a:pt x="3051" y="447"/>
                </a:lnTo>
                <a:lnTo>
                  <a:pt x="3050" y="439"/>
                </a:lnTo>
                <a:lnTo>
                  <a:pt x="3049" y="430"/>
                </a:lnTo>
                <a:lnTo>
                  <a:pt x="3050" y="420"/>
                </a:lnTo>
                <a:lnTo>
                  <a:pt x="3053" y="410"/>
                </a:lnTo>
                <a:lnTo>
                  <a:pt x="3056" y="398"/>
                </a:lnTo>
                <a:lnTo>
                  <a:pt x="3062" y="386"/>
                </a:lnTo>
                <a:lnTo>
                  <a:pt x="3071" y="373"/>
                </a:lnTo>
                <a:lnTo>
                  <a:pt x="3071" y="373"/>
                </a:lnTo>
                <a:lnTo>
                  <a:pt x="2806" y="254"/>
                </a:lnTo>
                <a:lnTo>
                  <a:pt x="2806" y="254"/>
                </a:lnTo>
                <a:lnTo>
                  <a:pt x="2815" y="245"/>
                </a:lnTo>
                <a:lnTo>
                  <a:pt x="2824" y="234"/>
                </a:lnTo>
                <a:lnTo>
                  <a:pt x="2834" y="219"/>
                </a:lnTo>
                <a:lnTo>
                  <a:pt x="2845" y="203"/>
                </a:lnTo>
                <a:lnTo>
                  <a:pt x="2850" y="194"/>
                </a:lnTo>
                <a:lnTo>
                  <a:pt x="2854" y="185"/>
                </a:lnTo>
                <a:lnTo>
                  <a:pt x="2858" y="174"/>
                </a:lnTo>
                <a:lnTo>
                  <a:pt x="2861" y="164"/>
                </a:lnTo>
                <a:lnTo>
                  <a:pt x="2863" y="154"/>
                </a:lnTo>
                <a:lnTo>
                  <a:pt x="2863" y="144"/>
                </a:lnTo>
                <a:lnTo>
                  <a:pt x="2863" y="144"/>
                </a:lnTo>
                <a:lnTo>
                  <a:pt x="2863" y="132"/>
                </a:lnTo>
                <a:lnTo>
                  <a:pt x="2860" y="122"/>
                </a:lnTo>
                <a:lnTo>
                  <a:pt x="2855" y="112"/>
                </a:lnTo>
                <a:lnTo>
                  <a:pt x="2849" y="103"/>
                </a:lnTo>
                <a:lnTo>
                  <a:pt x="2841" y="94"/>
                </a:lnTo>
                <a:lnTo>
                  <a:pt x="2830" y="86"/>
                </a:lnTo>
                <a:lnTo>
                  <a:pt x="2820" y="79"/>
                </a:lnTo>
                <a:lnTo>
                  <a:pt x="2808" y="73"/>
                </a:lnTo>
                <a:lnTo>
                  <a:pt x="2795" y="68"/>
                </a:lnTo>
                <a:lnTo>
                  <a:pt x="2781" y="64"/>
                </a:lnTo>
                <a:lnTo>
                  <a:pt x="2767" y="60"/>
                </a:lnTo>
                <a:lnTo>
                  <a:pt x="2753" y="58"/>
                </a:lnTo>
                <a:lnTo>
                  <a:pt x="2738" y="56"/>
                </a:lnTo>
                <a:lnTo>
                  <a:pt x="2723" y="56"/>
                </a:lnTo>
                <a:lnTo>
                  <a:pt x="2709" y="57"/>
                </a:lnTo>
                <a:lnTo>
                  <a:pt x="2694" y="59"/>
                </a:lnTo>
                <a:lnTo>
                  <a:pt x="2694" y="59"/>
                </a:lnTo>
                <a:lnTo>
                  <a:pt x="2681" y="62"/>
                </a:lnTo>
                <a:lnTo>
                  <a:pt x="2669" y="66"/>
                </a:lnTo>
                <a:lnTo>
                  <a:pt x="2656" y="71"/>
                </a:lnTo>
                <a:lnTo>
                  <a:pt x="2644" y="77"/>
                </a:lnTo>
                <a:lnTo>
                  <a:pt x="2634" y="84"/>
                </a:lnTo>
                <a:lnTo>
                  <a:pt x="2623" y="92"/>
                </a:lnTo>
                <a:lnTo>
                  <a:pt x="2604" y="107"/>
                </a:lnTo>
                <a:lnTo>
                  <a:pt x="2589" y="122"/>
                </a:lnTo>
                <a:lnTo>
                  <a:pt x="2578" y="134"/>
                </a:lnTo>
                <a:lnTo>
                  <a:pt x="2569" y="147"/>
                </a:lnTo>
                <a:lnTo>
                  <a:pt x="2238" y="0"/>
                </a:lnTo>
                <a:lnTo>
                  <a:pt x="1977" y="263"/>
                </a:lnTo>
                <a:lnTo>
                  <a:pt x="1977" y="263"/>
                </a:lnTo>
                <a:lnTo>
                  <a:pt x="1972" y="268"/>
                </a:lnTo>
                <a:lnTo>
                  <a:pt x="1966" y="280"/>
                </a:lnTo>
                <a:lnTo>
                  <a:pt x="1963" y="287"/>
                </a:lnTo>
                <a:lnTo>
                  <a:pt x="1961" y="295"/>
                </a:lnTo>
                <a:lnTo>
                  <a:pt x="1960" y="304"/>
                </a:lnTo>
                <a:lnTo>
                  <a:pt x="1960" y="313"/>
                </a:lnTo>
                <a:lnTo>
                  <a:pt x="1964" y="337"/>
                </a:lnTo>
                <a:lnTo>
                  <a:pt x="1964" y="337"/>
                </a:lnTo>
                <a:lnTo>
                  <a:pt x="1964" y="343"/>
                </a:lnTo>
                <a:lnTo>
                  <a:pt x="1963" y="349"/>
                </a:lnTo>
                <a:lnTo>
                  <a:pt x="1962" y="354"/>
                </a:lnTo>
                <a:lnTo>
                  <a:pt x="1961" y="358"/>
                </a:lnTo>
                <a:lnTo>
                  <a:pt x="1957" y="366"/>
                </a:lnTo>
                <a:lnTo>
                  <a:pt x="1955" y="370"/>
                </a:lnTo>
                <a:lnTo>
                  <a:pt x="1955" y="370"/>
                </a:lnTo>
                <a:lnTo>
                  <a:pt x="1936" y="392"/>
                </a:lnTo>
                <a:lnTo>
                  <a:pt x="1916" y="416"/>
                </a:lnTo>
                <a:lnTo>
                  <a:pt x="1896" y="438"/>
                </a:lnTo>
                <a:lnTo>
                  <a:pt x="1876" y="461"/>
                </a:lnTo>
                <a:lnTo>
                  <a:pt x="1876" y="461"/>
                </a:lnTo>
                <a:lnTo>
                  <a:pt x="1847" y="499"/>
                </a:lnTo>
                <a:lnTo>
                  <a:pt x="1836" y="515"/>
                </a:lnTo>
                <a:lnTo>
                  <a:pt x="1828" y="527"/>
                </a:lnTo>
                <a:lnTo>
                  <a:pt x="1828" y="527"/>
                </a:lnTo>
                <a:lnTo>
                  <a:pt x="1819" y="542"/>
                </a:lnTo>
                <a:lnTo>
                  <a:pt x="1811" y="558"/>
                </a:lnTo>
                <a:lnTo>
                  <a:pt x="1799" y="583"/>
                </a:lnTo>
                <a:lnTo>
                  <a:pt x="1789" y="607"/>
                </a:lnTo>
                <a:lnTo>
                  <a:pt x="1781" y="628"/>
                </a:lnTo>
                <a:lnTo>
                  <a:pt x="1781" y="628"/>
                </a:lnTo>
                <a:lnTo>
                  <a:pt x="1780" y="631"/>
                </a:lnTo>
                <a:lnTo>
                  <a:pt x="1778" y="642"/>
                </a:lnTo>
                <a:lnTo>
                  <a:pt x="1778" y="649"/>
                </a:lnTo>
                <a:lnTo>
                  <a:pt x="1777" y="657"/>
                </a:lnTo>
                <a:lnTo>
                  <a:pt x="1778" y="666"/>
                </a:lnTo>
                <a:lnTo>
                  <a:pt x="1780" y="677"/>
                </a:lnTo>
                <a:lnTo>
                  <a:pt x="1784" y="690"/>
                </a:lnTo>
                <a:lnTo>
                  <a:pt x="1789" y="703"/>
                </a:lnTo>
                <a:lnTo>
                  <a:pt x="1797" y="716"/>
                </a:lnTo>
                <a:lnTo>
                  <a:pt x="1807" y="732"/>
                </a:lnTo>
                <a:lnTo>
                  <a:pt x="1819" y="748"/>
                </a:lnTo>
                <a:lnTo>
                  <a:pt x="1833" y="764"/>
                </a:lnTo>
                <a:lnTo>
                  <a:pt x="1852" y="782"/>
                </a:lnTo>
                <a:lnTo>
                  <a:pt x="1874" y="800"/>
                </a:lnTo>
                <a:lnTo>
                  <a:pt x="1881" y="806"/>
                </a:lnTo>
                <a:lnTo>
                  <a:pt x="1881" y="806"/>
                </a:lnTo>
                <a:lnTo>
                  <a:pt x="1894" y="789"/>
                </a:lnTo>
                <a:lnTo>
                  <a:pt x="1905" y="800"/>
                </a:lnTo>
                <a:lnTo>
                  <a:pt x="1905" y="800"/>
                </a:lnTo>
                <a:lnTo>
                  <a:pt x="1914" y="809"/>
                </a:lnTo>
                <a:lnTo>
                  <a:pt x="1926" y="820"/>
                </a:lnTo>
                <a:lnTo>
                  <a:pt x="1941" y="832"/>
                </a:lnTo>
                <a:lnTo>
                  <a:pt x="1957" y="842"/>
                </a:lnTo>
                <a:lnTo>
                  <a:pt x="1957" y="842"/>
                </a:lnTo>
                <a:lnTo>
                  <a:pt x="1959" y="835"/>
                </a:lnTo>
                <a:lnTo>
                  <a:pt x="1964" y="815"/>
                </a:lnTo>
                <a:lnTo>
                  <a:pt x="1969" y="802"/>
                </a:lnTo>
                <a:lnTo>
                  <a:pt x="1975" y="789"/>
                </a:lnTo>
                <a:lnTo>
                  <a:pt x="1983" y="775"/>
                </a:lnTo>
                <a:lnTo>
                  <a:pt x="1991" y="760"/>
                </a:lnTo>
                <a:lnTo>
                  <a:pt x="1991" y="760"/>
                </a:lnTo>
                <a:lnTo>
                  <a:pt x="2000" y="748"/>
                </a:lnTo>
                <a:lnTo>
                  <a:pt x="2011" y="736"/>
                </a:lnTo>
                <a:lnTo>
                  <a:pt x="2025" y="722"/>
                </a:lnTo>
                <a:lnTo>
                  <a:pt x="2038" y="709"/>
                </a:lnTo>
                <a:lnTo>
                  <a:pt x="2052" y="697"/>
                </a:lnTo>
                <a:lnTo>
                  <a:pt x="2065" y="686"/>
                </a:lnTo>
                <a:lnTo>
                  <a:pt x="2080" y="675"/>
                </a:lnTo>
                <a:lnTo>
                  <a:pt x="2092" y="667"/>
                </a:lnTo>
                <a:lnTo>
                  <a:pt x="2092" y="667"/>
                </a:lnTo>
                <a:lnTo>
                  <a:pt x="2107" y="658"/>
                </a:lnTo>
                <a:lnTo>
                  <a:pt x="2123" y="650"/>
                </a:lnTo>
                <a:lnTo>
                  <a:pt x="2138" y="643"/>
                </a:lnTo>
                <a:lnTo>
                  <a:pt x="2154" y="636"/>
                </a:lnTo>
                <a:lnTo>
                  <a:pt x="2170" y="632"/>
                </a:lnTo>
                <a:lnTo>
                  <a:pt x="2186" y="629"/>
                </a:lnTo>
                <a:lnTo>
                  <a:pt x="2202" y="626"/>
                </a:lnTo>
                <a:lnTo>
                  <a:pt x="2220" y="625"/>
                </a:lnTo>
                <a:lnTo>
                  <a:pt x="2220" y="625"/>
                </a:lnTo>
                <a:lnTo>
                  <a:pt x="2234" y="626"/>
                </a:lnTo>
                <a:lnTo>
                  <a:pt x="2247" y="627"/>
                </a:lnTo>
                <a:lnTo>
                  <a:pt x="2261" y="630"/>
                </a:lnTo>
                <a:lnTo>
                  <a:pt x="2272" y="635"/>
                </a:lnTo>
                <a:lnTo>
                  <a:pt x="2283" y="642"/>
                </a:lnTo>
                <a:lnTo>
                  <a:pt x="2295" y="649"/>
                </a:lnTo>
                <a:lnTo>
                  <a:pt x="2305" y="658"/>
                </a:lnTo>
                <a:lnTo>
                  <a:pt x="2316" y="668"/>
                </a:lnTo>
                <a:lnTo>
                  <a:pt x="2316" y="668"/>
                </a:lnTo>
                <a:lnTo>
                  <a:pt x="2323" y="676"/>
                </a:lnTo>
                <a:lnTo>
                  <a:pt x="2330" y="687"/>
                </a:lnTo>
                <a:lnTo>
                  <a:pt x="2336" y="698"/>
                </a:lnTo>
                <a:lnTo>
                  <a:pt x="2342" y="710"/>
                </a:lnTo>
                <a:lnTo>
                  <a:pt x="2347" y="722"/>
                </a:lnTo>
                <a:lnTo>
                  <a:pt x="2351" y="736"/>
                </a:lnTo>
                <a:lnTo>
                  <a:pt x="2355" y="750"/>
                </a:lnTo>
                <a:lnTo>
                  <a:pt x="2358" y="764"/>
                </a:lnTo>
                <a:lnTo>
                  <a:pt x="2360" y="778"/>
                </a:lnTo>
                <a:lnTo>
                  <a:pt x="2362" y="792"/>
                </a:lnTo>
                <a:lnTo>
                  <a:pt x="2363" y="805"/>
                </a:lnTo>
                <a:lnTo>
                  <a:pt x="2364" y="818"/>
                </a:lnTo>
                <a:lnTo>
                  <a:pt x="2364" y="831"/>
                </a:lnTo>
                <a:lnTo>
                  <a:pt x="2363" y="842"/>
                </a:lnTo>
                <a:lnTo>
                  <a:pt x="2361" y="852"/>
                </a:lnTo>
                <a:lnTo>
                  <a:pt x="2359" y="861"/>
                </a:lnTo>
                <a:lnTo>
                  <a:pt x="2359" y="861"/>
                </a:lnTo>
                <a:lnTo>
                  <a:pt x="2330" y="843"/>
                </a:lnTo>
                <a:lnTo>
                  <a:pt x="2330" y="843"/>
                </a:lnTo>
                <a:lnTo>
                  <a:pt x="2309" y="832"/>
                </a:lnTo>
                <a:lnTo>
                  <a:pt x="2281" y="822"/>
                </a:lnTo>
                <a:lnTo>
                  <a:pt x="2266" y="815"/>
                </a:lnTo>
                <a:lnTo>
                  <a:pt x="2251" y="811"/>
                </a:lnTo>
                <a:lnTo>
                  <a:pt x="2233" y="807"/>
                </a:lnTo>
                <a:lnTo>
                  <a:pt x="2215" y="803"/>
                </a:lnTo>
                <a:lnTo>
                  <a:pt x="2195" y="801"/>
                </a:lnTo>
                <a:lnTo>
                  <a:pt x="2175" y="800"/>
                </a:lnTo>
                <a:lnTo>
                  <a:pt x="2154" y="800"/>
                </a:lnTo>
                <a:lnTo>
                  <a:pt x="2132" y="802"/>
                </a:lnTo>
                <a:lnTo>
                  <a:pt x="2109" y="805"/>
                </a:lnTo>
                <a:lnTo>
                  <a:pt x="2086" y="810"/>
                </a:lnTo>
                <a:lnTo>
                  <a:pt x="2062" y="818"/>
                </a:lnTo>
                <a:lnTo>
                  <a:pt x="2037" y="829"/>
                </a:lnTo>
                <a:lnTo>
                  <a:pt x="2037" y="829"/>
                </a:lnTo>
                <a:lnTo>
                  <a:pt x="1995" y="847"/>
                </a:lnTo>
                <a:lnTo>
                  <a:pt x="1967" y="859"/>
                </a:lnTo>
                <a:lnTo>
                  <a:pt x="1936" y="872"/>
                </a:lnTo>
                <a:lnTo>
                  <a:pt x="1900" y="886"/>
                </a:lnTo>
                <a:lnTo>
                  <a:pt x="1860" y="900"/>
                </a:lnTo>
                <a:lnTo>
                  <a:pt x="1814" y="916"/>
                </a:lnTo>
                <a:lnTo>
                  <a:pt x="1764" y="931"/>
                </a:lnTo>
                <a:lnTo>
                  <a:pt x="1764" y="931"/>
                </a:lnTo>
                <a:lnTo>
                  <a:pt x="1737" y="938"/>
                </a:lnTo>
                <a:lnTo>
                  <a:pt x="1725" y="940"/>
                </a:lnTo>
                <a:lnTo>
                  <a:pt x="1713" y="941"/>
                </a:lnTo>
                <a:lnTo>
                  <a:pt x="1701" y="941"/>
                </a:lnTo>
                <a:lnTo>
                  <a:pt x="1691" y="941"/>
                </a:lnTo>
                <a:lnTo>
                  <a:pt x="1681" y="940"/>
                </a:lnTo>
                <a:lnTo>
                  <a:pt x="1672" y="938"/>
                </a:lnTo>
                <a:lnTo>
                  <a:pt x="1664" y="935"/>
                </a:lnTo>
                <a:lnTo>
                  <a:pt x="1655" y="930"/>
                </a:lnTo>
                <a:lnTo>
                  <a:pt x="1649" y="925"/>
                </a:lnTo>
                <a:lnTo>
                  <a:pt x="1642" y="919"/>
                </a:lnTo>
                <a:lnTo>
                  <a:pt x="1637" y="912"/>
                </a:lnTo>
                <a:lnTo>
                  <a:pt x="1633" y="902"/>
                </a:lnTo>
                <a:lnTo>
                  <a:pt x="1629" y="892"/>
                </a:lnTo>
                <a:lnTo>
                  <a:pt x="1626" y="881"/>
                </a:lnTo>
                <a:lnTo>
                  <a:pt x="1626" y="881"/>
                </a:lnTo>
                <a:lnTo>
                  <a:pt x="1624" y="871"/>
                </a:lnTo>
                <a:lnTo>
                  <a:pt x="1623" y="860"/>
                </a:lnTo>
                <a:lnTo>
                  <a:pt x="1623" y="851"/>
                </a:lnTo>
                <a:lnTo>
                  <a:pt x="1623" y="842"/>
                </a:lnTo>
                <a:lnTo>
                  <a:pt x="1625" y="826"/>
                </a:lnTo>
                <a:lnTo>
                  <a:pt x="1629" y="811"/>
                </a:lnTo>
                <a:lnTo>
                  <a:pt x="1633" y="800"/>
                </a:lnTo>
                <a:lnTo>
                  <a:pt x="1636" y="792"/>
                </a:lnTo>
                <a:lnTo>
                  <a:pt x="1640" y="784"/>
                </a:lnTo>
                <a:lnTo>
                  <a:pt x="1640" y="784"/>
                </a:lnTo>
                <a:lnTo>
                  <a:pt x="1636" y="785"/>
                </a:lnTo>
                <a:lnTo>
                  <a:pt x="1626" y="788"/>
                </a:lnTo>
                <a:lnTo>
                  <a:pt x="1610" y="794"/>
                </a:lnTo>
                <a:lnTo>
                  <a:pt x="1601" y="797"/>
                </a:lnTo>
                <a:lnTo>
                  <a:pt x="1592" y="802"/>
                </a:lnTo>
                <a:lnTo>
                  <a:pt x="1582" y="808"/>
                </a:lnTo>
                <a:lnTo>
                  <a:pt x="1573" y="814"/>
                </a:lnTo>
                <a:lnTo>
                  <a:pt x="1563" y="823"/>
                </a:lnTo>
                <a:lnTo>
                  <a:pt x="1554" y="832"/>
                </a:lnTo>
                <a:lnTo>
                  <a:pt x="1546" y="842"/>
                </a:lnTo>
                <a:lnTo>
                  <a:pt x="1539" y="853"/>
                </a:lnTo>
                <a:lnTo>
                  <a:pt x="1533" y="867"/>
                </a:lnTo>
                <a:lnTo>
                  <a:pt x="1528" y="881"/>
                </a:lnTo>
                <a:lnTo>
                  <a:pt x="1528" y="881"/>
                </a:lnTo>
                <a:lnTo>
                  <a:pt x="1525" y="896"/>
                </a:lnTo>
                <a:lnTo>
                  <a:pt x="1523" y="912"/>
                </a:lnTo>
                <a:lnTo>
                  <a:pt x="1523" y="927"/>
                </a:lnTo>
                <a:lnTo>
                  <a:pt x="1523" y="941"/>
                </a:lnTo>
                <a:lnTo>
                  <a:pt x="1524" y="954"/>
                </a:lnTo>
                <a:lnTo>
                  <a:pt x="1527" y="969"/>
                </a:lnTo>
                <a:lnTo>
                  <a:pt x="1531" y="981"/>
                </a:lnTo>
                <a:lnTo>
                  <a:pt x="1536" y="993"/>
                </a:lnTo>
                <a:lnTo>
                  <a:pt x="1542" y="1006"/>
                </a:lnTo>
                <a:lnTo>
                  <a:pt x="1549" y="1016"/>
                </a:lnTo>
                <a:lnTo>
                  <a:pt x="1557" y="1026"/>
                </a:lnTo>
                <a:lnTo>
                  <a:pt x="1568" y="1034"/>
                </a:lnTo>
                <a:lnTo>
                  <a:pt x="1578" y="1042"/>
                </a:lnTo>
                <a:lnTo>
                  <a:pt x="1590" y="1049"/>
                </a:lnTo>
                <a:lnTo>
                  <a:pt x="1602" y="1055"/>
                </a:lnTo>
                <a:lnTo>
                  <a:pt x="1617" y="1059"/>
                </a:lnTo>
                <a:lnTo>
                  <a:pt x="1617" y="1059"/>
                </a:lnTo>
                <a:lnTo>
                  <a:pt x="1630" y="1062"/>
                </a:lnTo>
                <a:lnTo>
                  <a:pt x="1644" y="1063"/>
                </a:lnTo>
                <a:lnTo>
                  <a:pt x="1660" y="1062"/>
                </a:lnTo>
                <a:lnTo>
                  <a:pt x="1676" y="1060"/>
                </a:lnTo>
                <a:lnTo>
                  <a:pt x="1692" y="1058"/>
                </a:lnTo>
                <a:lnTo>
                  <a:pt x="1710" y="1054"/>
                </a:lnTo>
                <a:lnTo>
                  <a:pt x="1727" y="1049"/>
                </a:lnTo>
                <a:lnTo>
                  <a:pt x="1744" y="1043"/>
                </a:lnTo>
                <a:lnTo>
                  <a:pt x="1779" y="1029"/>
                </a:lnTo>
                <a:lnTo>
                  <a:pt x="1815" y="1014"/>
                </a:lnTo>
                <a:lnTo>
                  <a:pt x="1849" y="997"/>
                </a:lnTo>
                <a:lnTo>
                  <a:pt x="1880" y="981"/>
                </a:lnTo>
                <a:lnTo>
                  <a:pt x="1880" y="981"/>
                </a:lnTo>
                <a:lnTo>
                  <a:pt x="1942" y="949"/>
                </a:lnTo>
                <a:lnTo>
                  <a:pt x="1979" y="931"/>
                </a:lnTo>
                <a:lnTo>
                  <a:pt x="2013" y="915"/>
                </a:lnTo>
                <a:lnTo>
                  <a:pt x="2013" y="915"/>
                </a:lnTo>
                <a:lnTo>
                  <a:pt x="2041" y="903"/>
                </a:lnTo>
                <a:lnTo>
                  <a:pt x="2054" y="899"/>
                </a:lnTo>
                <a:lnTo>
                  <a:pt x="2068" y="895"/>
                </a:lnTo>
                <a:lnTo>
                  <a:pt x="2081" y="892"/>
                </a:lnTo>
                <a:lnTo>
                  <a:pt x="2093" y="890"/>
                </a:lnTo>
                <a:lnTo>
                  <a:pt x="2105" y="888"/>
                </a:lnTo>
                <a:lnTo>
                  <a:pt x="2119" y="888"/>
                </a:lnTo>
                <a:lnTo>
                  <a:pt x="2131" y="888"/>
                </a:lnTo>
                <a:lnTo>
                  <a:pt x="2143" y="889"/>
                </a:lnTo>
                <a:lnTo>
                  <a:pt x="2156" y="891"/>
                </a:lnTo>
                <a:lnTo>
                  <a:pt x="2170" y="893"/>
                </a:lnTo>
                <a:lnTo>
                  <a:pt x="2183" y="897"/>
                </a:lnTo>
                <a:lnTo>
                  <a:pt x="2196" y="901"/>
                </a:lnTo>
                <a:lnTo>
                  <a:pt x="2211" y="907"/>
                </a:lnTo>
                <a:lnTo>
                  <a:pt x="2226" y="914"/>
                </a:lnTo>
                <a:lnTo>
                  <a:pt x="2226" y="914"/>
                </a:lnTo>
                <a:lnTo>
                  <a:pt x="2246" y="924"/>
                </a:lnTo>
                <a:lnTo>
                  <a:pt x="2265" y="934"/>
                </a:lnTo>
                <a:lnTo>
                  <a:pt x="2281" y="945"/>
                </a:lnTo>
                <a:lnTo>
                  <a:pt x="2295" y="954"/>
                </a:lnTo>
                <a:lnTo>
                  <a:pt x="2305" y="964"/>
                </a:lnTo>
                <a:lnTo>
                  <a:pt x="2312" y="971"/>
                </a:lnTo>
                <a:lnTo>
                  <a:pt x="2319" y="977"/>
                </a:lnTo>
                <a:lnTo>
                  <a:pt x="2319" y="977"/>
                </a:lnTo>
                <a:lnTo>
                  <a:pt x="2317" y="980"/>
                </a:lnTo>
                <a:lnTo>
                  <a:pt x="2313" y="987"/>
                </a:lnTo>
                <a:lnTo>
                  <a:pt x="2305" y="998"/>
                </a:lnTo>
                <a:lnTo>
                  <a:pt x="2300" y="1005"/>
                </a:lnTo>
                <a:lnTo>
                  <a:pt x="2293" y="1012"/>
                </a:lnTo>
                <a:lnTo>
                  <a:pt x="2285" y="1018"/>
                </a:lnTo>
                <a:lnTo>
                  <a:pt x="2276" y="1025"/>
                </a:lnTo>
                <a:lnTo>
                  <a:pt x="2267" y="1031"/>
                </a:lnTo>
                <a:lnTo>
                  <a:pt x="2255" y="1036"/>
                </a:lnTo>
                <a:lnTo>
                  <a:pt x="2242" y="1041"/>
                </a:lnTo>
                <a:lnTo>
                  <a:pt x="2228" y="1045"/>
                </a:lnTo>
                <a:lnTo>
                  <a:pt x="2212" y="1049"/>
                </a:lnTo>
                <a:lnTo>
                  <a:pt x="2194" y="1050"/>
                </a:lnTo>
                <a:lnTo>
                  <a:pt x="2194" y="1050"/>
                </a:lnTo>
                <a:lnTo>
                  <a:pt x="2180" y="1051"/>
                </a:lnTo>
                <a:lnTo>
                  <a:pt x="2166" y="1050"/>
                </a:lnTo>
                <a:lnTo>
                  <a:pt x="2152" y="1048"/>
                </a:lnTo>
                <a:lnTo>
                  <a:pt x="2139" y="1044"/>
                </a:lnTo>
                <a:lnTo>
                  <a:pt x="2127" y="1041"/>
                </a:lnTo>
                <a:lnTo>
                  <a:pt x="2115" y="1037"/>
                </a:lnTo>
                <a:lnTo>
                  <a:pt x="2103" y="1033"/>
                </a:lnTo>
                <a:lnTo>
                  <a:pt x="2092" y="1027"/>
                </a:lnTo>
                <a:lnTo>
                  <a:pt x="2082" y="1022"/>
                </a:lnTo>
                <a:lnTo>
                  <a:pt x="2073" y="1016"/>
                </a:lnTo>
                <a:lnTo>
                  <a:pt x="2064" y="1010"/>
                </a:lnTo>
                <a:lnTo>
                  <a:pt x="2056" y="1003"/>
                </a:lnTo>
                <a:lnTo>
                  <a:pt x="2048" y="995"/>
                </a:lnTo>
                <a:lnTo>
                  <a:pt x="2042" y="988"/>
                </a:lnTo>
                <a:lnTo>
                  <a:pt x="2036" y="981"/>
                </a:lnTo>
                <a:lnTo>
                  <a:pt x="2031" y="974"/>
                </a:lnTo>
                <a:lnTo>
                  <a:pt x="2031" y="974"/>
                </a:lnTo>
                <a:lnTo>
                  <a:pt x="2022" y="996"/>
                </a:lnTo>
                <a:lnTo>
                  <a:pt x="2013" y="1014"/>
                </a:lnTo>
                <a:lnTo>
                  <a:pt x="2007" y="1027"/>
                </a:lnTo>
                <a:lnTo>
                  <a:pt x="2007" y="1027"/>
                </a:lnTo>
                <a:lnTo>
                  <a:pt x="2003" y="1035"/>
                </a:lnTo>
                <a:lnTo>
                  <a:pt x="2000" y="1042"/>
                </a:lnTo>
                <a:lnTo>
                  <a:pt x="1998" y="1051"/>
                </a:lnTo>
                <a:lnTo>
                  <a:pt x="1997" y="1057"/>
                </a:lnTo>
                <a:lnTo>
                  <a:pt x="1997" y="1064"/>
                </a:lnTo>
                <a:lnTo>
                  <a:pt x="1997" y="1070"/>
                </a:lnTo>
                <a:lnTo>
                  <a:pt x="1999" y="1082"/>
                </a:lnTo>
                <a:lnTo>
                  <a:pt x="2001" y="1094"/>
                </a:lnTo>
                <a:lnTo>
                  <a:pt x="2003" y="1104"/>
                </a:lnTo>
                <a:lnTo>
                  <a:pt x="2004" y="1115"/>
                </a:lnTo>
                <a:lnTo>
                  <a:pt x="2003" y="1121"/>
                </a:lnTo>
                <a:lnTo>
                  <a:pt x="2001" y="1126"/>
                </a:lnTo>
                <a:lnTo>
                  <a:pt x="2001" y="1126"/>
                </a:lnTo>
                <a:lnTo>
                  <a:pt x="1999" y="1132"/>
                </a:lnTo>
                <a:lnTo>
                  <a:pt x="1995" y="1138"/>
                </a:lnTo>
                <a:lnTo>
                  <a:pt x="1986" y="1151"/>
                </a:lnTo>
                <a:lnTo>
                  <a:pt x="1973" y="1163"/>
                </a:lnTo>
                <a:lnTo>
                  <a:pt x="1960" y="1175"/>
                </a:lnTo>
                <a:lnTo>
                  <a:pt x="1945" y="1187"/>
                </a:lnTo>
                <a:lnTo>
                  <a:pt x="1931" y="1198"/>
                </a:lnTo>
                <a:lnTo>
                  <a:pt x="1904" y="1216"/>
                </a:lnTo>
                <a:lnTo>
                  <a:pt x="1904" y="1216"/>
                </a:lnTo>
                <a:lnTo>
                  <a:pt x="1886" y="1227"/>
                </a:lnTo>
                <a:lnTo>
                  <a:pt x="1864" y="1239"/>
                </a:lnTo>
                <a:lnTo>
                  <a:pt x="1842" y="1249"/>
                </a:lnTo>
                <a:lnTo>
                  <a:pt x="1819" y="1257"/>
                </a:lnTo>
                <a:lnTo>
                  <a:pt x="1798" y="1264"/>
                </a:lnTo>
                <a:lnTo>
                  <a:pt x="1779" y="1270"/>
                </a:lnTo>
                <a:lnTo>
                  <a:pt x="1754" y="1278"/>
                </a:lnTo>
                <a:lnTo>
                  <a:pt x="1754" y="1278"/>
                </a:lnTo>
                <a:lnTo>
                  <a:pt x="1779" y="1336"/>
                </a:lnTo>
                <a:lnTo>
                  <a:pt x="1811" y="1404"/>
                </a:lnTo>
                <a:lnTo>
                  <a:pt x="1811" y="1404"/>
                </a:lnTo>
                <a:lnTo>
                  <a:pt x="1833" y="1449"/>
                </a:lnTo>
                <a:lnTo>
                  <a:pt x="1862" y="1504"/>
                </a:lnTo>
                <a:lnTo>
                  <a:pt x="1877" y="1531"/>
                </a:lnTo>
                <a:lnTo>
                  <a:pt x="1893" y="1557"/>
                </a:lnTo>
                <a:lnTo>
                  <a:pt x="1909" y="1578"/>
                </a:lnTo>
                <a:lnTo>
                  <a:pt x="1916" y="1588"/>
                </a:lnTo>
                <a:lnTo>
                  <a:pt x="1924" y="1597"/>
                </a:lnTo>
                <a:lnTo>
                  <a:pt x="1924" y="1597"/>
                </a:lnTo>
                <a:lnTo>
                  <a:pt x="1940" y="1592"/>
                </a:lnTo>
                <a:lnTo>
                  <a:pt x="1957" y="1587"/>
                </a:lnTo>
                <a:lnTo>
                  <a:pt x="1980" y="1581"/>
                </a:lnTo>
                <a:lnTo>
                  <a:pt x="2004" y="1573"/>
                </a:lnTo>
                <a:lnTo>
                  <a:pt x="2031" y="1563"/>
                </a:lnTo>
                <a:lnTo>
                  <a:pt x="2057" y="1551"/>
                </a:lnTo>
                <a:lnTo>
                  <a:pt x="2071" y="1544"/>
                </a:lnTo>
                <a:lnTo>
                  <a:pt x="2083" y="1537"/>
                </a:lnTo>
                <a:lnTo>
                  <a:pt x="2083" y="1537"/>
                </a:lnTo>
                <a:lnTo>
                  <a:pt x="2105" y="1524"/>
                </a:lnTo>
                <a:lnTo>
                  <a:pt x="2126" y="1510"/>
                </a:lnTo>
                <a:lnTo>
                  <a:pt x="2145" y="1495"/>
                </a:lnTo>
                <a:lnTo>
                  <a:pt x="2162" y="1480"/>
                </a:lnTo>
                <a:lnTo>
                  <a:pt x="2177" y="1466"/>
                </a:lnTo>
                <a:lnTo>
                  <a:pt x="2189" y="1451"/>
                </a:lnTo>
                <a:lnTo>
                  <a:pt x="2199" y="1437"/>
                </a:lnTo>
                <a:lnTo>
                  <a:pt x="2207" y="1424"/>
                </a:lnTo>
                <a:lnTo>
                  <a:pt x="2207" y="1424"/>
                </a:lnTo>
                <a:lnTo>
                  <a:pt x="2190" y="1460"/>
                </a:lnTo>
                <a:lnTo>
                  <a:pt x="2175" y="1493"/>
                </a:lnTo>
                <a:lnTo>
                  <a:pt x="2161" y="1523"/>
                </a:lnTo>
                <a:lnTo>
                  <a:pt x="2146" y="1551"/>
                </a:lnTo>
                <a:lnTo>
                  <a:pt x="2132" y="1576"/>
                </a:lnTo>
                <a:lnTo>
                  <a:pt x="2119" y="1599"/>
                </a:lnTo>
                <a:lnTo>
                  <a:pt x="2105" y="1619"/>
                </a:lnTo>
                <a:lnTo>
                  <a:pt x="2092" y="1637"/>
                </a:lnTo>
                <a:lnTo>
                  <a:pt x="2080" y="1655"/>
                </a:lnTo>
                <a:lnTo>
                  <a:pt x="2068" y="1669"/>
                </a:lnTo>
                <a:lnTo>
                  <a:pt x="2055" y="1682"/>
                </a:lnTo>
                <a:lnTo>
                  <a:pt x="2044" y="1694"/>
                </a:lnTo>
                <a:lnTo>
                  <a:pt x="2033" y="1705"/>
                </a:lnTo>
                <a:lnTo>
                  <a:pt x="2022" y="1714"/>
                </a:lnTo>
                <a:lnTo>
                  <a:pt x="2011" y="1721"/>
                </a:lnTo>
                <a:lnTo>
                  <a:pt x="2000" y="1729"/>
                </a:lnTo>
                <a:lnTo>
                  <a:pt x="2000" y="1729"/>
                </a:lnTo>
                <a:lnTo>
                  <a:pt x="1907" y="1790"/>
                </a:lnTo>
                <a:lnTo>
                  <a:pt x="1797" y="1862"/>
                </a:lnTo>
                <a:lnTo>
                  <a:pt x="1735" y="1901"/>
                </a:lnTo>
                <a:lnTo>
                  <a:pt x="1671" y="1940"/>
                </a:lnTo>
                <a:lnTo>
                  <a:pt x="1602" y="1980"/>
                </a:lnTo>
                <a:lnTo>
                  <a:pt x="1532" y="2020"/>
                </a:lnTo>
                <a:lnTo>
                  <a:pt x="1459" y="2058"/>
                </a:lnTo>
                <a:lnTo>
                  <a:pt x="1422" y="2077"/>
                </a:lnTo>
                <a:lnTo>
                  <a:pt x="1384" y="2094"/>
                </a:lnTo>
                <a:lnTo>
                  <a:pt x="1347" y="2112"/>
                </a:lnTo>
                <a:lnTo>
                  <a:pt x="1308" y="2129"/>
                </a:lnTo>
                <a:lnTo>
                  <a:pt x="1269" y="2146"/>
                </a:lnTo>
                <a:lnTo>
                  <a:pt x="1230" y="2161"/>
                </a:lnTo>
                <a:lnTo>
                  <a:pt x="1190" y="2175"/>
                </a:lnTo>
                <a:lnTo>
                  <a:pt x="1151" y="2189"/>
                </a:lnTo>
                <a:lnTo>
                  <a:pt x="1111" y="2202"/>
                </a:lnTo>
                <a:lnTo>
                  <a:pt x="1072" y="2213"/>
                </a:lnTo>
                <a:lnTo>
                  <a:pt x="1032" y="2223"/>
                </a:lnTo>
                <a:lnTo>
                  <a:pt x="992" y="2231"/>
                </a:lnTo>
                <a:lnTo>
                  <a:pt x="952" y="2240"/>
                </a:lnTo>
                <a:lnTo>
                  <a:pt x="913" y="2246"/>
                </a:lnTo>
                <a:lnTo>
                  <a:pt x="913" y="2246"/>
                </a:lnTo>
                <a:lnTo>
                  <a:pt x="901" y="2246"/>
                </a:lnTo>
                <a:lnTo>
                  <a:pt x="889" y="2245"/>
                </a:lnTo>
                <a:lnTo>
                  <a:pt x="876" y="2242"/>
                </a:lnTo>
                <a:lnTo>
                  <a:pt x="863" y="2239"/>
                </a:lnTo>
                <a:lnTo>
                  <a:pt x="850" y="2236"/>
                </a:lnTo>
                <a:lnTo>
                  <a:pt x="836" y="2230"/>
                </a:lnTo>
                <a:lnTo>
                  <a:pt x="809" y="2218"/>
                </a:lnTo>
                <a:lnTo>
                  <a:pt x="781" y="2204"/>
                </a:lnTo>
                <a:lnTo>
                  <a:pt x="754" y="2188"/>
                </a:lnTo>
                <a:lnTo>
                  <a:pt x="726" y="2170"/>
                </a:lnTo>
                <a:lnTo>
                  <a:pt x="698" y="2151"/>
                </a:lnTo>
                <a:lnTo>
                  <a:pt x="672" y="2130"/>
                </a:lnTo>
                <a:lnTo>
                  <a:pt x="646" y="2110"/>
                </a:lnTo>
                <a:lnTo>
                  <a:pt x="623" y="2089"/>
                </a:lnTo>
                <a:lnTo>
                  <a:pt x="600" y="2069"/>
                </a:lnTo>
                <a:lnTo>
                  <a:pt x="581" y="2049"/>
                </a:lnTo>
                <a:lnTo>
                  <a:pt x="563" y="2032"/>
                </a:lnTo>
                <a:lnTo>
                  <a:pt x="548" y="2017"/>
                </a:lnTo>
                <a:lnTo>
                  <a:pt x="537" y="2003"/>
                </a:lnTo>
                <a:lnTo>
                  <a:pt x="537" y="2003"/>
                </a:lnTo>
                <a:lnTo>
                  <a:pt x="533" y="1999"/>
                </a:lnTo>
                <a:lnTo>
                  <a:pt x="530" y="1995"/>
                </a:lnTo>
                <a:lnTo>
                  <a:pt x="520" y="1990"/>
                </a:lnTo>
                <a:lnTo>
                  <a:pt x="512" y="1988"/>
                </a:lnTo>
                <a:lnTo>
                  <a:pt x="502" y="1987"/>
                </a:lnTo>
                <a:lnTo>
                  <a:pt x="493" y="1987"/>
                </a:lnTo>
                <a:lnTo>
                  <a:pt x="483" y="1989"/>
                </a:lnTo>
                <a:lnTo>
                  <a:pt x="473" y="1992"/>
                </a:lnTo>
                <a:lnTo>
                  <a:pt x="464" y="1996"/>
                </a:lnTo>
                <a:lnTo>
                  <a:pt x="447" y="2004"/>
                </a:lnTo>
                <a:lnTo>
                  <a:pt x="433" y="2014"/>
                </a:lnTo>
                <a:lnTo>
                  <a:pt x="419" y="2024"/>
                </a:lnTo>
                <a:lnTo>
                  <a:pt x="419" y="2024"/>
                </a:lnTo>
                <a:lnTo>
                  <a:pt x="412" y="2023"/>
                </a:lnTo>
                <a:lnTo>
                  <a:pt x="393" y="2021"/>
                </a:lnTo>
                <a:lnTo>
                  <a:pt x="379" y="2021"/>
                </a:lnTo>
                <a:lnTo>
                  <a:pt x="364" y="2021"/>
                </a:lnTo>
                <a:lnTo>
                  <a:pt x="348" y="2022"/>
                </a:lnTo>
                <a:lnTo>
                  <a:pt x="329" y="2024"/>
                </a:lnTo>
                <a:lnTo>
                  <a:pt x="310" y="2027"/>
                </a:lnTo>
                <a:lnTo>
                  <a:pt x="290" y="2032"/>
                </a:lnTo>
                <a:lnTo>
                  <a:pt x="271" y="2038"/>
                </a:lnTo>
                <a:lnTo>
                  <a:pt x="252" y="2047"/>
                </a:lnTo>
                <a:lnTo>
                  <a:pt x="242" y="2053"/>
                </a:lnTo>
                <a:lnTo>
                  <a:pt x="233" y="2058"/>
                </a:lnTo>
                <a:lnTo>
                  <a:pt x="224" y="2064"/>
                </a:lnTo>
                <a:lnTo>
                  <a:pt x="216" y="2071"/>
                </a:lnTo>
                <a:lnTo>
                  <a:pt x="207" y="2079"/>
                </a:lnTo>
                <a:lnTo>
                  <a:pt x="199" y="2087"/>
                </a:lnTo>
                <a:lnTo>
                  <a:pt x="191" y="2097"/>
                </a:lnTo>
                <a:lnTo>
                  <a:pt x="184" y="2106"/>
                </a:lnTo>
                <a:lnTo>
                  <a:pt x="184" y="2106"/>
                </a:lnTo>
                <a:lnTo>
                  <a:pt x="183" y="2109"/>
                </a:lnTo>
                <a:lnTo>
                  <a:pt x="185" y="2111"/>
                </a:lnTo>
                <a:lnTo>
                  <a:pt x="188" y="2112"/>
                </a:lnTo>
                <a:lnTo>
                  <a:pt x="193" y="2112"/>
                </a:lnTo>
                <a:lnTo>
                  <a:pt x="210" y="2110"/>
                </a:lnTo>
                <a:lnTo>
                  <a:pt x="230" y="2108"/>
                </a:lnTo>
                <a:lnTo>
                  <a:pt x="255" y="2106"/>
                </a:lnTo>
                <a:lnTo>
                  <a:pt x="280" y="2105"/>
                </a:lnTo>
                <a:lnTo>
                  <a:pt x="293" y="2106"/>
                </a:lnTo>
                <a:lnTo>
                  <a:pt x="307" y="2107"/>
                </a:lnTo>
                <a:lnTo>
                  <a:pt x="319" y="2109"/>
                </a:lnTo>
                <a:lnTo>
                  <a:pt x="331" y="2112"/>
                </a:lnTo>
                <a:lnTo>
                  <a:pt x="331" y="2112"/>
                </a:lnTo>
                <a:lnTo>
                  <a:pt x="338" y="2115"/>
                </a:lnTo>
                <a:lnTo>
                  <a:pt x="343" y="2118"/>
                </a:lnTo>
                <a:lnTo>
                  <a:pt x="346" y="2121"/>
                </a:lnTo>
                <a:lnTo>
                  <a:pt x="347" y="2124"/>
                </a:lnTo>
                <a:lnTo>
                  <a:pt x="347" y="2127"/>
                </a:lnTo>
                <a:lnTo>
                  <a:pt x="345" y="2131"/>
                </a:lnTo>
                <a:lnTo>
                  <a:pt x="339" y="2139"/>
                </a:lnTo>
                <a:lnTo>
                  <a:pt x="332" y="2149"/>
                </a:lnTo>
                <a:lnTo>
                  <a:pt x="325" y="2160"/>
                </a:lnTo>
                <a:lnTo>
                  <a:pt x="321" y="2166"/>
                </a:lnTo>
                <a:lnTo>
                  <a:pt x="319" y="2172"/>
                </a:lnTo>
                <a:lnTo>
                  <a:pt x="317" y="2178"/>
                </a:lnTo>
                <a:lnTo>
                  <a:pt x="317" y="2185"/>
                </a:lnTo>
                <a:lnTo>
                  <a:pt x="317" y="2185"/>
                </a:lnTo>
                <a:lnTo>
                  <a:pt x="317" y="2191"/>
                </a:lnTo>
                <a:lnTo>
                  <a:pt x="319" y="2197"/>
                </a:lnTo>
                <a:lnTo>
                  <a:pt x="321" y="2202"/>
                </a:lnTo>
                <a:lnTo>
                  <a:pt x="324" y="2207"/>
                </a:lnTo>
                <a:lnTo>
                  <a:pt x="328" y="2212"/>
                </a:lnTo>
                <a:lnTo>
                  <a:pt x="333" y="2217"/>
                </a:lnTo>
                <a:lnTo>
                  <a:pt x="346" y="2227"/>
                </a:lnTo>
                <a:lnTo>
                  <a:pt x="361" y="2237"/>
                </a:lnTo>
                <a:lnTo>
                  <a:pt x="377" y="2246"/>
                </a:lnTo>
                <a:lnTo>
                  <a:pt x="397" y="2255"/>
                </a:lnTo>
                <a:lnTo>
                  <a:pt x="416" y="2263"/>
                </a:lnTo>
                <a:lnTo>
                  <a:pt x="458" y="2279"/>
                </a:lnTo>
                <a:lnTo>
                  <a:pt x="500" y="2293"/>
                </a:lnTo>
                <a:lnTo>
                  <a:pt x="571" y="2314"/>
                </a:lnTo>
                <a:lnTo>
                  <a:pt x="571" y="2314"/>
                </a:lnTo>
                <a:lnTo>
                  <a:pt x="579" y="2318"/>
                </a:lnTo>
                <a:lnTo>
                  <a:pt x="585" y="2322"/>
                </a:lnTo>
                <a:lnTo>
                  <a:pt x="588" y="2328"/>
                </a:lnTo>
                <a:lnTo>
                  <a:pt x="590" y="2333"/>
                </a:lnTo>
                <a:lnTo>
                  <a:pt x="590" y="2337"/>
                </a:lnTo>
                <a:lnTo>
                  <a:pt x="588" y="2341"/>
                </a:lnTo>
                <a:lnTo>
                  <a:pt x="585" y="2343"/>
                </a:lnTo>
                <a:lnTo>
                  <a:pt x="581" y="2344"/>
                </a:lnTo>
                <a:lnTo>
                  <a:pt x="581" y="2344"/>
                </a:lnTo>
                <a:lnTo>
                  <a:pt x="556" y="2343"/>
                </a:lnTo>
                <a:lnTo>
                  <a:pt x="532" y="2340"/>
                </a:lnTo>
                <a:lnTo>
                  <a:pt x="509" y="2337"/>
                </a:lnTo>
                <a:lnTo>
                  <a:pt x="488" y="2332"/>
                </a:lnTo>
                <a:lnTo>
                  <a:pt x="467" y="2327"/>
                </a:lnTo>
                <a:lnTo>
                  <a:pt x="448" y="2320"/>
                </a:lnTo>
                <a:lnTo>
                  <a:pt x="429" y="2314"/>
                </a:lnTo>
                <a:lnTo>
                  <a:pt x="412" y="2308"/>
                </a:lnTo>
                <a:lnTo>
                  <a:pt x="380" y="2295"/>
                </a:lnTo>
                <a:lnTo>
                  <a:pt x="352" y="2283"/>
                </a:lnTo>
                <a:lnTo>
                  <a:pt x="327" y="2271"/>
                </a:lnTo>
                <a:lnTo>
                  <a:pt x="316" y="2267"/>
                </a:lnTo>
                <a:lnTo>
                  <a:pt x="305" y="2263"/>
                </a:lnTo>
                <a:lnTo>
                  <a:pt x="305" y="2263"/>
                </a:lnTo>
                <a:lnTo>
                  <a:pt x="286" y="2258"/>
                </a:lnTo>
                <a:lnTo>
                  <a:pt x="268" y="2254"/>
                </a:lnTo>
                <a:lnTo>
                  <a:pt x="253" y="2251"/>
                </a:lnTo>
                <a:lnTo>
                  <a:pt x="237" y="2249"/>
                </a:lnTo>
                <a:lnTo>
                  <a:pt x="224" y="2248"/>
                </a:lnTo>
                <a:lnTo>
                  <a:pt x="213" y="2249"/>
                </a:lnTo>
                <a:lnTo>
                  <a:pt x="202" y="2250"/>
                </a:lnTo>
                <a:lnTo>
                  <a:pt x="192" y="2252"/>
                </a:lnTo>
                <a:lnTo>
                  <a:pt x="185" y="2256"/>
                </a:lnTo>
                <a:lnTo>
                  <a:pt x="178" y="2260"/>
                </a:lnTo>
                <a:lnTo>
                  <a:pt x="172" y="2265"/>
                </a:lnTo>
                <a:lnTo>
                  <a:pt x="167" y="2271"/>
                </a:lnTo>
                <a:lnTo>
                  <a:pt x="163" y="2277"/>
                </a:lnTo>
                <a:lnTo>
                  <a:pt x="160" y="2286"/>
                </a:lnTo>
                <a:lnTo>
                  <a:pt x="156" y="2294"/>
                </a:lnTo>
                <a:lnTo>
                  <a:pt x="155" y="2303"/>
                </a:lnTo>
                <a:lnTo>
                  <a:pt x="155" y="2303"/>
                </a:lnTo>
                <a:lnTo>
                  <a:pt x="154" y="2306"/>
                </a:lnTo>
                <a:lnTo>
                  <a:pt x="152" y="2309"/>
                </a:lnTo>
                <a:lnTo>
                  <a:pt x="150" y="2312"/>
                </a:lnTo>
                <a:lnTo>
                  <a:pt x="147" y="2314"/>
                </a:lnTo>
                <a:lnTo>
                  <a:pt x="140" y="2318"/>
                </a:lnTo>
                <a:lnTo>
                  <a:pt x="132" y="2323"/>
                </a:lnTo>
                <a:lnTo>
                  <a:pt x="109" y="2333"/>
                </a:lnTo>
                <a:lnTo>
                  <a:pt x="97" y="2339"/>
                </a:lnTo>
                <a:lnTo>
                  <a:pt x="84" y="2347"/>
                </a:lnTo>
                <a:lnTo>
                  <a:pt x="71" y="2357"/>
                </a:lnTo>
                <a:lnTo>
                  <a:pt x="57" y="2371"/>
                </a:lnTo>
                <a:lnTo>
                  <a:pt x="51" y="2378"/>
                </a:lnTo>
                <a:lnTo>
                  <a:pt x="45" y="2386"/>
                </a:lnTo>
                <a:lnTo>
                  <a:pt x="39" y="2396"/>
                </a:lnTo>
                <a:lnTo>
                  <a:pt x="33" y="2406"/>
                </a:lnTo>
                <a:lnTo>
                  <a:pt x="28" y="2418"/>
                </a:lnTo>
                <a:lnTo>
                  <a:pt x="22" y="2430"/>
                </a:lnTo>
                <a:lnTo>
                  <a:pt x="17" y="2444"/>
                </a:lnTo>
                <a:lnTo>
                  <a:pt x="13" y="2458"/>
                </a:lnTo>
                <a:lnTo>
                  <a:pt x="9" y="2475"/>
                </a:lnTo>
                <a:lnTo>
                  <a:pt x="6" y="2492"/>
                </a:lnTo>
                <a:lnTo>
                  <a:pt x="3" y="2512"/>
                </a:lnTo>
                <a:lnTo>
                  <a:pt x="0" y="2532"/>
                </a:lnTo>
                <a:lnTo>
                  <a:pt x="0" y="2532"/>
                </a:lnTo>
                <a:lnTo>
                  <a:pt x="1" y="2533"/>
                </a:lnTo>
                <a:lnTo>
                  <a:pt x="2" y="2534"/>
                </a:lnTo>
                <a:lnTo>
                  <a:pt x="6" y="2532"/>
                </a:lnTo>
                <a:lnTo>
                  <a:pt x="12" y="2527"/>
                </a:lnTo>
                <a:lnTo>
                  <a:pt x="20" y="2519"/>
                </a:lnTo>
                <a:lnTo>
                  <a:pt x="43" y="2496"/>
                </a:lnTo>
                <a:lnTo>
                  <a:pt x="69" y="2472"/>
                </a:lnTo>
                <a:lnTo>
                  <a:pt x="82" y="2459"/>
                </a:lnTo>
                <a:lnTo>
                  <a:pt x="95" y="2448"/>
                </a:lnTo>
                <a:lnTo>
                  <a:pt x="107" y="2439"/>
                </a:lnTo>
                <a:lnTo>
                  <a:pt x="119" y="2432"/>
                </a:lnTo>
                <a:lnTo>
                  <a:pt x="124" y="2429"/>
                </a:lnTo>
                <a:lnTo>
                  <a:pt x="129" y="2428"/>
                </a:lnTo>
                <a:lnTo>
                  <a:pt x="133" y="2427"/>
                </a:lnTo>
                <a:lnTo>
                  <a:pt x="137" y="2427"/>
                </a:lnTo>
                <a:lnTo>
                  <a:pt x="140" y="2429"/>
                </a:lnTo>
                <a:lnTo>
                  <a:pt x="143" y="2431"/>
                </a:lnTo>
                <a:lnTo>
                  <a:pt x="144" y="2435"/>
                </a:lnTo>
                <a:lnTo>
                  <a:pt x="146" y="2439"/>
                </a:lnTo>
                <a:lnTo>
                  <a:pt x="146" y="2439"/>
                </a:lnTo>
                <a:lnTo>
                  <a:pt x="149" y="2455"/>
                </a:lnTo>
                <a:lnTo>
                  <a:pt x="154" y="2470"/>
                </a:lnTo>
                <a:lnTo>
                  <a:pt x="162" y="2483"/>
                </a:lnTo>
                <a:lnTo>
                  <a:pt x="170" y="2493"/>
                </a:lnTo>
                <a:lnTo>
                  <a:pt x="179" y="2503"/>
                </a:lnTo>
                <a:lnTo>
                  <a:pt x="189" y="2511"/>
                </a:lnTo>
                <a:lnTo>
                  <a:pt x="200" y="2518"/>
                </a:lnTo>
                <a:lnTo>
                  <a:pt x="214" y="2523"/>
                </a:lnTo>
                <a:lnTo>
                  <a:pt x="227" y="2527"/>
                </a:lnTo>
                <a:lnTo>
                  <a:pt x="241" y="2529"/>
                </a:lnTo>
                <a:lnTo>
                  <a:pt x="256" y="2531"/>
                </a:lnTo>
                <a:lnTo>
                  <a:pt x="271" y="2532"/>
                </a:lnTo>
                <a:lnTo>
                  <a:pt x="287" y="2533"/>
                </a:lnTo>
                <a:lnTo>
                  <a:pt x="304" y="2532"/>
                </a:lnTo>
                <a:lnTo>
                  <a:pt x="337" y="2530"/>
                </a:lnTo>
                <a:lnTo>
                  <a:pt x="371" y="2526"/>
                </a:lnTo>
                <a:lnTo>
                  <a:pt x="405" y="2521"/>
                </a:lnTo>
                <a:lnTo>
                  <a:pt x="438" y="2516"/>
                </a:lnTo>
                <a:lnTo>
                  <a:pt x="468" y="2512"/>
                </a:lnTo>
                <a:lnTo>
                  <a:pt x="496" y="2510"/>
                </a:lnTo>
                <a:lnTo>
                  <a:pt x="509" y="2509"/>
                </a:lnTo>
                <a:lnTo>
                  <a:pt x="520" y="2509"/>
                </a:lnTo>
                <a:lnTo>
                  <a:pt x="531" y="2510"/>
                </a:lnTo>
                <a:lnTo>
                  <a:pt x="541" y="2512"/>
                </a:lnTo>
                <a:lnTo>
                  <a:pt x="549" y="2515"/>
                </a:lnTo>
                <a:lnTo>
                  <a:pt x="555" y="2519"/>
                </a:lnTo>
                <a:lnTo>
                  <a:pt x="555" y="2519"/>
                </a:lnTo>
                <a:lnTo>
                  <a:pt x="558" y="2522"/>
                </a:lnTo>
                <a:lnTo>
                  <a:pt x="559" y="2524"/>
                </a:lnTo>
                <a:lnTo>
                  <a:pt x="557" y="2527"/>
                </a:lnTo>
                <a:lnTo>
                  <a:pt x="554" y="2529"/>
                </a:lnTo>
                <a:lnTo>
                  <a:pt x="549" y="2532"/>
                </a:lnTo>
                <a:lnTo>
                  <a:pt x="542" y="2534"/>
                </a:lnTo>
                <a:lnTo>
                  <a:pt x="525" y="2538"/>
                </a:lnTo>
                <a:lnTo>
                  <a:pt x="475" y="2547"/>
                </a:lnTo>
                <a:lnTo>
                  <a:pt x="447" y="2553"/>
                </a:lnTo>
                <a:lnTo>
                  <a:pt x="417" y="2559"/>
                </a:lnTo>
                <a:lnTo>
                  <a:pt x="388" y="2566"/>
                </a:lnTo>
                <a:lnTo>
                  <a:pt x="359" y="2574"/>
                </a:lnTo>
                <a:lnTo>
                  <a:pt x="346" y="2578"/>
                </a:lnTo>
                <a:lnTo>
                  <a:pt x="333" y="2583"/>
                </a:lnTo>
                <a:lnTo>
                  <a:pt x="322" y="2588"/>
                </a:lnTo>
                <a:lnTo>
                  <a:pt x="312" y="2594"/>
                </a:lnTo>
                <a:lnTo>
                  <a:pt x="303" y="2601"/>
                </a:lnTo>
                <a:lnTo>
                  <a:pt x="294" y="2607"/>
                </a:lnTo>
                <a:lnTo>
                  <a:pt x="288" y="2614"/>
                </a:lnTo>
                <a:lnTo>
                  <a:pt x="284" y="2622"/>
                </a:lnTo>
                <a:lnTo>
                  <a:pt x="282" y="2630"/>
                </a:lnTo>
                <a:lnTo>
                  <a:pt x="281" y="2638"/>
                </a:lnTo>
                <a:lnTo>
                  <a:pt x="283" y="2649"/>
                </a:lnTo>
                <a:lnTo>
                  <a:pt x="287" y="2659"/>
                </a:lnTo>
                <a:lnTo>
                  <a:pt x="287" y="2659"/>
                </a:lnTo>
                <a:lnTo>
                  <a:pt x="287" y="2660"/>
                </a:lnTo>
                <a:lnTo>
                  <a:pt x="286" y="2663"/>
                </a:lnTo>
                <a:lnTo>
                  <a:pt x="283" y="2669"/>
                </a:lnTo>
                <a:lnTo>
                  <a:pt x="268" y="2686"/>
                </a:lnTo>
                <a:lnTo>
                  <a:pt x="258" y="2699"/>
                </a:lnTo>
                <a:lnTo>
                  <a:pt x="247" y="2712"/>
                </a:lnTo>
                <a:lnTo>
                  <a:pt x="237" y="2727"/>
                </a:lnTo>
                <a:lnTo>
                  <a:pt x="228" y="2744"/>
                </a:lnTo>
                <a:lnTo>
                  <a:pt x="220" y="2761"/>
                </a:lnTo>
                <a:lnTo>
                  <a:pt x="217" y="2770"/>
                </a:lnTo>
                <a:lnTo>
                  <a:pt x="214" y="2781"/>
                </a:lnTo>
                <a:lnTo>
                  <a:pt x="213" y="2790"/>
                </a:lnTo>
                <a:lnTo>
                  <a:pt x="212" y="2801"/>
                </a:lnTo>
                <a:lnTo>
                  <a:pt x="212" y="2811"/>
                </a:lnTo>
                <a:lnTo>
                  <a:pt x="213" y="2821"/>
                </a:lnTo>
                <a:lnTo>
                  <a:pt x="215" y="2833"/>
                </a:lnTo>
                <a:lnTo>
                  <a:pt x="219" y="2844"/>
                </a:lnTo>
                <a:lnTo>
                  <a:pt x="223" y="2856"/>
                </a:lnTo>
                <a:lnTo>
                  <a:pt x="229" y="2867"/>
                </a:lnTo>
                <a:lnTo>
                  <a:pt x="237" y="2880"/>
                </a:lnTo>
                <a:lnTo>
                  <a:pt x="246" y="2892"/>
                </a:lnTo>
                <a:lnTo>
                  <a:pt x="257" y="2904"/>
                </a:lnTo>
                <a:lnTo>
                  <a:pt x="270" y="2917"/>
                </a:lnTo>
                <a:lnTo>
                  <a:pt x="270" y="2917"/>
                </a:lnTo>
                <a:lnTo>
                  <a:pt x="270" y="2910"/>
                </a:lnTo>
                <a:lnTo>
                  <a:pt x="272" y="2893"/>
                </a:lnTo>
                <a:lnTo>
                  <a:pt x="277" y="2868"/>
                </a:lnTo>
                <a:lnTo>
                  <a:pt x="281" y="2855"/>
                </a:lnTo>
                <a:lnTo>
                  <a:pt x="285" y="2841"/>
                </a:lnTo>
                <a:lnTo>
                  <a:pt x="291" y="2828"/>
                </a:lnTo>
                <a:lnTo>
                  <a:pt x="298" y="2814"/>
                </a:lnTo>
                <a:lnTo>
                  <a:pt x="306" y="2801"/>
                </a:lnTo>
                <a:lnTo>
                  <a:pt x="315" y="2791"/>
                </a:lnTo>
                <a:lnTo>
                  <a:pt x="321" y="2786"/>
                </a:lnTo>
                <a:lnTo>
                  <a:pt x="326" y="2782"/>
                </a:lnTo>
                <a:lnTo>
                  <a:pt x="332" y="2777"/>
                </a:lnTo>
                <a:lnTo>
                  <a:pt x="339" y="2774"/>
                </a:lnTo>
                <a:lnTo>
                  <a:pt x="346" y="2772"/>
                </a:lnTo>
                <a:lnTo>
                  <a:pt x="354" y="2770"/>
                </a:lnTo>
                <a:lnTo>
                  <a:pt x="361" y="2770"/>
                </a:lnTo>
                <a:lnTo>
                  <a:pt x="369" y="2770"/>
                </a:lnTo>
                <a:lnTo>
                  <a:pt x="369" y="2770"/>
                </a:lnTo>
                <a:lnTo>
                  <a:pt x="383" y="2771"/>
                </a:lnTo>
                <a:lnTo>
                  <a:pt x="396" y="2774"/>
                </a:lnTo>
                <a:lnTo>
                  <a:pt x="408" y="2778"/>
                </a:lnTo>
                <a:lnTo>
                  <a:pt x="420" y="2783"/>
                </a:lnTo>
                <a:lnTo>
                  <a:pt x="443" y="2793"/>
                </a:lnTo>
                <a:lnTo>
                  <a:pt x="454" y="2797"/>
                </a:lnTo>
                <a:lnTo>
                  <a:pt x="465" y="2801"/>
                </a:lnTo>
                <a:lnTo>
                  <a:pt x="476" y="2804"/>
                </a:lnTo>
                <a:lnTo>
                  <a:pt x="489" y="2806"/>
                </a:lnTo>
                <a:lnTo>
                  <a:pt x="501" y="2807"/>
                </a:lnTo>
                <a:lnTo>
                  <a:pt x="514" y="2805"/>
                </a:lnTo>
                <a:lnTo>
                  <a:pt x="528" y="2802"/>
                </a:lnTo>
                <a:lnTo>
                  <a:pt x="542" y="2796"/>
                </a:lnTo>
                <a:lnTo>
                  <a:pt x="558" y="2788"/>
                </a:lnTo>
                <a:lnTo>
                  <a:pt x="575" y="2775"/>
                </a:lnTo>
                <a:lnTo>
                  <a:pt x="575" y="2775"/>
                </a:lnTo>
                <a:lnTo>
                  <a:pt x="588" y="2766"/>
                </a:lnTo>
                <a:lnTo>
                  <a:pt x="600" y="2755"/>
                </a:lnTo>
                <a:lnTo>
                  <a:pt x="614" y="2743"/>
                </a:lnTo>
                <a:lnTo>
                  <a:pt x="630" y="2730"/>
                </a:lnTo>
                <a:lnTo>
                  <a:pt x="651" y="2718"/>
                </a:lnTo>
                <a:lnTo>
                  <a:pt x="664" y="2711"/>
                </a:lnTo>
                <a:lnTo>
                  <a:pt x="678" y="2705"/>
                </a:lnTo>
                <a:lnTo>
                  <a:pt x="693" y="2698"/>
                </a:lnTo>
                <a:lnTo>
                  <a:pt x="712" y="2692"/>
                </a:lnTo>
                <a:lnTo>
                  <a:pt x="732" y="2684"/>
                </a:lnTo>
                <a:lnTo>
                  <a:pt x="754" y="2677"/>
                </a:lnTo>
                <a:lnTo>
                  <a:pt x="754" y="2677"/>
                </a:lnTo>
                <a:lnTo>
                  <a:pt x="756" y="2677"/>
                </a:lnTo>
                <a:lnTo>
                  <a:pt x="757" y="2678"/>
                </a:lnTo>
                <a:lnTo>
                  <a:pt x="760" y="2683"/>
                </a:lnTo>
                <a:lnTo>
                  <a:pt x="762" y="2692"/>
                </a:lnTo>
                <a:lnTo>
                  <a:pt x="765" y="2701"/>
                </a:lnTo>
                <a:lnTo>
                  <a:pt x="768" y="2713"/>
                </a:lnTo>
                <a:lnTo>
                  <a:pt x="772" y="2725"/>
                </a:lnTo>
                <a:lnTo>
                  <a:pt x="777" y="2738"/>
                </a:lnTo>
                <a:lnTo>
                  <a:pt x="783" y="2750"/>
                </a:lnTo>
                <a:lnTo>
                  <a:pt x="783" y="2750"/>
                </a:lnTo>
                <a:lnTo>
                  <a:pt x="786" y="2753"/>
                </a:lnTo>
                <a:lnTo>
                  <a:pt x="789" y="2755"/>
                </a:lnTo>
                <a:lnTo>
                  <a:pt x="797" y="2760"/>
                </a:lnTo>
                <a:lnTo>
                  <a:pt x="805" y="2763"/>
                </a:lnTo>
                <a:lnTo>
                  <a:pt x="813" y="2767"/>
                </a:lnTo>
                <a:lnTo>
                  <a:pt x="821" y="2770"/>
                </a:lnTo>
                <a:lnTo>
                  <a:pt x="827" y="2773"/>
                </a:lnTo>
                <a:lnTo>
                  <a:pt x="830" y="2775"/>
                </a:lnTo>
                <a:lnTo>
                  <a:pt x="831" y="2777"/>
                </a:lnTo>
                <a:lnTo>
                  <a:pt x="833" y="2781"/>
                </a:lnTo>
                <a:lnTo>
                  <a:pt x="833" y="2784"/>
                </a:lnTo>
                <a:lnTo>
                  <a:pt x="833" y="2784"/>
                </a:lnTo>
                <a:lnTo>
                  <a:pt x="832" y="2794"/>
                </a:lnTo>
                <a:lnTo>
                  <a:pt x="830" y="2805"/>
                </a:lnTo>
                <a:lnTo>
                  <a:pt x="826" y="2815"/>
                </a:lnTo>
                <a:lnTo>
                  <a:pt x="822" y="2824"/>
                </a:lnTo>
                <a:lnTo>
                  <a:pt x="817" y="2834"/>
                </a:lnTo>
                <a:lnTo>
                  <a:pt x="811" y="2843"/>
                </a:lnTo>
                <a:lnTo>
                  <a:pt x="798" y="2859"/>
                </a:lnTo>
                <a:lnTo>
                  <a:pt x="784" y="2873"/>
                </a:lnTo>
                <a:lnTo>
                  <a:pt x="773" y="2884"/>
                </a:lnTo>
                <a:lnTo>
                  <a:pt x="765" y="2890"/>
                </a:lnTo>
                <a:lnTo>
                  <a:pt x="763" y="2893"/>
                </a:lnTo>
                <a:lnTo>
                  <a:pt x="763" y="2893"/>
                </a:lnTo>
                <a:lnTo>
                  <a:pt x="767" y="2896"/>
                </a:lnTo>
                <a:lnTo>
                  <a:pt x="778" y="2899"/>
                </a:lnTo>
                <a:lnTo>
                  <a:pt x="785" y="2900"/>
                </a:lnTo>
                <a:lnTo>
                  <a:pt x="794" y="2901"/>
                </a:lnTo>
                <a:lnTo>
                  <a:pt x="804" y="2901"/>
                </a:lnTo>
                <a:lnTo>
                  <a:pt x="815" y="2899"/>
                </a:lnTo>
                <a:lnTo>
                  <a:pt x="826" y="2896"/>
                </a:lnTo>
                <a:lnTo>
                  <a:pt x="839" y="2891"/>
                </a:lnTo>
                <a:lnTo>
                  <a:pt x="852" y="2884"/>
                </a:lnTo>
                <a:lnTo>
                  <a:pt x="865" y="2874"/>
                </a:lnTo>
                <a:lnTo>
                  <a:pt x="879" y="2860"/>
                </a:lnTo>
                <a:lnTo>
                  <a:pt x="894" y="2844"/>
                </a:lnTo>
                <a:lnTo>
                  <a:pt x="907" y="2824"/>
                </a:lnTo>
                <a:lnTo>
                  <a:pt x="921" y="2801"/>
                </a:lnTo>
                <a:lnTo>
                  <a:pt x="921" y="2801"/>
                </a:lnTo>
                <a:lnTo>
                  <a:pt x="924" y="2797"/>
                </a:lnTo>
                <a:lnTo>
                  <a:pt x="927" y="2793"/>
                </a:lnTo>
                <a:lnTo>
                  <a:pt x="930" y="2791"/>
                </a:lnTo>
                <a:lnTo>
                  <a:pt x="935" y="2789"/>
                </a:lnTo>
                <a:lnTo>
                  <a:pt x="939" y="2788"/>
                </a:lnTo>
                <a:lnTo>
                  <a:pt x="943" y="2788"/>
                </a:lnTo>
                <a:lnTo>
                  <a:pt x="951" y="2788"/>
                </a:lnTo>
                <a:lnTo>
                  <a:pt x="970" y="2790"/>
                </a:lnTo>
                <a:lnTo>
                  <a:pt x="982" y="2790"/>
                </a:lnTo>
                <a:lnTo>
                  <a:pt x="987" y="2789"/>
                </a:lnTo>
                <a:lnTo>
                  <a:pt x="992" y="2788"/>
                </a:lnTo>
                <a:lnTo>
                  <a:pt x="992" y="2788"/>
                </a:lnTo>
                <a:lnTo>
                  <a:pt x="1010" y="2782"/>
                </a:lnTo>
                <a:lnTo>
                  <a:pt x="1017" y="2777"/>
                </a:lnTo>
                <a:lnTo>
                  <a:pt x="1024" y="2773"/>
                </a:lnTo>
                <a:lnTo>
                  <a:pt x="1029" y="2770"/>
                </a:lnTo>
                <a:lnTo>
                  <a:pt x="1033" y="2766"/>
                </a:lnTo>
                <a:lnTo>
                  <a:pt x="1036" y="2762"/>
                </a:lnTo>
                <a:lnTo>
                  <a:pt x="1039" y="2757"/>
                </a:lnTo>
                <a:lnTo>
                  <a:pt x="1041" y="2753"/>
                </a:lnTo>
                <a:lnTo>
                  <a:pt x="1042" y="2748"/>
                </a:lnTo>
                <a:lnTo>
                  <a:pt x="1043" y="2739"/>
                </a:lnTo>
                <a:lnTo>
                  <a:pt x="1042" y="2728"/>
                </a:lnTo>
                <a:lnTo>
                  <a:pt x="1040" y="2718"/>
                </a:lnTo>
                <a:lnTo>
                  <a:pt x="1035" y="2696"/>
                </a:lnTo>
                <a:lnTo>
                  <a:pt x="1034" y="2685"/>
                </a:lnTo>
                <a:lnTo>
                  <a:pt x="1033" y="2673"/>
                </a:lnTo>
                <a:lnTo>
                  <a:pt x="1034" y="2662"/>
                </a:lnTo>
                <a:lnTo>
                  <a:pt x="1036" y="2657"/>
                </a:lnTo>
                <a:lnTo>
                  <a:pt x="1038" y="2651"/>
                </a:lnTo>
                <a:lnTo>
                  <a:pt x="1040" y="2646"/>
                </a:lnTo>
                <a:lnTo>
                  <a:pt x="1044" y="2640"/>
                </a:lnTo>
                <a:lnTo>
                  <a:pt x="1048" y="2634"/>
                </a:lnTo>
                <a:lnTo>
                  <a:pt x="1054" y="2629"/>
                </a:lnTo>
                <a:lnTo>
                  <a:pt x="1054" y="2629"/>
                </a:lnTo>
                <a:lnTo>
                  <a:pt x="1069" y="2616"/>
                </a:lnTo>
                <a:lnTo>
                  <a:pt x="1084" y="2603"/>
                </a:lnTo>
                <a:lnTo>
                  <a:pt x="1099" y="2591"/>
                </a:lnTo>
                <a:lnTo>
                  <a:pt x="1115" y="2579"/>
                </a:lnTo>
                <a:lnTo>
                  <a:pt x="1146" y="2559"/>
                </a:lnTo>
                <a:lnTo>
                  <a:pt x="1178" y="2540"/>
                </a:lnTo>
                <a:lnTo>
                  <a:pt x="1210" y="2524"/>
                </a:lnTo>
                <a:lnTo>
                  <a:pt x="1241" y="2509"/>
                </a:lnTo>
                <a:lnTo>
                  <a:pt x="1273" y="2494"/>
                </a:lnTo>
                <a:lnTo>
                  <a:pt x="1304" y="2482"/>
                </a:lnTo>
                <a:lnTo>
                  <a:pt x="1304" y="2482"/>
                </a:lnTo>
                <a:lnTo>
                  <a:pt x="1303" y="2486"/>
                </a:lnTo>
                <a:lnTo>
                  <a:pt x="1299" y="2498"/>
                </a:lnTo>
                <a:lnTo>
                  <a:pt x="1294" y="2518"/>
                </a:lnTo>
                <a:lnTo>
                  <a:pt x="1291" y="2541"/>
                </a:lnTo>
                <a:lnTo>
                  <a:pt x="1290" y="2556"/>
                </a:lnTo>
                <a:lnTo>
                  <a:pt x="1290" y="2570"/>
                </a:lnTo>
                <a:lnTo>
                  <a:pt x="1291" y="2585"/>
                </a:lnTo>
                <a:lnTo>
                  <a:pt x="1292" y="2602"/>
                </a:lnTo>
                <a:lnTo>
                  <a:pt x="1296" y="2618"/>
                </a:lnTo>
                <a:lnTo>
                  <a:pt x="1301" y="2634"/>
                </a:lnTo>
                <a:lnTo>
                  <a:pt x="1306" y="2652"/>
                </a:lnTo>
                <a:lnTo>
                  <a:pt x="1314" y="2669"/>
                </a:lnTo>
                <a:lnTo>
                  <a:pt x="1640" y="2585"/>
                </a:lnTo>
                <a:lnTo>
                  <a:pt x="1640" y="2585"/>
                </a:lnTo>
                <a:lnTo>
                  <a:pt x="1634" y="2569"/>
                </a:lnTo>
                <a:lnTo>
                  <a:pt x="1631" y="2553"/>
                </a:lnTo>
                <a:lnTo>
                  <a:pt x="1629" y="2535"/>
                </a:lnTo>
                <a:lnTo>
                  <a:pt x="1629" y="2518"/>
                </a:lnTo>
                <a:lnTo>
                  <a:pt x="1631" y="2500"/>
                </a:lnTo>
                <a:lnTo>
                  <a:pt x="1634" y="2483"/>
                </a:lnTo>
                <a:lnTo>
                  <a:pt x="1638" y="2466"/>
                </a:lnTo>
                <a:lnTo>
                  <a:pt x="1644" y="2447"/>
                </a:lnTo>
                <a:lnTo>
                  <a:pt x="1651" y="2430"/>
                </a:lnTo>
                <a:lnTo>
                  <a:pt x="1660" y="2411"/>
                </a:lnTo>
                <a:lnTo>
                  <a:pt x="1669" y="2394"/>
                </a:lnTo>
                <a:lnTo>
                  <a:pt x="1679" y="2377"/>
                </a:lnTo>
                <a:lnTo>
                  <a:pt x="1689" y="2359"/>
                </a:lnTo>
                <a:lnTo>
                  <a:pt x="1701" y="2342"/>
                </a:lnTo>
                <a:lnTo>
                  <a:pt x="1725" y="2310"/>
                </a:lnTo>
                <a:lnTo>
                  <a:pt x="1725" y="2310"/>
                </a:lnTo>
                <a:lnTo>
                  <a:pt x="1726" y="2309"/>
                </a:lnTo>
                <a:lnTo>
                  <a:pt x="1727" y="2309"/>
                </a:lnTo>
                <a:lnTo>
                  <a:pt x="1728" y="2313"/>
                </a:lnTo>
                <a:lnTo>
                  <a:pt x="1725" y="2335"/>
                </a:lnTo>
                <a:lnTo>
                  <a:pt x="1721" y="2368"/>
                </a:lnTo>
                <a:lnTo>
                  <a:pt x="1715" y="2410"/>
                </a:lnTo>
                <a:lnTo>
                  <a:pt x="1713" y="2433"/>
                </a:lnTo>
                <a:lnTo>
                  <a:pt x="1711" y="2456"/>
                </a:lnTo>
                <a:lnTo>
                  <a:pt x="1711" y="2478"/>
                </a:lnTo>
                <a:lnTo>
                  <a:pt x="1711" y="2499"/>
                </a:lnTo>
                <a:lnTo>
                  <a:pt x="1713" y="2519"/>
                </a:lnTo>
                <a:lnTo>
                  <a:pt x="1716" y="2536"/>
                </a:lnTo>
                <a:lnTo>
                  <a:pt x="1719" y="2544"/>
                </a:lnTo>
                <a:lnTo>
                  <a:pt x="1722" y="2551"/>
                </a:lnTo>
                <a:lnTo>
                  <a:pt x="1726" y="2557"/>
                </a:lnTo>
                <a:lnTo>
                  <a:pt x="1730" y="2562"/>
                </a:lnTo>
                <a:lnTo>
                  <a:pt x="2050" y="2479"/>
                </a:lnTo>
                <a:lnTo>
                  <a:pt x="2050" y="2479"/>
                </a:lnTo>
                <a:lnTo>
                  <a:pt x="2046" y="2469"/>
                </a:lnTo>
                <a:lnTo>
                  <a:pt x="2043" y="2457"/>
                </a:lnTo>
                <a:lnTo>
                  <a:pt x="2041" y="2446"/>
                </a:lnTo>
                <a:lnTo>
                  <a:pt x="2039" y="2434"/>
                </a:lnTo>
                <a:lnTo>
                  <a:pt x="2038" y="2422"/>
                </a:lnTo>
                <a:lnTo>
                  <a:pt x="2038" y="2409"/>
                </a:lnTo>
                <a:lnTo>
                  <a:pt x="2039" y="2383"/>
                </a:lnTo>
                <a:lnTo>
                  <a:pt x="2043" y="2356"/>
                </a:lnTo>
                <a:lnTo>
                  <a:pt x="2048" y="2330"/>
                </a:lnTo>
                <a:lnTo>
                  <a:pt x="2055" y="2303"/>
                </a:lnTo>
                <a:lnTo>
                  <a:pt x="2064" y="2279"/>
                </a:lnTo>
                <a:lnTo>
                  <a:pt x="2064" y="2279"/>
                </a:lnTo>
                <a:lnTo>
                  <a:pt x="2072" y="2306"/>
                </a:lnTo>
                <a:lnTo>
                  <a:pt x="2079" y="2335"/>
                </a:lnTo>
                <a:lnTo>
                  <a:pt x="2088" y="2362"/>
                </a:lnTo>
                <a:lnTo>
                  <a:pt x="2098" y="2390"/>
                </a:lnTo>
                <a:lnTo>
                  <a:pt x="2108" y="2417"/>
                </a:lnTo>
                <a:lnTo>
                  <a:pt x="2121" y="2443"/>
                </a:lnTo>
                <a:lnTo>
                  <a:pt x="2135" y="2469"/>
                </a:lnTo>
                <a:lnTo>
                  <a:pt x="2149" y="2494"/>
                </a:lnTo>
                <a:lnTo>
                  <a:pt x="2166" y="2519"/>
                </a:lnTo>
                <a:lnTo>
                  <a:pt x="2183" y="2541"/>
                </a:lnTo>
                <a:lnTo>
                  <a:pt x="2201" y="2563"/>
                </a:lnTo>
                <a:lnTo>
                  <a:pt x="2222" y="2583"/>
                </a:lnTo>
                <a:lnTo>
                  <a:pt x="2244" y="2603"/>
                </a:lnTo>
                <a:lnTo>
                  <a:pt x="2268" y="2619"/>
                </a:lnTo>
                <a:lnTo>
                  <a:pt x="2280" y="2627"/>
                </a:lnTo>
                <a:lnTo>
                  <a:pt x="2292" y="2634"/>
                </a:lnTo>
                <a:lnTo>
                  <a:pt x="2306" y="2641"/>
                </a:lnTo>
                <a:lnTo>
                  <a:pt x="2320" y="2648"/>
                </a:lnTo>
                <a:lnTo>
                  <a:pt x="2320" y="2648"/>
                </a:lnTo>
                <a:lnTo>
                  <a:pt x="2365" y="2667"/>
                </a:lnTo>
                <a:lnTo>
                  <a:pt x="2410" y="2685"/>
                </a:lnTo>
                <a:lnTo>
                  <a:pt x="2454" y="2702"/>
                </a:lnTo>
                <a:lnTo>
                  <a:pt x="2499" y="2718"/>
                </a:lnTo>
                <a:lnTo>
                  <a:pt x="2544" y="2733"/>
                </a:lnTo>
                <a:lnTo>
                  <a:pt x="2589" y="2749"/>
                </a:lnTo>
                <a:lnTo>
                  <a:pt x="2683" y="2778"/>
                </a:lnTo>
                <a:lnTo>
                  <a:pt x="2782" y="2807"/>
                </a:lnTo>
                <a:lnTo>
                  <a:pt x="2889" y="2838"/>
                </a:lnTo>
                <a:lnTo>
                  <a:pt x="3005" y="2872"/>
                </a:lnTo>
                <a:lnTo>
                  <a:pt x="3133" y="2908"/>
                </a:lnTo>
                <a:lnTo>
                  <a:pt x="3133" y="2908"/>
                </a:lnTo>
                <a:lnTo>
                  <a:pt x="3205" y="2931"/>
                </a:lnTo>
                <a:lnTo>
                  <a:pt x="3273" y="2954"/>
                </a:lnTo>
                <a:lnTo>
                  <a:pt x="3305" y="2966"/>
                </a:lnTo>
                <a:lnTo>
                  <a:pt x="3333" y="2977"/>
                </a:lnTo>
                <a:lnTo>
                  <a:pt x="3358" y="2987"/>
                </a:lnTo>
                <a:lnTo>
                  <a:pt x="3377" y="2996"/>
                </a:lnTo>
                <a:lnTo>
                  <a:pt x="3377" y="2996"/>
                </a:lnTo>
                <a:lnTo>
                  <a:pt x="3383" y="2999"/>
                </a:lnTo>
                <a:lnTo>
                  <a:pt x="3389" y="3003"/>
                </a:lnTo>
                <a:lnTo>
                  <a:pt x="3393" y="3006"/>
                </a:lnTo>
                <a:lnTo>
                  <a:pt x="3397" y="3011"/>
                </a:lnTo>
                <a:lnTo>
                  <a:pt x="3399" y="3015"/>
                </a:lnTo>
                <a:lnTo>
                  <a:pt x="3401" y="3020"/>
                </a:lnTo>
                <a:lnTo>
                  <a:pt x="3402" y="3024"/>
                </a:lnTo>
                <a:lnTo>
                  <a:pt x="3402" y="3028"/>
                </a:lnTo>
                <a:lnTo>
                  <a:pt x="3401" y="3037"/>
                </a:lnTo>
                <a:lnTo>
                  <a:pt x="3397" y="3046"/>
                </a:lnTo>
                <a:lnTo>
                  <a:pt x="3392" y="3055"/>
                </a:lnTo>
                <a:lnTo>
                  <a:pt x="3386" y="3064"/>
                </a:lnTo>
                <a:lnTo>
                  <a:pt x="3378" y="3072"/>
                </a:lnTo>
                <a:lnTo>
                  <a:pt x="3371" y="3080"/>
                </a:lnTo>
                <a:lnTo>
                  <a:pt x="3357" y="3092"/>
                </a:lnTo>
                <a:lnTo>
                  <a:pt x="3346" y="3102"/>
                </a:lnTo>
                <a:lnTo>
                  <a:pt x="3341" y="3105"/>
                </a:lnTo>
                <a:lnTo>
                  <a:pt x="3341" y="3105"/>
                </a:lnTo>
                <a:lnTo>
                  <a:pt x="3355" y="3113"/>
                </a:lnTo>
                <a:lnTo>
                  <a:pt x="3371" y="3121"/>
                </a:lnTo>
                <a:lnTo>
                  <a:pt x="3411" y="3139"/>
                </a:lnTo>
                <a:lnTo>
                  <a:pt x="3435" y="3152"/>
                </a:lnTo>
                <a:lnTo>
                  <a:pt x="3461" y="3167"/>
                </a:lnTo>
                <a:lnTo>
                  <a:pt x="3492" y="3186"/>
                </a:lnTo>
                <a:lnTo>
                  <a:pt x="3527" y="3211"/>
                </a:lnTo>
                <a:lnTo>
                  <a:pt x="3527" y="3211"/>
                </a:lnTo>
                <a:lnTo>
                  <a:pt x="3545" y="3226"/>
                </a:lnTo>
                <a:lnTo>
                  <a:pt x="3563" y="3244"/>
                </a:lnTo>
                <a:lnTo>
                  <a:pt x="3580" y="3263"/>
                </a:lnTo>
                <a:lnTo>
                  <a:pt x="3595" y="3284"/>
                </a:lnTo>
                <a:lnTo>
                  <a:pt x="3608" y="3305"/>
                </a:lnTo>
                <a:lnTo>
                  <a:pt x="3622" y="3329"/>
                </a:lnTo>
                <a:lnTo>
                  <a:pt x="3634" y="3352"/>
                </a:lnTo>
                <a:lnTo>
                  <a:pt x="3645" y="3378"/>
                </a:lnTo>
                <a:lnTo>
                  <a:pt x="3655" y="3404"/>
                </a:lnTo>
                <a:lnTo>
                  <a:pt x="3665" y="3432"/>
                </a:lnTo>
                <a:lnTo>
                  <a:pt x="3674" y="3460"/>
                </a:lnTo>
                <a:lnTo>
                  <a:pt x="3682" y="3489"/>
                </a:lnTo>
                <a:lnTo>
                  <a:pt x="3698" y="3549"/>
                </a:lnTo>
                <a:lnTo>
                  <a:pt x="3714" y="3612"/>
                </a:lnTo>
                <a:lnTo>
                  <a:pt x="3714" y="3612"/>
                </a:lnTo>
                <a:lnTo>
                  <a:pt x="3725" y="3662"/>
                </a:lnTo>
                <a:lnTo>
                  <a:pt x="3734" y="3715"/>
                </a:lnTo>
                <a:lnTo>
                  <a:pt x="3742" y="3768"/>
                </a:lnTo>
                <a:lnTo>
                  <a:pt x="3744" y="3795"/>
                </a:lnTo>
                <a:lnTo>
                  <a:pt x="3746" y="3819"/>
                </a:lnTo>
                <a:lnTo>
                  <a:pt x="3748" y="3844"/>
                </a:lnTo>
                <a:lnTo>
                  <a:pt x="3749" y="3867"/>
                </a:lnTo>
                <a:lnTo>
                  <a:pt x="3748" y="3889"/>
                </a:lnTo>
                <a:lnTo>
                  <a:pt x="3745" y="3909"/>
                </a:lnTo>
                <a:lnTo>
                  <a:pt x="3742" y="3928"/>
                </a:lnTo>
                <a:lnTo>
                  <a:pt x="3737" y="3944"/>
                </a:lnTo>
                <a:lnTo>
                  <a:pt x="3731" y="3957"/>
                </a:lnTo>
                <a:lnTo>
                  <a:pt x="3728" y="3963"/>
                </a:lnTo>
                <a:lnTo>
                  <a:pt x="3724" y="3969"/>
                </a:lnTo>
                <a:lnTo>
                  <a:pt x="3724" y="3969"/>
                </a:lnTo>
                <a:lnTo>
                  <a:pt x="3715" y="3979"/>
                </a:lnTo>
                <a:lnTo>
                  <a:pt x="3705" y="3989"/>
                </a:lnTo>
                <a:lnTo>
                  <a:pt x="3691" y="3998"/>
                </a:lnTo>
                <a:lnTo>
                  <a:pt x="3683" y="4003"/>
                </a:lnTo>
                <a:lnTo>
                  <a:pt x="3673" y="4008"/>
                </a:lnTo>
                <a:lnTo>
                  <a:pt x="3663" y="4014"/>
                </a:lnTo>
                <a:lnTo>
                  <a:pt x="3650" y="4019"/>
                </a:lnTo>
                <a:lnTo>
                  <a:pt x="3621" y="4028"/>
                </a:lnTo>
                <a:lnTo>
                  <a:pt x="3582" y="4038"/>
                </a:lnTo>
                <a:lnTo>
                  <a:pt x="3535" y="4048"/>
                </a:lnTo>
                <a:lnTo>
                  <a:pt x="3560" y="4171"/>
                </a:lnTo>
                <a:lnTo>
                  <a:pt x="3560" y="4171"/>
                </a:lnTo>
                <a:lnTo>
                  <a:pt x="3579" y="4172"/>
                </a:lnTo>
                <a:lnTo>
                  <a:pt x="3597" y="4172"/>
                </a:lnTo>
                <a:lnTo>
                  <a:pt x="3615" y="4171"/>
                </a:lnTo>
                <a:lnTo>
                  <a:pt x="3631" y="4169"/>
                </a:lnTo>
                <a:lnTo>
                  <a:pt x="3646" y="4167"/>
                </a:lnTo>
                <a:lnTo>
                  <a:pt x="3662" y="4164"/>
                </a:lnTo>
                <a:lnTo>
                  <a:pt x="3688" y="4157"/>
                </a:lnTo>
                <a:lnTo>
                  <a:pt x="3711" y="4150"/>
                </a:lnTo>
                <a:lnTo>
                  <a:pt x="3728" y="4143"/>
                </a:lnTo>
                <a:lnTo>
                  <a:pt x="3742" y="4137"/>
                </a:lnTo>
                <a:lnTo>
                  <a:pt x="3742" y="4137"/>
                </a:lnTo>
                <a:lnTo>
                  <a:pt x="3736" y="4143"/>
                </a:lnTo>
                <a:lnTo>
                  <a:pt x="3730" y="4151"/>
                </a:lnTo>
                <a:lnTo>
                  <a:pt x="3722" y="4161"/>
                </a:lnTo>
                <a:lnTo>
                  <a:pt x="3722" y="4161"/>
                </a:lnTo>
                <a:lnTo>
                  <a:pt x="3711" y="4177"/>
                </a:lnTo>
                <a:lnTo>
                  <a:pt x="3700" y="4194"/>
                </a:lnTo>
                <a:lnTo>
                  <a:pt x="3692" y="4209"/>
                </a:lnTo>
                <a:lnTo>
                  <a:pt x="3685" y="4224"/>
                </a:lnTo>
                <a:lnTo>
                  <a:pt x="3680" y="4240"/>
                </a:lnTo>
                <a:lnTo>
                  <a:pt x="3675" y="4257"/>
                </a:lnTo>
                <a:lnTo>
                  <a:pt x="3672" y="4274"/>
                </a:lnTo>
                <a:lnTo>
                  <a:pt x="3669" y="4295"/>
                </a:lnTo>
                <a:lnTo>
                  <a:pt x="3799" y="4379"/>
                </a:lnTo>
                <a:lnTo>
                  <a:pt x="3799" y="4379"/>
                </a:lnTo>
                <a:lnTo>
                  <a:pt x="3812" y="4338"/>
                </a:lnTo>
                <a:lnTo>
                  <a:pt x="3826" y="4298"/>
                </a:lnTo>
                <a:lnTo>
                  <a:pt x="3841" y="4262"/>
                </a:lnTo>
                <a:lnTo>
                  <a:pt x="3855" y="4229"/>
                </a:lnTo>
                <a:lnTo>
                  <a:pt x="3870" y="4202"/>
                </a:lnTo>
                <a:lnTo>
                  <a:pt x="3877" y="4189"/>
                </a:lnTo>
                <a:lnTo>
                  <a:pt x="3885" y="4179"/>
                </a:lnTo>
                <a:lnTo>
                  <a:pt x="3892" y="4170"/>
                </a:lnTo>
                <a:lnTo>
                  <a:pt x="3899" y="4163"/>
                </a:lnTo>
                <a:lnTo>
                  <a:pt x="3906" y="4158"/>
                </a:lnTo>
                <a:lnTo>
                  <a:pt x="3913" y="4154"/>
                </a:lnTo>
                <a:lnTo>
                  <a:pt x="3913" y="4154"/>
                </a:lnTo>
                <a:lnTo>
                  <a:pt x="3919" y="4152"/>
                </a:lnTo>
                <a:lnTo>
                  <a:pt x="3926" y="4152"/>
                </a:lnTo>
                <a:lnTo>
                  <a:pt x="3935" y="4152"/>
                </a:lnTo>
                <a:lnTo>
                  <a:pt x="3944" y="4153"/>
                </a:lnTo>
                <a:lnTo>
                  <a:pt x="3954" y="4155"/>
                </a:lnTo>
                <a:lnTo>
                  <a:pt x="3965" y="4157"/>
                </a:lnTo>
                <a:lnTo>
                  <a:pt x="3990" y="4166"/>
                </a:lnTo>
                <a:lnTo>
                  <a:pt x="4017" y="4177"/>
                </a:lnTo>
                <a:lnTo>
                  <a:pt x="4047" y="4192"/>
                </a:lnTo>
                <a:lnTo>
                  <a:pt x="4078" y="4212"/>
                </a:lnTo>
                <a:lnTo>
                  <a:pt x="4110" y="4233"/>
                </a:lnTo>
                <a:lnTo>
                  <a:pt x="4127" y="4246"/>
                </a:lnTo>
                <a:lnTo>
                  <a:pt x="4143" y="4259"/>
                </a:lnTo>
                <a:lnTo>
                  <a:pt x="4160" y="4273"/>
                </a:lnTo>
                <a:lnTo>
                  <a:pt x="4176" y="4288"/>
                </a:lnTo>
                <a:lnTo>
                  <a:pt x="4192" y="4303"/>
                </a:lnTo>
                <a:lnTo>
                  <a:pt x="4208" y="4319"/>
                </a:lnTo>
                <a:lnTo>
                  <a:pt x="4224" y="4337"/>
                </a:lnTo>
                <a:lnTo>
                  <a:pt x="4239" y="4355"/>
                </a:lnTo>
                <a:lnTo>
                  <a:pt x="4254" y="4373"/>
                </a:lnTo>
                <a:lnTo>
                  <a:pt x="4268" y="4393"/>
                </a:lnTo>
                <a:lnTo>
                  <a:pt x="4282" y="4413"/>
                </a:lnTo>
                <a:lnTo>
                  <a:pt x="4296" y="4435"/>
                </a:lnTo>
                <a:lnTo>
                  <a:pt x="4308" y="4456"/>
                </a:lnTo>
                <a:lnTo>
                  <a:pt x="4320" y="4479"/>
                </a:lnTo>
                <a:lnTo>
                  <a:pt x="4331" y="4502"/>
                </a:lnTo>
                <a:lnTo>
                  <a:pt x="4342" y="4527"/>
                </a:lnTo>
                <a:lnTo>
                  <a:pt x="4342" y="4527"/>
                </a:lnTo>
                <a:lnTo>
                  <a:pt x="4347" y="4541"/>
                </a:lnTo>
                <a:lnTo>
                  <a:pt x="4352" y="4558"/>
                </a:lnTo>
                <a:lnTo>
                  <a:pt x="4356" y="4574"/>
                </a:lnTo>
                <a:lnTo>
                  <a:pt x="4360" y="4591"/>
                </a:lnTo>
                <a:lnTo>
                  <a:pt x="4363" y="4610"/>
                </a:lnTo>
                <a:lnTo>
                  <a:pt x="4366" y="4628"/>
                </a:lnTo>
                <a:lnTo>
                  <a:pt x="4370" y="4667"/>
                </a:lnTo>
                <a:lnTo>
                  <a:pt x="4372" y="4706"/>
                </a:lnTo>
                <a:lnTo>
                  <a:pt x="4371" y="4747"/>
                </a:lnTo>
                <a:lnTo>
                  <a:pt x="4370" y="4767"/>
                </a:lnTo>
                <a:lnTo>
                  <a:pt x="4369" y="4787"/>
                </a:lnTo>
                <a:lnTo>
                  <a:pt x="4366" y="4807"/>
                </a:lnTo>
                <a:lnTo>
                  <a:pt x="4363" y="4826"/>
                </a:lnTo>
                <a:lnTo>
                  <a:pt x="4360" y="4846"/>
                </a:lnTo>
                <a:lnTo>
                  <a:pt x="4356" y="4864"/>
                </a:lnTo>
                <a:lnTo>
                  <a:pt x="4351" y="4883"/>
                </a:lnTo>
                <a:lnTo>
                  <a:pt x="4345" y="4900"/>
                </a:lnTo>
                <a:lnTo>
                  <a:pt x="4339" y="4917"/>
                </a:lnTo>
                <a:lnTo>
                  <a:pt x="4332" y="4933"/>
                </a:lnTo>
                <a:lnTo>
                  <a:pt x="4324" y="4948"/>
                </a:lnTo>
                <a:lnTo>
                  <a:pt x="4316" y="4962"/>
                </a:lnTo>
                <a:lnTo>
                  <a:pt x="4307" y="4976"/>
                </a:lnTo>
                <a:lnTo>
                  <a:pt x="4298" y="4988"/>
                </a:lnTo>
                <a:lnTo>
                  <a:pt x="4287" y="4999"/>
                </a:lnTo>
                <a:lnTo>
                  <a:pt x="4276" y="5008"/>
                </a:lnTo>
                <a:lnTo>
                  <a:pt x="4264" y="5017"/>
                </a:lnTo>
                <a:lnTo>
                  <a:pt x="4252" y="5024"/>
                </a:lnTo>
                <a:lnTo>
                  <a:pt x="4238" y="5029"/>
                </a:lnTo>
                <a:lnTo>
                  <a:pt x="4224" y="5032"/>
                </a:lnTo>
                <a:lnTo>
                  <a:pt x="4224" y="5032"/>
                </a:lnTo>
                <a:lnTo>
                  <a:pt x="4216" y="5033"/>
                </a:lnTo>
                <a:lnTo>
                  <a:pt x="4208" y="5033"/>
                </a:lnTo>
                <a:lnTo>
                  <a:pt x="4198" y="5032"/>
                </a:lnTo>
                <a:lnTo>
                  <a:pt x="4188" y="5030"/>
                </a:lnTo>
                <a:lnTo>
                  <a:pt x="4168" y="5025"/>
                </a:lnTo>
                <a:lnTo>
                  <a:pt x="4145" y="5017"/>
                </a:lnTo>
                <a:lnTo>
                  <a:pt x="4123" y="5006"/>
                </a:lnTo>
                <a:lnTo>
                  <a:pt x="4099" y="4995"/>
                </a:lnTo>
                <a:lnTo>
                  <a:pt x="4051" y="4973"/>
                </a:lnTo>
                <a:lnTo>
                  <a:pt x="4028" y="4961"/>
                </a:lnTo>
                <a:lnTo>
                  <a:pt x="4005" y="4952"/>
                </a:lnTo>
                <a:lnTo>
                  <a:pt x="3984" y="4945"/>
                </a:lnTo>
                <a:lnTo>
                  <a:pt x="3964" y="4940"/>
                </a:lnTo>
                <a:lnTo>
                  <a:pt x="3955" y="4939"/>
                </a:lnTo>
                <a:lnTo>
                  <a:pt x="3947" y="4938"/>
                </a:lnTo>
                <a:lnTo>
                  <a:pt x="3939" y="4939"/>
                </a:lnTo>
                <a:lnTo>
                  <a:pt x="3932" y="4940"/>
                </a:lnTo>
                <a:lnTo>
                  <a:pt x="3924" y="4943"/>
                </a:lnTo>
                <a:lnTo>
                  <a:pt x="3919" y="4947"/>
                </a:lnTo>
                <a:lnTo>
                  <a:pt x="3914" y="4952"/>
                </a:lnTo>
                <a:lnTo>
                  <a:pt x="3909" y="4958"/>
                </a:lnTo>
                <a:lnTo>
                  <a:pt x="3909" y="4958"/>
                </a:lnTo>
                <a:lnTo>
                  <a:pt x="3905" y="4965"/>
                </a:lnTo>
                <a:lnTo>
                  <a:pt x="3900" y="4973"/>
                </a:lnTo>
                <a:lnTo>
                  <a:pt x="3893" y="4979"/>
                </a:lnTo>
                <a:lnTo>
                  <a:pt x="3886" y="4985"/>
                </a:lnTo>
                <a:lnTo>
                  <a:pt x="3869" y="4996"/>
                </a:lnTo>
                <a:lnTo>
                  <a:pt x="3851" y="5006"/>
                </a:lnTo>
                <a:lnTo>
                  <a:pt x="3810" y="5028"/>
                </a:lnTo>
                <a:lnTo>
                  <a:pt x="3789" y="5039"/>
                </a:lnTo>
                <a:lnTo>
                  <a:pt x="3770" y="5052"/>
                </a:lnTo>
                <a:lnTo>
                  <a:pt x="3761" y="5058"/>
                </a:lnTo>
                <a:lnTo>
                  <a:pt x="3752" y="5067"/>
                </a:lnTo>
                <a:lnTo>
                  <a:pt x="3743" y="5074"/>
                </a:lnTo>
                <a:lnTo>
                  <a:pt x="3735" y="5083"/>
                </a:lnTo>
                <a:lnTo>
                  <a:pt x="3728" y="5092"/>
                </a:lnTo>
                <a:lnTo>
                  <a:pt x="3722" y="5102"/>
                </a:lnTo>
                <a:lnTo>
                  <a:pt x="3717" y="5113"/>
                </a:lnTo>
                <a:lnTo>
                  <a:pt x="3713" y="5125"/>
                </a:lnTo>
                <a:lnTo>
                  <a:pt x="3710" y="5137"/>
                </a:lnTo>
                <a:lnTo>
                  <a:pt x="3708" y="5151"/>
                </a:lnTo>
                <a:lnTo>
                  <a:pt x="3707" y="5165"/>
                </a:lnTo>
                <a:lnTo>
                  <a:pt x="3707" y="5181"/>
                </a:lnTo>
                <a:lnTo>
                  <a:pt x="3709" y="5198"/>
                </a:lnTo>
                <a:lnTo>
                  <a:pt x="3713" y="5215"/>
                </a:lnTo>
                <a:lnTo>
                  <a:pt x="3718" y="5234"/>
                </a:lnTo>
                <a:lnTo>
                  <a:pt x="3724" y="5255"/>
                </a:lnTo>
                <a:lnTo>
                  <a:pt x="3724" y="5255"/>
                </a:lnTo>
                <a:lnTo>
                  <a:pt x="3741" y="5234"/>
                </a:lnTo>
                <a:lnTo>
                  <a:pt x="3759" y="5213"/>
                </a:lnTo>
                <a:lnTo>
                  <a:pt x="3776" y="5194"/>
                </a:lnTo>
                <a:lnTo>
                  <a:pt x="3794" y="5178"/>
                </a:lnTo>
                <a:lnTo>
                  <a:pt x="3802" y="5171"/>
                </a:lnTo>
                <a:lnTo>
                  <a:pt x="3811" y="5165"/>
                </a:lnTo>
                <a:lnTo>
                  <a:pt x="3819" y="5159"/>
                </a:lnTo>
                <a:lnTo>
                  <a:pt x="3827" y="5155"/>
                </a:lnTo>
                <a:lnTo>
                  <a:pt x="3835" y="5153"/>
                </a:lnTo>
                <a:lnTo>
                  <a:pt x="3843" y="5151"/>
                </a:lnTo>
                <a:lnTo>
                  <a:pt x="3850" y="5151"/>
                </a:lnTo>
                <a:lnTo>
                  <a:pt x="3857" y="5153"/>
                </a:lnTo>
                <a:lnTo>
                  <a:pt x="3857" y="5153"/>
                </a:lnTo>
                <a:lnTo>
                  <a:pt x="3861" y="5155"/>
                </a:lnTo>
                <a:lnTo>
                  <a:pt x="3864" y="5157"/>
                </a:lnTo>
                <a:lnTo>
                  <a:pt x="3870" y="5163"/>
                </a:lnTo>
                <a:lnTo>
                  <a:pt x="3875" y="5171"/>
                </a:lnTo>
                <a:lnTo>
                  <a:pt x="3879" y="5179"/>
                </a:lnTo>
                <a:lnTo>
                  <a:pt x="3888" y="5200"/>
                </a:lnTo>
                <a:lnTo>
                  <a:pt x="3894" y="5210"/>
                </a:lnTo>
                <a:lnTo>
                  <a:pt x="3901" y="5220"/>
                </a:lnTo>
                <a:lnTo>
                  <a:pt x="3901" y="5220"/>
                </a:lnTo>
                <a:lnTo>
                  <a:pt x="3904" y="5223"/>
                </a:lnTo>
                <a:lnTo>
                  <a:pt x="3908" y="5225"/>
                </a:lnTo>
                <a:lnTo>
                  <a:pt x="3913" y="5227"/>
                </a:lnTo>
                <a:lnTo>
                  <a:pt x="3919" y="5228"/>
                </a:lnTo>
                <a:lnTo>
                  <a:pt x="3934" y="5230"/>
                </a:lnTo>
                <a:lnTo>
                  <a:pt x="3950" y="5230"/>
                </a:lnTo>
                <a:lnTo>
                  <a:pt x="3968" y="5229"/>
                </a:lnTo>
                <a:lnTo>
                  <a:pt x="3989" y="5227"/>
                </a:lnTo>
                <a:lnTo>
                  <a:pt x="4032" y="5223"/>
                </a:lnTo>
                <a:lnTo>
                  <a:pt x="4074" y="5219"/>
                </a:lnTo>
                <a:lnTo>
                  <a:pt x="4093" y="5217"/>
                </a:lnTo>
                <a:lnTo>
                  <a:pt x="4110" y="5217"/>
                </a:lnTo>
                <a:lnTo>
                  <a:pt x="4126" y="5217"/>
                </a:lnTo>
                <a:lnTo>
                  <a:pt x="4137" y="5219"/>
                </a:lnTo>
                <a:lnTo>
                  <a:pt x="4142" y="5221"/>
                </a:lnTo>
                <a:lnTo>
                  <a:pt x="4146" y="5223"/>
                </a:lnTo>
                <a:lnTo>
                  <a:pt x="4148" y="5225"/>
                </a:lnTo>
                <a:lnTo>
                  <a:pt x="4150" y="5228"/>
                </a:lnTo>
                <a:lnTo>
                  <a:pt x="4150" y="5228"/>
                </a:lnTo>
                <a:lnTo>
                  <a:pt x="4151" y="5231"/>
                </a:lnTo>
                <a:lnTo>
                  <a:pt x="4150" y="5234"/>
                </a:lnTo>
                <a:lnTo>
                  <a:pt x="4149" y="5236"/>
                </a:lnTo>
                <a:lnTo>
                  <a:pt x="4148" y="5238"/>
                </a:lnTo>
                <a:lnTo>
                  <a:pt x="4143" y="5242"/>
                </a:lnTo>
                <a:lnTo>
                  <a:pt x="4136" y="5243"/>
                </a:lnTo>
                <a:lnTo>
                  <a:pt x="4118" y="5246"/>
                </a:lnTo>
                <a:lnTo>
                  <a:pt x="4100" y="5248"/>
                </a:lnTo>
                <a:lnTo>
                  <a:pt x="4100" y="5248"/>
                </a:lnTo>
                <a:lnTo>
                  <a:pt x="4021" y="5262"/>
                </a:lnTo>
                <a:lnTo>
                  <a:pt x="3981" y="5269"/>
                </a:lnTo>
                <a:lnTo>
                  <a:pt x="3943" y="5277"/>
                </a:lnTo>
                <a:lnTo>
                  <a:pt x="3925" y="5282"/>
                </a:lnTo>
                <a:lnTo>
                  <a:pt x="3909" y="5288"/>
                </a:lnTo>
                <a:lnTo>
                  <a:pt x="3894" y="5294"/>
                </a:lnTo>
                <a:lnTo>
                  <a:pt x="3881" y="5300"/>
                </a:lnTo>
                <a:lnTo>
                  <a:pt x="3869" y="5306"/>
                </a:lnTo>
                <a:lnTo>
                  <a:pt x="3860" y="5314"/>
                </a:lnTo>
                <a:lnTo>
                  <a:pt x="3853" y="5322"/>
                </a:lnTo>
                <a:lnTo>
                  <a:pt x="3850" y="5326"/>
                </a:lnTo>
                <a:lnTo>
                  <a:pt x="3848" y="5331"/>
                </a:lnTo>
                <a:lnTo>
                  <a:pt x="3848" y="5331"/>
                </a:lnTo>
                <a:lnTo>
                  <a:pt x="3846" y="5338"/>
                </a:lnTo>
                <a:lnTo>
                  <a:pt x="3846" y="5342"/>
                </a:lnTo>
                <a:lnTo>
                  <a:pt x="3847" y="5352"/>
                </a:lnTo>
                <a:lnTo>
                  <a:pt x="3847" y="5357"/>
                </a:lnTo>
                <a:lnTo>
                  <a:pt x="3846" y="5363"/>
                </a:lnTo>
                <a:lnTo>
                  <a:pt x="3845" y="5371"/>
                </a:lnTo>
                <a:lnTo>
                  <a:pt x="3842" y="5382"/>
                </a:lnTo>
                <a:lnTo>
                  <a:pt x="3842" y="5382"/>
                </a:lnTo>
                <a:lnTo>
                  <a:pt x="3837" y="5393"/>
                </a:lnTo>
                <a:lnTo>
                  <a:pt x="3831" y="5402"/>
                </a:lnTo>
                <a:lnTo>
                  <a:pt x="3823" y="5410"/>
                </a:lnTo>
                <a:lnTo>
                  <a:pt x="3815" y="5418"/>
                </a:lnTo>
                <a:lnTo>
                  <a:pt x="3796" y="5434"/>
                </a:lnTo>
                <a:lnTo>
                  <a:pt x="3786" y="5442"/>
                </a:lnTo>
                <a:lnTo>
                  <a:pt x="3776" y="5451"/>
                </a:lnTo>
                <a:lnTo>
                  <a:pt x="3767" y="5460"/>
                </a:lnTo>
                <a:lnTo>
                  <a:pt x="3758" y="5472"/>
                </a:lnTo>
                <a:lnTo>
                  <a:pt x="3750" y="5485"/>
                </a:lnTo>
                <a:lnTo>
                  <a:pt x="3742" y="5499"/>
                </a:lnTo>
                <a:lnTo>
                  <a:pt x="3736" y="5517"/>
                </a:lnTo>
                <a:lnTo>
                  <a:pt x="3732" y="5536"/>
                </a:lnTo>
                <a:lnTo>
                  <a:pt x="3730" y="5558"/>
                </a:lnTo>
                <a:lnTo>
                  <a:pt x="3730" y="5584"/>
                </a:lnTo>
                <a:lnTo>
                  <a:pt x="3730" y="5584"/>
                </a:lnTo>
                <a:lnTo>
                  <a:pt x="3732" y="5597"/>
                </a:lnTo>
                <a:lnTo>
                  <a:pt x="3735" y="5610"/>
                </a:lnTo>
                <a:lnTo>
                  <a:pt x="3739" y="5622"/>
                </a:lnTo>
                <a:lnTo>
                  <a:pt x="3744" y="5634"/>
                </a:lnTo>
                <a:lnTo>
                  <a:pt x="3751" y="5644"/>
                </a:lnTo>
                <a:lnTo>
                  <a:pt x="3757" y="5656"/>
                </a:lnTo>
                <a:lnTo>
                  <a:pt x="3763" y="5665"/>
                </a:lnTo>
                <a:lnTo>
                  <a:pt x="3770" y="5674"/>
                </a:lnTo>
                <a:lnTo>
                  <a:pt x="3784" y="5689"/>
                </a:lnTo>
                <a:lnTo>
                  <a:pt x="3797" y="5701"/>
                </a:lnTo>
                <a:lnTo>
                  <a:pt x="3807" y="5708"/>
                </a:lnTo>
                <a:lnTo>
                  <a:pt x="3810" y="5710"/>
                </a:lnTo>
                <a:lnTo>
                  <a:pt x="3813" y="5711"/>
                </a:lnTo>
                <a:lnTo>
                  <a:pt x="3813" y="5711"/>
                </a:lnTo>
                <a:lnTo>
                  <a:pt x="3814" y="5710"/>
                </a:lnTo>
                <a:lnTo>
                  <a:pt x="3815" y="5709"/>
                </a:lnTo>
                <a:lnTo>
                  <a:pt x="3816" y="5704"/>
                </a:lnTo>
                <a:lnTo>
                  <a:pt x="3818" y="5696"/>
                </a:lnTo>
                <a:lnTo>
                  <a:pt x="3818" y="5686"/>
                </a:lnTo>
                <a:lnTo>
                  <a:pt x="3820" y="5662"/>
                </a:lnTo>
                <a:lnTo>
                  <a:pt x="3823" y="5633"/>
                </a:lnTo>
                <a:lnTo>
                  <a:pt x="3825" y="5619"/>
                </a:lnTo>
                <a:lnTo>
                  <a:pt x="3828" y="5603"/>
                </a:lnTo>
                <a:lnTo>
                  <a:pt x="3831" y="5590"/>
                </a:lnTo>
                <a:lnTo>
                  <a:pt x="3836" y="5577"/>
                </a:lnTo>
                <a:lnTo>
                  <a:pt x="3843" y="5566"/>
                </a:lnTo>
                <a:lnTo>
                  <a:pt x="3847" y="5562"/>
                </a:lnTo>
                <a:lnTo>
                  <a:pt x="3851" y="5556"/>
                </a:lnTo>
                <a:lnTo>
                  <a:pt x="3855" y="5553"/>
                </a:lnTo>
                <a:lnTo>
                  <a:pt x="3860" y="5550"/>
                </a:lnTo>
                <a:lnTo>
                  <a:pt x="3865" y="5547"/>
                </a:lnTo>
                <a:lnTo>
                  <a:pt x="3871" y="5546"/>
                </a:lnTo>
                <a:lnTo>
                  <a:pt x="3871" y="5546"/>
                </a:lnTo>
                <a:lnTo>
                  <a:pt x="3877" y="5545"/>
                </a:lnTo>
                <a:lnTo>
                  <a:pt x="3882" y="5546"/>
                </a:lnTo>
                <a:lnTo>
                  <a:pt x="3888" y="5548"/>
                </a:lnTo>
                <a:lnTo>
                  <a:pt x="3892" y="5552"/>
                </a:lnTo>
                <a:lnTo>
                  <a:pt x="3902" y="5561"/>
                </a:lnTo>
                <a:lnTo>
                  <a:pt x="3911" y="5571"/>
                </a:lnTo>
                <a:lnTo>
                  <a:pt x="3921" y="5581"/>
                </a:lnTo>
                <a:lnTo>
                  <a:pt x="3926" y="5586"/>
                </a:lnTo>
                <a:lnTo>
                  <a:pt x="3933" y="5590"/>
                </a:lnTo>
                <a:lnTo>
                  <a:pt x="3940" y="5594"/>
                </a:lnTo>
                <a:lnTo>
                  <a:pt x="3946" y="5597"/>
                </a:lnTo>
                <a:lnTo>
                  <a:pt x="3954" y="5598"/>
                </a:lnTo>
                <a:lnTo>
                  <a:pt x="3962" y="5599"/>
                </a:lnTo>
                <a:lnTo>
                  <a:pt x="3962" y="5599"/>
                </a:lnTo>
                <a:lnTo>
                  <a:pt x="3970" y="5598"/>
                </a:lnTo>
                <a:lnTo>
                  <a:pt x="3979" y="5595"/>
                </a:lnTo>
                <a:lnTo>
                  <a:pt x="3987" y="5592"/>
                </a:lnTo>
                <a:lnTo>
                  <a:pt x="3996" y="5588"/>
                </a:lnTo>
                <a:lnTo>
                  <a:pt x="4005" y="5582"/>
                </a:lnTo>
                <a:lnTo>
                  <a:pt x="4014" y="5576"/>
                </a:lnTo>
                <a:lnTo>
                  <a:pt x="4035" y="5559"/>
                </a:lnTo>
                <a:lnTo>
                  <a:pt x="4055" y="5542"/>
                </a:lnTo>
                <a:lnTo>
                  <a:pt x="4077" y="5522"/>
                </a:lnTo>
                <a:lnTo>
                  <a:pt x="4122" y="5479"/>
                </a:lnTo>
                <a:lnTo>
                  <a:pt x="4144" y="5457"/>
                </a:lnTo>
                <a:lnTo>
                  <a:pt x="4166" y="5437"/>
                </a:lnTo>
                <a:lnTo>
                  <a:pt x="4187" y="5417"/>
                </a:lnTo>
                <a:lnTo>
                  <a:pt x="4208" y="5402"/>
                </a:lnTo>
                <a:lnTo>
                  <a:pt x="4227" y="5389"/>
                </a:lnTo>
                <a:lnTo>
                  <a:pt x="4236" y="5384"/>
                </a:lnTo>
                <a:lnTo>
                  <a:pt x="4245" y="5380"/>
                </a:lnTo>
                <a:lnTo>
                  <a:pt x="4254" y="5376"/>
                </a:lnTo>
                <a:lnTo>
                  <a:pt x="4262" y="5374"/>
                </a:lnTo>
                <a:lnTo>
                  <a:pt x="4270" y="5374"/>
                </a:lnTo>
                <a:lnTo>
                  <a:pt x="4277" y="5375"/>
                </a:lnTo>
                <a:lnTo>
                  <a:pt x="4277" y="5375"/>
                </a:lnTo>
                <a:lnTo>
                  <a:pt x="4278" y="5376"/>
                </a:lnTo>
                <a:lnTo>
                  <a:pt x="4279" y="5379"/>
                </a:lnTo>
                <a:lnTo>
                  <a:pt x="4278" y="5382"/>
                </a:lnTo>
                <a:lnTo>
                  <a:pt x="4277" y="5384"/>
                </a:lnTo>
                <a:lnTo>
                  <a:pt x="4272" y="5391"/>
                </a:lnTo>
                <a:lnTo>
                  <a:pt x="4264" y="5399"/>
                </a:lnTo>
                <a:lnTo>
                  <a:pt x="4241" y="5420"/>
                </a:lnTo>
                <a:lnTo>
                  <a:pt x="4212" y="5447"/>
                </a:lnTo>
                <a:lnTo>
                  <a:pt x="4181" y="5477"/>
                </a:lnTo>
                <a:lnTo>
                  <a:pt x="4167" y="5492"/>
                </a:lnTo>
                <a:lnTo>
                  <a:pt x="4152" y="5508"/>
                </a:lnTo>
                <a:lnTo>
                  <a:pt x="4140" y="5525"/>
                </a:lnTo>
                <a:lnTo>
                  <a:pt x="4129" y="5542"/>
                </a:lnTo>
                <a:lnTo>
                  <a:pt x="4121" y="5558"/>
                </a:lnTo>
                <a:lnTo>
                  <a:pt x="4118" y="5567"/>
                </a:lnTo>
                <a:lnTo>
                  <a:pt x="4116" y="5576"/>
                </a:lnTo>
                <a:lnTo>
                  <a:pt x="4116" y="5576"/>
                </a:lnTo>
                <a:lnTo>
                  <a:pt x="4114" y="5588"/>
                </a:lnTo>
                <a:lnTo>
                  <a:pt x="4114" y="5599"/>
                </a:lnTo>
                <a:lnTo>
                  <a:pt x="4115" y="5611"/>
                </a:lnTo>
                <a:lnTo>
                  <a:pt x="4119" y="5620"/>
                </a:lnTo>
                <a:lnTo>
                  <a:pt x="4123" y="5628"/>
                </a:lnTo>
                <a:lnTo>
                  <a:pt x="4129" y="5636"/>
                </a:lnTo>
                <a:lnTo>
                  <a:pt x="4135" y="5643"/>
                </a:lnTo>
                <a:lnTo>
                  <a:pt x="4142" y="5649"/>
                </a:lnTo>
                <a:lnTo>
                  <a:pt x="4157" y="5663"/>
                </a:lnTo>
                <a:lnTo>
                  <a:pt x="4163" y="5669"/>
                </a:lnTo>
                <a:lnTo>
                  <a:pt x="4169" y="5676"/>
                </a:lnTo>
                <a:lnTo>
                  <a:pt x="4175" y="5683"/>
                </a:lnTo>
                <a:lnTo>
                  <a:pt x="4179" y="5690"/>
                </a:lnTo>
                <a:lnTo>
                  <a:pt x="4182" y="5699"/>
                </a:lnTo>
                <a:lnTo>
                  <a:pt x="4183" y="5708"/>
                </a:lnTo>
                <a:lnTo>
                  <a:pt x="4183" y="5708"/>
                </a:lnTo>
                <a:lnTo>
                  <a:pt x="4184" y="5718"/>
                </a:lnTo>
                <a:lnTo>
                  <a:pt x="4186" y="5729"/>
                </a:lnTo>
                <a:lnTo>
                  <a:pt x="4189" y="5738"/>
                </a:lnTo>
                <a:lnTo>
                  <a:pt x="4193" y="5749"/>
                </a:lnTo>
                <a:lnTo>
                  <a:pt x="4198" y="5758"/>
                </a:lnTo>
                <a:lnTo>
                  <a:pt x="4205" y="5767"/>
                </a:lnTo>
                <a:lnTo>
                  <a:pt x="4212" y="5775"/>
                </a:lnTo>
                <a:lnTo>
                  <a:pt x="4220" y="5783"/>
                </a:lnTo>
                <a:lnTo>
                  <a:pt x="4228" y="5792"/>
                </a:lnTo>
                <a:lnTo>
                  <a:pt x="4237" y="5799"/>
                </a:lnTo>
                <a:lnTo>
                  <a:pt x="4257" y="5812"/>
                </a:lnTo>
                <a:lnTo>
                  <a:pt x="4278" y="5824"/>
                </a:lnTo>
                <a:lnTo>
                  <a:pt x="4300" y="5835"/>
                </a:lnTo>
                <a:lnTo>
                  <a:pt x="4322" y="5844"/>
                </a:lnTo>
                <a:lnTo>
                  <a:pt x="4344" y="5852"/>
                </a:lnTo>
                <a:lnTo>
                  <a:pt x="4364" y="5857"/>
                </a:lnTo>
                <a:lnTo>
                  <a:pt x="4382" y="5862"/>
                </a:lnTo>
                <a:lnTo>
                  <a:pt x="4399" y="5864"/>
                </a:lnTo>
                <a:lnTo>
                  <a:pt x="4412" y="5865"/>
                </a:lnTo>
                <a:lnTo>
                  <a:pt x="4421" y="5865"/>
                </a:lnTo>
                <a:lnTo>
                  <a:pt x="4424" y="5864"/>
                </a:lnTo>
                <a:lnTo>
                  <a:pt x="4426" y="5863"/>
                </a:lnTo>
                <a:lnTo>
                  <a:pt x="4426" y="5863"/>
                </a:lnTo>
                <a:lnTo>
                  <a:pt x="4427" y="5861"/>
                </a:lnTo>
                <a:lnTo>
                  <a:pt x="4427" y="5859"/>
                </a:lnTo>
                <a:lnTo>
                  <a:pt x="4425" y="5853"/>
                </a:lnTo>
                <a:lnTo>
                  <a:pt x="4420" y="5846"/>
                </a:lnTo>
                <a:lnTo>
                  <a:pt x="4412" y="5836"/>
                </a:lnTo>
                <a:lnTo>
                  <a:pt x="4393" y="5813"/>
                </a:lnTo>
                <a:lnTo>
                  <a:pt x="4369" y="5786"/>
                </a:lnTo>
                <a:lnTo>
                  <a:pt x="4358" y="5773"/>
                </a:lnTo>
                <a:lnTo>
                  <a:pt x="4348" y="5759"/>
                </a:lnTo>
                <a:lnTo>
                  <a:pt x="4339" y="5745"/>
                </a:lnTo>
                <a:lnTo>
                  <a:pt x="4330" y="5731"/>
                </a:lnTo>
                <a:lnTo>
                  <a:pt x="4325" y="5718"/>
                </a:lnTo>
                <a:lnTo>
                  <a:pt x="4324" y="5712"/>
                </a:lnTo>
                <a:lnTo>
                  <a:pt x="4323" y="5706"/>
                </a:lnTo>
                <a:lnTo>
                  <a:pt x="4323" y="5700"/>
                </a:lnTo>
                <a:lnTo>
                  <a:pt x="4324" y="5694"/>
                </a:lnTo>
                <a:lnTo>
                  <a:pt x="4326" y="5689"/>
                </a:lnTo>
                <a:lnTo>
                  <a:pt x="4329" y="5684"/>
                </a:lnTo>
                <a:lnTo>
                  <a:pt x="4329" y="5684"/>
                </a:lnTo>
                <a:lnTo>
                  <a:pt x="4333" y="5680"/>
                </a:lnTo>
                <a:lnTo>
                  <a:pt x="4337" y="5677"/>
                </a:lnTo>
                <a:lnTo>
                  <a:pt x="4343" y="5676"/>
                </a:lnTo>
                <a:lnTo>
                  <a:pt x="4347" y="5675"/>
                </a:lnTo>
                <a:lnTo>
                  <a:pt x="4352" y="5675"/>
                </a:lnTo>
                <a:lnTo>
                  <a:pt x="4358" y="5676"/>
                </a:lnTo>
                <a:lnTo>
                  <a:pt x="4370" y="5678"/>
                </a:lnTo>
                <a:lnTo>
                  <a:pt x="4384" y="5681"/>
                </a:lnTo>
                <a:lnTo>
                  <a:pt x="4392" y="5682"/>
                </a:lnTo>
                <a:lnTo>
                  <a:pt x="4399" y="5682"/>
                </a:lnTo>
                <a:lnTo>
                  <a:pt x="4408" y="5682"/>
                </a:lnTo>
                <a:lnTo>
                  <a:pt x="4416" y="5681"/>
                </a:lnTo>
                <a:lnTo>
                  <a:pt x="4425" y="5679"/>
                </a:lnTo>
                <a:lnTo>
                  <a:pt x="4436" y="5675"/>
                </a:lnTo>
                <a:lnTo>
                  <a:pt x="4436" y="5675"/>
                </a:lnTo>
                <a:lnTo>
                  <a:pt x="4437" y="5673"/>
                </a:lnTo>
                <a:lnTo>
                  <a:pt x="4438" y="5670"/>
                </a:lnTo>
                <a:lnTo>
                  <a:pt x="4438" y="5663"/>
                </a:lnTo>
                <a:lnTo>
                  <a:pt x="4436" y="5652"/>
                </a:lnTo>
                <a:lnTo>
                  <a:pt x="4434" y="5637"/>
                </a:lnTo>
                <a:lnTo>
                  <a:pt x="4431" y="5621"/>
                </a:lnTo>
                <a:lnTo>
                  <a:pt x="4428" y="5602"/>
                </a:lnTo>
                <a:lnTo>
                  <a:pt x="4426" y="5581"/>
                </a:lnTo>
                <a:lnTo>
                  <a:pt x="4426" y="5557"/>
                </a:lnTo>
                <a:lnTo>
                  <a:pt x="4428" y="5533"/>
                </a:lnTo>
                <a:lnTo>
                  <a:pt x="4431" y="5520"/>
                </a:lnTo>
                <a:lnTo>
                  <a:pt x="4434" y="5505"/>
                </a:lnTo>
                <a:lnTo>
                  <a:pt x="4437" y="5492"/>
                </a:lnTo>
                <a:lnTo>
                  <a:pt x="4441" y="5477"/>
                </a:lnTo>
                <a:lnTo>
                  <a:pt x="4446" y="5462"/>
                </a:lnTo>
                <a:lnTo>
                  <a:pt x="4453" y="5447"/>
                </a:lnTo>
                <a:lnTo>
                  <a:pt x="4460" y="5432"/>
                </a:lnTo>
                <a:lnTo>
                  <a:pt x="4469" y="5416"/>
                </a:lnTo>
                <a:lnTo>
                  <a:pt x="4479" y="5400"/>
                </a:lnTo>
                <a:lnTo>
                  <a:pt x="4490" y="5384"/>
                </a:lnTo>
                <a:lnTo>
                  <a:pt x="4503" y="5367"/>
                </a:lnTo>
                <a:lnTo>
                  <a:pt x="4516" y="5351"/>
                </a:lnTo>
                <a:lnTo>
                  <a:pt x="4533" y="5334"/>
                </a:lnTo>
                <a:lnTo>
                  <a:pt x="4550" y="5317"/>
                </a:lnTo>
                <a:lnTo>
                  <a:pt x="4550" y="5317"/>
                </a:lnTo>
                <a:lnTo>
                  <a:pt x="4557" y="5328"/>
                </a:lnTo>
                <a:lnTo>
                  <a:pt x="4566" y="5340"/>
                </a:lnTo>
                <a:lnTo>
                  <a:pt x="4578" y="5353"/>
                </a:lnTo>
                <a:lnTo>
                  <a:pt x="4586" y="5360"/>
                </a:lnTo>
                <a:lnTo>
                  <a:pt x="4594" y="5367"/>
                </a:lnTo>
                <a:lnTo>
                  <a:pt x="4603" y="5373"/>
                </a:lnTo>
                <a:lnTo>
                  <a:pt x="4614" y="5381"/>
                </a:lnTo>
                <a:lnTo>
                  <a:pt x="4624" y="5386"/>
                </a:lnTo>
                <a:lnTo>
                  <a:pt x="4636" y="5390"/>
                </a:lnTo>
                <a:lnTo>
                  <a:pt x="4648" y="5394"/>
                </a:lnTo>
                <a:lnTo>
                  <a:pt x="4662" y="5396"/>
                </a:lnTo>
                <a:lnTo>
                  <a:pt x="4662" y="5396"/>
                </a:lnTo>
                <a:lnTo>
                  <a:pt x="4668" y="5397"/>
                </a:lnTo>
                <a:lnTo>
                  <a:pt x="4673" y="5399"/>
                </a:lnTo>
                <a:lnTo>
                  <a:pt x="4677" y="5402"/>
                </a:lnTo>
                <a:lnTo>
                  <a:pt x="4681" y="5405"/>
                </a:lnTo>
                <a:lnTo>
                  <a:pt x="4685" y="5409"/>
                </a:lnTo>
                <a:lnTo>
                  <a:pt x="4688" y="5413"/>
                </a:lnTo>
                <a:lnTo>
                  <a:pt x="4692" y="5425"/>
                </a:lnTo>
                <a:lnTo>
                  <a:pt x="4696" y="5437"/>
                </a:lnTo>
                <a:lnTo>
                  <a:pt x="4698" y="5450"/>
                </a:lnTo>
                <a:lnTo>
                  <a:pt x="4698" y="5463"/>
                </a:lnTo>
                <a:lnTo>
                  <a:pt x="4698" y="5478"/>
                </a:lnTo>
                <a:lnTo>
                  <a:pt x="4696" y="5506"/>
                </a:lnTo>
                <a:lnTo>
                  <a:pt x="4694" y="5531"/>
                </a:lnTo>
                <a:lnTo>
                  <a:pt x="4692" y="5548"/>
                </a:lnTo>
                <a:lnTo>
                  <a:pt x="4692" y="5553"/>
                </a:lnTo>
                <a:lnTo>
                  <a:pt x="4693" y="5554"/>
                </a:lnTo>
                <a:lnTo>
                  <a:pt x="4694" y="5554"/>
                </a:lnTo>
                <a:lnTo>
                  <a:pt x="4694" y="5554"/>
                </a:lnTo>
                <a:lnTo>
                  <a:pt x="4697" y="5553"/>
                </a:lnTo>
                <a:lnTo>
                  <a:pt x="4702" y="5550"/>
                </a:lnTo>
                <a:lnTo>
                  <a:pt x="4708" y="5545"/>
                </a:lnTo>
                <a:lnTo>
                  <a:pt x="4714" y="5538"/>
                </a:lnTo>
                <a:lnTo>
                  <a:pt x="4721" y="5529"/>
                </a:lnTo>
                <a:lnTo>
                  <a:pt x="4729" y="5519"/>
                </a:lnTo>
                <a:lnTo>
                  <a:pt x="4736" y="5505"/>
                </a:lnTo>
                <a:lnTo>
                  <a:pt x="4743" y="5492"/>
                </a:lnTo>
                <a:lnTo>
                  <a:pt x="4751" y="5477"/>
                </a:lnTo>
                <a:lnTo>
                  <a:pt x="4758" y="5459"/>
                </a:lnTo>
                <a:lnTo>
                  <a:pt x="4763" y="5442"/>
                </a:lnTo>
                <a:lnTo>
                  <a:pt x="4768" y="5422"/>
                </a:lnTo>
                <a:lnTo>
                  <a:pt x="4771" y="5402"/>
                </a:lnTo>
                <a:lnTo>
                  <a:pt x="4773" y="5382"/>
                </a:lnTo>
                <a:lnTo>
                  <a:pt x="4772" y="5360"/>
                </a:lnTo>
                <a:lnTo>
                  <a:pt x="4770" y="5338"/>
                </a:lnTo>
                <a:lnTo>
                  <a:pt x="4770" y="5338"/>
                </a:lnTo>
                <a:lnTo>
                  <a:pt x="4778" y="5330"/>
                </a:lnTo>
                <a:lnTo>
                  <a:pt x="4798" y="5313"/>
                </a:lnTo>
                <a:lnTo>
                  <a:pt x="4809" y="5302"/>
                </a:lnTo>
                <a:lnTo>
                  <a:pt x="4819" y="5290"/>
                </a:lnTo>
                <a:lnTo>
                  <a:pt x="4827" y="5276"/>
                </a:lnTo>
                <a:lnTo>
                  <a:pt x="4830" y="5270"/>
                </a:lnTo>
                <a:lnTo>
                  <a:pt x="4832" y="5264"/>
                </a:lnTo>
                <a:lnTo>
                  <a:pt x="4832" y="5264"/>
                </a:lnTo>
                <a:lnTo>
                  <a:pt x="4834" y="5255"/>
                </a:lnTo>
                <a:lnTo>
                  <a:pt x="4835" y="5246"/>
                </a:lnTo>
                <a:lnTo>
                  <a:pt x="4836" y="5237"/>
                </a:lnTo>
                <a:lnTo>
                  <a:pt x="4835" y="5230"/>
                </a:lnTo>
                <a:lnTo>
                  <a:pt x="4834" y="5224"/>
                </a:lnTo>
                <a:lnTo>
                  <a:pt x="4832" y="5218"/>
                </a:lnTo>
                <a:lnTo>
                  <a:pt x="4830" y="5213"/>
                </a:lnTo>
                <a:lnTo>
                  <a:pt x="4827" y="5208"/>
                </a:lnTo>
                <a:lnTo>
                  <a:pt x="4819" y="5199"/>
                </a:lnTo>
                <a:lnTo>
                  <a:pt x="4810" y="5189"/>
                </a:lnTo>
                <a:lnTo>
                  <a:pt x="4800" y="5180"/>
                </a:lnTo>
                <a:lnTo>
                  <a:pt x="4789" y="5169"/>
                </a:lnTo>
                <a:lnTo>
                  <a:pt x="4778" y="5156"/>
                </a:lnTo>
                <a:lnTo>
                  <a:pt x="4772" y="5148"/>
                </a:lnTo>
                <a:lnTo>
                  <a:pt x="4767" y="5139"/>
                </a:lnTo>
                <a:lnTo>
                  <a:pt x="4762" y="5130"/>
                </a:lnTo>
                <a:lnTo>
                  <a:pt x="4757" y="5120"/>
                </a:lnTo>
                <a:lnTo>
                  <a:pt x="4753" y="5108"/>
                </a:lnTo>
                <a:lnTo>
                  <a:pt x="4749" y="5095"/>
                </a:lnTo>
                <a:lnTo>
                  <a:pt x="4744" y="5081"/>
                </a:lnTo>
                <a:lnTo>
                  <a:pt x="4741" y="5065"/>
                </a:lnTo>
                <a:lnTo>
                  <a:pt x="4738" y="5048"/>
                </a:lnTo>
                <a:lnTo>
                  <a:pt x="4736" y="5029"/>
                </a:lnTo>
                <a:lnTo>
                  <a:pt x="4735" y="5008"/>
                </a:lnTo>
                <a:lnTo>
                  <a:pt x="4734" y="4986"/>
                </a:lnTo>
                <a:lnTo>
                  <a:pt x="4734" y="4961"/>
                </a:lnTo>
                <a:lnTo>
                  <a:pt x="4735" y="4935"/>
                </a:lnTo>
                <a:lnTo>
                  <a:pt x="4735" y="4935"/>
                </a:lnTo>
                <a:lnTo>
                  <a:pt x="4735" y="4917"/>
                </a:lnTo>
                <a:lnTo>
                  <a:pt x="4734" y="4911"/>
                </a:lnTo>
                <a:lnTo>
                  <a:pt x="4733" y="4906"/>
                </a:lnTo>
                <a:lnTo>
                  <a:pt x="4731" y="4901"/>
                </a:lnTo>
                <a:lnTo>
                  <a:pt x="4729" y="4897"/>
                </a:lnTo>
                <a:lnTo>
                  <a:pt x="4727" y="4894"/>
                </a:lnTo>
                <a:lnTo>
                  <a:pt x="4724" y="4891"/>
                </a:lnTo>
                <a:lnTo>
                  <a:pt x="4716" y="4885"/>
                </a:lnTo>
                <a:lnTo>
                  <a:pt x="4706" y="4878"/>
                </a:lnTo>
                <a:lnTo>
                  <a:pt x="4693" y="4868"/>
                </a:lnTo>
                <a:lnTo>
                  <a:pt x="4679" y="4856"/>
                </a:lnTo>
                <a:lnTo>
                  <a:pt x="4679" y="4856"/>
                </a:lnTo>
                <a:lnTo>
                  <a:pt x="4671" y="4846"/>
                </a:lnTo>
                <a:lnTo>
                  <a:pt x="4664" y="4836"/>
                </a:lnTo>
                <a:lnTo>
                  <a:pt x="4659" y="4825"/>
                </a:lnTo>
                <a:lnTo>
                  <a:pt x="4655" y="4815"/>
                </a:lnTo>
                <a:lnTo>
                  <a:pt x="4654" y="4807"/>
                </a:lnTo>
                <a:lnTo>
                  <a:pt x="4654" y="4804"/>
                </a:lnTo>
                <a:lnTo>
                  <a:pt x="4654" y="4802"/>
                </a:lnTo>
                <a:lnTo>
                  <a:pt x="4657" y="4800"/>
                </a:lnTo>
                <a:lnTo>
                  <a:pt x="4659" y="4799"/>
                </a:lnTo>
                <a:lnTo>
                  <a:pt x="4661" y="4799"/>
                </a:lnTo>
                <a:lnTo>
                  <a:pt x="4665" y="4800"/>
                </a:lnTo>
                <a:lnTo>
                  <a:pt x="4665" y="4800"/>
                </a:lnTo>
                <a:lnTo>
                  <a:pt x="4679" y="4806"/>
                </a:lnTo>
                <a:lnTo>
                  <a:pt x="4693" y="4810"/>
                </a:lnTo>
                <a:lnTo>
                  <a:pt x="4708" y="4813"/>
                </a:lnTo>
                <a:lnTo>
                  <a:pt x="4723" y="4814"/>
                </a:lnTo>
                <a:lnTo>
                  <a:pt x="4737" y="4815"/>
                </a:lnTo>
                <a:lnTo>
                  <a:pt x="4752" y="4816"/>
                </a:lnTo>
                <a:lnTo>
                  <a:pt x="4765" y="4815"/>
                </a:lnTo>
                <a:lnTo>
                  <a:pt x="4778" y="4814"/>
                </a:lnTo>
                <a:lnTo>
                  <a:pt x="4802" y="4811"/>
                </a:lnTo>
                <a:lnTo>
                  <a:pt x="4819" y="4807"/>
                </a:lnTo>
                <a:lnTo>
                  <a:pt x="4835" y="4803"/>
                </a:lnTo>
                <a:lnTo>
                  <a:pt x="4835" y="4803"/>
                </a:lnTo>
                <a:lnTo>
                  <a:pt x="4844" y="4707"/>
                </a:lnTo>
                <a:lnTo>
                  <a:pt x="4849" y="4632"/>
                </a:lnTo>
                <a:lnTo>
                  <a:pt x="4851" y="4577"/>
                </a:lnTo>
                <a:lnTo>
                  <a:pt x="4851" y="4539"/>
                </a:lnTo>
                <a:lnTo>
                  <a:pt x="4849" y="4514"/>
                </a:lnTo>
                <a:lnTo>
                  <a:pt x="4847" y="4499"/>
                </a:lnTo>
                <a:lnTo>
                  <a:pt x="4845" y="4493"/>
                </a:lnTo>
                <a:lnTo>
                  <a:pt x="4844" y="4491"/>
                </a:lnTo>
                <a:lnTo>
                  <a:pt x="4844" y="4491"/>
                </a:lnTo>
                <a:lnTo>
                  <a:pt x="4825" y="4492"/>
                </a:lnTo>
                <a:lnTo>
                  <a:pt x="4808" y="4491"/>
                </a:lnTo>
                <a:lnTo>
                  <a:pt x="4791" y="4490"/>
                </a:lnTo>
                <a:lnTo>
                  <a:pt x="4776" y="4489"/>
                </a:lnTo>
                <a:lnTo>
                  <a:pt x="4763" y="4487"/>
                </a:lnTo>
                <a:lnTo>
                  <a:pt x="4750" y="4484"/>
                </a:lnTo>
                <a:lnTo>
                  <a:pt x="4737" y="4481"/>
                </a:lnTo>
                <a:lnTo>
                  <a:pt x="4726" y="4477"/>
                </a:lnTo>
                <a:lnTo>
                  <a:pt x="4716" y="4473"/>
                </a:lnTo>
                <a:lnTo>
                  <a:pt x="4707" y="4469"/>
                </a:lnTo>
                <a:lnTo>
                  <a:pt x="4698" y="4463"/>
                </a:lnTo>
                <a:lnTo>
                  <a:pt x="4690" y="4458"/>
                </a:lnTo>
                <a:lnTo>
                  <a:pt x="4683" y="4452"/>
                </a:lnTo>
                <a:lnTo>
                  <a:pt x="4676" y="4447"/>
                </a:lnTo>
                <a:lnTo>
                  <a:pt x="4665" y="4434"/>
                </a:lnTo>
                <a:lnTo>
                  <a:pt x="4665" y="4434"/>
                </a:lnTo>
                <a:lnTo>
                  <a:pt x="4677" y="4437"/>
                </a:lnTo>
                <a:lnTo>
                  <a:pt x="4690" y="4439"/>
                </a:lnTo>
                <a:lnTo>
                  <a:pt x="4717" y="4441"/>
                </a:lnTo>
                <a:lnTo>
                  <a:pt x="4742" y="4441"/>
                </a:lnTo>
                <a:lnTo>
                  <a:pt x="4768" y="4439"/>
                </a:lnTo>
                <a:lnTo>
                  <a:pt x="4790" y="4435"/>
                </a:lnTo>
                <a:lnTo>
                  <a:pt x="4812" y="4429"/>
                </a:lnTo>
                <a:lnTo>
                  <a:pt x="4821" y="4426"/>
                </a:lnTo>
                <a:lnTo>
                  <a:pt x="4829" y="4422"/>
                </a:lnTo>
                <a:lnTo>
                  <a:pt x="4838" y="4416"/>
                </a:lnTo>
                <a:lnTo>
                  <a:pt x="4844" y="4412"/>
                </a:lnTo>
                <a:lnTo>
                  <a:pt x="4844" y="4412"/>
                </a:lnTo>
                <a:lnTo>
                  <a:pt x="4843" y="4364"/>
                </a:lnTo>
                <a:lnTo>
                  <a:pt x="4841" y="4316"/>
                </a:lnTo>
                <a:lnTo>
                  <a:pt x="4838" y="4261"/>
                </a:lnTo>
                <a:lnTo>
                  <a:pt x="4833" y="4206"/>
                </a:lnTo>
                <a:lnTo>
                  <a:pt x="4831" y="4181"/>
                </a:lnTo>
                <a:lnTo>
                  <a:pt x="4828" y="4159"/>
                </a:lnTo>
                <a:lnTo>
                  <a:pt x="4825" y="4140"/>
                </a:lnTo>
                <a:lnTo>
                  <a:pt x="4822" y="4126"/>
                </a:lnTo>
                <a:lnTo>
                  <a:pt x="4820" y="4121"/>
                </a:lnTo>
                <a:lnTo>
                  <a:pt x="4818" y="4118"/>
                </a:lnTo>
                <a:lnTo>
                  <a:pt x="4816" y="4116"/>
                </a:lnTo>
                <a:lnTo>
                  <a:pt x="4814" y="4116"/>
                </a:lnTo>
                <a:lnTo>
                  <a:pt x="4814" y="4116"/>
                </a:lnTo>
                <a:lnTo>
                  <a:pt x="4786" y="4123"/>
                </a:lnTo>
                <a:lnTo>
                  <a:pt x="4760" y="4128"/>
                </a:lnTo>
                <a:lnTo>
                  <a:pt x="4746" y="4129"/>
                </a:lnTo>
                <a:lnTo>
                  <a:pt x="4734" y="4130"/>
                </a:lnTo>
                <a:lnTo>
                  <a:pt x="4722" y="4130"/>
                </a:lnTo>
                <a:lnTo>
                  <a:pt x="4711" y="4129"/>
                </a:lnTo>
                <a:lnTo>
                  <a:pt x="4698" y="4127"/>
                </a:lnTo>
                <a:lnTo>
                  <a:pt x="4687" y="4125"/>
                </a:lnTo>
                <a:lnTo>
                  <a:pt x="4675" y="4122"/>
                </a:lnTo>
                <a:lnTo>
                  <a:pt x="4664" y="4118"/>
                </a:lnTo>
                <a:lnTo>
                  <a:pt x="4652" y="4113"/>
                </a:lnTo>
                <a:lnTo>
                  <a:pt x="4640" y="4108"/>
                </a:lnTo>
                <a:lnTo>
                  <a:pt x="4629" y="4100"/>
                </a:lnTo>
                <a:lnTo>
                  <a:pt x="4618" y="4093"/>
                </a:lnTo>
                <a:lnTo>
                  <a:pt x="4618" y="4093"/>
                </a:lnTo>
                <a:lnTo>
                  <a:pt x="4613" y="4090"/>
                </a:lnTo>
                <a:lnTo>
                  <a:pt x="4608" y="4086"/>
                </a:lnTo>
                <a:lnTo>
                  <a:pt x="4602" y="4078"/>
                </a:lnTo>
                <a:lnTo>
                  <a:pt x="4597" y="4069"/>
                </a:lnTo>
                <a:lnTo>
                  <a:pt x="4594" y="4059"/>
                </a:lnTo>
                <a:lnTo>
                  <a:pt x="4592" y="4047"/>
                </a:lnTo>
                <a:lnTo>
                  <a:pt x="4591" y="4037"/>
                </a:lnTo>
                <a:lnTo>
                  <a:pt x="4590" y="4015"/>
                </a:lnTo>
                <a:lnTo>
                  <a:pt x="4589" y="3993"/>
                </a:lnTo>
                <a:lnTo>
                  <a:pt x="4587" y="3984"/>
                </a:lnTo>
                <a:lnTo>
                  <a:pt x="4585" y="3976"/>
                </a:lnTo>
                <a:lnTo>
                  <a:pt x="4581" y="3969"/>
                </a:lnTo>
                <a:lnTo>
                  <a:pt x="4575" y="3962"/>
                </a:lnTo>
                <a:lnTo>
                  <a:pt x="4571" y="3959"/>
                </a:lnTo>
                <a:lnTo>
                  <a:pt x="4567" y="3957"/>
                </a:lnTo>
                <a:lnTo>
                  <a:pt x="4561" y="3956"/>
                </a:lnTo>
                <a:lnTo>
                  <a:pt x="4556" y="3955"/>
                </a:lnTo>
                <a:lnTo>
                  <a:pt x="4556" y="3955"/>
                </a:lnTo>
                <a:lnTo>
                  <a:pt x="4534" y="3948"/>
                </a:lnTo>
                <a:lnTo>
                  <a:pt x="4511" y="3941"/>
                </a:lnTo>
                <a:lnTo>
                  <a:pt x="4489" y="3933"/>
                </a:lnTo>
                <a:lnTo>
                  <a:pt x="4468" y="3923"/>
                </a:lnTo>
                <a:lnTo>
                  <a:pt x="4448" y="3913"/>
                </a:lnTo>
                <a:lnTo>
                  <a:pt x="4428" y="3902"/>
                </a:lnTo>
                <a:lnTo>
                  <a:pt x="4410" y="3892"/>
                </a:lnTo>
                <a:lnTo>
                  <a:pt x="4394" y="3881"/>
                </a:lnTo>
                <a:lnTo>
                  <a:pt x="4377" y="3869"/>
                </a:lnTo>
                <a:lnTo>
                  <a:pt x="4363" y="3859"/>
                </a:lnTo>
                <a:lnTo>
                  <a:pt x="4337" y="3839"/>
                </a:lnTo>
                <a:lnTo>
                  <a:pt x="4318" y="3820"/>
                </a:lnTo>
                <a:lnTo>
                  <a:pt x="4306" y="3805"/>
                </a:lnTo>
                <a:lnTo>
                  <a:pt x="4306" y="3805"/>
                </a:lnTo>
                <a:lnTo>
                  <a:pt x="4297" y="3793"/>
                </a:lnTo>
                <a:lnTo>
                  <a:pt x="4288" y="3780"/>
                </a:lnTo>
                <a:lnTo>
                  <a:pt x="4282" y="3769"/>
                </a:lnTo>
                <a:lnTo>
                  <a:pt x="4277" y="3758"/>
                </a:lnTo>
                <a:lnTo>
                  <a:pt x="4273" y="3748"/>
                </a:lnTo>
                <a:lnTo>
                  <a:pt x="4270" y="3739"/>
                </a:lnTo>
                <a:lnTo>
                  <a:pt x="4266" y="3722"/>
                </a:lnTo>
                <a:lnTo>
                  <a:pt x="4265" y="3709"/>
                </a:lnTo>
                <a:lnTo>
                  <a:pt x="4265" y="3699"/>
                </a:lnTo>
                <a:lnTo>
                  <a:pt x="4266" y="3690"/>
                </a:lnTo>
                <a:lnTo>
                  <a:pt x="4266" y="3690"/>
                </a:lnTo>
                <a:lnTo>
                  <a:pt x="4284" y="3700"/>
                </a:lnTo>
                <a:lnTo>
                  <a:pt x="4302" y="3706"/>
                </a:lnTo>
                <a:lnTo>
                  <a:pt x="4321" y="3711"/>
                </a:lnTo>
                <a:lnTo>
                  <a:pt x="4340" y="3714"/>
                </a:lnTo>
                <a:lnTo>
                  <a:pt x="4358" y="3716"/>
                </a:lnTo>
                <a:lnTo>
                  <a:pt x="4377" y="3715"/>
                </a:lnTo>
                <a:lnTo>
                  <a:pt x="4396" y="3712"/>
                </a:lnTo>
                <a:lnTo>
                  <a:pt x="4414" y="3708"/>
                </a:lnTo>
                <a:lnTo>
                  <a:pt x="4434" y="3468"/>
                </a:lnTo>
                <a:lnTo>
                  <a:pt x="4434" y="3468"/>
                </a:lnTo>
                <a:lnTo>
                  <a:pt x="4425" y="3467"/>
                </a:lnTo>
                <a:lnTo>
                  <a:pt x="4405" y="3464"/>
                </a:lnTo>
                <a:lnTo>
                  <a:pt x="4392" y="3461"/>
                </a:lnTo>
                <a:lnTo>
                  <a:pt x="4377" y="3457"/>
                </a:lnTo>
                <a:lnTo>
                  <a:pt x="4362" y="3453"/>
                </a:lnTo>
                <a:lnTo>
                  <a:pt x="4348" y="3447"/>
                </a:lnTo>
                <a:lnTo>
                  <a:pt x="4348" y="3447"/>
                </a:lnTo>
                <a:lnTo>
                  <a:pt x="4339" y="3443"/>
                </a:lnTo>
                <a:lnTo>
                  <a:pt x="4331" y="3438"/>
                </a:lnTo>
                <a:lnTo>
                  <a:pt x="4323" y="3432"/>
                </a:lnTo>
                <a:lnTo>
                  <a:pt x="4316" y="3426"/>
                </a:lnTo>
                <a:lnTo>
                  <a:pt x="4302" y="3412"/>
                </a:lnTo>
                <a:lnTo>
                  <a:pt x="4289" y="3399"/>
                </a:lnTo>
                <a:lnTo>
                  <a:pt x="4280" y="3386"/>
                </a:lnTo>
                <a:lnTo>
                  <a:pt x="4273" y="3376"/>
                </a:lnTo>
                <a:lnTo>
                  <a:pt x="4267" y="3366"/>
                </a:lnTo>
                <a:lnTo>
                  <a:pt x="4267" y="3366"/>
                </a:lnTo>
                <a:lnTo>
                  <a:pt x="4274" y="3369"/>
                </a:lnTo>
                <a:lnTo>
                  <a:pt x="4293" y="3377"/>
                </a:lnTo>
                <a:lnTo>
                  <a:pt x="4321" y="3385"/>
                </a:lnTo>
                <a:lnTo>
                  <a:pt x="4339" y="3389"/>
                </a:lnTo>
                <a:lnTo>
                  <a:pt x="4356" y="3392"/>
                </a:lnTo>
                <a:lnTo>
                  <a:pt x="4356" y="3392"/>
                </a:lnTo>
                <a:lnTo>
                  <a:pt x="4375" y="3394"/>
                </a:lnTo>
                <a:lnTo>
                  <a:pt x="4392" y="3395"/>
                </a:lnTo>
                <a:lnTo>
                  <a:pt x="4407" y="3393"/>
                </a:lnTo>
                <a:lnTo>
                  <a:pt x="4419" y="3391"/>
                </a:lnTo>
                <a:lnTo>
                  <a:pt x="4430" y="3389"/>
                </a:lnTo>
                <a:lnTo>
                  <a:pt x="4438" y="3387"/>
                </a:lnTo>
                <a:lnTo>
                  <a:pt x="4444" y="3384"/>
                </a:lnTo>
                <a:lnTo>
                  <a:pt x="4477" y="3113"/>
                </a:lnTo>
                <a:lnTo>
                  <a:pt x="4477" y="3113"/>
                </a:lnTo>
                <a:lnTo>
                  <a:pt x="4451" y="3114"/>
                </a:lnTo>
                <a:lnTo>
                  <a:pt x="4427" y="3113"/>
                </a:lnTo>
                <a:lnTo>
                  <a:pt x="4408" y="3111"/>
                </a:lnTo>
                <a:lnTo>
                  <a:pt x="4392" y="3106"/>
                </a:lnTo>
                <a:lnTo>
                  <a:pt x="4377" y="3100"/>
                </a:lnTo>
                <a:lnTo>
                  <a:pt x="4365" y="3093"/>
                </a:lnTo>
                <a:lnTo>
                  <a:pt x="4356" y="3085"/>
                </a:lnTo>
                <a:lnTo>
                  <a:pt x="4348" y="3077"/>
                </a:lnTo>
                <a:lnTo>
                  <a:pt x="4343" y="3069"/>
                </a:lnTo>
                <a:lnTo>
                  <a:pt x="4337" y="3060"/>
                </a:lnTo>
                <a:lnTo>
                  <a:pt x="4335" y="3051"/>
                </a:lnTo>
                <a:lnTo>
                  <a:pt x="4333" y="3043"/>
                </a:lnTo>
                <a:lnTo>
                  <a:pt x="4332" y="3035"/>
                </a:lnTo>
                <a:lnTo>
                  <a:pt x="4331" y="3029"/>
                </a:lnTo>
                <a:lnTo>
                  <a:pt x="4332" y="3020"/>
                </a:lnTo>
                <a:lnTo>
                  <a:pt x="4332" y="3020"/>
                </a:lnTo>
                <a:lnTo>
                  <a:pt x="4357" y="3015"/>
                </a:lnTo>
                <a:lnTo>
                  <a:pt x="4381" y="3009"/>
                </a:lnTo>
                <a:lnTo>
                  <a:pt x="4405" y="3001"/>
                </a:lnTo>
                <a:lnTo>
                  <a:pt x="4428" y="2994"/>
                </a:lnTo>
                <a:lnTo>
                  <a:pt x="4451" y="2985"/>
                </a:lnTo>
                <a:lnTo>
                  <a:pt x="4473" y="2975"/>
                </a:lnTo>
                <a:lnTo>
                  <a:pt x="4495" y="2964"/>
                </a:lnTo>
                <a:lnTo>
                  <a:pt x="4515" y="2951"/>
                </a:lnTo>
                <a:lnTo>
                  <a:pt x="4536" y="2939"/>
                </a:lnTo>
                <a:lnTo>
                  <a:pt x="4555" y="2926"/>
                </a:lnTo>
                <a:lnTo>
                  <a:pt x="4574" y="2911"/>
                </a:lnTo>
                <a:lnTo>
                  <a:pt x="4592" y="2896"/>
                </a:lnTo>
                <a:lnTo>
                  <a:pt x="4609" y="2881"/>
                </a:lnTo>
                <a:lnTo>
                  <a:pt x="4627" y="2864"/>
                </a:lnTo>
                <a:lnTo>
                  <a:pt x="4642" y="2848"/>
                </a:lnTo>
                <a:lnTo>
                  <a:pt x="4659" y="2831"/>
                </a:lnTo>
                <a:lnTo>
                  <a:pt x="4673" y="2812"/>
                </a:lnTo>
                <a:lnTo>
                  <a:pt x="4688" y="2794"/>
                </a:lnTo>
                <a:lnTo>
                  <a:pt x="4702" y="2775"/>
                </a:lnTo>
                <a:lnTo>
                  <a:pt x="4715" y="2756"/>
                </a:lnTo>
                <a:lnTo>
                  <a:pt x="4727" y="2737"/>
                </a:lnTo>
                <a:lnTo>
                  <a:pt x="4738" y="2717"/>
                </a:lnTo>
                <a:lnTo>
                  <a:pt x="4750" y="2698"/>
                </a:lnTo>
                <a:lnTo>
                  <a:pt x="4760" y="2677"/>
                </a:lnTo>
                <a:lnTo>
                  <a:pt x="4770" y="2657"/>
                </a:lnTo>
                <a:lnTo>
                  <a:pt x="4779" y="2636"/>
                </a:lnTo>
                <a:lnTo>
                  <a:pt x="4787" y="2616"/>
                </a:lnTo>
                <a:lnTo>
                  <a:pt x="4796" y="2595"/>
                </a:lnTo>
                <a:lnTo>
                  <a:pt x="4803" y="2575"/>
                </a:lnTo>
                <a:lnTo>
                  <a:pt x="4809" y="2555"/>
                </a:lnTo>
                <a:lnTo>
                  <a:pt x="4815" y="2534"/>
                </a:lnTo>
                <a:lnTo>
                  <a:pt x="4820" y="2515"/>
                </a:lnTo>
                <a:lnTo>
                  <a:pt x="4820" y="2515"/>
                </a:lnTo>
                <a:lnTo>
                  <a:pt x="4831" y="2521"/>
                </a:lnTo>
                <a:lnTo>
                  <a:pt x="4847" y="2527"/>
                </a:lnTo>
                <a:lnTo>
                  <a:pt x="4864" y="2533"/>
                </a:lnTo>
                <a:lnTo>
                  <a:pt x="4882" y="2538"/>
                </a:lnTo>
                <a:lnTo>
                  <a:pt x="4903" y="2541"/>
                </a:lnTo>
                <a:lnTo>
                  <a:pt x="4913" y="2542"/>
                </a:lnTo>
                <a:lnTo>
                  <a:pt x="4923" y="2543"/>
                </a:lnTo>
                <a:lnTo>
                  <a:pt x="4935" y="2542"/>
                </a:lnTo>
                <a:lnTo>
                  <a:pt x="4945" y="2541"/>
                </a:lnTo>
                <a:lnTo>
                  <a:pt x="4955" y="2539"/>
                </a:lnTo>
                <a:lnTo>
                  <a:pt x="4965" y="2536"/>
                </a:lnTo>
                <a:lnTo>
                  <a:pt x="4965" y="2536"/>
                </a:lnTo>
                <a:lnTo>
                  <a:pt x="4967" y="2508"/>
                </a:lnTo>
                <a:lnTo>
                  <a:pt x="4970" y="2441"/>
                </a:lnTo>
                <a:lnTo>
                  <a:pt x="4972" y="2405"/>
                </a:lnTo>
                <a:lnTo>
                  <a:pt x="4973" y="2371"/>
                </a:lnTo>
                <a:lnTo>
                  <a:pt x="4972" y="2343"/>
                </a:lnTo>
                <a:lnTo>
                  <a:pt x="4972" y="2333"/>
                </a:lnTo>
                <a:lnTo>
                  <a:pt x="4970" y="2327"/>
                </a:lnTo>
                <a:lnTo>
                  <a:pt x="4970" y="2327"/>
                </a:lnTo>
                <a:lnTo>
                  <a:pt x="4955" y="2325"/>
                </a:lnTo>
                <a:lnTo>
                  <a:pt x="4938" y="2322"/>
                </a:lnTo>
                <a:lnTo>
                  <a:pt x="4919" y="2317"/>
                </a:lnTo>
                <a:lnTo>
                  <a:pt x="4911" y="2314"/>
                </a:lnTo>
                <a:lnTo>
                  <a:pt x="4902" y="2311"/>
                </a:lnTo>
                <a:lnTo>
                  <a:pt x="4893" y="2306"/>
                </a:lnTo>
                <a:lnTo>
                  <a:pt x="4885" y="2302"/>
                </a:lnTo>
                <a:lnTo>
                  <a:pt x="4876" y="2296"/>
                </a:lnTo>
                <a:lnTo>
                  <a:pt x="4868" y="2289"/>
                </a:lnTo>
                <a:lnTo>
                  <a:pt x="4861" y="2282"/>
                </a:lnTo>
                <a:lnTo>
                  <a:pt x="4854" y="2273"/>
                </a:lnTo>
                <a:lnTo>
                  <a:pt x="4848" y="2264"/>
                </a:lnTo>
                <a:lnTo>
                  <a:pt x="4842" y="225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86" name="Freeform 37"/>
          <p:cNvSpPr>
            <a:spLocks/>
          </p:cNvSpPr>
          <p:nvPr userDrawn="1"/>
        </p:nvSpPr>
        <p:spPr bwMode="auto">
          <a:xfrm>
            <a:off x="8332789" y="-385339"/>
            <a:ext cx="276225" cy="73025"/>
          </a:xfrm>
          <a:custGeom>
            <a:avLst/>
            <a:gdLst>
              <a:gd name="T0" fmla="*/ 0 w 349"/>
              <a:gd name="T1" fmla="*/ 34 h 91"/>
              <a:gd name="T2" fmla="*/ 0 w 349"/>
              <a:gd name="T3" fmla="*/ 34 h 91"/>
              <a:gd name="T4" fmla="*/ 20 w 349"/>
              <a:gd name="T5" fmla="*/ 49 h 91"/>
              <a:gd name="T6" fmla="*/ 38 w 349"/>
              <a:gd name="T7" fmla="*/ 60 h 91"/>
              <a:gd name="T8" fmla="*/ 38 w 349"/>
              <a:gd name="T9" fmla="*/ 60 h 91"/>
              <a:gd name="T10" fmla="*/ 69 w 349"/>
              <a:gd name="T11" fmla="*/ 71 h 91"/>
              <a:gd name="T12" fmla="*/ 89 w 349"/>
              <a:gd name="T13" fmla="*/ 78 h 91"/>
              <a:gd name="T14" fmla="*/ 111 w 349"/>
              <a:gd name="T15" fmla="*/ 84 h 91"/>
              <a:gd name="T16" fmla="*/ 137 w 349"/>
              <a:gd name="T17" fmla="*/ 87 h 91"/>
              <a:gd name="T18" fmla="*/ 164 w 349"/>
              <a:gd name="T19" fmla="*/ 91 h 91"/>
              <a:gd name="T20" fmla="*/ 194 w 349"/>
              <a:gd name="T21" fmla="*/ 91 h 91"/>
              <a:gd name="T22" fmla="*/ 226 w 349"/>
              <a:gd name="T23" fmla="*/ 89 h 91"/>
              <a:gd name="T24" fmla="*/ 226 w 349"/>
              <a:gd name="T25" fmla="*/ 89 h 91"/>
              <a:gd name="T26" fmla="*/ 256 w 349"/>
              <a:gd name="T27" fmla="*/ 86 h 91"/>
              <a:gd name="T28" fmla="*/ 279 w 349"/>
              <a:gd name="T29" fmla="*/ 80 h 91"/>
              <a:gd name="T30" fmla="*/ 301 w 349"/>
              <a:gd name="T31" fmla="*/ 75 h 91"/>
              <a:gd name="T32" fmla="*/ 318 w 349"/>
              <a:gd name="T33" fmla="*/ 69 h 91"/>
              <a:gd name="T34" fmla="*/ 342 w 349"/>
              <a:gd name="T35" fmla="*/ 56 h 91"/>
              <a:gd name="T36" fmla="*/ 349 w 349"/>
              <a:gd name="T37" fmla="*/ 53 h 91"/>
              <a:gd name="T38" fmla="*/ 349 w 349"/>
              <a:gd name="T39" fmla="*/ 53 h 91"/>
              <a:gd name="T40" fmla="*/ 338 w 349"/>
              <a:gd name="T41" fmla="*/ 49 h 91"/>
              <a:gd name="T42" fmla="*/ 329 w 349"/>
              <a:gd name="T43" fmla="*/ 44 h 91"/>
              <a:gd name="T44" fmla="*/ 314 w 349"/>
              <a:gd name="T45" fmla="*/ 31 h 91"/>
              <a:gd name="T46" fmla="*/ 314 w 349"/>
              <a:gd name="T47" fmla="*/ 31 h 91"/>
              <a:gd name="T48" fmla="*/ 312 w 349"/>
              <a:gd name="T49" fmla="*/ 38 h 91"/>
              <a:gd name="T50" fmla="*/ 312 w 349"/>
              <a:gd name="T51" fmla="*/ 38 h 91"/>
              <a:gd name="T52" fmla="*/ 311 w 349"/>
              <a:gd name="T53" fmla="*/ 51 h 91"/>
              <a:gd name="T54" fmla="*/ 311 w 349"/>
              <a:gd name="T55" fmla="*/ 51 h 91"/>
              <a:gd name="T56" fmla="*/ 303 w 349"/>
              <a:gd name="T57" fmla="*/ 49 h 91"/>
              <a:gd name="T58" fmla="*/ 303 w 349"/>
              <a:gd name="T59" fmla="*/ 49 h 91"/>
              <a:gd name="T60" fmla="*/ 298 w 349"/>
              <a:gd name="T61" fmla="*/ 45 h 91"/>
              <a:gd name="T62" fmla="*/ 292 w 349"/>
              <a:gd name="T63" fmla="*/ 40 h 91"/>
              <a:gd name="T64" fmla="*/ 289 w 349"/>
              <a:gd name="T65" fmla="*/ 33 h 91"/>
              <a:gd name="T66" fmla="*/ 287 w 349"/>
              <a:gd name="T67" fmla="*/ 23 h 91"/>
              <a:gd name="T68" fmla="*/ 287 w 349"/>
              <a:gd name="T69" fmla="*/ 23 h 91"/>
              <a:gd name="T70" fmla="*/ 287 w 349"/>
              <a:gd name="T71" fmla="*/ 22 h 91"/>
              <a:gd name="T72" fmla="*/ 287 w 349"/>
              <a:gd name="T73" fmla="*/ 22 h 91"/>
              <a:gd name="T74" fmla="*/ 272 w 349"/>
              <a:gd name="T75" fmla="*/ 27 h 91"/>
              <a:gd name="T76" fmla="*/ 252 w 349"/>
              <a:gd name="T77" fmla="*/ 33 h 91"/>
              <a:gd name="T78" fmla="*/ 228 w 349"/>
              <a:gd name="T79" fmla="*/ 38 h 91"/>
              <a:gd name="T80" fmla="*/ 205 w 349"/>
              <a:gd name="T81" fmla="*/ 40 h 91"/>
              <a:gd name="T82" fmla="*/ 205 w 349"/>
              <a:gd name="T83" fmla="*/ 40 h 91"/>
              <a:gd name="T84" fmla="*/ 161 w 349"/>
              <a:gd name="T85" fmla="*/ 38 h 91"/>
              <a:gd name="T86" fmla="*/ 139 w 349"/>
              <a:gd name="T87" fmla="*/ 36 h 91"/>
              <a:gd name="T88" fmla="*/ 117 w 349"/>
              <a:gd name="T89" fmla="*/ 33 h 91"/>
              <a:gd name="T90" fmla="*/ 95 w 349"/>
              <a:gd name="T91" fmla="*/ 29 h 91"/>
              <a:gd name="T92" fmla="*/ 73 w 349"/>
              <a:gd name="T93" fmla="*/ 22 h 91"/>
              <a:gd name="T94" fmla="*/ 51 w 349"/>
              <a:gd name="T95" fmla="*/ 14 h 91"/>
              <a:gd name="T96" fmla="*/ 31 w 349"/>
              <a:gd name="T97" fmla="*/ 7 h 91"/>
              <a:gd name="T98" fmla="*/ 31 w 349"/>
              <a:gd name="T99" fmla="*/ 7 h 91"/>
              <a:gd name="T100" fmla="*/ 15 w 349"/>
              <a:gd name="T101" fmla="*/ 0 h 91"/>
              <a:gd name="T102" fmla="*/ 15 w 349"/>
              <a:gd name="T103" fmla="*/ 0 h 91"/>
              <a:gd name="T104" fmla="*/ 15 w 349"/>
              <a:gd name="T105" fmla="*/ 1 h 91"/>
              <a:gd name="T106" fmla="*/ 15 w 349"/>
              <a:gd name="T107" fmla="*/ 5 h 91"/>
              <a:gd name="T108" fmla="*/ 18 w 349"/>
              <a:gd name="T109" fmla="*/ 14 h 91"/>
              <a:gd name="T110" fmla="*/ 25 w 349"/>
              <a:gd name="T111" fmla="*/ 25 h 91"/>
              <a:gd name="T112" fmla="*/ 25 w 349"/>
              <a:gd name="T113" fmla="*/ 25 h 91"/>
              <a:gd name="T114" fmla="*/ 16 w 349"/>
              <a:gd name="T115" fmla="*/ 23 h 91"/>
              <a:gd name="T116" fmla="*/ 7 w 349"/>
              <a:gd name="T117" fmla="*/ 27 h 91"/>
              <a:gd name="T118" fmla="*/ 7 w 349"/>
              <a:gd name="T119" fmla="*/ 27 h 91"/>
              <a:gd name="T120" fmla="*/ 2 w 349"/>
              <a:gd name="T121" fmla="*/ 31 h 91"/>
              <a:gd name="T122" fmla="*/ 0 w 349"/>
              <a:gd name="T123" fmla="*/ 3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9" h="91">
                <a:moveTo>
                  <a:pt x="0" y="34"/>
                </a:moveTo>
                <a:lnTo>
                  <a:pt x="0" y="34"/>
                </a:lnTo>
                <a:lnTo>
                  <a:pt x="20" y="49"/>
                </a:lnTo>
                <a:lnTo>
                  <a:pt x="38" y="60"/>
                </a:lnTo>
                <a:lnTo>
                  <a:pt x="38" y="60"/>
                </a:lnTo>
                <a:lnTo>
                  <a:pt x="69" y="71"/>
                </a:lnTo>
                <a:lnTo>
                  <a:pt x="89" y="78"/>
                </a:lnTo>
                <a:lnTo>
                  <a:pt x="111" y="84"/>
                </a:lnTo>
                <a:lnTo>
                  <a:pt x="137" y="87"/>
                </a:lnTo>
                <a:lnTo>
                  <a:pt x="164" y="91"/>
                </a:lnTo>
                <a:lnTo>
                  <a:pt x="194" y="91"/>
                </a:lnTo>
                <a:lnTo>
                  <a:pt x="226" y="89"/>
                </a:lnTo>
                <a:lnTo>
                  <a:pt x="226" y="89"/>
                </a:lnTo>
                <a:lnTo>
                  <a:pt x="256" y="86"/>
                </a:lnTo>
                <a:lnTo>
                  <a:pt x="279" y="80"/>
                </a:lnTo>
                <a:lnTo>
                  <a:pt x="301" y="75"/>
                </a:lnTo>
                <a:lnTo>
                  <a:pt x="318" y="69"/>
                </a:lnTo>
                <a:lnTo>
                  <a:pt x="342" y="56"/>
                </a:lnTo>
                <a:lnTo>
                  <a:pt x="349" y="53"/>
                </a:lnTo>
                <a:lnTo>
                  <a:pt x="349" y="53"/>
                </a:lnTo>
                <a:lnTo>
                  <a:pt x="338" y="49"/>
                </a:lnTo>
                <a:lnTo>
                  <a:pt x="329" y="44"/>
                </a:lnTo>
                <a:lnTo>
                  <a:pt x="314" y="31"/>
                </a:lnTo>
                <a:lnTo>
                  <a:pt x="314" y="31"/>
                </a:lnTo>
                <a:lnTo>
                  <a:pt x="312" y="38"/>
                </a:lnTo>
                <a:lnTo>
                  <a:pt x="312" y="38"/>
                </a:lnTo>
                <a:lnTo>
                  <a:pt x="311" y="51"/>
                </a:lnTo>
                <a:lnTo>
                  <a:pt x="311" y="51"/>
                </a:lnTo>
                <a:lnTo>
                  <a:pt x="303" y="49"/>
                </a:lnTo>
                <a:lnTo>
                  <a:pt x="303" y="49"/>
                </a:lnTo>
                <a:lnTo>
                  <a:pt x="298" y="45"/>
                </a:lnTo>
                <a:lnTo>
                  <a:pt x="292" y="40"/>
                </a:lnTo>
                <a:lnTo>
                  <a:pt x="289" y="33"/>
                </a:lnTo>
                <a:lnTo>
                  <a:pt x="287" y="23"/>
                </a:lnTo>
                <a:lnTo>
                  <a:pt x="287" y="23"/>
                </a:lnTo>
                <a:lnTo>
                  <a:pt x="287" y="22"/>
                </a:lnTo>
                <a:lnTo>
                  <a:pt x="287" y="22"/>
                </a:lnTo>
                <a:lnTo>
                  <a:pt x="272" y="27"/>
                </a:lnTo>
                <a:lnTo>
                  <a:pt x="252" y="33"/>
                </a:lnTo>
                <a:lnTo>
                  <a:pt x="228" y="38"/>
                </a:lnTo>
                <a:lnTo>
                  <a:pt x="205" y="40"/>
                </a:lnTo>
                <a:lnTo>
                  <a:pt x="205" y="40"/>
                </a:lnTo>
                <a:lnTo>
                  <a:pt x="161" y="38"/>
                </a:lnTo>
                <a:lnTo>
                  <a:pt x="139" y="36"/>
                </a:lnTo>
                <a:lnTo>
                  <a:pt x="117" y="33"/>
                </a:lnTo>
                <a:lnTo>
                  <a:pt x="95" y="29"/>
                </a:lnTo>
                <a:lnTo>
                  <a:pt x="73" y="22"/>
                </a:lnTo>
                <a:lnTo>
                  <a:pt x="51" y="14"/>
                </a:lnTo>
                <a:lnTo>
                  <a:pt x="31" y="7"/>
                </a:lnTo>
                <a:lnTo>
                  <a:pt x="31" y="7"/>
                </a:lnTo>
                <a:lnTo>
                  <a:pt x="15" y="0"/>
                </a:lnTo>
                <a:lnTo>
                  <a:pt x="15" y="0"/>
                </a:lnTo>
                <a:lnTo>
                  <a:pt x="15" y="1"/>
                </a:lnTo>
                <a:lnTo>
                  <a:pt x="15" y="5"/>
                </a:lnTo>
                <a:lnTo>
                  <a:pt x="18" y="14"/>
                </a:lnTo>
                <a:lnTo>
                  <a:pt x="25" y="25"/>
                </a:lnTo>
                <a:lnTo>
                  <a:pt x="25" y="25"/>
                </a:lnTo>
                <a:lnTo>
                  <a:pt x="16" y="23"/>
                </a:lnTo>
                <a:lnTo>
                  <a:pt x="7" y="27"/>
                </a:lnTo>
                <a:lnTo>
                  <a:pt x="7" y="27"/>
                </a:lnTo>
                <a:lnTo>
                  <a:pt x="2" y="31"/>
                </a:lnTo>
                <a:lnTo>
                  <a:pt x="0" y="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87" name="Freeform 38"/>
          <p:cNvSpPr>
            <a:spLocks/>
          </p:cNvSpPr>
          <p:nvPr userDrawn="1"/>
        </p:nvSpPr>
        <p:spPr bwMode="auto">
          <a:xfrm>
            <a:off x="8270876" y="-618703"/>
            <a:ext cx="282575" cy="201613"/>
          </a:xfrm>
          <a:custGeom>
            <a:avLst/>
            <a:gdLst>
              <a:gd name="T0" fmla="*/ 326 w 357"/>
              <a:gd name="T1" fmla="*/ 20 h 253"/>
              <a:gd name="T2" fmla="*/ 320 w 357"/>
              <a:gd name="T3" fmla="*/ 3 h 253"/>
              <a:gd name="T4" fmla="*/ 311 w 357"/>
              <a:gd name="T5" fmla="*/ 0 h 253"/>
              <a:gd name="T6" fmla="*/ 227 w 357"/>
              <a:gd name="T7" fmla="*/ 40 h 253"/>
              <a:gd name="T8" fmla="*/ 207 w 357"/>
              <a:gd name="T9" fmla="*/ 53 h 253"/>
              <a:gd name="T10" fmla="*/ 176 w 357"/>
              <a:gd name="T11" fmla="*/ 53 h 253"/>
              <a:gd name="T12" fmla="*/ 181 w 357"/>
              <a:gd name="T13" fmla="*/ 71 h 253"/>
              <a:gd name="T14" fmla="*/ 172 w 357"/>
              <a:gd name="T15" fmla="*/ 78 h 253"/>
              <a:gd name="T16" fmla="*/ 181 w 357"/>
              <a:gd name="T17" fmla="*/ 93 h 253"/>
              <a:gd name="T18" fmla="*/ 198 w 357"/>
              <a:gd name="T19" fmla="*/ 91 h 253"/>
              <a:gd name="T20" fmla="*/ 189 w 357"/>
              <a:gd name="T21" fmla="*/ 115 h 253"/>
              <a:gd name="T22" fmla="*/ 147 w 357"/>
              <a:gd name="T23" fmla="*/ 146 h 253"/>
              <a:gd name="T24" fmla="*/ 101 w 357"/>
              <a:gd name="T25" fmla="*/ 155 h 253"/>
              <a:gd name="T26" fmla="*/ 79 w 357"/>
              <a:gd name="T27" fmla="*/ 137 h 253"/>
              <a:gd name="T28" fmla="*/ 68 w 357"/>
              <a:gd name="T29" fmla="*/ 126 h 253"/>
              <a:gd name="T30" fmla="*/ 50 w 357"/>
              <a:gd name="T31" fmla="*/ 126 h 253"/>
              <a:gd name="T32" fmla="*/ 28 w 357"/>
              <a:gd name="T33" fmla="*/ 137 h 253"/>
              <a:gd name="T34" fmla="*/ 48 w 357"/>
              <a:gd name="T35" fmla="*/ 140 h 253"/>
              <a:gd name="T36" fmla="*/ 44 w 357"/>
              <a:gd name="T37" fmla="*/ 149 h 253"/>
              <a:gd name="T38" fmla="*/ 75 w 357"/>
              <a:gd name="T39" fmla="*/ 169 h 253"/>
              <a:gd name="T40" fmla="*/ 75 w 357"/>
              <a:gd name="T41" fmla="*/ 171 h 253"/>
              <a:gd name="T42" fmla="*/ 39 w 357"/>
              <a:gd name="T43" fmla="*/ 160 h 253"/>
              <a:gd name="T44" fmla="*/ 28 w 357"/>
              <a:gd name="T45" fmla="*/ 164 h 253"/>
              <a:gd name="T46" fmla="*/ 8 w 357"/>
              <a:gd name="T47" fmla="*/ 171 h 253"/>
              <a:gd name="T48" fmla="*/ 2 w 357"/>
              <a:gd name="T49" fmla="*/ 193 h 253"/>
              <a:gd name="T50" fmla="*/ 17 w 357"/>
              <a:gd name="T51" fmla="*/ 180 h 253"/>
              <a:gd name="T52" fmla="*/ 22 w 357"/>
              <a:gd name="T53" fmla="*/ 188 h 253"/>
              <a:gd name="T54" fmla="*/ 26 w 357"/>
              <a:gd name="T55" fmla="*/ 197 h 253"/>
              <a:gd name="T56" fmla="*/ 66 w 357"/>
              <a:gd name="T57" fmla="*/ 195 h 253"/>
              <a:gd name="T58" fmla="*/ 75 w 357"/>
              <a:gd name="T59" fmla="*/ 197 h 253"/>
              <a:gd name="T60" fmla="*/ 39 w 357"/>
              <a:gd name="T61" fmla="*/ 206 h 253"/>
              <a:gd name="T62" fmla="*/ 37 w 357"/>
              <a:gd name="T63" fmla="*/ 213 h 253"/>
              <a:gd name="T64" fmla="*/ 28 w 357"/>
              <a:gd name="T65" fmla="*/ 233 h 253"/>
              <a:gd name="T66" fmla="*/ 35 w 357"/>
              <a:gd name="T67" fmla="*/ 248 h 253"/>
              <a:gd name="T68" fmla="*/ 41 w 357"/>
              <a:gd name="T69" fmla="*/ 244 h 253"/>
              <a:gd name="T70" fmla="*/ 42 w 357"/>
              <a:gd name="T71" fmla="*/ 235 h 253"/>
              <a:gd name="T72" fmla="*/ 55 w 357"/>
              <a:gd name="T73" fmla="*/ 243 h 253"/>
              <a:gd name="T74" fmla="*/ 72 w 357"/>
              <a:gd name="T75" fmla="*/ 232 h 253"/>
              <a:gd name="T76" fmla="*/ 94 w 357"/>
              <a:gd name="T77" fmla="*/ 213 h 253"/>
              <a:gd name="T78" fmla="*/ 108 w 357"/>
              <a:gd name="T79" fmla="*/ 211 h 253"/>
              <a:gd name="T80" fmla="*/ 110 w 357"/>
              <a:gd name="T81" fmla="*/ 222 h 253"/>
              <a:gd name="T82" fmla="*/ 115 w 357"/>
              <a:gd name="T83" fmla="*/ 233 h 253"/>
              <a:gd name="T84" fmla="*/ 114 w 357"/>
              <a:gd name="T85" fmla="*/ 243 h 253"/>
              <a:gd name="T86" fmla="*/ 136 w 357"/>
              <a:gd name="T87" fmla="*/ 224 h 253"/>
              <a:gd name="T88" fmla="*/ 141 w 357"/>
              <a:gd name="T89" fmla="*/ 219 h 253"/>
              <a:gd name="T90" fmla="*/ 145 w 357"/>
              <a:gd name="T91" fmla="*/ 211 h 253"/>
              <a:gd name="T92" fmla="*/ 147 w 357"/>
              <a:gd name="T93" fmla="*/ 200 h 253"/>
              <a:gd name="T94" fmla="*/ 167 w 357"/>
              <a:gd name="T95" fmla="*/ 193 h 253"/>
              <a:gd name="T96" fmla="*/ 170 w 357"/>
              <a:gd name="T97" fmla="*/ 180 h 253"/>
              <a:gd name="T98" fmla="*/ 181 w 357"/>
              <a:gd name="T99" fmla="*/ 179 h 253"/>
              <a:gd name="T100" fmla="*/ 199 w 357"/>
              <a:gd name="T101" fmla="*/ 197 h 253"/>
              <a:gd name="T102" fmla="*/ 231 w 357"/>
              <a:gd name="T103" fmla="*/ 182 h 253"/>
              <a:gd name="T104" fmla="*/ 227 w 357"/>
              <a:gd name="T105" fmla="*/ 169 h 253"/>
              <a:gd name="T106" fmla="*/ 223 w 357"/>
              <a:gd name="T107" fmla="*/ 155 h 253"/>
              <a:gd name="T108" fmla="*/ 245 w 357"/>
              <a:gd name="T109" fmla="*/ 173 h 253"/>
              <a:gd name="T110" fmla="*/ 276 w 357"/>
              <a:gd name="T111" fmla="*/ 155 h 253"/>
              <a:gd name="T112" fmla="*/ 273 w 357"/>
              <a:gd name="T113" fmla="*/ 149 h 253"/>
              <a:gd name="T114" fmla="*/ 263 w 357"/>
              <a:gd name="T115" fmla="*/ 131 h 253"/>
              <a:gd name="T116" fmla="*/ 262 w 357"/>
              <a:gd name="T117" fmla="*/ 115 h 253"/>
              <a:gd name="T118" fmla="*/ 262 w 357"/>
              <a:gd name="T119" fmla="*/ 98 h 253"/>
              <a:gd name="T120" fmla="*/ 353 w 357"/>
              <a:gd name="T121" fmla="*/ 45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7" h="253">
                <a:moveTo>
                  <a:pt x="344" y="31"/>
                </a:moveTo>
                <a:lnTo>
                  <a:pt x="344" y="31"/>
                </a:lnTo>
                <a:lnTo>
                  <a:pt x="335" y="23"/>
                </a:lnTo>
                <a:lnTo>
                  <a:pt x="326" y="20"/>
                </a:lnTo>
                <a:lnTo>
                  <a:pt x="309" y="12"/>
                </a:lnTo>
                <a:lnTo>
                  <a:pt x="309" y="12"/>
                </a:lnTo>
                <a:lnTo>
                  <a:pt x="316" y="7"/>
                </a:lnTo>
                <a:lnTo>
                  <a:pt x="320" y="3"/>
                </a:lnTo>
                <a:lnTo>
                  <a:pt x="320" y="1"/>
                </a:lnTo>
                <a:lnTo>
                  <a:pt x="320" y="1"/>
                </a:lnTo>
                <a:lnTo>
                  <a:pt x="315" y="0"/>
                </a:lnTo>
                <a:lnTo>
                  <a:pt x="311" y="0"/>
                </a:lnTo>
                <a:lnTo>
                  <a:pt x="311" y="0"/>
                </a:lnTo>
                <a:lnTo>
                  <a:pt x="280" y="12"/>
                </a:lnTo>
                <a:lnTo>
                  <a:pt x="252" y="25"/>
                </a:lnTo>
                <a:lnTo>
                  <a:pt x="227" y="40"/>
                </a:lnTo>
                <a:lnTo>
                  <a:pt x="209" y="53"/>
                </a:lnTo>
                <a:lnTo>
                  <a:pt x="209" y="53"/>
                </a:lnTo>
                <a:lnTo>
                  <a:pt x="207" y="53"/>
                </a:lnTo>
                <a:lnTo>
                  <a:pt x="207" y="53"/>
                </a:lnTo>
                <a:lnTo>
                  <a:pt x="201" y="56"/>
                </a:lnTo>
                <a:lnTo>
                  <a:pt x="196" y="56"/>
                </a:lnTo>
                <a:lnTo>
                  <a:pt x="185" y="54"/>
                </a:lnTo>
                <a:lnTo>
                  <a:pt x="176" y="53"/>
                </a:lnTo>
                <a:lnTo>
                  <a:pt x="174" y="51"/>
                </a:lnTo>
                <a:lnTo>
                  <a:pt x="170" y="67"/>
                </a:lnTo>
                <a:lnTo>
                  <a:pt x="170" y="67"/>
                </a:lnTo>
                <a:lnTo>
                  <a:pt x="181" y="71"/>
                </a:lnTo>
                <a:lnTo>
                  <a:pt x="189" y="74"/>
                </a:lnTo>
                <a:lnTo>
                  <a:pt x="189" y="74"/>
                </a:lnTo>
                <a:lnTo>
                  <a:pt x="178" y="76"/>
                </a:lnTo>
                <a:lnTo>
                  <a:pt x="172" y="78"/>
                </a:lnTo>
                <a:lnTo>
                  <a:pt x="168" y="82"/>
                </a:lnTo>
                <a:lnTo>
                  <a:pt x="174" y="96"/>
                </a:lnTo>
                <a:lnTo>
                  <a:pt x="174" y="96"/>
                </a:lnTo>
                <a:lnTo>
                  <a:pt x="181" y="93"/>
                </a:lnTo>
                <a:lnTo>
                  <a:pt x="189" y="91"/>
                </a:lnTo>
                <a:lnTo>
                  <a:pt x="198" y="89"/>
                </a:lnTo>
                <a:lnTo>
                  <a:pt x="198" y="89"/>
                </a:lnTo>
                <a:lnTo>
                  <a:pt x="198" y="91"/>
                </a:lnTo>
                <a:lnTo>
                  <a:pt x="198" y="91"/>
                </a:lnTo>
                <a:lnTo>
                  <a:pt x="198" y="98"/>
                </a:lnTo>
                <a:lnTo>
                  <a:pt x="194" y="105"/>
                </a:lnTo>
                <a:lnTo>
                  <a:pt x="189" y="115"/>
                </a:lnTo>
                <a:lnTo>
                  <a:pt x="181" y="122"/>
                </a:lnTo>
                <a:lnTo>
                  <a:pt x="165" y="137"/>
                </a:lnTo>
                <a:lnTo>
                  <a:pt x="156" y="142"/>
                </a:lnTo>
                <a:lnTo>
                  <a:pt x="147" y="146"/>
                </a:lnTo>
                <a:lnTo>
                  <a:pt x="147" y="146"/>
                </a:lnTo>
                <a:lnTo>
                  <a:pt x="128" y="151"/>
                </a:lnTo>
                <a:lnTo>
                  <a:pt x="112" y="155"/>
                </a:lnTo>
                <a:lnTo>
                  <a:pt x="101" y="155"/>
                </a:lnTo>
                <a:lnTo>
                  <a:pt x="95" y="153"/>
                </a:lnTo>
                <a:lnTo>
                  <a:pt x="95" y="153"/>
                </a:lnTo>
                <a:lnTo>
                  <a:pt x="84" y="144"/>
                </a:lnTo>
                <a:lnTo>
                  <a:pt x="79" y="137"/>
                </a:lnTo>
                <a:lnTo>
                  <a:pt x="73" y="129"/>
                </a:lnTo>
                <a:lnTo>
                  <a:pt x="72" y="126"/>
                </a:lnTo>
                <a:lnTo>
                  <a:pt x="68" y="126"/>
                </a:lnTo>
                <a:lnTo>
                  <a:pt x="68" y="126"/>
                </a:lnTo>
                <a:lnTo>
                  <a:pt x="64" y="126"/>
                </a:lnTo>
                <a:lnTo>
                  <a:pt x="61" y="127"/>
                </a:lnTo>
                <a:lnTo>
                  <a:pt x="61" y="127"/>
                </a:lnTo>
                <a:lnTo>
                  <a:pt x="50" y="126"/>
                </a:lnTo>
                <a:lnTo>
                  <a:pt x="41" y="127"/>
                </a:lnTo>
                <a:lnTo>
                  <a:pt x="33" y="131"/>
                </a:lnTo>
                <a:lnTo>
                  <a:pt x="30" y="133"/>
                </a:lnTo>
                <a:lnTo>
                  <a:pt x="28" y="137"/>
                </a:lnTo>
                <a:lnTo>
                  <a:pt x="28" y="137"/>
                </a:lnTo>
                <a:lnTo>
                  <a:pt x="41" y="137"/>
                </a:lnTo>
                <a:lnTo>
                  <a:pt x="48" y="138"/>
                </a:lnTo>
                <a:lnTo>
                  <a:pt x="48" y="140"/>
                </a:lnTo>
                <a:lnTo>
                  <a:pt x="46" y="142"/>
                </a:lnTo>
                <a:lnTo>
                  <a:pt x="46" y="142"/>
                </a:lnTo>
                <a:lnTo>
                  <a:pt x="42" y="146"/>
                </a:lnTo>
                <a:lnTo>
                  <a:pt x="44" y="149"/>
                </a:lnTo>
                <a:lnTo>
                  <a:pt x="46" y="153"/>
                </a:lnTo>
                <a:lnTo>
                  <a:pt x="52" y="157"/>
                </a:lnTo>
                <a:lnTo>
                  <a:pt x="75" y="169"/>
                </a:lnTo>
                <a:lnTo>
                  <a:pt x="75" y="169"/>
                </a:lnTo>
                <a:lnTo>
                  <a:pt x="75" y="169"/>
                </a:lnTo>
                <a:lnTo>
                  <a:pt x="75" y="171"/>
                </a:lnTo>
                <a:lnTo>
                  <a:pt x="75" y="171"/>
                </a:lnTo>
                <a:lnTo>
                  <a:pt x="75" y="171"/>
                </a:lnTo>
                <a:lnTo>
                  <a:pt x="68" y="171"/>
                </a:lnTo>
                <a:lnTo>
                  <a:pt x="59" y="168"/>
                </a:lnTo>
                <a:lnTo>
                  <a:pt x="39" y="160"/>
                </a:lnTo>
                <a:lnTo>
                  <a:pt x="39" y="160"/>
                </a:lnTo>
                <a:lnTo>
                  <a:pt x="35" y="160"/>
                </a:lnTo>
                <a:lnTo>
                  <a:pt x="31" y="160"/>
                </a:lnTo>
                <a:lnTo>
                  <a:pt x="28" y="164"/>
                </a:lnTo>
                <a:lnTo>
                  <a:pt x="28" y="164"/>
                </a:lnTo>
                <a:lnTo>
                  <a:pt x="24" y="164"/>
                </a:lnTo>
                <a:lnTo>
                  <a:pt x="19" y="164"/>
                </a:lnTo>
                <a:lnTo>
                  <a:pt x="11" y="168"/>
                </a:lnTo>
                <a:lnTo>
                  <a:pt x="8" y="171"/>
                </a:lnTo>
                <a:lnTo>
                  <a:pt x="2" y="175"/>
                </a:lnTo>
                <a:lnTo>
                  <a:pt x="0" y="180"/>
                </a:lnTo>
                <a:lnTo>
                  <a:pt x="0" y="186"/>
                </a:lnTo>
                <a:lnTo>
                  <a:pt x="2" y="193"/>
                </a:lnTo>
                <a:lnTo>
                  <a:pt x="2" y="193"/>
                </a:lnTo>
                <a:lnTo>
                  <a:pt x="8" y="186"/>
                </a:lnTo>
                <a:lnTo>
                  <a:pt x="13" y="180"/>
                </a:lnTo>
                <a:lnTo>
                  <a:pt x="17" y="180"/>
                </a:lnTo>
                <a:lnTo>
                  <a:pt x="20" y="180"/>
                </a:lnTo>
                <a:lnTo>
                  <a:pt x="20" y="180"/>
                </a:lnTo>
                <a:lnTo>
                  <a:pt x="22" y="182"/>
                </a:lnTo>
                <a:lnTo>
                  <a:pt x="22" y="188"/>
                </a:lnTo>
                <a:lnTo>
                  <a:pt x="22" y="191"/>
                </a:lnTo>
                <a:lnTo>
                  <a:pt x="24" y="195"/>
                </a:lnTo>
                <a:lnTo>
                  <a:pt x="26" y="197"/>
                </a:lnTo>
                <a:lnTo>
                  <a:pt x="26" y="197"/>
                </a:lnTo>
                <a:lnTo>
                  <a:pt x="30" y="199"/>
                </a:lnTo>
                <a:lnTo>
                  <a:pt x="37" y="199"/>
                </a:lnTo>
                <a:lnTo>
                  <a:pt x="52" y="197"/>
                </a:lnTo>
                <a:lnTo>
                  <a:pt x="66" y="195"/>
                </a:lnTo>
                <a:lnTo>
                  <a:pt x="73" y="195"/>
                </a:lnTo>
                <a:lnTo>
                  <a:pt x="75" y="195"/>
                </a:lnTo>
                <a:lnTo>
                  <a:pt x="75" y="195"/>
                </a:lnTo>
                <a:lnTo>
                  <a:pt x="75" y="197"/>
                </a:lnTo>
                <a:lnTo>
                  <a:pt x="72" y="199"/>
                </a:lnTo>
                <a:lnTo>
                  <a:pt x="59" y="200"/>
                </a:lnTo>
                <a:lnTo>
                  <a:pt x="44" y="202"/>
                </a:lnTo>
                <a:lnTo>
                  <a:pt x="39" y="206"/>
                </a:lnTo>
                <a:lnTo>
                  <a:pt x="37" y="208"/>
                </a:lnTo>
                <a:lnTo>
                  <a:pt x="37" y="208"/>
                </a:lnTo>
                <a:lnTo>
                  <a:pt x="37" y="213"/>
                </a:lnTo>
                <a:lnTo>
                  <a:pt x="37" y="213"/>
                </a:lnTo>
                <a:lnTo>
                  <a:pt x="37" y="215"/>
                </a:lnTo>
                <a:lnTo>
                  <a:pt x="33" y="219"/>
                </a:lnTo>
                <a:lnTo>
                  <a:pt x="30" y="226"/>
                </a:lnTo>
                <a:lnTo>
                  <a:pt x="28" y="233"/>
                </a:lnTo>
                <a:lnTo>
                  <a:pt x="28" y="233"/>
                </a:lnTo>
                <a:lnTo>
                  <a:pt x="28" y="237"/>
                </a:lnTo>
                <a:lnTo>
                  <a:pt x="30" y="243"/>
                </a:lnTo>
                <a:lnTo>
                  <a:pt x="35" y="248"/>
                </a:lnTo>
                <a:lnTo>
                  <a:pt x="41" y="253"/>
                </a:lnTo>
                <a:lnTo>
                  <a:pt x="41" y="253"/>
                </a:lnTo>
                <a:lnTo>
                  <a:pt x="42" y="252"/>
                </a:lnTo>
                <a:lnTo>
                  <a:pt x="41" y="244"/>
                </a:lnTo>
                <a:lnTo>
                  <a:pt x="41" y="239"/>
                </a:lnTo>
                <a:lnTo>
                  <a:pt x="42" y="237"/>
                </a:lnTo>
                <a:lnTo>
                  <a:pt x="42" y="235"/>
                </a:lnTo>
                <a:lnTo>
                  <a:pt x="42" y="235"/>
                </a:lnTo>
                <a:lnTo>
                  <a:pt x="46" y="235"/>
                </a:lnTo>
                <a:lnTo>
                  <a:pt x="48" y="237"/>
                </a:lnTo>
                <a:lnTo>
                  <a:pt x="52" y="241"/>
                </a:lnTo>
                <a:lnTo>
                  <a:pt x="55" y="243"/>
                </a:lnTo>
                <a:lnTo>
                  <a:pt x="55" y="243"/>
                </a:lnTo>
                <a:lnTo>
                  <a:pt x="59" y="241"/>
                </a:lnTo>
                <a:lnTo>
                  <a:pt x="62" y="239"/>
                </a:lnTo>
                <a:lnTo>
                  <a:pt x="72" y="232"/>
                </a:lnTo>
                <a:lnTo>
                  <a:pt x="81" y="222"/>
                </a:lnTo>
                <a:lnTo>
                  <a:pt x="86" y="217"/>
                </a:lnTo>
                <a:lnTo>
                  <a:pt x="94" y="213"/>
                </a:lnTo>
                <a:lnTo>
                  <a:pt x="94" y="213"/>
                </a:lnTo>
                <a:lnTo>
                  <a:pt x="103" y="210"/>
                </a:lnTo>
                <a:lnTo>
                  <a:pt x="106" y="208"/>
                </a:lnTo>
                <a:lnTo>
                  <a:pt x="108" y="210"/>
                </a:lnTo>
                <a:lnTo>
                  <a:pt x="108" y="211"/>
                </a:lnTo>
                <a:lnTo>
                  <a:pt x="108" y="217"/>
                </a:lnTo>
                <a:lnTo>
                  <a:pt x="108" y="221"/>
                </a:lnTo>
                <a:lnTo>
                  <a:pt x="110" y="222"/>
                </a:lnTo>
                <a:lnTo>
                  <a:pt x="110" y="222"/>
                </a:lnTo>
                <a:lnTo>
                  <a:pt x="115" y="224"/>
                </a:lnTo>
                <a:lnTo>
                  <a:pt x="117" y="226"/>
                </a:lnTo>
                <a:lnTo>
                  <a:pt x="117" y="230"/>
                </a:lnTo>
                <a:lnTo>
                  <a:pt x="115" y="233"/>
                </a:lnTo>
                <a:lnTo>
                  <a:pt x="112" y="239"/>
                </a:lnTo>
                <a:lnTo>
                  <a:pt x="108" y="243"/>
                </a:lnTo>
                <a:lnTo>
                  <a:pt x="108" y="243"/>
                </a:lnTo>
                <a:lnTo>
                  <a:pt x="114" y="243"/>
                </a:lnTo>
                <a:lnTo>
                  <a:pt x="121" y="241"/>
                </a:lnTo>
                <a:lnTo>
                  <a:pt x="128" y="233"/>
                </a:lnTo>
                <a:lnTo>
                  <a:pt x="132" y="230"/>
                </a:lnTo>
                <a:lnTo>
                  <a:pt x="136" y="224"/>
                </a:lnTo>
                <a:lnTo>
                  <a:pt x="136" y="224"/>
                </a:lnTo>
                <a:lnTo>
                  <a:pt x="136" y="221"/>
                </a:lnTo>
                <a:lnTo>
                  <a:pt x="137" y="221"/>
                </a:lnTo>
                <a:lnTo>
                  <a:pt x="141" y="219"/>
                </a:lnTo>
                <a:lnTo>
                  <a:pt x="143" y="217"/>
                </a:lnTo>
                <a:lnTo>
                  <a:pt x="143" y="217"/>
                </a:lnTo>
                <a:lnTo>
                  <a:pt x="145" y="215"/>
                </a:lnTo>
                <a:lnTo>
                  <a:pt x="145" y="211"/>
                </a:lnTo>
                <a:lnTo>
                  <a:pt x="145" y="208"/>
                </a:lnTo>
                <a:lnTo>
                  <a:pt x="145" y="204"/>
                </a:lnTo>
                <a:lnTo>
                  <a:pt x="145" y="204"/>
                </a:lnTo>
                <a:lnTo>
                  <a:pt x="147" y="200"/>
                </a:lnTo>
                <a:lnTo>
                  <a:pt x="150" y="199"/>
                </a:lnTo>
                <a:lnTo>
                  <a:pt x="157" y="197"/>
                </a:lnTo>
                <a:lnTo>
                  <a:pt x="165" y="195"/>
                </a:lnTo>
                <a:lnTo>
                  <a:pt x="167" y="193"/>
                </a:lnTo>
                <a:lnTo>
                  <a:pt x="167" y="191"/>
                </a:lnTo>
                <a:lnTo>
                  <a:pt x="167" y="191"/>
                </a:lnTo>
                <a:lnTo>
                  <a:pt x="167" y="186"/>
                </a:lnTo>
                <a:lnTo>
                  <a:pt x="170" y="180"/>
                </a:lnTo>
                <a:lnTo>
                  <a:pt x="176" y="179"/>
                </a:lnTo>
                <a:lnTo>
                  <a:pt x="179" y="177"/>
                </a:lnTo>
                <a:lnTo>
                  <a:pt x="179" y="177"/>
                </a:lnTo>
                <a:lnTo>
                  <a:pt x="181" y="179"/>
                </a:lnTo>
                <a:lnTo>
                  <a:pt x="183" y="184"/>
                </a:lnTo>
                <a:lnTo>
                  <a:pt x="189" y="190"/>
                </a:lnTo>
                <a:lnTo>
                  <a:pt x="194" y="193"/>
                </a:lnTo>
                <a:lnTo>
                  <a:pt x="199" y="197"/>
                </a:lnTo>
                <a:lnTo>
                  <a:pt x="199" y="197"/>
                </a:lnTo>
                <a:lnTo>
                  <a:pt x="221" y="186"/>
                </a:lnTo>
                <a:lnTo>
                  <a:pt x="221" y="186"/>
                </a:lnTo>
                <a:lnTo>
                  <a:pt x="231" y="182"/>
                </a:lnTo>
                <a:lnTo>
                  <a:pt x="234" y="179"/>
                </a:lnTo>
                <a:lnTo>
                  <a:pt x="234" y="179"/>
                </a:lnTo>
                <a:lnTo>
                  <a:pt x="231" y="173"/>
                </a:lnTo>
                <a:lnTo>
                  <a:pt x="227" y="169"/>
                </a:lnTo>
                <a:lnTo>
                  <a:pt x="225" y="164"/>
                </a:lnTo>
                <a:lnTo>
                  <a:pt x="225" y="164"/>
                </a:lnTo>
                <a:lnTo>
                  <a:pt x="223" y="158"/>
                </a:lnTo>
                <a:lnTo>
                  <a:pt x="223" y="155"/>
                </a:lnTo>
                <a:lnTo>
                  <a:pt x="223" y="155"/>
                </a:lnTo>
                <a:lnTo>
                  <a:pt x="229" y="162"/>
                </a:lnTo>
                <a:lnTo>
                  <a:pt x="236" y="168"/>
                </a:lnTo>
                <a:lnTo>
                  <a:pt x="245" y="173"/>
                </a:lnTo>
                <a:lnTo>
                  <a:pt x="245" y="173"/>
                </a:lnTo>
                <a:lnTo>
                  <a:pt x="271" y="157"/>
                </a:lnTo>
                <a:lnTo>
                  <a:pt x="271" y="157"/>
                </a:lnTo>
                <a:lnTo>
                  <a:pt x="276" y="155"/>
                </a:lnTo>
                <a:lnTo>
                  <a:pt x="276" y="155"/>
                </a:lnTo>
                <a:lnTo>
                  <a:pt x="276" y="155"/>
                </a:lnTo>
                <a:lnTo>
                  <a:pt x="276" y="155"/>
                </a:lnTo>
                <a:lnTo>
                  <a:pt x="273" y="149"/>
                </a:lnTo>
                <a:lnTo>
                  <a:pt x="267" y="144"/>
                </a:lnTo>
                <a:lnTo>
                  <a:pt x="262" y="137"/>
                </a:lnTo>
                <a:lnTo>
                  <a:pt x="262" y="133"/>
                </a:lnTo>
                <a:lnTo>
                  <a:pt x="263" y="131"/>
                </a:lnTo>
                <a:lnTo>
                  <a:pt x="263" y="131"/>
                </a:lnTo>
                <a:lnTo>
                  <a:pt x="265" y="129"/>
                </a:lnTo>
                <a:lnTo>
                  <a:pt x="265" y="126"/>
                </a:lnTo>
                <a:lnTo>
                  <a:pt x="262" y="115"/>
                </a:lnTo>
                <a:lnTo>
                  <a:pt x="258" y="105"/>
                </a:lnTo>
                <a:lnTo>
                  <a:pt x="258" y="100"/>
                </a:lnTo>
                <a:lnTo>
                  <a:pt x="262" y="98"/>
                </a:lnTo>
                <a:lnTo>
                  <a:pt x="262" y="98"/>
                </a:lnTo>
                <a:lnTo>
                  <a:pt x="313" y="73"/>
                </a:lnTo>
                <a:lnTo>
                  <a:pt x="357" y="51"/>
                </a:lnTo>
                <a:lnTo>
                  <a:pt x="357" y="51"/>
                </a:lnTo>
                <a:lnTo>
                  <a:pt x="353" y="45"/>
                </a:lnTo>
                <a:lnTo>
                  <a:pt x="349" y="38"/>
                </a:lnTo>
                <a:lnTo>
                  <a:pt x="344" y="3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88" name="Freeform 39"/>
          <p:cNvSpPr>
            <a:spLocks/>
          </p:cNvSpPr>
          <p:nvPr userDrawn="1"/>
        </p:nvSpPr>
        <p:spPr bwMode="auto">
          <a:xfrm>
            <a:off x="8229601" y="-437728"/>
            <a:ext cx="120650" cy="115888"/>
          </a:xfrm>
          <a:custGeom>
            <a:avLst/>
            <a:gdLst>
              <a:gd name="T0" fmla="*/ 0 w 152"/>
              <a:gd name="T1" fmla="*/ 42 h 144"/>
              <a:gd name="T2" fmla="*/ 2 w 152"/>
              <a:gd name="T3" fmla="*/ 51 h 144"/>
              <a:gd name="T4" fmla="*/ 4 w 152"/>
              <a:gd name="T5" fmla="*/ 57 h 144"/>
              <a:gd name="T6" fmla="*/ 15 w 152"/>
              <a:gd name="T7" fmla="*/ 60 h 144"/>
              <a:gd name="T8" fmla="*/ 18 w 152"/>
              <a:gd name="T9" fmla="*/ 58 h 144"/>
              <a:gd name="T10" fmla="*/ 20 w 152"/>
              <a:gd name="T11" fmla="*/ 51 h 144"/>
              <a:gd name="T12" fmla="*/ 22 w 152"/>
              <a:gd name="T13" fmla="*/ 44 h 144"/>
              <a:gd name="T14" fmla="*/ 24 w 152"/>
              <a:gd name="T15" fmla="*/ 42 h 144"/>
              <a:gd name="T16" fmla="*/ 26 w 152"/>
              <a:gd name="T17" fmla="*/ 42 h 144"/>
              <a:gd name="T18" fmla="*/ 28 w 152"/>
              <a:gd name="T19" fmla="*/ 40 h 144"/>
              <a:gd name="T20" fmla="*/ 68 w 152"/>
              <a:gd name="T21" fmla="*/ 60 h 144"/>
              <a:gd name="T22" fmla="*/ 106 w 152"/>
              <a:gd name="T23" fmla="*/ 86 h 144"/>
              <a:gd name="T24" fmla="*/ 112 w 152"/>
              <a:gd name="T25" fmla="*/ 89 h 144"/>
              <a:gd name="T26" fmla="*/ 106 w 152"/>
              <a:gd name="T27" fmla="*/ 100 h 144"/>
              <a:gd name="T28" fmla="*/ 95 w 152"/>
              <a:gd name="T29" fmla="*/ 128 h 144"/>
              <a:gd name="T30" fmla="*/ 93 w 152"/>
              <a:gd name="T31" fmla="*/ 135 h 144"/>
              <a:gd name="T32" fmla="*/ 97 w 152"/>
              <a:gd name="T33" fmla="*/ 142 h 144"/>
              <a:gd name="T34" fmla="*/ 104 w 152"/>
              <a:gd name="T35" fmla="*/ 144 h 144"/>
              <a:gd name="T36" fmla="*/ 110 w 152"/>
              <a:gd name="T37" fmla="*/ 144 h 144"/>
              <a:gd name="T38" fmla="*/ 117 w 152"/>
              <a:gd name="T39" fmla="*/ 139 h 144"/>
              <a:gd name="T40" fmla="*/ 119 w 152"/>
              <a:gd name="T41" fmla="*/ 135 h 144"/>
              <a:gd name="T42" fmla="*/ 119 w 152"/>
              <a:gd name="T43" fmla="*/ 130 h 144"/>
              <a:gd name="T44" fmla="*/ 112 w 152"/>
              <a:gd name="T45" fmla="*/ 122 h 144"/>
              <a:gd name="T46" fmla="*/ 110 w 152"/>
              <a:gd name="T47" fmla="*/ 122 h 144"/>
              <a:gd name="T48" fmla="*/ 115 w 152"/>
              <a:gd name="T49" fmla="*/ 110 h 144"/>
              <a:gd name="T50" fmla="*/ 123 w 152"/>
              <a:gd name="T51" fmla="*/ 93 h 144"/>
              <a:gd name="T52" fmla="*/ 132 w 152"/>
              <a:gd name="T53" fmla="*/ 86 h 144"/>
              <a:gd name="T54" fmla="*/ 141 w 152"/>
              <a:gd name="T55" fmla="*/ 84 h 144"/>
              <a:gd name="T56" fmla="*/ 139 w 152"/>
              <a:gd name="T57" fmla="*/ 80 h 144"/>
              <a:gd name="T58" fmla="*/ 135 w 152"/>
              <a:gd name="T59" fmla="*/ 69 h 144"/>
              <a:gd name="T60" fmla="*/ 137 w 152"/>
              <a:gd name="T61" fmla="*/ 57 h 144"/>
              <a:gd name="T62" fmla="*/ 141 w 152"/>
              <a:gd name="T63" fmla="*/ 49 h 144"/>
              <a:gd name="T64" fmla="*/ 152 w 152"/>
              <a:gd name="T65" fmla="*/ 18 h 144"/>
              <a:gd name="T66" fmla="*/ 152 w 152"/>
              <a:gd name="T67" fmla="*/ 13 h 144"/>
              <a:gd name="T68" fmla="*/ 146 w 152"/>
              <a:gd name="T69" fmla="*/ 5 h 144"/>
              <a:gd name="T70" fmla="*/ 141 w 152"/>
              <a:gd name="T71" fmla="*/ 4 h 144"/>
              <a:gd name="T72" fmla="*/ 132 w 152"/>
              <a:gd name="T73" fmla="*/ 7 h 144"/>
              <a:gd name="T74" fmla="*/ 128 w 152"/>
              <a:gd name="T75" fmla="*/ 15 h 144"/>
              <a:gd name="T76" fmla="*/ 128 w 152"/>
              <a:gd name="T77" fmla="*/ 20 h 144"/>
              <a:gd name="T78" fmla="*/ 134 w 152"/>
              <a:gd name="T79" fmla="*/ 27 h 144"/>
              <a:gd name="T80" fmla="*/ 137 w 152"/>
              <a:gd name="T81" fmla="*/ 29 h 144"/>
              <a:gd name="T82" fmla="*/ 132 w 152"/>
              <a:gd name="T83" fmla="*/ 46 h 144"/>
              <a:gd name="T84" fmla="*/ 124 w 152"/>
              <a:gd name="T85" fmla="*/ 55 h 144"/>
              <a:gd name="T86" fmla="*/ 117 w 152"/>
              <a:gd name="T87" fmla="*/ 51 h 144"/>
              <a:gd name="T88" fmla="*/ 60 w 152"/>
              <a:gd name="T89" fmla="*/ 24 h 144"/>
              <a:gd name="T90" fmla="*/ 40 w 152"/>
              <a:gd name="T91" fmla="*/ 18 h 144"/>
              <a:gd name="T92" fmla="*/ 42 w 152"/>
              <a:gd name="T93" fmla="*/ 13 h 144"/>
              <a:gd name="T94" fmla="*/ 50 w 152"/>
              <a:gd name="T95" fmla="*/ 0 h 144"/>
              <a:gd name="T96" fmla="*/ 46 w 152"/>
              <a:gd name="T97" fmla="*/ 2 h 144"/>
              <a:gd name="T98" fmla="*/ 39 w 152"/>
              <a:gd name="T99" fmla="*/ 5 h 144"/>
              <a:gd name="T100" fmla="*/ 24 w 152"/>
              <a:gd name="T101" fmla="*/ 11 h 144"/>
              <a:gd name="T102" fmla="*/ 18 w 152"/>
              <a:gd name="T103" fmla="*/ 11 h 144"/>
              <a:gd name="T104" fmla="*/ 15 w 152"/>
              <a:gd name="T105" fmla="*/ 11 h 144"/>
              <a:gd name="T106" fmla="*/ 9 w 152"/>
              <a:gd name="T107" fmla="*/ 22 h 144"/>
              <a:gd name="T108" fmla="*/ 6 w 152"/>
              <a:gd name="T109" fmla="*/ 33 h 144"/>
              <a:gd name="T110" fmla="*/ 2 w 152"/>
              <a:gd name="T111" fmla="*/ 3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2" h="144">
                <a:moveTo>
                  <a:pt x="0" y="42"/>
                </a:moveTo>
                <a:lnTo>
                  <a:pt x="0" y="42"/>
                </a:lnTo>
                <a:lnTo>
                  <a:pt x="0" y="47"/>
                </a:lnTo>
                <a:lnTo>
                  <a:pt x="2" y="51"/>
                </a:lnTo>
                <a:lnTo>
                  <a:pt x="4" y="57"/>
                </a:lnTo>
                <a:lnTo>
                  <a:pt x="4" y="57"/>
                </a:lnTo>
                <a:lnTo>
                  <a:pt x="11" y="58"/>
                </a:lnTo>
                <a:lnTo>
                  <a:pt x="15" y="60"/>
                </a:lnTo>
                <a:lnTo>
                  <a:pt x="18" y="58"/>
                </a:lnTo>
                <a:lnTo>
                  <a:pt x="18" y="58"/>
                </a:lnTo>
                <a:lnTo>
                  <a:pt x="20" y="55"/>
                </a:lnTo>
                <a:lnTo>
                  <a:pt x="20" y="51"/>
                </a:lnTo>
                <a:lnTo>
                  <a:pt x="20" y="47"/>
                </a:lnTo>
                <a:lnTo>
                  <a:pt x="22" y="44"/>
                </a:lnTo>
                <a:lnTo>
                  <a:pt x="22" y="44"/>
                </a:lnTo>
                <a:lnTo>
                  <a:pt x="24" y="42"/>
                </a:lnTo>
                <a:lnTo>
                  <a:pt x="26" y="42"/>
                </a:lnTo>
                <a:lnTo>
                  <a:pt x="26" y="42"/>
                </a:lnTo>
                <a:lnTo>
                  <a:pt x="28" y="40"/>
                </a:lnTo>
                <a:lnTo>
                  <a:pt x="28" y="40"/>
                </a:lnTo>
                <a:lnTo>
                  <a:pt x="48" y="49"/>
                </a:lnTo>
                <a:lnTo>
                  <a:pt x="68" y="60"/>
                </a:lnTo>
                <a:lnTo>
                  <a:pt x="106" y="86"/>
                </a:lnTo>
                <a:lnTo>
                  <a:pt x="106" y="86"/>
                </a:lnTo>
                <a:lnTo>
                  <a:pt x="112" y="89"/>
                </a:lnTo>
                <a:lnTo>
                  <a:pt x="112" y="89"/>
                </a:lnTo>
                <a:lnTo>
                  <a:pt x="106" y="100"/>
                </a:lnTo>
                <a:lnTo>
                  <a:pt x="106" y="100"/>
                </a:lnTo>
                <a:lnTo>
                  <a:pt x="97" y="119"/>
                </a:lnTo>
                <a:lnTo>
                  <a:pt x="95" y="128"/>
                </a:lnTo>
                <a:lnTo>
                  <a:pt x="93" y="135"/>
                </a:lnTo>
                <a:lnTo>
                  <a:pt x="93" y="135"/>
                </a:lnTo>
                <a:lnTo>
                  <a:pt x="95" y="139"/>
                </a:lnTo>
                <a:lnTo>
                  <a:pt x="97" y="142"/>
                </a:lnTo>
                <a:lnTo>
                  <a:pt x="101" y="144"/>
                </a:lnTo>
                <a:lnTo>
                  <a:pt x="104" y="144"/>
                </a:lnTo>
                <a:lnTo>
                  <a:pt x="104" y="144"/>
                </a:lnTo>
                <a:lnTo>
                  <a:pt x="110" y="144"/>
                </a:lnTo>
                <a:lnTo>
                  <a:pt x="113" y="142"/>
                </a:lnTo>
                <a:lnTo>
                  <a:pt x="117" y="139"/>
                </a:lnTo>
                <a:lnTo>
                  <a:pt x="119" y="135"/>
                </a:lnTo>
                <a:lnTo>
                  <a:pt x="119" y="135"/>
                </a:lnTo>
                <a:lnTo>
                  <a:pt x="119" y="131"/>
                </a:lnTo>
                <a:lnTo>
                  <a:pt x="119" y="130"/>
                </a:lnTo>
                <a:lnTo>
                  <a:pt x="115" y="124"/>
                </a:lnTo>
                <a:lnTo>
                  <a:pt x="112" y="122"/>
                </a:lnTo>
                <a:lnTo>
                  <a:pt x="110" y="122"/>
                </a:lnTo>
                <a:lnTo>
                  <a:pt x="110" y="122"/>
                </a:lnTo>
                <a:lnTo>
                  <a:pt x="115" y="110"/>
                </a:lnTo>
                <a:lnTo>
                  <a:pt x="115" y="110"/>
                </a:lnTo>
                <a:lnTo>
                  <a:pt x="119" y="100"/>
                </a:lnTo>
                <a:lnTo>
                  <a:pt x="123" y="93"/>
                </a:lnTo>
                <a:lnTo>
                  <a:pt x="128" y="89"/>
                </a:lnTo>
                <a:lnTo>
                  <a:pt x="132" y="86"/>
                </a:lnTo>
                <a:lnTo>
                  <a:pt x="137" y="84"/>
                </a:lnTo>
                <a:lnTo>
                  <a:pt x="141" y="84"/>
                </a:lnTo>
                <a:lnTo>
                  <a:pt x="141" y="84"/>
                </a:lnTo>
                <a:lnTo>
                  <a:pt x="139" y="80"/>
                </a:lnTo>
                <a:lnTo>
                  <a:pt x="135" y="75"/>
                </a:lnTo>
                <a:lnTo>
                  <a:pt x="135" y="69"/>
                </a:lnTo>
                <a:lnTo>
                  <a:pt x="135" y="64"/>
                </a:lnTo>
                <a:lnTo>
                  <a:pt x="137" y="57"/>
                </a:lnTo>
                <a:lnTo>
                  <a:pt x="141" y="49"/>
                </a:lnTo>
                <a:lnTo>
                  <a:pt x="141" y="49"/>
                </a:lnTo>
                <a:lnTo>
                  <a:pt x="148" y="31"/>
                </a:lnTo>
                <a:lnTo>
                  <a:pt x="152" y="18"/>
                </a:lnTo>
                <a:lnTo>
                  <a:pt x="152" y="18"/>
                </a:lnTo>
                <a:lnTo>
                  <a:pt x="152" y="13"/>
                </a:lnTo>
                <a:lnTo>
                  <a:pt x="150" y="9"/>
                </a:lnTo>
                <a:lnTo>
                  <a:pt x="146" y="5"/>
                </a:lnTo>
                <a:lnTo>
                  <a:pt x="141" y="4"/>
                </a:lnTo>
                <a:lnTo>
                  <a:pt x="141" y="4"/>
                </a:lnTo>
                <a:lnTo>
                  <a:pt x="137" y="5"/>
                </a:lnTo>
                <a:lnTo>
                  <a:pt x="132" y="7"/>
                </a:lnTo>
                <a:lnTo>
                  <a:pt x="130" y="11"/>
                </a:lnTo>
                <a:lnTo>
                  <a:pt x="128" y="15"/>
                </a:lnTo>
                <a:lnTo>
                  <a:pt x="128" y="15"/>
                </a:lnTo>
                <a:lnTo>
                  <a:pt x="128" y="20"/>
                </a:lnTo>
                <a:lnTo>
                  <a:pt x="130" y="24"/>
                </a:lnTo>
                <a:lnTo>
                  <a:pt x="134" y="27"/>
                </a:lnTo>
                <a:lnTo>
                  <a:pt x="137" y="29"/>
                </a:lnTo>
                <a:lnTo>
                  <a:pt x="137" y="29"/>
                </a:lnTo>
                <a:lnTo>
                  <a:pt x="137" y="29"/>
                </a:lnTo>
                <a:lnTo>
                  <a:pt x="132" y="46"/>
                </a:lnTo>
                <a:lnTo>
                  <a:pt x="124" y="55"/>
                </a:lnTo>
                <a:lnTo>
                  <a:pt x="124" y="55"/>
                </a:lnTo>
                <a:lnTo>
                  <a:pt x="117" y="51"/>
                </a:lnTo>
                <a:lnTo>
                  <a:pt x="117" y="51"/>
                </a:lnTo>
                <a:lnTo>
                  <a:pt x="81" y="31"/>
                </a:lnTo>
                <a:lnTo>
                  <a:pt x="60" y="24"/>
                </a:lnTo>
                <a:lnTo>
                  <a:pt x="40" y="18"/>
                </a:lnTo>
                <a:lnTo>
                  <a:pt x="40" y="18"/>
                </a:lnTo>
                <a:lnTo>
                  <a:pt x="42" y="13"/>
                </a:lnTo>
                <a:lnTo>
                  <a:pt x="42" y="13"/>
                </a:lnTo>
                <a:lnTo>
                  <a:pt x="48" y="4"/>
                </a:lnTo>
                <a:lnTo>
                  <a:pt x="50" y="0"/>
                </a:lnTo>
                <a:lnTo>
                  <a:pt x="50" y="0"/>
                </a:lnTo>
                <a:lnTo>
                  <a:pt x="46" y="2"/>
                </a:lnTo>
                <a:lnTo>
                  <a:pt x="39" y="5"/>
                </a:lnTo>
                <a:lnTo>
                  <a:pt x="39" y="5"/>
                </a:lnTo>
                <a:lnTo>
                  <a:pt x="29" y="9"/>
                </a:lnTo>
                <a:lnTo>
                  <a:pt x="24" y="11"/>
                </a:lnTo>
                <a:lnTo>
                  <a:pt x="24" y="11"/>
                </a:lnTo>
                <a:lnTo>
                  <a:pt x="18" y="11"/>
                </a:lnTo>
                <a:lnTo>
                  <a:pt x="15" y="11"/>
                </a:lnTo>
                <a:lnTo>
                  <a:pt x="15" y="11"/>
                </a:lnTo>
                <a:lnTo>
                  <a:pt x="13" y="13"/>
                </a:lnTo>
                <a:lnTo>
                  <a:pt x="9" y="22"/>
                </a:lnTo>
                <a:lnTo>
                  <a:pt x="9" y="22"/>
                </a:lnTo>
                <a:lnTo>
                  <a:pt x="6" y="33"/>
                </a:lnTo>
                <a:lnTo>
                  <a:pt x="6" y="33"/>
                </a:lnTo>
                <a:lnTo>
                  <a:pt x="2" y="38"/>
                </a:lnTo>
                <a:lnTo>
                  <a:pt x="0" y="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89" name="Freeform 40"/>
          <p:cNvSpPr>
            <a:spLocks/>
          </p:cNvSpPr>
          <p:nvPr userDrawn="1"/>
        </p:nvSpPr>
        <p:spPr bwMode="auto">
          <a:xfrm>
            <a:off x="8226426" y="-921915"/>
            <a:ext cx="30163" cy="34925"/>
          </a:xfrm>
          <a:custGeom>
            <a:avLst/>
            <a:gdLst>
              <a:gd name="T0" fmla="*/ 12 w 36"/>
              <a:gd name="T1" fmla="*/ 44 h 44"/>
              <a:gd name="T2" fmla="*/ 12 w 36"/>
              <a:gd name="T3" fmla="*/ 44 h 44"/>
              <a:gd name="T4" fmla="*/ 27 w 36"/>
              <a:gd name="T5" fmla="*/ 42 h 44"/>
              <a:gd name="T6" fmla="*/ 36 w 36"/>
              <a:gd name="T7" fmla="*/ 40 h 44"/>
              <a:gd name="T8" fmla="*/ 36 w 36"/>
              <a:gd name="T9" fmla="*/ 3 h 44"/>
              <a:gd name="T10" fmla="*/ 36 w 36"/>
              <a:gd name="T11" fmla="*/ 3 h 44"/>
              <a:gd name="T12" fmla="*/ 16 w 36"/>
              <a:gd name="T13" fmla="*/ 0 h 44"/>
              <a:gd name="T14" fmla="*/ 16 w 36"/>
              <a:gd name="T15" fmla="*/ 0 h 44"/>
              <a:gd name="T16" fmla="*/ 11 w 36"/>
              <a:gd name="T17" fmla="*/ 0 h 44"/>
              <a:gd name="T18" fmla="*/ 7 w 36"/>
              <a:gd name="T19" fmla="*/ 2 h 44"/>
              <a:gd name="T20" fmla="*/ 3 w 36"/>
              <a:gd name="T21" fmla="*/ 3 h 44"/>
              <a:gd name="T22" fmla="*/ 1 w 36"/>
              <a:gd name="T23" fmla="*/ 7 h 44"/>
              <a:gd name="T24" fmla="*/ 0 w 36"/>
              <a:gd name="T25" fmla="*/ 13 h 44"/>
              <a:gd name="T26" fmla="*/ 0 w 36"/>
              <a:gd name="T27" fmla="*/ 16 h 44"/>
              <a:gd name="T28" fmla="*/ 0 w 36"/>
              <a:gd name="T29" fmla="*/ 27 h 44"/>
              <a:gd name="T30" fmla="*/ 0 w 36"/>
              <a:gd name="T31" fmla="*/ 27 h 44"/>
              <a:gd name="T32" fmla="*/ 1 w 36"/>
              <a:gd name="T33" fmla="*/ 34 h 44"/>
              <a:gd name="T34" fmla="*/ 5 w 36"/>
              <a:gd name="T35" fmla="*/ 40 h 44"/>
              <a:gd name="T36" fmla="*/ 9 w 36"/>
              <a:gd name="T37" fmla="*/ 42 h 44"/>
              <a:gd name="T38" fmla="*/ 12 w 36"/>
              <a:gd name="T3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 h="44">
                <a:moveTo>
                  <a:pt x="12" y="44"/>
                </a:moveTo>
                <a:lnTo>
                  <a:pt x="12" y="44"/>
                </a:lnTo>
                <a:lnTo>
                  <a:pt x="27" y="42"/>
                </a:lnTo>
                <a:lnTo>
                  <a:pt x="36" y="40"/>
                </a:lnTo>
                <a:lnTo>
                  <a:pt x="36" y="3"/>
                </a:lnTo>
                <a:lnTo>
                  <a:pt x="36" y="3"/>
                </a:lnTo>
                <a:lnTo>
                  <a:pt x="16" y="0"/>
                </a:lnTo>
                <a:lnTo>
                  <a:pt x="16" y="0"/>
                </a:lnTo>
                <a:lnTo>
                  <a:pt x="11" y="0"/>
                </a:lnTo>
                <a:lnTo>
                  <a:pt x="7" y="2"/>
                </a:lnTo>
                <a:lnTo>
                  <a:pt x="3" y="3"/>
                </a:lnTo>
                <a:lnTo>
                  <a:pt x="1" y="7"/>
                </a:lnTo>
                <a:lnTo>
                  <a:pt x="0" y="13"/>
                </a:lnTo>
                <a:lnTo>
                  <a:pt x="0" y="16"/>
                </a:lnTo>
                <a:lnTo>
                  <a:pt x="0" y="27"/>
                </a:lnTo>
                <a:lnTo>
                  <a:pt x="0" y="27"/>
                </a:lnTo>
                <a:lnTo>
                  <a:pt x="1" y="34"/>
                </a:lnTo>
                <a:lnTo>
                  <a:pt x="5" y="40"/>
                </a:lnTo>
                <a:lnTo>
                  <a:pt x="9" y="42"/>
                </a:lnTo>
                <a:lnTo>
                  <a:pt x="12" y="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0" name="Freeform 41"/>
          <p:cNvSpPr>
            <a:spLocks/>
          </p:cNvSpPr>
          <p:nvPr userDrawn="1"/>
        </p:nvSpPr>
        <p:spPr bwMode="auto">
          <a:xfrm>
            <a:off x="8262939" y="-928264"/>
            <a:ext cx="44450" cy="41275"/>
          </a:xfrm>
          <a:custGeom>
            <a:avLst/>
            <a:gdLst>
              <a:gd name="T0" fmla="*/ 55 w 55"/>
              <a:gd name="T1" fmla="*/ 38 h 53"/>
              <a:gd name="T2" fmla="*/ 55 w 55"/>
              <a:gd name="T3" fmla="*/ 27 h 53"/>
              <a:gd name="T4" fmla="*/ 55 w 55"/>
              <a:gd name="T5" fmla="*/ 7 h 53"/>
              <a:gd name="T6" fmla="*/ 55 w 55"/>
              <a:gd name="T7" fmla="*/ 1 h 53"/>
              <a:gd name="T8" fmla="*/ 53 w 55"/>
              <a:gd name="T9" fmla="*/ 0 h 53"/>
              <a:gd name="T10" fmla="*/ 46 w 55"/>
              <a:gd name="T11" fmla="*/ 0 h 53"/>
              <a:gd name="T12" fmla="*/ 40 w 55"/>
              <a:gd name="T13" fmla="*/ 0 h 53"/>
              <a:gd name="T14" fmla="*/ 29 w 55"/>
              <a:gd name="T15" fmla="*/ 0 h 53"/>
              <a:gd name="T16" fmla="*/ 28 w 55"/>
              <a:gd name="T17" fmla="*/ 7 h 53"/>
              <a:gd name="T18" fmla="*/ 26 w 55"/>
              <a:gd name="T19" fmla="*/ 0 h 53"/>
              <a:gd name="T20" fmla="*/ 17 w 55"/>
              <a:gd name="T21" fmla="*/ 0 h 53"/>
              <a:gd name="T22" fmla="*/ 11 w 55"/>
              <a:gd name="T23" fmla="*/ 0 h 53"/>
              <a:gd name="T24" fmla="*/ 4 w 55"/>
              <a:gd name="T25" fmla="*/ 0 h 53"/>
              <a:gd name="T26" fmla="*/ 2 w 55"/>
              <a:gd name="T27" fmla="*/ 1 h 53"/>
              <a:gd name="T28" fmla="*/ 0 w 55"/>
              <a:gd name="T29" fmla="*/ 7 h 53"/>
              <a:gd name="T30" fmla="*/ 0 w 55"/>
              <a:gd name="T31" fmla="*/ 27 h 53"/>
              <a:gd name="T32" fmla="*/ 0 w 55"/>
              <a:gd name="T33" fmla="*/ 49 h 53"/>
              <a:gd name="T34" fmla="*/ 6 w 55"/>
              <a:gd name="T35" fmla="*/ 49 h 53"/>
              <a:gd name="T36" fmla="*/ 9 w 55"/>
              <a:gd name="T37" fmla="*/ 47 h 53"/>
              <a:gd name="T38" fmla="*/ 13 w 55"/>
              <a:gd name="T39" fmla="*/ 40 h 53"/>
              <a:gd name="T40" fmla="*/ 13 w 55"/>
              <a:gd name="T41" fmla="*/ 53 h 53"/>
              <a:gd name="T42" fmla="*/ 17 w 55"/>
              <a:gd name="T43" fmla="*/ 53 h 53"/>
              <a:gd name="T44" fmla="*/ 24 w 55"/>
              <a:gd name="T45" fmla="*/ 49 h 53"/>
              <a:gd name="T46" fmla="*/ 26 w 55"/>
              <a:gd name="T47" fmla="*/ 43 h 53"/>
              <a:gd name="T48" fmla="*/ 28 w 55"/>
              <a:gd name="T49" fmla="*/ 40 h 53"/>
              <a:gd name="T50" fmla="*/ 28 w 55"/>
              <a:gd name="T51" fmla="*/ 53 h 53"/>
              <a:gd name="T52" fmla="*/ 39 w 55"/>
              <a:gd name="T53" fmla="*/ 49 h 53"/>
              <a:gd name="T54" fmla="*/ 42 w 55"/>
              <a:gd name="T55" fmla="*/ 43 h 53"/>
              <a:gd name="T56" fmla="*/ 42 w 55"/>
              <a:gd name="T57" fmla="*/ 40 h 53"/>
              <a:gd name="T58" fmla="*/ 42 w 55"/>
              <a:gd name="T59" fmla="*/ 49 h 53"/>
              <a:gd name="T60" fmla="*/ 46 w 55"/>
              <a:gd name="T61" fmla="*/ 47 h 53"/>
              <a:gd name="T62" fmla="*/ 51 w 55"/>
              <a:gd name="T63" fmla="*/ 45 h 53"/>
              <a:gd name="T64" fmla="*/ 55 w 55"/>
              <a:gd name="T65" fmla="*/ 38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5" h="53">
                <a:moveTo>
                  <a:pt x="55" y="38"/>
                </a:moveTo>
                <a:lnTo>
                  <a:pt x="55" y="38"/>
                </a:lnTo>
                <a:lnTo>
                  <a:pt x="55" y="27"/>
                </a:lnTo>
                <a:lnTo>
                  <a:pt x="55" y="27"/>
                </a:lnTo>
                <a:lnTo>
                  <a:pt x="55" y="7"/>
                </a:lnTo>
                <a:lnTo>
                  <a:pt x="55" y="7"/>
                </a:lnTo>
                <a:lnTo>
                  <a:pt x="55" y="3"/>
                </a:lnTo>
                <a:lnTo>
                  <a:pt x="55" y="1"/>
                </a:lnTo>
                <a:lnTo>
                  <a:pt x="53" y="0"/>
                </a:lnTo>
                <a:lnTo>
                  <a:pt x="53" y="0"/>
                </a:lnTo>
                <a:lnTo>
                  <a:pt x="46" y="0"/>
                </a:lnTo>
                <a:lnTo>
                  <a:pt x="46" y="0"/>
                </a:lnTo>
                <a:lnTo>
                  <a:pt x="42" y="7"/>
                </a:lnTo>
                <a:lnTo>
                  <a:pt x="40" y="0"/>
                </a:lnTo>
                <a:lnTo>
                  <a:pt x="40" y="0"/>
                </a:lnTo>
                <a:lnTo>
                  <a:pt x="29" y="0"/>
                </a:lnTo>
                <a:lnTo>
                  <a:pt x="29" y="0"/>
                </a:lnTo>
                <a:lnTo>
                  <a:pt x="28" y="7"/>
                </a:lnTo>
                <a:lnTo>
                  <a:pt x="26" y="0"/>
                </a:lnTo>
                <a:lnTo>
                  <a:pt x="26" y="0"/>
                </a:lnTo>
                <a:lnTo>
                  <a:pt x="17" y="0"/>
                </a:lnTo>
                <a:lnTo>
                  <a:pt x="17" y="0"/>
                </a:lnTo>
                <a:lnTo>
                  <a:pt x="13" y="7"/>
                </a:lnTo>
                <a:lnTo>
                  <a:pt x="11" y="0"/>
                </a:lnTo>
                <a:lnTo>
                  <a:pt x="11" y="0"/>
                </a:lnTo>
                <a:lnTo>
                  <a:pt x="4" y="0"/>
                </a:lnTo>
                <a:lnTo>
                  <a:pt x="4" y="0"/>
                </a:lnTo>
                <a:lnTo>
                  <a:pt x="2" y="1"/>
                </a:lnTo>
                <a:lnTo>
                  <a:pt x="0" y="3"/>
                </a:lnTo>
                <a:lnTo>
                  <a:pt x="0" y="7"/>
                </a:lnTo>
                <a:lnTo>
                  <a:pt x="0" y="7"/>
                </a:lnTo>
                <a:lnTo>
                  <a:pt x="0" y="27"/>
                </a:lnTo>
                <a:lnTo>
                  <a:pt x="0" y="27"/>
                </a:lnTo>
                <a:lnTo>
                  <a:pt x="0" y="49"/>
                </a:lnTo>
                <a:lnTo>
                  <a:pt x="0" y="49"/>
                </a:lnTo>
                <a:lnTo>
                  <a:pt x="6" y="49"/>
                </a:lnTo>
                <a:lnTo>
                  <a:pt x="9" y="47"/>
                </a:lnTo>
                <a:lnTo>
                  <a:pt x="9" y="47"/>
                </a:lnTo>
                <a:lnTo>
                  <a:pt x="11" y="42"/>
                </a:lnTo>
                <a:lnTo>
                  <a:pt x="13" y="40"/>
                </a:lnTo>
                <a:lnTo>
                  <a:pt x="13" y="40"/>
                </a:lnTo>
                <a:lnTo>
                  <a:pt x="13" y="53"/>
                </a:lnTo>
                <a:lnTo>
                  <a:pt x="13" y="53"/>
                </a:lnTo>
                <a:lnTo>
                  <a:pt x="17" y="53"/>
                </a:lnTo>
                <a:lnTo>
                  <a:pt x="20" y="51"/>
                </a:lnTo>
                <a:lnTo>
                  <a:pt x="24" y="49"/>
                </a:lnTo>
                <a:lnTo>
                  <a:pt x="24" y="49"/>
                </a:lnTo>
                <a:lnTo>
                  <a:pt x="26" y="43"/>
                </a:lnTo>
                <a:lnTo>
                  <a:pt x="28" y="40"/>
                </a:lnTo>
                <a:lnTo>
                  <a:pt x="28" y="40"/>
                </a:lnTo>
                <a:lnTo>
                  <a:pt x="28" y="53"/>
                </a:lnTo>
                <a:lnTo>
                  <a:pt x="28" y="53"/>
                </a:lnTo>
                <a:lnTo>
                  <a:pt x="33" y="51"/>
                </a:lnTo>
                <a:lnTo>
                  <a:pt x="39" y="49"/>
                </a:lnTo>
                <a:lnTo>
                  <a:pt x="39" y="49"/>
                </a:lnTo>
                <a:lnTo>
                  <a:pt x="42" y="43"/>
                </a:lnTo>
                <a:lnTo>
                  <a:pt x="42" y="40"/>
                </a:lnTo>
                <a:lnTo>
                  <a:pt x="42" y="40"/>
                </a:lnTo>
                <a:lnTo>
                  <a:pt x="42" y="49"/>
                </a:lnTo>
                <a:lnTo>
                  <a:pt x="42" y="49"/>
                </a:lnTo>
                <a:lnTo>
                  <a:pt x="46" y="47"/>
                </a:lnTo>
                <a:lnTo>
                  <a:pt x="46" y="47"/>
                </a:lnTo>
                <a:lnTo>
                  <a:pt x="51" y="45"/>
                </a:lnTo>
                <a:lnTo>
                  <a:pt x="51" y="45"/>
                </a:lnTo>
                <a:lnTo>
                  <a:pt x="53" y="43"/>
                </a:lnTo>
                <a:lnTo>
                  <a:pt x="55" y="3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1" name="Freeform 42"/>
          <p:cNvSpPr>
            <a:spLocks/>
          </p:cNvSpPr>
          <p:nvPr userDrawn="1"/>
        </p:nvSpPr>
        <p:spPr bwMode="auto">
          <a:xfrm>
            <a:off x="8269289" y="-926677"/>
            <a:ext cx="53975" cy="60325"/>
          </a:xfrm>
          <a:custGeom>
            <a:avLst/>
            <a:gdLst>
              <a:gd name="T0" fmla="*/ 67 w 67"/>
              <a:gd name="T1" fmla="*/ 57 h 77"/>
              <a:gd name="T2" fmla="*/ 67 w 67"/>
              <a:gd name="T3" fmla="*/ 44 h 77"/>
              <a:gd name="T4" fmla="*/ 67 w 67"/>
              <a:gd name="T5" fmla="*/ 44 h 77"/>
              <a:gd name="T6" fmla="*/ 65 w 67"/>
              <a:gd name="T7" fmla="*/ 42 h 77"/>
              <a:gd name="T8" fmla="*/ 63 w 67"/>
              <a:gd name="T9" fmla="*/ 37 h 77"/>
              <a:gd name="T10" fmla="*/ 63 w 67"/>
              <a:gd name="T11" fmla="*/ 30 h 77"/>
              <a:gd name="T12" fmla="*/ 63 w 67"/>
              <a:gd name="T13" fmla="*/ 30 h 77"/>
              <a:gd name="T14" fmla="*/ 63 w 67"/>
              <a:gd name="T15" fmla="*/ 26 h 77"/>
              <a:gd name="T16" fmla="*/ 65 w 67"/>
              <a:gd name="T17" fmla="*/ 21 h 77"/>
              <a:gd name="T18" fmla="*/ 67 w 67"/>
              <a:gd name="T19" fmla="*/ 17 h 77"/>
              <a:gd name="T20" fmla="*/ 67 w 67"/>
              <a:gd name="T21" fmla="*/ 6 h 77"/>
              <a:gd name="T22" fmla="*/ 67 w 67"/>
              <a:gd name="T23" fmla="*/ 6 h 77"/>
              <a:gd name="T24" fmla="*/ 63 w 67"/>
              <a:gd name="T25" fmla="*/ 2 h 77"/>
              <a:gd name="T26" fmla="*/ 60 w 67"/>
              <a:gd name="T27" fmla="*/ 0 h 77"/>
              <a:gd name="T28" fmla="*/ 56 w 67"/>
              <a:gd name="T29" fmla="*/ 0 h 77"/>
              <a:gd name="T30" fmla="*/ 56 w 67"/>
              <a:gd name="T31" fmla="*/ 41 h 77"/>
              <a:gd name="T32" fmla="*/ 56 w 67"/>
              <a:gd name="T33" fmla="*/ 41 h 77"/>
              <a:gd name="T34" fmla="*/ 54 w 67"/>
              <a:gd name="T35" fmla="*/ 46 h 77"/>
              <a:gd name="T36" fmla="*/ 51 w 67"/>
              <a:gd name="T37" fmla="*/ 52 h 77"/>
              <a:gd name="T38" fmla="*/ 45 w 67"/>
              <a:gd name="T39" fmla="*/ 55 h 77"/>
              <a:gd name="T40" fmla="*/ 38 w 67"/>
              <a:gd name="T41" fmla="*/ 57 h 77"/>
              <a:gd name="T42" fmla="*/ 38 w 67"/>
              <a:gd name="T43" fmla="*/ 57 h 77"/>
              <a:gd name="T44" fmla="*/ 23 w 67"/>
              <a:gd name="T45" fmla="*/ 59 h 77"/>
              <a:gd name="T46" fmla="*/ 10 w 67"/>
              <a:gd name="T47" fmla="*/ 61 h 77"/>
              <a:gd name="T48" fmla="*/ 0 w 67"/>
              <a:gd name="T49" fmla="*/ 61 h 77"/>
              <a:gd name="T50" fmla="*/ 0 w 67"/>
              <a:gd name="T51" fmla="*/ 61 h 77"/>
              <a:gd name="T52" fmla="*/ 1 w 67"/>
              <a:gd name="T53" fmla="*/ 70 h 77"/>
              <a:gd name="T54" fmla="*/ 1 w 67"/>
              <a:gd name="T55" fmla="*/ 70 h 77"/>
              <a:gd name="T56" fmla="*/ 5 w 67"/>
              <a:gd name="T57" fmla="*/ 75 h 77"/>
              <a:gd name="T58" fmla="*/ 7 w 67"/>
              <a:gd name="T59" fmla="*/ 77 h 77"/>
              <a:gd name="T60" fmla="*/ 54 w 67"/>
              <a:gd name="T61" fmla="*/ 77 h 77"/>
              <a:gd name="T62" fmla="*/ 67 w 67"/>
              <a:gd name="T63" fmla="*/ 5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7" h="77">
                <a:moveTo>
                  <a:pt x="67" y="57"/>
                </a:moveTo>
                <a:lnTo>
                  <a:pt x="67" y="44"/>
                </a:lnTo>
                <a:lnTo>
                  <a:pt x="67" y="44"/>
                </a:lnTo>
                <a:lnTo>
                  <a:pt x="65" y="42"/>
                </a:lnTo>
                <a:lnTo>
                  <a:pt x="63" y="37"/>
                </a:lnTo>
                <a:lnTo>
                  <a:pt x="63" y="30"/>
                </a:lnTo>
                <a:lnTo>
                  <a:pt x="63" y="30"/>
                </a:lnTo>
                <a:lnTo>
                  <a:pt x="63" y="26"/>
                </a:lnTo>
                <a:lnTo>
                  <a:pt x="65" y="21"/>
                </a:lnTo>
                <a:lnTo>
                  <a:pt x="67" y="17"/>
                </a:lnTo>
                <a:lnTo>
                  <a:pt x="67" y="6"/>
                </a:lnTo>
                <a:lnTo>
                  <a:pt x="67" y="6"/>
                </a:lnTo>
                <a:lnTo>
                  <a:pt x="63" y="2"/>
                </a:lnTo>
                <a:lnTo>
                  <a:pt x="60" y="0"/>
                </a:lnTo>
                <a:lnTo>
                  <a:pt x="56" y="0"/>
                </a:lnTo>
                <a:lnTo>
                  <a:pt x="56" y="41"/>
                </a:lnTo>
                <a:lnTo>
                  <a:pt x="56" y="41"/>
                </a:lnTo>
                <a:lnTo>
                  <a:pt x="54" y="46"/>
                </a:lnTo>
                <a:lnTo>
                  <a:pt x="51" y="52"/>
                </a:lnTo>
                <a:lnTo>
                  <a:pt x="45" y="55"/>
                </a:lnTo>
                <a:lnTo>
                  <a:pt x="38" y="57"/>
                </a:lnTo>
                <a:lnTo>
                  <a:pt x="38" y="57"/>
                </a:lnTo>
                <a:lnTo>
                  <a:pt x="23" y="59"/>
                </a:lnTo>
                <a:lnTo>
                  <a:pt x="10" y="61"/>
                </a:lnTo>
                <a:lnTo>
                  <a:pt x="0" y="61"/>
                </a:lnTo>
                <a:lnTo>
                  <a:pt x="0" y="61"/>
                </a:lnTo>
                <a:lnTo>
                  <a:pt x="1" y="70"/>
                </a:lnTo>
                <a:lnTo>
                  <a:pt x="1" y="70"/>
                </a:lnTo>
                <a:lnTo>
                  <a:pt x="5" y="75"/>
                </a:lnTo>
                <a:lnTo>
                  <a:pt x="7" y="77"/>
                </a:lnTo>
                <a:lnTo>
                  <a:pt x="54" y="77"/>
                </a:lnTo>
                <a:lnTo>
                  <a:pt x="67" y="5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2" name="Freeform 43"/>
          <p:cNvSpPr>
            <a:spLocks/>
          </p:cNvSpPr>
          <p:nvPr userDrawn="1"/>
        </p:nvSpPr>
        <p:spPr bwMode="auto">
          <a:xfrm>
            <a:off x="8272464" y="-858415"/>
            <a:ext cx="42863" cy="14288"/>
          </a:xfrm>
          <a:custGeom>
            <a:avLst/>
            <a:gdLst>
              <a:gd name="T0" fmla="*/ 4 w 55"/>
              <a:gd name="T1" fmla="*/ 19 h 19"/>
              <a:gd name="T2" fmla="*/ 51 w 55"/>
              <a:gd name="T3" fmla="*/ 19 h 19"/>
              <a:gd name="T4" fmla="*/ 51 w 55"/>
              <a:gd name="T5" fmla="*/ 19 h 19"/>
              <a:gd name="T6" fmla="*/ 55 w 55"/>
              <a:gd name="T7" fmla="*/ 9 h 19"/>
              <a:gd name="T8" fmla="*/ 53 w 55"/>
              <a:gd name="T9" fmla="*/ 0 h 19"/>
              <a:gd name="T10" fmla="*/ 4 w 55"/>
              <a:gd name="T11" fmla="*/ 0 h 19"/>
              <a:gd name="T12" fmla="*/ 0 w 55"/>
              <a:gd name="T13" fmla="*/ 9 h 19"/>
              <a:gd name="T14" fmla="*/ 4 w 55"/>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19">
                <a:moveTo>
                  <a:pt x="4" y="19"/>
                </a:moveTo>
                <a:lnTo>
                  <a:pt x="51" y="19"/>
                </a:lnTo>
                <a:lnTo>
                  <a:pt x="51" y="19"/>
                </a:lnTo>
                <a:lnTo>
                  <a:pt x="55" y="9"/>
                </a:lnTo>
                <a:lnTo>
                  <a:pt x="53" y="0"/>
                </a:lnTo>
                <a:lnTo>
                  <a:pt x="4" y="0"/>
                </a:lnTo>
                <a:lnTo>
                  <a:pt x="0" y="9"/>
                </a:lnTo>
                <a:lnTo>
                  <a:pt x="4" y="1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3" name="Freeform 44"/>
          <p:cNvSpPr>
            <a:spLocks/>
          </p:cNvSpPr>
          <p:nvPr userDrawn="1"/>
        </p:nvSpPr>
        <p:spPr bwMode="auto">
          <a:xfrm>
            <a:off x="8274051" y="-837778"/>
            <a:ext cx="44450" cy="50800"/>
          </a:xfrm>
          <a:custGeom>
            <a:avLst/>
            <a:gdLst>
              <a:gd name="T0" fmla="*/ 47 w 55"/>
              <a:gd name="T1" fmla="*/ 0 h 64"/>
              <a:gd name="T2" fmla="*/ 0 w 55"/>
              <a:gd name="T3" fmla="*/ 0 h 64"/>
              <a:gd name="T4" fmla="*/ 0 w 55"/>
              <a:gd name="T5" fmla="*/ 62 h 64"/>
              <a:gd name="T6" fmla="*/ 42 w 55"/>
              <a:gd name="T7" fmla="*/ 64 h 64"/>
              <a:gd name="T8" fmla="*/ 55 w 55"/>
              <a:gd name="T9" fmla="*/ 53 h 64"/>
              <a:gd name="T10" fmla="*/ 47 w 55"/>
              <a:gd name="T11" fmla="*/ 0 h 64"/>
            </a:gdLst>
            <a:ahLst/>
            <a:cxnLst>
              <a:cxn ang="0">
                <a:pos x="T0" y="T1"/>
              </a:cxn>
              <a:cxn ang="0">
                <a:pos x="T2" y="T3"/>
              </a:cxn>
              <a:cxn ang="0">
                <a:pos x="T4" y="T5"/>
              </a:cxn>
              <a:cxn ang="0">
                <a:pos x="T6" y="T7"/>
              </a:cxn>
              <a:cxn ang="0">
                <a:pos x="T8" y="T9"/>
              </a:cxn>
              <a:cxn ang="0">
                <a:pos x="T10" y="T11"/>
              </a:cxn>
            </a:cxnLst>
            <a:rect l="0" t="0" r="r" b="b"/>
            <a:pathLst>
              <a:path w="55" h="64">
                <a:moveTo>
                  <a:pt x="47" y="0"/>
                </a:moveTo>
                <a:lnTo>
                  <a:pt x="0" y="0"/>
                </a:lnTo>
                <a:lnTo>
                  <a:pt x="0" y="62"/>
                </a:lnTo>
                <a:lnTo>
                  <a:pt x="42" y="64"/>
                </a:lnTo>
                <a:lnTo>
                  <a:pt x="55" y="53"/>
                </a:lnTo>
                <a:lnTo>
                  <a:pt x="4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4" name="Freeform 45"/>
          <p:cNvSpPr>
            <a:spLocks/>
          </p:cNvSpPr>
          <p:nvPr userDrawn="1"/>
        </p:nvSpPr>
        <p:spPr bwMode="auto">
          <a:xfrm>
            <a:off x="8274050" y="-788565"/>
            <a:ext cx="57150" cy="50800"/>
          </a:xfrm>
          <a:custGeom>
            <a:avLst/>
            <a:gdLst>
              <a:gd name="T0" fmla="*/ 73 w 73"/>
              <a:gd name="T1" fmla="*/ 16 h 64"/>
              <a:gd name="T2" fmla="*/ 73 w 73"/>
              <a:gd name="T3" fmla="*/ 16 h 64"/>
              <a:gd name="T4" fmla="*/ 64 w 73"/>
              <a:gd name="T5" fmla="*/ 9 h 64"/>
              <a:gd name="T6" fmla="*/ 64 w 73"/>
              <a:gd name="T7" fmla="*/ 9 h 64"/>
              <a:gd name="T8" fmla="*/ 62 w 73"/>
              <a:gd name="T9" fmla="*/ 0 h 64"/>
              <a:gd name="T10" fmla="*/ 48 w 73"/>
              <a:gd name="T11" fmla="*/ 11 h 64"/>
              <a:gd name="T12" fmla="*/ 0 w 73"/>
              <a:gd name="T13" fmla="*/ 11 h 64"/>
              <a:gd name="T14" fmla="*/ 0 w 73"/>
              <a:gd name="T15" fmla="*/ 11 h 64"/>
              <a:gd name="T16" fmla="*/ 0 w 73"/>
              <a:gd name="T17" fmla="*/ 27 h 64"/>
              <a:gd name="T18" fmla="*/ 0 w 73"/>
              <a:gd name="T19" fmla="*/ 45 h 64"/>
              <a:gd name="T20" fmla="*/ 0 w 73"/>
              <a:gd name="T21" fmla="*/ 45 h 64"/>
              <a:gd name="T22" fmla="*/ 11 w 73"/>
              <a:gd name="T23" fmla="*/ 55 h 64"/>
              <a:gd name="T24" fmla="*/ 24 w 73"/>
              <a:gd name="T25" fmla="*/ 64 h 64"/>
              <a:gd name="T26" fmla="*/ 55 w 73"/>
              <a:gd name="T27" fmla="*/ 25 h 64"/>
              <a:gd name="T28" fmla="*/ 73 w 73"/>
              <a:gd name="T29"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64">
                <a:moveTo>
                  <a:pt x="73" y="16"/>
                </a:moveTo>
                <a:lnTo>
                  <a:pt x="73" y="16"/>
                </a:lnTo>
                <a:lnTo>
                  <a:pt x="64" y="9"/>
                </a:lnTo>
                <a:lnTo>
                  <a:pt x="64" y="9"/>
                </a:lnTo>
                <a:lnTo>
                  <a:pt x="62" y="0"/>
                </a:lnTo>
                <a:lnTo>
                  <a:pt x="48" y="11"/>
                </a:lnTo>
                <a:lnTo>
                  <a:pt x="0" y="11"/>
                </a:lnTo>
                <a:lnTo>
                  <a:pt x="0" y="11"/>
                </a:lnTo>
                <a:lnTo>
                  <a:pt x="0" y="27"/>
                </a:lnTo>
                <a:lnTo>
                  <a:pt x="0" y="45"/>
                </a:lnTo>
                <a:lnTo>
                  <a:pt x="0" y="45"/>
                </a:lnTo>
                <a:lnTo>
                  <a:pt x="11" y="55"/>
                </a:lnTo>
                <a:lnTo>
                  <a:pt x="24" y="64"/>
                </a:lnTo>
                <a:lnTo>
                  <a:pt x="55" y="25"/>
                </a:lnTo>
                <a:lnTo>
                  <a:pt x="73"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5" name="Freeform 46"/>
          <p:cNvSpPr>
            <a:spLocks/>
          </p:cNvSpPr>
          <p:nvPr userDrawn="1"/>
        </p:nvSpPr>
        <p:spPr bwMode="auto">
          <a:xfrm>
            <a:off x="8301038" y="-769515"/>
            <a:ext cx="85725" cy="50800"/>
          </a:xfrm>
          <a:custGeom>
            <a:avLst/>
            <a:gdLst>
              <a:gd name="T0" fmla="*/ 27 w 108"/>
              <a:gd name="T1" fmla="*/ 7 h 63"/>
              <a:gd name="T2" fmla="*/ 0 w 108"/>
              <a:gd name="T3" fmla="*/ 43 h 63"/>
              <a:gd name="T4" fmla="*/ 45 w 108"/>
              <a:gd name="T5" fmla="*/ 63 h 63"/>
              <a:gd name="T6" fmla="*/ 45 w 108"/>
              <a:gd name="T7" fmla="*/ 63 h 63"/>
              <a:gd name="T8" fmla="*/ 65 w 108"/>
              <a:gd name="T9" fmla="*/ 51 h 63"/>
              <a:gd name="T10" fmla="*/ 86 w 108"/>
              <a:gd name="T11" fmla="*/ 38 h 63"/>
              <a:gd name="T12" fmla="*/ 108 w 108"/>
              <a:gd name="T13" fmla="*/ 23 h 63"/>
              <a:gd name="T14" fmla="*/ 44 w 108"/>
              <a:gd name="T15" fmla="*/ 0 h 63"/>
              <a:gd name="T16" fmla="*/ 27 w 108"/>
              <a:gd name="T17" fmla="*/ 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63">
                <a:moveTo>
                  <a:pt x="27" y="7"/>
                </a:moveTo>
                <a:lnTo>
                  <a:pt x="0" y="43"/>
                </a:lnTo>
                <a:lnTo>
                  <a:pt x="45" y="63"/>
                </a:lnTo>
                <a:lnTo>
                  <a:pt x="45" y="63"/>
                </a:lnTo>
                <a:lnTo>
                  <a:pt x="65" y="51"/>
                </a:lnTo>
                <a:lnTo>
                  <a:pt x="86" y="38"/>
                </a:lnTo>
                <a:lnTo>
                  <a:pt x="108" y="23"/>
                </a:lnTo>
                <a:lnTo>
                  <a:pt x="44" y="0"/>
                </a:lnTo>
                <a:lnTo>
                  <a:pt x="2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6" name="Freeform 47"/>
          <p:cNvSpPr>
            <a:spLocks/>
          </p:cNvSpPr>
          <p:nvPr userDrawn="1"/>
        </p:nvSpPr>
        <p:spPr bwMode="auto">
          <a:xfrm>
            <a:off x="8324851" y="-952078"/>
            <a:ext cx="22225" cy="93663"/>
          </a:xfrm>
          <a:custGeom>
            <a:avLst/>
            <a:gdLst>
              <a:gd name="T0" fmla="*/ 22 w 27"/>
              <a:gd name="T1" fmla="*/ 50 h 117"/>
              <a:gd name="T2" fmla="*/ 22 w 27"/>
              <a:gd name="T3" fmla="*/ 50 h 117"/>
              <a:gd name="T4" fmla="*/ 22 w 27"/>
              <a:gd name="T5" fmla="*/ 11 h 117"/>
              <a:gd name="T6" fmla="*/ 22 w 27"/>
              <a:gd name="T7" fmla="*/ 11 h 117"/>
              <a:gd name="T8" fmla="*/ 24 w 27"/>
              <a:gd name="T9" fmla="*/ 8 h 117"/>
              <a:gd name="T10" fmla="*/ 24 w 27"/>
              <a:gd name="T11" fmla="*/ 8 h 117"/>
              <a:gd name="T12" fmla="*/ 24 w 27"/>
              <a:gd name="T13" fmla="*/ 4 h 117"/>
              <a:gd name="T14" fmla="*/ 24 w 27"/>
              <a:gd name="T15" fmla="*/ 0 h 117"/>
              <a:gd name="T16" fmla="*/ 2 w 27"/>
              <a:gd name="T17" fmla="*/ 0 h 117"/>
              <a:gd name="T18" fmla="*/ 2 w 27"/>
              <a:gd name="T19" fmla="*/ 0 h 117"/>
              <a:gd name="T20" fmla="*/ 2 w 27"/>
              <a:gd name="T21" fmla="*/ 6 h 117"/>
              <a:gd name="T22" fmla="*/ 2 w 27"/>
              <a:gd name="T23" fmla="*/ 6 h 117"/>
              <a:gd name="T24" fmla="*/ 2 w 27"/>
              <a:gd name="T25" fmla="*/ 9 h 117"/>
              <a:gd name="T26" fmla="*/ 3 w 27"/>
              <a:gd name="T27" fmla="*/ 11 h 117"/>
              <a:gd name="T28" fmla="*/ 3 w 27"/>
              <a:gd name="T29" fmla="*/ 50 h 117"/>
              <a:gd name="T30" fmla="*/ 3 w 27"/>
              <a:gd name="T31" fmla="*/ 50 h 117"/>
              <a:gd name="T32" fmla="*/ 2 w 27"/>
              <a:gd name="T33" fmla="*/ 52 h 117"/>
              <a:gd name="T34" fmla="*/ 0 w 27"/>
              <a:gd name="T35" fmla="*/ 61 h 117"/>
              <a:gd name="T36" fmla="*/ 0 w 27"/>
              <a:gd name="T37" fmla="*/ 61 h 117"/>
              <a:gd name="T38" fmla="*/ 0 w 27"/>
              <a:gd name="T39" fmla="*/ 66 h 117"/>
              <a:gd name="T40" fmla="*/ 2 w 27"/>
              <a:gd name="T41" fmla="*/ 72 h 117"/>
              <a:gd name="T42" fmla="*/ 5 w 27"/>
              <a:gd name="T43" fmla="*/ 75 h 117"/>
              <a:gd name="T44" fmla="*/ 3 w 27"/>
              <a:gd name="T45" fmla="*/ 106 h 117"/>
              <a:gd name="T46" fmla="*/ 3 w 27"/>
              <a:gd name="T47" fmla="*/ 106 h 117"/>
              <a:gd name="T48" fmla="*/ 3 w 27"/>
              <a:gd name="T49" fmla="*/ 108 h 117"/>
              <a:gd name="T50" fmla="*/ 2 w 27"/>
              <a:gd name="T51" fmla="*/ 112 h 117"/>
              <a:gd name="T52" fmla="*/ 2 w 27"/>
              <a:gd name="T53" fmla="*/ 112 h 117"/>
              <a:gd name="T54" fmla="*/ 2 w 27"/>
              <a:gd name="T55" fmla="*/ 117 h 117"/>
              <a:gd name="T56" fmla="*/ 24 w 27"/>
              <a:gd name="T57" fmla="*/ 117 h 117"/>
              <a:gd name="T58" fmla="*/ 24 w 27"/>
              <a:gd name="T59" fmla="*/ 117 h 117"/>
              <a:gd name="T60" fmla="*/ 24 w 27"/>
              <a:gd name="T61" fmla="*/ 110 h 117"/>
              <a:gd name="T62" fmla="*/ 24 w 27"/>
              <a:gd name="T63" fmla="*/ 110 h 117"/>
              <a:gd name="T64" fmla="*/ 22 w 27"/>
              <a:gd name="T65" fmla="*/ 106 h 117"/>
              <a:gd name="T66" fmla="*/ 22 w 27"/>
              <a:gd name="T67" fmla="*/ 75 h 117"/>
              <a:gd name="T68" fmla="*/ 22 w 27"/>
              <a:gd name="T69" fmla="*/ 75 h 117"/>
              <a:gd name="T70" fmla="*/ 25 w 27"/>
              <a:gd name="T71" fmla="*/ 70 h 117"/>
              <a:gd name="T72" fmla="*/ 25 w 27"/>
              <a:gd name="T73" fmla="*/ 66 h 117"/>
              <a:gd name="T74" fmla="*/ 27 w 27"/>
              <a:gd name="T75" fmla="*/ 62 h 117"/>
              <a:gd name="T76" fmla="*/ 27 w 27"/>
              <a:gd name="T77" fmla="*/ 62 h 117"/>
              <a:gd name="T78" fmla="*/ 24 w 27"/>
              <a:gd name="T79" fmla="*/ 53 h 117"/>
              <a:gd name="T80" fmla="*/ 22 w 27"/>
              <a:gd name="T81" fmla="*/ 5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7" h="117">
                <a:moveTo>
                  <a:pt x="22" y="50"/>
                </a:moveTo>
                <a:lnTo>
                  <a:pt x="22" y="50"/>
                </a:lnTo>
                <a:lnTo>
                  <a:pt x="22" y="11"/>
                </a:lnTo>
                <a:lnTo>
                  <a:pt x="22" y="11"/>
                </a:lnTo>
                <a:lnTo>
                  <a:pt x="24" y="8"/>
                </a:lnTo>
                <a:lnTo>
                  <a:pt x="24" y="8"/>
                </a:lnTo>
                <a:lnTo>
                  <a:pt x="24" y="4"/>
                </a:lnTo>
                <a:lnTo>
                  <a:pt x="24" y="0"/>
                </a:lnTo>
                <a:lnTo>
                  <a:pt x="2" y="0"/>
                </a:lnTo>
                <a:lnTo>
                  <a:pt x="2" y="0"/>
                </a:lnTo>
                <a:lnTo>
                  <a:pt x="2" y="6"/>
                </a:lnTo>
                <a:lnTo>
                  <a:pt x="2" y="6"/>
                </a:lnTo>
                <a:lnTo>
                  <a:pt x="2" y="9"/>
                </a:lnTo>
                <a:lnTo>
                  <a:pt x="3" y="11"/>
                </a:lnTo>
                <a:lnTo>
                  <a:pt x="3" y="50"/>
                </a:lnTo>
                <a:lnTo>
                  <a:pt x="3" y="50"/>
                </a:lnTo>
                <a:lnTo>
                  <a:pt x="2" y="52"/>
                </a:lnTo>
                <a:lnTo>
                  <a:pt x="0" y="61"/>
                </a:lnTo>
                <a:lnTo>
                  <a:pt x="0" y="61"/>
                </a:lnTo>
                <a:lnTo>
                  <a:pt x="0" y="66"/>
                </a:lnTo>
                <a:lnTo>
                  <a:pt x="2" y="72"/>
                </a:lnTo>
                <a:lnTo>
                  <a:pt x="5" y="75"/>
                </a:lnTo>
                <a:lnTo>
                  <a:pt x="3" y="106"/>
                </a:lnTo>
                <a:lnTo>
                  <a:pt x="3" y="106"/>
                </a:lnTo>
                <a:lnTo>
                  <a:pt x="3" y="108"/>
                </a:lnTo>
                <a:lnTo>
                  <a:pt x="2" y="112"/>
                </a:lnTo>
                <a:lnTo>
                  <a:pt x="2" y="112"/>
                </a:lnTo>
                <a:lnTo>
                  <a:pt x="2" y="117"/>
                </a:lnTo>
                <a:lnTo>
                  <a:pt x="24" y="117"/>
                </a:lnTo>
                <a:lnTo>
                  <a:pt x="24" y="117"/>
                </a:lnTo>
                <a:lnTo>
                  <a:pt x="24" y="110"/>
                </a:lnTo>
                <a:lnTo>
                  <a:pt x="24" y="110"/>
                </a:lnTo>
                <a:lnTo>
                  <a:pt x="22" y="106"/>
                </a:lnTo>
                <a:lnTo>
                  <a:pt x="22" y="75"/>
                </a:lnTo>
                <a:lnTo>
                  <a:pt x="22" y="75"/>
                </a:lnTo>
                <a:lnTo>
                  <a:pt x="25" y="70"/>
                </a:lnTo>
                <a:lnTo>
                  <a:pt x="25" y="66"/>
                </a:lnTo>
                <a:lnTo>
                  <a:pt x="27" y="62"/>
                </a:lnTo>
                <a:lnTo>
                  <a:pt x="27" y="62"/>
                </a:lnTo>
                <a:lnTo>
                  <a:pt x="24" y="53"/>
                </a:lnTo>
                <a:lnTo>
                  <a:pt x="22" y="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7" name="Freeform 48"/>
          <p:cNvSpPr>
            <a:spLocks/>
          </p:cNvSpPr>
          <p:nvPr userDrawn="1"/>
        </p:nvSpPr>
        <p:spPr bwMode="auto">
          <a:xfrm>
            <a:off x="8347076" y="-923502"/>
            <a:ext cx="60325" cy="42863"/>
          </a:xfrm>
          <a:custGeom>
            <a:avLst/>
            <a:gdLst>
              <a:gd name="T0" fmla="*/ 42 w 77"/>
              <a:gd name="T1" fmla="*/ 46 h 55"/>
              <a:gd name="T2" fmla="*/ 77 w 77"/>
              <a:gd name="T3" fmla="*/ 9 h 55"/>
              <a:gd name="T4" fmla="*/ 77 w 77"/>
              <a:gd name="T5" fmla="*/ 9 h 55"/>
              <a:gd name="T6" fmla="*/ 26 w 77"/>
              <a:gd name="T7" fmla="*/ 9 h 55"/>
              <a:gd name="T8" fmla="*/ 26 w 77"/>
              <a:gd name="T9" fmla="*/ 9 h 55"/>
              <a:gd name="T10" fmla="*/ 20 w 77"/>
              <a:gd name="T11" fmla="*/ 7 h 55"/>
              <a:gd name="T12" fmla="*/ 15 w 77"/>
              <a:gd name="T13" fmla="*/ 4 h 55"/>
              <a:gd name="T14" fmla="*/ 7 w 77"/>
              <a:gd name="T15" fmla="*/ 0 h 55"/>
              <a:gd name="T16" fmla="*/ 6 w 77"/>
              <a:gd name="T17" fmla="*/ 0 h 55"/>
              <a:gd name="T18" fmla="*/ 6 w 77"/>
              <a:gd name="T19" fmla="*/ 0 h 55"/>
              <a:gd name="T20" fmla="*/ 0 w 77"/>
              <a:gd name="T21" fmla="*/ 11 h 55"/>
              <a:gd name="T22" fmla="*/ 0 w 77"/>
              <a:gd name="T23" fmla="*/ 11 h 55"/>
              <a:gd name="T24" fmla="*/ 4 w 77"/>
              <a:gd name="T25" fmla="*/ 17 h 55"/>
              <a:gd name="T26" fmla="*/ 6 w 77"/>
              <a:gd name="T27" fmla="*/ 20 h 55"/>
              <a:gd name="T28" fmla="*/ 7 w 77"/>
              <a:gd name="T29" fmla="*/ 27 h 55"/>
              <a:gd name="T30" fmla="*/ 7 w 77"/>
              <a:gd name="T31" fmla="*/ 27 h 55"/>
              <a:gd name="T32" fmla="*/ 7 w 77"/>
              <a:gd name="T33" fmla="*/ 33 h 55"/>
              <a:gd name="T34" fmla="*/ 4 w 77"/>
              <a:gd name="T35" fmla="*/ 38 h 55"/>
              <a:gd name="T36" fmla="*/ 0 w 77"/>
              <a:gd name="T37" fmla="*/ 42 h 55"/>
              <a:gd name="T38" fmla="*/ 0 w 77"/>
              <a:gd name="T39" fmla="*/ 42 h 55"/>
              <a:gd name="T40" fmla="*/ 7 w 77"/>
              <a:gd name="T41" fmla="*/ 55 h 55"/>
              <a:gd name="T42" fmla="*/ 7 w 77"/>
              <a:gd name="T43" fmla="*/ 55 h 55"/>
              <a:gd name="T44" fmla="*/ 13 w 77"/>
              <a:gd name="T45" fmla="*/ 51 h 55"/>
              <a:gd name="T46" fmla="*/ 28 w 77"/>
              <a:gd name="T47" fmla="*/ 46 h 55"/>
              <a:gd name="T48" fmla="*/ 28 w 77"/>
              <a:gd name="T49" fmla="*/ 46 h 55"/>
              <a:gd name="T50" fmla="*/ 42 w 77"/>
              <a:gd name="T51" fmla="*/ 4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7" h="55">
                <a:moveTo>
                  <a:pt x="42" y="46"/>
                </a:moveTo>
                <a:lnTo>
                  <a:pt x="77" y="9"/>
                </a:lnTo>
                <a:lnTo>
                  <a:pt x="77" y="9"/>
                </a:lnTo>
                <a:lnTo>
                  <a:pt x="26" y="9"/>
                </a:lnTo>
                <a:lnTo>
                  <a:pt x="26" y="9"/>
                </a:lnTo>
                <a:lnTo>
                  <a:pt x="20" y="7"/>
                </a:lnTo>
                <a:lnTo>
                  <a:pt x="15" y="4"/>
                </a:lnTo>
                <a:lnTo>
                  <a:pt x="7" y="0"/>
                </a:lnTo>
                <a:lnTo>
                  <a:pt x="6" y="0"/>
                </a:lnTo>
                <a:lnTo>
                  <a:pt x="6" y="0"/>
                </a:lnTo>
                <a:lnTo>
                  <a:pt x="0" y="11"/>
                </a:lnTo>
                <a:lnTo>
                  <a:pt x="0" y="11"/>
                </a:lnTo>
                <a:lnTo>
                  <a:pt x="4" y="17"/>
                </a:lnTo>
                <a:lnTo>
                  <a:pt x="6" y="20"/>
                </a:lnTo>
                <a:lnTo>
                  <a:pt x="7" y="27"/>
                </a:lnTo>
                <a:lnTo>
                  <a:pt x="7" y="27"/>
                </a:lnTo>
                <a:lnTo>
                  <a:pt x="7" y="33"/>
                </a:lnTo>
                <a:lnTo>
                  <a:pt x="4" y="38"/>
                </a:lnTo>
                <a:lnTo>
                  <a:pt x="0" y="42"/>
                </a:lnTo>
                <a:lnTo>
                  <a:pt x="0" y="42"/>
                </a:lnTo>
                <a:lnTo>
                  <a:pt x="7" y="55"/>
                </a:lnTo>
                <a:lnTo>
                  <a:pt x="7" y="55"/>
                </a:lnTo>
                <a:lnTo>
                  <a:pt x="13" y="51"/>
                </a:lnTo>
                <a:lnTo>
                  <a:pt x="28" y="46"/>
                </a:lnTo>
                <a:lnTo>
                  <a:pt x="28" y="46"/>
                </a:lnTo>
                <a:lnTo>
                  <a:pt x="42" y="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8" name="Freeform 49"/>
          <p:cNvSpPr>
            <a:spLocks/>
          </p:cNvSpPr>
          <p:nvPr userDrawn="1"/>
        </p:nvSpPr>
        <p:spPr bwMode="auto">
          <a:xfrm>
            <a:off x="8423276" y="-982240"/>
            <a:ext cx="119063" cy="93663"/>
          </a:xfrm>
          <a:custGeom>
            <a:avLst/>
            <a:gdLst>
              <a:gd name="T0" fmla="*/ 152 w 152"/>
              <a:gd name="T1" fmla="*/ 60 h 119"/>
              <a:gd name="T2" fmla="*/ 148 w 152"/>
              <a:gd name="T3" fmla="*/ 58 h 119"/>
              <a:gd name="T4" fmla="*/ 139 w 152"/>
              <a:gd name="T5" fmla="*/ 62 h 119"/>
              <a:gd name="T6" fmla="*/ 135 w 152"/>
              <a:gd name="T7" fmla="*/ 64 h 119"/>
              <a:gd name="T8" fmla="*/ 134 w 152"/>
              <a:gd name="T9" fmla="*/ 75 h 119"/>
              <a:gd name="T10" fmla="*/ 130 w 152"/>
              <a:gd name="T11" fmla="*/ 71 h 119"/>
              <a:gd name="T12" fmla="*/ 121 w 152"/>
              <a:gd name="T13" fmla="*/ 69 h 119"/>
              <a:gd name="T14" fmla="*/ 113 w 152"/>
              <a:gd name="T15" fmla="*/ 71 h 119"/>
              <a:gd name="T16" fmla="*/ 117 w 152"/>
              <a:gd name="T17" fmla="*/ 80 h 119"/>
              <a:gd name="T18" fmla="*/ 113 w 152"/>
              <a:gd name="T19" fmla="*/ 90 h 119"/>
              <a:gd name="T20" fmla="*/ 110 w 152"/>
              <a:gd name="T21" fmla="*/ 90 h 119"/>
              <a:gd name="T22" fmla="*/ 103 w 152"/>
              <a:gd name="T23" fmla="*/ 84 h 119"/>
              <a:gd name="T24" fmla="*/ 103 w 152"/>
              <a:gd name="T25" fmla="*/ 79 h 119"/>
              <a:gd name="T26" fmla="*/ 93 w 152"/>
              <a:gd name="T27" fmla="*/ 82 h 119"/>
              <a:gd name="T28" fmla="*/ 88 w 152"/>
              <a:gd name="T29" fmla="*/ 79 h 119"/>
              <a:gd name="T30" fmla="*/ 90 w 152"/>
              <a:gd name="T31" fmla="*/ 69 h 119"/>
              <a:gd name="T32" fmla="*/ 104 w 152"/>
              <a:gd name="T33" fmla="*/ 66 h 119"/>
              <a:gd name="T34" fmla="*/ 103 w 152"/>
              <a:gd name="T35" fmla="*/ 60 h 119"/>
              <a:gd name="T36" fmla="*/ 97 w 152"/>
              <a:gd name="T37" fmla="*/ 53 h 119"/>
              <a:gd name="T38" fmla="*/ 92 w 152"/>
              <a:gd name="T39" fmla="*/ 51 h 119"/>
              <a:gd name="T40" fmla="*/ 82 w 152"/>
              <a:gd name="T41" fmla="*/ 53 h 119"/>
              <a:gd name="T42" fmla="*/ 86 w 152"/>
              <a:gd name="T43" fmla="*/ 51 h 119"/>
              <a:gd name="T44" fmla="*/ 90 w 152"/>
              <a:gd name="T45" fmla="*/ 44 h 119"/>
              <a:gd name="T46" fmla="*/ 90 w 152"/>
              <a:gd name="T47" fmla="*/ 35 h 119"/>
              <a:gd name="T48" fmla="*/ 84 w 152"/>
              <a:gd name="T49" fmla="*/ 26 h 119"/>
              <a:gd name="T50" fmla="*/ 84 w 152"/>
              <a:gd name="T51" fmla="*/ 26 h 119"/>
              <a:gd name="T52" fmla="*/ 79 w 152"/>
              <a:gd name="T53" fmla="*/ 27 h 119"/>
              <a:gd name="T54" fmla="*/ 68 w 152"/>
              <a:gd name="T55" fmla="*/ 33 h 119"/>
              <a:gd name="T56" fmla="*/ 66 w 152"/>
              <a:gd name="T57" fmla="*/ 38 h 119"/>
              <a:gd name="T58" fmla="*/ 66 w 152"/>
              <a:gd name="T59" fmla="*/ 46 h 119"/>
              <a:gd name="T60" fmla="*/ 62 w 152"/>
              <a:gd name="T61" fmla="*/ 40 h 119"/>
              <a:gd name="T62" fmla="*/ 55 w 152"/>
              <a:gd name="T63" fmla="*/ 35 h 119"/>
              <a:gd name="T64" fmla="*/ 50 w 152"/>
              <a:gd name="T65" fmla="*/ 35 h 119"/>
              <a:gd name="T66" fmla="*/ 42 w 152"/>
              <a:gd name="T67" fmla="*/ 38 h 119"/>
              <a:gd name="T68" fmla="*/ 48 w 152"/>
              <a:gd name="T69" fmla="*/ 46 h 119"/>
              <a:gd name="T70" fmla="*/ 48 w 152"/>
              <a:gd name="T71" fmla="*/ 57 h 119"/>
              <a:gd name="T72" fmla="*/ 42 w 152"/>
              <a:gd name="T73" fmla="*/ 58 h 119"/>
              <a:gd name="T74" fmla="*/ 35 w 152"/>
              <a:gd name="T75" fmla="*/ 53 h 119"/>
              <a:gd name="T76" fmla="*/ 33 w 152"/>
              <a:gd name="T77" fmla="*/ 47 h 119"/>
              <a:gd name="T78" fmla="*/ 26 w 152"/>
              <a:gd name="T79" fmla="*/ 53 h 119"/>
              <a:gd name="T80" fmla="*/ 20 w 152"/>
              <a:gd name="T81" fmla="*/ 51 h 119"/>
              <a:gd name="T82" fmla="*/ 17 w 152"/>
              <a:gd name="T83" fmla="*/ 42 h 119"/>
              <a:gd name="T84" fmla="*/ 31 w 152"/>
              <a:gd name="T85" fmla="*/ 35 h 119"/>
              <a:gd name="T86" fmla="*/ 29 w 152"/>
              <a:gd name="T87" fmla="*/ 33 h 119"/>
              <a:gd name="T88" fmla="*/ 22 w 152"/>
              <a:gd name="T89" fmla="*/ 24 h 119"/>
              <a:gd name="T90" fmla="*/ 15 w 152"/>
              <a:gd name="T91" fmla="*/ 24 h 119"/>
              <a:gd name="T92" fmla="*/ 18 w 152"/>
              <a:gd name="T93" fmla="*/ 18 h 119"/>
              <a:gd name="T94" fmla="*/ 20 w 152"/>
              <a:gd name="T95" fmla="*/ 9 h 119"/>
              <a:gd name="T96" fmla="*/ 18 w 152"/>
              <a:gd name="T97" fmla="*/ 5 h 119"/>
              <a:gd name="T98" fmla="*/ 13 w 152"/>
              <a:gd name="T99" fmla="*/ 0 h 119"/>
              <a:gd name="T100" fmla="*/ 35 w 152"/>
              <a:gd name="T101" fmla="*/ 88 h 119"/>
              <a:gd name="T102" fmla="*/ 46 w 152"/>
              <a:gd name="T103" fmla="*/ 82 h 119"/>
              <a:gd name="T104" fmla="*/ 51 w 152"/>
              <a:gd name="T105" fmla="*/ 79 h 119"/>
              <a:gd name="T106" fmla="*/ 66 w 152"/>
              <a:gd name="T107" fmla="*/ 80 h 119"/>
              <a:gd name="T108" fmla="*/ 71 w 152"/>
              <a:gd name="T109" fmla="*/ 82 h 119"/>
              <a:gd name="T110" fmla="*/ 82 w 152"/>
              <a:gd name="T111" fmla="*/ 90 h 119"/>
              <a:gd name="T112" fmla="*/ 84 w 152"/>
              <a:gd name="T113" fmla="*/ 99 h 119"/>
              <a:gd name="T114" fmla="*/ 84 w 152"/>
              <a:gd name="T115" fmla="*/ 104 h 119"/>
              <a:gd name="T116" fmla="*/ 106 w 152"/>
              <a:gd name="T117"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2" h="119">
                <a:moveTo>
                  <a:pt x="106" y="119"/>
                </a:moveTo>
                <a:lnTo>
                  <a:pt x="152" y="60"/>
                </a:lnTo>
                <a:lnTo>
                  <a:pt x="152" y="60"/>
                </a:lnTo>
                <a:lnTo>
                  <a:pt x="148" y="58"/>
                </a:lnTo>
                <a:lnTo>
                  <a:pt x="145" y="60"/>
                </a:lnTo>
                <a:lnTo>
                  <a:pt x="139" y="62"/>
                </a:lnTo>
                <a:lnTo>
                  <a:pt x="139" y="62"/>
                </a:lnTo>
                <a:lnTo>
                  <a:pt x="135" y="64"/>
                </a:lnTo>
                <a:lnTo>
                  <a:pt x="134" y="69"/>
                </a:lnTo>
                <a:lnTo>
                  <a:pt x="134" y="75"/>
                </a:lnTo>
                <a:lnTo>
                  <a:pt x="134" y="75"/>
                </a:lnTo>
                <a:lnTo>
                  <a:pt x="130" y="71"/>
                </a:lnTo>
                <a:lnTo>
                  <a:pt x="128" y="69"/>
                </a:lnTo>
                <a:lnTo>
                  <a:pt x="121" y="69"/>
                </a:lnTo>
                <a:lnTo>
                  <a:pt x="115" y="69"/>
                </a:lnTo>
                <a:lnTo>
                  <a:pt x="113" y="71"/>
                </a:lnTo>
                <a:lnTo>
                  <a:pt x="113" y="71"/>
                </a:lnTo>
                <a:lnTo>
                  <a:pt x="117" y="80"/>
                </a:lnTo>
                <a:lnTo>
                  <a:pt x="117" y="86"/>
                </a:lnTo>
                <a:lnTo>
                  <a:pt x="113" y="90"/>
                </a:lnTo>
                <a:lnTo>
                  <a:pt x="110" y="90"/>
                </a:lnTo>
                <a:lnTo>
                  <a:pt x="110" y="90"/>
                </a:lnTo>
                <a:lnTo>
                  <a:pt x="104" y="88"/>
                </a:lnTo>
                <a:lnTo>
                  <a:pt x="103" y="84"/>
                </a:lnTo>
                <a:lnTo>
                  <a:pt x="103" y="79"/>
                </a:lnTo>
                <a:lnTo>
                  <a:pt x="103" y="79"/>
                </a:lnTo>
                <a:lnTo>
                  <a:pt x="97" y="82"/>
                </a:lnTo>
                <a:lnTo>
                  <a:pt x="93" y="82"/>
                </a:lnTo>
                <a:lnTo>
                  <a:pt x="88" y="79"/>
                </a:lnTo>
                <a:lnTo>
                  <a:pt x="88" y="79"/>
                </a:lnTo>
                <a:lnTo>
                  <a:pt x="86" y="75"/>
                </a:lnTo>
                <a:lnTo>
                  <a:pt x="90" y="69"/>
                </a:lnTo>
                <a:lnTo>
                  <a:pt x="95" y="68"/>
                </a:lnTo>
                <a:lnTo>
                  <a:pt x="104" y="66"/>
                </a:lnTo>
                <a:lnTo>
                  <a:pt x="104" y="66"/>
                </a:lnTo>
                <a:lnTo>
                  <a:pt x="103" y="60"/>
                </a:lnTo>
                <a:lnTo>
                  <a:pt x="101" y="57"/>
                </a:lnTo>
                <a:lnTo>
                  <a:pt x="97" y="53"/>
                </a:lnTo>
                <a:lnTo>
                  <a:pt x="97" y="53"/>
                </a:lnTo>
                <a:lnTo>
                  <a:pt x="92" y="51"/>
                </a:lnTo>
                <a:lnTo>
                  <a:pt x="88" y="51"/>
                </a:lnTo>
                <a:lnTo>
                  <a:pt x="82" y="53"/>
                </a:lnTo>
                <a:lnTo>
                  <a:pt x="82" y="53"/>
                </a:lnTo>
                <a:lnTo>
                  <a:pt x="86" y="51"/>
                </a:lnTo>
                <a:lnTo>
                  <a:pt x="88" y="47"/>
                </a:lnTo>
                <a:lnTo>
                  <a:pt x="90" y="44"/>
                </a:lnTo>
                <a:lnTo>
                  <a:pt x="90" y="44"/>
                </a:lnTo>
                <a:lnTo>
                  <a:pt x="90" y="35"/>
                </a:lnTo>
                <a:lnTo>
                  <a:pt x="88" y="31"/>
                </a:lnTo>
                <a:lnTo>
                  <a:pt x="84" y="26"/>
                </a:lnTo>
                <a:lnTo>
                  <a:pt x="84" y="26"/>
                </a:lnTo>
                <a:lnTo>
                  <a:pt x="84" y="26"/>
                </a:lnTo>
                <a:lnTo>
                  <a:pt x="84" y="26"/>
                </a:lnTo>
                <a:lnTo>
                  <a:pt x="79" y="27"/>
                </a:lnTo>
                <a:lnTo>
                  <a:pt x="73" y="29"/>
                </a:lnTo>
                <a:lnTo>
                  <a:pt x="68" y="33"/>
                </a:lnTo>
                <a:lnTo>
                  <a:pt x="68" y="33"/>
                </a:lnTo>
                <a:lnTo>
                  <a:pt x="66" y="38"/>
                </a:lnTo>
                <a:lnTo>
                  <a:pt x="66" y="42"/>
                </a:lnTo>
                <a:lnTo>
                  <a:pt x="66" y="46"/>
                </a:lnTo>
                <a:lnTo>
                  <a:pt x="66" y="46"/>
                </a:lnTo>
                <a:lnTo>
                  <a:pt x="62" y="40"/>
                </a:lnTo>
                <a:lnTo>
                  <a:pt x="60" y="37"/>
                </a:lnTo>
                <a:lnTo>
                  <a:pt x="55" y="35"/>
                </a:lnTo>
                <a:lnTo>
                  <a:pt x="55" y="35"/>
                </a:lnTo>
                <a:lnTo>
                  <a:pt x="50" y="35"/>
                </a:lnTo>
                <a:lnTo>
                  <a:pt x="46" y="37"/>
                </a:lnTo>
                <a:lnTo>
                  <a:pt x="42" y="38"/>
                </a:lnTo>
                <a:lnTo>
                  <a:pt x="42" y="38"/>
                </a:lnTo>
                <a:lnTo>
                  <a:pt x="48" y="46"/>
                </a:lnTo>
                <a:lnTo>
                  <a:pt x="48" y="53"/>
                </a:lnTo>
                <a:lnTo>
                  <a:pt x="48" y="57"/>
                </a:lnTo>
                <a:lnTo>
                  <a:pt x="42" y="58"/>
                </a:lnTo>
                <a:lnTo>
                  <a:pt x="42" y="58"/>
                </a:lnTo>
                <a:lnTo>
                  <a:pt x="37" y="57"/>
                </a:lnTo>
                <a:lnTo>
                  <a:pt x="35" y="53"/>
                </a:lnTo>
                <a:lnTo>
                  <a:pt x="33" y="47"/>
                </a:lnTo>
                <a:lnTo>
                  <a:pt x="33" y="47"/>
                </a:lnTo>
                <a:lnTo>
                  <a:pt x="29" y="51"/>
                </a:lnTo>
                <a:lnTo>
                  <a:pt x="26" y="53"/>
                </a:lnTo>
                <a:lnTo>
                  <a:pt x="20" y="51"/>
                </a:lnTo>
                <a:lnTo>
                  <a:pt x="20" y="51"/>
                </a:lnTo>
                <a:lnTo>
                  <a:pt x="17" y="47"/>
                </a:lnTo>
                <a:lnTo>
                  <a:pt x="17" y="42"/>
                </a:lnTo>
                <a:lnTo>
                  <a:pt x="22" y="38"/>
                </a:lnTo>
                <a:lnTo>
                  <a:pt x="31" y="35"/>
                </a:lnTo>
                <a:lnTo>
                  <a:pt x="31" y="35"/>
                </a:lnTo>
                <a:lnTo>
                  <a:pt x="29" y="33"/>
                </a:lnTo>
                <a:lnTo>
                  <a:pt x="28" y="27"/>
                </a:lnTo>
                <a:lnTo>
                  <a:pt x="22" y="24"/>
                </a:lnTo>
                <a:lnTo>
                  <a:pt x="18" y="22"/>
                </a:lnTo>
                <a:lnTo>
                  <a:pt x="15" y="24"/>
                </a:lnTo>
                <a:lnTo>
                  <a:pt x="15" y="24"/>
                </a:lnTo>
                <a:lnTo>
                  <a:pt x="18" y="18"/>
                </a:lnTo>
                <a:lnTo>
                  <a:pt x="20" y="15"/>
                </a:lnTo>
                <a:lnTo>
                  <a:pt x="20" y="9"/>
                </a:lnTo>
                <a:lnTo>
                  <a:pt x="20" y="9"/>
                </a:lnTo>
                <a:lnTo>
                  <a:pt x="18" y="5"/>
                </a:lnTo>
                <a:lnTo>
                  <a:pt x="17" y="2"/>
                </a:lnTo>
                <a:lnTo>
                  <a:pt x="13" y="0"/>
                </a:lnTo>
                <a:lnTo>
                  <a:pt x="0" y="73"/>
                </a:lnTo>
                <a:lnTo>
                  <a:pt x="35" y="88"/>
                </a:lnTo>
                <a:lnTo>
                  <a:pt x="35" y="88"/>
                </a:lnTo>
                <a:lnTo>
                  <a:pt x="46" y="82"/>
                </a:lnTo>
                <a:lnTo>
                  <a:pt x="46" y="82"/>
                </a:lnTo>
                <a:lnTo>
                  <a:pt x="51" y="79"/>
                </a:lnTo>
                <a:lnTo>
                  <a:pt x="59" y="79"/>
                </a:lnTo>
                <a:lnTo>
                  <a:pt x="66" y="80"/>
                </a:lnTo>
                <a:lnTo>
                  <a:pt x="71" y="82"/>
                </a:lnTo>
                <a:lnTo>
                  <a:pt x="71" y="82"/>
                </a:lnTo>
                <a:lnTo>
                  <a:pt x="79" y="86"/>
                </a:lnTo>
                <a:lnTo>
                  <a:pt x="82" y="90"/>
                </a:lnTo>
                <a:lnTo>
                  <a:pt x="84" y="95"/>
                </a:lnTo>
                <a:lnTo>
                  <a:pt x="84" y="99"/>
                </a:lnTo>
                <a:lnTo>
                  <a:pt x="84" y="99"/>
                </a:lnTo>
                <a:lnTo>
                  <a:pt x="84" y="104"/>
                </a:lnTo>
                <a:lnTo>
                  <a:pt x="81" y="110"/>
                </a:lnTo>
                <a:lnTo>
                  <a:pt x="106" y="11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9" name="Freeform 50"/>
          <p:cNvSpPr>
            <a:spLocks/>
          </p:cNvSpPr>
          <p:nvPr userDrawn="1"/>
        </p:nvSpPr>
        <p:spPr bwMode="auto">
          <a:xfrm>
            <a:off x="8520113" y="-917153"/>
            <a:ext cx="142875" cy="25400"/>
          </a:xfrm>
          <a:custGeom>
            <a:avLst/>
            <a:gdLst>
              <a:gd name="T0" fmla="*/ 151 w 180"/>
              <a:gd name="T1" fmla="*/ 28 h 31"/>
              <a:gd name="T2" fmla="*/ 180 w 180"/>
              <a:gd name="T3" fmla="*/ 15 h 31"/>
              <a:gd name="T4" fmla="*/ 151 w 180"/>
              <a:gd name="T5" fmla="*/ 2 h 31"/>
              <a:gd name="T6" fmla="*/ 151 w 180"/>
              <a:gd name="T7" fmla="*/ 2 h 31"/>
              <a:gd name="T8" fmla="*/ 102 w 180"/>
              <a:gd name="T9" fmla="*/ 2 h 31"/>
              <a:gd name="T10" fmla="*/ 23 w 180"/>
              <a:gd name="T11" fmla="*/ 0 h 31"/>
              <a:gd name="T12" fmla="*/ 0 w 180"/>
              <a:gd name="T13" fmla="*/ 31 h 31"/>
              <a:gd name="T14" fmla="*/ 0 w 180"/>
              <a:gd name="T15" fmla="*/ 31 h 31"/>
              <a:gd name="T16" fmla="*/ 151 w 180"/>
              <a:gd name="T17"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31">
                <a:moveTo>
                  <a:pt x="151" y="28"/>
                </a:moveTo>
                <a:lnTo>
                  <a:pt x="180" y="15"/>
                </a:lnTo>
                <a:lnTo>
                  <a:pt x="151" y="2"/>
                </a:lnTo>
                <a:lnTo>
                  <a:pt x="151" y="2"/>
                </a:lnTo>
                <a:lnTo>
                  <a:pt x="102" y="2"/>
                </a:lnTo>
                <a:lnTo>
                  <a:pt x="23" y="0"/>
                </a:lnTo>
                <a:lnTo>
                  <a:pt x="0" y="31"/>
                </a:lnTo>
                <a:lnTo>
                  <a:pt x="0" y="31"/>
                </a:lnTo>
                <a:lnTo>
                  <a:pt x="151"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100" name="Freeform 51"/>
          <p:cNvSpPr>
            <a:spLocks/>
          </p:cNvSpPr>
          <p:nvPr userDrawn="1"/>
        </p:nvSpPr>
        <p:spPr bwMode="auto">
          <a:xfrm>
            <a:off x="8566151" y="-855240"/>
            <a:ext cx="85725" cy="84138"/>
          </a:xfrm>
          <a:custGeom>
            <a:avLst/>
            <a:gdLst>
              <a:gd name="T0" fmla="*/ 55 w 108"/>
              <a:gd name="T1" fmla="*/ 106 h 106"/>
              <a:gd name="T2" fmla="*/ 55 w 108"/>
              <a:gd name="T3" fmla="*/ 106 h 106"/>
              <a:gd name="T4" fmla="*/ 38 w 108"/>
              <a:gd name="T5" fmla="*/ 97 h 106"/>
              <a:gd name="T6" fmla="*/ 26 w 108"/>
              <a:gd name="T7" fmla="*/ 89 h 106"/>
              <a:gd name="T8" fmla="*/ 13 w 108"/>
              <a:gd name="T9" fmla="*/ 80 h 106"/>
              <a:gd name="T10" fmla="*/ 4 w 108"/>
              <a:gd name="T11" fmla="*/ 69 h 106"/>
              <a:gd name="T12" fmla="*/ 4 w 108"/>
              <a:gd name="T13" fmla="*/ 69 h 106"/>
              <a:gd name="T14" fmla="*/ 0 w 108"/>
              <a:gd name="T15" fmla="*/ 62 h 106"/>
              <a:gd name="T16" fmla="*/ 0 w 108"/>
              <a:gd name="T17" fmla="*/ 53 h 106"/>
              <a:gd name="T18" fmla="*/ 0 w 108"/>
              <a:gd name="T19" fmla="*/ 45 h 106"/>
              <a:gd name="T20" fmla="*/ 0 w 108"/>
              <a:gd name="T21" fmla="*/ 36 h 106"/>
              <a:gd name="T22" fmla="*/ 4 w 108"/>
              <a:gd name="T23" fmla="*/ 27 h 106"/>
              <a:gd name="T24" fmla="*/ 7 w 108"/>
              <a:gd name="T25" fmla="*/ 20 h 106"/>
              <a:gd name="T26" fmla="*/ 15 w 108"/>
              <a:gd name="T27" fmla="*/ 13 h 106"/>
              <a:gd name="T28" fmla="*/ 22 w 108"/>
              <a:gd name="T29" fmla="*/ 7 h 106"/>
              <a:gd name="T30" fmla="*/ 22 w 108"/>
              <a:gd name="T31" fmla="*/ 7 h 106"/>
              <a:gd name="T32" fmla="*/ 26 w 108"/>
              <a:gd name="T33" fmla="*/ 11 h 106"/>
              <a:gd name="T34" fmla="*/ 27 w 108"/>
              <a:gd name="T35" fmla="*/ 14 h 106"/>
              <a:gd name="T36" fmla="*/ 27 w 108"/>
              <a:gd name="T37" fmla="*/ 18 h 106"/>
              <a:gd name="T38" fmla="*/ 27 w 108"/>
              <a:gd name="T39" fmla="*/ 18 h 106"/>
              <a:gd name="T40" fmla="*/ 51 w 108"/>
              <a:gd name="T41" fmla="*/ 16 h 106"/>
              <a:gd name="T42" fmla="*/ 51 w 108"/>
              <a:gd name="T43" fmla="*/ 16 h 106"/>
              <a:gd name="T44" fmla="*/ 51 w 108"/>
              <a:gd name="T45" fmla="*/ 9 h 106"/>
              <a:gd name="T46" fmla="*/ 51 w 108"/>
              <a:gd name="T47" fmla="*/ 3 h 106"/>
              <a:gd name="T48" fmla="*/ 49 w 108"/>
              <a:gd name="T49" fmla="*/ 0 h 106"/>
              <a:gd name="T50" fmla="*/ 49 w 108"/>
              <a:gd name="T51" fmla="*/ 0 h 106"/>
              <a:gd name="T52" fmla="*/ 57 w 108"/>
              <a:gd name="T53" fmla="*/ 5 h 106"/>
              <a:gd name="T54" fmla="*/ 59 w 108"/>
              <a:gd name="T55" fmla="*/ 11 h 106"/>
              <a:gd name="T56" fmla="*/ 60 w 108"/>
              <a:gd name="T57" fmla="*/ 16 h 106"/>
              <a:gd name="T58" fmla="*/ 60 w 108"/>
              <a:gd name="T59" fmla="*/ 16 h 106"/>
              <a:gd name="T60" fmla="*/ 82 w 108"/>
              <a:gd name="T61" fmla="*/ 18 h 106"/>
              <a:gd name="T62" fmla="*/ 82 w 108"/>
              <a:gd name="T63" fmla="*/ 18 h 106"/>
              <a:gd name="T64" fmla="*/ 82 w 108"/>
              <a:gd name="T65" fmla="*/ 11 h 106"/>
              <a:gd name="T66" fmla="*/ 79 w 108"/>
              <a:gd name="T67" fmla="*/ 3 h 106"/>
              <a:gd name="T68" fmla="*/ 79 w 108"/>
              <a:gd name="T69" fmla="*/ 3 h 106"/>
              <a:gd name="T70" fmla="*/ 86 w 108"/>
              <a:gd name="T71" fmla="*/ 9 h 106"/>
              <a:gd name="T72" fmla="*/ 93 w 108"/>
              <a:gd name="T73" fmla="*/ 13 h 106"/>
              <a:gd name="T74" fmla="*/ 99 w 108"/>
              <a:gd name="T75" fmla="*/ 20 h 106"/>
              <a:gd name="T76" fmla="*/ 102 w 108"/>
              <a:gd name="T77" fmla="*/ 25 h 106"/>
              <a:gd name="T78" fmla="*/ 106 w 108"/>
              <a:gd name="T79" fmla="*/ 38 h 106"/>
              <a:gd name="T80" fmla="*/ 108 w 108"/>
              <a:gd name="T81" fmla="*/ 49 h 106"/>
              <a:gd name="T82" fmla="*/ 108 w 108"/>
              <a:gd name="T83" fmla="*/ 49 h 106"/>
              <a:gd name="T84" fmla="*/ 106 w 108"/>
              <a:gd name="T85" fmla="*/ 62 h 106"/>
              <a:gd name="T86" fmla="*/ 102 w 108"/>
              <a:gd name="T87" fmla="*/ 73 h 106"/>
              <a:gd name="T88" fmla="*/ 95 w 108"/>
              <a:gd name="T89" fmla="*/ 82 h 106"/>
              <a:gd name="T90" fmla="*/ 86 w 108"/>
              <a:gd name="T91" fmla="*/ 89 h 106"/>
              <a:gd name="T92" fmla="*/ 86 w 108"/>
              <a:gd name="T93" fmla="*/ 89 h 106"/>
              <a:gd name="T94" fmla="*/ 69 w 108"/>
              <a:gd name="T95" fmla="*/ 98 h 106"/>
              <a:gd name="T96" fmla="*/ 55 w 108"/>
              <a:gd name="T97"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 h="106">
                <a:moveTo>
                  <a:pt x="55" y="106"/>
                </a:moveTo>
                <a:lnTo>
                  <a:pt x="55" y="106"/>
                </a:lnTo>
                <a:lnTo>
                  <a:pt x="38" y="97"/>
                </a:lnTo>
                <a:lnTo>
                  <a:pt x="26" y="89"/>
                </a:lnTo>
                <a:lnTo>
                  <a:pt x="13" y="80"/>
                </a:lnTo>
                <a:lnTo>
                  <a:pt x="4" y="69"/>
                </a:lnTo>
                <a:lnTo>
                  <a:pt x="4" y="69"/>
                </a:lnTo>
                <a:lnTo>
                  <a:pt x="0" y="62"/>
                </a:lnTo>
                <a:lnTo>
                  <a:pt x="0" y="53"/>
                </a:lnTo>
                <a:lnTo>
                  <a:pt x="0" y="45"/>
                </a:lnTo>
                <a:lnTo>
                  <a:pt x="0" y="36"/>
                </a:lnTo>
                <a:lnTo>
                  <a:pt x="4" y="27"/>
                </a:lnTo>
                <a:lnTo>
                  <a:pt x="7" y="20"/>
                </a:lnTo>
                <a:lnTo>
                  <a:pt x="15" y="13"/>
                </a:lnTo>
                <a:lnTo>
                  <a:pt x="22" y="7"/>
                </a:lnTo>
                <a:lnTo>
                  <a:pt x="22" y="7"/>
                </a:lnTo>
                <a:lnTo>
                  <a:pt x="26" y="11"/>
                </a:lnTo>
                <a:lnTo>
                  <a:pt x="27" y="14"/>
                </a:lnTo>
                <a:lnTo>
                  <a:pt x="27" y="18"/>
                </a:lnTo>
                <a:lnTo>
                  <a:pt x="27" y="18"/>
                </a:lnTo>
                <a:lnTo>
                  <a:pt x="51" y="16"/>
                </a:lnTo>
                <a:lnTo>
                  <a:pt x="51" y="16"/>
                </a:lnTo>
                <a:lnTo>
                  <a:pt x="51" y="9"/>
                </a:lnTo>
                <a:lnTo>
                  <a:pt x="51" y="3"/>
                </a:lnTo>
                <a:lnTo>
                  <a:pt x="49" y="0"/>
                </a:lnTo>
                <a:lnTo>
                  <a:pt x="49" y="0"/>
                </a:lnTo>
                <a:lnTo>
                  <a:pt x="57" y="5"/>
                </a:lnTo>
                <a:lnTo>
                  <a:pt x="59" y="11"/>
                </a:lnTo>
                <a:lnTo>
                  <a:pt x="60" y="16"/>
                </a:lnTo>
                <a:lnTo>
                  <a:pt x="60" y="16"/>
                </a:lnTo>
                <a:lnTo>
                  <a:pt x="82" y="18"/>
                </a:lnTo>
                <a:lnTo>
                  <a:pt x="82" y="18"/>
                </a:lnTo>
                <a:lnTo>
                  <a:pt x="82" y="11"/>
                </a:lnTo>
                <a:lnTo>
                  <a:pt x="79" y="3"/>
                </a:lnTo>
                <a:lnTo>
                  <a:pt x="79" y="3"/>
                </a:lnTo>
                <a:lnTo>
                  <a:pt x="86" y="9"/>
                </a:lnTo>
                <a:lnTo>
                  <a:pt x="93" y="13"/>
                </a:lnTo>
                <a:lnTo>
                  <a:pt x="99" y="20"/>
                </a:lnTo>
                <a:lnTo>
                  <a:pt x="102" y="25"/>
                </a:lnTo>
                <a:lnTo>
                  <a:pt x="106" y="38"/>
                </a:lnTo>
                <a:lnTo>
                  <a:pt x="108" y="49"/>
                </a:lnTo>
                <a:lnTo>
                  <a:pt x="108" y="49"/>
                </a:lnTo>
                <a:lnTo>
                  <a:pt x="106" y="62"/>
                </a:lnTo>
                <a:lnTo>
                  <a:pt x="102" y="73"/>
                </a:lnTo>
                <a:lnTo>
                  <a:pt x="95" y="82"/>
                </a:lnTo>
                <a:lnTo>
                  <a:pt x="86" y="89"/>
                </a:lnTo>
                <a:lnTo>
                  <a:pt x="86" y="89"/>
                </a:lnTo>
                <a:lnTo>
                  <a:pt x="69" y="98"/>
                </a:lnTo>
                <a:lnTo>
                  <a:pt x="55" y="1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101" name="Freeform 52"/>
          <p:cNvSpPr>
            <a:spLocks/>
          </p:cNvSpPr>
          <p:nvPr userDrawn="1"/>
        </p:nvSpPr>
        <p:spPr bwMode="auto">
          <a:xfrm>
            <a:off x="8589963" y="-648865"/>
            <a:ext cx="1588" cy="1588"/>
          </a:xfrm>
          <a:custGeom>
            <a:avLst/>
            <a:gdLst>
              <a:gd name="T0" fmla="*/ 4 w 4"/>
              <a:gd name="T1" fmla="*/ 2 h 2"/>
              <a:gd name="T2" fmla="*/ 4 w 4"/>
              <a:gd name="T3" fmla="*/ 2 h 2"/>
              <a:gd name="T4" fmla="*/ 2 w 4"/>
              <a:gd name="T5" fmla="*/ 0 h 2"/>
              <a:gd name="T6" fmla="*/ 2 w 4"/>
              <a:gd name="T7" fmla="*/ 0 h 2"/>
              <a:gd name="T8" fmla="*/ 0 w 4"/>
              <a:gd name="T9" fmla="*/ 0 h 2"/>
              <a:gd name="T10" fmla="*/ 0 w 4"/>
              <a:gd name="T11" fmla="*/ 0 h 2"/>
              <a:gd name="T12" fmla="*/ 4 w 4"/>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2"/>
                </a:moveTo>
                <a:lnTo>
                  <a:pt x="4" y="2"/>
                </a:lnTo>
                <a:lnTo>
                  <a:pt x="2" y="0"/>
                </a:lnTo>
                <a:lnTo>
                  <a:pt x="2" y="0"/>
                </a:lnTo>
                <a:lnTo>
                  <a:pt x="0" y="0"/>
                </a:lnTo>
                <a:lnTo>
                  <a:pt x="0" y="0"/>
                </a:lnTo>
                <a:lnTo>
                  <a:pt x="4"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102" name="Freeform 53"/>
          <p:cNvSpPr>
            <a:spLocks/>
          </p:cNvSpPr>
          <p:nvPr userDrawn="1"/>
        </p:nvSpPr>
        <p:spPr bwMode="auto">
          <a:xfrm>
            <a:off x="8405814" y="-885403"/>
            <a:ext cx="15875" cy="9525"/>
          </a:xfrm>
          <a:custGeom>
            <a:avLst/>
            <a:gdLst>
              <a:gd name="T0" fmla="*/ 20 w 20"/>
              <a:gd name="T1" fmla="*/ 10 h 11"/>
              <a:gd name="T2" fmla="*/ 20 w 20"/>
              <a:gd name="T3" fmla="*/ 10 h 11"/>
              <a:gd name="T4" fmla="*/ 19 w 20"/>
              <a:gd name="T5" fmla="*/ 10 h 11"/>
              <a:gd name="T6" fmla="*/ 11 w 20"/>
              <a:gd name="T7" fmla="*/ 11 h 11"/>
              <a:gd name="T8" fmla="*/ 2 w 20"/>
              <a:gd name="T9" fmla="*/ 11 h 11"/>
              <a:gd name="T10" fmla="*/ 2 w 20"/>
              <a:gd name="T11" fmla="*/ 11 h 11"/>
              <a:gd name="T12" fmla="*/ 0 w 20"/>
              <a:gd name="T13" fmla="*/ 8 h 11"/>
              <a:gd name="T14" fmla="*/ 0 w 20"/>
              <a:gd name="T15" fmla="*/ 0 h 11"/>
              <a:gd name="T16" fmla="*/ 0 w 20"/>
              <a:gd name="T17" fmla="*/ 0 h 11"/>
              <a:gd name="T18" fmla="*/ 4 w 20"/>
              <a:gd name="T19" fmla="*/ 0 h 11"/>
              <a:gd name="T20" fmla="*/ 11 w 20"/>
              <a:gd name="T21" fmla="*/ 2 h 11"/>
              <a:gd name="T22" fmla="*/ 17 w 20"/>
              <a:gd name="T23" fmla="*/ 4 h 11"/>
              <a:gd name="T24" fmla="*/ 20 w 20"/>
              <a:gd name="T25"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1">
                <a:moveTo>
                  <a:pt x="20" y="10"/>
                </a:moveTo>
                <a:lnTo>
                  <a:pt x="20" y="10"/>
                </a:lnTo>
                <a:lnTo>
                  <a:pt x="19" y="10"/>
                </a:lnTo>
                <a:lnTo>
                  <a:pt x="11" y="11"/>
                </a:lnTo>
                <a:lnTo>
                  <a:pt x="2" y="11"/>
                </a:lnTo>
                <a:lnTo>
                  <a:pt x="2" y="11"/>
                </a:lnTo>
                <a:lnTo>
                  <a:pt x="0" y="8"/>
                </a:lnTo>
                <a:lnTo>
                  <a:pt x="0" y="0"/>
                </a:lnTo>
                <a:lnTo>
                  <a:pt x="0" y="0"/>
                </a:lnTo>
                <a:lnTo>
                  <a:pt x="4" y="0"/>
                </a:lnTo>
                <a:lnTo>
                  <a:pt x="11" y="2"/>
                </a:lnTo>
                <a:lnTo>
                  <a:pt x="17" y="4"/>
                </a:lnTo>
                <a:lnTo>
                  <a:pt x="20"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103" name="Freeform 54"/>
          <p:cNvSpPr>
            <a:spLocks/>
          </p:cNvSpPr>
          <p:nvPr userDrawn="1"/>
        </p:nvSpPr>
        <p:spPr bwMode="auto">
          <a:xfrm>
            <a:off x="8197851" y="-917153"/>
            <a:ext cx="492125" cy="579438"/>
          </a:xfrm>
          <a:custGeom>
            <a:avLst/>
            <a:gdLst>
              <a:gd name="T0" fmla="*/ 592 w 619"/>
              <a:gd name="T1" fmla="*/ 245 h 729"/>
              <a:gd name="T2" fmla="*/ 588 w 619"/>
              <a:gd name="T3" fmla="*/ 150 h 729"/>
              <a:gd name="T4" fmla="*/ 513 w 619"/>
              <a:gd name="T5" fmla="*/ 57 h 729"/>
              <a:gd name="T6" fmla="*/ 446 w 619"/>
              <a:gd name="T7" fmla="*/ 150 h 729"/>
              <a:gd name="T8" fmla="*/ 460 w 619"/>
              <a:gd name="T9" fmla="*/ 243 h 729"/>
              <a:gd name="T10" fmla="*/ 490 w 619"/>
              <a:gd name="T11" fmla="*/ 256 h 729"/>
              <a:gd name="T12" fmla="*/ 506 w 619"/>
              <a:gd name="T13" fmla="*/ 240 h 729"/>
              <a:gd name="T14" fmla="*/ 568 w 619"/>
              <a:gd name="T15" fmla="*/ 250 h 729"/>
              <a:gd name="T16" fmla="*/ 533 w 619"/>
              <a:gd name="T17" fmla="*/ 345 h 729"/>
              <a:gd name="T18" fmla="*/ 429 w 619"/>
              <a:gd name="T19" fmla="*/ 291 h 729"/>
              <a:gd name="T20" fmla="*/ 417 w 619"/>
              <a:gd name="T21" fmla="*/ 198 h 729"/>
              <a:gd name="T22" fmla="*/ 418 w 619"/>
              <a:gd name="T23" fmla="*/ 183 h 729"/>
              <a:gd name="T24" fmla="*/ 375 w 619"/>
              <a:gd name="T25" fmla="*/ 121 h 729"/>
              <a:gd name="T26" fmla="*/ 424 w 619"/>
              <a:gd name="T27" fmla="*/ 77 h 729"/>
              <a:gd name="T28" fmla="*/ 353 w 619"/>
              <a:gd name="T29" fmla="*/ 28 h 729"/>
              <a:gd name="T30" fmla="*/ 247 w 619"/>
              <a:gd name="T31" fmla="*/ 33 h 729"/>
              <a:gd name="T32" fmla="*/ 225 w 619"/>
              <a:gd name="T33" fmla="*/ 73 h 729"/>
              <a:gd name="T34" fmla="*/ 243 w 619"/>
              <a:gd name="T35" fmla="*/ 104 h 729"/>
              <a:gd name="T36" fmla="*/ 292 w 619"/>
              <a:gd name="T37" fmla="*/ 88 h 729"/>
              <a:gd name="T38" fmla="*/ 219 w 619"/>
              <a:gd name="T39" fmla="*/ 115 h 729"/>
              <a:gd name="T40" fmla="*/ 190 w 619"/>
              <a:gd name="T41" fmla="*/ 110 h 729"/>
              <a:gd name="T42" fmla="*/ 258 w 619"/>
              <a:gd name="T43" fmla="*/ 112 h 729"/>
              <a:gd name="T44" fmla="*/ 261 w 619"/>
              <a:gd name="T45" fmla="*/ 128 h 729"/>
              <a:gd name="T46" fmla="*/ 238 w 619"/>
              <a:gd name="T47" fmla="*/ 152 h 729"/>
              <a:gd name="T48" fmla="*/ 259 w 619"/>
              <a:gd name="T49" fmla="*/ 192 h 729"/>
              <a:gd name="T50" fmla="*/ 133 w 619"/>
              <a:gd name="T51" fmla="*/ 276 h 729"/>
              <a:gd name="T52" fmla="*/ 53 w 619"/>
              <a:gd name="T53" fmla="*/ 252 h 729"/>
              <a:gd name="T54" fmla="*/ 42 w 619"/>
              <a:gd name="T55" fmla="*/ 267 h 729"/>
              <a:gd name="T56" fmla="*/ 51 w 619"/>
              <a:gd name="T57" fmla="*/ 287 h 729"/>
              <a:gd name="T58" fmla="*/ 2 w 619"/>
              <a:gd name="T59" fmla="*/ 305 h 729"/>
              <a:gd name="T60" fmla="*/ 58 w 619"/>
              <a:gd name="T61" fmla="*/ 313 h 729"/>
              <a:gd name="T62" fmla="*/ 37 w 619"/>
              <a:gd name="T63" fmla="*/ 331 h 729"/>
              <a:gd name="T64" fmla="*/ 53 w 619"/>
              <a:gd name="T65" fmla="*/ 345 h 729"/>
              <a:gd name="T66" fmla="*/ 104 w 619"/>
              <a:gd name="T67" fmla="*/ 345 h 729"/>
              <a:gd name="T68" fmla="*/ 117 w 619"/>
              <a:gd name="T69" fmla="*/ 347 h 729"/>
              <a:gd name="T70" fmla="*/ 163 w 619"/>
              <a:gd name="T71" fmla="*/ 309 h 729"/>
              <a:gd name="T72" fmla="*/ 214 w 619"/>
              <a:gd name="T73" fmla="*/ 300 h 729"/>
              <a:gd name="T74" fmla="*/ 283 w 619"/>
              <a:gd name="T75" fmla="*/ 325 h 729"/>
              <a:gd name="T76" fmla="*/ 417 w 619"/>
              <a:gd name="T77" fmla="*/ 386 h 729"/>
              <a:gd name="T78" fmla="*/ 466 w 619"/>
              <a:gd name="T79" fmla="*/ 492 h 729"/>
              <a:gd name="T80" fmla="*/ 464 w 619"/>
              <a:gd name="T81" fmla="*/ 517 h 729"/>
              <a:gd name="T82" fmla="*/ 512 w 619"/>
              <a:gd name="T83" fmla="*/ 526 h 729"/>
              <a:gd name="T84" fmla="*/ 526 w 619"/>
              <a:gd name="T85" fmla="*/ 627 h 729"/>
              <a:gd name="T86" fmla="*/ 462 w 619"/>
              <a:gd name="T87" fmla="*/ 638 h 729"/>
              <a:gd name="T88" fmla="*/ 491 w 619"/>
              <a:gd name="T89" fmla="*/ 651 h 729"/>
              <a:gd name="T90" fmla="*/ 479 w 619"/>
              <a:gd name="T91" fmla="*/ 663 h 729"/>
              <a:gd name="T92" fmla="*/ 475 w 619"/>
              <a:gd name="T93" fmla="*/ 711 h 729"/>
              <a:gd name="T94" fmla="*/ 502 w 619"/>
              <a:gd name="T95" fmla="*/ 693 h 729"/>
              <a:gd name="T96" fmla="*/ 513 w 619"/>
              <a:gd name="T97" fmla="*/ 700 h 729"/>
              <a:gd name="T98" fmla="*/ 544 w 619"/>
              <a:gd name="T99" fmla="*/ 720 h 729"/>
              <a:gd name="T100" fmla="*/ 554 w 619"/>
              <a:gd name="T101" fmla="*/ 678 h 729"/>
              <a:gd name="T102" fmla="*/ 586 w 619"/>
              <a:gd name="T103" fmla="*/ 689 h 729"/>
              <a:gd name="T104" fmla="*/ 590 w 619"/>
              <a:gd name="T105" fmla="*/ 625 h 729"/>
              <a:gd name="T106" fmla="*/ 603 w 619"/>
              <a:gd name="T107" fmla="*/ 598 h 729"/>
              <a:gd name="T108" fmla="*/ 599 w 619"/>
              <a:gd name="T109" fmla="*/ 552 h 729"/>
              <a:gd name="T110" fmla="*/ 574 w 619"/>
              <a:gd name="T111" fmla="*/ 508 h 729"/>
              <a:gd name="T112" fmla="*/ 532 w 619"/>
              <a:gd name="T113" fmla="*/ 462 h 729"/>
              <a:gd name="T114" fmla="*/ 532 w 619"/>
              <a:gd name="T115" fmla="*/ 419 h 729"/>
              <a:gd name="T116" fmla="*/ 539 w 619"/>
              <a:gd name="T117" fmla="*/ 377 h 729"/>
              <a:gd name="T118" fmla="*/ 618 w 619"/>
              <a:gd name="T119" fmla="*/ 316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9" h="729">
                <a:moveTo>
                  <a:pt x="603" y="280"/>
                </a:moveTo>
                <a:lnTo>
                  <a:pt x="603" y="280"/>
                </a:lnTo>
                <a:lnTo>
                  <a:pt x="612" y="282"/>
                </a:lnTo>
                <a:lnTo>
                  <a:pt x="619" y="280"/>
                </a:lnTo>
                <a:lnTo>
                  <a:pt x="619" y="280"/>
                </a:lnTo>
                <a:lnTo>
                  <a:pt x="618" y="269"/>
                </a:lnTo>
                <a:lnTo>
                  <a:pt x="616" y="252"/>
                </a:lnTo>
                <a:lnTo>
                  <a:pt x="616" y="252"/>
                </a:lnTo>
                <a:lnTo>
                  <a:pt x="610" y="252"/>
                </a:lnTo>
                <a:lnTo>
                  <a:pt x="605" y="252"/>
                </a:lnTo>
                <a:lnTo>
                  <a:pt x="599" y="250"/>
                </a:lnTo>
                <a:lnTo>
                  <a:pt x="592" y="245"/>
                </a:lnTo>
                <a:lnTo>
                  <a:pt x="592" y="245"/>
                </a:lnTo>
                <a:lnTo>
                  <a:pt x="588" y="238"/>
                </a:lnTo>
                <a:lnTo>
                  <a:pt x="588" y="238"/>
                </a:lnTo>
                <a:lnTo>
                  <a:pt x="577" y="223"/>
                </a:lnTo>
                <a:lnTo>
                  <a:pt x="565" y="212"/>
                </a:lnTo>
                <a:lnTo>
                  <a:pt x="552" y="203"/>
                </a:lnTo>
                <a:lnTo>
                  <a:pt x="541" y="196"/>
                </a:lnTo>
                <a:lnTo>
                  <a:pt x="541" y="196"/>
                </a:lnTo>
                <a:lnTo>
                  <a:pt x="559" y="185"/>
                </a:lnTo>
                <a:lnTo>
                  <a:pt x="572" y="174"/>
                </a:lnTo>
                <a:lnTo>
                  <a:pt x="581" y="165"/>
                </a:lnTo>
                <a:lnTo>
                  <a:pt x="585" y="157"/>
                </a:lnTo>
                <a:lnTo>
                  <a:pt x="585" y="157"/>
                </a:lnTo>
                <a:lnTo>
                  <a:pt x="588" y="150"/>
                </a:lnTo>
                <a:lnTo>
                  <a:pt x="592" y="139"/>
                </a:lnTo>
                <a:lnTo>
                  <a:pt x="592" y="128"/>
                </a:lnTo>
                <a:lnTo>
                  <a:pt x="592" y="115"/>
                </a:lnTo>
                <a:lnTo>
                  <a:pt x="588" y="103"/>
                </a:lnTo>
                <a:lnTo>
                  <a:pt x="583" y="90"/>
                </a:lnTo>
                <a:lnTo>
                  <a:pt x="574" y="79"/>
                </a:lnTo>
                <a:lnTo>
                  <a:pt x="566" y="73"/>
                </a:lnTo>
                <a:lnTo>
                  <a:pt x="559" y="68"/>
                </a:lnTo>
                <a:lnTo>
                  <a:pt x="559" y="68"/>
                </a:lnTo>
                <a:lnTo>
                  <a:pt x="548" y="62"/>
                </a:lnTo>
                <a:lnTo>
                  <a:pt x="535" y="59"/>
                </a:lnTo>
                <a:lnTo>
                  <a:pt x="524" y="57"/>
                </a:lnTo>
                <a:lnTo>
                  <a:pt x="513" y="57"/>
                </a:lnTo>
                <a:lnTo>
                  <a:pt x="495" y="60"/>
                </a:lnTo>
                <a:lnTo>
                  <a:pt x="481" y="64"/>
                </a:lnTo>
                <a:lnTo>
                  <a:pt x="481" y="64"/>
                </a:lnTo>
                <a:lnTo>
                  <a:pt x="471" y="70"/>
                </a:lnTo>
                <a:lnTo>
                  <a:pt x="462" y="77"/>
                </a:lnTo>
                <a:lnTo>
                  <a:pt x="455" y="84"/>
                </a:lnTo>
                <a:lnTo>
                  <a:pt x="449" y="93"/>
                </a:lnTo>
                <a:lnTo>
                  <a:pt x="446" y="104"/>
                </a:lnTo>
                <a:lnTo>
                  <a:pt x="442" y="115"/>
                </a:lnTo>
                <a:lnTo>
                  <a:pt x="442" y="126"/>
                </a:lnTo>
                <a:lnTo>
                  <a:pt x="442" y="141"/>
                </a:lnTo>
                <a:lnTo>
                  <a:pt x="442" y="141"/>
                </a:lnTo>
                <a:lnTo>
                  <a:pt x="446" y="150"/>
                </a:lnTo>
                <a:lnTo>
                  <a:pt x="449" y="159"/>
                </a:lnTo>
                <a:lnTo>
                  <a:pt x="455" y="168"/>
                </a:lnTo>
                <a:lnTo>
                  <a:pt x="460" y="174"/>
                </a:lnTo>
                <a:lnTo>
                  <a:pt x="477" y="185"/>
                </a:lnTo>
                <a:lnTo>
                  <a:pt x="495" y="196"/>
                </a:lnTo>
                <a:lnTo>
                  <a:pt x="495" y="196"/>
                </a:lnTo>
                <a:lnTo>
                  <a:pt x="481" y="203"/>
                </a:lnTo>
                <a:lnTo>
                  <a:pt x="470" y="214"/>
                </a:lnTo>
                <a:lnTo>
                  <a:pt x="466" y="219"/>
                </a:lnTo>
                <a:lnTo>
                  <a:pt x="464" y="227"/>
                </a:lnTo>
                <a:lnTo>
                  <a:pt x="462" y="234"/>
                </a:lnTo>
                <a:lnTo>
                  <a:pt x="460" y="243"/>
                </a:lnTo>
                <a:lnTo>
                  <a:pt x="460" y="243"/>
                </a:lnTo>
                <a:lnTo>
                  <a:pt x="462" y="254"/>
                </a:lnTo>
                <a:lnTo>
                  <a:pt x="466" y="267"/>
                </a:lnTo>
                <a:lnTo>
                  <a:pt x="468" y="282"/>
                </a:lnTo>
                <a:lnTo>
                  <a:pt x="468" y="291"/>
                </a:lnTo>
                <a:lnTo>
                  <a:pt x="466" y="300"/>
                </a:lnTo>
                <a:lnTo>
                  <a:pt x="466" y="300"/>
                </a:lnTo>
                <a:lnTo>
                  <a:pt x="468" y="300"/>
                </a:lnTo>
                <a:lnTo>
                  <a:pt x="475" y="298"/>
                </a:lnTo>
                <a:lnTo>
                  <a:pt x="484" y="291"/>
                </a:lnTo>
                <a:lnTo>
                  <a:pt x="484" y="291"/>
                </a:lnTo>
                <a:lnTo>
                  <a:pt x="488" y="280"/>
                </a:lnTo>
                <a:lnTo>
                  <a:pt x="490" y="269"/>
                </a:lnTo>
                <a:lnTo>
                  <a:pt x="490" y="256"/>
                </a:lnTo>
                <a:lnTo>
                  <a:pt x="490" y="256"/>
                </a:lnTo>
                <a:lnTo>
                  <a:pt x="493" y="261"/>
                </a:lnTo>
                <a:lnTo>
                  <a:pt x="495" y="271"/>
                </a:lnTo>
                <a:lnTo>
                  <a:pt x="495" y="278"/>
                </a:lnTo>
                <a:lnTo>
                  <a:pt x="493" y="285"/>
                </a:lnTo>
                <a:lnTo>
                  <a:pt x="493" y="285"/>
                </a:lnTo>
                <a:lnTo>
                  <a:pt x="501" y="282"/>
                </a:lnTo>
                <a:lnTo>
                  <a:pt x="504" y="278"/>
                </a:lnTo>
                <a:lnTo>
                  <a:pt x="508" y="274"/>
                </a:lnTo>
                <a:lnTo>
                  <a:pt x="508" y="274"/>
                </a:lnTo>
                <a:lnTo>
                  <a:pt x="510" y="261"/>
                </a:lnTo>
                <a:lnTo>
                  <a:pt x="510" y="249"/>
                </a:lnTo>
                <a:lnTo>
                  <a:pt x="506" y="240"/>
                </a:lnTo>
                <a:lnTo>
                  <a:pt x="504" y="232"/>
                </a:lnTo>
                <a:lnTo>
                  <a:pt x="504" y="232"/>
                </a:lnTo>
                <a:lnTo>
                  <a:pt x="502" y="225"/>
                </a:lnTo>
                <a:lnTo>
                  <a:pt x="504" y="218"/>
                </a:lnTo>
                <a:lnTo>
                  <a:pt x="510" y="210"/>
                </a:lnTo>
                <a:lnTo>
                  <a:pt x="515" y="207"/>
                </a:lnTo>
                <a:lnTo>
                  <a:pt x="515" y="207"/>
                </a:lnTo>
                <a:lnTo>
                  <a:pt x="533" y="216"/>
                </a:lnTo>
                <a:lnTo>
                  <a:pt x="533" y="216"/>
                </a:lnTo>
                <a:lnTo>
                  <a:pt x="541" y="221"/>
                </a:lnTo>
                <a:lnTo>
                  <a:pt x="552" y="230"/>
                </a:lnTo>
                <a:lnTo>
                  <a:pt x="563" y="243"/>
                </a:lnTo>
                <a:lnTo>
                  <a:pt x="568" y="250"/>
                </a:lnTo>
                <a:lnTo>
                  <a:pt x="572" y="260"/>
                </a:lnTo>
                <a:lnTo>
                  <a:pt x="572" y="260"/>
                </a:lnTo>
                <a:lnTo>
                  <a:pt x="577" y="271"/>
                </a:lnTo>
                <a:lnTo>
                  <a:pt x="579" y="282"/>
                </a:lnTo>
                <a:lnTo>
                  <a:pt x="579" y="291"/>
                </a:lnTo>
                <a:lnTo>
                  <a:pt x="579" y="300"/>
                </a:lnTo>
                <a:lnTo>
                  <a:pt x="576" y="313"/>
                </a:lnTo>
                <a:lnTo>
                  <a:pt x="572" y="320"/>
                </a:lnTo>
                <a:lnTo>
                  <a:pt x="572" y="320"/>
                </a:lnTo>
                <a:lnTo>
                  <a:pt x="565" y="329"/>
                </a:lnTo>
                <a:lnTo>
                  <a:pt x="557" y="338"/>
                </a:lnTo>
                <a:lnTo>
                  <a:pt x="546" y="344"/>
                </a:lnTo>
                <a:lnTo>
                  <a:pt x="533" y="345"/>
                </a:lnTo>
                <a:lnTo>
                  <a:pt x="533" y="345"/>
                </a:lnTo>
                <a:lnTo>
                  <a:pt x="532" y="345"/>
                </a:lnTo>
                <a:lnTo>
                  <a:pt x="532" y="345"/>
                </a:lnTo>
                <a:lnTo>
                  <a:pt x="517" y="345"/>
                </a:lnTo>
                <a:lnTo>
                  <a:pt x="517" y="345"/>
                </a:lnTo>
                <a:lnTo>
                  <a:pt x="504" y="342"/>
                </a:lnTo>
                <a:lnTo>
                  <a:pt x="504" y="342"/>
                </a:lnTo>
                <a:lnTo>
                  <a:pt x="493" y="338"/>
                </a:lnTo>
                <a:lnTo>
                  <a:pt x="493" y="338"/>
                </a:lnTo>
                <a:lnTo>
                  <a:pt x="482" y="333"/>
                </a:lnTo>
                <a:lnTo>
                  <a:pt x="466" y="322"/>
                </a:lnTo>
                <a:lnTo>
                  <a:pt x="448" y="309"/>
                </a:lnTo>
                <a:lnTo>
                  <a:pt x="429" y="291"/>
                </a:lnTo>
                <a:lnTo>
                  <a:pt x="429" y="291"/>
                </a:lnTo>
                <a:lnTo>
                  <a:pt x="406" y="261"/>
                </a:lnTo>
                <a:lnTo>
                  <a:pt x="389" y="241"/>
                </a:lnTo>
                <a:lnTo>
                  <a:pt x="389" y="241"/>
                </a:lnTo>
                <a:lnTo>
                  <a:pt x="398" y="245"/>
                </a:lnTo>
                <a:lnTo>
                  <a:pt x="406" y="245"/>
                </a:lnTo>
                <a:lnTo>
                  <a:pt x="415" y="245"/>
                </a:lnTo>
                <a:lnTo>
                  <a:pt x="415" y="245"/>
                </a:lnTo>
                <a:lnTo>
                  <a:pt x="417" y="229"/>
                </a:lnTo>
                <a:lnTo>
                  <a:pt x="417" y="212"/>
                </a:lnTo>
                <a:lnTo>
                  <a:pt x="417" y="212"/>
                </a:lnTo>
                <a:lnTo>
                  <a:pt x="417" y="198"/>
                </a:lnTo>
                <a:lnTo>
                  <a:pt x="417" y="198"/>
                </a:lnTo>
                <a:lnTo>
                  <a:pt x="411" y="198"/>
                </a:lnTo>
                <a:lnTo>
                  <a:pt x="398" y="194"/>
                </a:lnTo>
                <a:lnTo>
                  <a:pt x="393" y="192"/>
                </a:lnTo>
                <a:lnTo>
                  <a:pt x="386" y="188"/>
                </a:lnTo>
                <a:lnTo>
                  <a:pt x="380" y="185"/>
                </a:lnTo>
                <a:lnTo>
                  <a:pt x="376" y="179"/>
                </a:lnTo>
                <a:lnTo>
                  <a:pt x="376" y="179"/>
                </a:lnTo>
                <a:lnTo>
                  <a:pt x="382" y="181"/>
                </a:lnTo>
                <a:lnTo>
                  <a:pt x="387" y="183"/>
                </a:lnTo>
                <a:lnTo>
                  <a:pt x="395" y="185"/>
                </a:lnTo>
                <a:lnTo>
                  <a:pt x="395" y="185"/>
                </a:lnTo>
                <a:lnTo>
                  <a:pt x="411" y="183"/>
                </a:lnTo>
                <a:lnTo>
                  <a:pt x="418" y="183"/>
                </a:lnTo>
                <a:lnTo>
                  <a:pt x="418" y="183"/>
                </a:lnTo>
                <a:lnTo>
                  <a:pt x="420" y="166"/>
                </a:lnTo>
                <a:lnTo>
                  <a:pt x="420" y="152"/>
                </a:lnTo>
                <a:lnTo>
                  <a:pt x="420" y="152"/>
                </a:lnTo>
                <a:lnTo>
                  <a:pt x="420" y="137"/>
                </a:lnTo>
                <a:lnTo>
                  <a:pt x="420" y="137"/>
                </a:lnTo>
                <a:lnTo>
                  <a:pt x="409" y="137"/>
                </a:lnTo>
                <a:lnTo>
                  <a:pt x="396" y="135"/>
                </a:lnTo>
                <a:lnTo>
                  <a:pt x="396" y="135"/>
                </a:lnTo>
                <a:lnTo>
                  <a:pt x="384" y="130"/>
                </a:lnTo>
                <a:lnTo>
                  <a:pt x="378" y="126"/>
                </a:lnTo>
                <a:lnTo>
                  <a:pt x="375" y="121"/>
                </a:lnTo>
                <a:lnTo>
                  <a:pt x="375" y="121"/>
                </a:lnTo>
                <a:lnTo>
                  <a:pt x="380" y="123"/>
                </a:lnTo>
                <a:lnTo>
                  <a:pt x="395" y="126"/>
                </a:lnTo>
                <a:lnTo>
                  <a:pt x="395" y="126"/>
                </a:lnTo>
                <a:lnTo>
                  <a:pt x="404" y="126"/>
                </a:lnTo>
                <a:lnTo>
                  <a:pt x="413" y="124"/>
                </a:lnTo>
                <a:lnTo>
                  <a:pt x="420" y="124"/>
                </a:lnTo>
                <a:lnTo>
                  <a:pt x="422" y="123"/>
                </a:lnTo>
                <a:lnTo>
                  <a:pt x="422" y="123"/>
                </a:lnTo>
                <a:lnTo>
                  <a:pt x="422" y="93"/>
                </a:lnTo>
                <a:lnTo>
                  <a:pt x="422" y="93"/>
                </a:lnTo>
                <a:lnTo>
                  <a:pt x="424" y="86"/>
                </a:lnTo>
                <a:lnTo>
                  <a:pt x="424" y="77"/>
                </a:lnTo>
                <a:lnTo>
                  <a:pt x="424" y="77"/>
                </a:lnTo>
                <a:lnTo>
                  <a:pt x="418" y="77"/>
                </a:lnTo>
                <a:lnTo>
                  <a:pt x="407" y="75"/>
                </a:lnTo>
                <a:lnTo>
                  <a:pt x="395" y="70"/>
                </a:lnTo>
                <a:lnTo>
                  <a:pt x="389" y="66"/>
                </a:lnTo>
                <a:lnTo>
                  <a:pt x="382" y="60"/>
                </a:lnTo>
                <a:lnTo>
                  <a:pt x="382" y="60"/>
                </a:lnTo>
                <a:lnTo>
                  <a:pt x="380" y="57"/>
                </a:lnTo>
                <a:lnTo>
                  <a:pt x="380" y="53"/>
                </a:lnTo>
                <a:lnTo>
                  <a:pt x="382" y="46"/>
                </a:lnTo>
                <a:lnTo>
                  <a:pt x="382" y="46"/>
                </a:lnTo>
                <a:lnTo>
                  <a:pt x="349" y="31"/>
                </a:lnTo>
                <a:lnTo>
                  <a:pt x="349" y="31"/>
                </a:lnTo>
                <a:lnTo>
                  <a:pt x="353" y="28"/>
                </a:lnTo>
                <a:lnTo>
                  <a:pt x="356" y="22"/>
                </a:lnTo>
                <a:lnTo>
                  <a:pt x="356" y="18"/>
                </a:lnTo>
                <a:lnTo>
                  <a:pt x="356" y="18"/>
                </a:lnTo>
                <a:lnTo>
                  <a:pt x="354" y="13"/>
                </a:lnTo>
                <a:lnTo>
                  <a:pt x="349" y="9"/>
                </a:lnTo>
                <a:lnTo>
                  <a:pt x="343" y="8"/>
                </a:lnTo>
                <a:lnTo>
                  <a:pt x="336" y="8"/>
                </a:lnTo>
                <a:lnTo>
                  <a:pt x="336" y="8"/>
                </a:lnTo>
                <a:lnTo>
                  <a:pt x="329" y="9"/>
                </a:lnTo>
                <a:lnTo>
                  <a:pt x="325" y="13"/>
                </a:lnTo>
                <a:lnTo>
                  <a:pt x="320" y="18"/>
                </a:lnTo>
                <a:lnTo>
                  <a:pt x="280" y="0"/>
                </a:lnTo>
                <a:lnTo>
                  <a:pt x="247" y="33"/>
                </a:lnTo>
                <a:lnTo>
                  <a:pt x="247" y="33"/>
                </a:lnTo>
                <a:lnTo>
                  <a:pt x="245" y="35"/>
                </a:lnTo>
                <a:lnTo>
                  <a:pt x="245" y="39"/>
                </a:lnTo>
                <a:lnTo>
                  <a:pt x="245" y="42"/>
                </a:lnTo>
                <a:lnTo>
                  <a:pt x="245" y="42"/>
                </a:lnTo>
                <a:lnTo>
                  <a:pt x="245" y="44"/>
                </a:lnTo>
                <a:lnTo>
                  <a:pt x="243" y="46"/>
                </a:lnTo>
                <a:lnTo>
                  <a:pt x="243" y="46"/>
                </a:lnTo>
                <a:lnTo>
                  <a:pt x="234" y="57"/>
                </a:lnTo>
                <a:lnTo>
                  <a:pt x="234" y="57"/>
                </a:lnTo>
                <a:lnTo>
                  <a:pt x="228" y="66"/>
                </a:lnTo>
                <a:lnTo>
                  <a:pt x="228" y="66"/>
                </a:lnTo>
                <a:lnTo>
                  <a:pt x="225" y="73"/>
                </a:lnTo>
                <a:lnTo>
                  <a:pt x="223" y="79"/>
                </a:lnTo>
                <a:lnTo>
                  <a:pt x="223" y="79"/>
                </a:lnTo>
                <a:lnTo>
                  <a:pt x="221" y="81"/>
                </a:lnTo>
                <a:lnTo>
                  <a:pt x="221" y="84"/>
                </a:lnTo>
                <a:lnTo>
                  <a:pt x="225" y="92"/>
                </a:lnTo>
                <a:lnTo>
                  <a:pt x="234" y="99"/>
                </a:lnTo>
                <a:lnTo>
                  <a:pt x="234" y="101"/>
                </a:lnTo>
                <a:lnTo>
                  <a:pt x="234" y="101"/>
                </a:lnTo>
                <a:lnTo>
                  <a:pt x="236" y="99"/>
                </a:lnTo>
                <a:lnTo>
                  <a:pt x="238" y="99"/>
                </a:lnTo>
                <a:lnTo>
                  <a:pt x="238" y="99"/>
                </a:lnTo>
                <a:lnTo>
                  <a:pt x="243" y="104"/>
                </a:lnTo>
                <a:lnTo>
                  <a:pt x="243" y="104"/>
                </a:lnTo>
                <a:lnTo>
                  <a:pt x="245" y="101"/>
                </a:lnTo>
                <a:lnTo>
                  <a:pt x="248" y="95"/>
                </a:lnTo>
                <a:lnTo>
                  <a:pt x="248" y="95"/>
                </a:lnTo>
                <a:lnTo>
                  <a:pt x="254" y="88"/>
                </a:lnTo>
                <a:lnTo>
                  <a:pt x="261" y="82"/>
                </a:lnTo>
                <a:lnTo>
                  <a:pt x="261" y="82"/>
                </a:lnTo>
                <a:lnTo>
                  <a:pt x="269" y="79"/>
                </a:lnTo>
                <a:lnTo>
                  <a:pt x="276" y="79"/>
                </a:lnTo>
                <a:lnTo>
                  <a:pt x="276" y="79"/>
                </a:lnTo>
                <a:lnTo>
                  <a:pt x="283" y="79"/>
                </a:lnTo>
                <a:lnTo>
                  <a:pt x="289" y="82"/>
                </a:lnTo>
                <a:lnTo>
                  <a:pt x="289" y="82"/>
                </a:lnTo>
                <a:lnTo>
                  <a:pt x="292" y="88"/>
                </a:lnTo>
                <a:lnTo>
                  <a:pt x="294" y="95"/>
                </a:lnTo>
                <a:lnTo>
                  <a:pt x="294" y="103"/>
                </a:lnTo>
                <a:lnTo>
                  <a:pt x="294" y="108"/>
                </a:lnTo>
                <a:lnTo>
                  <a:pt x="294" y="108"/>
                </a:lnTo>
                <a:lnTo>
                  <a:pt x="290" y="104"/>
                </a:lnTo>
                <a:lnTo>
                  <a:pt x="290" y="104"/>
                </a:lnTo>
                <a:lnTo>
                  <a:pt x="285" y="103"/>
                </a:lnTo>
                <a:lnTo>
                  <a:pt x="276" y="101"/>
                </a:lnTo>
                <a:lnTo>
                  <a:pt x="265" y="101"/>
                </a:lnTo>
                <a:lnTo>
                  <a:pt x="254" y="103"/>
                </a:lnTo>
                <a:lnTo>
                  <a:pt x="254" y="103"/>
                </a:lnTo>
                <a:lnTo>
                  <a:pt x="241" y="108"/>
                </a:lnTo>
                <a:lnTo>
                  <a:pt x="219" y="115"/>
                </a:lnTo>
                <a:lnTo>
                  <a:pt x="219" y="115"/>
                </a:lnTo>
                <a:lnTo>
                  <a:pt x="214" y="117"/>
                </a:lnTo>
                <a:lnTo>
                  <a:pt x="208" y="117"/>
                </a:lnTo>
                <a:lnTo>
                  <a:pt x="205" y="113"/>
                </a:lnTo>
                <a:lnTo>
                  <a:pt x="203" y="110"/>
                </a:lnTo>
                <a:lnTo>
                  <a:pt x="203" y="110"/>
                </a:lnTo>
                <a:lnTo>
                  <a:pt x="203" y="104"/>
                </a:lnTo>
                <a:lnTo>
                  <a:pt x="203" y="101"/>
                </a:lnTo>
                <a:lnTo>
                  <a:pt x="205" y="97"/>
                </a:lnTo>
                <a:lnTo>
                  <a:pt x="205" y="97"/>
                </a:lnTo>
                <a:lnTo>
                  <a:pt x="199" y="101"/>
                </a:lnTo>
                <a:lnTo>
                  <a:pt x="194" y="104"/>
                </a:lnTo>
                <a:lnTo>
                  <a:pt x="190" y="110"/>
                </a:lnTo>
                <a:lnTo>
                  <a:pt x="190" y="110"/>
                </a:lnTo>
                <a:lnTo>
                  <a:pt x="190" y="117"/>
                </a:lnTo>
                <a:lnTo>
                  <a:pt x="192" y="124"/>
                </a:lnTo>
                <a:lnTo>
                  <a:pt x="195" y="128"/>
                </a:lnTo>
                <a:lnTo>
                  <a:pt x="201" y="132"/>
                </a:lnTo>
                <a:lnTo>
                  <a:pt x="201" y="132"/>
                </a:lnTo>
                <a:lnTo>
                  <a:pt x="208" y="132"/>
                </a:lnTo>
                <a:lnTo>
                  <a:pt x="217" y="130"/>
                </a:lnTo>
                <a:lnTo>
                  <a:pt x="234" y="123"/>
                </a:lnTo>
                <a:lnTo>
                  <a:pt x="234" y="123"/>
                </a:lnTo>
                <a:lnTo>
                  <a:pt x="250" y="113"/>
                </a:lnTo>
                <a:lnTo>
                  <a:pt x="250" y="113"/>
                </a:lnTo>
                <a:lnTo>
                  <a:pt x="258" y="112"/>
                </a:lnTo>
                <a:lnTo>
                  <a:pt x="263" y="110"/>
                </a:lnTo>
                <a:lnTo>
                  <a:pt x="270" y="112"/>
                </a:lnTo>
                <a:lnTo>
                  <a:pt x="278" y="113"/>
                </a:lnTo>
                <a:lnTo>
                  <a:pt x="278" y="113"/>
                </a:lnTo>
                <a:lnTo>
                  <a:pt x="285" y="119"/>
                </a:lnTo>
                <a:lnTo>
                  <a:pt x="289" y="121"/>
                </a:lnTo>
                <a:lnTo>
                  <a:pt x="289" y="121"/>
                </a:lnTo>
                <a:lnTo>
                  <a:pt x="285" y="126"/>
                </a:lnTo>
                <a:lnTo>
                  <a:pt x="281" y="130"/>
                </a:lnTo>
                <a:lnTo>
                  <a:pt x="274" y="130"/>
                </a:lnTo>
                <a:lnTo>
                  <a:pt x="274" y="130"/>
                </a:lnTo>
                <a:lnTo>
                  <a:pt x="267" y="130"/>
                </a:lnTo>
                <a:lnTo>
                  <a:pt x="261" y="128"/>
                </a:lnTo>
                <a:lnTo>
                  <a:pt x="256" y="124"/>
                </a:lnTo>
                <a:lnTo>
                  <a:pt x="254" y="121"/>
                </a:lnTo>
                <a:lnTo>
                  <a:pt x="254" y="121"/>
                </a:lnTo>
                <a:lnTo>
                  <a:pt x="250" y="128"/>
                </a:lnTo>
                <a:lnTo>
                  <a:pt x="250" y="128"/>
                </a:lnTo>
                <a:lnTo>
                  <a:pt x="248" y="132"/>
                </a:lnTo>
                <a:lnTo>
                  <a:pt x="248" y="135"/>
                </a:lnTo>
                <a:lnTo>
                  <a:pt x="250" y="137"/>
                </a:lnTo>
                <a:lnTo>
                  <a:pt x="248" y="141"/>
                </a:lnTo>
                <a:lnTo>
                  <a:pt x="248" y="141"/>
                </a:lnTo>
                <a:lnTo>
                  <a:pt x="247" y="143"/>
                </a:lnTo>
                <a:lnTo>
                  <a:pt x="245" y="146"/>
                </a:lnTo>
                <a:lnTo>
                  <a:pt x="238" y="152"/>
                </a:lnTo>
                <a:lnTo>
                  <a:pt x="238" y="152"/>
                </a:lnTo>
                <a:lnTo>
                  <a:pt x="227" y="157"/>
                </a:lnTo>
                <a:lnTo>
                  <a:pt x="219" y="159"/>
                </a:lnTo>
                <a:lnTo>
                  <a:pt x="219" y="159"/>
                </a:lnTo>
                <a:lnTo>
                  <a:pt x="227" y="176"/>
                </a:lnTo>
                <a:lnTo>
                  <a:pt x="227" y="176"/>
                </a:lnTo>
                <a:lnTo>
                  <a:pt x="232" y="187"/>
                </a:lnTo>
                <a:lnTo>
                  <a:pt x="236" y="194"/>
                </a:lnTo>
                <a:lnTo>
                  <a:pt x="239" y="199"/>
                </a:lnTo>
                <a:lnTo>
                  <a:pt x="239" y="199"/>
                </a:lnTo>
                <a:lnTo>
                  <a:pt x="247" y="198"/>
                </a:lnTo>
                <a:lnTo>
                  <a:pt x="259" y="192"/>
                </a:lnTo>
                <a:lnTo>
                  <a:pt x="259" y="192"/>
                </a:lnTo>
                <a:lnTo>
                  <a:pt x="269" y="185"/>
                </a:lnTo>
                <a:lnTo>
                  <a:pt x="274" y="177"/>
                </a:lnTo>
                <a:lnTo>
                  <a:pt x="274" y="177"/>
                </a:lnTo>
                <a:lnTo>
                  <a:pt x="267" y="194"/>
                </a:lnTo>
                <a:lnTo>
                  <a:pt x="261" y="203"/>
                </a:lnTo>
                <a:lnTo>
                  <a:pt x="254" y="210"/>
                </a:lnTo>
                <a:lnTo>
                  <a:pt x="248" y="216"/>
                </a:lnTo>
                <a:lnTo>
                  <a:pt x="248" y="216"/>
                </a:lnTo>
                <a:lnTo>
                  <a:pt x="225" y="232"/>
                </a:lnTo>
                <a:lnTo>
                  <a:pt x="192" y="250"/>
                </a:lnTo>
                <a:lnTo>
                  <a:pt x="172" y="261"/>
                </a:lnTo>
                <a:lnTo>
                  <a:pt x="153" y="269"/>
                </a:lnTo>
                <a:lnTo>
                  <a:pt x="133" y="276"/>
                </a:lnTo>
                <a:lnTo>
                  <a:pt x="113" y="280"/>
                </a:lnTo>
                <a:lnTo>
                  <a:pt x="113" y="280"/>
                </a:lnTo>
                <a:lnTo>
                  <a:pt x="108" y="278"/>
                </a:lnTo>
                <a:lnTo>
                  <a:pt x="100" y="276"/>
                </a:lnTo>
                <a:lnTo>
                  <a:pt x="88" y="267"/>
                </a:lnTo>
                <a:lnTo>
                  <a:pt x="75" y="258"/>
                </a:lnTo>
                <a:lnTo>
                  <a:pt x="68" y="249"/>
                </a:lnTo>
                <a:lnTo>
                  <a:pt x="68" y="249"/>
                </a:lnTo>
                <a:lnTo>
                  <a:pt x="66" y="249"/>
                </a:lnTo>
                <a:lnTo>
                  <a:pt x="62" y="247"/>
                </a:lnTo>
                <a:lnTo>
                  <a:pt x="58" y="249"/>
                </a:lnTo>
                <a:lnTo>
                  <a:pt x="53" y="252"/>
                </a:lnTo>
                <a:lnTo>
                  <a:pt x="53" y="252"/>
                </a:lnTo>
                <a:lnTo>
                  <a:pt x="49" y="252"/>
                </a:lnTo>
                <a:lnTo>
                  <a:pt x="42" y="252"/>
                </a:lnTo>
                <a:lnTo>
                  <a:pt x="31" y="254"/>
                </a:lnTo>
                <a:lnTo>
                  <a:pt x="27" y="258"/>
                </a:lnTo>
                <a:lnTo>
                  <a:pt x="24" y="261"/>
                </a:lnTo>
                <a:lnTo>
                  <a:pt x="24" y="261"/>
                </a:lnTo>
                <a:lnTo>
                  <a:pt x="24" y="263"/>
                </a:lnTo>
                <a:lnTo>
                  <a:pt x="29" y="263"/>
                </a:lnTo>
                <a:lnTo>
                  <a:pt x="35" y="261"/>
                </a:lnTo>
                <a:lnTo>
                  <a:pt x="42" y="263"/>
                </a:lnTo>
                <a:lnTo>
                  <a:pt x="42" y="263"/>
                </a:lnTo>
                <a:lnTo>
                  <a:pt x="44" y="265"/>
                </a:lnTo>
                <a:lnTo>
                  <a:pt x="42" y="267"/>
                </a:lnTo>
                <a:lnTo>
                  <a:pt x="40" y="269"/>
                </a:lnTo>
                <a:lnTo>
                  <a:pt x="40" y="272"/>
                </a:lnTo>
                <a:lnTo>
                  <a:pt x="40" y="272"/>
                </a:lnTo>
                <a:lnTo>
                  <a:pt x="40" y="274"/>
                </a:lnTo>
                <a:lnTo>
                  <a:pt x="44" y="278"/>
                </a:lnTo>
                <a:lnTo>
                  <a:pt x="53" y="282"/>
                </a:lnTo>
                <a:lnTo>
                  <a:pt x="71" y="289"/>
                </a:lnTo>
                <a:lnTo>
                  <a:pt x="71" y="289"/>
                </a:lnTo>
                <a:lnTo>
                  <a:pt x="73" y="291"/>
                </a:lnTo>
                <a:lnTo>
                  <a:pt x="73" y="293"/>
                </a:lnTo>
                <a:lnTo>
                  <a:pt x="73" y="293"/>
                </a:lnTo>
                <a:lnTo>
                  <a:pt x="60" y="291"/>
                </a:lnTo>
                <a:lnTo>
                  <a:pt x="51" y="287"/>
                </a:lnTo>
                <a:lnTo>
                  <a:pt x="38" y="282"/>
                </a:lnTo>
                <a:lnTo>
                  <a:pt x="38" y="282"/>
                </a:lnTo>
                <a:lnTo>
                  <a:pt x="29" y="280"/>
                </a:lnTo>
                <a:lnTo>
                  <a:pt x="24" y="280"/>
                </a:lnTo>
                <a:lnTo>
                  <a:pt x="22" y="283"/>
                </a:lnTo>
                <a:lnTo>
                  <a:pt x="20" y="287"/>
                </a:lnTo>
                <a:lnTo>
                  <a:pt x="20" y="287"/>
                </a:lnTo>
                <a:lnTo>
                  <a:pt x="18" y="289"/>
                </a:lnTo>
                <a:lnTo>
                  <a:pt x="16" y="289"/>
                </a:lnTo>
                <a:lnTo>
                  <a:pt x="11" y="293"/>
                </a:lnTo>
                <a:lnTo>
                  <a:pt x="7" y="294"/>
                </a:lnTo>
                <a:lnTo>
                  <a:pt x="4" y="300"/>
                </a:lnTo>
                <a:lnTo>
                  <a:pt x="2" y="305"/>
                </a:lnTo>
                <a:lnTo>
                  <a:pt x="0" y="314"/>
                </a:lnTo>
                <a:lnTo>
                  <a:pt x="0" y="314"/>
                </a:lnTo>
                <a:lnTo>
                  <a:pt x="4" y="313"/>
                </a:lnTo>
                <a:lnTo>
                  <a:pt x="9" y="307"/>
                </a:lnTo>
                <a:lnTo>
                  <a:pt x="15" y="303"/>
                </a:lnTo>
                <a:lnTo>
                  <a:pt x="18" y="302"/>
                </a:lnTo>
                <a:lnTo>
                  <a:pt x="18" y="303"/>
                </a:lnTo>
                <a:lnTo>
                  <a:pt x="18" y="303"/>
                </a:lnTo>
                <a:lnTo>
                  <a:pt x="22" y="311"/>
                </a:lnTo>
                <a:lnTo>
                  <a:pt x="27" y="314"/>
                </a:lnTo>
                <a:lnTo>
                  <a:pt x="35" y="314"/>
                </a:lnTo>
                <a:lnTo>
                  <a:pt x="42" y="314"/>
                </a:lnTo>
                <a:lnTo>
                  <a:pt x="58" y="313"/>
                </a:lnTo>
                <a:lnTo>
                  <a:pt x="66" y="313"/>
                </a:lnTo>
                <a:lnTo>
                  <a:pt x="69" y="313"/>
                </a:lnTo>
                <a:lnTo>
                  <a:pt x="69" y="313"/>
                </a:lnTo>
                <a:lnTo>
                  <a:pt x="69" y="314"/>
                </a:lnTo>
                <a:lnTo>
                  <a:pt x="69" y="314"/>
                </a:lnTo>
                <a:lnTo>
                  <a:pt x="66" y="316"/>
                </a:lnTo>
                <a:lnTo>
                  <a:pt x="53" y="318"/>
                </a:lnTo>
                <a:lnTo>
                  <a:pt x="46" y="320"/>
                </a:lnTo>
                <a:lnTo>
                  <a:pt x="38" y="324"/>
                </a:lnTo>
                <a:lnTo>
                  <a:pt x="37" y="325"/>
                </a:lnTo>
                <a:lnTo>
                  <a:pt x="35" y="329"/>
                </a:lnTo>
                <a:lnTo>
                  <a:pt x="37" y="331"/>
                </a:lnTo>
                <a:lnTo>
                  <a:pt x="37" y="331"/>
                </a:lnTo>
                <a:lnTo>
                  <a:pt x="33" y="335"/>
                </a:lnTo>
                <a:lnTo>
                  <a:pt x="29" y="342"/>
                </a:lnTo>
                <a:lnTo>
                  <a:pt x="27" y="345"/>
                </a:lnTo>
                <a:lnTo>
                  <a:pt x="27" y="351"/>
                </a:lnTo>
                <a:lnTo>
                  <a:pt x="29" y="356"/>
                </a:lnTo>
                <a:lnTo>
                  <a:pt x="35" y="364"/>
                </a:lnTo>
                <a:lnTo>
                  <a:pt x="35" y="364"/>
                </a:lnTo>
                <a:lnTo>
                  <a:pt x="37" y="353"/>
                </a:lnTo>
                <a:lnTo>
                  <a:pt x="40" y="347"/>
                </a:lnTo>
                <a:lnTo>
                  <a:pt x="42" y="345"/>
                </a:lnTo>
                <a:lnTo>
                  <a:pt x="46" y="345"/>
                </a:lnTo>
                <a:lnTo>
                  <a:pt x="46" y="345"/>
                </a:lnTo>
                <a:lnTo>
                  <a:pt x="53" y="345"/>
                </a:lnTo>
                <a:lnTo>
                  <a:pt x="58" y="349"/>
                </a:lnTo>
                <a:lnTo>
                  <a:pt x="64" y="349"/>
                </a:lnTo>
                <a:lnTo>
                  <a:pt x="71" y="345"/>
                </a:lnTo>
                <a:lnTo>
                  <a:pt x="71" y="345"/>
                </a:lnTo>
                <a:lnTo>
                  <a:pt x="79" y="340"/>
                </a:lnTo>
                <a:lnTo>
                  <a:pt x="84" y="336"/>
                </a:lnTo>
                <a:lnTo>
                  <a:pt x="95" y="333"/>
                </a:lnTo>
                <a:lnTo>
                  <a:pt x="95" y="333"/>
                </a:lnTo>
                <a:lnTo>
                  <a:pt x="95" y="336"/>
                </a:lnTo>
                <a:lnTo>
                  <a:pt x="99" y="342"/>
                </a:lnTo>
                <a:lnTo>
                  <a:pt x="99" y="342"/>
                </a:lnTo>
                <a:lnTo>
                  <a:pt x="102" y="344"/>
                </a:lnTo>
                <a:lnTo>
                  <a:pt x="104" y="345"/>
                </a:lnTo>
                <a:lnTo>
                  <a:pt x="104" y="345"/>
                </a:lnTo>
                <a:lnTo>
                  <a:pt x="104" y="345"/>
                </a:lnTo>
                <a:lnTo>
                  <a:pt x="102" y="351"/>
                </a:lnTo>
                <a:lnTo>
                  <a:pt x="99" y="356"/>
                </a:lnTo>
                <a:lnTo>
                  <a:pt x="95" y="360"/>
                </a:lnTo>
                <a:lnTo>
                  <a:pt x="95" y="360"/>
                </a:lnTo>
                <a:lnTo>
                  <a:pt x="97" y="360"/>
                </a:lnTo>
                <a:lnTo>
                  <a:pt x="102" y="360"/>
                </a:lnTo>
                <a:lnTo>
                  <a:pt x="108" y="358"/>
                </a:lnTo>
                <a:lnTo>
                  <a:pt x="111" y="355"/>
                </a:lnTo>
                <a:lnTo>
                  <a:pt x="115" y="349"/>
                </a:lnTo>
                <a:lnTo>
                  <a:pt x="115" y="349"/>
                </a:lnTo>
                <a:lnTo>
                  <a:pt x="117" y="347"/>
                </a:lnTo>
                <a:lnTo>
                  <a:pt x="119" y="347"/>
                </a:lnTo>
                <a:lnTo>
                  <a:pt x="124" y="347"/>
                </a:lnTo>
                <a:lnTo>
                  <a:pt x="124" y="347"/>
                </a:lnTo>
                <a:lnTo>
                  <a:pt x="128" y="345"/>
                </a:lnTo>
                <a:lnTo>
                  <a:pt x="130" y="344"/>
                </a:lnTo>
                <a:lnTo>
                  <a:pt x="130" y="338"/>
                </a:lnTo>
                <a:lnTo>
                  <a:pt x="130" y="333"/>
                </a:lnTo>
                <a:lnTo>
                  <a:pt x="130" y="329"/>
                </a:lnTo>
                <a:lnTo>
                  <a:pt x="132" y="327"/>
                </a:lnTo>
                <a:lnTo>
                  <a:pt x="132" y="327"/>
                </a:lnTo>
                <a:lnTo>
                  <a:pt x="139" y="322"/>
                </a:lnTo>
                <a:lnTo>
                  <a:pt x="146" y="316"/>
                </a:lnTo>
                <a:lnTo>
                  <a:pt x="163" y="309"/>
                </a:lnTo>
                <a:lnTo>
                  <a:pt x="163" y="309"/>
                </a:lnTo>
                <a:lnTo>
                  <a:pt x="161" y="316"/>
                </a:lnTo>
                <a:lnTo>
                  <a:pt x="161" y="324"/>
                </a:lnTo>
                <a:lnTo>
                  <a:pt x="164" y="333"/>
                </a:lnTo>
                <a:lnTo>
                  <a:pt x="205" y="322"/>
                </a:lnTo>
                <a:lnTo>
                  <a:pt x="205" y="322"/>
                </a:lnTo>
                <a:lnTo>
                  <a:pt x="203" y="313"/>
                </a:lnTo>
                <a:lnTo>
                  <a:pt x="205" y="305"/>
                </a:lnTo>
                <a:lnTo>
                  <a:pt x="210" y="296"/>
                </a:lnTo>
                <a:lnTo>
                  <a:pt x="216" y="287"/>
                </a:lnTo>
                <a:lnTo>
                  <a:pt x="216" y="287"/>
                </a:lnTo>
                <a:lnTo>
                  <a:pt x="216" y="291"/>
                </a:lnTo>
                <a:lnTo>
                  <a:pt x="214" y="300"/>
                </a:lnTo>
                <a:lnTo>
                  <a:pt x="214" y="311"/>
                </a:lnTo>
                <a:lnTo>
                  <a:pt x="214" y="316"/>
                </a:lnTo>
                <a:lnTo>
                  <a:pt x="216" y="318"/>
                </a:lnTo>
                <a:lnTo>
                  <a:pt x="256" y="309"/>
                </a:lnTo>
                <a:lnTo>
                  <a:pt x="256" y="309"/>
                </a:lnTo>
                <a:lnTo>
                  <a:pt x="254" y="303"/>
                </a:lnTo>
                <a:lnTo>
                  <a:pt x="254" y="296"/>
                </a:lnTo>
                <a:lnTo>
                  <a:pt x="258" y="283"/>
                </a:lnTo>
                <a:lnTo>
                  <a:pt x="258" y="283"/>
                </a:lnTo>
                <a:lnTo>
                  <a:pt x="261" y="298"/>
                </a:lnTo>
                <a:lnTo>
                  <a:pt x="269" y="311"/>
                </a:lnTo>
                <a:lnTo>
                  <a:pt x="278" y="322"/>
                </a:lnTo>
                <a:lnTo>
                  <a:pt x="283" y="325"/>
                </a:lnTo>
                <a:lnTo>
                  <a:pt x="289" y="329"/>
                </a:lnTo>
                <a:lnTo>
                  <a:pt x="289" y="329"/>
                </a:lnTo>
                <a:lnTo>
                  <a:pt x="311" y="338"/>
                </a:lnTo>
                <a:lnTo>
                  <a:pt x="334" y="345"/>
                </a:lnTo>
                <a:lnTo>
                  <a:pt x="391" y="362"/>
                </a:lnTo>
                <a:lnTo>
                  <a:pt x="391" y="362"/>
                </a:lnTo>
                <a:lnTo>
                  <a:pt x="407" y="367"/>
                </a:lnTo>
                <a:lnTo>
                  <a:pt x="420" y="373"/>
                </a:lnTo>
                <a:lnTo>
                  <a:pt x="420" y="373"/>
                </a:lnTo>
                <a:lnTo>
                  <a:pt x="424" y="375"/>
                </a:lnTo>
                <a:lnTo>
                  <a:pt x="424" y="377"/>
                </a:lnTo>
                <a:lnTo>
                  <a:pt x="422" y="382"/>
                </a:lnTo>
                <a:lnTo>
                  <a:pt x="417" y="386"/>
                </a:lnTo>
                <a:lnTo>
                  <a:pt x="417" y="386"/>
                </a:lnTo>
                <a:lnTo>
                  <a:pt x="424" y="391"/>
                </a:lnTo>
                <a:lnTo>
                  <a:pt x="438" y="400"/>
                </a:lnTo>
                <a:lnTo>
                  <a:pt x="438" y="400"/>
                </a:lnTo>
                <a:lnTo>
                  <a:pt x="448" y="409"/>
                </a:lnTo>
                <a:lnTo>
                  <a:pt x="453" y="420"/>
                </a:lnTo>
                <a:lnTo>
                  <a:pt x="459" y="435"/>
                </a:lnTo>
                <a:lnTo>
                  <a:pt x="462" y="450"/>
                </a:lnTo>
                <a:lnTo>
                  <a:pt x="462" y="450"/>
                </a:lnTo>
                <a:lnTo>
                  <a:pt x="466" y="462"/>
                </a:lnTo>
                <a:lnTo>
                  <a:pt x="466" y="475"/>
                </a:lnTo>
                <a:lnTo>
                  <a:pt x="466" y="486"/>
                </a:lnTo>
                <a:lnTo>
                  <a:pt x="466" y="492"/>
                </a:lnTo>
                <a:lnTo>
                  <a:pt x="464" y="493"/>
                </a:lnTo>
                <a:lnTo>
                  <a:pt x="464" y="493"/>
                </a:lnTo>
                <a:lnTo>
                  <a:pt x="460" y="497"/>
                </a:lnTo>
                <a:lnTo>
                  <a:pt x="457" y="499"/>
                </a:lnTo>
                <a:lnTo>
                  <a:pt x="451" y="501"/>
                </a:lnTo>
                <a:lnTo>
                  <a:pt x="440" y="504"/>
                </a:lnTo>
                <a:lnTo>
                  <a:pt x="444" y="519"/>
                </a:lnTo>
                <a:lnTo>
                  <a:pt x="444" y="519"/>
                </a:lnTo>
                <a:lnTo>
                  <a:pt x="451" y="519"/>
                </a:lnTo>
                <a:lnTo>
                  <a:pt x="459" y="517"/>
                </a:lnTo>
                <a:lnTo>
                  <a:pt x="466" y="515"/>
                </a:lnTo>
                <a:lnTo>
                  <a:pt x="466" y="515"/>
                </a:lnTo>
                <a:lnTo>
                  <a:pt x="464" y="517"/>
                </a:lnTo>
                <a:lnTo>
                  <a:pt x="464" y="517"/>
                </a:lnTo>
                <a:lnTo>
                  <a:pt x="459" y="526"/>
                </a:lnTo>
                <a:lnTo>
                  <a:pt x="457" y="534"/>
                </a:lnTo>
                <a:lnTo>
                  <a:pt x="473" y="545"/>
                </a:lnTo>
                <a:lnTo>
                  <a:pt x="473" y="545"/>
                </a:lnTo>
                <a:lnTo>
                  <a:pt x="481" y="526"/>
                </a:lnTo>
                <a:lnTo>
                  <a:pt x="484" y="521"/>
                </a:lnTo>
                <a:lnTo>
                  <a:pt x="488" y="517"/>
                </a:lnTo>
                <a:lnTo>
                  <a:pt x="488" y="517"/>
                </a:lnTo>
                <a:lnTo>
                  <a:pt x="491" y="517"/>
                </a:lnTo>
                <a:lnTo>
                  <a:pt x="497" y="519"/>
                </a:lnTo>
                <a:lnTo>
                  <a:pt x="504" y="523"/>
                </a:lnTo>
                <a:lnTo>
                  <a:pt x="512" y="526"/>
                </a:lnTo>
                <a:lnTo>
                  <a:pt x="521" y="534"/>
                </a:lnTo>
                <a:lnTo>
                  <a:pt x="528" y="543"/>
                </a:lnTo>
                <a:lnTo>
                  <a:pt x="535" y="552"/>
                </a:lnTo>
                <a:lnTo>
                  <a:pt x="541" y="563"/>
                </a:lnTo>
                <a:lnTo>
                  <a:pt x="541" y="563"/>
                </a:lnTo>
                <a:lnTo>
                  <a:pt x="543" y="572"/>
                </a:lnTo>
                <a:lnTo>
                  <a:pt x="544" y="581"/>
                </a:lnTo>
                <a:lnTo>
                  <a:pt x="544" y="590"/>
                </a:lnTo>
                <a:lnTo>
                  <a:pt x="543" y="601"/>
                </a:lnTo>
                <a:lnTo>
                  <a:pt x="541" y="610"/>
                </a:lnTo>
                <a:lnTo>
                  <a:pt x="537" y="618"/>
                </a:lnTo>
                <a:lnTo>
                  <a:pt x="532" y="623"/>
                </a:lnTo>
                <a:lnTo>
                  <a:pt x="526" y="627"/>
                </a:lnTo>
                <a:lnTo>
                  <a:pt x="526" y="627"/>
                </a:lnTo>
                <a:lnTo>
                  <a:pt x="521" y="627"/>
                </a:lnTo>
                <a:lnTo>
                  <a:pt x="517" y="625"/>
                </a:lnTo>
                <a:lnTo>
                  <a:pt x="504" y="620"/>
                </a:lnTo>
                <a:lnTo>
                  <a:pt x="493" y="614"/>
                </a:lnTo>
                <a:lnTo>
                  <a:pt x="490" y="614"/>
                </a:lnTo>
                <a:lnTo>
                  <a:pt x="486" y="618"/>
                </a:lnTo>
                <a:lnTo>
                  <a:pt x="486" y="618"/>
                </a:lnTo>
                <a:lnTo>
                  <a:pt x="484" y="620"/>
                </a:lnTo>
                <a:lnTo>
                  <a:pt x="479" y="623"/>
                </a:lnTo>
                <a:lnTo>
                  <a:pt x="470" y="629"/>
                </a:lnTo>
                <a:lnTo>
                  <a:pt x="466" y="632"/>
                </a:lnTo>
                <a:lnTo>
                  <a:pt x="462" y="638"/>
                </a:lnTo>
                <a:lnTo>
                  <a:pt x="462" y="645"/>
                </a:lnTo>
                <a:lnTo>
                  <a:pt x="464" y="654"/>
                </a:lnTo>
                <a:lnTo>
                  <a:pt x="464" y="654"/>
                </a:lnTo>
                <a:lnTo>
                  <a:pt x="473" y="645"/>
                </a:lnTo>
                <a:lnTo>
                  <a:pt x="477" y="641"/>
                </a:lnTo>
                <a:lnTo>
                  <a:pt x="481" y="641"/>
                </a:lnTo>
                <a:lnTo>
                  <a:pt x="481" y="641"/>
                </a:lnTo>
                <a:lnTo>
                  <a:pt x="482" y="643"/>
                </a:lnTo>
                <a:lnTo>
                  <a:pt x="482" y="645"/>
                </a:lnTo>
                <a:lnTo>
                  <a:pt x="486" y="649"/>
                </a:lnTo>
                <a:lnTo>
                  <a:pt x="486" y="649"/>
                </a:lnTo>
                <a:lnTo>
                  <a:pt x="488" y="651"/>
                </a:lnTo>
                <a:lnTo>
                  <a:pt x="491" y="651"/>
                </a:lnTo>
                <a:lnTo>
                  <a:pt x="502" y="651"/>
                </a:lnTo>
                <a:lnTo>
                  <a:pt x="512" y="649"/>
                </a:lnTo>
                <a:lnTo>
                  <a:pt x="515" y="649"/>
                </a:lnTo>
                <a:lnTo>
                  <a:pt x="517" y="651"/>
                </a:lnTo>
                <a:lnTo>
                  <a:pt x="517" y="651"/>
                </a:lnTo>
                <a:lnTo>
                  <a:pt x="517" y="652"/>
                </a:lnTo>
                <a:lnTo>
                  <a:pt x="515" y="652"/>
                </a:lnTo>
                <a:lnTo>
                  <a:pt x="510" y="652"/>
                </a:lnTo>
                <a:lnTo>
                  <a:pt x="510" y="652"/>
                </a:lnTo>
                <a:lnTo>
                  <a:pt x="491" y="656"/>
                </a:lnTo>
                <a:lnTo>
                  <a:pt x="484" y="660"/>
                </a:lnTo>
                <a:lnTo>
                  <a:pt x="479" y="663"/>
                </a:lnTo>
                <a:lnTo>
                  <a:pt x="479" y="663"/>
                </a:lnTo>
                <a:lnTo>
                  <a:pt x="479" y="665"/>
                </a:lnTo>
                <a:lnTo>
                  <a:pt x="479" y="669"/>
                </a:lnTo>
                <a:lnTo>
                  <a:pt x="479" y="669"/>
                </a:lnTo>
                <a:lnTo>
                  <a:pt x="475" y="674"/>
                </a:lnTo>
                <a:lnTo>
                  <a:pt x="470" y="678"/>
                </a:lnTo>
                <a:lnTo>
                  <a:pt x="466" y="683"/>
                </a:lnTo>
                <a:lnTo>
                  <a:pt x="464" y="689"/>
                </a:lnTo>
                <a:lnTo>
                  <a:pt x="464" y="694"/>
                </a:lnTo>
                <a:lnTo>
                  <a:pt x="464" y="694"/>
                </a:lnTo>
                <a:lnTo>
                  <a:pt x="466" y="702"/>
                </a:lnTo>
                <a:lnTo>
                  <a:pt x="470" y="705"/>
                </a:lnTo>
                <a:lnTo>
                  <a:pt x="475" y="711"/>
                </a:lnTo>
                <a:lnTo>
                  <a:pt x="475" y="711"/>
                </a:lnTo>
                <a:lnTo>
                  <a:pt x="475" y="707"/>
                </a:lnTo>
                <a:lnTo>
                  <a:pt x="477" y="702"/>
                </a:lnTo>
                <a:lnTo>
                  <a:pt x="479" y="694"/>
                </a:lnTo>
                <a:lnTo>
                  <a:pt x="479" y="691"/>
                </a:lnTo>
                <a:lnTo>
                  <a:pt x="482" y="691"/>
                </a:lnTo>
                <a:lnTo>
                  <a:pt x="482" y="691"/>
                </a:lnTo>
                <a:lnTo>
                  <a:pt x="484" y="691"/>
                </a:lnTo>
                <a:lnTo>
                  <a:pt x="488" y="693"/>
                </a:lnTo>
                <a:lnTo>
                  <a:pt x="490" y="696"/>
                </a:lnTo>
                <a:lnTo>
                  <a:pt x="493" y="696"/>
                </a:lnTo>
                <a:lnTo>
                  <a:pt x="493" y="696"/>
                </a:lnTo>
                <a:lnTo>
                  <a:pt x="497" y="696"/>
                </a:lnTo>
                <a:lnTo>
                  <a:pt x="502" y="693"/>
                </a:lnTo>
                <a:lnTo>
                  <a:pt x="513" y="682"/>
                </a:lnTo>
                <a:lnTo>
                  <a:pt x="524" y="672"/>
                </a:lnTo>
                <a:lnTo>
                  <a:pt x="528" y="669"/>
                </a:lnTo>
                <a:lnTo>
                  <a:pt x="532" y="669"/>
                </a:lnTo>
                <a:lnTo>
                  <a:pt x="532" y="669"/>
                </a:lnTo>
                <a:lnTo>
                  <a:pt x="533" y="671"/>
                </a:lnTo>
                <a:lnTo>
                  <a:pt x="532" y="672"/>
                </a:lnTo>
                <a:lnTo>
                  <a:pt x="524" y="678"/>
                </a:lnTo>
                <a:lnTo>
                  <a:pt x="517" y="685"/>
                </a:lnTo>
                <a:lnTo>
                  <a:pt x="513" y="689"/>
                </a:lnTo>
                <a:lnTo>
                  <a:pt x="512" y="694"/>
                </a:lnTo>
                <a:lnTo>
                  <a:pt x="512" y="694"/>
                </a:lnTo>
                <a:lnTo>
                  <a:pt x="513" y="700"/>
                </a:lnTo>
                <a:lnTo>
                  <a:pt x="515" y="704"/>
                </a:lnTo>
                <a:lnTo>
                  <a:pt x="519" y="707"/>
                </a:lnTo>
                <a:lnTo>
                  <a:pt x="521" y="711"/>
                </a:lnTo>
                <a:lnTo>
                  <a:pt x="521" y="711"/>
                </a:lnTo>
                <a:lnTo>
                  <a:pt x="523" y="715"/>
                </a:lnTo>
                <a:lnTo>
                  <a:pt x="526" y="720"/>
                </a:lnTo>
                <a:lnTo>
                  <a:pt x="530" y="724"/>
                </a:lnTo>
                <a:lnTo>
                  <a:pt x="535" y="725"/>
                </a:lnTo>
                <a:lnTo>
                  <a:pt x="546" y="729"/>
                </a:lnTo>
                <a:lnTo>
                  <a:pt x="552" y="729"/>
                </a:lnTo>
                <a:lnTo>
                  <a:pt x="552" y="729"/>
                </a:lnTo>
                <a:lnTo>
                  <a:pt x="550" y="725"/>
                </a:lnTo>
                <a:lnTo>
                  <a:pt x="544" y="720"/>
                </a:lnTo>
                <a:lnTo>
                  <a:pt x="539" y="713"/>
                </a:lnTo>
                <a:lnTo>
                  <a:pt x="539" y="711"/>
                </a:lnTo>
                <a:lnTo>
                  <a:pt x="539" y="707"/>
                </a:lnTo>
                <a:lnTo>
                  <a:pt x="539" y="707"/>
                </a:lnTo>
                <a:lnTo>
                  <a:pt x="541" y="705"/>
                </a:lnTo>
                <a:lnTo>
                  <a:pt x="544" y="707"/>
                </a:lnTo>
                <a:lnTo>
                  <a:pt x="548" y="707"/>
                </a:lnTo>
                <a:lnTo>
                  <a:pt x="552" y="705"/>
                </a:lnTo>
                <a:lnTo>
                  <a:pt x="552" y="705"/>
                </a:lnTo>
                <a:lnTo>
                  <a:pt x="552" y="702"/>
                </a:lnTo>
                <a:lnTo>
                  <a:pt x="552" y="691"/>
                </a:lnTo>
                <a:lnTo>
                  <a:pt x="552" y="685"/>
                </a:lnTo>
                <a:lnTo>
                  <a:pt x="554" y="678"/>
                </a:lnTo>
                <a:lnTo>
                  <a:pt x="559" y="671"/>
                </a:lnTo>
                <a:lnTo>
                  <a:pt x="566" y="662"/>
                </a:lnTo>
                <a:lnTo>
                  <a:pt x="566" y="662"/>
                </a:lnTo>
                <a:lnTo>
                  <a:pt x="570" y="667"/>
                </a:lnTo>
                <a:lnTo>
                  <a:pt x="574" y="669"/>
                </a:lnTo>
                <a:lnTo>
                  <a:pt x="581" y="671"/>
                </a:lnTo>
                <a:lnTo>
                  <a:pt x="581" y="671"/>
                </a:lnTo>
                <a:lnTo>
                  <a:pt x="583" y="672"/>
                </a:lnTo>
                <a:lnTo>
                  <a:pt x="585" y="674"/>
                </a:lnTo>
                <a:lnTo>
                  <a:pt x="585" y="682"/>
                </a:lnTo>
                <a:lnTo>
                  <a:pt x="585" y="691"/>
                </a:lnTo>
                <a:lnTo>
                  <a:pt x="585" y="691"/>
                </a:lnTo>
                <a:lnTo>
                  <a:pt x="586" y="689"/>
                </a:lnTo>
                <a:lnTo>
                  <a:pt x="590" y="683"/>
                </a:lnTo>
                <a:lnTo>
                  <a:pt x="594" y="674"/>
                </a:lnTo>
                <a:lnTo>
                  <a:pt x="594" y="663"/>
                </a:lnTo>
                <a:lnTo>
                  <a:pt x="594" y="663"/>
                </a:lnTo>
                <a:lnTo>
                  <a:pt x="597" y="662"/>
                </a:lnTo>
                <a:lnTo>
                  <a:pt x="601" y="654"/>
                </a:lnTo>
                <a:lnTo>
                  <a:pt x="601" y="654"/>
                </a:lnTo>
                <a:lnTo>
                  <a:pt x="603" y="651"/>
                </a:lnTo>
                <a:lnTo>
                  <a:pt x="601" y="649"/>
                </a:lnTo>
                <a:lnTo>
                  <a:pt x="596" y="643"/>
                </a:lnTo>
                <a:lnTo>
                  <a:pt x="594" y="640"/>
                </a:lnTo>
                <a:lnTo>
                  <a:pt x="592" y="634"/>
                </a:lnTo>
                <a:lnTo>
                  <a:pt x="590" y="625"/>
                </a:lnTo>
                <a:lnTo>
                  <a:pt x="590" y="614"/>
                </a:lnTo>
                <a:lnTo>
                  <a:pt x="590" y="614"/>
                </a:lnTo>
                <a:lnTo>
                  <a:pt x="590" y="610"/>
                </a:lnTo>
                <a:lnTo>
                  <a:pt x="588" y="609"/>
                </a:lnTo>
                <a:lnTo>
                  <a:pt x="583" y="605"/>
                </a:lnTo>
                <a:lnTo>
                  <a:pt x="583" y="605"/>
                </a:lnTo>
                <a:lnTo>
                  <a:pt x="579" y="599"/>
                </a:lnTo>
                <a:lnTo>
                  <a:pt x="579" y="598"/>
                </a:lnTo>
                <a:lnTo>
                  <a:pt x="581" y="598"/>
                </a:lnTo>
                <a:lnTo>
                  <a:pt x="581" y="598"/>
                </a:lnTo>
                <a:lnTo>
                  <a:pt x="588" y="599"/>
                </a:lnTo>
                <a:lnTo>
                  <a:pt x="596" y="599"/>
                </a:lnTo>
                <a:lnTo>
                  <a:pt x="603" y="598"/>
                </a:lnTo>
                <a:lnTo>
                  <a:pt x="603" y="598"/>
                </a:lnTo>
                <a:lnTo>
                  <a:pt x="603" y="576"/>
                </a:lnTo>
                <a:lnTo>
                  <a:pt x="605" y="565"/>
                </a:lnTo>
                <a:lnTo>
                  <a:pt x="603" y="559"/>
                </a:lnTo>
                <a:lnTo>
                  <a:pt x="603" y="559"/>
                </a:lnTo>
                <a:lnTo>
                  <a:pt x="596" y="559"/>
                </a:lnTo>
                <a:lnTo>
                  <a:pt x="588" y="557"/>
                </a:lnTo>
                <a:lnTo>
                  <a:pt x="585" y="556"/>
                </a:lnTo>
                <a:lnTo>
                  <a:pt x="581" y="552"/>
                </a:lnTo>
                <a:lnTo>
                  <a:pt x="581" y="552"/>
                </a:lnTo>
                <a:lnTo>
                  <a:pt x="586" y="552"/>
                </a:lnTo>
                <a:lnTo>
                  <a:pt x="594" y="552"/>
                </a:lnTo>
                <a:lnTo>
                  <a:pt x="599" y="552"/>
                </a:lnTo>
                <a:lnTo>
                  <a:pt x="603" y="548"/>
                </a:lnTo>
                <a:lnTo>
                  <a:pt x="603" y="548"/>
                </a:lnTo>
                <a:lnTo>
                  <a:pt x="603" y="530"/>
                </a:lnTo>
                <a:lnTo>
                  <a:pt x="601" y="517"/>
                </a:lnTo>
                <a:lnTo>
                  <a:pt x="601" y="514"/>
                </a:lnTo>
                <a:lnTo>
                  <a:pt x="599" y="512"/>
                </a:lnTo>
                <a:lnTo>
                  <a:pt x="599" y="512"/>
                </a:lnTo>
                <a:lnTo>
                  <a:pt x="592" y="514"/>
                </a:lnTo>
                <a:lnTo>
                  <a:pt x="586" y="514"/>
                </a:lnTo>
                <a:lnTo>
                  <a:pt x="581" y="512"/>
                </a:lnTo>
                <a:lnTo>
                  <a:pt x="576" y="510"/>
                </a:lnTo>
                <a:lnTo>
                  <a:pt x="576" y="510"/>
                </a:lnTo>
                <a:lnTo>
                  <a:pt x="574" y="508"/>
                </a:lnTo>
                <a:lnTo>
                  <a:pt x="572" y="504"/>
                </a:lnTo>
                <a:lnTo>
                  <a:pt x="572" y="499"/>
                </a:lnTo>
                <a:lnTo>
                  <a:pt x="570" y="495"/>
                </a:lnTo>
                <a:lnTo>
                  <a:pt x="570" y="493"/>
                </a:lnTo>
                <a:lnTo>
                  <a:pt x="568" y="492"/>
                </a:lnTo>
                <a:lnTo>
                  <a:pt x="568" y="492"/>
                </a:lnTo>
                <a:lnTo>
                  <a:pt x="557" y="488"/>
                </a:lnTo>
                <a:lnTo>
                  <a:pt x="546" y="482"/>
                </a:lnTo>
                <a:lnTo>
                  <a:pt x="541" y="477"/>
                </a:lnTo>
                <a:lnTo>
                  <a:pt x="535" y="473"/>
                </a:lnTo>
                <a:lnTo>
                  <a:pt x="535" y="473"/>
                </a:lnTo>
                <a:lnTo>
                  <a:pt x="532" y="468"/>
                </a:lnTo>
                <a:lnTo>
                  <a:pt x="532" y="462"/>
                </a:lnTo>
                <a:lnTo>
                  <a:pt x="532" y="459"/>
                </a:lnTo>
                <a:lnTo>
                  <a:pt x="532" y="459"/>
                </a:lnTo>
                <a:lnTo>
                  <a:pt x="541" y="462"/>
                </a:lnTo>
                <a:lnTo>
                  <a:pt x="544" y="462"/>
                </a:lnTo>
                <a:lnTo>
                  <a:pt x="550" y="461"/>
                </a:lnTo>
                <a:lnTo>
                  <a:pt x="552" y="431"/>
                </a:lnTo>
                <a:lnTo>
                  <a:pt x="552" y="431"/>
                </a:lnTo>
                <a:lnTo>
                  <a:pt x="548" y="431"/>
                </a:lnTo>
                <a:lnTo>
                  <a:pt x="541" y="430"/>
                </a:lnTo>
                <a:lnTo>
                  <a:pt x="541" y="430"/>
                </a:lnTo>
                <a:lnTo>
                  <a:pt x="537" y="426"/>
                </a:lnTo>
                <a:lnTo>
                  <a:pt x="533" y="422"/>
                </a:lnTo>
                <a:lnTo>
                  <a:pt x="532" y="419"/>
                </a:lnTo>
                <a:lnTo>
                  <a:pt x="532" y="419"/>
                </a:lnTo>
                <a:lnTo>
                  <a:pt x="535" y="420"/>
                </a:lnTo>
                <a:lnTo>
                  <a:pt x="543" y="422"/>
                </a:lnTo>
                <a:lnTo>
                  <a:pt x="543" y="422"/>
                </a:lnTo>
                <a:lnTo>
                  <a:pt x="550" y="422"/>
                </a:lnTo>
                <a:lnTo>
                  <a:pt x="554" y="420"/>
                </a:lnTo>
                <a:lnTo>
                  <a:pt x="557" y="387"/>
                </a:lnTo>
                <a:lnTo>
                  <a:pt x="557" y="387"/>
                </a:lnTo>
                <a:lnTo>
                  <a:pt x="552" y="387"/>
                </a:lnTo>
                <a:lnTo>
                  <a:pt x="546" y="386"/>
                </a:lnTo>
                <a:lnTo>
                  <a:pt x="541" y="384"/>
                </a:lnTo>
                <a:lnTo>
                  <a:pt x="539" y="378"/>
                </a:lnTo>
                <a:lnTo>
                  <a:pt x="539" y="377"/>
                </a:lnTo>
                <a:lnTo>
                  <a:pt x="539" y="377"/>
                </a:lnTo>
                <a:lnTo>
                  <a:pt x="552" y="373"/>
                </a:lnTo>
                <a:lnTo>
                  <a:pt x="563" y="367"/>
                </a:lnTo>
                <a:lnTo>
                  <a:pt x="572" y="360"/>
                </a:lnTo>
                <a:lnTo>
                  <a:pt x="579" y="353"/>
                </a:lnTo>
                <a:lnTo>
                  <a:pt x="586" y="344"/>
                </a:lnTo>
                <a:lnTo>
                  <a:pt x="592" y="333"/>
                </a:lnTo>
                <a:lnTo>
                  <a:pt x="597" y="324"/>
                </a:lnTo>
                <a:lnTo>
                  <a:pt x="599" y="313"/>
                </a:lnTo>
                <a:lnTo>
                  <a:pt x="599" y="313"/>
                </a:lnTo>
                <a:lnTo>
                  <a:pt x="608" y="316"/>
                </a:lnTo>
                <a:lnTo>
                  <a:pt x="614" y="316"/>
                </a:lnTo>
                <a:lnTo>
                  <a:pt x="618" y="316"/>
                </a:lnTo>
                <a:lnTo>
                  <a:pt x="618" y="316"/>
                </a:lnTo>
                <a:lnTo>
                  <a:pt x="619" y="303"/>
                </a:lnTo>
                <a:lnTo>
                  <a:pt x="619" y="289"/>
                </a:lnTo>
                <a:lnTo>
                  <a:pt x="619" y="289"/>
                </a:lnTo>
                <a:lnTo>
                  <a:pt x="610" y="287"/>
                </a:lnTo>
                <a:lnTo>
                  <a:pt x="607" y="285"/>
                </a:lnTo>
                <a:lnTo>
                  <a:pt x="603" y="28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pic>
        <p:nvPicPr>
          <p:cNvPr id="53" name="Picture 3">
            <a:extLst>
              <a:ext uri="{FF2B5EF4-FFF2-40B4-BE49-F238E27FC236}">
                <a16:creationId xmlns:a16="http://schemas.microsoft.com/office/drawing/2014/main" id="{F1689B57-8BAA-BF42-B648-10782572357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804249" y="4443959"/>
            <a:ext cx="2088034" cy="397877"/>
          </a:xfrm>
          <a:prstGeom prst="rect">
            <a:avLst/>
          </a:prstGeom>
        </p:spPr>
      </p:pic>
      <p:pic>
        <p:nvPicPr>
          <p:cNvPr id="55" name="Picture 5">
            <a:extLst>
              <a:ext uri="{FF2B5EF4-FFF2-40B4-BE49-F238E27FC236}">
                <a16:creationId xmlns:a16="http://schemas.microsoft.com/office/drawing/2014/main" id="{4F591584-9FCE-5A4F-A985-77C337C3AB8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04449" y="235341"/>
            <a:ext cx="305495" cy="419486"/>
          </a:xfrm>
          <a:prstGeom prst="rect">
            <a:avLst/>
          </a:prstGeom>
        </p:spPr>
      </p:pic>
    </p:spTree>
    <p:extLst>
      <p:ext uri="{BB962C8B-B14F-4D97-AF65-F5344CB8AC3E}">
        <p14:creationId xmlns:p14="http://schemas.microsoft.com/office/powerpoint/2010/main" val="180737492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12_Väliotsikko">
    <p:spTree>
      <p:nvGrpSpPr>
        <p:cNvPr id="1" name=""/>
        <p:cNvGrpSpPr/>
        <p:nvPr/>
      </p:nvGrpSpPr>
      <p:grpSpPr>
        <a:xfrm>
          <a:off x="0" y="0"/>
          <a:ext cx="0" cy="0"/>
          <a:chOff x="0" y="0"/>
          <a:chExt cx="0" cy="0"/>
        </a:xfrm>
      </p:grpSpPr>
      <p:pic>
        <p:nvPicPr>
          <p:cNvPr id="3" name="Kuva 2"/>
          <p:cNvPicPr>
            <a:picLocks noChangeAspect="1"/>
          </p:cNvPicPr>
          <p:nvPr userDrawn="1"/>
        </p:nvPicPr>
        <p:blipFill rotWithShape="1">
          <a:blip r:embed="rId2" cstate="print">
            <a:extLst>
              <a:ext uri="{28A0092B-C50C-407E-A947-70E740481C1C}">
                <a14:useLocalDpi xmlns:a14="http://schemas.microsoft.com/office/drawing/2010/main" val="0"/>
              </a:ext>
            </a:extLst>
          </a:blip>
          <a:srcRect t="12864" r="45384" b="437"/>
          <a:stretch/>
        </p:blipFill>
        <p:spPr>
          <a:xfrm>
            <a:off x="4228334" y="-20538"/>
            <a:ext cx="4952179" cy="5184576"/>
          </a:xfrm>
          <a:prstGeom prst="rect">
            <a:avLst/>
          </a:prstGeom>
        </p:spPr>
      </p:pic>
      <p:sp>
        <p:nvSpPr>
          <p:cNvPr id="51" name="Rectangle 50"/>
          <p:cNvSpPr/>
          <p:nvPr userDrawn="1"/>
        </p:nvSpPr>
        <p:spPr>
          <a:xfrm rot="10800000" flipV="1">
            <a:off x="-10666" y="-21804"/>
            <a:ext cx="4582667" cy="5165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a:p>
        </p:txBody>
      </p:sp>
      <p:sp>
        <p:nvSpPr>
          <p:cNvPr id="58" name="Rectangle 57"/>
          <p:cNvSpPr/>
          <p:nvPr userDrawn="1"/>
        </p:nvSpPr>
        <p:spPr>
          <a:xfrm rot="10800000" flipV="1">
            <a:off x="4499990" y="-21805"/>
            <a:ext cx="4680521" cy="5185843"/>
          </a:xfrm>
          <a:prstGeom prst="rect">
            <a:avLst/>
          </a:pr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a:p>
        </p:txBody>
      </p:sp>
      <p:sp>
        <p:nvSpPr>
          <p:cNvPr id="54" name="Freeform 7"/>
          <p:cNvSpPr>
            <a:spLocks/>
          </p:cNvSpPr>
          <p:nvPr userDrawn="1"/>
        </p:nvSpPr>
        <p:spPr bwMode="auto">
          <a:xfrm rot="10800000" flipV="1">
            <a:off x="3392895" y="-21803"/>
            <a:ext cx="4279900" cy="5165302"/>
          </a:xfrm>
          <a:custGeom>
            <a:avLst/>
            <a:gdLst>
              <a:gd name="T0" fmla="*/ 2425 w 2696"/>
              <a:gd name="T1" fmla="*/ 3240 h 3240"/>
              <a:gd name="T2" fmla="*/ 2398 w 2696"/>
              <a:gd name="T3" fmla="*/ 3171 h 3240"/>
              <a:gd name="T4" fmla="*/ 2372 w 2696"/>
              <a:gd name="T5" fmla="*/ 3103 h 3240"/>
              <a:gd name="T6" fmla="*/ 2325 w 2696"/>
              <a:gd name="T7" fmla="*/ 2966 h 3240"/>
              <a:gd name="T8" fmla="*/ 2283 w 2696"/>
              <a:gd name="T9" fmla="*/ 2828 h 3240"/>
              <a:gd name="T10" fmla="*/ 2248 w 2696"/>
              <a:gd name="T11" fmla="*/ 2689 h 3240"/>
              <a:gd name="T12" fmla="*/ 2219 w 2696"/>
              <a:gd name="T13" fmla="*/ 2550 h 3240"/>
              <a:gd name="T14" fmla="*/ 2196 w 2696"/>
              <a:gd name="T15" fmla="*/ 2411 h 3240"/>
              <a:gd name="T16" fmla="*/ 2178 w 2696"/>
              <a:gd name="T17" fmla="*/ 2273 h 3240"/>
              <a:gd name="T18" fmla="*/ 2164 w 2696"/>
              <a:gd name="T19" fmla="*/ 2133 h 3240"/>
              <a:gd name="T20" fmla="*/ 2157 w 2696"/>
              <a:gd name="T21" fmla="*/ 1995 h 3240"/>
              <a:gd name="T22" fmla="*/ 2156 w 2696"/>
              <a:gd name="T23" fmla="*/ 1856 h 3240"/>
              <a:gd name="T24" fmla="*/ 2160 w 2696"/>
              <a:gd name="T25" fmla="*/ 1718 h 3240"/>
              <a:gd name="T26" fmla="*/ 2170 w 2696"/>
              <a:gd name="T27" fmla="*/ 1581 h 3240"/>
              <a:gd name="T28" fmla="*/ 2183 w 2696"/>
              <a:gd name="T29" fmla="*/ 1445 h 3240"/>
              <a:gd name="T30" fmla="*/ 2203 w 2696"/>
              <a:gd name="T31" fmla="*/ 1310 h 3240"/>
              <a:gd name="T32" fmla="*/ 2228 w 2696"/>
              <a:gd name="T33" fmla="*/ 1175 h 3240"/>
              <a:gd name="T34" fmla="*/ 2259 w 2696"/>
              <a:gd name="T35" fmla="*/ 1042 h 3240"/>
              <a:gd name="T36" fmla="*/ 2274 w 2696"/>
              <a:gd name="T37" fmla="*/ 977 h 3240"/>
              <a:gd name="T38" fmla="*/ 2313 w 2696"/>
              <a:gd name="T39" fmla="*/ 845 h 3240"/>
              <a:gd name="T40" fmla="*/ 2354 w 2696"/>
              <a:gd name="T41" fmla="*/ 716 h 3240"/>
              <a:gd name="T42" fmla="*/ 2400 w 2696"/>
              <a:gd name="T43" fmla="*/ 590 h 3240"/>
              <a:gd name="T44" fmla="*/ 2452 w 2696"/>
              <a:gd name="T45" fmla="*/ 466 h 3240"/>
              <a:gd name="T46" fmla="*/ 2507 w 2696"/>
              <a:gd name="T47" fmla="*/ 345 h 3240"/>
              <a:gd name="T48" fmla="*/ 2566 w 2696"/>
              <a:gd name="T49" fmla="*/ 227 h 3240"/>
              <a:gd name="T50" fmla="*/ 2630 w 2696"/>
              <a:gd name="T51" fmla="*/ 113 h 3240"/>
              <a:gd name="T52" fmla="*/ 2696 w 2696"/>
              <a:gd name="T53" fmla="*/ 0 h 3240"/>
              <a:gd name="T54" fmla="*/ 0 w 2696"/>
              <a:gd name="T55" fmla="*/ 0 h 3240"/>
              <a:gd name="T56" fmla="*/ 72 w 2696"/>
              <a:gd name="T57" fmla="*/ 207 h 3240"/>
              <a:gd name="T58" fmla="*/ 150 w 2696"/>
              <a:gd name="T59" fmla="*/ 414 h 3240"/>
              <a:gd name="T60" fmla="*/ 187 w 2696"/>
              <a:gd name="T61" fmla="*/ 510 h 3240"/>
              <a:gd name="T62" fmla="*/ 266 w 2696"/>
              <a:gd name="T63" fmla="*/ 701 h 3240"/>
              <a:gd name="T64" fmla="*/ 349 w 2696"/>
              <a:gd name="T65" fmla="*/ 890 h 3240"/>
              <a:gd name="T66" fmla="*/ 436 w 2696"/>
              <a:gd name="T67" fmla="*/ 1077 h 3240"/>
              <a:gd name="T68" fmla="*/ 527 w 2696"/>
              <a:gd name="T69" fmla="*/ 1262 h 3240"/>
              <a:gd name="T70" fmla="*/ 622 w 2696"/>
              <a:gd name="T71" fmla="*/ 1446 h 3240"/>
              <a:gd name="T72" fmla="*/ 722 w 2696"/>
              <a:gd name="T73" fmla="*/ 1627 h 3240"/>
              <a:gd name="T74" fmla="*/ 826 w 2696"/>
              <a:gd name="T75" fmla="*/ 1807 h 3240"/>
              <a:gd name="T76" fmla="*/ 934 w 2696"/>
              <a:gd name="T77" fmla="*/ 1983 h 3240"/>
              <a:gd name="T78" fmla="*/ 1046 w 2696"/>
              <a:gd name="T79" fmla="*/ 2159 h 3240"/>
              <a:gd name="T80" fmla="*/ 1162 w 2696"/>
              <a:gd name="T81" fmla="*/ 2332 h 3240"/>
              <a:gd name="T82" fmla="*/ 1282 w 2696"/>
              <a:gd name="T83" fmla="*/ 2503 h 3240"/>
              <a:gd name="T84" fmla="*/ 1406 w 2696"/>
              <a:gd name="T85" fmla="*/ 2671 h 3240"/>
              <a:gd name="T86" fmla="*/ 1535 w 2696"/>
              <a:gd name="T87" fmla="*/ 2837 h 3240"/>
              <a:gd name="T88" fmla="*/ 1667 w 2696"/>
              <a:gd name="T89" fmla="*/ 3000 h 3240"/>
              <a:gd name="T90" fmla="*/ 1804 w 2696"/>
              <a:gd name="T91" fmla="*/ 3160 h 3240"/>
              <a:gd name="T92" fmla="*/ 1874 w 2696"/>
              <a:gd name="T93" fmla="*/ 3240 h 3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96" h="3240">
                <a:moveTo>
                  <a:pt x="1874" y="3240"/>
                </a:moveTo>
                <a:lnTo>
                  <a:pt x="2425" y="3240"/>
                </a:lnTo>
                <a:lnTo>
                  <a:pt x="2425" y="3240"/>
                </a:lnTo>
                <a:lnTo>
                  <a:pt x="2398" y="3171"/>
                </a:lnTo>
                <a:lnTo>
                  <a:pt x="2398" y="3171"/>
                </a:lnTo>
                <a:lnTo>
                  <a:pt x="2372" y="3103"/>
                </a:lnTo>
                <a:lnTo>
                  <a:pt x="2347" y="3034"/>
                </a:lnTo>
                <a:lnTo>
                  <a:pt x="2325" y="2966"/>
                </a:lnTo>
                <a:lnTo>
                  <a:pt x="2304" y="2897"/>
                </a:lnTo>
                <a:lnTo>
                  <a:pt x="2283" y="2828"/>
                </a:lnTo>
                <a:lnTo>
                  <a:pt x="2265" y="2759"/>
                </a:lnTo>
                <a:lnTo>
                  <a:pt x="2248" y="2689"/>
                </a:lnTo>
                <a:lnTo>
                  <a:pt x="2233" y="2620"/>
                </a:lnTo>
                <a:lnTo>
                  <a:pt x="2219" y="2550"/>
                </a:lnTo>
                <a:lnTo>
                  <a:pt x="2207" y="2481"/>
                </a:lnTo>
                <a:lnTo>
                  <a:pt x="2196" y="2411"/>
                </a:lnTo>
                <a:lnTo>
                  <a:pt x="2185" y="2342"/>
                </a:lnTo>
                <a:lnTo>
                  <a:pt x="2178" y="2273"/>
                </a:lnTo>
                <a:lnTo>
                  <a:pt x="2170" y="2203"/>
                </a:lnTo>
                <a:lnTo>
                  <a:pt x="2164" y="2133"/>
                </a:lnTo>
                <a:lnTo>
                  <a:pt x="2161" y="2063"/>
                </a:lnTo>
                <a:lnTo>
                  <a:pt x="2157" y="1995"/>
                </a:lnTo>
                <a:lnTo>
                  <a:pt x="2156" y="1925"/>
                </a:lnTo>
                <a:lnTo>
                  <a:pt x="2156" y="1856"/>
                </a:lnTo>
                <a:lnTo>
                  <a:pt x="2157" y="1787"/>
                </a:lnTo>
                <a:lnTo>
                  <a:pt x="2160" y="1718"/>
                </a:lnTo>
                <a:lnTo>
                  <a:pt x="2164" y="1649"/>
                </a:lnTo>
                <a:lnTo>
                  <a:pt x="2170" y="1581"/>
                </a:lnTo>
                <a:lnTo>
                  <a:pt x="2175" y="1513"/>
                </a:lnTo>
                <a:lnTo>
                  <a:pt x="2183" y="1445"/>
                </a:lnTo>
                <a:lnTo>
                  <a:pt x="2193" y="1377"/>
                </a:lnTo>
                <a:lnTo>
                  <a:pt x="2203" y="1310"/>
                </a:lnTo>
                <a:lnTo>
                  <a:pt x="2215" y="1242"/>
                </a:lnTo>
                <a:lnTo>
                  <a:pt x="2228" y="1175"/>
                </a:lnTo>
                <a:lnTo>
                  <a:pt x="2243" y="1108"/>
                </a:lnTo>
                <a:lnTo>
                  <a:pt x="2259" y="1042"/>
                </a:lnTo>
                <a:lnTo>
                  <a:pt x="2274" y="977"/>
                </a:lnTo>
                <a:lnTo>
                  <a:pt x="2274" y="977"/>
                </a:lnTo>
                <a:lnTo>
                  <a:pt x="2293" y="910"/>
                </a:lnTo>
                <a:lnTo>
                  <a:pt x="2313" y="845"/>
                </a:lnTo>
                <a:lnTo>
                  <a:pt x="2333" y="780"/>
                </a:lnTo>
                <a:lnTo>
                  <a:pt x="2354" y="716"/>
                </a:lnTo>
                <a:lnTo>
                  <a:pt x="2377" y="653"/>
                </a:lnTo>
                <a:lnTo>
                  <a:pt x="2400" y="590"/>
                </a:lnTo>
                <a:lnTo>
                  <a:pt x="2426" y="528"/>
                </a:lnTo>
                <a:lnTo>
                  <a:pt x="2452" y="466"/>
                </a:lnTo>
                <a:lnTo>
                  <a:pt x="2479" y="405"/>
                </a:lnTo>
                <a:lnTo>
                  <a:pt x="2507" y="345"/>
                </a:lnTo>
                <a:lnTo>
                  <a:pt x="2536" y="286"/>
                </a:lnTo>
                <a:lnTo>
                  <a:pt x="2566" y="227"/>
                </a:lnTo>
                <a:lnTo>
                  <a:pt x="2597" y="169"/>
                </a:lnTo>
                <a:lnTo>
                  <a:pt x="2630" y="113"/>
                </a:lnTo>
                <a:lnTo>
                  <a:pt x="2662" y="55"/>
                </a:lnTo>
                <a:lnTo>
                  <a:pt x="2696" y="0"/>
                </a:lnTo>
                <a:lnTo>
                  <a:pt x="0" y="0"/>
                </a:lnTo>
                <a:lnTo>
                  <a:pt x="0" y="0"/>
                </a:lnTo>
                <a:lnTo>
                  <a:pt x="35" y="104"/>
                </a:lnTo>
                <a:lnTo>
                  <a:pt x="72" y="207"/>
                </a:lnTo>
                <a:lnTo>
                  <a:pt x="111" y="311"/>
                </a:lnTo>
                <a:lnTo>
                  <a:pt x="150" y="414"/>
                </a:lnTo>
                <a:lnTo>
                  <a:pt x="150" y="414"/>
                </a:lnTo>
                <a:lnTo>
                  <a:pt x="187" y="510"/>
                </a:lnTo>
                <a:lnTo>
                  <a:pt x="226" y="605"/>
                </a:lnTo>
                <a:lnTo>
                  <a:pt x="266" y="701"/>
                </a:lnTo>
                <a:lnTo>
                  <a:pt x="306" y="795"/>
                </a:lnTo>
                <a:lnTo>
                  <a:pt x="349" y="890"/>
                </a:lnTo>
                <a:lnTo>
                  <a:pt x="392" y="983"/>
                </a:lnTo>
                <a:lnTo>
                  <a:pt x="436" y="1077"/>
                </a:lnTo>
                <a:lnTo>
                  <a:pt x="481" y="1169"/>
                </a:lnTo>
                <a:lnTo>
                  <a:pt x="527" y="1262"/>
                </a:lnTo>
                <a:lnTo>
                  <a:pt x="574" y="1353"/>
                </a:lnTo>
                <a:lnTo>
                  <a:pt x="622" y="1446"/>
                </a:lnTo>
                <a:lnTo>
                  <a:pt x="672" y="1537"/>
                </a:lnTo>
                <a:lnTo>
                  <a:pt x="722" y="1627"/>
                </a:lnTo>
                <a:lnTo>
                  <a:pt x="773" y="1717"/>
                </a:lnTo>
                <a:lnTo>
                  <a:pt x="826" y="1807"/>
                </a:lnTo>
                <a:lnTo>
                  <a:pt x="879" y="1896"/>
                </a:lnTo>
                <a:lnTo>
                  <a:pt x="934" y="1983"/>
                </a:lnTo>
                <a:lnTo>
                  <a:pt x="989" y="2072"/>
                </a:lnTo>
                <a:lnTo>
                  <a:pt x="1046" y="2159"/>
                </a:lnTo>
                <a:lnTo>
                  <a:pt x="1104" y="2246"/>
                </a:lnTo>
                <a:lnTo>
                  <a:pt x="1162" y="2332"/>
                </a:lnTo>
                <a:lnTo>
                  <a:pt x="1222" y="2418"/>
                </a:lnTo>
                <a:lnTo>
                  <a:pt x="1282" y="2503"/>
                </a:lnTo>
                <a:lnTo>
                  <a:pt x="1344" y="2588"/>
                </a:lnTo>
                <a:lnTo>
                  <a:pt x="1406" y="2671"/>
                </a:lnTo>
                <a:lnTo>
                  <a:pt x="1470" y="2754"/>
                </a:lnTo>
                <a:lnTo>
                  <a:pt x="1535" y="2837"/>
                </a:lnTo>
                <a:lnTo>
                  <a:pt x="1601" y="2918"/>
                </a:lnTo>
                <a:lnTo>
                  <a:pt x="1667" y="3000"/>
                </a:lnTo>
                <a:lnTo>
                  <a:pt x="1736" y="3080"/>
                </a:lnTo>
                <a:lnTo>
                  <a:pt x="1804" y="3160"/>
                </a:lnTo>
                <a:lnTo>
                  <a:pt x="1874" y="3240"/>
                </a:lnTo>
                <a:lnTo>
                  <a:pt x="1874" y="3240"/>
                </a:lnTo>
                <a:close/>
              </a:path>
            </a:pathLst>
          </a:custGeom>
          <a:solidFill>
            <a:srgbClr val="EA006F"/>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10" name="Otsikko 1"/>
          <p:cNvSpPr>
            <a:spLocks noGrp="1"/>
          </p:cNvSpPr>
          <p:nvPr userDrawn="1">
            <p:ph type="ctrTitle"/>
          </p:nvPr>
        </p:nvSpPr>
        <p:spPr>
          <a:xfrm>
            <a:off x="366652" y="411510"/>
            <a:ext cx="3485269" cy="2967062"/>
          </a:xfrm>
        </p:spPr>
        <p:txBody>
          <a:bodyPr anchor="b" anchorCtr="0">
            <a:noAutofit/>
          </a:bodyPr>
          <a:lstStyle>
            <a:lvl1pPr algn="l">
              <a:defRPr sz="4000">
                <a:solidFill>
                  <a:schemeClr val="accent4"/>
                </a:solidFill>
              </a:defRPr>
            </a:lvl1pPr>
          </a:lstStyle>
          <a:p>
            <a:r>
              <a:rPr lang="en-US" dirty="0"/>
              <a:t>Click to edit Master title style</a:t>
            </a:r>
            <a:endParaRPr lang="fi-FI" dirty="0"/>
          </a:p>
        </p:txBody>
      </p:sp>
      <p:sp>
        <p:nvSpPr>
          <p:cNvPr id="11" name="Alaotsikko 2"/>
          <p:cNvSpPr>
            <a:spLocks noGrp="1"/>
          </p:cNvSpPr>
          <p:nvPr userDrawn="1">
            <p:ph type="subTitle" idx="1"/>
          </p:nvPr>
        </p:nvSpPr>
        <p:spPr>
          <a:xfrm>
            <a:off x="366652" y="3507854"/>
            <a:ext cx="3485270" cy="1512168"/>
          </a:xfrm>
        </p:spPr>
        <p:txBody>
          <a:bodyPr>
            <a:normAutofit/>
          </a:bodyPr>
          <a:lstStyle>
            <a:lvl1pPr marL="0" indent="0" algn="l">
              <a:spcBef>
                <a:spcPts val="0"/>
              </a:spcBef>
              <a:buNone/>
              <a:defRPr sz="1800">
                <a:solidFill>
                  <a:srgbClr val="595965"/>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endParaRPr lang="fi-FI" dirty="0"/>
          </a:p>
        </p:txBody>
      </p:sp>
      <p:sp>
        <p:nvSpPr>
          <p:cNvPr id="32" name="Freeform 30"/>
          <p:cNvSpPr>
            <a:spLocks/>
          </p:cNvSpPr>
          <p:nvPr userDrawn="1"/>
        </p:nvSpPr>
        <p:spPr bwMode="auto">
          <a:xfrm>
            <a:off x="7331075" y="1931691"/>
            <a:ext cx="371475" cy="98425"/>
          </a:xfrm>
          <a:custGeom>
            <a:avLst/>
            <a:gdLst>
              <a:gd name="T0" fmla="*/ 87 w 2807"/>
              <a:gd name="T1" fmla="*/ 343 h 743"/>
              <a:gd name="T2" fmla="*/ 203 w 2807"/>
              <a:gd name="T3" fmla="*/ 417 h 743"/>
              <a:gd name="T4" fmla="*/ 319 w 2807"/>
              <a:gd name="T5" fmla="*/ 479 h 743"/>
              <a:gd name="T6" fmla="*/ 430 w 2807"/>
              <a:gd name="T7" fmla="*/ 529 h 743"/>
              <a:gd name="T8" fmla="*/ 603 w 2807"/>
              <a:gd name="T9" fmla="*/ 595 h 743"/>
              <a:gd name="T10" fmla="*/ 724 w 2807"/>
              <a:gd name="T11" fmla="*/ 633 h 743"/>
              <a:gd name="T12" fmla="*/ 857 w 2807"/>
              <a:gd name="T13" fmla="*/ 666 h 743"/>
              <a:gd name="T14" fmla="*/ 1001 w 2807"/>
              <a:gd name="T15" fmla="*/ 696 h 743"/>
              <a:gd name="T16" fmla="*/ 1157 w 2807"/>
              <a:gd name="T17" fmla="*/ 719 h 743"/>
              <a:gd name="T18" fmla="*/ 1324 w 2807"/>
              <a:gd name="T19" fmla="*/ 736 h 743"/>
              <a:gd name="T20" fmla="*/ 1502 w 2807"/>
              <a:gd name="T21" fmla="*/ 743 h 743"/>
              <a:gd name="T22" fmla="*/ 1689 w 2807"/>
              <a:gd name="T23" fmla="*/ 738 h 743"/>
              <a:gd name="T24" fmla="*/ 1819 w 2807"/>
              <a:gd name="T25" fmla="*/ 729 h 743"/>
              <a:gd name="T26" fmla="*/ 1999 w 2807"/>
              <a:gd name="T27" fmla="*/ 706 h 743"/>
              <a:gd name="T28" fmla="*/ 2159 w 2807"/>
              <a:gd name="T29" fmla="*/ 678 h 743"/>
              <a:gd name="T30" fmla="*/ 2302 w 2807"/>
              <a:gd name="T31" fmla="*/ 643 h 743"/>
              <a:gd name="T32" fmla="*/ 2426 w 2807"/>
              <a:gd name="T33" fmla="*/ 605 h 743"/>
              <a:gd name="T34" fmla="*/ 2533 w 2807"/>
              <a:gd name="T35" fmla="*/ 566 h 743"/>
              <a:gd name="T36" fmla="*/ 2672 w 2807"/>
              <a:gd name="T37" fmla="*/ 505 h 743"/>
              <a:gd name="T38" fmla="*/ 2773 w 2807"/>
              <a:gd name="T39" fmla="*/ 449 h 743"/>
              <a:gd name="T40" fmla="*/ 2807 w 2807"/>
              <a:gd name="T41" fmla="*/ 426 h 743"/>
              <a:gd name="T42" fmla="*/ 2745 w 2807"/>
              <a:gd name="T43" fmla="*/ 402 h 743"/>
              <a:gd name="T44" fmla="*/ 2688 w 2807"/>
              <a:gd name="T45" fmla="*/ 372 h 743"/>
              <a:gd name="T46" fmla="*/ 2586 w 2807"/>
              <a:gd name="T47" fmla="*/ 303 h 743"/>
              <a:gd name="T48" fmla="*/ 2529 w 2807"/>
              <a:gd name="T49" fmla="*/ 256 h 743"/>
              <a:gd name="T50" fmla="*/ 2518 w 2807"/>
              <a:gd name="T51" fmla="*/ 294 h 743"/>
              <a:gd name="T52" fmla="*/ 2507 w 2807"/>
              <a:gd name="T53" fmla="*/ 381 h 743"/>
              <a:gd name="T54" fmla="*/ 2499 w 2807"/>
              <a:gd name="T55" fmla="*/ 413 h 743"/>
              <a:gd name="T56" fmla="*/ 2443 w 2807"/>
              <a:gd name="T57" fmla="*/ 391 h 743"/>
              <a:gd name="T58" fmla="*/ 2423 w 2807"/>
              <a:gd name="T59" fmla="*/ 381 h 743"/>
              <a:gd name="T60" fmla="*/ 2392 w 2807"/>
              <a:gd name="T61" fmla="*/ 357 h 743"/>
              <a:gd name="T62" fmla="*/ 2361 w 2807"/>
              <a:gd name="T63" fmla="*/ 324 h 743"/>
              <a:gd name="T64" fmla="*/ 2334 w 2807"/>
              <a:gd name="T65" fmla="*/ 283 h 743"/>
              <a:gd name="T66" fmla="*/ 2316 w 2807"/>
              <a:gd name="T67" fmla="*/ 235 h 743"/>
              <a:gd name="T68" fmla="*/ 2310 w 2807"/>
              <a:gd name="T69" fmla="*/ 199 h 743"/>
              <a:gd name="T70" fmla="*/ 2252 w 2807"/>
              <a:gd name="T71" fmla="*/ 195 h 743"/>
              <a:gd name="T72" fmla="*/ 2110 w 2807"/>
              <a:gd name="T73" fmla="*/ 243 h 743"/>
              <a:gd name="T74" fmla="*/ 1984 w 2807"/>
              <a:gd name="T75" fmla="*/ 277 h 743"/>
              <a:gd name="T76" fmla="*/ 1843 w 2807"/>
              <a:gd name="T77" fmla="*/ 303 h 743"/>
              <a:gd name="T78" fmla="*/ 1697 w 2807"/>
              <a:gd name="T79" fmla="*/ 319 h 743"/>
              <a:gd name="T80" fmla="*/ 1558 w 2807"/>
              <a:gd name="T81" fmla="*/ 322 h 743"/>
              <a:gd name="T82" fmla="*/ 1293 w 2807"/>
              <a:gd name="T83" fmla="*/ 312 h 743"/>
              <a:gd name="T84" fmla="*/ 1030 w 2807"/>
              <a:gd name="T85" fmla="*/ 282 h 743"/>
              <a:gd name="T86" fmla="*/ 855 w 2807"/>
              <a:gd name="T87" fmla="*/ 251 h 743"/>
              <a:gd name="T88" fmla="*/ 725 w 2807"/>
              <a:gd name="T89" fmla="*/ 221 h 743"/>
              <a:gd name="T90" fmla="*/ 594 w 2807"/>
              <a:gd name="T91" fmla="*/ 185 h 743"/>
              <a:gd name="T92" fmla="*/ 465 w 2807"/>
              <a:gd name="T93" fmla="*/ 143 h 743"/>
              <a:gd name="T94" fmla="*/ 336 w 2807"/>
              <a:gd name="T95" fmla="*/ 94 h 743"/>
              <a:gd name="T96" fmla="*/ 251 w 2807"/>
              <a:gd name="T97" fmla="*/ 58 h 743"/>
              <a:gd name="T98" fmla="*/ 122 w 2807"/>
              <a:gd name="T99" fmla="*/ 0 h 743"/>
              <a:gd name="T100" fmla="*/ 119 w 2807"/>
              <a:gd name="T101" fmla="*/ 19 h 743"/>
              <a:gd name="T102" fmla="*/ 121 w 2807"/>
              <a:gd name="T103" fmla="*/ 51 h 743"/>
              <a:gd name="T104" fmla="*/ 136 w 2807"/>
              <a:gd name="T105" fmla="*/ 96 h 743"/>
              <a:gd name="T106" fmla="*/ 171 w 2807"/>
              <a:gd name="T107" fmla="*/ 156 h 743"/>
              <a:gd name="T108" fmla="*/ 207 w 2807"/>
              <a:gd name="T109" fmla="*/ 204 h 743"/>
              <a:gd name="T110" fmla="*/ 151 w 2807"/>
              <a:gd name="T111" fmla="*/ 199 h 743"/>
              <a:gd name="T112" fmla="*/ 98 w 2807"/>
              <a:gd name="T113" fmla="*/ 204 h 743"/>
              <a:gd name="T114" fmla="*/ 69 w 2807"/>
              <a:gd name="T115" fmla="*/ 215 h 743"/>
              <a:gd name="T116" fmla="*/ 32 w 2807"/>
              <a:gd name="T117" fmla="*/ 244 h 743"/>
              <a:gd name="T118" fmla="*/ 7 w 2807"/>
              <a:gd name="T119" fmla="*/ 272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07" h="743">
                <a:moveTo>
                  <a:pt x="0" y="284"/>
                </a:moveTo>
                <a:lnTo>
                  <a:pt x="0" y="284"/>
                </a:lnTo>
                <a:lnTo>
                  <a:pt x="87" y="343"/>
                </a:lnTo>
                <a:lnTo>
                  <a:pt x="127" y="369"/>
                </a:lnTo>
                <a:lnTo>
                  <a:pt x="166" y="394"/>
                </a:lnTo>
                <a:lnTo>
                  <a:pt x="203" y="417"/>
                </a:lnTo>
                <a:lnTo>
                  <a:pt x="241" y="438"/>
                </a:lnTo>
                <a:lnTo>
                  <a:pt x="280" y="460"/>
                </a:lnTo>
                <a:lnTo>
                  <a:pt x="319" y="479"/>
                </a:lnTo>
                <a:lnTo>
                  <a:pt x="319" y="479"/>
                </a:lnTo>
                <a:lnTo>
                  <a:pt x="372" y="504"/>
                </a:lnTo>
                <a:lnTo>
                  <a:pt x="430" y="529"/>
                </a:lnTo>
                <a:lnTo>
                  <a:pt x="495" y="556"/>
                </a:lnTo>
                <a:lnTo>
                  <a:pt x="565" y="581"/>
                </a:lnTo>
                <a:lnTo>
                  <a:pt x="603" y="595"/>
                </a:lnTo>
                <a:lnTo>
                  <a:pt x="642" y="607"/>
                </a:lnTo>
                <a:lnTo>
                  <a:pt x="682" y="620"/>
                </a:lnTo>
                <a:lnTo>
                  <a:pt x="724" y="633"/>
                </a:lnTo>
                <a:lnTo>
                  <a:pt x="767" y="644"/>
                </a:lnTo>
                <a:lnTo>
                  <a:pt x="811" y="655"/>
                </a:lnTo>
                <a:lnTo>
                  <a:pt x="857" y="666"/>
                </a:lnTo>
                <a:lnTo>
                  <a:pt x="903" y="677"/>
                </a:lnTo>
                <a:lnTo>
                  <a:pt x="952" y="687"/>
                </a:lnTo>
                <a:lnTo>
                  <a:pt x="1001" y="696"/>
                </a:lnTo>
                <a:lnTo>
                  <a:pt x="1052" y="705"/>
                </a:lnTo>
                <a:lnTo>
                  <a:pt x="1104" y="713"/>
                </a:lnTo>
                <a:lnTo>
                  <a:pt x="1157" y="719"/>
                </a:lnTo>
                <a:lnTo>
                  <a:pt x="1212" y="727"/>
                </a:lnTo>
                <a:lnTo>
                  <a:pt x="1267" y="732"/>
                </a:lnTo>
                <a:lnTo>
                  <a:pt x="1324" y="736"/>
                </a:lnTo>
                <a:lnTo>
                  <a:pt x="1382" y="739"/>
                </a:lnTo>
                <a:lnTo>
                  <a:pt x="1442" y="741"/>
                </a:lnTo>
                <a:lnTo>
                  <a:pt x="1502" y="743"/>
                </a:lnTo>
                <a:lnTo>
                  <a:pt x="1563" y="742"/>
                </a:lnTo>
                <a:lnTo>
                  <a:pt x="1626" y="741"/>
                </a:lnTo>
                <a:lnTo>
                  <a:pt x="1689" y="738"/>
                </a:lnTo>
                <a:lnTo>
                  <a:pt x="1754" y="734"/>
                </a:lnTo>
                <a:lnTo>
                  <a:pt x="1819" y="729"/>
                </a:lnTo>
                <a:lnTo>
                  <a:pt x="1819" y="729"/>
                </a:lnTo>
                <a:lnTo>
                  <a:pt x="1881" y="723"/>
                </a:lnTo>
                <a:lnTo>
                  <a:pt x="1941" y="714"/>
                </a:lnTo>
                <a:lnTo>
                  <a:pt x="1999" y="706"/>
                </a:lnTo>
                <a:lnTo>
                  <a:pt x="2054" y="697"/>
                </a:lnTo>
                <a:lnTo>
                  <a:pt x="2108" y="688"/>
                </a:lnTo>
                <a:lnTo>
                  <a:pt x="2159" y="678"/>
                </a:lnTo>
                <a:lnTo>
                  <a:pt x="2209" y="666"/>
                </a:lnTo>
                <a:lnTo>
                  <a:pt x="2257" y="655"/>
                </a:lnTo>
                <a:lnTo>
                  <a:pt x="2302" y="643"/>
                </a:lnTo>
                <a:lnTo>
                  <a:pt x="2346" y="631"/>
                </a:lnTo>
                <a:lnTo>
                  <a:pt x="2387" y="618"/>
                </a:lnTo>
                <a:lnTo>
                  <a:pt x="2426" y="605"/>
                </a:lnTo>
                <a:lnTo>
                  <a:pt x="2464" y="593"/>
                </a:lnTo>
                <a:lnTo>
                  <a:pt x="2500" y="579"/>
                </a:lnTo>
                <a:lnTo>
                  <a:pt x="2533" y="566"/>
                </a:lnTo>
                <a:lnTo>
                  <a:pt x="2564" y="554"/>
                </a:lnTo>
                <a:lnTo>
                  <a:pt x="2622" y="528"/>
                </a:lnTo>
                <a:lnTo>
                  <a:pt x="2672" y="505"/>
                </a:lnTo>
                <a:lnTo>
                  <a:pt x="2713" y="483"/>
                </a:lnTo>
                <a:lnTo>
                  <a:pt x="2747" y="465"/>
                </a:lnTo>
                <a:lnTo>
                  <a:pt x="2773" y="449"/>
                </a:lnTo>
                <a:lnTo>
                  <a:pt x="2792" y="436"/>
                </a:lnTo>
                <a:lnTo>
                  <a:pt x="2807" y="426"/>
                </a:lnTo>
                <a:lnTo>
                  <a:pt x="2807" y="426"/>
                </a:lnTo>
                <a:lnTo>
                  <a:pt x="2786" y="419"/>
                </a:lnTo>
                <a:lnTo>
                  <a:pt x="2766" y="410"/>
                </a:lnTo>
                <a:lnTo>
                  <a:pt x="2745" y="402"/>
                </a:lnTo>
                <a:lnTo>
                  <a:pt x="2726" y="391"/>
                </a:lnTo>
                <a:lnTo>
                  <a:pt x="2706" y="382"/>
                </a:lnTo>
                <a:lnTo>
                  <a:pt x="2688" y="372"/>
                </a:lnTo>
                <a:lnTo>
                  <a:pt x="2651" y="349"/>
                </a:lnTo>
                <a:lnTo>
                  <a:pt x="2618" y="327"/>
                </a:lnTo>
                <a:lnTo>
                  <a:pt x="2586" y="303"/>
                </a:lnTo>
                <a:lnTo>
                  <a:pt x="2556" y="280"/>
                </a:lnTo>
                <a:lnTo>
                  <a:pt x="2529" y="256"/>
                </a:lnTo>
                <a:lnTo>
                  <a:pt x="2529" y="256"/>
                </a:lnTo>
                <a:lnTo>
                  <a:pt x="2524" y="266"/>
                </a:lnTo>
                <a:lnTo>
                  <a:pt x="2521" y="279"/>
                </a:lnTo>
                <a:lnTo>
                  <a:pt x="2518" y="294"/>
                </a:lnTo>
                <a:lnTo>
                  <a:pt x="2515" y="312"/>
                </a:lnTo>
                <a:lnTo>
                  <a:pt x="2515" y="312"/>
                </a:lnTo>
                <a:lnTo>
                  <a:pt x="2507" y="381"/>
                </a:lnTo>
                <a:lnTo>
                  <a:pt x="2503" y="414"/>
                </a:lnTo>
                <a:lnTo>
                  <a:pt x="2503" y="414"/>
                </a:lnTo>
                <a:lnTo>
                  <a:pt x="2499" y="413"/>
                </a:lnTo>
                <a:lnTo>
                  <a:pt x="2489" y="410"/>
                </a:lnTo>
                <a:lnTo>
                  <a:pt x="2470" y="403"/>
                </a:lnTo>
                <a:lnTo>
                  <a:pt x="2443" y="391"/>
                </a:lnTo>
                <a:lnTo>
                  <a:pt x="2443" y="391"/>
                </a:lnTo>
                <a:lnTo>
                  <a:pt x="2433" y="387"/>
                </a:lnTo>
                <a:lnTo>
                  <a:pt x="2423" y="381"/>
                </a:lnTo>
                <a:lnTo>
                  <a:pt x="2413" y="374"/>
                </a:lnTo>
                <a:lnTo>
                  <a:pt x="2403" y="366"/>
                </a:lnTo>
                <a:lnTo>
                  <a:pt x="2392" y="357"/>
                </a:lnTo>
                <a:lnTo>
                  <a:pt x="2381" y="347"/>
                </a:lnTo>
                <a:lnTo>
                  <a:pt x="2371" y="336"/>
                </a:lnTo>
                <a:lnTo>
                  <a:pt x="2361" y="324"/>
                </a:lnTo>
                <a:lnTo>
                  <a:pt x="2351" y="312"/>
                </a:lnTo>
                <a:lnTo>
                  <a:pt x="2342" y="297"/>
                </a:lnTo>
                <a:lnTo>
                  <a:pt x="2334" y="283"/>
                </a:lnTo>
                <a:lnTo>
                  <a:pt x="2326" y="268"/>
                </a:lnTo>
                <a:lnTo>
                  <a:pt x="2320" y="251"/>
                </a:lnTo>
                <a:lnTo>
                  <a:pt x="2316" y="235"/>
                </a:lnTo>
                <a:lnTo>
                  <a:pt x="2312" y="216"/>
                </a:lnTo>
                <a:lnTo>
                  <a:pt x="2310" y="199"/>
                </a:lnTo>
                <a:lnTo>
                  <a:pt x="2310" y="199"/>
                </a:lnTo>
                <a:lnTo>
                  <a:pt x="2309" y="174"/>
                </a:lnTo>
                <a:lnTo>
                  <a:pt x="2309" y="174"/>
                </a:lnTo>
                <a:lnTo>
                  <a:pt x="2252" y="195"/>
                </a:lnTo>
                <a:lnTo>
                  <a:pt x="2186" y="218"/>
                </a:lnTo>
                <a:lnTo>
                  <a:pt x="2149" y="231"/>
                </a:lnTo>
                <a:lnTo>
                  <a:pt x="2110" y="243"/>
                </a:lnTo>
                <a:lnTo>
                  <a:pt x="2069" y="254"/>
                </a:lnTo>
                <a:lnTo>
                  <a:pt x="2028" y="266"/>
                </a:lnTo>
                <a:lnTo>
                  <a:pt x="1984" y="277"/>
                </a:lnTo>
                <a:lnTo>
                  <a:pt x="1938" y="286"/>
                </a:lnTo>
                <a:lnTo>
                  <a:pt x="1892" y="295"/>
                </a:lnTo>
                <a:lnTo>
                  <a:pt x="1843" y="303"/>
                </a:lnTo>
                <a:lnTo>
                  <a:pt x="1795" y="311"/>
                </a:lnTo>
                <a:lnTo>
                  <a:pt x="1746" y="316"/>
                </a:lnTo>
                <a:lnTo>
                  <a:pt x="1697" y="319"/>
                </a:lnTo>
                <a:lnTo>
                  <a:pt x="1647" y="321"/>
                </a:lnTo>
                <a:lnTo>
                  <a:pt x="1647" y="321"/>
                </a:lnTo>
                <a:lnTo>
                  <a:pt x="1558" y="322"/>
                </a:lnTo>
                <a:lnTo>
                  <a:pt x="1470" y="321"/>
                </a:lnTo>
                <a:lnTo>
                  <a:pt x="1382" y="317"/>
                </a:lnTo>
                <a:lnTo>
                  <a:pt x="1293" y="312"/>
                </a:lnTo>
                <a:lnTo>
                  <a:pt x="1205" y="304"/>
                </a:lnTo>
                <a:lnTo>
                  <a:pt x="1118" y="294"/>
                </a:lnTo>
                <a:lnTo>
                  <a:pt x="1030" y="282"/>
                </a:lnTo>
                <a:lnTo>
                  <a:pt x="943" y="268"/>
                </a:lnTo>
                <a:lnTo>
                  <a:pt x="899" y="259"/>
                </a:lnTo>
                <a:lnTo>
                  <a:pt x="855" y="251"/>
                </a:lnTo>
                <a:lnTo>
                  <a:pt x="812" y="241"/>
                </a:lnTo>
                <a:lnTo>
                  <a:pt x="768" y="231"/>
                </a:lnTo>
                <a:lnTo>
                  <a:pt x="725" y="221"/>
                </a:lnTo>
                <a:lnTo>
                  <a:pt x="681" y="209"/>
                </a:lnTo>
                <a:lnTo>
                  <a:pt x="638" y="197"/>
                </a:lnTo>
                <a:lnTo>
                  <a:pt x="594" y="185"/>
                </a:lnTo>
                <a:lnTo>
                  <a:pt x="551" y="171"/>
                </a:lnTo>
                <a:lnTo>
                  <a:pt x="508" y="157"/>
                </a:lnTo>
                <a:lnTo>
                  <a:pt x="465" y="143"/>
                </a:lnTo>
                <a:lnTo>
                  <a:pt x="422" y="127"/>
                </a:lnTo>
                <a:lnTo>
                  <a:pt x="379" y="111"/>
                </a:lnTo>
                <a:lnTo>
                  <a:pt x="336" y="94"/>
                </a:lnTo>
                <a:lnTo>
                  <a:pt x="294" y="76"/>
                </a:lnTo>
                <a:lnTo>
                  <a:pt x="251" y="58"/>
                </a:lnTo>
                <a:lnTo>
                  <a:pt x="251" y="58"/>
                </a:lnTo>
                <a:lnTo>
                  <a:pt x="165" y="19"/>
                </a:lnTo>
                <a:lnTo>
                  <a:pt x="122" y="0"/>
                </a:lnTo>
                <a:lnTo>
                  <a:pt x="122" y="0"/>
                </a:lnTo>
                <a:lnTo>
                  <a:pt x="121" y="3"/>
                </a:lnTo>
                <a:lnTo>
                  <a:pt x="119" y="12"/>
                </a:lnTo>
                <a:lnTo>
                  <a:pt x="119" y="19"/>
                </a:lnTo>
                <a:lnTo>
                  <a:pt x="119" y="28"/>
                </a:lnTo>
                <a:lnTo>
                  <a:pt x="119" y="39"/>
                </a:lnTo>
                <a:lnTo>
                  <a:pt x="121" y="51"/>
                </a:lnTo>
                <a:lnTo>
                  <a:pt x="125" y="64"/>
                </a:lnTo>
                <a:lnTo>
                  <a:pt x="129" y="79"/>
                </a:lnTo>
                <a:lnTo>
                  <a:pt x="136" y="96"/>
                </a:lnTo>
                <a:lnTo>
                  <a:pt x="145" y="114"/>
                </a:lnTo>
                <a:lnTo>
                  <a:pt x="156" y="135"/>
                </a:lnTo>
                <a:lnTo>
                  <a:pt x="171" y="156"/>
                </a:lnTo>
                <a:lnTo>
                  <a:pt x="187" y="180"/>
                </a:lnTo>
                <a:lnTo>
                  <a:pt x="207" y="204"/>
                </a:lnTo>
                <a:lnTo>
                  <a:pt x="207" y="204"/>
                </a:lnTo>
                <a:lnTo>
                  <a:pt x="189" y="201"/>
                </a:lnTo>
                <a:lnTo>
                  <a:pt x="170" y="199"/>
                </a:lnTo>
                <a:lnTo>
                  <a:pt x="151" y="199"/>
                </a:lnTo>
                <a:lnTo>
                  <a:pt x="132" y="199"/>
                </a:lnTo>
                <a:lnTo>
                  <a:pt x="114" y="201"/>
                </a:lnTo>
                <a:lnTo>
                  <a:pt x="98" y="204"/>
                </a:lnTo>
                <a:lnTo>
                  <a:pt x="83" y="209"/>
                </a:lnTo>
                <a:lnTo>
                  <a:pt x="69" y="215"/>
                </a:lnTo>
                <a:lnTo>
                  <a:pt x="69" y="215"/>
                </a:lnTo>
                <a:lnTo>
                  <a:pt x="55" y="224"/>
                </a:lnTo>
                <a:lnTo>
                  <a:pt x="42" y="234"/>
                </a:lnTo>
                <a:lnTo>
                  <a:pt x="32" y="244"/>
                </a:lnTo>
                <a:lnTo>
                  <a:pt x="21" y="253"/>
                </a:lnTo>
                <a:lnTo>
                  <a:pt x="13" y="262"/>
                </a:lnTo>
                <a:lnTo>
                  <a:pt x="7" y="272"/>
                </a:lnTo>
                <a:lnTo>
                  <a:pt x="0" y="28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3" name="Freeform 31"/>
          <p:cNvSpPr>
            <a:spLocks/>
          </p:cNvSpPr>
          <p:nvPr userDrawn="1"/>
        </p:nvSpPr>
        <p:spPr bwMode="auto">
          <a:xfrm>
            <a:off x="7248526" y="1618954"/>
            <a:ext cx="377825" cy="271463"/>
          </a:xfrm>
          <a:custGeom>
            <a:avLst/>
            <a:gdLst>
              <a:gd name="T0" fmla="*/ 2491 w 2863"/>
              <a:gd name="T1" fmla="*/ 103 h 2054"/>
              <a:gd name="T2" fmla="*/ 2575 w 2863"/>
              <a:gd name="T3" fmla="*/ 23 h 2054"/>
              <a:gd name="T4" fmla="*/ 2196 w 2863"/>
              <a:gd name="T5" fmla="*/ 132 h 2054"/>
              <a:gd name="T6" fmla="*/ 1671 w 2863"/>
              <a:gd name="T7" fmla="*/ 429 h 2054"/>
              <a:gd name="T8" fmla="*/ 1528 w 2863"/>
              <a:gd name="T9" fmla="*/ 462 h 2054"/>
              <a:gd name="T10" fmla="*/ 1416 w 2863"/>
              <a:gd name="T11" fmla="*/ 568 h 2054"/>
              <a:gd name="T12" fmla="*/ 1409 w 2863"/>
              <a:gd name="T13" fmla="*/ 634 h 2054"/>
              <a:gd name="T14" fmla="*/ 1479 w 2863"/>
              <a:gd name="T15" fmla="*/ 748 h 2054"/>
              <a:gd name="T16" fmla="*/ 1586 w 2863"/>
              <a:gd name="T17" fmla="*/ 787 h 2054"/>
              <a:gd name="T18" fmla="*/ 1476 w 2863"/>
              <a:gd name="T19" fmla="*/ 974 h 2054"/>
              <a:gd name="T20" fmla="*/ 1133 w 2863"/>
              <a:gd name="T21" fmla="*/ 1199 h 2054"/>
              <a:gd name="T22" fmla="*/ 799 w 2863"/>
              <a:gd name="T23" fmla="*/ 1254 h 2054"/>
              <a:gd name="T24" fmla="*/ 634 w 2863"/>
              <a:gd name="T25" fmla="*/ 1102 h 2054"/>
              <a:gd name="T26" fmla="*/ 539 w 2863"/>
              <a:gd name="T27" fmla="*/ 1015 h 2054"/>
              <a:gd name="T28" fmla="*/ 406 w 2863"/>
              <a:gd name="T29" fmla="*/ 1023 h 2054"/>
              <a:gd name="T30" fmla="*/ 231 w 2863"/>
              <a:gd name="T31" fmla="*/ 1090 h 2054"/>
              <a:gd name="T32" fmla="*/ 382 w 2863"/>
              <a:gd name="T33" fmla="*/ 1121 h 2054"/>
              <a:gd name="T34" fmla="*/ 351 w 2863"/>
              <a:gd name="T35" fmla="*/ 1168 h 2054"/>
              <a:gd name="T36" fmla="*/ 418 w 2863"/>
              <a:gd name="T37" fmla="*/ 1270 h 2054"/>
              <a:gd name="T38" fmla="*/ 608 w 2863"/>
              <a:gd name="T39" fmla="*/ 1387 h 2054"/>
              <a:gd name="T40" fmla="*/ 314 w 2863"/>
              <a:gd name="T41" fmla="*/ 1296 h 2054"/>
              <a:gd name="T42" fmla="*/ 234 w 2863"/>
              <a:gd name="T43" fmla="*/ 1324 h 2054"/>
              <a:gd name="T44" fmla="*/ 77 w 2863"/>
              <a:gd name="T45" fmla="*/ 1367 h 2054"/>
              <a:gd name="T46" fmla="*/ 0 w 2863"/>
              <a:gd name="T47" fmla="*/ 1480 h 2054"/>
              <a:gd name="T48" fmla="*/ 63 w 2863"/>
              <a:gd name="T49" fmla="*/ 1501 h 2054"/>
              <a:gd name="T50" fmla="*/ 166 w 2863"/>
              <a:gd name="T51" fmla="*/ 1461 h 2054"/>
              <a:gd name="T52" fmla="*/ 187 w 2863"/>
              <a:gd name="T53" fmla="*/ 1573 h 2054"/>
              <a:gd name="T54" fmla="*/ 354 w 2863"/>
              <a:gd name="T55" fmla="*/ 1597 h 2054"/>
              <a:gd name="T56" fmla="*/ 616 w 2863"/>
              <a:gd name="T57" fmla="*/ 1588 h 2054"/>
              <a:gd name="T58" fmla="*/ 382 w 2863"/>
              <a:gd name="T59" fmla="*/ 1636 h 2054"/>
              <a:gd name="T60" fmla="*/ 295 w 2863"/>
              <a:gd name="T61" fmla="*/ 1696 h 2054"/>
              <a:gd name="T62" fmla="*/ 254 w 2863"/>
              <a:gd name="T63" fmla="*/ 1795 h 2054"/>
              <a:gd name="T64" fmla="*/ 239 w 2863"/>
              <a:gd name="T65" fmla="*/ 1953 h 2054"/>
              <a:gd name="T66" fmla="*/ 335 w 2863"/>
              <a:gd name="T67" fmla="*/ 2045 h 2054"/>
              <a:gd name="T68" fmla="*/ 341 w 2863"/>
              <a:gd name="T69" fmla="*/ 1906 h 2054"/>
              <a:gd name="T70" fmla="*/ 417 w 2863"/>
              <a:gd name="T71" fmla="*/ 1946 h 2054"/>
              <a:gd name="T72" fmla="*/ 509 w 2863"/>
              <a:gd name="T73" fmla="*/ 1935 h 2054"/>
              <a:gd name="T74" fmla="*/ 732 w 2863"/>
              <a:gd name="T75" fmla="*/ 1733 h 2054"/>
              <a:gd name="T76" fmla="*/ 874 w 2863"/>
              <a:gd name="T77" fmla="*/ 1691 h 2054"/>
              <a:gd name="T78" fmla="*/ 870 w 2863"/>
              <a:gd name="T79" fmla="*/ 1786 h 2054"/>
              <a:gd name="T80" fmla="*/ 945 w 2863"/>
              <a:gd name="T81" fmla="*/ 1834 h 2054"/>
              <a:gd name="T82" fmla="*/ 875 w 2863"/>
              <a:gd name="T83" fmla="*/ 1948 h 2054"/>
              <a:gd name="T84" fmla="*/ 1004 w 2863"/>
              <a:gd name="T85" fmla="*/ 1919 h 2054"/>
              <a:gd name="T86" fmla="*/ 1100 w 2863"/>
              <a:gd name="T87" fmla="*/ 1787 h 2054"/>
              <a:gd name="T88" fmla="*/ 1159 w 2863"/>
              <a:gd name="T89" fmla="*/ 1734 h 2054"/>
              <a:gd name="T90" fmla="*/ 1183 w 2863"/>
              <a:gd name="T91" fmla="*/ 1628 h 2054"/>
              <a:gd name="T92" fmla="*/ 1338 w 2863"/>
              <a:gd name="T93" fmla="*/ 1564 h 2054"/>
              <a:gd name="T94" fmla="*/ 1370 w 2863"/>
              <a:gd name="T95" fmla="*/ 1465 h 2054"/>
              <a:gd name="T96" fmla="*/ 1461 w 2863"/>
              <a:gd name="T97" fmla="*/ 1462 h 2054"/>
              <a:gd name="T98" fmla="*/ 1684 w 2863"/>
              <a:gd name="T99" fmla="*/ 1556 h 2054"/>
              <a:gd name="T100" fmla="*/ 1888 w 2863"/>
              <a:gd name="T101" fmla="*/ 1440 h 2054"/>
              <a:gd name="T102" fmla="*/ 1799 w 2863"/>
              <a:gd name="T103" fmla="*/ 1308 h 2054"/>
              <a:gd name="T104" fmla="*/ 1857 w 2863"/>
              <a:gd name="T105" fmla="*/ 1327 h 2054"/>
              <a:gd name="T106" fmla="*/ 2183 w 2863"/>
              <a:gd name="T107" fmla="*/ 1273 h 2054"/>
              <a:gd name="T108" fmla="*/ 2142 w 2863"/>
              <a:gd name="T109" fmla="*/ 1164 h 2054"/>
              <a:gd name="T110" fmla="*/ 2112 w 2863"/>
              <a:gd name="T111" fmla="*/ 1069 h 2054"/>
              <a:gd name="T112" fmla="*/ 2121 w 2863"/>
              <a:gd name="T113" fmla="*/ 977 h 2054"/>
              <a:gd name="T114" fmla="*/ 2085 w 2863"/>
              <a:gd name="T115" fmla="*/ 807 h 2054"/>
              <a:gd name="T116" fmla="*/ 2859 w 2863"/>
              <a:gd name="T117" fmla="*/ 408 h 2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63" h="2054">
                <a:moveTo>
                  <a:pt x="2759" y="252"/>
                </a:moveTo>
                <a:lnTo>
                  <a:pt x="2759" y="252"/>
                </a:lnTo>
                <a:lnTo>
                  <a:pt x="2742" y="239"/>
                </a:lnTo>
                <a:lnTo>
                  <a:pt x="2725" y="227"/>
                </a:lnTo>
                <a:lnTo>
                  <a:pt x="2708" y="214"/>
                </a:lnTo>
                <a:lnTo>
                  <a:pt x="2690" y="203"/>
                </a:lnTo>
                <a:lnTo>
                  <a:pt x="2655" y="184"/>
                </a:lnTo>
                <a:lnTo>
                  <a:pt x="2621" y="165"/>
                </a:lnTo>
                <a:lnTo>
                  <a:pt x="2586" y="148"/>
                </a:lnTo>
                <a:lnTo>
                  <a:pt x="2553" y="133"/>
                </a:lnTo>
                <a:lnTo>
                  <a:pt x="2522" y="118"/>
                </a:lnTo>
                <a:lnTo>
                  <a:pt x="2491" y="103"/>
                </a:lnTo>
                <a:lnTo>
                  <a:pt x="2491" y="103"/>
                </a:lnTo>
                <a:lnTo>
                  <a:pt x="2507" y="93"/>
                </a:lnTo>
                <a:lnTo>
                  <a:pt x="2523" y="82"/>
                </a:lnTo>
                <a:lnTo>
                  <a:pt x="2540" y="68"/>
                </a:lnTo>
                <a:lnTo>
                  <a:pt x="2556" y="54"/>
                </a:lnTo>
                <a:lnTo>
                  <a:pt x="2570" y="41"/>
                </a:lnTo>
                <a:lnTo>
                  <a:pt x="2574" y="35"/>
                </a:lnTo>
                <a:lnTo>
                  <a:pt x="2577" y="30"/>
                </a:lnTo>
                <a:lnTo>
                  <a:pt x="2577" y="26"/>
                </a:lnTo>
                <a:lnTo>
                  <a:pt x="2577" y="24"/>
                </a:lnTo>
                <a:lnTo>
                  <a:pt x="2575" y="23"/>
                </a:lnTo>
                <a:lnTo>
                  <a:pt x="2575" y="23"/>
                </a:lnTo>
                <a:lnTo>
                  <a:pt x="2562" y="16"/>
                </a:lnTo>
                <a:lnTo>
                  <a:pt x="2550" y="10"/>
                </a:lnTo>
                <a:lnTo>
                  <a:pt x="2538" y="6"/>
                </a:lnTo>
                <a:lnTo>
                  <a:pt x="2527" y="4"/>
                </a:lnTo>
                <a:lnTo>
                  <a:pt x="2508" y="1"/>
                </a:lnTo>
                <a:lnTo>
                  <a:pt x="2501" y="0"/>
                </a:lnTo>
                <a:lnTo>
                  <a:pt x="2501" y="0"/>
                </a:lnTo>
                <a:lnTo>
                  <a:pt x="2440" y="24"/>
                </a:lnTo>
                <a:lnTo>
                  <a:pt x="2377" y="50"/>
                </a:lnTo>
                <a:lnTo>
                  <a:pt x="2317" y="76"/>
                </a:lnTo>
                <a:lnTo>
                  <a:pt x="2256" y="103"/>
                </a:lnTo>
                <a:lnTo>
                  <a:pt x="2196" y="132"/>
                </a:lnTo>
                <a:lnTo>
                  <a:pt x="2138" y="160"/>
                </a:lnTo>
                <a:lnTo>
                  <a:pt x="2081" y="189"/>
                </a:lnTo>
                <a:lnTo>
                  <a:pt x="2026" y="219"/>
                </a:lnTo>
                <a:lnTo>
                  <a:pt x="1972" y="247"/>
                </a:lnTo>
                <a:lnTo>
                  <a:pt x="1921" y="276"/>
                </a:lnTo>
                <a:lnTo>
                  <a:pt x="1872" y="303"/>
                </a:lnTo>
                <a:lnTo>
                  <a:pt x="1825" y="331"/>
                </a:lnTo>
                <a:lnTo>
                  <a:pt x="1782" y="358"/>
                </a:lnTo>
                <a:lnTo>
                  <a:pt x="1741" y="383"/>
                </a:lnTo>
                <a:lnTo>
                  <a:pt x="1705" y="407"/>
                </a:lnTo>
                <a:lnTo>
                  <a:pt x="1671" y="429"/>
                </a:lnTo>
                <a:lnTo>
                  <a:pt x="1671" y="429"/>
                </a:lnTo>
                <a:lnTo>
                  <a:pt x="1666" y="432"/>
                </a:lnTo>
                <a:lnTo>
                  <a:pt x="1666" y="432"/>
                </a:lnTo>
                <a:lnTo>
                  <a:pt x="1654" y="439"/>
                </a:lnTo>
                <a:lnTo>
                  <a:pt x="1643" y="446"/>
                </a:lnTo>
                <a:lnTo>
                  <a:pt x="1632" y="451"/>
                </a:lnTo>
                <a:lnTo>
                  <a:pt x="1620" y="455"/>
                </a:lnTo>
                <a:lnTo>
                  <a:pt x="1608" y="458"/>
                </a:lnTo>
                <a:lnTo>
                  <a:pt x="1597" y="461"/>
                </a:lnTo>
                <a:lnTo>
                  <a:pt x="1585" y="462"/>
                </a:lnTo>
                <a:lnTo>
                  <a:pt x="1574" y="463"/>
                </a:lnTo>
                <a:lnTo>
                  <a:pt x="1550" y="464"/>
                </a:lnTo>
                <a:lnTo>
                  <a:pt x="1528" y="462"/>
                </a:lnTo>
                <a:lnTo>
                  <a:pt x="1505" y="459"/>
                </a:lnTo>
                <a:lnTo>
                  <a:pt x="1485" y="454"/>
                </a:lnTo>
                <a:lnTo>
                  <a:pt x="1465" y="449"/>
                </a:lnTo>
                <a:lnTo>
                  <a:pt x="1448" y="442"/>
                </a:lnTo>
                <a:lnTo>
                  <a:pt x="1433" y="436"/>
                </a:lnTo>
                <a:lnTo>
                  <a:pt x="1418" y="430"/>
                </a:lnTo>
                <a:lnTo>
                  <a:pt x="1399" y="420"/>
                </a:lnTo>
                <a:lnTo>
                  <a:pt x="1393" y="416"/>
                </a:lnTo>
                <a:lnTo>
                  <a:pt x="1372" y="544"/>
                </a:lnTo>
                <a:lnTo>
                  <a:pt x="1372" y="544"/>
                </a:lnTo>
                <a:lnTo>
                  <a:pt x="1395" y="557"/>
                </a:lnTo>
                <a:lnTo>
                  <a:pt x="1416" y="568"/>
                </a:lnTo>
                <a:lnTo>
                  <a:pt x="1437" y="577"/>
                </a:lnTo>
                <a:lnTo>
                  <a:pt x="1454" y="586"/>
                </a:lnTo>
                <a:lnTo>
                  <a:pt x="1470" y="592"/>
                </a:lnTo>
                <a:lnTo>
                  <a:pt x="1486" y="596"/>
                </a:lnTo>
                <a:lnTo>
                  <a:pt x="1499" y="600"/>
                </a:lnTo>
                <a:lnTo>
                  <a:pt x="1510" y="602"/>
                </a:lnTo>
                <a:lnTo>
                  <a:pt x="1510" y="602"/>
                </a:lnTo>
                <a:lnTo>
                  <a:pt x="1491" y="606"/>
                </a:lnTo>
                <a:lnTo>
                  <a:pt x="1470" y="611"/>
                </a:lnTo>
                <a:lnTo>
                  <a:pt x="1450" y="617"/>
                </a:lnTo>
                <a:lnTo>
                  <a:pt x="1428" y="625"/>
                </a:lnTo>
                <a:lnTo>
                  <a:pt x="1409" y="634"/>
                </a:lnTo>
                <a:lnTo>
                  <a:pt x="1391" y="645"/>
                </a:lnTo>
                <a:lnTo>
                  <a:pt x="1381" y="650"/>
                </a:lnTo>
                <a:lnTo>
                  <a:pt x="1373" y="656"/>
                </a:lnTo>
                <a:lnTo>
                  <a:pt x="1366" y="663"/>
                </a:lnTo>
                <a:lnTo>
                  <a:pt x="1360" y="670"/>
                </a:lnTo>
                <a:lnTo>
                  <a:pt x="1404" y="788"/>
                </a:lnTo>
                <a:lnTo>
                  <a:pt x="1404" y="788"/>
                </a:lnTo>
                <a:lnTo>
                  <a:pt x="1416" y="779"/>
                </a:lnTo>
                <a:lnTo>
                  <a:pt x="1432" y="770"/>
                </a:lnTo>
                <a:lnTo>
                  <a:pt x="1453" y="758"/>
                </a:lnTo>
                <a:lnTo>
                  <a:pt x="1465" y="753"/>
                </a:lnTo>
                <a:lnTo>
                  <a:pt x="1479" y="748"/>
                </a:lnTo>
                <a:lnTo>
                  <a:pt x="1494" y="743"/>
                </a:lnTo>
                <a:lnTo>
                  <a:pt x="1509" y="738"/>
                </a:lnTo>
                <a:lnTo>
                  <a:pt x="1527" y="734"/>
                </a:lnTo>
                <a:lnTo>
                  <a:pt x="1545" y="731"/>
                </a:lnTo>
                <a:lnTo>
                  <a:pt x="1564" y="729"/>
                </a:lnTo>
                <a:lnTo>
                  <a:pt x="1585" y="728"/>
                </a:lnTo>
                <a:lnTo>
                  <a:pt x="1585" y="728"/>
                </a:lnTo>
                <a:lnTo>
                  <a:pt x="1588" y="744"/>
                </a:lnTo>
                <a:lnTo>
                  <a:pt x="1588" y="744"/>
                </a:lnTo>
                <a:lnTo>
                  <a:pt x="1588" y="758"/>
                </a:lnTo>
                <a:lnTo>
                  <a:pt x="1588" y="773"/>
                </a:lnTo>
                <a:lnTo>
                  <a:pt x="1586" y="787"/>
                </a:lnTo>
                <a:lnTo>
                  <a:pt x="1583" y="802"/>
                </a:lnTo>
                <a:lnTo>
                  <a:pt x="1578" y="818"/>
                </a:lnTo>
                <a:lnTo>
                  <a:pt x="1573" y="833"/>
                </a:lnTo>
                <a:lnTo>
                  <a:pt x="1565" y="848"/>
                </a:lnTo>
                <a:lnTo>
                  <a:pt x="1557" y="864"/>
                </a:lnTo>
                <a:lnTo>
                  <a:pt x="1549" y="880"/>
                </a:lnTo>
                <a:lnTo>
                  <a:pt x="1539" y="895"/>
                </a:lnTo>
                <a:lnTo>
                  <a:pt x="1528" y="912"/>
                </a:lnTo>
                <a:lnTo>
                  <a:pt x="1516" y="927"/>
                </a:lnTo>
                <a:lnTo>
                  <a:pt x="1503" y="943"/>
                </a:lnTo>
                <a:lnTo>
                  <a:pt x="1490" y="959"/>
                </a:lnTo>
                <a:lnTo>
                  <a:pt x="1476" y="974"/>
                </a:lnTo>
                <a:lnTo>
                  <a:pt x="1461" y="989"/>
                </a:lnTo>
                <a:lnTo>
                  <a:pt x="1429" y="1020"/>
                </a:lnTo>
                <a:lnTo>
                  <a:pt x="1396" y="1049"/>
                </a:lnTo>
                <a:lnTo>
                  <a:pt x="1360" y="1076"/>
                </a:lnTo>
                <a:lnTo>
                  <a:pt x="1323" y="1102"/>
                </a:lnTo>
                <a:lnTo>
                  <a:pt x="1285" y="1126"/>
                </a:lnTo>
                <a:lnTo>
                  <a:pt x="1247" y="1148"/>
                </a:lnTo>
                <a:lnTo>
                  <a:pt x="1209" y="1167"/>
                </a:lnTo>
                <a:lnTo>
                  <a:pt x="1189" y="1177"/>
                </a:lnTo>
                <a:lnTo>
                  <a:pt x="1171" y="1185"/>
                </a:lnTo>
                <a:lnTo>
                  <a:pt x="1171" y="1185"/>
                </a:lnTo>
                <a:lnTo>
                  <a:pt x="1133" y="1199"/>
                </a:lnTo>
                <a:lnTo>
                  <a:pt x="1095" y="1211"/>
                </a:lnTo>
                <a:lnTo>
                  <a:pt x="1060" y="1223"/>
                </a:lnTo>
                <a:lnTo>
                  <a:pt x="1026" y="1232"/>
                </a:lnTo>
                <a:lnTo>
                  <a:pt x="993" y="1240"/>
                </a:lnTo>
                <a:lnTo>
                  <a:pt x="962" y="1246"/>
                </a:lnTo>
                <a:lnTo>
                  <a:pt x="933" y="1250"/>
                </a:lnTo>
                <a:lnTo>
                  <a:pt x="905" y="1254"/>
                </a:lnTo>
                <a:lnTo>
                  <a:pt x="879" y="1256"/>
                </a:lnTo>
                <a:lnTo>
                  <a:pt x="856" y="1257"/>
                </a:lnTo>
                <a:lnTo>
                  <a:pt x="834" y="1257"/>
                </a:lnTo>
                <a:lnTo>
                  <a:pt x="815" y="1256"/>
                </a:lnTo>
                <a:lnTo>
                  <a:pt x="799" y="1254"/>
                </a:lnTo>
                <a:lnTo>
                  <a:pt x="785" y="1251"/>
                </a:lnTo>
                <a:lnTo>
                  <a:pt x="774" y="1247"/>
                </a:lnTo>
                <a:lnTo>
                  <a:pt x="765" y="1243"/>
                </a:lnTo>
                <a:lnTo>
                  <a:pt x="765" y="1243"/>
                </a:lnTo>
                <a:lnTo>
                  <a:pt x="741" y="1227"/>
                </a:lnTo>
                <a:lnTo>
                  <a:pt x="720" y="1209"/>
                </a:lnTo>
                <a:lnTo>
                  <a:pt x="701" y="1191"/>
                </a:lnTo>
                <a:lnTo>
                  <a:pt x="685" y="1172"/>
                </a:lnTo>
                <a:lnTo>
                  <a:pt x="670" y="1155"/>
                </a:lnTo>
                <a:lnTo>
                  <a:pt x="656" y="1137"/>
                </a:lnTo>
                <a:lnTo>
                  <a:pt x="645" y="1119"/>
                </a:lnTo>
                <a:lnTo>
                  <a:pt x="634" y="1102"/>
                </a:lnTo>
                <a:lnTo>
                  <a:pt x="615" y="1071"/>
                </a:lnTo>
                <a:lnTo>
                  <a:pt x="605" y="1057"/>
                </a:lnTo>
                <a:lnTo>
                  <a:pt x="596" y="1045"/>
                </a:lnTo>
                <a:lnTo>
                  <a:pt x="587" y="1033"/>
                </a:lnTo>
                <a:lnTo>
                  <a:pt x="577" y="1025"/>
                </a:lnTo>
                <a:lnTo>
                  <a:pt x="565" y="1018"/>
                </a:lnTo>
                <a:lnTo>
                  <a:pt x="559" y="1015"/>
                </a:lnTo>
                <a:lnTo>
                  <a:pt x="553" y="1013"/>
                </a:lnTo>
                <a:lnTo>
                  <a:pt x="553" y="1013"/>
                </a:lnTo>
                <a:lnTo>
                  <a:pt x="549" y="1013"/>
                </a:lnTo>
                <a:lnTo>
                  <a:pt x="546" y="1013"/>
                </a:lnTo>
                <a:lnTo>
                  <a:pt x="539" y="1015"/>
                </a:lnTo>
                <a:lnTo>
                  <a:pt x="532" y="1018"/>
                </a:lnTo>
                <a:lnTo>
                  <a:pt x="524" y="1022"/>
                </a:lnTo>
                <a:lnTo>
                  <a:pt x="516" y="1026"/>
                </a:lnTo>
                <a:lnTo>
                  <a:pt x="507" y="1029"/>
                </a:lnTo>
                <a:lnTo>
                  <a:pt x="499" y="1031"/>
                </a:lnTo>
                <a:lnTo>
                  <a:pt x="494" y="1031"/>
                </a:lnTo>
                <a:lnTo>
                  <a:pt x="489" y="1031"/>
                </a:lnTo>
                <a:lnTo>
                  <a:pt x="489" y="1031"/>
                </a:lnTo>
                <a:lnTo>
                  <a:pt x="468" y="1028"/>
                </a:lnTo>
                <a:lnTo>
                  <a:pt x="448" y="1025"/>
                </a:lnTo>
                <a:lnTo>
                  <a:pt x="427" y="1024"/>
                </a:lnTo>
                <a:lnTo>
                  <a:pt x="406" y="1023"/>
                </a:lnTo>
                <a:lnTo>
                  <a:pt x="386" y="1023"/>
                </a:lnTo>
                <a:lnTo>
                  <a:pt x="366" y="1025"/>
                </a:lnTo>
                <a:lnTo>
                  <a:pt x="347" y="1027"/>
                </a:lnTo>
                <a:lnTo>
                  <a:pt x="327" y="1031"/>
                </a:lnTo>
                <a:lnTo>
                  <a:pt x="309" y="1035"/>
                </a:lnTo>
                <a:lnTo>
                  <a:pt x="292" y="1043"/>
                </a:lnTo>
                <a:lnTo>
                  <a:pt x="276" y="1050"/>
                </a:lnTo>
                <a:lnTo>
                  <a:pt x="262" y="1059"/>
                </a:lnTo>
                <a:lnTo>
                  <a:pt x="248" y="1070"/>
                </a:lnTo>
                <a:lnTo>
                  <a:pt x="242" y="1076"/>
                </a:lnTo>
                <a:lnTo>
                  <a:pt x="236" y="1082"/>
                </a:lnTo>
                <a:lnTo>
                  <a:pt x="231" y="1090"/>
                </a:lnTo>
                <a:lnTo>
                  <a:pt x="227" y="1098"/>
                </a:lnTo>
                <a:lnTo>
                  <a:pt x="223" y="1105"/>
                </a:lnTo>
                <a:lnTo>
                  <a:pt x="219" y="1114"/>
                </a:lnTo>
                <a:lnTo>
                  <a:pt x="219" y="1114"/>
                </a:lnTo>
                <a:lnTo>
                  <a:pt x="257" y="1112"/>
                </a:lnTo>
                <a:lnTo>
                  <a:pt x="292" y="1111"/>
                </a:lnTo>
                <a:lnTo>
                  <a:pt x="312" y="1111"/>
                </a:lnTo>
                <a:lnTo>
                  <a:pt x="331" y="1112"/>
                </a:lnTo>
                <a:lnTo>
                  <a:pt x="349" y="1113"/>
                </a:lnTo>
                <a:lnTo>
                  <a:pt x="364" y="1116"/>
                </a:lnTo>
                <a:lnTo>
                  <a:pt x="377" y="1119"/>
                </a:lnTo>
                <a:lnTo>
                  <a:pt x="382" y="1121"/>
                </a:lnTo>
                <a:lnTo>
                  <a:pt x="387" y="1123"/>
                </a:lnTo>
                <a:lnTo>
                  <a:pt x="389" y="1126"/>
                </a:lnTo>
                <a:lnTo>
                  <a:pt x="391" y="1130"/>
                </a:lnTo>
                <a:lnTo>
                  <a:pt x="391" y="1133"/>
                </a:lnTo>
                <a:lnTo>
                  <a:pt x="389" y="1137"/>
                </a:lnTo>
                <a:lnTo>
                  <a:pt x="386" y="1141"/>
                </a:lnTo>
                <a:lnTo>
                  <a:pt x="381" y="1146"/>
                </a:lnTo>
                <a:lnTo>
                  <a:pt x="374" y="1151"/>
                </a:lnTo>
                <a:lnTo>
                  <a:pt x="366" y="1156"/>
                </a:lnTo>
                <a:lnTo>
                  <a:pt x="366" y="1156"/>
                </a:lnTo>
                <a:lnTo>
                  <a:pt x="357" y="1162"/>
                </a:lnTo>
                <a:lnTo>
                  <a:pt x="351" y="1168"/>
                </a:lnTo>
                <a:lnTo>
                  <a:pt x="346" y="1175"/>
                </a:lnTo>
                <a:lnTo>
                  <a:pt x="344" y="1182"/>
                </a:lnTo>
                <a:lnTo>
                  <a:pt x="343" y="1189"/>
                </a:lnTo>
                <a:lnTo>
                  <a:pt x="344" y="1195"/>
                </a:lnTo>
                <a:lnTo>
                  <a:pt x="346" y="1202"/>
                </a:lnTo>
                <a:lnTo>
                  <a:pt x="349" y="1209"/>
                </a:lnTo>
                <a:lnTo>
                  <a:pt x="354" y="1217"/>
                </a:lnTo>
                <a:lnTo>
                  <a:pt x="360" y="1225"/>
                </a:lnTo>
                <a:lnTo>
                  <a:pt x="368" y="1232"/>
                </a:lnTo>
                <a:lnTo>
                  <a:pt x="376" y="1239"/>
                </a:lnTo>
                <a:lnTo>
                  <a:pt x="396" y="1254"/>
                </a:lnTo>
                <a:lnTo>
                  <a:pt x="418" y="1270"/>
                </a:lnTo>
                <a:lnTo>
                  <a:pt x="442" y="1285"/>
                </a:lnTo>
                <a:lnTo>
                  <a:pt x="467" y="1299"/>
                </a:lnTo>
                <a:lnTo>
                  <a:pt x="519" y="1327"/>
                </a:lnTo>
                <a:lnTo>
                  <a:pt x="565" y="1350"/>
                </a:lnTo>
                <a:lnTo>
                  <a:pt x="585" y="1361"/>
                </a:lnTo>
                <a:lnTo>
                  <a:pt x="601" y="1370"/>
                </a:lnTo>
                <a:lnTo>
                  <a:pt x="601" y="1370"/>
                </a:lnTo>
                <a:lnTo>
                  <a:pt x="608" y="1375"/>
                </a:lnTo>
                <a:lnTo>
                  <a:pt x="611" y="1379"/>
                </a:lnTo>
                <a:lnTo>
                  <a:pt x="613" y="1382"/>
                </a:lnTo>
                <a:lnTo>
                  <a:pt x="611" y="1385"/>
                </a:lnTo>
                <a:lnTo>
                  <a:pt x="608" y="1387"/>
                </a:lnTo>
                <a:lnTo>
                  <a:pt x="604" y="1389"/>
                </a:lnTo>
                <a:lnTo>
                  <a:pt x="598" y="1390"/>
                </a:lnTo>
                <a:lnTo>
                  <a:pt x="598" y="1390"/>
                </a:lnTo>
                <a:lnTo>
                  <a:pt x="588" y="1390"/>
                </a:lnTo>
                <a:lnTo>
                  <a:pt x="576" y="1388"/>
                </a:lnTo>
                <a:lnTo>
                  <a:pt x="561" y="1385"/>
                </a:lnTo>
                <a:lnTo>
                  <a:pt x="545" y="1380"/>
                </a:lnTo>
                <a:lnTo>
                  <a:pt x="509" y="1369"/>
                </a:lnTo>
                <a:lnTo>
                  <a:pt x="469" y="1354"/>
                </a:lnTo>
                <a:lnTo>
                  <a:pt x="387" y="1323"/>
                </a:lnTo>
                <a:lnTo>
                  <a:pt x="349" y="1307"/>
                </a:lnTo>
                <a:lnTo>
                  <a:pt x="314" y="1296"/>
                </a:lnTo>
                <a:lnTo>
                  <a:pt x="314" y="1296"/>
                </a:lnTo>
                <a:lnTo>
                  <a:pt x="303" y="1293"/>
                </a:lnTo>
                <a:lnTo>
                  <a:pt x="292" y="1291"/>
                </a:lnTo>
                <a:lnTo>
                  <a:pt x="283" y="1291"/>
                </a:lnTo>
                <a:lnTo>
                  <a:pt x="275" y="1292"/>
                </a:lnTo>
                <a:lnTo>
                  <a:pt x="268" y="1294"/>
                </a:lnTo>
                <a:lnTo>
                  <a:pt x="262" y="1297"/>
                </a:lnTo>
                <a:lnTo>
                  <a:pt x="257" y="1300"/>
                </a:lnTo>
                <a:lnTo>
                  <a:pt x="253" y="1303"/>
                </a:lnTo>
                <a:lnTo>
                  <a:pt x="244" y="1312"/>
                </a:lnTo>
                <a:lnTo>
                  <a:pt x="238" y="1319"/>
                </a:lnTo>
                <a:lnTo>
                  <a:pt x="234" y="1324"/>
                </a:lnTo>
                <a:lnTo>
                  <a:pt x="231" y="1325"/>
                </a:lnTo>
                <a:lnTo>
                  <a:pt x="229" y="1326"/>
                </a:lnTo>
                <a:lnTo>
                  <a:pt x="229" y="1326"/>
                </a:lnTo>
                <a:lnTo>
                  <a:pt x="220" y="1325"/>
                </a:lnTo>
                <a:lnTo>
                  <a:pt x="210" y="1324"/>
                </a:lnTo>
                <a:lnTo>
                  <a:pt x="198" y="1325"/>
                </a:lnTo>
                <a:lnTo>
                  <a:pt x="188" y="1325"/>
                </a:lnTo>
                <a:lnTo>
                  <a:pt x="166" y="1329"/>
                </a:lnTo>
                <a:lnTo>
                  <a:pt x="143" y="1335"/>
                </a:lnTo>
                <a:lnTo>
                  <a:pt x="121" y="1343"/>
                </a:lnTo>
                <a:lnTo>
                  <a:pt x="98" y="1353"/>
                </a:lnTo>
                <a:lnTo>
                  <a:pt x="77" y="1367"/>
                </a:lnTo>
                <a:lnTo>
                  <a:pt x="66" y="1374"/>
                </a:lnTo>
                <a:lnTo>
                  <a:pt x="57" y="1381"/>
                </a:lnTo>
                <a:lnTo>
                  <a:pt x="48" y="1389"/>
                </a:lnTo>
                <a:lnTo>
                  <a:pt x="40" y="1397"/>
                </a:lnTo>
                <a:lnTo>
                  <a:pt x="32" y="1407"/>
                </a:lnTo>
                <a:lnTo>
                  <a:pt x="25" y="1416"/>
                </a:lnTo>
                <a:lnTo>
                  <a:pt x="18" y="1426"/>
                </a:lnTo>
                <a:lnTo>
                  <a:pt x="12" y="1435"/>
                </a:lnTo>
                <a:lnTo>
                  <a:pt x="8" y="1446"/>
                </a:lnTo>
                <a:lnTo>
                  <a:pt x="4" y="1458"/>
                </a:lnTo>
                <a:lnTo>
                  <a:pt x="2" y="1469"/>
                </a:lnTo>
                <a:lnTo>
                  <a:pt x="0" y="1480"/>
                </a:lnTo>
                <a:lnTo>
                  <a:pt x="0" y="1492"/>
                </a:lnTo>
                <a:lnTo>
                  <a:pt x="0" y="1505"/>
                </a:lnTo>
                <a:lnTo>
                  <a:pt x="3" y="1518"/>
                </a:lnTo>
                <a:lnTo>
                  <a:pt x="6" y="1530"/>
                </a:lnTo>
                <a:lnTo>
                  <a:pt x="11" y="1544"/>
                </a:lnTo>
                <a:lnTo>
                  <a:pt x="17" y="1558"/>
                </a:lnTo>
                <a:lnTo>
                  <a:pt x="17" y="1558"/>
                </a:lnTo>
                <a:lnTo>
                  <a:pt x="20" y="1553"/>
                </a:lnTo>
                <a:lnTo>
                  <a:pt x="30" y="1540"/>
                </a:lnTo>
                <a:lnTo>
                  <a:pt x="45" y="1521"/>
                </a:lnTo>
                <a:lnTo>
                  <a:pt x="53" y="1511"/>
                </a:lnTo>
                <a:lnTo>
                  <a:pt x="63" y="1501"/>
                </a:lnTo>
                <a:lnTo>
                  <a:pt x="75" y="1490"/>
                </a:lnTo>
                <a:lnTo>
                  <a:pt x="86" y="1481"/>
                </a:lnTo>
                <a:lnTo>
                  <a:pt x="98" y="1473"/>
                </a:lnTo>
                <a:lnTo>
                  <a:pt x="111" y="1466"/>
                </a:lnTo>
                <a:lnTo>
                  <a:pt x="125" y="1461"/>
                </a:lnTo>
                <a:lnTo>
                  <a:pt x="131" y="1459"/>
                </a:lnTo>
                <a:lnTo>
                  <a:pt x="138" y="1458"/>
                </a:lnTo>
                <a:lnTo>
                  <a:pt x="145" y="1458"/>
                </a:lnTo>
                <a:lnTo>
                  <a:pt x="151" y="1458"/>
                </a:lnTo>
                <a:lnTo>
                  <a:pt x="159" y="1459"/>
                </a:lnTo>
                <a:lnTo>
                  <a:pt x="166" y="1461"/>
                </a:lnTo>
                <a:lnTo>
                  <a:pt x="166" y="1461"/>
                </a:lnTo>
                <a:lnTo>
                  <a:pt x="171" y="1463"/>
                </a:lnTo>
                <a:lnTo>
                  <a:pt x="174" y="1467"/>
                </a:lnTo>
                <a:lnTo>
                  <a:pt x="175" y="1473"/>
                </a:lnTo>
                <a:lnTo>
                  <a:pt x="176" y="1479"/>
                </a:lnTo>
                <a:lnTo>
                  <a:pt x="176" y="1496"/>
                </a:lnTo>
                <a:lnTo>
                  <a:pt x="174" y="1514"/>
                </a:lnTo>
                <a:lnTo>
                  <a:pt x="174" y="1524"/>
                </a:lnTo>
                <a:lnTo>
                  <a:pt x="174" y="1534"/>
                </a:lnTo>
                <a:lnTo>
                  <a:pt x="176" y="1545"/>
                </a:lnTo>
                <a:lnTo>
                  <a:pt x="178" y="1554"/>
                </a:lnTo>
                <a:lnTo>
                  <a:pt x="182" y="1564"/>
                </a:lnTo>
                <a:lnTo>
                  <a:pt x="187" y="1573"/>
                </a:lnTo>
                <a:lnTo>
                  <a:pt x="195" y="1581"/>
                </a:lnTo>
                <a:lnTo>
                  <a:pt x="205" y="1589"/>
                </a:lnTo>
                <a:lnTo>
                  <a:pt x="205" y="1589"/>
                </a:lnTo>
                <a:lnTo>
                  <a:pt x="213" y="1593"/>
                </a:lnTo>
                <a:lnTo>
                  <a:pt x="221" y="1596"/>
                </a:lnTo>
                <a:lnTo>
                  <a:pt x="231" y="1599"/>
                </a:lnTo>
                <a:lnTo>
                  <a:pt x="242" y="1600"/>
                </a:lnTo>
                <a:lnTo>
                  <a:pt x="254" y="1602"/>
                </a:lnTo>
                <a:lnTo>
                  <a:pt x="267" y="1602"/>
                </a:lnTo>
                <a:lnTo>
                  <a:pt x="293" y="1602"/>
                </a:lnTo>
                <a:lnTo>
                  <a:pt x="323" y="1600"/>
                </a:lnTo>
                <a:lnTo>
                  <a:pt x="354" y="1597"/>
                </a:lnTo>
                <a:lnTo>
                  <a:pt x="418" y="1589"/>
                </a:lnTo>
                <a:lnTo>
                  <a:pt x="481" y="1580"/>
                </a:lnTo>
                <a:lnTo>
                  <a:pt x="510" y="1576"/>
                </a:lnTo>
                <a:lnTo>
                  <a:pt x="538" y="1574"/>
                </a:lnTo>
                <a:lnTo>
                  <a:pt x="562" y="1573"/>
                </a:lnTo>
                <a:lnTo>
                  <a:pt x="583" y="1574"/>
                </a:lnTo>
                <a:lnTo>
                  <a:pt x="592" y="1575"/>
                </a:lnTo>
                <a:lnTo>
                  <a:pt x="600" y="1577"/>
                </a:lnTo>
                <a:lnTo>
                  <a:pt x="607" y="1580"/>
                </a:lnTo>
                <a:lnTo>
                  <a:pt x="613" y="1585"/>
                </a:lnTo>
                <a:lnTo>
                  <a:pt x="613" y="1585"/>
                </a:lnTo>
                <a:lnTo>
                  <a:pt x="616" y="1588"/>
                </a:lnTo>
                <a:lnTo>
                  <a:pt x="617" y="1591"/>
                </a:lnTo>
                <a:lnTo>
                  <a:pt x="616" y="1593"/>
                </a:lnTo>
                <a:lnTo>
                  <a:pt x="611" y="1596"/>
                </a:lnTo>
                <a:lnTo>
                  <a:pt x="607" y="1598"/>
                </a:lnTo>
                <a:lnTo>
                  <a:pt x="600" y="1601"/>
                </a:lnTo>
                <a:lnTo>
                  <a:pt x="583" y="1605"/>
                </a:lnTo>
                <a:lnTo>
                  <a:pt x="560" y="1609"/>
                </a:lnTo>
                <a:lnTo>
                  <a:pt x="535" y="1612"/>
                </a:lnTo>
                <a:lnTo>
                  <a:pt x="474" y="1620"/>
                </a:lnTo>
                <a:lnTo>
                  <a:pt x="443" y="1624"/>
                </a:lnTo>
                <a:lnTo>
                  <a:pt x="412" y="1629"/>
                </a:lnTo>
                <a:lnTo>
                  <a:pt x="382" y="1636"/>
                </a:lnTo>
                <a:lnTo>
                  <a:pt x="356" y="1642"/>
                </a:lnTo>
                <a:lnTo>
                  <a:pt x="344" y="1646"/>
                </a:lnTo>
                <a:lnTo>
                  <a:pt x="332" y="1650"/>
                </a:lnTo>
                <a:lnTo>
                  <a:pt x="322" y="1654"/>
                </a:lnTo>
                <a:lnTo>
                  <a:pt x="314" y="1659"/>
                </a:lnTo>
                <a:lnTo>
                  <a:pt x="307" y="1664"/>
                </a:lnTo>
                <a:lnTo>
                  <a:pt x="302" y="1669"/>
                </a:lnTo>
                <a:lnTo>
                  <a:pt x="298" y="1676"/>
                </a:lnTo>
                <a:lnTo>
                  <a:pt x="296" y="1682"/>
                </a:lnTo>
                <a:lnTo>
                  <a:pt x="296" y="1682"/>
                </a:lnTo>
                <a:lnTo>
                  <a:pt x="295" y="1687"/>
                </a:lnTo>
                <a:lnTo>
                  <a:pt x="295" y="1696"/>
                </a:lnTo>
                <a:lnTo>
                  <a:pt x="296" y="1707"/>
                </a:lnTo>
                <a:lnTo>
                  <a:pt x="298" y="1713"/>
                </a:lnTo>
                <a:lnTo>
                  <a:pt x="300" y="1718"/>
                </a:lnTo>
                <a:lnTo>
                  <a:pt x="300" y="1718"/>
                </a:lnTo>
                <a:lnTo>
                  <a:pt x="301" y="1725"/>
                </a:lnTo>
                <a:lnTo>
                  <a:pt x="301" y="1731"/>
                </a:lnTo>
                <a:lnTo>
                  <a:pt x="298" y="1737"/>
                </a:lnTo>
                <a:lnTo>
                  <a:pt x="293" y="1743"/>
                </a:lnTo>
                <a:lnTo>
                  <a:pt x="283" y="1757"/>
                </a:lnTo>
                <a:lnTo>
                  <a:pt x="269" y="1775"/>
                </a:lnTo>
                <a:lnTo>
                  <a:pt x="261" y="1785"/>
                </a:lnTo>
                <a:lnTo>
                  <a:pt x="254" y="1795"/>
                </a:lnTo>
                <a:lnTo>
                  <a:pt x="246" y="1807"/>
                </a:lnTo>
                <a:lnTo>
                  <a:pt x="240" y="1820"/>
                </a:lnTo>
                <a:lnTo>
                  <a:pt x="234" y="1834"/>
                </a:lnTo>
                <a:lnTo>
                  <a:pt x="230" y="1849"/>
                </a:lnTo>
                <a:lnTo>
                  <a:pt x="226" y="1866"/>
                </a:lnTo>
                <a:lnTo>
                  <a:pt x="225" y="1884"/>
                </a:lnTo>
                <a:lnTo>
                  <a:pt x="225" y="1884"/>
                </a:lnTo>
                <a:lnTo>
                  <a:pt x="225" y="1893"/>
                </a:lnTo>
                <a:lnTo>
                  <a:pt x="225" y="1902"/>
                </a:lnTo>
                <a:lnTo>
                  <a:pt x="228" y="1920"/>
                </a:lnTo>
                <a:lnTo>
                  <a:pt x="233" y="1937"/>
                </a:lnTo>
                <a:lnTo>
                  <a:pt x="239" y="1953"/>
                </a:lnTo>
                <a:lnTo>
                  <a:pt x="247" y="1968"/>
                </a:lnTo>
                <a:lnTo>
                  <a:pt x="257" y="1982"/>
                </a:lnTo>
                <a:lnTo>
                  <a:pt x="267" y="1995"/>
                </a:lnTo>
                <a:lnTo>
                  <a:pt x="277" y="2007"/>
                </a:lnTo>
                <a:lnTo>
                  <a:pt x="287" y="2017"/>
                </a:lnTo>
                <a:lnTo>
                  <a:pt x="298" y="2026"/>
                </a:lnTo>
                <a:lnTo>
                  <a:pt x="315" y="2042"/>
                </a:lnTo>
                <a:lnTo>
                  <a:pt x="327" y="2050"/>
                </a:lnTo>
                <a:lnTo>
                  <a:pt x="332" y="2054"/>
                </a:lnTo>
                <a:lnTo>
                  <a:pt x="332" y="2054"/>
                </a:lnTo>
                <a:lnTo>
                  <a:pt x="334" y="2050"/>
                </a:lnTo>
                <a:lnTo>
                  <a:pt x="335" y="2045"/>
                </a:lnTo>
                <a:lnTo>
                  <a:pt x="335" y="2036"/>
                </a:lnTo>
                <a:lnTo>
                  <a:pt x="334" y="2027"/>
                </a:lnTo>
                <a:lnTo>
                  <a:pt x="331" y="2006"/>
                </a:lnTo>
                <a:lnTo>
                  <a:pt x="328" y="1980"/>
                </a:lnTo>
                <a:lnTo>
                  <a:pt x="327" y="1968"/>
                </a:lnTo>
                <a:lnTo>
                  <a:pt x="326" y="1955"/>
                </a:lnTo>
                <a:lnTo>
                  <a:pt x="326" y="1943"/>
                </a:lnTo>
                <a:lnTo>
                  <a:pt x="328" y="1932"/>
                </a:lnTo>
                <a:lnTo>
                  <a:pt x="330" y="1922"/>
                </a:lnTo>
                <a:lnTo>
                  <a:pt x="334" y="1913"/>
                </a:lnTo>
                <a:lnTo>
                  <a:pt x="337" y="1910"/>
                </a:lnTo>
                <a:lnTo>
                  <a:pt x="341" y="1906"/>
                </a:lnTo>
                <a:lnTo>
                  <a:pt x="344" y="1904"/>
                </a:lnTo>
                <a:lnTo>
                  <a:pt x="348" y="1901"/>
                </a:lnTo>
                <a:lnTo>
                  <a:pt x="348" y="1901"/>
                </a:lnTo>
                <a:lnTo>
                  <a:pt x="353" y="1900"/>
                </a:lnTo>
                <a:lnTo>
                  <a:pt x="357" y="1900"/>
                </a:lnTo>
                <a:lnTo>
                  <a:pt x="362" y="1901"/>
                </a:lnTo>
                <a:lnTo>
                  <a:pt x="366" y="1905"/>
                </a:lnTo>
                <a:lnTo>
                  <a:pt x="375" y="1912"/>
                </a:lnTo>
                <a:lnTo>
                  <a:pt x="386" y="1921"/>
                </a:lnTo>
                <a:lnTo>
                  <a:pt x="397" y="1932"/>
                </a:lnTo>
                <a:lnTo>
                  <a:pt x="410" y="1941"/>
                </a:lnTo>
                <a:lnTo>
                  <a:pt x="417" y="1946"/>
                </a:lnTo>
                <a:lnTo>
                  <a:pt x="424" y="1950"/>
                </a:lnTo>
                <a:lnTo>
                  <a:pt x="434" y="1953"/>
                </a:lnTo>
                <a:lnTo>
                  <a:pt x="442" y="1955"/>
                </a:lnTo>
                <a:lnTo>
                  <a:pt x="442" y="1955"/>
                </a:lnTo>
                <a:lnTo>
                  <a:pt x="451" y="1955"/>
                </a:lnTo>
                <a:lnTo>
                  <a:pt x="460" y="1955"/>
                </a:lnTo>
                <a:lnTo>
                  <a:pt x="468" y="1954"/>
                </a:lnTo>
                <a:lnTo>
                  <a:pt x="478" y="1952"/>
                </a:lnTo>
                <a:lnTo>
                  <a:pt x="486" y="1948"/>
                </a:lnTo>
                <a:lnTo>
                  <a:pt x="494" y="1944"/>
                </a:lnTo>
                <a:lnTo>
                  <a:pt x="501" y="1940"/>
                </a:lnTo>
                <a:lnTo>
                  <a:pt x="509" y="1935"/>
                </a:lnTo>
                <a:lnTo>
                  <a:pt x="525" y="1923"/>
                </a:lnTo>
                <a:lnTo>
                  <a:pt x="539" y="1909"/>
                </a:lnTo>
                <a:lnTo>
                  <a:pt x="554" y="1892"/>
                </a:lnTo>
                <a:lnTo>
                  <a:pt x="571" y="1875"/>
                </a:lnTo>
                <a:lnTo>
                  <a:pt x="604" y="1836"/>
                </a:lnTo>
                <a:lnTo>
                  <a:pt x="624" y="1817"/>
                </a:lnTo>
                <a:lnTo>
                  <a:pt x="644" y="1797"/>
                </a:lnTo>
                <a:lnTo>
                  <a:pt x="667" y="1777"/>
                </a:lnTo>
                <a:lnTo>
                  <a:pt x="691" y="1758"/>
                </a:lnTo>
                <a:lnTo>
                  <a:pt x="705" y="1749"/>
                </a:lnTo>
                <a:lnTo>
                  <a:pt x="718" y="1741"/>
                </a:lnTo>
                <a:lnTo>
                  <a:pt x="732" y="1733"/>
                </a:lnTo>
                <a:lnTo>
                  <a:pt x="747" y="1725"/>
                </a:lnTo>
                <a:lnTo>
                  <a:pt x="747" y="1725"/>
                </a:lnTo>
                <a:lnTo>
                  <a:pt x="787" y="1706"/>
                </a:lnTo>
                <a:lnTo>
                  <a:pt x="819" y="1694"/>
                </a:lnTo>
                <a:lnTo>
                  <a:pt x="831" y="1689"/>
                </a:lnTo>
                <a:lnTo>
                  <a:pt x="843" y="1686"/>
                </a:lnTo>
                <a:lnTo>
                  <a:pt x="852" y="1685"/>
                </a:lnTo>
                <a:lnTo>
                  <a:pt x="859" y="1684"/>
                </a:lnTo>
                <a:lnTo>
                  <a:pt x="865" y="1684"/>
                </a:lnTo>
                <a:lnTo>
                  <a:pt x="869" y="1686"/>
                </a:lnTo>
                <a:lnTo>
                  <a:pt x="872" y="1688"/>
                </a:lnTo>
                <a:lnTo>
                  <a:pt x="874" y="1691"/>
                </a:lnTo>
                <a:lnTo>
                  <a:pt x="876" y="1694"/>
                </a:lnTo>
                <a:lnTo>
                  <a:pt x="876" y="1698"/>
                </a:lnTo>
                <a:lnTo>
                  <a:pt x="875" y="1708"/>
                </a:lnTo>
                <a:lnTo>
                  <a:pt x="872" y="1720"/>
                </a:lnTo>
                <a:lnTo>
                  <a:pt x="868" y="1734"/>
                </a:lnTo>
                <a:lnTo>
                  <a:pt x="865" y="1747"/>
                </a:lnTo>
                <a:lnTo>
                  <a:pt x="863" y="1759"/>
                </a:lnTo>
                <a:lnTo>
                  <a:pt x="863" y="1765"/>
                </a:lnTo>
                <a:lnTo>
                  <a:pt x="863" y="1772"/>
                </a:lnTo>
                <a:lnTo>
                  <a:pt x="865" y="1777"/>
                </a:lnTo>
                <a:lnTo>
                  <a:pt x="867" y="1782"/>
                </a:lnTo>
                <a:lnTo>
                  <a:pt x="870" y="1786"/>
                </a:lnTo>
                <a:lnTo>
                  <a:pt x="875" y="1790"/>
                </a:lnTo>
                <a:lnTo>
                  <a:pt x="881" y="1793"/>
                </a:lnTo>
                <a:lnTo>
                  <a:pt x="889" y="1795"/>
                </a:lnTo>
                <a:lnTo>
                  <a:pt x="889" y="1795"/>
                </a:lnTo>
                <a:lnTo>
                  <a:pt x="901" y="1799"/>
                </a:lnTo>
                <a:lnTo>
                  <a:pt x="912" y="1802"/>
                </a:lnTo>
                <a:lnTo>
                  <a:pt x="921" y="1807"/>
                </a:lnTo>
                <a:lnTo>
                  <a:pt x="928" y="1811"/>
                </a:lnTo>
                <a:lnTo>
                  <a:pt x="935" y="1817"/>
                </a:lnTo>
                <a:lnTo>
                  <a:pt x="940" y="1822"/>
                </a:lnTo>
                <a:lnTo>
                  <a:pt x="943" y="1828"/>
                </a:lnTo>
                <a:lnTo>
                  <a:pt x="945" y="1834"/>
                </a:lnTo>
                <a:lnTo>
                  <a:pt x="947" y="1840"/>
                </a:lnTo>
                <a:lnTo>
                  <a:pt x="947" y="1846"/>
                </a:lnTo>
                <a:lnTo>
                  <a:pt x="946" y="1853"/>
                </a:lnTo>
                <a:lnTo>
                  <a:pt x="945" y="1860"/>
                </a:lnTo>
                <a:lnTo>
                  <a:pt x="943" y="1867"/>
                </a:lnTo>
                <a:lnTo>
                  <a:pt x="940" y="1874"/>
                </a:lnTo>
                <a:lnTo>
                  <a:pt x="932" y="1887"/>
                </a:lnTo>
                <a:lnTo>
                  <a:pt x="922" y="1900"/>
                </a:lnTo>
                <a:lnTo>
                  <a:pt x="912" y="1913"/>
                </a:lnTo>
                <a:lnTo>
                  <a:pt x="902" y="1924"/>
                </a:lnTo>
                <a:lnTo>
                  <a:pt x="892" y="1934"/>
                </a:lnTo>
                <a:lnTo>
                  <a:pt x="875" y="1948"/>
                </a:lnTo>
                <a:lnTo>
                  <a:pt x="869" y="1955"/>
                </a:lnTo>
                <a:lnTo>
                  <a:pt x="869" y="1955"/>
                </a:lnTo>
                <a:lnTo>
                  <a:pt x="877" y="1959"/>
                </a:lnTo>
                <a:lnTo>
                  <a:pt x="888" y="1961"/>
                </a:lnTo>
                <a:lnTo>
                  <a:pt x="899" y="1962"/>
                </a:lnTo>
                <a:lnTo>
                  <a:pt x="912" y="1961"/>
                </a:lnTo>
                <a:lnTo>
                  <a:pt x="926" y="1958"/>
                </a:lnTo>
                <a:lnTo>
                  <a:pt x="941" y="1954"/>
                </a:lnTo>
                <a:lnTo>
                  <a:pt x="957" y="1947"/>
                </a:lnTo>
                <a:lnTo>
                  <a:pt x="972" y="1939"/>
                </a:lnTo>
                <a:lnTo>
                  <a:pt x="989" y="1930"/>
                </a:lnTo>
                <a:lnTo>
                  <a:pt x="1004" y="1919"/>
                </a:lnTo>
                <a:lnTo>
                  <a:pt x="1019" y="1906"/>
                </a:lnTo>
                <a:lnTo>
                  <a:pt x="1035" y="1891"/>
                </a:lnTo>
                <a:lnTo>
                  <a:pt x="1048" y="1874"/>
                </a:lnTo>
                <a:lnTo>
                  <a:pt x="1061" y="1855"/>
                </a:lnTo>
                <a:lnTo>
                  <a:pt x="1073" y="1835"/>
                </a:lnTo>
                <a:lnTo>
                  <a:pt x="1083" y="1814"/>
                </a:lnTo>
                <a:lnTo>
                  <a:pt x="1083" y="1814"/>
                </a:lnTo>
                <a:lnTo>
                  <a:pt x="1086" y="1805"/>
                </a:lnTo>
                <a:lnTo>
                  <a:pt x="1089" y="1799"/>
                </a:lnTo>
                <a:lnTo>
                  <a:pt x="1092" y="1794"/>
                </a:lnTo>
                <a:lnTo>
                  <a:pt x="1096" y="1790"/>
                </a:lnTo>
                <a:lnTo>
                  <a:pt x="1100" y="1787"/>
                </a:lnTo>
                <a:lnTo>
                  <a:pt x="1103" y="1784"/>
                </a:lnTo>
                <a:lnTo>
                  <a:pt x="1111" y="1781"/>
                </a:lnTo>
                <a:lnTo>
                  <a:pt x="1120" y="1778"/>
                </a:lnTo>
                <a:lnTo>
                  <a:pt x="1129" y="1774"/>
                </a:lnTo>
                <a:lnTo>
                  <a:pt x="1138" y="1768"/>
                </a:lnTo>
                <a:lnTo>
                  <a:pt x="1143" y="1763"/>
                </a:lnTo>
                <a:lnTo>
                  <a:pt x="1148" y="1758"/>
                </a:lnTo>
                <a:lnTo>
                  <a:pt x="1148" y="1758"/>
                </a:lnTo>
                <a:lnTo>
                  <a:pt x="1151" y="1752"/>
                </a:lnTo>
                <a:lnTo>
                  <a:pt x="1154" y="1746"/>
                </a:lnTo>
                <a:lnTo>
                  <a:pt x="1158" y="1740"/>
                </a:lnTo>
                <a:lnTo>
                  <a:pt x="1159" y="1734"/>
                </a:lnTo>
                <a:lnTo>
                  <a:pt x="1160" y="1719"/>
                </a:lnTo>
                <a:lnTo>
                  <a:pt x="1160" y="1705"/>
                </a:lnTo>
                <a:lnTo>
                  <a:pt x="1160" y="1690"/>
                </a:lnTo>
                <a:lnTo>
                  <a:pt x="1160" y="1676"/>
                </a:lnTo>
                <a:lnTo>
                  <a:pt x="1162" y="1661"/>
                </a:lnTo>
                <a:lnTo>
                  <a:pt x="1164" y="1655"/>
                </a:lnTo>
                <a:lnTo>
                  <a:pt x="1166" y="1649"/>
                </a:lnTo>
                <a:lnTo>
                  <a:pt x="1166" y="1649"/>
                </a:lnTo>
                <a:lnTo>
                  <a:pt x="1170" y="1643"/>
                </a:lnTo>
                <a:lnTo>
                  <a:pt x="1174" y="1638"/>
                </a:lnTo>
                <a:lnTo>
                  <a:pt x="1178" y="1633"/>
                </a:lnTo>
                <a:lnTo>
                  <a:pt x="1183" y="1628"/>
                </a:lnTo>
                <a:lnTo>
                  <a:pt x="1195" y="1620"/>
                </a:lnTo>
                <a:lnTo>
                  <a:pt x="1209" y="1614"/>
                </a:lnTo>
                <a:lnTo>
                  <a:pt x="1223" y="1609"/>
                </a:lnTo>
                <a:lnTo>
                  <a:pt x="1237" y="1605"/>
                </a:lnTo>
                <a:lnTo>
                  <a:pt x="1268" y="1597"/>
                </a:lnTo>
                <a:lnTo>
                  <a:pt x="1298" y="1591"/>
                </a:lnTo>
                <a:lnTo>
                  <a:pt x="1310" y="1587"/>
                </a:lnTo>
                <a:lnTo>
                  <a:pt x="1321" y="1581"/>
                </a:lnTo>
                <a:lnTo>
                  <a:pt x="1329" y="1575"/>
                </a:lnTo>
                <a:lnTo>
                  <a:pt x="1333" y="1572"/>
                </a:lnTo>
                <a:lnTo>
                  <a:pt x="1335" y="1568"/>
                </a:lnTo>
                <a:lnTo>
                  <a:pt x="1338" y="1564"/>
                </a:lnTo>
                <a:lnTo>
                  <a:pt x="1340" y="1559"/>
                </a:lnTo>
                <a:lnTo>
                  <a:pt x="1340" y="1554"/>
                </a:lnTo>
                <a:lnTo>
                  <a:pt x="1340" y="1549"/>
                </a:lnTo>
                <a:lnTo>
                  <a:pt x="1340" y="1549"/>
                </a:lnTo>
                <a:lnTo>
                  <a:pt x="1338" y="1534"/>
                </a:lnTo>
                <a:lnTo>
                  <a:pt x="1338" y="1521"/>
                </a:lnTo>
                <a:lnTo>
                  <a:pt x="1341" y="1509"/>
                </a:lnTo>
                <a:lnTo>
                  <a:pt x="1345" y="1499"/>
                </a:lnTo>
                <a:lnTo>
                  <a:pt x="1350" y="1488"/>
                </a:lnTo>
                <a:lnTo>
                  <a:pt x="1355" y="1480"/>
                </a:lnTo>
                <a:lnTo>
                  <a:pt x="1362" y="1472"/>
                </a:lnTo>
                <a:lnTo>
                  <a:pt x="1370" y="1465"/>
                </a:lnTo>
                <a:lnTo>
                  <a:pt x="1378" y="1459"/>
                </a:lnTo>
                <a:lnTo>
                  <a:pt x="1388" y="1453"/>
                </a:lnTo>
                <a:lnTo>
                  <a:pt x="1406" y="1443"/>
                </a:lnTo>
                <a:lnTo>
                  <a:pt x="1424" y="1435"/>
                </a:lnTo>
                <a:lnTo>
                  <a:pt x="1441" y="1428"/>
                </a:lnTo>
                <a:lnTo>
                  <a:pt x="1441" y="1428"/>
                </a:lnTo>
                <a:lnTo>
                  <a:pt x="1443" y="1428"/>
                </a:lnTo>
                <a:lnTo>
                  <a:pt x="1444" y="1429"/>
                </a:lnTo>
                <a:lnTo>
                  <a:pt x="1447" y="1431"/>
                </a:lnTo>
                <a:lnTo>
                  <a:pt x="1449" y="1436"/>
                </a:lnTo>
                <a:lnTo>
                  <a:pt x="1453" y="1443"/>
                </a:lnTo>
                <a:lnTo>
                  <a:pt x="1461" y="1462"/>
                </a:lnTo>
                <a:lnTo>
                  <a:pt x="1467" y="1473"/>
                </a:lnTo>
                <a:lnTo>
                  <a:pt x="1474" y="1485"/>
                </a:lnTo>
                <a:lnTo>
                  <a:pt x="1484" y="1498"/>
                </a:lnTo>
                <a:lnTo>
                  <a:pt x="1494" y="1511"/>
                </a:lnTo>
                <a:lnTo>
                  <a:pt x="1506" y="1525"/>
                </a:lnTo>
                <a:lnTo>
                  <a:pt x="1522" y="1539"/>
                </a:lnTo>
                <a:lnTo>
                  <a:pt x="1539" y="1552"/>
                </a:lnTo>
                <a:lnTo>
                  <a:pt x="1559" y="1564"/>
                </a:lnTo>
                <a:lnTo>
                  <a:pt x="1583" y="1576"/>
                </a:lnTo>
                <a:lnTo>
                  <a:pt x="1609" y="1587"/>
                </a:lnTo>
                <a:lnTo>
                  <a:pt x="1609" y="1587"/>
                </a:lnTo>
                <a:lnTo>
                  <a:pt x="1684" y="1556"/>
                </a:lnTo>
                <a:lnTo>
                  <a:pt x="1730" y="1534"/>
                </a:lnTo>
                <a:lnTo>
                  <a:pt x="1757" y="1521"/>
                </a:lnTo>
                <a:lnTo>
                  <a:pt x="1786" y="1506"/>
                </a:lnTo>
                <a:lnTo>
                  <a:pt x="1786" y="1506"/>
                </a:lnTo>
                <a:lnTo>
                  <a:pt x="1818" y="1489"/>
                </a:lnTo>
                <a:lnTo>
                  <a:pt x="1848" y="1472"/>
                </a:lnTo>
                <a:lnTo>
                  <a:pt x="1860" y="1464"/>
                </a:lnTo>
                <a:lnTo>
                  <a:pt x="1871" y="1457"/>
                </a:lnTo>
                <a:lnTo>
                  <a:pt x="1881" y="1449"/>
                </a:lnTo>
                <a:lnTo>
                  <a:pt x="1889" y="1442"/>
                </a:lnTo>
                <a:lnTo>
                  <a:pt x="1889" y="1442"/>
                </a:lnTo>
                <a:lnTo>
                  <a:pt x="1888" y="1440"/>
                </a:lnTo>
                <a:lnTo>
                  <a:pt x="1887" y="1438"/>
                </a:lnTo>
                <a:lnTo>
                  <a:pt x="1879" y="1431"/>
                </a:lnTo>
                <a:lnTo>
                  <a:pt x="1868" y="1420"/>
                </a:lnTo>
                <a:lnTo>
                  <a:pt x="1855" y="1406"/>
                </a:lnTo>
                <a:lnTo>
                  <a:pt x="1840" y="1388"/>
                </a:lnTo>
                <a:lnTo>
                  <a:pt x="1825" y="1369"/>
                </a:lnTo>
                <a:lnTo>
                  <a:pt x="1818" y="1358"/>
                </a:lnTo>
                <a:lnTo>
                  <a:pt x="1812" y="1345"/>
                </a:lnTo>
                <a:lnTo>
                  <a:pt x="1807" y="1334"/>
                </a:lnTo>
                <a:lnTo>
                  <a:pt x="1802" y="1321"/>
                </a:lnTo>
                <a:lnTo>
                  <a:pt x="1802" y="1321"/>
                </a:lnTo>
                <a:lnTo>
                  <a:pt x="1799" y="1308"/>
                </a:lnTo>
                <a:lnTo>
                  <a:pt x="1796" y="1297"/>
                </a:lnTo>
                <a:lnTo>
                  <a:pt x="1794" y="1288"/>
                </a:lnTo>
                <a:lnTo>
                  <a:pt x="1794" y="1279"/>
                </a:lnTo>
                <a:lnTo>
                  <a:pt x="1794" y="1272"/>
                </a:lnTo>
                <a:lnTo>
                  <a:pt x="1794" y="1267"/>
                </a:lnTo>
                <a:lnTo>
                  <a:pt x="1795" y="1263"/>
                </a:lnTo>
                <a:lnTo>
                  <a:pt x="1796" y="1261"/>
                </a:lnTo>
                <a:lnTo>
                  <a:pt x="1796" y="1261"/>
                </a:lnTo>
                <a:lnTo>
                  <a:pt x="1809" y="1278"/>
                </a:lnTo>
                <a:lnTo>
                  <a:pt x="1824" y="1295"/>
                </a:lnTo>
                <a:lnTo>
                  <a:pt x="1845" y="1316"/>
                </a:lnTo>
                <a:lnTo>
                  <a:pt x="1857" y="1327"/>
                </a:lnTo>
                <a:lnTo>
                  <a:pt x="1869" y="1338"/>
                </a:lnTo>
                <a:lnTo>
                  <a:pt x="1883" y="1349"/>
                </a:lnTo>
                <a:lnTo>
                  <a:pt x="1899" y="1361"/>
                </a:lnTo>
                <a:lnTo>
                  <a:pt x="1915" y="1372"/>
                </a:lnTo>
                <a:lnTo>
                  <a:pt x="1932" y="1381"/>
                </a:lnTo>
                <a:lnTo>
                  <a:pt x="1949" y="1390"/>
                </a:lnTo>
                <a:lnTo>
                  <a:pt x="1967" y="1398"/>
                </a:lnTo>
                <a:lnTo>
                  <a:pt x="1967" y="1398"/>
                </a:lnTo>
                <a:lnTo>
                  <a:pt x="2021" y="1370"/>
                </a:lnTo>
                <a:lnTo>
                  <a:pt x="2075" y="1340"/>
                </a:lnTo>
                <a:lnTo>
                  <a:pt x="2129" y="1307"/>
                </a:lnTo>
                <a:lnTo>
                  <a:pt x="2183" y="1273"/>
                </a:lnTo>
                <a:lnTo>
                  <a:pt x="2183" y="1273"/>
                </a:lnTo>
                <a:lnTo>
                  <a:pt x="2218" y="1249"/>
                </a:lnTo>
                <a:lnTo>
                  <a:pt x="2218" y="1249"/>
                </a:lnTo>
                <a:lnTo>
                  <a:pt x="2219" y="1248"/>
                </a:lnTo>
                <a:lnTo>
                  <a:pt x="2219" y="1248"/>
                </a:lnTo>
                <a:lnTo>
                  <a:pt x="2220" y="1246"/>
                </a:lnTo>
                <a:lnTo>
                  <a:pt x="2219" y="1244"/>
                </a:lnTo>
                <a:lnTo>
                  <a:pt x="2215" y="1237"/>
                </a:lnTo>
                <a:lnTo>
                  <a:pt x="2207" y="1228"/>
                </a:lnTo>
                <a:lnTo>
                  <a:pt x="2196" y="1217"/>
                </a:lnTo>
                <a:lnTo>
                  <a:pt x="2171" y="1193"/>
                </a:lnTo>
                <a:lnTo>
                  <a:pt x="2142" y="1164"/>
                </a:lnTo>
                <a:lnTo>
                  <a:pt x="2129" y="1150"/>
                </a:lnTo>
                <a:lnTo>
                  <a:pt x="2118" y="1136"/>
                </a:lnTo>
                <a:lnTo>
                  <a:pt x="2108" y="1121"/>
                </a:lnTo>
                <a:lnTo>
                  <a:pt x="2104" y="1114"/>
                </a:lnTo>
                <a:lnTo>
                  <a:pt x="2101" y="1108"/>
                </a:lnTo>
                <a:lnTo>
                  <a:pt x="2100" y="1101"/>
                </a:lnTo>
                <a:lnTo>
                  <a:pt x="2099" y="1095"/>
                </a:lnTo>
                <a:lnTo>
                  <a:pt x="2099" y="1089"/>
                </a:lnTo>
                <a:lnTo>
                  <a:pt x="2100" y="1084"/>
                </a:lnTo>
                <a:lnTo>
                  <a:pt x="2102" y="1078"/>
                </a:lnTo>
                <a:lnTo>
                  <a:pt x="2106" y="1073"/>
                </a:lnTo>
                <a:lnTo>
                  <a:pt x="2112" y="1069"/>
                </a:lnTo>
                <a:lnTo>
                  <a:pt x="2119" y="1065"/>
                </a:lnTo>
                <a:lnTo>
                  <a:pt x="2119" y="1065"/>
                </a:lnTo>
                <a:lnTo>
                  <a:pt x="2125" y="1061"/>
                </a:lnTo>
                <a:lnTo>
                  <a:pt x="2130" y="1056"/>
                </a:lnTo>
                <a:lnTo>
                  <a:pt x="2133" y="1051"/>
                </a:lnTo>
                <a:lnTo>
                  <a:pt x="2135" y="1045"/>
                </a:lnTo>
                <a:lnTo>
                  <a:pt x="2136" y="1039"/>
                </a:lnTo>
                <a:lnTo>
                  <a:pt x="2136" y="1030"/>
                </a:lnTo>
                <a:lnTo>
                  <a:pt x="2136" y="1023"/>
                </a:lnTo>
                <a:lnTo>
                  <a:pt x="2134" y="1014"/>
                </a:lnTo>
                <a:lnTo>
                  <a:pt x="2129" y="997"/>
                </a:lnTo>
                <a:lnTo>
                  <a:pt x="2121" y="977"/>
                </a:lnTo>
                <a:lnTo>
                  <a:pt x="2102" y="935"/>
                </a:lnTo>
                <a:lnTo>
                  <a:pt x="2093" y="914"/>
                </a:lnTo>
                <a:lnTo>
                  <a:pt x="2085" y="893"/>
                </a:lnTo>
                <a:lnTo>
                  <a:pt x="2078" y="873"/>
                </a:lnTo>
                <a:lnTo>
                  <a:pt x="2076" y="863"/>
                </a:lnTo>
                <a:lnTo>
                  <a:pt x="2074" y="853"/>
                </a:lnTo>
                <a:lnTo>
                  <a:pt x="2074" y="844"/>
                </a:lnTo>
                <a:lnTo>
                  <a:pt x="2074" y="836"/>
                </a:lnTo>
                <a:lnTo>
                  <a:pt x="2075" y="828"/>
                </a:lnTo>
                <a:lnTo>
                  <a:pt x="2077" y="821"/>
                </a:lnTo>
                <a:lnTo>
                  <a:pt x="2080" y="814"/>
                </a:lnTo>
                <a:lnTo>
                  <a:pt x="2085" y="807"/>
                </a:lnTo>
                <a:lnTo>
                  <a:pt x="2091" y="801"/>
                </a:lnTo>
                <a:lnTo>
                  <a:pt x="2099" y="797"/>
                </a:lnTo>
                <a:lnTo>
                  <a:pt x="2099" y="797"/>
                </a:lnTo>
                <a:lnTo>
                  <a:pt x="2200" y="744"/>
                </a:lnTo>
                <a:lnTo>
                  <a:pt x="2306" y="693"/>
                </a:lnTo>
                <a:lnTo>
                  <a:pt x="2410" y="642"/>
                </a:lnTo>
                <a:lnTo>
                  <a:pt x="2513" y="592"/>
                </a:lnTo>
                <a:lnTo>
                  <a:pt x="2705" y="501"/>
                </a:lnTo>
                <a:lnTo>
                  <a:pt x="2788" y="461"/>
                </a:lnTo>
                <a:lnTo>
                  <a:pt x="2863" y="424"/>
                </a:lnTo>
                <a:lnTo>
                  <a:pt x="2863" y="424"/>
                </a:lnTo>
                <a:lnTo>
                  <a:pt x="2859" y="408"/>
                </a:lnTo>
                <a:lnTo>
                  <a:pt x="2853" y="389"/>
                </a:lnTo>
                <a:lnTo>
                  <a:pt x="2843" y="366"/>
                </a:lnTo>
                <a:lnTo>
                  <a:pt x="2836" y="354"/>
                </a:lnTo>
                <a:lnTo>
                  <a:pt x="2829" y="339"/>
                </a:lnTo>
                <a:lnTo>
                  <a:pt x="2821" y="325"/>
                </a:lnTo>
                <a:lnTo>
                  <a:pt x="2812" y="311"/>
                </a:lnTo>
                <a:lnTo>
                  <a:pt x="2801" y="296"/>
                </a:lnTo>
                <a:lnTo>
                  <a:pt x="2788" y="281"/>
                </a:lnTo>
                <a:lnTo>
                  <a:pt x="2774" y="267"/>
                </a:lnTo>
                <a:lnTo>
                  <a:pt x="2759" y="25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5" name="Freeform 32"/>
          <p:cNvSpPr>
            <a:spLocks/>
          </p:cNvSpPr>
          <p:nvPr userDrawn="1"/>
        </p:nvSpPr>
        <p:spPr bwMode="auto">
          <a:xfrm>
            <a:off x="7194551" y="1861841"/>
            <a:ext cx="161925" cy="153988"/>
          </a:xfrm>
          <a:custGeom>
            <a:avLst/>
            <a:gdLst>
              <a:gd name="T0" fmla="*/ 2 w 1226"/>
              <a:gd name="T1" fmla="*/ 386 h 1168"/>
              <a:gd name="T2" fmla="*/ 22 w 1226"/>
              <a:gd name="T3" fmla="*/ 434 h 1168"/>
              <a:gd name="T4" fmla="*/ 61 w 1226"/>
              <a:gd name="T5" fmla="*/ 466 h 1168"/>
              <a:gd name="T6" fmla="*/ 120 w 1226"/>
              <a:gd name="T7" fmla="*/ 479 h 1168"/>
              <a:gd name="T8" fmla="*/ 142 w 1226"/>
              <a:gd name="T9" fmla="*/ 469 h 1168"/>
              <a:gd name="T10" fmla="*/ 160 w 1226"/>
              <a:gd name="T11" fmla="*/ 436 h 1168"/>
              <a:gd name="T12" fmla="*/ 164 w 1226"/>
              <a:gd name="T13" fmla="*/ 370 h 1168"/>
              <a:gd name="T14" fmla="*/ 174 w 1226"/>
              <a:gd name="T15" fmla="*/ 344 h 1168"/>
              <a:gd name="T16" fmla="*/ 198 w 1226"/>
              <a:gd name="T17" fmla="*/ 331 h 1168"/>
              <a:gd name="T18" fmla="*/ 223 w 1226"/>
              <a:gd name="T19" fmla="*/ 318 h 1168"/>
              <a:gd name="T20" fmla="*/ 427 w 1226"/>
              <a:gd name="T21" fmla="*/ 416 h 1168"/>
              <a:gd name="T22" fmla="*/ 628 w 1226"/>
              <a:gd name="T23" fmla="*/ 534 h 1168"/>
              <a:gd name="T24" fmla="*/ 876 w 1226"/>
              <a:gd name="T25" fmla="*/ 703 h 1168"/>
              <a:gd name="T26" fmla="*/ 868 w 1226"/>
              <a:gd name="T27" fmla="*/ 783 h 1168"/>
              <a:gd name="T28" fmla="*/ 779 w 1226"/>
              <a:gd name="T29" fmla="*/ 957 h 1168"/>
              <a:gd name="T30" fmla="*/ 753 w 1226"/>
              <a:gd name="T31" fmla="*/ 1040 h 1168"/>
              <a:gd name="T32" fmla="*/ 754 w 1226"/>
              <a:gd name="T33" fmla="*/ 1090 h 1168"/>
              <a:gd name="T34" fmla="*/ 771 w 1226"/>
              <a:gd name="T35" fmla="*/ 1130 h 1168"/>
              <a:gd name="T36" fmla="*/ 801 w 1226"/>
              <a:gd name="T37" fmla="*/ 1157 h 1168"/>
              <a:gd name="T38" fmla="*/ 842 w 1226"/>
              <a:gd name="T39" fmla="*/ 1168 h 1168"/>
              <a:gd name="T40" fmla="*/ 880 w 1226"/>
              <a:gd name="T41" fmla="*/ 1163 h 1168"/>
              <a:gd name="T42" fmla="*/ 919 w 1226"/>
              <a:gd name="T43" fmla="*/ 1140 h 1168"/>
              <a:gd name="T44" fmla="*/ 944 w 1226"/>
              <a:gd name="T45" fmla="*/ 1107 h 1168"/>
              <a:gd name="T46" fmla="*/ 952 w 1226"/>
              <a:gd name="T47" fmla="*/ 1060 h 1168"/>
              <a:gd name="T48" fmla="*/ 930 w 1226"/>
              <a:gd name="T49" fmla="*/ 1010 h 1168"/>
              <a:gd name="T50" fmla="*/ 885 w 1226"/>
              <a:gd name="T51" fmla="*/ 989 h 1168"/>
              <a:gd name="T52" fmla="*/ 919 w 1226"/>
              <a:gd name="T53" fmla="*/ 879 h 1168"/>
              <a:gd name="T54" fmla="*/ 954 w 1226"/>
              <a:gd name="T55" fmla="*/ 807 h 1168"/>
              <a:gd name="T56" fmla="*/ 1024 w 1226"/>
              <a:gd name="T57" fmla="*/ 715 h 1168"/>
              <a:gd name="T58" fmla="*/ 1095 w 1226"/>
              <a:gd name="T59" fmla="*/ 673 h 1168"/>
              <a:gd name="T60" fmla="*/ 1125 w 1226"/>
              <a:gd name="T61" fmla="*/ 670 h 1168"/>
              <a:gd name="T62" fmla="*/ 1099 w 1226"/>
              <a:gd name="T63" fmla="*/ 633 h 1168"/>
              <a:gd name="T64" fmla="*/ 1083 w 1226"/>
              <a:gd name="T65" fmla="*/ 543 h 1168"/>
              <a:gd name="T66" fmla="*/ 1096 w 1226"/>
              <a:gd name="T67" fmla="*/ 477 h 1168"/>
              <a:gd name="T68" fmla="*/ 1132 w 1226"/>
              <a:gd name="T69" fmla="*/ 395 h 1168"/>
              <a:gd name="T70" fmla="*/ 1195 w 1226"/>
              <a:gd name="T71" fmla="*/ 258 h 1168"/>
              <a:gd name="T72" fmla="*/ 1225 w 1226"/>
              <a:gd name="T73" fmla="*/ 141 h 1168"/>
              <a:gd name="T74" fmla="*/ 1217 w 1226"/>
              <a:gd name="T75" fmla="*/ 95 h 1168"/>
              <a:gd name="T76" fmla="*/ 1187 w 1226"/>
              <a:gd name="T77" fmla="*/ 55 h 1168"/>
              <a:gd name="T78" fmla="*/ 1144 w 1226"/>
              <a:gd name="T79" fmla="*/ 34 h 1168"/>
              <a:gd name="T80" fmla="*/ 1104 w 1226"/>
              <a:gd name="T81" fmla="*/ 35 h 1168"/>
              <a:gd name="T82" fmla="*/ 1061 w 1226"/>
              <a:gd name="T83" fmla="*/ 57 h 1168"/>
              <a:gd name="T84" fmla="*/ 1033 w 1226"/>
              <a:gd name="T85" fmla="*/ 94 h 1168"/>
              <a:gd name="T86" fmla="*/ 1025 w 1226"/>
              <a:gd name="T87" fmla="*/ 139 h 1168"/>
              <a:gd name="T88" fmla="*/ 1048 w 1226"/>
              <a:gd name="T89" fmla="*/ 205 h 1168"/>
              <a:gd name="T90" fmla="*/ 1095 w 1226"/>
              <a:gd name="T91" fmla="*/ 230 h 1168"/>
              <a:gd name="T92" fmla="*/ 1107 w 1226"/>
              <a:gd name="T93" fmla="*/ 240 h 1168"/>
              <a:gd name="T94" fmla="*/ 1044 w 1226"/>
              <a:gd name="T95" fmla="*/ 390 h 1168"/>
              <a:gd name="T96" fmla="*/ 975 w 1226"/>
              <a:gd name="T97" fmla="*/ 431 h 1168"/>
              <a:gd name="T98" fmla="*/ 717 w 1226"/>
              <a:gd name="T99" fmla="*/ 289 h 1168"/>
              <a:gd name="T100" fmla="*/ 529 w 1226"/>
              <a:gd name="T101" fmla="*/ 205 h 1168"/>
              <a:gd name="T102" fmla="*/ 317 w 1226"/>
              <a:gd name="T103" fmla="*/ 140 h 1168"/>
              <a:gd name="T104" fmla="*/ 378 w 1226"/>
              <a:gd name="T105" fmla="*/ 31 h 1168"/>
              <a:gd name="T106" fmla="*/ 389 w 1226"/>
              <a:gd name="T107" fmla="*/ 0 h 1168"/>
              <a:gd name="T108" fmla="*/ 367 w 1226"/>
              <a:gd name="T109" fmla="*/ 10 h 1168"/>
              <a:gd name="T110" fmla="*/ 285 w 1226"/>
              <a:gd name="T111" fmla="*/ 57 h 1168"/>
              <a:gd name="T112" fmla="*/ 211 w 1226"/>
              <a:gd name="T113" fmla="*/ 85 h 1168"/>
              <a:gd name="T114" fmla="*/ 147 w 1226"/>
              <a:gd name="T115" fmla="*/ 85 h 1168"/>
              <a:gd name="T116" fmla="*/ 114 w 1226"/>
              <a:gd name="T117" fmla="*/ 85 h 1168"/>
              <a:gd name="T118" fmla="*/ 87 w 1226"/>
              <a:gd name="T119" fmla="*/ 134 h 1168"/>
              <a:gd name="T120" fmla="*/ 42 w 1226"/>
              <a:gd name="T121" fmla="*/ 261 h 1168"/>
              <a:gd name="T122" fmla="*/ 6 w 1226"/>
              <a:gd name="T123" fmla="*/ 327 h 1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6" h="1168">
                <a:moveTo>
                  <a:pt x="1" y="345"/>
                </a:moveTo>
                <a:lnTo>
                  <a:pt x="1" y="345"/>
                </a:lnTo>
                <a:lnTo>
                  <a:pt x="0" y="359"/>
                </a:lnTo>
                <a:lnTo>
                  <a:pt x="0" y="370"/>
                </a:lnTo>
                <a:lnTo>
                  <a:pt x="2" y="386"/>
                </a:lnTo>
                <a:lnTo>
                  <a:pt x="5" y="401"/>
                </a:lnTo>
                <a:lnTo>
                  <a:pt x="8" y="409"/>
                </a:lnTo>
                <a:lnTo>
                  <a:pt x="11" y="417"/>
                </a:lnTo>
                <a:lnTo>
                  <a:pt x="16" y="425"/>
                </a:lnTo>
                <a:lnTo>
                  <a:pt x="22" y="434"/>
                </a:lnTo>
                <a:lnTo>
                  <a:pt x="28" y="442"/>
                </a:lnTo>
                <a:lnTo>
                  <a:pt x="36" y="449"/>
                </a:lnTo>
                <a:lnTo>
                  <a:pt x="36" y="449"/>
                </a:lnTo>
                <a:lnTo>
                  <a:pt x="48" y="458"/>
                </a:lnTo>
                <a:lnTo>
                  <a:pt x="61" y="466"/>
                </a:lnTo>
                <a:lnTo>
                  <a:pt x="76" y="473"/>
                </a:lnTo>
                <a:lnTo>
                  <a:pt x="91" y="478"/>
                </a:lnTo>
                <a:lnTo>
                  <a:pt x="105" y="480"/>
                </a:lnTo>
                <a:lnTo>
                  <a:pt x="113" y="480"/>
                </a:lnTo>
                <a:lnTo>
                  <a:pt x="120" y="479"/>
                </a:lnTo>
                <a:lnTo>
                  <a:pt x="126" y="478"/>
                </a:lnTo>
                <a:lnTo>
                  <a:pt x="132" y="476"/>
                </a:lnTo>
                <a:lnTo>
                  <a:pt x="137" y="473"/>
                </a:lnTo>
                <a:lnTo>
                  <a:pt x="142" y="469"/>
                </a:lnTo>
                <a:lnTo>
                  <a:pt x="142" y="469"/>
                </a:lnTo>
                <a:lnTo>
                  <a:pt x="147" y="464"/>
                </a:lnTo>
                <a:lnTo>
                  <a:pt x="152" y="457"/>
                </a:lnTo>
                <a:lnTo>
                  <a:pt x="155" y="451"/>
                </a:lnTo>
                <a:lnTo>
                  <a:pt x="158" y="444"/>
                </a:lnTo>
                <a:lnTo>
                  <a:pt x="160" y="436"/>
                </a:lnTo>
                <a:lnTo>
                  <a:pt x="161" y="428"/>
                </a:lnTo>
                <a:lnTo>
                  <a:pt x="162" y="411"/>
                </a:lnTo>
                <a:lnTo>
                  <a:pt x="162" y="395"/>
                </a:lnTo>
                <a:lnTo>
                  <a:pt x="163" y="378"/>
                </a:lnTo>
                <a:lnTo>
                  <a:pt x="164" y="370"/>
                </a:lnTo>
                <a:lnTo>
                  <a:pt x="166" y="362"/>
                </a:lnTo>
                <a:lnTo>
                  <a:pt x="168" y="355"/>
                </a:lnTo>
                <a:lnTo>
                  <a:pt x="172" y="347"/>
                </a:lnTo>
                <a:lnTo>
                  <a:pt x="172" y="347"/>
                </a:lnTo>
                <a:lnTo>
                  <a:pt x="174" y="344"/>
                </a:lnTo>
                <a:lnTo>
                  <a:pt x="178" y="341"/>
                </a:lnTo>
                <a:lnTo>
                  <a:pt x="187" y="335"/>
                </a:lnTo>
                <a:lnTo>
                  <a:pt x="195" y="332"/>
                </a:lnTo>
                <a:lnTo>
                  <a:pt x="198" y="331"/>
                </a:lnTo>
                <a:lnTo>
                  <a:pt x="198" y="331"/>
                </a:lnTo>
                <a:lnTo>
                  <a:pt x="205" y="329"/>
                </a:lnTo>
                <a:lnTo>
                  <a:pt x="211" y="326"/>
                </a:lnTo>
                <a:lnTo>
                  <a:pt x="217" y="323"/>
                </a:lnTo>
                <a:lnTo>
                  <a:pt x="223" y="318"/>
                </a:lnTo>
                <a:lnTo>
                  <a:pt x="223" y="318"/>
                </a:lnTo>
                <a:lnTo>
                  <a:pt x="264" y="337"/>
                </a:lnTo>
                <a:lnTo>
                  <a:pt x="305" y="355"/>
                </a:lnTo>
                <a:lnTo>
                  <a:pt x="347" y="374"/>
                </a:lnTo>
                <a:lnTo>
                  <a:pt x="388" y="395"/>
                </a:lnTo>
                <a:lnTo>
                  <a:pt x="427" y="416"/>
                </a:lnTo>
                <a:lnTo>
                  <a:pt x="468" y="439"/>
                </a:lnTo>
                <a:lnTo>
                  <a:pt x="509" y="461"/>
                </a:lnTo>
                <a:lnTo>
                  <a:pt x="549" y="485"/>
                </a:lnTo>
                <a:lnTo>
                  <a:pt x="589" y="509"/>
                </a:lnTo>
                <a:lnTo>
                  <a:pt x="628" y="534"/>
                </a:lnTo>
                <a:lnTo>
                  <a:pt x="706" y="584"/>
                </a:lnTo>
                <a:lnTo>
                  <a:pt x="782" y="636"/>
                </a:lnTo>
                <a:lnTo>
                  <a:pt x="857" y="689"/>
                </a:lnTo>
                <a:lnTo>
                  <a:pt x="857" y="689"/>
                </a:lnTo>
                <a:lnTo>
                  <a:pt x="876" y="703"/>
                </a:lnTo>
                <a:lnTo>
                  <a:pt x="894" y="714"/>
                </a:lnTo>
                <a:lnTo>
                  <a:pt x="894" y="714"/>
                </a:lnTo>
                <a:lnTo>
                  <a:pt x="887" y="736"/>
                </a:lnTo>
                <a:lnTo>
                  <a:pt x="878" y="759"/>
                </a:lnTo>
                <a:lnTo>
                  <a:pt x="868" y="783"/>
                </a:lnTo>
                <a:lnTo>
                  <a:pt x="856" y="809"/>
                </a:lnTo>
                <a:lnTo>
                  <a:pt x="856" y="809"/>
                </a:lnTo>
                <a:lnTo>
                  <a:pt x="816" y="885"/>
                </a:lnTo>
                <a:lnTo>
                  <a:pt x="797" y="921"/>
                </a:lnTo>
                <a:lnTo>
                  <a:pt x="779" y="957"/>
                </a:lnTo>
                <a:lnTo>
                  <a:pt x="772" y="975"/>
                </a:lnTo>
                <a:lnTo>
                  <a:pt x="766" y="992"/>
                </a:lnTo>
                <a:lnTo>
                  <a:pt x="760" y="1008"/>
                </a:lnTo>
                <a:lnTo>
                  <a:pt x="756" y="1025"/>
                </a:lnTo>
                <a:lnTo>
                  <a:pt x="753" y="1040"/>
                </a:lnTo>
                <a:lnTo>
                  <a:pt x="751" y="1054"/>
                </a:lnTo>
                <a:lnTo>
                  <a:pt x="751" y="1069"/>
                </a:lnTo>
                <a:lnTo>
                  <a:pt x="752" y="1081"/>
                </a:lnTo>
                <a:lnTo>
                  <a:pt x="752" y="1081"/>
                </a:lnTo>
                <a:lnTo>
                  <a:pt x="754" y="1090"/>
                </a:lnTo>
                <a:lnTo>
                  <a:pt x="756" y="1099"/>
                </a:lnTo>
                <a:lnTo>
                  <a:pt x="759" y="1107"/>
                </a:lnTo>
                <a:lnTo>
                  <a:pt x="762" y="1116"/>
                </a:lnTo>
                <a:lnTo>
                  <a:pt x="766" y="1123"/>
                </a:lnTo>
                <a:lnTo>
                  <a:pt x="771" y="1130"/>
                </a:lnTo>
                <a:lnTo>
                  <a:pt x="776" y="1136"/>
                </a:lnTo>
                <a:lnTo>
                  <a:pt x="781" y="1142"/>
                </a:lnTo>
                <a:lnTo>
                  <a:pt x="787" y="1147"/>
                </a:lnTo>
                <a:lnTo>
                  <a:pt x="794" y="1152"/>
                </a:lnTo>
                <a:lnTo>
                  <a:pt x="801" y="1157"/>
                </a:lnTo>
                <a:lnTo>
                  <a:pt x="808" y="1160"/>
                </a:lnTo>
                <a:lnTo>
                  <a:pt x="816" y="1163"/>
                </a:lnTo>
                <a:lnTo>
                  <a:pt x="824" y="1165"/>
                </a:lnTo>
                <a:lnTo>
                  <a:pt x="833" y="1167"/>
                </a:lnTo>
                <a:lnTo>
                  <a:pt x="842" y="1168"/>
                </a:lnTo>
                <a:lnTo>
                  <a:pt x="842" y="1168"/>
                </a:lnTo>
                <a:lnTo>
                  <a:pt x="852" y="1168"/>
                </a:lnTo>
                <a:lnTo>
                  <a:pt x="862" y="1167"/>
                </a:lnTo>
                <a:lnTo>
                  <a:pt x="871" y="1165"/>
                </a:lnTo>
                <a:lnTo>
                  <a:pt x="880" y="1163"/>
                </a:lnTo>
                <a:lnTo>
                  <a:pt x="889" y="1160"/>
                </a:lnTo>
                <a:lnTo>
                  <a:pt x="897" y="1155"/>
                </a:lnTo>
                <a:lnTo>
                  <a:pt x="905" y="1151"/>
                </a:lnTo>
                <a:lnTo>
                  <a:pt x="912" y="1146"/>
                </a:lnTo>
                <a:lnTo>
                  <a:pt x="919" y="1140"/>
                </a:lnTo>
                <a:lnTo>
                  <a:pt x="925" y="1135"/>
                </a:lnTo>
                <a:lnTo>
                  <a:pt x="931" y="1129"/>
                </a:lnTo>
                <a:lnTo>
                  <a:pt x="936" y="1122"/>
                </a:lnTo>
                <a:lnTo>
                  <a:pt x="940" y="1115"/>
                </a:lnTo>
                <a:lnTo>
                  <a:pt x="944" y="1107"/>
                </a:lnTo>
                <a:lnTo>
                  <a:pt x="947" y="1100"/>
                </a:lnTo>
                <a:lnTo>
                  <a:pt x="949" y="1092"/>
                </a:lnTo>
                <a:lnTo>
                  <a:pt x="949" y="1092"/>
                </a:lnTo>
                <a:lnTo>
                  <a:pt x="951" y="1076"/>
                </a:lnTo>
                <a:lnTo>
                  <a:pt x="952" y="1060"/>
                </a:lnTo>
                <a:lnTo>
                  <a:pt x="950" y="1048"/>
                </a:lnTo>
                <a:lnTo>
                  <a:pt x="947" y="1036"/>
                </a:lnTo>
                <a:lnTo>
                  <a:pt x="942" y="1027"/>
                </a:lnTo>
                <a:lnTo>
                  <a:pt x="937" y="1017"/>
                </a:lnTo>
                <a:lnTo>
                  <a:pt x="930" y="1010"/>
                </a:lnTo>
                <a:lnTo>
                  <a:pt x="922" y="1005"/>
                </a:lnTo>
                <a:lnTo>
                  <a:pt x="915" y="1000"/>
                </a:lnTo>
                <a:lnTo>
                  <a:pt x="908" y="996"/>
                </a:lnTo>
                <a:lnTo>
                  <a:pt x="894" y="991"/>
                </a:lnTo>
                <a:lnTo>
                  <a:pt x="885" y="989"/>
                </a:lnTo>
                <a:lnTo>
                  <a:pt x="880" y="989"/>
                </a:lnTo>
                <a:lnTo>
                  <a:pt x="880" y="989"/>
                </a:lnTo>
                <a:lnTo>
                  <a:pt x="896" y="944"/>
                </a:lnTo>
                <a:lnTo>
                  <a:pt x="908" y="908"/>
                </a:lnTo>
                <a:lnTo>
                  <a:pt x="919" y="879"/>
                </a:lnTo>
                <a:lnTo>
                  <a:pt x="919" y="879"/>
                </a:lnTo>
                <a:lnTo>
                  <a:pt x="927" y="859"/>
                </a:lnTo>
                <a:lnTo>
                  <a:pt x="937" y="841"/>
                </a:lnTo>
                <a:lnTo>
                  <a:pt x="945" y="823"/>
                </a:lnTo>
                <a:lnTo>
                  <a:pt x="954" y="807"/>
                </a:lnTo>
                <a:lnTo>
                  <a:pt x="962" y="792"/>
                </a:lnTo>
                <a:lnTo>
                  <a:pt x="971" y="777"/>
                </a:lnTo>
                <a:lnTo>
                  <a:pt x="989" y="753"/>
                </a:lnTo>
                <a:lnTo>
                  <a:pt x="1006" y="732"/>
                </a:lnTo>
                <a:lnTo>
                  <a:pt x="1024" y="715"/>
                </a:lnTo>
                <a:lnTo>
                  <a:pt x="1040" y="702"/>
                </a:lnTo>
                <a:lnTo>
                  <a:pt x="1055" y="690"/>
                </a:lnTo>
                <a:lnTo>
                  <a:pt x="1070" y="683"/>
                </a:lnTo>
                <a:lnTo>
                  <a:pt x="1083" y="677"/>
                </a:lnTo>
                <a:lnTo>
                  <a:pt x="1095" y="673"/>
                </a:lnTo>
                <a:lnTo>
                  <a:pt x="1105" y="671"/>
                </a:lnTo>
                <a:lnTo>
                  <a:pt x="1114" y="670"/>
                </a:lnTo>
                <a:lnTo>
                  <a:pt x="1120" y="670"/>
                </a:lnTo>
                <a:lnTo>
                  <a:pt x="1125" y="670"/>
                </a:lnTo>
                <a:lnTo>
                  <a:pt x="1125" y="670"/>
                </a:lnTo>
                <a:lnTo>
                  <a:pt x="1121" y="666"/>
                </a:lnTo>
                <a:lnTo>
                  <a:pt x="1116" y="661"/>
                </a:lnTo>
                <a:lnTo>
                  <a:pt x="1111" y="653"/>
                </a:lnTo>
                <a:lnTo>
                  <a:pt x="1104" y="644"/>
                </a:lnTo>
                <a:lnTo>
                  <a:pt x="1099" y="633"/>
                </a:lnTo>
                <a:lnTo>
                  <a:pt x="1093" y="620"/>
                </a:lnTo>
                <a:lnTo>
                  <a:pt x="1088" y="603"/>
                </a:lnTo>
                <a:lnTo>
                  <a:pt x="1085" y="586"/>
                </a:lnTo>
                <a:lnTo>
                  <a:pt x="1083" y="566"/>
                </a:lnTo>
                <a:lnTo>
                  <a:pt x="1083" y="543"/>
                </a:lnTo>
                <a:lnTo>
                  <a:pt x="1084" y="531"/>
                </a:lnTo>
                <a:lnTo>
                  <a:pt x="1086" y="519"/>
                </a:lnTo>
                <a:lnTo>
                  <a:pt x="1088" y="505"/>
                </a:lnTo>
                <a:lnTo>
                  <a:pt x="1092" y="491"/>
                </a:lnTo>
                <a:lnTo>
                  <a:pt x="1096" y="477"/>
                </a:lnTo>
                <a:lnTo>
                  <a:pt x="1101" y="461"/>
                </a:lnTo>
                <a:lnTo>
                  <a:pt x="1107" y="446"/>
                </a:lnTo>
                <a:lnTo>
                  <a:pt x="1115" y="430"/>
                </a:lnTo>
                <a:lnTo>
                  <a:pt x="1123" y="412"/>
                </a:lnTo>
                <a:lnTo>
                  <a:pt x="1132" y="395"/>
                </a:lnTo>
                <a:lnTo>
                  <a:pt x="1132" y="395"/>
                </a:lnTo>
                <a:lnTo>
                  <a:pt x="1152" y="358"/>
                </a:lnTo>
                <a:lnTo>
                  <a:pt x="1169" y="322"/>
                </a:lnTo>
                <a:lnTo>
                  <a:pt x="1184" y="289"/>
                </a:lnTo>
                <a:lnTo>
                  <a:pt x="1195" y="258"/>
                </a:lnTo>
                <a:lnTo>
                  <a:pt x="1206" y="227"/>
                </a:lnTo>
                <a:lnTo>
                  <a:pt x="1214" y="197"/>
                </a:lnTo>
                <a:lnTo>
                  <a:pt x="1220" y="169"/>
                </a:lnTo>
                <a:lnTo>
                  <a:pt x="1225" y="141"/>
                </a:lnTo>
                <a:lnTo>
                  <a:pt x="1225" y="141"/>
                </a:lnTo>
                <a:lnTo>
                  <a:pt x="1226" y="132"/>
                </a:lnTo>
                <a:lnTo>
                  <a:pt x="1225" y="123"/>
                </a:lnTo>
                <a:lnTo>
                  <a:pt x="1224" y="114"/>
                </a:lnTo>
                <a:lnTo>
                  <a:pt x="1221" y="104"/>
                </a:lnTo>
                <a:lnTo>
                  <a:pt x="1217" y="95"/>
                </a:lnTo>
                <a:lnTo>
                  <a:pt x="1213" y="87"/>
                </a:lnTo>
                <a:lnTo>
                  <a:pt x="1208" y="78"/>
                </a:lnTo>
                <a:lnTo>
                  <a:pt x="1202" y="70"/>
                </a:lnTo>
                <a:lnTo>
                  <a:pt x="1194" y="63"/>
                </a:lnTo>
                <a:lnTo>
                  <a:pt x="1187" y="55"/>
                </a:lnTo>
                <a:lnTo>
                  <a:pt x="1179" y="49"/>
                </a:lnTo>
                <a:lnTo>
                  <a:pt x="1171" y="44"/>
                </a:lnTo>
                <a:lnTo>
                  <a:pt x="1163" y="39"/>
                </a:lnTo>
                <a:lnTo>
                  <a:pt x="1153" y="36"/>
                </a:lnTo>
                <a:lnTo>
                  <a:pt x="1144" y="34"/>
                </a:lnTo>
                <a:lnTo>
                  <a:pt x="1134" y="32"/>
                </a:lnTo>
                <a:lnTo>
                  <a:pt x="1134" y="32"/>
                </a:lnTo>
                <a:lnTo>
                  <a:pt x="1124" y="32"/>
                </a:lnTo>
                <a:lnTo>
                  <a:pt x="1115" y="33"/>
                </a:lnTo>
                <a:lnTo>
                  <a:pt x="1104" y="35"/>
                </a:lnTo>
                <a:lnTo>
                  <a:pt x="1095" y="38"/>
                </a:lnTo>
                <a:lnTo>
                  <a:pt x="1086" y="42"/>
                </a:lnTo>
                <a:lnTo>
                  <a:pt x="1078" y="46"/>
                </a:lnTo>
                <a:lnTo>
                  <a:pt x="1070" y="52"/>
                </a:lnTo>
                <a:lnTo>
                  <a:pt x="1061" y="57"/>
                </a:lnTo>
                <a:lnTo>
                  <a:pt x="1054" y="65"/>
                </a:lnTo>
                <a:lnTo>
                  <a:pt x="1048" y="71"/>
                </a:lnTo>
                <a:lnTo>
                  <a:pt x="1042" y="78"/>
                </a:lnTo>
                <a:lnTo>
                  <a:pt x="1037" y="86"/>
                </a:lnTo>
                <a:lnTo>
                  <a:pt x="1033" y="94"/>
                </a:lnTo>
                <a:lnTo>
                  <a:pt x="1029" y="102"/>
                </a:lnTo>
                <a:lnTo>
                  <a:pt x="1027" y="111"/>
                </a:lnTo>
                <a:lnTo>
                  <a:pt x="1026" y="119"/>
                </a:lnTo>
                <a:lnTo>
                  <a:pt x="1026" y="119"/>
                </a:lnTo>
                <a:lnTo>
                  <a:pt x="1025" y="139"/>
                </a:lnTo>
                <a:lnTo>
                  <a:pt x="1026" y="158"/>
                </a:lnTo>
                <a:lnTo>
                  <a:pt x="1030" y="173"/>
                </a:lnTo>
                <a:lnTo>
                  <a:pt x="1035" y="185"/>
                </a:lnTo>
                <a:lnTo>
                  <a:pt x="1041" y="195"/>
                </a:lnTo>
                <a:lnTo>
                  <a:pt x="1048" y="205"/>
                </a:lnTo>
                <a:lnTo>
                  <a:pt x="1056" y="212"/>
                </a:lnTo>
                <a:lnTo>
                  <a:pt x="1065" y="217"/>
                </a:lnTo>
                <a:lnTo>
                  <a:pt x="1073" y="221"/>
                </a:lnTo>
                <a:lnTo>
                  <a:pt x="1081" y="225"/>
                </a:lnTo>
                <a:lnTo>
                  <a:pt x="1095" y="230"/>
                </a:lnTo>
                <a:lnTo>
                  <a:pt x="1101" y="232"/>
                </a:lnTo>
                <a:lnTo>
                  <a:pt x="1104" y="234"/>
                </a:lnTo>
                <a:lnTo>
                  <a:pt x="1107" y="237"/>
                </a:lnTo>
                <a:lnTo>
                  <a:pt x="1107" y="240"/>
                </a:lnTo>
                <a:lnTo>
                  <a:pt x="1107" y="240"/>
                </a:lnTo>
                <a:lnTo>
                  <a:pt x="1096" y="276"/>
                </a:lnTo>
                <a:lnTo>
                  <a:pt x="1084" y="309"/>
                </a:lnTo>
                <a:lnTo>
                  <a:pt x="1071" y="339"/>
                </a:lnTo>
                <a:lnTo>
                  <a:pt x="1057" y="365"/>
                </a:lnTo>
                <a:lnTo>
                  <a:pt x="1044" y="390"/>
                </a:lnTo>
                <a:lnTo>
                  <a:pt x="1031" y="411"/>
                </a:lnTo>
                <a:lnTo>
                  <a:pt x="1016" y="431"/>
                </a:lnTo>
                <a:lnTo>
                  <a:pt x="1002" y="447"/>
                </a:lnTo>
                <a:lnTo>
                  <a:pt x="1002" y="447"/>
                </a:lnTo>
                <a:lnTo>
                  <a:pt x="975" y="431"/>
                </a:lnTo>
                <a:lnTo>
                  <a:pt x="942" y="411"/>
                </a:lnTo>
                <a:lnTo>
                  <a:pt x="942" y="411"/>
                </a:lnTo>
                <a:lnTo>
                  <a:pt x="865" y="369"/>
                </a:lnTo>
                <a:lnTo>
                  <a:pt x="790" y="328"/>
                </a:lnTo>
                <a:lnTo>
                  <a:pt x="717" y="289"/>
                </a:lnTo>
                <a:lnTo>
                  <a:pt x="680" y="271"/>
                </a:lnTo>
                <a:lnTo>
                  <a:pt x="643" y="254"/>
                </a:lnTo>
                <a:lnTo>
                  <a:pt x="606" y="236"/>
                </a:lnTo>
                <a:lnTo>
                  <a:pt x="568" y="221"/>
                </a:lnTo>
                <a:lnTo>
                  <a:pt x="529" y="205"/>
                </a:lnTo>
                <a:lnTo>
                  <a:pt x="489" y="190"/>
                </a:lnTo>
                <a:lnTo>
                  <a:pt x="448" y="176"/>
                </a:lnTo>
                <a:lnTo>
                  <a:pt x="406" y="164"/>
                </a:lnTo>
                <a:lnTo>
                  <a:pt x="362" y="151"/>
                </a:lnTo>
                <a:lnTo>
                  <a:pt x="317" y="140"/>
                </a:lnTo>
                <a:lnTo>
                  <a:pt x="317" y="140"/>
                </a:lnTo>
                <a:lnTo>
                  <a:pt x="334" y="107"/>
                </a:lnTo>
                <a:lnTo>
                  <a:pt x="334" y="107"/>
                </a:lnTo>
                <a:lnTo>
                  <a:pt x="360" y="63"/>
                </a:lnTo>
                <a:lnTo>
                  <a:pt x="378" y="31"/>
                </a:lnTo>
                <a:lnTo>
                  <a:pt x="385" y="20"/>
                </a:lnTo>
                <a:lnTo>
                  <a:pt x="389" y="10"/>
                </a:lnTo>
                <a:lnTo>
                  <a:pt x="391" y="4"/>
                </a:lnTo>
                <a:lnTo>
                  <a:pt x="390" y="2"/>
                </a:lnTo>
                <a:lnTo>
                  <a:pt x="389" y="0"/>
                </a:lnTo>
                <a:lnTo>
                  <a:pt x="389" y="0"/>
                </a:lnTo>
                <a:lnTo>
                  <a:pt x="388" y="0"/>
                </a:lnTo>
                <a:lnTo>
                  <a:pt x="387" y="0"/>
                </a:lnTo>
                <a:lnTo>
                  <a:pt x="381" y="1"/>
                </a:lnTo>
                <a:lnTo>
                  <a:pt x="367" y="10"/>
                </a:lnTo>
                <a:lnTo>
                  <a:pt x="343" y="26"/>
                </a:lnTo>
                <a:lnTo>
                  <a:pt x="326" y="35"/>
                </a:lnTo>
                <a:lnTo>
                  <a:pt x="307" y="46"/>
                </a:lnTo>
                <a:lnTo>
                  <a:pt x="307" y="46"/>
                </a:lnTo>
                <a:lnTo>
                  <a:pt x="285" y="57"/>
                </a:lnTo>
                <a:lnTo>
                  <a:pt x="267" y="67"/>
                </a:lnTo>
                <a:lnTo>
                  <a:pt x="252" y="73"/>
                </a:lnTo>
                <a:lnTo>
                  <a:pt x="237" y="78"/>
                </a:lnTo>
                <a:lnTo>
                  <a:pt x="224" y="82"/>
                </a:lnTo>
                <a:lnTo>
                  <a:pt x="211" y="85"/>
                </a:lnTo>
                <a:lnTo>
                  <a:pt x="183" y="89"/>
                </a:lnTo>
                <a:lnTo>
                  <a:pt x="183" y="89"/>
                </a:lnTo>
                <a:lnTo>
                  <a:pt x="174" y="89"/>
                </a:lnTo>
                <a:lnTo>
                  <a:pt x="165" y="88"/>
                </a:lnTo>
                <a:lnTo>
                  <a:pt x="147" y="85"/>
                </a:lnTo>
                <a:lnTo>
                  <a:pt x="132" y="81"/>
                </a:lnTo>
                <a:lnTo>
                  <a:pt x="125" y="81"/>
                </a:lnTo>
                <a:lnTo>
                  <a:pt x="120" y="82"/>
                </a:lnTo>
                <a:lnTo>
                  <a:pt x="120" y="82"/>
                </a:lnTo>
                <a:lnTo>
                  <a:pt x="114" y="85"/>
                </a:lnTo>
                <a:lnTo>
                  <a:pt x="107" y="91"/>
                </a:lnTo>
                <a:lnTo>
                  <a:pt x="102" y="98"/>
                </a:lnTo>
                <a:lnTo>
                  <a:pt x="97" y="107"/>
                </a:lnTo>
                <a:lnTo>
                  <a:pt x="92" y="120"/>
                </a:lnTo>
                <a:lnTo>
                  <a:pt x="87" y="134"/>
                </a:lnTo>
                <a:lnTo>
                  <a:pt x="74" y="171"/>
                </a:lnTo>
                <a:lnTo>
                  <a:pt x="74" y="171"/>
                </a:lnTo>
                <a:lnTo>
                  <a:pt x="49" y="242"/>
                </a:lnTo>
                <a:lnTo>
                  <a:pt x="42" y="261"/>
                </a:lnTo>
                <a:lnTo>
                  <a:pt x="42" y="261"/>
                </a:lnTo>
                <a:lnTo>
                  <a:pt x="34" y="279"/>
                </a:lnTo>
                <a:lnTo>
                  <a:pt x="27" y="293"/>
                </a:lnTo>
                <a:lnTo>
                  <a:pt x="14" y="312"/>
                </a:lnTo>
                <a:lnTo>
                  <a:pt x="10" y="320"/>
                </a:lnTo>
                <a:lnTo>
                  <a:pt x="6" y="327"/>
                </a:lnTo>
                <a:lnTo>
                  <a:pt x="3" y="335"/>
                </a:lnTo>
                <a:lnTo>
                  <a:pt x="1" y="34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6" name="Freeform 33"/>
          <p:cNvSpPr>
            <a:spLocks/>
          </p:cNvSpPr>
          <p:nvPr userDrawn="1"/>
        </p:nvSpPr>
        <p:spPr bwMode="auto">
          <a:xfrm>
            <a:off x="7189787" y="1214140"/>
            <a:ext cx="39688" cy="46038"/>
          </a:xfrm>
          <a:custGeom>
            <a:avLst/>
            <a:gdLst>
              <a:gd name="T0" fmla="*/ 103 w 296"/>
              <a:gd name="T1" fmla="*/ 350 h 350"/>
              <a:gd name="T2" fmla="*/ 103 w 296"/>
              <a:gd name="T3" fmla="*/ 350 h 350"/>
              <a:gd name="T4" fmla="*/ 132 w 296"/>
              <a:gd name="T5" fmla="*/ 349 h 350"/>
              <a:gd name="T6" fmla="*/ 164 w 296"/>
              <a:gd name="T7" fmla="*/ 346 h 350"/>
              <a:gd name="T8" fmla="*/ 196 w 296"/>
              <a:gd name="T9" fmla="*/ 343 h 350"/>
              <a:gd name="T10" fmla="*/ 226 w 296"/>
              <a:gd name="T11" fmla="*/ 339 h 350"/>
              <a:gd name="T12" fmla="*/ 276 w 296"/>
              <a:gd name="T13" fmla="*/ 333 h 350"/>
              <a:gd name="T14" fmla="*/ 296 w 296"/>
              <a:gd name="T15" fmla="*/ 329 h 350"/>
              <a:gd name="T16" fmla="*/ 293 w 296"/>
              <a:gd name="T17" fmla="*/ 25 h 350"/>
              <a:gd name="T18" fmla="*/ 293 w 296"/>
              <a:gd name="T19" fmla="*/ 25 h 350"/>
              <a:gd name="T20" fmla="*/ 244 w 296"/>
              <a:gd name="T21" fmla="*/ 18 h 350"/>
              <a:gd name="T22" fmla="*/ 142 w 296"/>
              <a:gd name="T23" fmla="*/ 2 h 350"/>
              <a:gd name="T24" fmla="*/ 142 w 296"/>
              <a:gd name="T25" fmla="*/ 2 h 350"/>
              <a:gd name="T26" fmla="*/ 129 w 296"/>
              <a:gd name="T27" fmla="*/ 1 h 350"/>
              <a:gd name="T28" fmla="*/ 117 w 296"/>
              <a:gd name="T29" fmla="*/ 0 h 350"/>
              <a:gd name="T30" fmla="*/ 105 w 296"/>
              <a:gd name="T31" fmla="*/ 0 h 350"/>
              <a:gd name="T32" fmla="*/ 94 w 296"/>
              <a:gd name="T33" fmla="*/ 1 h 350"/>
              <a:gd name="T34" fmla="*/ 84 w 296"/>
              <a:gd name="T35" fmla="*/ 3 h 350"/>
              <a:gd name="T36" fmla="*/ 75 w 296"/>
              <a:gd name="T37" fmla="*/ 6 h 350"/>
              <a:gd name="T38" fmla="*/ 66 w 296"/>
              <a:gd name="T39" fmla="*/ 9 h 350"/>
              <a:gd name="T40" fmla="*/ 59 w 296"/>
              <a:gd name="T41" fmla="*/ 13 h 350"/>
              <a:gd name="T42" fmla="*/ 51 w 296"/>
              <a:gd name="T43" fmla="*/ 17 h 350"/>
              <a:gd name="T44" fmla="*/ 44 w 296"/>
              <a:gd name="T45" fmla="*/ 22 h 350"/>
              <a:gd name="T46" fmla="*/ 38 w 296"/>
              <a:gd name="T47" fmla="*/ 27 h 350"/>
              <a:gd name="T48" fmla="*/ 33 w 296"/>
              <a:gd name="T49" fmla="*/ 32 h 350"/>
              <a:gd name="T50" fmla="*/ 24 w 296"/>
              <a:gd name="T51" fmla="*/ 45 h 350"/>
              <a:gd name="T52" fmla="*/ 17 w 296"/>
              <a:gd name="T53" fmla="*/ 57 h 350"/>
              <a:gd name="T54" fmla="*/ 11 w 296"/>
              <a:gd name="T55" fmla="*/ 70 h 350"/>
              <a:gd name="T56" fmla="*/ 6 w 296"/>
              <a:gd name="T57" fmla="*/ 83 h 350"/>
              <a:gd name="T58" fmla="*/ 3 w 296"/>
              <a:gd name="T59" fmla="*/ 96 h 350"/>
              <a:gd name="T60" fmla="*/ 1 w 296"/>
              <a:gd name="T61" fmla="*/ 106 h 350"/>
              <a:gd name="T62" fmla="*/ 0 w 296"/>
              <a:gd name="T63" fmla="*/ 123 h 350"/>
              <a:gd name="T64" fmla="*/ 0 w 296"/>
              <a:gd name="T65" fmla="*/ 129 h 350"/>
              <a:gd name="T66" fmla="*/ 4 w 296"/>
              <a:gd name="T67" fmla="*/ 213 h 350"/>
              <a:gd name="T68" fmla="*/ 4 w 296"/>
              <a:gd name="T69" fmla="*/ 213 h 350"/>
              <a:gd name="T70" fmla="*/ 4 w 296"/>
              <a:gd name="T71" fmla="*/ 219 h 350"/>
              <a:gd name="T72" fmla="*/ 6 w 296"/>
              <a:gd name="T73" fmla="*/ 235 h 350"/>
              <a:gd name="T74" fmla="*/ 11 w 296"/>
              <a:gd name="T75" fmla="*/ 256 h 350"/>
              <a:gd name="T76" fmla="*/ 15 w 296"/>
              <a:gd name="T77" fmla="*/ 268 h 350"/>
              <a:gd name="T78" fmla="*/ 19 w 296"/>
              <a:gd name="T79" fmla="*/ 282 h 350"/>
              <a:gd name="T80" fmla="*/ 24 w 296"/>
              <a:gd name="T81" fmla="*/ 294 h 350"/>
              <a:gd name="T82" fmla="*/ 31 w 296"/>
              <a:gd name="T83" fmla="*/ 306 h 350"/>
              <a:gd name="T84" fmla="*/ 39 w 296"/>
              <a:gd name="T85" fmla="*/ 319 h 350"/>
              <a:gd name="T86" fmla="*/ 48 w 296"/>
              <a:gd name="T87" fmla="*/ 329 h 350"/>
              <a:gd name="T88" fmla="*/ 53 w 296"/>
              <a:gd name="T89" fmla="*/ 333 h 350"/>
              <a:gd name="T90" fmla="*/ 60 w 296"/>
              <a:gd name="T91" fmla="*/ 337 h 350"/>
              <a:gd name="T92" fmla="*/ 66 w 296"/>
              <a:gd name="T93" fmla="*/ 341 h 350"/>
              <a:gd name="T94" fmla="*/ 72 w 296"/>
              <a:gd name="T95" fmla="*/ 344 h 350"/>
              <a:gd name="T96" fmla="*/ 79 w 296"/>
              <a:gd name="T97" fmla="*/ 346 h 350"/>
              <a:gd name="T98" fmla="*/ 86 w 296"/>
              <a:gd name="T99" fmla="*/ 348 h 350"/>
              <a:gd name="T100" fmla="*/ 94 w 296"/>
              <a:gd name="T101" fmla="*/ 349 h 350"/>
              <a:gd name="T102" fmla="*/ 103 w 296"/>
              <a:gd name="T103" fmla="*/ 35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6" h="350">
                <a:moveTo>
                  <a:pt x="103" y="350"/>
                </a:moveTo>
                <a:lnTo>
                  <a:pt x="103" y="350"/>
                </a:lnTo>
                <a:lnTo>
                  <a:pt x="132" y="349"/>
                </a:lnTo>
                <a:lnTo>
                  <a:pt x="164" y="346"/>
                </a:lnTo>
                <a:lnTo>
                  <a:pt x="196" y="343"/>
                </a:lnTo>
                <a:lnTo>
                  <a:pt x="226" y="339"/>
                </a:lnTo>
                <a:lnTo>
                  <a:pt x="276" y="333"/>
                </a:lnTo>
                <a:lnTo>
                  <a:pt x="296" y="329"/>
                </a:lnTo>
                <a:lnTo>
                  <a:pt x="293" y="25"/>
                </a:lnTo>
                <a:lnTo>
                  <a:pt x="293" y="25"/>
                </a:lnTo>
                <a:lnTo>
                  <a:pt x="244" y="18"/>
                </a:lnTo>
                <a:lnTo>
                  <a:pt x="142" y="2"/>
                </a:lnTo>
                <a:lnTo>
                  <a:pt x="142" y="2"/>
                </a:lnTo>
                <a:lnTo>
                  <a:pt x="129" y="1"/>
                </a:lnTo>
                <a:lnTo>
                  <a:pt x="117" y="0"/>
                </a:lnTo>
                <a:lnTo>
                  <a:pt x="105" y="0"/>
                </a:lnTo>
                <a:lnTo>
                  <a:pt x="94" y="1"/>
                </a:lnTo>
                <a:lnTo>
                  <a:pt x="84" y="3"/>
                </a:lnTo>
                <a:lnTo>
                  <a:pt x="75" y="6"/>
                </a:lnTo>
                <a:lnTo>
                  <a:pt x="66" y="9"/>
                </a:lnTo>
                <a:lnTo>
                  <a:pt x="59" y="13"/>
                </a:lnTo>
                <a:lnTo>
                  <a:pt x="51" y="17"/>
                </a:lnTo>
                <a:lnTo>
                  <a:pt x="44" y="22"/>
                </a:lnTo>
                <a:lnTo>
                  <a:pt x="38" y="27"/>
                </a:lnTo>
                <a:lnTo>
                  <a:pt x="33" y="32"/>
                </a:lnTo>
                <a:lnTo>
                  <a:pt x="24" y="45"/>
                </a:lnTo>
                <a:lnTo>
                  <a:pt x="17" y="57"/>
                </a:lnTo>
                <a:lnTo>
                  <a:pt x="11" y="70"/>
                </a:lnTo>
                <a:lnTo>
                  <a:pt x="6" y="83"/>
                </a:lnTo>
                <a:lnTo>
                  <a:pt x="3" y="96"/>
                </a:lnTo>
                <a:lnTo>
                  <a:pt x="1" y="106"/>
                </a:lnTo>
                <a:lnTo>
                  <a:pt x="0" y="123"/>
                </a:lnTo>
                <a:lnTo>
                  <a:pt x="0" y="129"/>
                </a:lnTo>
                <a:lnTo>
                  <a:pt x="4" y="213"/>
                </a:lnTo>
                <a:lnTo>
                  <a:pt x="4" y="213"/>
                </a:lnTo>
                <a:lnTo>
                  <a:pt x="4" y="219"/>
                </a:lnTo>
                <a:lnTo>
                  <a:pt x="6" y="235"/>
                </a:lnTo>
                <a:lnTo>
                  <a:pt x="11" y="256"/>
                </a:lnTo>
                <a:lnTo>
                  <a:pt x="15" y="268"/>
                </a:lnTo>
                <a:lnTo>
                  <a:pt x="19" y="282"/>
                </a:lnTo>
                <a:lnTo>
                  <a:pt x="24" y="294"/>
                </a:lnTo>
                <a:lnTo>
                  <a:pt x="31" y="306"/>
                </a:lnTo>
                <a:lnTo>
                  <a:pt x="39" y="319"/>
                </a:lnTo>
                <a:lnTo>
                  <a:pt x="48" y="329"/>
                </a:lnTo>
                <a:lnTo>
                  <a:pt x="53" y="333"/>
                </a:lnTo>
                <a:lnTo>
                  <a:pt x="60" y="337"/>
                </a:lnTo>
                <a:lnTo>
                  <a:pt x="66" y="341"/>
                </a:lnTo>
                <a:lnTo>
                  <a:pt x="72" y="344"/>
                </a:lnTo>
                <a:lnTo>
                  <a:pt x="79" y="346"/>
                </a:lnTo>
                <a:lnTo>
                  <a:pt x="86" y="348"/>
                </a:lnTo>
                <a:lnTo>
                  <a:pt x="94" y="349"/>
                </a:lnTo>
                <a:lnTo>
                  <a:pt x="103" y="3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7" name="Freeform 34"/>
          <p:cNvSpPr>
            <a:spLocks/>
          </p:cNvSpPr>
          <p:nvPr userDrawn="1"/>
        </p:nvSpPr>
        <p:spPr bwMode="auto">
          <a:xfrm>
            <a:off x="7237413" y="1203028"/>
            <a:ext cx="60325" cy="57150"/>
          </a:xfrm>
          <a:custGeom>
            <a:avLst/>
            <a:gdLst>
              <a:gd name="T0" fmla="*/ 450 w 450"/>
              <a:gd name="T1" fmla="*/ 290 h 425"/>
              <a:gd name="T2" fmla="*/ 450 w 450"/>
              <a:gd name="T3" fmla="*/ 225 h 425"/>
              <a:gd name="T4" fmla="*/ 449 w 450"/>
              <a:gd name="T5" fmla="*/ 54 h 425"/>
              <a:gd name="T6" fmla="*/ 444 w 450"/>
              <a:gd name="T7" fmla="*/ 20 h 425"/>
              <a:gd name="T8" fmla="*/ 436 w 450"/>
              <a:gd name="T9" fmla="*/ 3 h 425"/>
              <a:gd name="T10" fmla="*/ 429 w 450"/>
              <a:gd name="T11" fmla="*/ 0 h 425"/>
              <a:gd name="T12" fmla="*/ 367 w 450"/>
              <a:gd name="T13" fmla="*/ 2 h 425"/>
              <a:gd name="T14" fmla="*/ 362 w 450"/>
              <a:gd name="T15" fmla="*/ 14 h 425"/>
              <a:gd name="T16" fmla="*/ 347 w 450"/>
              <a:gd name="T17" fmla="*/ 59 h 425"/>
              <a:gd name="T18" fmla="*/ 325 w 450"/>
              <a:gd name="T19" fmla="*/ 2 h 425"/>
              <a:gd name="T20" fmla="*/ 261 w 450"/>
              <a:gd name="T21" fmla="*/ 2 h 425"/>
              <a:gd name="T22" fmla="*/ 242 w 450"/>
              <a:gd name="T23" fmla="*/ 16 h 425"/>
              <a:gd name="T24" fmla="*/ 224 w 450"/>
              <a:gd name="T25" fmla="*/ 64 h 425"/>
              <a:gd name="T26" fmla="*/ 192 w 450"/>
              <a:gd name="T27" fmla="*/ 4 h 425"/>
              <a:gd name="T28" fmla="*/ 135 w 450"/>
              <a:gd name="T29" fmla="*/ 6 h 425"/>
              <a:gd name="T30" fmla="*/ 127 w 450"/>
              <a:gd name="T31" fmla="*/ 11 h 425"/>
              <a:gd name="T32" fmla="*/ 110 w 450"/>
              <a:gd name="T33" fmla="*/ 53 h 425"/>
              <a:gd name="T34" fmla="*/ 86 w 450"/>
              <a:gd name="T35" fmla="*/ 6 h 425"/>
              <a:gd name="T36" fmla="*/ 38 w 450"/>
              <a:gd name="T37" fmla="*/ 6 h 425"/>
              <a:gd name="T38" fmla="*/ 25 w 450"/>
              <a:gd name="T39" fmla="*/ 10 h 425"/>
              <a:gd name="T40" fmla="*/ 10 w 450"/>
              <a:gd name="T41" fmla="*/ 28 h 425"/>
              <a:gd name="T42" fmla="*/ 1 w 450"/>
              <a:gd name="T43" fmla="*/ 55 h 425"/>
              <a:gd name="T44" fmla="*/ 1 w 450"/>
              <a:gd name="T45" fmla="*/ 141 h 425"/>
              <a:gd name="T46" fmla="*/ 5 w 450"/>
              <a:gd name="T47" fmla="*/ 324 h 425"/>
              <a:gd name="T48" fmla="*/ 27 w 450"/>
              <a:gd name="T49" fmla="*/ 401 h 425"/>
              <a:gd name="T50" fmla="*/ 54 w 450"/>
              <a:gd name="T51" fmla="*/ 396 h 425"/>
              <a:gd name="T52" fmla="*/ 74 w 450"/>
              <a:gd name="T53" fmla="*/ 384 h 425"/>
              <a:gd name="T54" fmla="*/ 83 w 450"/>
              <a:gd name="T55" fmla="*/ 374 h 425"/>
              <a:gd name="T56" fmla="*/ 100 w 450"/>
              <a:gd name="T57" fmla="*/ 341 h 425"/>
              <a:gd name="T58" fmla="*/ 105 w 450"/>
              <a:gd name="T59" fmla="*/ 317 h 425"/>
              <a:gd name="T60" fmla="*/ 105 w 450"/>
              <a:gd name="T61" fmla="*/ 367 h 425"/>
              <a:gd name="T62" fmla="*/ 108 w 450"/>
              <a:gd name="T63" fmla="*/ 420 h 425"/>
              <a:gd name="T64" fmla="*/ 116 w 450"/>
              <a:gd name="T65" fmla="*/ 424 h 425"/>
              <a:gd name="T66" fmla="*/ 150 w 450"/>
              <a:gd name="T67" fmla="*/ 423 h 425"/>
              <a:gd name="T68" fmla="*/ 176 w 450"/>
              <a:gd name="T69" fmla="*/ 412 h 425"/>
              <a:gd name="T70" fmla="*/ 189 w 450"/>
              <a:gd name="T71" fmla="*/ 402 h 425"/>
              <a:gd name="T72" fmla="*/ 209 w 450"/>
              <a:gd name="T73" fmla="*/ 368 h 425"/>
              <a:gd name="T74" fmla="*/ 224 w 450"/>
              <a:gd name="T75" fmla="*/ 317 h 425"/>
              <a:gd name="T76" fmla="*/ 225 w 450"/>
              <a:gd name="T77" fmla="*/ 381 h 425"/>
              <a:gd name="T78" fmla="*/ 229 w 450"/>
              <a:gd name="T79" fmla="*/ 419 h 425"/>
              <a:gd name="T80" fmla="*/ 237 w 450"/>
              <a:gd name="T81" fmla="*/ 421 h 425"/>
              <a:gd name="T82" fmla="*/ 266 w 450"/>
              <a:gd name="T83" fmla="*/ 418 h 425"/>
              <a:gd name="T84" fmla="*/ 300 w 450"/>
              <a:gd name="T85" fmla="*/ 405 h 425"/>
              <a:gd name="T86" fmla="*/ 309 w 450"/>
              <a:gd name="T87" fmla="*/ 397 h 425"/>
              <a:gd name="T88" fmla="*/ 331 w 450"/>
              <a:gd name="T89" fmla="*/ 367 h 425"/>
              <a:gd name="T90" fmla="*/ 342 w 450"/>
              <a:gd name="T91" fmla="*/ 334 h 425"/>
              <a:gd name="T92" fmla="*/ 345 w 450"/>
              <a:gd name="T93" fmla="*/ 346 h 425"/>
              <a:gd name="T94" fmla="*/ 348 w 450"/>
              <a:gd name="T95" fmla="*/ 391 h 425"/>
              <a:gd name="T96" fmla="*/ 379 w 450"/>
              <a:gd name="T97" fmla="*/ 386 h 425"/>
              <a:gd name="T98" fmla="*/ 404 w 450"/>
              <a:gd name="T99" fmla="*/ 375 h 425"/>
              <a:gd name="T100" fmla="*/ 425 w 450"/>
              <a:gd name="T101" fmla="*/ 360 h 425"/>
              <a:gd name="T102" fmla="*/ 439 w 450"/>
              <a:gd name="T103" fmla="*/ 342 h 425"/>
              <a:gd name="T104" fmla="*/ 448 w 450"/>
              <a:gd name="T105" fmla="*/ 311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0" h="425">
                <a:moveTo>
                  <a:pt x="448" y="311"/>
                </a:moveTo>
                <a:lnTo>
                  <a:pt x="448" y="311"/>
                </a:lnTo>
                <a:lnTo>
                  <a:pt x="450" y="290"/>
                </a:lnTo>
                <a:lnTo>
                  <a:pt x="450" y="268"/>
                </a:lnTo>
                <a:lnTo>
                  <a:pt x="450" y="225"/>
                </a:lnTo>
                <a:lnTo>
                  <a:pt x="450" y="225"/>
                </a:lnTo>
                <a:lnTo>
                  <a:pt x="449" y="64"/>
                </a:lnTo>
                <a:lnTo>
                  <a:pt x="449" y="64"/>
                </a:lnTo>
                <a:lnTo>
                  <a:pt x="449" y="54"/>
                </a:lnTo>
                <a:lnTo>
                  <a:pt x="448" y="44"/>
                </a:lnTo>
                <a:lnTo>
                  <a:pt x="447" y="33"/>
                </a:lnTo>
                <a:lnTo>
                  <a:pt x="444" y="20"/>
                </a:lnTo>
                <a:lnTo>
                  <a:pt x="441" y="10"/>
                </a:lnTo>
                <a:lnTo>
                  <a:pt x="439" y="6"/>
                </a:lnTo>
                <a:lnTo>
                  <a:pt x="436" y="3"/>
                </a:lnTo>
                <a:lnTo>
                  <a:pt x="433" y="1"/>
                </a:lnTo>
                <a:lnTo>
                  <a:pt x="429" y="0"/>
                </a:lnTo>
                <a:lnTo>
                  <a:pt x="429" y="0"/>
                </a:lnTo>
                <a:lnTo>
                  <a:pt x="396" y="0"/>
                </a:lnTo>
                <a:lnTo>
                  <a:pt x="378" y="1"/>
                </a:lnTo>
                <a:lnTo>
                  <a:pt x="367" y="2"/>
                </a:lnTo>
                <a:lnTo>
                  <a:pt x="367" y="2"/>
                </a:lnTo>
                <a:lnTo>
                  <a:pt x="364" y="7"/>
                </a:lnTo>
                <a:lnTo>
                  <a:pt x="362" y="14"/>
                </a:lnTo>
                <a:lnTo>
                  <a:pt x="356" y="33"/>
                </a:lnTo>
                <a:lnTo>
                  <a:pt x="350" y="52"/>
                </a:lnTo>
                <a:lnTo>
                  <a:pt x="347" y="59"/>
                </a:lnTo>
                <a:lnTo>
                  <a:pt x="345" y="64"/>
                </a:lnTo>
                <a:lnTo>
                  <a:pt x="325" y="2"/>
                </a:lnTo>
                <a:lnTo>
                  <a:pt x="325" y="2"/>
                </a:lnTo>
                <a:lnTo>
                  <a:pt x="309" y="1"/>
                </a:lnTo>
                <a:lnTo>
                  <a:pt x="286" y="1"/>
                </a:lnTo>
                <a:lnTo>
                  <a:pt x="261" y="2"/>
                </a:lnTo>
                <a:lnTo>
                  <a:pt x="247" y="4"/>
                </a:lnTo>
                <a:lnTo>
                  <a:pt x="247" y="4"/>
                </a:lnTo>
                <a:lnTo>
                  <a:pt x="242" y="16"/>
                </a:lnTo>
                <a:lnTo>
                  <a:pt x="236" y="34"/>
                </a:lnTo>
                <a:lnTo>
                  <a:pt x="229" y="52"/>
                </a:lnTo>
                <a:lnTo>
                  <a:pt x="224" y="64"/>
                </a:lnTo>
                <a:lnTo>
                  <a:pt x="205" y="5"/>
                </a:lnTo>
                <a:lnTo>
                  <a:pt x="205" y="5"/>
                </a:lnTo>
                <a:lnTo>
                  <a:pt x="192" y="4"/>
                </a:lnTo>
                <a:lnTo>
                  <a:pt x="168" y="4"/>
                </a:lnTo>
                <a:lnTo>
                  <a:pt x="144" y="5"/>
                </a:lnTo>
                <a:lnTo>
                  <a:pt x="135" y="6"/>
                </a:lnTo>
                <a:lnTo>
                  <a:pt x="131" y="6"/>
                </a:lnTo>
                <a:lnTo>
                  <a:pt x="131" y="6"/>
                </a:lnTo>
                <a:lnTo>
                  <a:pt x="127" y="11"/>
                </a:lnTo>
                <a:lnTo>
                  <a:pt x="124" y="18"/>
                </a:lnTo>
                <a:lnTo>
                  <a:pt x="117" y="36"/>
                </a:lnTo>
                <a:lnTo>
                  <a:pt x="110" y="53"/>
                </a:lnTo>
                <a:lnTo>
                  <a:pt x="105" y="64"/>
                </a:lnTo>
                <a:lnTo>
                  <a:pt x="86" y="6"/>
                </a:lnTo>
                <a:lnTo>
                  <a:pt x="86" y="6"/>
                </a:lnTo>
                <a:lnTo>
                  <a:pt x="69" y="6"/>
                </a:lnTo>
                <a:lnTo>
                  <a:pt x="38" y="6"/>
                </a:lnTo>
                <a:lnTo>
                  <a:pt x="38" y="6"/>
                </a:lnTo>
                <a:lnTo>
                  <a:pt x="33" y="7"/>
                </a:lnTo>
                <a:lnTo>
                  <a:pt x="29" y="8"/>
                </a:lnTo>
                <a:lnTo>
                  <a:pt x="25" y="10"/>
                </a:lnTo>
                <a:lnTo>
                  <a:pt x="21" y="12"/>
                </a:lnTo>
                <a:lnTo>
                  <a:pt x="15" y="19"/>
                </a:lnTo>
                <a:lnTo>
                  <a:pt x="10" y="28"/>
                </a:lnTo>
                <a:lnTo>
                  <a:pt x="5" y="36"/>
                </a:lnTo>
                <a:lnTo>
                  <a:pt x="2" y="46"/>
                </a:lnTo>
                <a:lnTo>
                  <a:pt x="1" y="55"/>
                </a:lnTo>
                <a:lnTo>
                  <a:pt x="0" y="63"/>
                </a:lnTo>
                <a:lnTo>
                  <a:pt x="0" y="63"/>
                </a:lnTo>
                <a:lnTo>
                  <a:pt x="1" y="141"/>
                </a:lnTo>
                <a:lnTo>
                  <a:pt x="2" y="220"/>
                </a:lnTo>
                <a:lnTo>
                  <a:pt x="2" y="220"/>
                </a:lnTo>
                <a:lnTo>
                  <a:pt x="5" y="324"/>
                </a:lnTo>
                <a:lnTo>
                  <a:pt x="8" y="402"/>
                </a:lnTo>
                <a:lnTo>
                  <a:pt x="8" y="402"/>
                </a:lnTo>
                <a:lnTo>
                  <a:pt x="27" y="401"/>
                </a:lnTo>
                <a:lnTo>
                  <a:pt x="37" y="399"/>
                </a:lnTo>
                <a:lnTo>
                  <a:pt x="45" y="398"/>
                </a:lnTo>
                <a:lnTo>
                  <a:pt x="54" y="396"/>
                </a:lnTo>
                <a:lnTo>
                  <a:pt x="62" y="393"/>
                </a:lnTo>
                <a:lnTo>
                  <a:pt x="68" y="388"/>
                </a:lnTo>
                <a:lnTo>
                  <a:pt x="74" y="384"/>
                </a:lnTo>
                <a:lnTo>
                  <a:pt x="74" y="384"/>
                </a:lnTo>
                <a:lnTo>
                  <a:pt x="79" y="379"/>
                </a:lnTo>
                <a:lnTo>
                  <a:pt x="83" y="374"/>
                </a:lnTo>
                <a:lnTo>
                  <a:pt x="90" y="363"/>
                </a:lnTo>
                <a:lnTo>
                  <a:pt x="95" y="352"/>
                </a:lnTo>
                <a:lnTo>
                  <a:pt x="100" y="341"/>
                </a:lnTo>
                <a:lnTo>
                  <a:pt x="103" y="331"/>
                </a:lnTo>
                <a:lnTo>
                  <a:pt x="104" y="324"/>
                </a:lnTo>
                <a:lnTo>
                  <a:pt x="105" y="317"/>
                </a:lnTo>
                <a:lnTo>
                  <a:pt x="105" y="317"/>
                </a:lnTo>
                <a:lnTo>
                  <a:pt x="105" y="337"/>
                </a:lnTo>
                <a:lnTo>
                  <a:pt x="105" y="367"/>
                </a:lnTo>
                <a:lnTo>
                  <a:pt x="106" y="397"/>
                </a:lnTo>
                <a:lnTo>
                  <a:pt x="108" y="420"/>
                </a:lnTo>
                <a:lnTo>
                  <a:pt x="108" y="420"/>
                </a:lnTo>
                <a:lnTo>
                  <a:pt x="108" y="421"/>
                </a:lnTo>
                <a:lnTo>
                  <a:pt x="110" y="422"/>
                </a:lnTo>
                <a:lnTo>
                  <a:pt x="116" y="424"/>
                </a:lnTo>
                <a:lnTo>
                  <a:pt x="125" y="425"/>
                </a:lnTo>
                <a:lnTo>
                  <a:pt x="136" y="425"/>
                </a:lnTo>
                <a:lnTo>
                  <a:pt x="150" y="423"/>
                </a:lnTo>
                <a:lnTo>
                  <a:pt x="163" y="418"/>
                </a:lnTo>
                <a:lnTo>
                  <a:pt x="169" y="415"/>
                </a:lnTo>
                <a:lnTo>
                  <a:pt x="176" y="412"/>
                </a:lnTo>
                <a:lnTo>
                  <a:pt x="182" y="407"/>
                </a:lnTo>
                <a:lnTo>
                  <a:pt x="189" y="402"/>
                </a:lnTo>
                <a:lnTo>
                  <a:pt x="189" y="402"/>
                </a:lnTo>
                <a:lnTo>
                  <a:pt x="197" y="392"/>
                </a:lnTo>
                <a:lnTo>
                  <a:pt x="204" y="380"/>
                </a:lnTo>
                <a:lnTo>
                  <a:pt x="209" y="368"/>
                </a:lnTo>
                <a:lnTo>
                  <a:pt x="213" y="356"/>
                </a:lnTo>
                <a:lnTo>
                  <a:pt x="220" y="333"/>
                </a:lnTo>
                <a:lnTo>
                  <a:pt x="224" y="317"/>
                </a:lnTo>
                <a:lnTo>
                  <a:pt x="224" y="317"/>
                </a:lnTo>
                <a:lnTo>
                  <a:pt x="224" y="348"/>
                </a:lnTo>
                <a:lnTo>
                  <a:pt x="225" y="381"/>
                </a:lnTo>
                <a:lnTo>
                  <a:pt x="227" y="408"/>
                </a:lnTo>
                <a:lnTo>
                  <a:pt x="228" y="417"/>
                </a:lnTo>
                <a:lnTo>
                  <a:pt x="229" y="419"/>
                </a:lnTo>
                <a:lnTo>
                  <a:pt x="230" y="420"/>
                </a:lnTo>
                <a:lnTo>
                  <a:pt x="230" y="420"/>
                </a:lnTo>
                <a:lnTo>
                  <a:pt x="237" y="421"/>
                </a:lnTo>
                <a:lnTo>
                  <a:pt x="245" y="421"/>
                </a:lnTo>
                <a:lnTo>
                  <a:pt x="255" y="420"/>
                </a:lnTo>
                <a:lnTo>
                  <a:pt x="266" y="418"/>
                </a:lnTo>
                <a:lnTo>
                  <a:pt x="277" y="415"/>
                </a:lnTo>
                <a:lnTo>
                  <a:pt x="289" y="411"/>
                </a:lnTo>
                <a:lnTo>
                  <a:pt x="300" y="405"/>
                </a:lnTo>
                <a:lnTo>
                  <a:pt x="305" y="401"/>
                </a:lnTo>
                <a:lnTo>
                  <a:pt x="309" y="397"/>
                </a:lnTo>
                <a:lnTo>
                  <a:pt x="309" y="397"/>
                </a:lnTo>
                <a:lnTo>
                  <a:pt x="317" y="387"/>
                </a:lnTo>
                <a:lnTo>
                  <a:pt x="325" y="377"/>
                </a:lnTo>
                <a:lnTo>
                  <a:pt x="331" y="367"/>
                </a:lnTo>
                <a:lnTo>
                  <a:pt x="336" y="356"/>
                </a:lnTo>
                <a:lnTo>
                  <a:pt x="339" y="345"/>
                </a:lnTo>
                <a:lnTo>
                  <a:pt x="342" y="334"/>
                </a:lnTo>
                <a:lnTo>
                  <a:pt x="345" y="317"/>
                </a:lnTo>
                <a:lnTo>
                  <a:pt x="345" y="317"/>
                </a:lnTo>
                <a:lnTo>
                  <a:pt x="345" y="346"/>
                </a:lnTo>
                <a:lnTo>
                  <a:pt x="346" y="370"/>
                </a:lnTo>
                <a:lnTo>
                  <a:pt x="348" y="391"/>
                </a:lnTo>
                <a:lnTo>
                  <a:pt x="348" y="391"/>
                </a:lnTo>
                <a:lnTo>
                  <a:pt x="362" y="390"/>
                </a:lnTo>
                <a:lnTo>
                  <a:pt x="371" y="388"/>
                </a:lnTo>
                <a:lnTo>
                  <a:pt x="379" y="386"/>
                </a:lnTo>
                <a:lnTo>
                  <a:pt x="379" y="386"/>
                </a:lnTo>
                <a:lnTo>
                  <a:pt x="393" y="380"/>
                </a:lnTo>
                <a:lnTo>
                  <a:pt x="404" y="375"/>
                </a:lnTo>
                <a:lnTo>
                  <a:pt x="415" y="368"/>
                </a:lnTo>
                <a:lnTo>
                  <a:pt x="415" y="368"/>
                </a:lnTo>
                <a:lnTo>
                  <a:pt x="425" y="360"/>
                </a:lnTo>
                <a:lnTo>
                  <a:pt x="430" y="355"/>
                </a:lnTo>
                <a:lnTo>
                  <a:pt x="435" y="349"/>
                </a:lnTo>
                <a:lnTo>
                  <a:pt x="439" y="342"/>
                </a:lnTo>
                <a:lnTo>
                  <a:pt x="443" y="333"/>
                </a:lnTo>
                <a:lnTo>
                  <a:pt x="446" y="323"/>
                </a:lnTo>
                <a:lnTo>
                  <a:pt x="448" y="3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8" name="Freeform 35"/>
          <p:cNvSpPr>
            <a:spLocks/>
          </p:cNvSpPr>
          <p:nvPr userDrawn="1"/>
        </p:nvSpPr>
        <p:spPr bwMode="auto">
          <a:xfrm>
            <a:off x="7245351" y="1206204"/>
            <a:ext cx="73025" cy="80963"/>
          </a:xfrm>
          <a:custGeom>
            <a:avLst/>
            <a:gdLst>
              <a:gd name="T0" fmla="*/ 554 w 554"/>
              <a:gd name="T1" fmla="*/ 356 h 620"/>
              <a:gd name="T2" fmla="*/ 549 w 554"/>
              <a:gd name="T3" fmla="*/ 350 h 620"/>
              <a:gd name="T4" fmla="*/ 535 w 554"/>
              <a:gd name="T5" fmla="*/ 331 h 620"/>
              <a:gd name="T6" fmla="*/ 525 w 554"/>
              <a:gd name="T7" fmla="*/ 306 h 620"/>
              <a:gd name="T8" fmla="*/ 520 w 554"/>
              <a:gd name="T9" fmla="*/ 285 h 620"/>
              <a:gd name="T10" fmla="*/ 516 w 554"/>
              <a:gd name="T11" fmla="*/ 258 h 620"/>
              <a:gd name="T12" fmla="*/ 515 w 554"/>
              <a:gd name="T13" fmla="*/ 243 h 620"/>
              <a:gd name="T14" fmla="*/ 516 w 554"/>
              <a:gd name="T15" fmla="*/ 222 h 620"/>
              <a:gd name="T16" fmla="*/ 520 w 554"/>
              <a:gd name="T17" fmla="*/ 202 h 620"/>
              <a:gd name="T18" fmla="*/ 532 w 554"/>
              <a:gd name="T19" fmla="*/ 167 h 620"/>
              <a:gd name="T20" fmla="*/ 546 w 554"/>
              <a:gd name="T21" fmla="*/ 142 h 620"/>
              <a:gd name="T22" fmla="*/ 551 w 554"/>
              <a:gd name="T23" fmla="*/ 43 h 620"/>
              <a:gd name="T24" fmla="*/ 542 w 554"/>
              <a:gd name="T25" fmla="*/ 36 h 620"/>
              <a:gd name="T26" fmla="*/ 504 w 554"/>
              <a:gd name="T27" fmla="*/ 13 h 620"/>
              <a:gd name="T28" fmla="*/ 482 w 554"/>
              <a:gd name="T29" fmla="*/ 2 h 620"/>
              <a:gd name="T30" fmla="*/ 470 w 554"/>
              <a:gd name="T31" fmla="*/ 0 h 620"/>
              <a:gd name="T32" fmla="*/ 465 w 554"/>
              <a:gd name="T33" fmla="*/ 327 h 620"/>
              <a:gd name="T34" fmla="*/ 465 w 554"/>
              <a:gd name="T35" fmla="*/ 339 h 620"/>
              <a:gd name="T36" fmla="*/ 458 w 554"/>
              <a:gd name="T37" fmla="*/ 360 h 620"/>
              <a:gd name="T38" fmla="*/ 444 w 554"/>
              <a:gd name="T39" fmla="*/ 382 h 620"/>
              <a:gd name="T40" fmla="*/ 426 w 554"/>
              <a:gd name="T41" fmla="*/ 402 h 620"/>
              <a:gd name="T42" fmla="*/ 405 w 554"/>
              <a:gd name="T43" fmla="*/ 421 h 620"/>
              <a:gd name="T44" fmla="*/ 380 w 554"/>
              <a:gd name="T45" fmla="*/ 437 h 620"/>
              <a:gd name="T46" fmla="*/ 353 w 554"/>
              <a:gd name="T47" fmla="*/ 449 h 620"/>
              <a:gd name="T48" fmla="*/ 327 w 554"/>
              <a:gd name="T49" fmla="*/ 458 h 620"/>
              <a:gd name="T50" fmla="*/ 314 w 554"/>
              <a:gd name="T51" fmla="*/ 461 h 620"/>
              <a:gd name="T52" fmla="*/ 255 w 554"/>
              <a:gd name="T53" fmla="*/ 471 h 620"/>
              <a:gd name="T54" fmla="*/ 199 w 554"/>
              <a:gd name="T55" fmla="*/ 477 h 620"/>
              <a:gd name="T56" fmla="*/ 98 w 554"/>
              <a:gd name="T57" fmla="*/ 482 h 620"/>
              <a:gd name="T58" fmla="*/ 27 w 554"/>
              <a:gd name="T59" fmla="*/ 482 h 620"/>
              <a:gd name="T60" fmla="*/ 0 w 554"/>
              <a:gd name="T61" fmla="*/ 481 h 620"/>
              <a:gd name="T62" fmla="*/ 4 w 554"/>
              <a:gd name="T63" fmla="*/ 508 h 620"/>
              <a:gd name="T64" fmla="*/ 13 w 554"/>
              <a:gd name="T65" fmla="*/ 550 h 620"/>
              <a:gd name="T66" fmla="*/ 18 w 554"/>
              <a:gd name="T67" fmla="*/ 566 h 620"/>
              <a:gd name="T68" fmla="*/ 29 w 554"/>
              <a:gd name="T69" fmla="*/ 586 h 620"/>
              <a:gd name="T70" fmla="*/ 44 w 554"/>
              <a:gd name="T71" fmla="*/ 604 h 620"/>
              <a:gd name="T72" fmla="*/ 62 w 554"/>
              <a:gd name="T73" fmla="*/ 620 h 620"/>
              <a:gd name="T74" fmla="*/ 554 w 554"/>
              <a:gd name="T75" fmla="*/ 450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4" h="620">
                <a:moveTo>
                  <a:pt x="554" y="450"/>
                </a:moveTo>
                <a:lnTo>
                  <a:pt x="554" y="356"/>
                </a:lnTo>
                <a:lnTo>
                  <a:pt x="554" y="356"/>
                </a:lnTo>
                <a:lnTo>
                  <a:pt x="549" y="350"/>
                </a:lnTo>
                <a:lnTo>
                  <a:pt x="543" y="342"/>
                </a:lnTo>
                <a:lnTo>
                  <a:pt x="535" y="331"/>
                </a:lnTo>
                <a:lnTo>
                  <a:pt x="528" y="315"/>
                </a:lnTo>
                <a:lnTo>
                  <a:pt x="525" y="306"/>
                </a:lnTo>
                <a:lnTo>
                  <a:pt x="522" y="296"/>
                </a:lnTo>
                <a:lnTo>
                  <a:pt x="520" y="285"/>
                </a:lnTo>
                <a:lnTo>
                  <a:pt x="517" y="271"/>
                </a:lnTo>
                <a:lnTo>
                  <a:pt x="516" y="258"/>
                </a:lnTo>
                <a:lnTo>
                  <a:pt x="515" y="243"/>
                </a:lnTo>
                <a:lnTo>
                  <a:pt x="515" y="243"/>
                </a:lnTo>
                <a:lnTo>
                  <a:pt x="515" y="232"/>
                </a:lnTo>
                <a:lnTo>
                  <a:pt x="516" y="222"/>
                </a:lnTo>
                <a:lnTo>
                  <a:pt x="517" y="212"/>
                </a:lnTo>
                <a:lnTo>
                  <a:pt x="520" y="202"/>
                </a:lnTo>
                <a:lnTo>
                  <a:pt x="526" y="183"/>
                </a:lnTo>
                <a:lnTo>
                  <a:pt x="532" y="167"/>
                </a:lnTo>
                <a:lnTo>
                  <a:pt x="540" y="154"/>
                </a:lnTo>
                <a:lnTo>
                  <a:pt x="546" y="142"/>
                </a:lnTo>
                <a:lnTo>
                  <a:pt x="552" y="133"/>
                </a:lnTo>
                <a:lnTo>
                  <a:pt x="551" y="43"/>
                </a:lnTo>
                <a:lnTo>
                  <a:pt x="551" y="43"/>
                </a:lnTo>
                <a:lnTo>
                  <a:pt x="542" y="36"/>
                </a:lnTo>
                <a:lnTo>
                  <a:pt x="518" y="21"/>
                </a:lnTo>
                <a:lnTo>
                  <a:pt x="504" y="13"/>
                </a:lnTo>
                <a:lnTo>
                  <a:pt x="489" y="5"/>
                </a:lnTo>
                <a:lnTo>
                  <a:pt x="482" y="2"/>
                </a:lnTo>
                <a:lnTo>
                  <a:pt x="476" y="1"/>
                </a:lnTo>
                <a:lnTo>
                  <a:pt x="470" y="0"/>
                </a:lnTo>
                <a:lnTo>
                  <a:pt x="464" y="0"/>
                </a:lnTo>
                <a:lnTo>
                  <a:pt x="465" y="327"/>
                </a:lnTo>
                <a:lnTo>
                  <a:pt x="465" y="327"/>
                </a:lnTo>
                <a:lnTo>
                  <a:pt x="465" y="339"/>
                </a:lnTo>
                <a:lnTo>
                  <a:pt x="462" y="349"/>
                </a:lnTo>
                <a:lnTo>
                  <a:pt x="458" y="360"/>
                </a:lnTo>
                <a:lnTo>
                  <a:pt x="452" y="370"/>
                </a:lnTo>
                <a:lnTo>
                  <a:pt x="444" y="382"/>
                </a:lnTo>
                <a:lnTo>
                  <a:pt x="436" y="392"/>
                </a:lnTo>
                <a:lnTo>
                  <a:pt x="426" y="402"/>
                </a:lnTo>
                <a:lnTo>
                  <a:pt x="416" y="411"/>
                </a:lnTo>
                <a:lnTo>
                  <a:pt x="405" y="421"/>
                </a:lnTo>
                <a:lnTo>
                  <a:pt x="392" y="429"/>
                </a:lnTo>
                <a:lnTo>
                  <a:pt x="380" y="437"/>
                </a:lnTo>
                <a:lnTo>
                  <a:pt x="367" y="443"/>
                </a:lnTo>
                <a:lnTo>
                  <a:pt x="353" y="449"/>
                </a:lnTo>
                <a:lnTo>
                  <a:pt x="340" y="454"/>
                </a:lnTo>
                <a:lnTo>
                  <a:pt x="327" y="458"/>
                </a:lnTo>
                <a:lnTo>
                  <a:pt x="314" y="461"/>
                </a:lnTo>
                <a:lnTo>
                  <a:pt x="314" y="461"/>
                </a:lnTo>
                <a:lnTo>
                  <a:pt x="284" y="467"/>
                </a:lnTo>
                <a:lnTo>
                  <a:pt x="255" y="471"/>
                </a:lnTo>
                <a:lnTo>
                  <a:pt x="227" y="474"/>
                </a:lnTo>
                <a:lnTo>
                  <a:pt x="199" y="477"/>
                </a:lnTo>
                <a:lnTo>
                  <a:pt x="146" y="480"/>
                </a:lnTo>
                <a:lnTo>
                  <a:pt x="98" y="482"/>
                </a:lnTo>
                <a:lnTo>
                  <a:pt x="58" y="482"/>
                </a:lnTo>
                <a:lnTo>
                  <a:pt x="27" y="482"/>
                </a:lnTo>
                <a:lnTo>
                  <a:pt x="0" y="481"/>
                </a:lnTo>
                <a:lnTo>
                  <a:pt x="0" y="481"/>
                </a:lnTo>
                <a:lnTo>
                  <a:pt x="1" y="488"/>
                </a:lnTo>
                <a:lnTo>
                  <a:pt x="4" y="508"/>
                </a:lnTo>
                <a:lnTo>
                  <a:pt x="10" y="535"/>
                </a:lnTo>
                <a:lnTo>
                  <a:pt x="13" y="550"/>
                </a:lnTo>
                <a:lnTo>
                  <a:pt x="18" y="566"/>
                </a:lnTo>
                <a:lnTo>
                  <a:pt x="18" y="566"/>
                </a:lnTo>
                <a:lnTo>
                  <a:pt x="23" y="576"/>
                </a:lnTo>
                <a:lnTo>
                  <a:pt x="29" y="586"/>
                </a:lnTo>
                <a:lnTo>
                  <a:pt x="36" y="595"/>
                </a:lnTo>
                <a:lnTo>
                  <a:pt x="44" y="604"/>
                </a:lnTo>
                <a:lnTo>
                  <a:pt x="57" y="616"/>
                </a:lnTo>
                <a:lnTo>
                  <a:pt x="62" y="620"/>
                </a:lnTo>
                <a:lnTo>
                  <a:pt x="451" y="620"/>
                </a:lnTo>
                <a:lnTo>
                  <a:pt x="554" y="4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9" name="Freeform 36"/>
          <p:cNvSpPr>
            <a:spLocks/>
          </p:cNvSpPr>
          <p:nvPr userDrawn="1"/>
        </p:nvSpPr>
        <p:spPr bwMode="auto">
          <a:xfrm>
            <a:off x="7251700" y="1298279"/>
            <a:ext cx="57150" cy="17463"/>
          </a:xfrm>
          <a:custGeom>
            <a:avLst/>
            <a:gdLst>
              <a:gd name="T0" fmla="*/ 20 w 435"/>
              <a:gd name="T1" fmla="*/ 142 h 142"/>
              <a:gd name="T2" fmla="*/ 411 w 435"/>
              <a:gd name="T3" fmla="*/ 142 h 142"/>
              <a:gd name="T4" fmla="*/ 411 w 435"/>
              <a:gd name="T5" fmla="*/ 142 h 142"/>
              <a:gd name="T6" fmla="*/ 422 w 435"/>
              <a:gd name="T7" fmla="*/ 109 h 142"/>
              <a:gd name="T8" fmla="*/ 430 w 435"/>
              <a:gd name="T9" fmla="*/ 83 h 142"/>
              <a:gd name="T10" fmla="*/ 433 w 435"/>
              <a:gd name="T11" fmla="*/ 72 h 142"/>
              <a:gd name="T12" fmla="*/ 435 w 435"/>
              <a:gd name="T13" fmla="*/ 63 h 142"/>
              <a:gd name="T14" fmla="*/ 417 w 435"/>
              <a:gd name="T15" fmla="*/ 0 h 142"/>
              <a:gd name="T16" fmla="*/ 22 w 435"/>
              <a:gd name="T17" fmla="*/ 0 h 142"/>
              <a:gd name="T18" fmla="*/ 0 w 435"/>
              <a:gd name="T19" fmla="*/ 65 h 142"/>
              <a:gd name="T20" fmla="*/ 20 w 435"/>
              <a:gd name="T2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5" h="142">
                <a:moveTo>
                  <a:pt x="20" y="142"/>
                </a:moveTo>
                <a:lnTo>
                  <a:pt x="411" y="142"/>
                </a:lnTo>
                <a:lnTo>
                  <a:pt x="411" y="142"/>
                </a:lnTo>
                <a:lnTo>
                  <a:pt x="422" y="109"/>
                </a:lnTo>
                <a:lnTo>
                  <a:pt x="430" y="83"/>
                </a:lnTo>
                <a:lnTo>
                  <a:pt x="433" y="72"/>
                </a:lnTo>
                <a:lnTo>
                  <a:pt x="435" y="63"/>
                </a:lnTo>
                <a:lnTo>
                  <a:pt x="417" y="0"/>
                </a:lnTo>
                <a:lnTo>
                  <a:pt x="22" y="0"/>
                </a:lnTo>
                <a:lnTo>
                  <a:pt x="0" y="65"/>
                </a:lnTo>
                <a:lnTo>
                  <a:pt x="20" y="1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0" name="Freeform 37"/>
          <p:cNvSpPr>
            <a:spLocks/>
          </p:cNvSpPr>
          <p:nvPr userDrawn="1"/>
        </p:nvSpPr>
        <p:spPr bwMode="auto">
          <a:xfrm>
            <a:off x="7254875" y="1326854"/>
            <a:ext cx="57150" cy="66675"/>
          </a:xfrm>
          <a:custGeom>
            <a:avLst/>
            <a:gdLst>
              <a:gd name="T0" fmla="*/ 384 w 436"/>
              <a:gd name="T1" fmla="*/ 0 h 514"/>
              <a:gd name="T2" fmla="*/ 2 w 436"/>
              <a:gd name="T3" fmla="*/ 0 h 514"/>
              <a:gd name="T4" fmla="*/ 0 w 436"/>
              <a:gd name="T5" fmla="*/ 505 h 514"/>
              <a:gd name="T6" fmla="*/ 331 w 436"/>
              <a:gd name="T7" fmla="*/ 514 h 514"/>
              <a:gd name="T8" fmla="*/ 436 w 436"/>
              <a:gd name="T9" fmla="*/ 431 h 514"/>
              <a:gd name="T10" fmla="*/ 384 w 436"/>
              <a:gd name="T11" fmla="*/ 0 h 514"/>
            </a:gdLst>
            <a:ahLst/>
            <a:cxnLst>
              <a:cxn ang="0">
                <a:pos x="T0" y="T1"/>
              </a:cxn>
              <a:cxn ang="0">
                <a:pos x="T2" y="T3"/>
              </a:cxn>
              <a:cxn ang="0">
                <a:pos x="T4" y="T5"/>
              </a:cxn>
              <a:cxn ang="0">
                <a:pos x="T6" y="T7"/>
              </a:cxn>
              <a:cxn ang="0">
                <a:pos x="T8" y="T9"/>
              </a:cxn>
              <a:cxn ang="0">
                <a:pos x="T10" y="T11"/>
              </a:cxn>
            </a:cxnLst>
            <a:rect l="0" t="0" r="r" b="b"/>
            <a:pathLst>
              <a:path w="436" h="514">
                <a:moveTo>
                  <a:pt x="384" y="0"/>
                </a:moveTo>
                <a:lnTo>
                  <a:pt x="2" y="0"/>
                </a:lnTo>
                <a:lnTo>
                  <a:pt x="0" y="505"/>
                </a:lnTo>
                <a:lnTo>
                  <a:pt x="331" y="514"/>
                </a:lnTo>
                <a:lnTo>
                  <a:pt x="436" y="431"/>
                </a:lnTo>
                <a:lnTo>
                  <a:pt x="3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1" name="Freeform 38"/>
          <p:cNvSpPr>
            <a:spLocks/>
          </p:cNvSpPr>
          <p:nvPr userDrawn="1"/>
        </p:nvSpPr>
        <p:spPr bwMode="auto">
          <a:xfrm>
            <a:off x="7251701" y="1391941"/>
            <a:ext cx="77788" cy="68263"/>
          </a:xfrm>
          <a:custGeom>
            <a:avLst/>
            <a:gdLst>
              <a:gd name="T0" fmla="*/ 586 w 586"/>
              <a:gd name="T1" fmla="*/ 139 h 523"/>
              <a:gd name="T2" fmla="*/ 586 w 586"/>
              <a:gd name="T3" fmla="*/ 139 h 523"/>
              <a:gd name="T4" fmla="*/ 552 w 586"/>
              <a:gd name="T5" fmla="*/ 115 h 523"/>
              <a:gd name="T6" fmla="*/ 527 w 586"/>
              <a:gd name="T7" fmla="*/ 97 h 523"/>
              <a:gd name="T8" fmla="*/ 519 w 586"/>
              <a:gd name="T9" fmla="*/ 90 h 523"/>
              <a:gd name="T10" fmla="*/ 514 w 586"/>
              <a:gd name="T11" fmla="*/ 85 h 523"/>
              <a:gd name="T12" fmla="*/ 514 w 586"/>
              <a:gd name="T13" fmla="*/ 85 h 523"/>
              <a:gd name="T14" fmla="*/ 512 w 586"/>
              <a:gd name="T15" fmla="*/ 79 h 523"/>
              <a:gd name="T16" fmla="*/ 510 w 586"/>
              <a:gd name="T17" fmla="*/ 69 h 523"/>
              <a:gd name="T18" fmla="*/ 506 w 586"/>
              <a:gd name="T19" fmla="*/ 40 h 523"/>
              <a:gd name="T20" fmla="*/ 503 w 586"/>
              <a:gd name="T21" fmla="*/ 0 h 523"/>
              <a:gd name="T22" fmla="*/ 381 w 586"/>
              <a:gd name="T23" fmla="*/ 98 h 523"/>
              <a:gd name="T24" fmla="*/ 8 w 586"/>
              <a:gd name="T25" fmla="*/ 97 h 523"/>
              <a:gd name="T26" fmla="*/ 8 w 586"/>
              <a:gd name="T27" fmla="*/ 97 h 523"/>
              <a:gd name="T28" fmla="*/ 8 w 586"/>
              <a:gd name="T29" fmla="*/ 98 h 523"/>
              <a:gd name="T30" fmla="*/ 7 w 586"/>
              <a:gd name="T31" fmla="*/ 100 h 523"/>
              <a:gd name="T32" fmla="*/ 5 w 586"/>
              <a:gd name="T33" fmla="*/ 108 h 523"/>
              <a:gd name="T34" fmla="*/ 3 w 586"/>
              <a:gd name="T35" fmla="*/ 139 h 523"/>
              <a:gd name="T36" fmla="*/ 2 w 586"/>
              <a:gd name="T37" fmla="*/ 183 h 523"/>
              <a:gd name="T38" fmla="*/ 1 w 586"/>
              <a:gd name="T39" fmla="*/ 233 h 523"/>
              <a:gd name="T40" fmla="*/ 0 w 586"/>
              <a:gd name="T41" fmla="*/ 327 h 523"/>
              <a:gd name="T42" fmla="*/ 0 w 586"/>
              <a:gd name="T43" fmla="*/ 369 h 523"/>
              <a:gd name="T44" fmla="*/ 0 w 586"/>
              <a:gd name="T45" fmla="*/ 369 h 523"/>
              <a:gd name="T46" fmla="*/ 29 w 586"/>
              <a:gd name="T47" fmla="*/ 395 h 523"/>
              <a:gd name="T48" fmla="*/ 95 w 586"/>
              <a:gd name="T49" fmla="*/ 448 h 523"/>
              <a:gd name="T50" fmla="*/ 131 w 586"/>
              <a:gd name="T51" fmla="*/ 477 h 523"/>
              <a:gd name="T52" fmla="*/ 162 w 586"/>
              <a:gd name="T53" fmla="*/ 501 h 523"/>
              <a:gd name="T54" fmla="*/ 186 w 586"/>
              <a:gd name="T55" fmla="*/ 517 h 523"/>
              <a:gd name="T56" fmla="*/ 193 w 586"/>
              <a:gd name="T57" fmla="*/ 522 h 523"/>
              <a:gd name="T58" fmla="*/ 195 w 586"/>
              <a:gd name="T59" fmla="*/ 523 h 523"/>
              <a:gd name="T60" fmla="*/ 197 w 586"/>
              <a:gd name="T61" fmla="*/ 523 h 523"/>
              <a:gd name="T62" fmla="*/ 448 w 586"/>
              <a:gd name="T63" fmla="*/ 206 h 523"/>
              <a:gd name="T64" fmla="*/ 586 w 586"/>
              <a:gd name="T65" fmla="*/ 139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86" h="523">
                <a:moveTo>
                  <a:pt x="586" y="139"/>
                </a:moveTo>
                <a:lnTo>
                  <a:pt x="586" y="139"/>
                </a:lnTo>
                <a:lnTo>
                  <a:pt x="552" y="115"/>
                </a:lnTo>
                <a:lnTo>
                  <a:pt x="527" y="97"/>
                </a:lnTo>
                <a:lnTo>
                  <a:pt x="519" y="90"/>
                </a:lnTo>
                <a:lnTo>
                  <a:pt x="514" y="85"/>
                </a:lnTo>
                <a:lnTo>
                  <a:pt x="514" y="85"/>
                </a:lnTo>
                <a:lnTo>
                  <a:pt x="512" y="79"/>
                </a:lnTo>
                <a:lnTo>
                  <a:pt x="510" y="69"/>
                </a:lnTo>
                <a:lnTo>
                  <a:pt x="506" y="40"/>
                </a:lnTo>
                <a:lnTo>
                  <a:pt x="503" y="0"/>
                </a:lnTo>
                <a:lnTo>
                  <a:pt x="381" y="98"/>
                </a:lnTo>
                <a:lnTo>
                  <a:pt x="8" y="97"/>
                </a:lnTo>
                <a:lnTo>
                  <a:pt x="8" y="97"/>
                </a:lnTo>
                <a:lnTo>
                  <a:pt x="8" y="98"/>
                </a:lnTo>
                <a:lnTo>
                  <a:pt x="7" y="100"/>
                </a:lnTo>
                <a:lnTo>
                  <a:pt x="5" y="108"/>
                </a:lnTo>
                <a:lnTo>
                  <a:pt x="3" y="139"/>
                </a:lnTo>
                <a:lnTo>
                  <a:pt x="2" y="183"/>
                </a:lnTo>
                <a:lnTo>
                  <a:pt x="1" y="233"/>
                </a:lnTo>
                <a:lnTo>
                  <a:pt x="0" y="327"/>
                </a:lnTo>
                <a:lnTo>
                  <a:pt x="0" y="369"/>
                </a:lnTo>
                <a:lnTo>
                  <a:pt x="0" y="369"/>
                </a:lnTo>
                <a:lnTo>
                  <a:pt x="29" y="395"/>
                </a:lnTo>
                <a:lnTo>
                  <a:pt x="95" y="448"/>
                </a:lnTo>
                <a:lnTo>
                  <a:pt x="131" y="477"/>
                </a:lnTo>
                <a:lnTo>
                  <a:pt x="162" y="501"/>
                </a:lnTo>
                <a:lnTo>
                  <a:pt x="186" y="517"/>
                </a:lnTo>
                <a:lnTo>
                  <a:pt x="193" y="522"/>
                </a:lnTo>
                <a:lnTo>
                  <a:pt x="195" y="523"/>
                </a:lnTo>
                <a:lnTo>
                  <a:pt x="197" y="523"/>
                </a:lnTo>
                <a:lnTo>
                  <a:pt x="448" y="206"/>
                </a:lnTo>
                <a:lnTo>
                  <a:pt x="586" y="13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2" name="Freeform 39"/>
          <p:cNvSpPr>
            <a:spLocks/>
          </p:cNvSpPr>
          <p:nvPr userDrawn="1"/>
        </p:nvSpPr>
        <p:spPr bwMode="auto">
          <a:xfrm>
            <a:off x="7288212" y="1417340"/>
            <a:ext cx="115888" cy="66675"/>
          </a:xfrm>
          <a:custGeom>
            <a:avLst/>
            <a:gdLst>
              <a:gd name="T0" fmla="*/ 226 w 879"/>
              <a:gd name="T1" fmla="*/ 65 h 509"/>
              <a:gd name="T2" fmla="*/ 0 w 879"/>
              <a:gd name="T3" fmla="*/ 355 h 509"/>
              <a:gd name="T4" fmla="*/ 369 w 879"/>
              <a:gd name="T5" fmla="*/ 509 h 509"/>
              <a:gd name="T6" fmla="*/ 369 w 879"/>
              <a:gd name="T7" fmla="*/ 509 h 509"/>
              <a:gd name="T8" fmla="*/ 409 w 879"/>
              <a:gd name="T9" fmla="*/ 487 h 509"/>
              <a:gd name="T10" fmla="*/ 452 w 879"/>
              <a:gd name="T11" fmla="*/ 464 h 509"/>
              <a:gd name="T12" fmla="*/ 495 w 879"/>
              <a:gd name="T13" fmla="*/ 439 h 509"/>
              <a:gd name="T14" fmla="*/ 538 w 879"/>
              <a:gd name="T15" fmla="*/ 413 h 509"/>
              <a:gd name="T16" fmla="*/ 623 w 879"/>
              <a:gd name="T17" fmla="*/ 361 h 509"/>
              <a:gd name="T18" fmla="*/ 703 w 879"/>
              <a:gd name="T19" fmla="*/ 311 h 509"/>
              <a:gd name="T20" fmla="*/ 773 w 879"/>
              <a:gd name="T21" fmla="*/ 266 h 509"/>
              <a:gd name="T22" fmla="*/ 829 w 879"/>
              <a:gd name="T23" fmla="*/ 229 h 509"/>
              <a:gd name="T24" fmla="*/ 879 w 879"/>
              <a:gd name="T25" fmla="*/ 196 h 509"/>
              <a:gd name="T26" fmla="*/ 359 w 879"/>
              <a:gd name="T27" fmla="*/ 0 h 509"/>
              <a:gd name="T28" fmla="*/ 226 w 879"/>
              <a:gd name="T29" fmla="*/ 65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9" h="509">
                <a:moveTo>
                  <a:pt x="226" y="65"/>
                </a:moveTo>
                <a:lnTo>
                  <a:pt x="0" y="355"/>
                </a:lnTo>
                <a:lnTo>
                  <a:pt x="369" y="509"/>
                </a:lnTo>
                <a:lnTo>
                  <a:pt x="369" y="509"/>
                </a:lnTo>
                <a:lnTo>
                  <a:pt x="409" y="487"/>
                </a:lnTo>
                <a:lnTo>
                  <a:pt x="452" y="464"/>
                </a:lnTo>
                <a:lnTo>
                  <a:pt x="495" y="439"/>
                </a:lnTo>
                <a:lnTo>
                  <a:pt x="538" y="413"/>
                </a:lnTo>
                <a:lnTo>
                  <a:pt x="623" y="361"/>
                </a:lnTo>
                <a:lnTo>
                  <a:pt x="703" y="311"/>
                </a:lnTo>
                <a:lnTo>
                  <a:pt x="773" y="266"/>
                </a:lnTo>
                <a:lnTo>
                  <a:pt x="829" y="229"/>
                </a:lnTo>
                <a:lnTo>
                  <a:pt x="879" y="196"/>
                </a:lnTo>
                <a:lnTo>
                  <a:pt x="359" y="0"/>
                </a:lnTo>
                <a:lnTo>
                  <a:pt x="226" y="6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3" name="Freeform 40"/>
          <p:cNvSpPr>
            <a:spLocks/>
          </p:cNvSpPr>
          <p:nvPr userDrawn="1"/>
        </p:nvSpPr>
        <p:spPr bwMode="auto">
          <a:xfrm>
            <a:off x="7323137" y="1172866"/>
            <a:ext cx="26988" cy="123825"/>
          </a:xfrm>
          <a:custGeom>
            <a:avLst/>
            <a:gdLst>
              <a:gd name="T0" fmla="*/ 170 w 211"/>
              <a:gd name="T1" fmla="*/ 388 h 928"/>
              <a:gd name="T2" fmla="*/ 169 w 211"/>
              <a:gd name="T3" fmla="*/ 133 h 928"/>
              <a:gd name="T4" fmla="*/ 171 w 211"/>
              <a:gd name="T5" fmla="*/ 84 h 928"/>
              <a:gd name="T6" fmla="*/ 172 w 211"/>
              <a:gd name="T7" fmla="*/ 79 h 928"/>
              <a:gd name="T8" fmla="*/ 182 w 211"/>
              <a:gd name="T9" fmla="*/ 64 h 928"/>
              <a:gd name="T10" fmla="*/ 188 w 211"/>
              <a:gd name="T11" fmla="*/ 53 h 928"/>
              <a:gd name="T12" fmla="*/ 192 w 211"/>
              <a:gd name="T13" fmla="*/ 36 h 928"/>
              <a:gd name="T14" fmla="*/ 191 w 211"/>
              <a:gd name="T15" fmla="*/ 18 h 928"/>
              <a:gd name="T16" fmla="*/ 188 w 211"/>
              <a:gd name="T17" fmla="*/ 0 h 928"/>
              <a:gd name="T18" fmla="*/ 6 w 211"/>
              <a:gd name="T19" fmla="*/ 0 h 928"/>
              <a:gd name="T20" fmla="*/ 4 w 211"/>
              <a:gd name="T21" fmla="*/ 8 h 928"/>
              <a:gd name="T22" fmla="*/ 5 w 211"/>
              <a:gd name="T23" fmla="*/ 33 h 928"/>
              <a:gd name="T24" fmla="*/ 7 w 211"/>
              <a:gd name="T25" fmla="*/ 43 h 928"/>
              <a:gd name="T26" fmla="*/ 17 w 211"/>
              <a:gd name="T27" fmla="*/ 65 h 928"/>
              <a:gd name="T28" fmla="*/ 28 w 211"/>
              <a:gd name="T29" fmla="*/ 80 h 928"/>
              <a:gd name="T30" fmla="*/ 33 w 211"/>
              <a:gd name="T31" fmla="*/ 388 h 928"/>
              <a:gd name="T32" fmla="*/ 29 w 211"/>
              <a:gd name="T33" fmla="*/ 395 h 928"/>
              <a:gd name="T34" fmla="*/ 19 w 211"/>
              <a:gd name="T35" fmla="*/ 412 h 928"/>
              <a:gd name="T36" fmla="*/ 9 w 211"/>
              <a:gd name="T37" fmla="*/ 443 h 928"/>
              <a:gd name="T38" fmla="*/ 0 w 211"/>
              <a:gd name="T39" fmla="*/ 487 h 928"/>
              <a:gd name="T40" fmla="*/ 0 w 211"/>
              <a:gd name="T41" fmla="*/ 498 h 928"/>
              <a:gd name="T42" fmla="*/ 1 w 211"/>
              <a:gd name="T43" fmla="*/ 518 h 928"/>
              <a:gd name="T44" fmla="*/ 10 w 211"/>
              <a:gd name="T45" fmla="*/ 546 h 928"/>
              <a:gd name="T46" fmla="*/ 23 w 211"/>
              <a:gd name="T47" fmla="*/ 576 h 928"/>
              <a:gd name="T48" fmla="*/ 35 w 211"/>
              <a:gd name="T49" fmla="*/ 594 h 928"/>
              <a:gd name="T50" fmla="*/ 31 w 211"/>
              <a:gd name="T51" fmla="*/ 850 h 928"/>
              <a:gd name="T52" fmla="*/ 23 w 211"/>
              <a:gd name="T53" fmla="*/ 859 h 928"/>
              <a:gd name="T54" fmla="*/ 18 w 211"/>
              <a:gd name="T55" fmla="*/ 871 h 928"/>
              <a:gd name="T56" fmla="*/ 14 w 211"/>
              <a:gd name="T57" fmla="*/ 888 h 928"/>
              <a:gd name="T58" fmla="*/ 14 w 211"/>
              <a:gd name="T59" fmla="*/ 898 h 928"/>
              <a:gd name="T60" fmla="*/ 15 w 211"/>
              <a:gd name="T61" fmla="*/ 919 h 928"/>
              <a:gd name="T62" fmla="*/ 18 w 211"/>
              <a:gd name="T63" fmla="*/ 928 h 928"/>
              <a:gd name="T64" fmla="*/ 188 w 211"/>
              <a:gd name="T65" fmla="*/ 928 h 928"/>
              <a:gd name="T66" fmla="*/ 191 w 211"/>
              <a:gd name="T67" fmla="*/ 906 h 928"/>
              <a:gd name="T68" fmla="*/ 190 w 211"/>
              <a:gd name="T69" fmla="*/ 881 h 928"/>
              <a:gd name="T70" fmla="*/ 188 w 211"/>
              <a:gd name="T71" fmla="*/ 873 h 928"/>
              <a:gd name="T72" fmla="*/ 179 w 211"/>
              <a:gd name="T73" fmla="*/ 857 h 928"/>
              <a:gd name="T74" fmla="*/ 169 w 211"/>
              <a:gd name="T75" fmla="*/ 846 h 928"/>
              <a:gd name="T76" fmla="*/ 168 w 211"/>
              <a:gd name="T77" fmla="*/ 594 h 928"/>
              <a:gd name="T78" fmla="*/ 190 w 211"/>
              <a:gd name="T79" fmla="*/ 561 h 928"/>
              <a:gd name="T80" fmla="*/ 202 w 211"/>
              <a:gd name="T81" fmla="*/ 537 h 928"/>
              <a:gd name="T82" fmla="*/ 210 w 211"/>
              <a:gd name="T83" fmla="*/ 507 h 928"/>
              <a:gd name="T84" fmla="*/ 211 w 211"/>
              <a:gd name="T85" fmla="*/ 491 h 928"/>
              <a:gd name="T86" fmla="*/ 211 w 211"/>
              <a:gd name="T87" fmla="*/ 482 h 928"/>
              <a:gd name="T88" fmla="*/ 206 w 211"/>
              <a:gd name="T89" fmla="*/ 458 h 928"/>
              <a:gd name="T90" fmla="*/ 195 w 211"/>
              <a:gd name="T91" fmla="*/ 428 h 928"/>
              <a:gd name="T92" fmla="*/ 181 w 211"/>
              <a:gd name="T93" fmla="*/ 405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1" h="928">
                <a:moveTo>
                  <a:pt x="170" y="388"/>
                </a:moveTo>
                <a:lnTo>
                  <a:pt x="170" y="388"/>
                </a:lnTo>
                <a:lnTo>
                  <a:pt x="169" y="238"/>
                </a:lnTo>
                <a:lnTo>
                  <a:pt x="169" y="133"/>
                </a:lnTo>
                <a:lnTo>
                  <a:pt x="170" y="96"/>
                </a:lnTo>
                <a:lnTo>
                  <a:pt x="171" y="84"/>
                </a:lnTo>
                <a:lnTo>
                  <a:pt x="172" y="79"/>
                </a:lnTo>
                <a:lnTo>
                  <a:pt x="172" y="79"/>
                </a:lnTo>
                <a:lnTo>
                  <a:pt x="177" y="71"/>
                </a:lnTo>
                <a:lnTo>
                  <a:pt x="182" y="64"/>
                </a:lnTo>
                <a:lnTo>
                  <a:pt x="188" y="53"/>
                </a:lnTo>
                <a:lnTo>
                  <a:pt x="188" y="53"/>
                </a:lnTo>
                <a:lnTo>
                  <a:pt x="191" y="45"/>
                </a:lnTo>
                <a:lnTo>
                  <a:pt x="192" y="36"/>
                </a:lnTo>
                <a:lnTo>
                  <a:pt x="192" y="28"/>
                </a:lnTo>
                <a:lnTo>
                  <a:pt x="191" y="18"/>
                </a:lnTo>
                <a:lnTo>
                  <a:pt x="189" y="5"/>
                </a:lnTo>
                <a:lnTo>
                  <a:pt x="188" y="0"/>
                </a:lnTo>
                <a:lnTo>
                  <a:pt x="6" y="0"/>
                </a:lnTo>
                <a:lnTo>
                  <a:pt x="6" y="0"/>
                </a:lnTo>
                <a:lnTo>
                  <a:pt x="5" y="4"/>
                </a:lnTo>
                <a:lnTo>
                  <a:pt x="4" y="8"/>
                </a:lnTo>
                <a:lnTo>
                  <a:pt x="4" y="20"/>
                </a:lnTo>
                <a:lnTo>
                  <a:pt x="5" y="33"/>
                </a:lnTo>
                <a:lnTo>
                  <a:pt x="7" y="43"/>
                </a:lnTo>
                <a:lnTo>
                  <a:pt x="7" y="43"/>
                </a:lnTo>
                <a:lnTo>
                  <a:pt x="11" y="54"/>
                </a:lnTo>
                <a:lnTo>
                  <a:pt x="17" y="65"/>
                </a:lnTo>
                <a:lnTo>
                  <a:pt x="24" y="76"/>
                </a:lnTo>
                <a:lnTo>
                  <a:pt x="28" y="80"/>
                </a:lnTo>
                <a:lnTo>
                  <a:pt x="33" y="83"/>
                </a:lnTo>
                <a:lnTo>
                  <a:pt x="33" y="388"/>
                </a:lnTo>
                <a:lnTo>
                  <a:pt x="33" y="388"/>
                </a:lnTo>
                <a:lnTo>
                  <a:pt x="29" y="395"/>
                </a:lnTo>
                <a:lnTo>
                  <a:pt x="24" y="402"/>
                </a:lnTo>
                <a:lnTo>
                  <a:pt x="19" y="412"/>
                </a:lnTo>
                <a:lnTo>
                  <a:pt x="14" y="426"/>
                </a:lnTo>
                <a:lnTo>
                  <a:pt x="9" y="443"/>
                </a:lnTo>
                <a:lnTo>
                  <a:pt x="4" y="463"/>
                </a:lnTo>
                <a:lnTo>
                  <a:pt x="0" y="487"/>
                </a:lnTo>
                <a:lnTo>
                  <a:pt x="0" y="487"/>
                </a:lnTo>
                <a:lnTo>
                  <a:pt x="0" y="498"/>
                </a:lnTo>
                <a:lnTo>
                  <a:pt x="0" y="508"/>
                </a:lnTo>
                <a:lnTo>
                  <a:pt x="1" y="518"/>
                </a:lnTo>
                <a:lnTo>
                  <a:pt x="4" y="529"/>
                </a:lnTo>
                <a:lnTo>
                  <a:pt x="10" y="546"/>
                </a:lnTo>
                <a:lnTo>
                  <a:pt x="16" y="562"/>
                </a:lnTo>
                <a:lnTo>
                  <a:pt x="23" y="576"/>
                </a:lnTo>
                <a:lnTo>
                  <a:pt x="29" y="585"/>
                </a:lnTo>
                <a:lnTo>
                  <a:pt x="35" y="594"/>
                </a:lnTo>
                <a:lnTo>
                  <a:pt x="31" y="850"/>
                </a:lnTo>
                <a:lnTo>
                  <a:pt x="31" y="850"/>
                </a:lnTo>
                <a:lnTo>
                  <a:pt x="29" y="852"/>
                </a:lnTo>
                <a:lnTo>
                  <a:pt x="23" y="859"/>
                </a:lnTo>
                <a:lnTo>
                  <a:pt x="20" y="864"/>
                </a:lnTo>
                <a:lnTo>
                  <a:pt x="18" y="871"/>
                </a:lnTo>
                <a:lnTo>
                  <a:pt x="15" y="879"/>
                </a:lnTo>
                <a:lnTo>
                  <a:pt x="14" y="888"/>
                </a:lnTo>
                <a:lnTo>
                  <a:pt x="14" y="888"/>
                </a:lnTo>
                <a:lnTo>
                  <a:pt x="14" y="898"/>
                </a:lnTo>
                <a:lnTo>
                  <a:pt x="14" y="906"/>
                </a:lnTo>
                <a:lnTo>
                  <a:pt x="15" y="919"/>
                </a:lnTo>
                <a:lnTo>
                  <a:pt x="17" y="926"/>
                </a:lnTo>
                <a:lnTo>
                  <a:pt x="18" y="928"/>
                </a:lnTo>
                <a:lnTo>
                  <a:pt x="188" y="928"/>
                </a:lnTo>
                <a:lnTo>
                  <a:pt x="188" y="928"/>
                </a:lnTo>
                <a:lnTo>
                  <a:pt x="190" y="920"/>
                </a:lnTo>
                <a:lnTo>
                  <a:pt x="191" y="906"/>
                </a:lnTo>
                <a:lnTo>
                  <a:pt x="190" y="889"/>
                </a:lnTo>
                <a:lnTo>
                  <a:pt x="190" y="881"/>
                </a:lnTo>
                <a:lnTo>
                  <a:pt x="188" y="873"/>
                </a:lnTo>
                <a:lnTo>
                  <a:pt x="188" y="873"/>
                </a:lnTo>
                <a:lnTo>
                  <a:pt x="185" y="864"/>
                </a:lnTo>
                <a:lnTo>
                  <a:pt x="179" y="857"/>
                </a:lnTo>
                <a:lnTo>
                  <a:pt x="174" y="851"/>
                </a:lnTo>
                <a:lnTo>
                  <a:pt x="169" y="846"/>
                </a:lnTo>
                <a:lnTo>
                  <a:pt x="168" y="594"/>
                </a:lnTo>
                <a:lnTo>
                  <a:pt x="168" y="594"/>
                </a:lnTo>
                <a:lnTo>
                  <a:pt x="181" y="573"/>
                </a:lnTo>
                <a:lnTo>
                  <a:pt x="190" y="561"/>
                </a:lnTo>
                <a:lnTo>
                  <a:pt x="196" y="550"/>
                </a:lnTo>
                <a:lnTo>
                  <a:pt x="202" y="537"/>
                </a:lnTo>
                <a:lnTo>
                  <a:pt x="207" y="522"/>
                </a:lnTo>
                <a:lnTo>
                  <a:pt x="210" y="507"/>
                </a:lnTo>
                <a:lnTo>
                  <a:pt x="211" y="499"/>
                </a:lnTo>
                <a:lnTo>
                  <a:pt x="211" y="491"/>
                </a:lnTo>
                <a:lnTo>
                  <a:pt x="211" y="491"/>
                </a:lnTo>
                <a:lnTo>
                  <a:pt x="211" y="482"/>
                </a:lnTo>
                <a:lnTo>
                  <a:pt x="210" y="473"/>
                </a:lnTo>
                <a:lnTo>
                  <a:pt x="206" y="458"/>
                </a:lnTo>
                <a:lnTo>
                  <a:pt x="201" y="443"/>
                </a:lnTo>
                <a:lnTo>
                  <a:pt x="195" y="428"/>
                </a:lnTo>
                <a:lnTo>
                  <a:pt x="189" y="416"/>
                </a:lnTo>
                <a:lnTo>
                  <a:pt x="181" y="405"/>
                </a:lnTo>
                <a:lnTo>
                  <a:pt x="170" y="3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4" name="Freeform 41"/>
          <p:cNvSpPr>
            <a:spLocks/>
          </p:cNvSpPr>
          <p:nvPr userDrawn="1"/>
        </p:nvSpPr>
        <p:spPr bwMode="auto">
          <a:xfrm>
            <a:off x="7351713" y="1209378"/>
            <a:ext cx="80963" cy="58738"/>
          </a:xfrm>
          <a:custGeom>
            <a:avLst/>
            <a:gdLst>
              <a:gd name="T0" fmla="*/ 617 w 617"/>
              <a:gd name="T1" fmla="*/ 73 h 442"/>
              <a:gd name="T2" fmla="*/ 433 w 617"/>
              <a:gd name="T3" fmla="*/ 70 h 442"/>
              <a:gd name="T4" fmla="*/ 202 w 617"/>
              <a:gd name="T5" fmla="*/ 68 h 442"/>
              <a:gd name="T6" fmla="*/ 195 w 617"/>
              <a:gd name="T7" fmla="*/ 67 h 442"/>
              <a:gd name="T8" fmla="*/ 174 w 617"/>
              <a:gd name="T9" fmla="*/ 61 h 442"/>
              <a:gd name="T10" fmla="*/ 137 w 617"/>
              <a:gd name="T11" fmla="*/ 44 h 442"/>
              <a:gd name="T12" fmla="*/ 84 w 617"/>
              <a:gd name="T13" fmla="*/ 16 h 442"/>
              <a:gd name="T14" fmla="*/ 53 w 617"/>
              <a:gd name="T15" fmla="*/ 2 h 442"/>
              <a:gd name="T16" fmla="*/ 40 w 617"/>
              <a:gd name="T17" fmla="*/ 0 h 442"/>
              <a:gd name="T18" fmla="*/ 37 w 617"/>
              <a:gd name="T19" fmla="*/ 2 h 442"/>
              <a:gd name="T20" fmla="*/ 22 w 617"/>
              <a:gd name="T21" fmla="*/ 38 h 442"/>
              <a:gd name="T22" fmla="*/ 1 w 617"/>
              <a:gd name="T23" fmla="*/ 91 h 442"/>
              <a:gd name="T24" fmla="*/ 19 w 617"/>
              <a:gd name="T25" fmla="*/ 113 h 442"/>
              <a:gd name="T26" fmla="*/ 38 w 617"/>
              <a:gd name="T27" fmla="*/ 147 h 442"/>
              <a:gd name="T28" fmla="*/ 47 w 617"/>
              <a:gd name="T29" fmla="*/ 169 h 442"/>
              <a:gd name="T30" fmla="*/ 52 w 617"/>
              <a:gd name="T31" fmla="*/ 191 h 442"/>
              <a:gd name="T32" fmla="*/ 55 w 617"/>
              <a:gd name="T33" fmla="*/ 216 h 442"/>
              <a:gd name="T34" fmla="*/ 53 w 617"/>
              <a:gd name="T35" fmla="*/ 235 h 442"/>
              <a:gd name="T36" fmla="*/ 48 w 617"/>
              <a:gd name="T37" fmla="*/ 265 h 442"/>
              <a:gd name="T38" fmla="*/ 42 w 617"/>
              <a:gd name="T39" fmla="*/ 283 h 442"/>
              <a:gd name="T40" fmla="*/ 32 w 617"/>
              <a:gd name="T41" fmla="*/ 304 h 442"/>
              <a:gd name="T42" fmla="*/ 19 w 617"/>
              <a:gd name="T43" fmla="*/ 324 h 442"/>
              <a:gd name="T44" fmla="*/ 0 w 617"/>
              <a:gd name="T45" fmla="*/ 345 h 442"/>
              <a:gd name="T46" fmla="*/ 23 w 617"/>
              <a:gd name="T47" fmla="*/ 391 h 442"/>
              <a:gd name="T48" fmla="*/ 47 w 617"/>
              <a:gd name="T49" fmla="*/ 435 h 442"/>
              <a:gd name="T50" fmla="*/ 52 w 617"/>
              <a:gd name="T51" fmla="*/ 442 h 442"/>
              <a:gd name="T52" fmla="*/ 84 w 617"/>
              <a:gd name="T53" fmla="*/ 423 h 442"/>
              <a:gd name="T54" fmla="*/ 129 w 617"/>
              <a:gd name="T55" fmla="*/ 400 h 442"/>
              <a:gd name="T56" fmla="*/ 183 w 617"/>
              <a:gd name="T57" fmla="*/ 378 h 442"/>
              <a:gd name="T58" fmla="*/ 211 w 617"/>
              <a:gd name="T59" fmla="*/ 371 h 442"/>
              <a:gd name="T60" fmla="*/ 224 w 617"/>
              <a:gd name="T61" fmla="*/ 369 h 442"/>
              <a:gd name="T62" fmla="*/ 330 w 617"/>
              <a:gd name="T63" fmla="*/ 363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17" h="442">
                <a:moveTo>
                  <a:pt x="330" y="363"/>
                </a:moveTo>
                <a:lnTo>
                  <a:pt x="617" y="73"/>
                </a:lnTo>
                <a:lnTo>
                  <a:pt x="617" y="73"/>
                </a:lnTo>
                <a:lnTo>
                  <a:pt x="433" y="70"/>
                </a:lnTo>
                <a:lnTo>
                  <a:pt x="324" y="69"/>
                </a:lnTo>
                <a:lnTo>
                  <a:pt x="202" y="68"/>
                </a:lnTo>
                <a:lnTo>
                  <a:pt x="202" y="68"/>
                </a:lnTo>
                <a:lnTo>
                  <a:pt x="195" y="67"/>
                </a:lnTo>
                <a:lnTo>
                  <a:pt x="185" y="65"/>
                </a:lnTo>
                <a:lnTo>
                  <a:pt x="174" y="61"/>
                </a:lnTo>
                <a:lnTo>
                  <a:pt x="163" y="56"/>
                </a:lnTo>
                <a:lnTo>
                  <a:pt x="137" y="44"/>
                </a:lnTo>
                <a:lnTo>
                  <a:pt x="110" y="30"/>
                </a:lnTo>
                <a:lnTo>
                  <a:pt x="84" y="16"/>
                </a:lnTo>
                <a:lnTo>
                  <a:pt x="63" y="6"/>
                </a:lnTo>
                <a:lnTo>
                  <a:pt x="53" y="2"/>
                </a:lnTo>
                <a:lnTo>
                  <a:pt x="45" y="1"/>
                </a:lnTo>
                <a:lnTo>
                  <a:pt x="40" y="0"/>
                </a:lnTo>
                <a:lnTo>
                  <a:pt x="38" y="1"/>
                </a:lnTo>
                <a:lnTo>
                  <a:pt x="37" y="2"/>
                </a:lnTo>
                <a:lnTo>
                  <a:pt x="37" y="2"/>
                </a:lnTo>
                <a:lnTo>
                  <a:pt x="22" y="38"/>
                </a:lnTo>
                <a:lnTo>
                  <a:pt x="1" y="91"/>
                </a:lnTo>
                <a:lnTo>
                  <a:pt x="1" y="91"/>
                </a:lnTo>
                <a:lnTo>
                  <a:pt x="10" y="101"/>
                </a:lnTo>
                <a:lnTo>
                  <a:pt x="19" y="113"/>
                </a:lnTo>
                <a:lnTo>
                  <a:pt x="29" y="129"/>
                </a:lnTo>
                <a:lnTo>
                  <a:pt x="38" y="147"/>
                </a:lnTo>
                <a:lnTo>
                  <a:pt x="43" y="157"/>
                </a:lnTo>
                <a:lnTo>
                  <a:pt x="47" y="169"/>
                </a:lnTo>
                <a:lnTo>
                  <a:pt x="50" y="180"/>
                </a:lnTo>
                <a:lnTo>
                  <a:pt x="52" y="191"/>
                </a:lnTo>
                <a:lnTo>
                  <a:pt x="55" y="203"/>
                </a:lnTo>
                <a:lnTo>
                  <a:pt x="55" y="216"/>
                </a:lnTo>
                <a:lnTo>
                  <a:pt x="55" y="216"/>
                </a:lnTo>
                <a:lnTo>
                  <a:pt x="53" y="235"/>
                </a:lnTo>
                <a:lnTo>
                  <a:pt x="51" y="248"/>
                </a:lnTo>
                <a:lnTo>
                  <a:pt x="48" y="265"/>
                </a:lnTo>
                <a:lnTo>
                  <a:pt x="45" y="274"/>
                </a:lnTo>
                <a:lnTo>
                  <a:pt x="42" y="283"/>
                </a:lnTo>
                <a:lnTo>
                  <a:pt x="38" y="293"/>
                </a:lnTo>
                <a:lnTo>
                  <a:pt x="32" y="304"/>
                </a:lnTo>
                <a:lnTo>
                  <a:pt x="26" y="313"/>
                </a:lnTo>
                <a:lnTo>
                  <a:pt x="19" y="324"/>
                </a:lnTo>
                <a:lnTo>
                  <a:pt x="11" y="334"/>
                </a:lnTo>
                <a:lnTo>
                  <a:pt x="0" y="345"/>
                </a:lnTo>
                <a:lnTo>
                  <a:pt x="0" y="345"/>
                </a:lnTo>
                <a:lnTo>
                  <a:pt x="23" y="391"/>
                </a:lnTo>
                <a:lnTo>
                  <a:pt x="40" y="423"/>
                </a:lnTo>
                <a:lnTo>
                  <a:pt x="47" y="435"/>
                </a:lnTo>
                <a:lnTo>
                  <a:pt x="52" y="442"/>
                </a:lnTo>
                <a:lnTo>
                  <a:pt x="52" y="442"/>
                </a:lnTo>
                <a:lnTo>
                  <a:pt x="67" y="433"/>
                </a:lnTo>
                <a:lnTo>
                  <a:pt x="84" y="423"/>
                </a:lnTo>
                <a:lnTo>
                  <a:pt x="105" y="412"/>
                </a:lnTo>
                <a:lnTo>
                  <a:pt x="129" y="400"/>
                </a:lnTo>
                <a:lnTo>
                  <a:pt x="156" y="388"/>
                </a:lnTo>
                <a:lnTo>
                  <a:pt x="183" y="378"/>
                </a:lnTo>
                <a:lnTo>
                  <a:pt x="198" y="374"/>
                </a:lnTo>
                <a:lnTo>
                  <a:pt x="211" y="371"/>
                </a:lnTo>
                <a:lnTo>
                  <a:pt x="211" y="371"/>
                </a:lnTo>
                <a:lnTo>
                  <a:pt x="224" y="369"/>
                </a:lnTo>
                <a:lnTo>
                  <a:pt x="248" y="367"/>
                </a:lnTo>
                <a:lnTo>
                  <a:pt x="330" y="36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5" name="Freeform 42"/>
          <p:cNvSpPr>
            <a:spLocks/>
          </p:cNvSpPr>
          <p:nvPr userDrawn="1"/>
        </p:nvSpPr>
        <p:spPr bwMode="auto">
          <a:xfrm>
            <a:off x="7453312" y="1131591"/>
            <a:ext cx="158750" cy="127000"/>
          </a:xfrm>
          <a:custGeom>
            <a:avLst/>
            <a:gdLst>
              <a:gd name="T0" fmla="*/ 1179 w 1207"/>
              <a:gd name="T1" fmla="*/ 480 h 962"/>
              <a:gd name="T2" fmla="*/ 1115 w 1207"/>
              <a:gd name="T3" fmla="*/ 496 h 962"/>
              <a:gd name="T4" fmla="*/ 1079 w 1207"/>
              <a:gd name="T5" fmla="*/ 532 h 962"/>
              <a:gd name="T6" fmla="*/ 1057 w 1207"/>
              <a:gd name="T7" fmla="*/ 600 h 962"/>
              <a:gd name="T8" fmla="*/ 1046 w 1207"/>
              <a:gd name="T9" fmla="*/ 585 h 962"/>
              <a:gd name="T10" fmla="*/ 1007 w 1207"/>
              <a:gd name="T11" fmla="*/ 556 h 962"/>
              <a:gd name="T12" fmla="*/ 935 w 1207"/>
              <a:gd name="T13" fmla="*/ 562 h 962"/>
              <a:gd name="T14" fmla="*/ 930 w 1207"/>
              <a:gd name="T15" fmla="*/ 613 h 962"/>
              <a:gd name="T16" fmla="*/ 935 w 1207"/>
              <a:gd name="T17" fmla="*/ 696 h 962"/>
              <a:gd name="T18" fmla="*/ 890 w 1207"/>
              <a:gd name="T19" fmla="*/ 725 h 962"/>
              <a:gd name="T20" fmla="*/ 842 w 1207"/>
              <a:gd name="T21" fmla="*/ 709 h 962"/>
              <a:gd name="T22" fmla="*/ 816 w 1207"/>
              <a:gd name="T23" fmla="*/ 658 h 962"/>
              <a:gd name="T24" fmla="*/ 805 w 1207"/>
              <a:gd name="T25" fmla="*/ 643 h 962"/>
              <a:gd name="T26" fmla="*/ 749 w 1207"/>
              <a:gd name="T27" fmla="*/ 659 h 962"/>
              <a:gd name="T28" fmla="*/ 701 w 1207"/>
              <a:gd name="T29" fmla="*/ 634 h 962"/>
              <a:gd name="T30" fmla="*/ 694 w 1207"/>
              <a:gd name="T31" fmla="*/ 581 h 962"/>
              <a:gd name="T32" fmla="*/ 754 w 1207"/>
              <a:gd name="T33" fmla="*/ 540 h 962"/>
              <a:gd name="T34" fmla="*/ 824 w 1207"/>
              <a:gd name="T35" fmla="*/ 520 h 962"/>
              <a:gd name="T36" fmla="*/ 805 w 1207"/>
              <a:gd name="T37" fmla="*/ 460 h 962"/>
              <a:gd name="T38" fmla="*/ 764 w 1207"/>
              <a:gd name="T39" fmla="*/ 421 h 962"/>
              <a:gd name="T40" fmla="*/ 698 w 1207"/>
              <a:gd name="T41" fmla="*/ 414 h 962"/>
              <a:gd name="T42" fmla="*/ 672 w 1207"/>
              <a:gd name="T43" fmla="*/ 415 h 962"/>
              <a:gd name="T44" fmla="*/ 712 w 1207"/>
              <a:gd name="T45" fmla="*/ 360 h 962"/>
              <a:gd name="T46" fmla="*/ 709 w 1207"/>
              <a:gd name="T47" fmla="*/ 285 h 962"/>
              <a:gd name="T48" fmla="*/ 668 w 1207"/>
              <a:gd name="T49" fmla="*/ 214 h 962"/>
              <a:gd name="T50" fmla="*/ 606 w 1207"/>
              <a:gd name="T51" fmla="*/ 224 h 962"/>
              <a:gd name="T52" fmla="*/ 535 w 1207"/>
              <a:gd name="T53" fmla="*/ 272 h 962"/>
              <a:gd name="T54" fmla="*/ 516 w 1207"/>
              <a:gd name="T55" fmla="*/ 334 h 962"/>
              <a:gd name="T56" fmla="*/ 508 w 1207"/>
              <a:gd name="T57" fmla="*/ 341 h 962"/>
              <a:gd name="T58" fmla="*/ 458 w 1207"/>
              <a:gd name="T59" fmla="*/ 287 h 962"/>
              <a:gd name="T60" fmla="*/ 404 w 1207"/>
              <a:gd name="T61" fmla="*/ 278 h 962"/>
              <a:gd name="T62" fmla="*/ 345 w 1207"/>
              <a:gd name="T63" fmla="*/ 300 h 962"/>
              <a:gd name="T64" fmla="*/ 362 w 1207"/>
              <a:gd name="T65" fmla="*/ 357 h 962"/>
              <a:gd name="T66" fmla="*/ 382 w 1207"/>
              <a:gd name="T67" fmla="*/ 432 h 962"/>
              <a:gd name="T68" fmla="*/ 347 w 1207"/>
              <a:gd name="T69" fmla="*/ 472 h 962"/>
              <a:gd name="T70" fmla="*/ 292 w 1207"/>
              <a:gd name="T71" fmla="*/ 462 h 962"/>
              <a:gd name="T72" fmla="*/ 262 w 1207"/>
              <a:gd name="T73" fmla="*/ 417 h 962"/>
              <a:gd name="T74" fmla="*/ 249 w 1207"/>
              <a:gd name="T75" fmla="*/ 398 h 962"/>
              <a:gd name="T76" fmla="*/ 194 w 1207"/>
              <a:gd name="T77" fmla="*/ 421 h 962"/>
              <a:gd name="T78" fmla="*/ 147 w 1207"/>
              <a:gd name="T79" fmla="*/ 404 h 962"/>
              <a:gd name="T80" fmla="*/ 128 w 1207"/>
              <a:gd name="T81" fmla="*/ 354 h 962"/>
              <a:gd name="T82" fmla="*/ 178 w 1207"/>
              <a:gd name="T83" fmla="*/ 300 h 962"/>
              <a:gd name="T84" fmla="*/ 233 w 1207"/>
              <a:gd name="T85" fmla="*/ 262 h 962"/>
              <a:gd name="T86" fmla="*/ 195 w 1207"/>
              <a:gd name="T87" fmla="*/ 203 h 962"/>
              <a:gd name="T88" fmla="*/ 145 w 1207"/>
              <a:gd name="T89" fmla="*/ 185 h 962"/>
              <a:gd name="T90" fmla="*/ 115 w 1207"/>
              <a:gd name="T91" fmla="*/ 191 h 962"/>
              <a:gd name="T92" fmla="*/ 153 w 1207"/>
              <a:gd name="T93" fmla="*/ 136 h 962"/>
              <a:gd name="T94" fmla="*/ 157 w 1207"/>
              <a:gd name="T95" fmla="*/ 76 h 962"/>
              <a:gd name="T96" fmla="*/ 134 w 1207"/>
              <a:gd name="T97" fmla="*/ 28 h 962"/>
              <a:gd name="T98" fmla="*/ 269 w 1207"/>
              <a:gd name="T99" fmla="*/ 712 h 962"/>
              <a:gd name="T100" fmla="*/ 354 w 1207"/>
              <a:gd name="T101" fmla="*/ 656 h 962"/>
              <a:gd name="T102" fmla="*/ 437 w 1207"/>
              <a:gd name="T103" fmla="*/ 636 h 962"/>
              <a:gd name="T104" fmla="*/ 517 w 1207"/>
              <a:gd name="T105" fmla="*/ 643 h 962"/>
              <a:gd name="T106" fmla="*/ 610 w 1207"/>
              <a:gd name="T107" fmla="*/ 683 h 962"/>
              <a:gd name="T108" fmla="*/ 658 w 1207"/>
              <a:gd name="T109" fmla="*/ 735 h 962"/>
              <a:gd name="T110" fmla="*/ 673 w 1207"/>
              <a:gd name="T111" fmla="*/ 793 h 962"/>
              <a:gd name="T112" fmla="*/ 646 w 1207"/>
              <a:gd name="T113" fmla="*/ 877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07" h="962">
                <a:moveTo>
                  <a:pt x="841" y="962"/>
                </a:moveTo>
                <a:lnTo>
                  <a:pt x="1207" y="484"/>
                </a:lnTo>
                <a:lnTo>
                  <a:pt x="1207" y="484"/>
                </a:lnTo>
                <a:lnTo>
                  <a:pt x="1200" y="482"/>
                </a:lnTo>
                <a:lnTo>
                  <a:pt x="1190" y="481"/>
                </a:lnTo>
                <a:lnTo>
                  <a:pt x="1179" y="480"/>
                </a:lnTo>
                <a:lnTo>
                  <a:pt x="1166" y="480"/>
                </a:lnTo>
                <a:lnTo>
                  <a:pt x="1149" y="483"/>
                </a:lnTo>
                <a:lnTo>
                  <a:pt x="1141" y="485"/>
                </a:lnTo>
                <a:lnTo>
                  <a:pt x="1133" y="488"/>
                </a:lnTo>
                <a:lnTo>
                  <a:pt x="1124" y="492"/>
                </a:lnTo>
                <a:lnTo>
                  <a:pt x="1115" y="496"/>
                </a:lnTo>
                <a:lnTo>
                  <a:pt x="1115" y="496"/>
                </a:lnTo>
                <a:lnTo>
                  <a:pt x="1106" y="502"/>
                </a:lnTo>
                <a:lnTo>
                  <a:pt x="1097" y="508"/>
                </a:lnTo>
                <a:lnTo>
                  <a:pt x="1090" y="515"/>
                </a:lnTo>
                <a:lnTo>
                  <a:pt x="1084" y="523"/>
                </a:lnTo>
                <a:lnTo>
                  <a:pt x="1079" y="532"/>
                </a:lnTo>
                <a:lnTo>
                  <a:pt x="1074" y="540"/>
                </a:lnTo>
                <a:lnTo>
                  <a:pt x="1070" y="548"/>
                </a:lnTo>
                <a:lnTo>
                  <a:pt x="1067" y="557"/>
                </a:lnTo>
                <a:lnTo>
                  <a:pt x="1062" y="574"/>
                </a:lnTo>
                <a:lnTo>
                  <a:pt x="1058" y="589"/>
                </a:lnTo>
                <a:lnTo>
                  <a:pt x="1057" y="600"/>
                </a:lnTo>
                <a:lnTo>
                  <a:pt x="1058" y="605"/>
                </a:lnTo>
                <a:lnTo>
                  <a:pt x="1059" y="608"/>
                </a:lnTo>
                <a:lnTo>
                  <a:pt x="1059" y="608"/>
                </a:lnTo>
                <a:lnTo>
                  <a:pt x="1055" y="599"/>
                </a:lnTo>
                <a:lnTo>
                  <a:pt x="1051" y="592"/>
                </a:lnTo>
                <a:lnTo>
                  <a:pt x="1046" y="585"/>
                </a:lnTo>
                <a:lnTo>
                  <a:pt x="1041" y="579"/>
                </a:lnTo>
                <a:lnTo>
                  <a:pt x="1036" y="574"/>
                </a:lnTo>
                <a:lnTo>
                  <a:pt x="1031" y="568"/>
                </a:lnTo>
                <a:lnTo>
                  <a:pt x="1025" y="564"/>
                </a:lnTo>
                <a:lnTo>
                  <a:pt x="1020" y="561"/>
                </a:lnTo>
                <a:lnTo>
                  <a:pt x="1007" y="556"/>
                </a:lnTo>
                <a:lnTo>
                  <a:pt x="994" y="554"/>
                </a:lnTo>
                <a:lnTo>
                  <a:pt x="982" y="553"/>
                </a:lnTo>
                <a:lnTo>
                  <a:pt x="970" y="554"/>
                </a:lnTo>
                <a:lnTo>
                  <a:pt x="957" y="556"/>
                </a:lnTo>
                <a:lnTo>
                  <a:pt x="946" y="558"/>
                </a:lnTo>
                <a:lnTo>
                  <a:pt x="935" y="562"/>
                </a:lnTo>
                <a:lnTo>
                  <a:pt x="927" y="565"/>
                </a:lnTo>
                <a:lnTo>
                  <a:pt x="913" y="572"/>
                </a:lnTo>
                <a:lnTo>
                  <a:pt x="908" y="574"/>
                </a:lnTo>
                <a:lnTo>
                  <a:pt x="908" y="574"/>
                </a:lnTo>
                <a:lnTo>
                  <a:pt x="920" y="594"/>
                </a:lnTo>
                <a:lnTo>
                  <a:pt x="930" y="613"/>
                </a:lnTo>
                <a:lnTo>
                  <a:pt x="936" y="632"/>
                </a:lnTo>
                <a:lnTo>
                  <a:pt x="940" y="647"/>
                </a:lnTo>
                <a:lnTo>
                  <a:pt x="941" y="663"/>
                </a:lnTo>
                <a:lnTo>
                  <a:pt x="941" y="675"/>
                </a:lnTo>
                <a:lnTo>
                  <a:pt x="939" y="687"/>
                </a:lnTo>
                <a:lnTo>
                  <a:pt x="935" y="696"/>
                </a:lnTo>
                <a:lnTo>
                  <a:pt x="930" y="705"/>
                </a:lnTo>
                <a:lnTo>
                  <a:pt x="924" y="712"/>
                </a:lnTo>
                <a:lnTo>
                  <a:pt x="915" y="718"/>
                </a:lnTo>
                <a:lnTo>
                  <a:pt x="907" y="722"/>
                </a:lnTo>
                <a:lnTo>
                  <a:pt x="899" y="724"/>
                </a:lnTo>
                <a:lnTo>
                  <a:pt x="890" y="725"/>
                </a:lnTo>
                <a:lnTo>
                  <a:pt x="881" y="725"/>
                </a:lnTo>
                <a:lnTo>
                  <a:pt x="871" y="724"/>
                </a:lnTo>
                <a:lnTo>
                  <a:pt x="871" y="724"/>
                </a:lnTo>
                <a:lnTo>
                  <a:pt x="859" y="720"/>
                </a:lnTo>
                <a:lnTo>
                  <a:pt x="850" y="715"/>
                </a:lnTo>
                <a:lnTo>
                  <a:pt x="842" y="709"/>
                </a:lnTo>
                <a:lnTo>
                  <a:pt x="835" y="702"/>
                </a:lnTo>
                <a:lnTo>
                  <a:pt x="829" y="695"/>
                </a:lnTo>
                <a:lnTo>
                  <a:pt x="825" y="688"/>
                </a:lnTo>
                <a:lnTo>
                  <a:pt x="821" y="680"/>
                </a:lnTo>
                <a:lnTo>
                  <a:pt x="819" y="673"/>
                </a:lnTo>
                <a:lnTo>
                  <a:pt x="816" y="658"/>
                </a:lnTo>
                <a:lnTo>
                  <a:pt x="816" y="646"/>
                </a:lnTo>
                <a:lnTo>
                  <a:pt x="816" y="638"/>
                </a:lnTo>
                <a:lnTo>
                  <a:pt x="816" y="635"/>
                </a:lnTo>
                <a:lnTo>
                  <a:pt x="816" y="635"/>
                </a:lnTo>
                <a:lnTo>
                  <a:pt x="813" y="637"/>
                </a:lnTo>
                <a:lnTo>
                  <a:pt x="805" y="643"/>
                </a:lnTo>
                <a:lnTo>
                  <a:pt x="793" y="650"/>
                </a:lnTo>
                <a:lnTo>
                  <a:pt x="785" y="653"/>
                </a:lnTo>
                <a:lnTo>
                  <a:pt x="777" y="656"/>
                </a:lnTo>
                <a:lnTo>
                  <a:pt x="768" y="658"/>
                </a:lnTo>
                <a:lnTo>
                  <a:pt x="759" y="659"/>
                </a:lnTo>
                <a:lnTo>
                  <a:pt x="749" y="659"/>
                </a:lnTo>
                <a:lnTo>
                  <a:pt x="739" y="658"/>
                </a:lnTo>
                <a:lnTo>
                  <a:pt x="729" y="655"/>
                </a:lnTo>
                <a:lnTo>
                  <a:pt x="720" y="650"/>
                </a:lnTo>
                <a:lnTo>
                  <a:pt x="710" y="643"/>
                </a:lnTo>
                <a:lnTo>
                  <a:pt x="701" y="634"/>
                </a:lnTo>
                <a:lnTo>
                  <a:pt x="701" y="634"/>
                </a:lnTo>
                <a:lnTo>
                  <a:pt x="694" y="625"/>
                </a:lnTo>
                <a:lnTo>
                  <a:pt x="690" y="616"/>
                </a:lnTo>
                <a:lnTo>
                  <a:pt x="688" y="607"/>
                </a:lnTo>
                <a:lnTo>
                  <a:pt x="689" y="598"/>
                </a:lnTo>
                <a:lnTo>
                  <a:pt x="690" y="589"/>
                </a:lnTo>
                <a:lnTo>
                  <a:pt x="694" y="581"/>
                </a:lnTo>
                <a:lnTo>
                  <a:pt x="701" y="572"/>
                </a:lnTo>
                <a:lnTo>
                  <a:pt x="708" y="564"/>
                </a:lnTo>
                <a:lnTo>
                  <a:pt x="717" y="557"/>
                </a:lnTo>
                <a:lnTo>
                  <a:pt x="727" y="550"/>
                </a:lnTo>
                <a:lnTo>
                  <a:pt x="740" y="544"/>
                </a:lnTo>
                <a:lnTo>
                  <a:pt x="754" y="540"/>
                </a:lnTo>
                <a:lnTo>
                  <a:pt x="769" y="536"/>
                </a:lnTo>
                <a:lnTo>
                  <a:pt x="786" y="533"/>
                </a:lnTo>
                <a:lnTo>
                  <a:pt x="804" y="532"/>
                </a:lnTo>
                <a:lnTo>
                  <a:pt x="823" y="531"/>
                </a:lnTo>
                <a:lnTo>
                  <a:pt x="823" y="531"/>
                </a:lnTo>
                <a:lnTo>
                  <a:pt x="824" y="520"/>
                </a:lnTo>
                <a:lnTo>
                  <a:pt x="823" y="509"/>
                </a:lnTo>
                <a:lnTo>
                  <a:pt x="820" y="494"/>
                </a:lnTo>
                <a:lnTo>
                  <a:pt x="817" y="486"/>
                </a:lnTo>
                <a:lnTo>
                  <a:pt x="814" y="477"/>
                </a:lnTo>
                <a:lnTo>
                  <a:pt x="810" y="469"/>
                </a:lnTo>
                <a:lnTo>
                  <a:pt x="805" y="460"/>
                </a:lnTo>
                <a:lnTo>
                  <a:pt x="799" y="451"/>
                </a:lnTo>
                <a:lnTo>
                  <a:pt x="792" y="443"/>
                </a:lnTo>
                <a:lnTo>
                  <a:pt x="782" y="435"/>
                </a:lnTo>
                <a:lnTo>
                  <a:pt x="772" y="426"/>
                </a:lnTo>
                <a:lnTo>
                  <a:pt x="772" y="426"/>
                </a:lnTo>
                <a:lnTo>
                  <a:pt x="764" y="421"/>
                </a:lnTo>
                <a:lnTo>
                  <a:pt x="755" y="417"/>
                </a:lnTo>
                <a:lnTo>
                  <a:pt x="745" y="415"/>
                </a:lnTo>
                <a:lnTo>
                  <a:pt x="735" y="413"/>
                </a:lnTo>
                <a:lnTo>
                  <a:pt x="725" y="412"/>
                </a:lnTo>
                <a:lnTo>
                  <a:pt x="716" y="412"/>
                </a:lnTo>
                <a:lnTo>
                  <a:pt x="698" y="414"/>
                </a:lnTo>
                <a:lnTo>
                  <a:pt x="681" y="418"/>
                </a:lnTo>
                <a:lnTo>
                  <a:pt x="668" y="421"/>
                </a:lnTo>
                <a:lnTo>
                  <a:pt x="657" y="425"/>
                </a:lnTo>
                <a:lnTo>
                  <a:pt x="657" y="425"/>
                </a:lnTo>
                <a:lnTo>
                  <a:pt x="664" y="421"/>
                </a:lnTo>
                <a:lnTo>
                  <a:pt x="672" y="415"/>
                </a:lnTo>
                <a:lnTo>
                  <a:pt x="681" y="408"/>
                </a:lnTo>
                <a:lnTo>
                  <a:pt x="691" y="397"/>
                </a:lnTo>
                <a:lnTo>
                  <a:pt x="701" y="384"/>
                </a:lnTo>
                <a:lnTo>
                  <a:pt x="705" y="376"/>
                </a:lnTo>
                <a:lnTo>
                  <a:pt x="709" y="369"/>
                </a:lnTo>
                <a:lnTo>
                  <a:pt x="712" y="360"/>
                </a:lnTo>
                <a:lnTo>
                  <a:pt x="714" y="351"/>
                </a:lnTo>
                <a:lnTo>
                  <a:pt x="714" y="351"/>
                </a:lnTo>
                <a:lnTo>
                  <a:pt x="716" y="336"/>
                </a:lnTo>
                <a:lnTo>
                  <a:pt x="715" y="320"/>
                </a:lnTo>
                <a:lnTo>
                  <a:pt x="713" y="303"/>
                </a:lnTo>
                <a:lnTo>
                  <a:pt x="709" y="285"/>
                </a:lnTo>
                <a:lnTo>
                  <a:pt x="702" y="267"/>
                </a:lnTo>
                <a:lnTo>
                  <a:pt x="693" y="249"/>
                </a:lnTo>
                <a:lnTo>
                  <a:pt x="682" y="232"/>
                </a:lnTo>
                <a:lnTo>
                  <a:pt x="676" y="223"/>
                </a:lnTo>
                <a:lnTo>
                  <a:pt x="669" y="216"/>
                </a:lnTo>
                <a:lnTo>
                  <a:pt x="668" y="214"/>
                </a:lnTo>
                <a:lnTo>
                  <a:pt x="665" y="214"/>
                </a:lnTo>
                <a:lnTo>
                  <a:pt x="665" y="214"/>
                </a:lnTo>
                <a:lnTo>
                  <a:pt x="655" y="214"/>
                </a:lnTo>
                <a:lnTo>
                  <a:pt x="644" y="215"/>
                </a:lnTo>
                <a:lnTo>
                  <a:pt x="624" y="219"/>
                </a:lnTo>
                <a:lnTo>
                  <a:pt x="606" y="224"/>
                </a:lnTo>
                <a:lnTo>
                  <a:pt x="587" y="232"/>
                </a:lnTo>
                <a:lnTo>
                  <a:pt x="572" y="240"/>
                </a:lnTo>
                <a:lnTo>
                  <a:pt x="557" y="250"/>
                </a:lnTo>
                <a:lnTo>
                  <a:pt x="545" y="261"/>
                </a:lnTo>
                <a:lnTo>
                  <a:pt x="535" y="272"/>
                </a:lnTo>
                <a:lnTo>
                  <a:pt x="535" y="272"/>
                </a:lnTo>
                <a:lnTo>
                  <a:pt x="530" y="280"/>
                </a:lnTo>
                <a:lnTo>
                  <a:pt x="526" y="288"/>
                </a:lnTo>
                <a:lnTo>
                  <a:pt x="523" y="297"/>
                </a:lnTo>
                <a:lnTo>
                  <a:pt x="520" y="305"/>
                </a:lnTo>
                <a:lnTo>
                  <a:pt x="517" y="320"/>
                </a:lnTo>
                <a:lnTo>
                  <a:pt x="516" y="334"/>
                </a:lnTo>
                <a:lnTo>
                  <a:pt x="516" y="347"/>
                </a:lnTo>
                <a:lnTo>
                  <a:pt x="517" y="357"/>
                </a:lnTo>
                <a:lnTo>
                  <a:pt x="519" y="365"/>
                </a:lnTo>
                <a:lnTo>
                  <a:pt x="519" y="365"/>
                </a:lnTo>
                <a:lnTo>
                  <a:pt x="513" y="354"/>
                </a:lnTo>
                <a:lnTo>
                  <a:pt x="508" y="341"/>
                </a:lnTo>
                <a:lnTo>
                  <a:pt x="499" y="327"/>
                </a:lnTo>
                <a:lnTo>
                  <a:pt x="488" y="313"/>
                </a:lnTo>
                <a:lnTo>
                  <a:pt x="482" y="306"/>
                </a:lnTo>
                <a:lnTo>
                  <a:pt x="475" y="299"/>
                </a:lnTo>
                <a:lnTo>
                  <a:pt x="467" y="292"/>
                </a:lnTo>
                <a:lnTo>
                  <a:pt x="458" y="287"/>
                </a:lnTo>
                <a:lnTo>
                  <a:pt x="450" y="283"/>
                </a:lnTo>
                <a:lnTo>
                  <a:pt x="440" y="281"/>
                </a:lnTo>
                <a:lnTo>
                  <a:pt x="440" y="281"/>
                </a:lnTo>
                <a:lnTo>
                  <a:pt x="428" y="278"/>
                </a:lnTo>
                <a:lnTo>
                  <a:pt x="415" y="278"/>
                </a:lnTo>
                <a:lnTo>
                  <a:pt x="404" y="278"/>
                </a:lnTo>
                <a:lnTo>
                  <a:pt x="393" y="279"/>
                </a:lnTo>
                <a:lnTo>
                  <a:pt x="384" y="281"/>
                </a:lnTo>
                <a:lnTo>
                  <a:pt x="374" y="284"/>
                </a:lnTo>
                <a:lnTo>
                  <a:pt x="365" y="287"/>
                </a:lnTo>
                <a:lnTo>
                  <a:pt x="358" y="291"/>
                </a:lnTo>
                <a:lnTo>
                  <a:pt x="345" y="300"/>
                </a:lnTo>
                <a:lnTo>
                  <a:pt x="336" y="307"/>
                </a:lnTo>
                <a:lnTo>
                  <a:pt x="328" y="314"/>
                </a:lnTo>
                <a:lnTo>
                  <a:pt x="328" y="314"/>
                </a:lnTo>
                <a:lnTo>
                  <a:pt x="342" y="328"/>
                </a:lnTo>
                <a:lnTo>
                  <a:pt x="353" y="343"/>
                </a:lnTo>
                <a:lnTo>
                  <a:pt x="362" y="357"/>
                </a:lnTo>
                <a:lnTo>
                  <a:pt x="369" y="371"/>
                </a:lnTo>
                <a:lnTo>
                  <a:pt x="375" y="384"/>
                </a:lnTo>
                <a:lnTo>
                  <a:pt x="380" y="398"/>
                </a:lnTo>
                <a:lnTo>
                  <a:pt x="382" y="410"/>
                </a:lnTo>
                <a:lnTo>
                  <a:pt x="383" y="421"/>
                </a:lnTo>
                <a:lnTo>
                  <a:pt x="382" y="432"/>
                </a:lnTo>
                <a:lnTo>
                  <a:pt x="380" y="442"/>
                </a:lnTo>
                <a:lnTo>
                  <a:pt x="375" y="451"/>
                </a:lnTo>
                <a:lnTo>
                  <a:pt x="370" y="458"/>
                </a:lnTo>
                <a:lnTo>
                  <a:pt x="363" y="464"/>
                </a:lnTo>
                <a:lnTo>
                  <a:pt x="356" y="469"/>
                </a:lnTo>
                <a:lnTo>
                  <a:pt x="347" y="472"/>
                </a:lnTo>
                <a:lnTo>
                  <a:pt x="337" y="473"/>
                </a:lnTo>
                <a:lnTo>
                  <a:pt x="337" y="473"/>
                </a:lnTo>
                <a:lnTo>
                  <a:pt x="322" y="473"/>
                </a:lnTo>
                <a:lnTo>
                  <a:pt x="311" y="471"/>
                </a:lnTo>
                <a:lnTo>
                  <a:pt x="301" y="467"/>
                </a:lnTo>
                <a:lnTo>
                  <a:pt x="292" y="462"/>
                </a:lnTo>
                <a:lnTo>
                  <a:pt x="283" y="456"/>
                </a:lnTo>
                <a:lnTo>
                  <a:pt x="277" y="449"/>
                </a:lnTo>
                <a:lnTo>
                  <a:pt x="272" y="441"/>
                </a:lnTo>
                <a:lnTo>
                  <a:pt x="268" y="432"/>
                </a:lnTo>
                <a:lnTo>
                  <a:pt x="264" y="424"/>
                </a:lnTo>
                <a:lnTo>
                  <a:pt x="262" y="417"/>
                </a:lnTo>
                <a:lnTo>
                  <a:pt x="259" y="403"/>
                </a:lnTo>
                <a:lnTo>
                  <a:pt x="257" y="393"/>
                </a:lnTo>
                <a:lnTo>
                  <a:pt x="257" y="390"/>
                </a:lnTo>
                <a:lnTo>
                  <a:pt x="257" y="390"/>
                </a:lnTo>
                <a:lnTo>
                  <a:pt x="255" y="392"/>
                </a:lnTo>
                <a:lnTo>
                  <a:pt x="249" y="398"/>
                </a:lnTo>
                <a:lnTo>
                  <a:pt x="239" y="405"/>
                </a:lnTo>
                <a:lnTo>
                  <a:pt x="227" y="413"/>
                </a:lnTo>
                <a:lnTo>
                  <a:pt x="220" y="416"/>
                </a:lnTo>
                <a:lnTo>
                  <a:pt x="212" y="419"/>
                </a:lnTo>
                <a:lnTo>
                  <a:pt x="204" y="420"/>
                </a:lnTo>
                <a:lnTo>
                  <a:pt x="194" y="421"/>
                </a:lnTo>
                <a:lnTo>
                  <a:pt x="185" y="421"/>
                </a:lnTo>
                <a:lnTo>
                  <a:pt x="175" y="419"/>
                </a:lnTo>
                <a:lnTo>
                  <a:pt x="165" y="415"/>
                </a:lnTo>
                <a:lnTo>
                  <a:pt x="155" y="409"/>
                </a:lnTo>
                <a:lnTo>
                  <a:pt x="155" y="409"/>
                </a:lnTo>
                <a:lnTo>
                  <a:pt x="147" y="404"/>
                </a:lnTo>
                <a:lnTo>
                  <a:pt x="140" y="397"/>
                </a:lnTo>
                <a:lnTo>
                  <a:pt x="135" y="390"/>
                </a:lnTo>
                <a:lnTo>
                  <a:pt x="131" y="381"/>
                </a:lnTo>
                <a:lnTo>
                  <a:pt x="129" y="372"/>
                </a:lnTo>
                <a:lnTo>
                  <a:pt x="128" y="363"/>
                </a:lnTo>
                <a:lnTo>
                  <a:pt x="128" y="354"/>
                </a:lnTo>
                <a:lnTo>
                  <a:pt x="131" y="345"/>
                </a:lnTo>
                <a:lnTo>
                  <a:pt x="136" y="334"/>
                </a:lnTo>
                <a:lnTo>
                  <a:pt x="142" y="325"/>
                </a:lnTo>
                <a:lnTo>
                  <a:pt x="153" y="316"/>
                </a:lnTo>
                <a:lnTo>
                  <a:pt x="164" y="308"/>
                </a:lnTo>
                <a:lnTo>
                  <a:pt x="178" y="300"/>
                </a:lnTo>
                <a:lnTo>
                  <a:pt x="195" y="292"/>
                </a:lnTo>
                <a:lnTo>
                  <a:pt x="216" y="286"/>
                </a:lnTo>
                <a:lnTo>
                  <a:pt x="239" y="280"/>
                </a:lnTo>
                <a:lnTo>
                  <a:pt x="239" y="280"/>
                </a:lnTo>
                <a:lnTo>
                  <a:pt x="238" y="275"/>
                </a:lnTo>
                <a:lnTo>
                  <a:pt x="233" y="262"/>
                </a:lnTo>
                <a:lnTo>
                  <a:pt x="230" y="253"/>
                </a:lnTo>
                <a:lnTo>
                  <a:pt x="225" y="242"/>
                </a:lnTo>
                <a:lnTo>
                  <a:pt x="220" y="232"/>
                </a:lnTo>
                <a:lnTo>
                  <a:pt x="213" y="222"/>
                </a:lnTo>
                <a:lnTo>
                  <a:pt x="205" y="213"/>
                </a:lnTo>
                <a:lnTo>
                  <a:pt x="195" y="203"/>
                </a:lnTo>
                <a:lnTo>
                  <a:pt x="185" y="196"/>
                </a:lnTo>
                <a:lnTo>
                  <a:pt x="173" y="190"/>
                </a:lnTo>
                <a:lnTo>
                  <a:pt x="167" y="188"/>
                </a:lnTo>
                <a:lnTo>
                  <a:pt x="161" y="187"/>
                </a:lnTo>
                <a:lnTo>
                  <a:pt x="154" y="186"/>
                </a:lnTo>
                <a:lnTo>
                  <a:pt x="145" y="185"/>
                </a:lnTo>
                <a:lnTo>
                  <a:pt x="138" y="186"/>
                </a:lnTo>
                <a:lnTo>
                  <a:pt x="129" y="187"/>
                </a:lnTo>
                <a:lnTo>
                  <a:pt x="121" y="190"/>
                </a:lnTo>
                <a:lnTo>
                  <a:pt x="112" y="193"/>
                </a:lnTo>
                <a:lnTo>
                  <a:pt x="112" y="193"/>
                </a:lnTo>
                <a:lnTo>
                  <a:pt x="115" y="191"/>
                </a:lnTo>
                <a:lnTo>
                  <a:pt x="119" y="188"/>
                </a:lnTo>
                <a:lnTo>
                  <a:pt x="127" y="180"/>
                </a:lnTo>
                <a:lnTo>
                  <a:pt x="136" y="168"/>
                </a:lnTo>
                <a:lnTo>
                  <a:pt x="144" y="153"/>
                </a:lnTo>
                <a:lnTo>
                  <a:pt x="148" y="144"/>
                </a:lnTo>
                <a:lnTo>
                  <a:pt x="153" y="136"/>
                </a:lnTo>
                <a:lnTo>
                  <a:pt x="156" y="127"/>
                </a:lnTo>
                <a:lnTo>
                  <a:pt x="158" y="117"/>
                </a:lnTo>
                <a:lnTo>
                  <a:pt x="159" y="106"/>
                </a:lnTo>
                <a:lnTo>
                  <a:pt x="160" y="97"/>
                </a:lnTo>
                <a:lnTo>
                  <a:pt x="159" y="86"/>
                </a:lnTo>
                <a:lnTo>
                  <a:pt x="157" y="76"/>
                </a:lnTo>
                <a:lnTo>
                  <a:pt x="157" y="76"/>
                </a:lnTo>
                <a:lnTo>
                  <a:pt x="155" y="66"/>
                </a:lnTo>
                <a:lnTo>
                  <a:pt x="150" y="57"/>
                </a:lnTo>
                <a:lnTo>
                  <a:pt x="147" y="49"/>
                </a:lnTo>
                <a:lnTo>
                  <a:pt x="143" y="41"/>
                </a:lnTo>
                <a:lnTo>
                  <a:pt x="134" y="28"/>
                </a:lnTo>
                <a:lnTo>
                  <a:pt x="125" y="17"/>
                </a:lnTo>
                <a:lnTo>
                  <a:pt x="117" y="9"/>
                </a:lnTo>
                <a:lnTo>
                  <a:pt x="110" y="4"/>
                </a:lnTo>
                <a:lnTo>
                  <a:pt x="103" y="0"/>
                </a:lnTo>
                <a:lnTo>
                  <a:pt x="0" y="593"/>
                </a:lnTo>
                <a:lnTo>
                  <a:pt x="269" y="712"/>
                </a:lnTo>
                <a:lnTo>
                  <a:pt x="269" y="712"/>
                </a:lnTo>
                <a:lnTo>
                  <a:pt x="293" y="693"/>
                </a:lnTo>
                <a:lnTo>
                  <a:pt x="315" y="677"/>
                </a:lnTo>
                <a:lnTo>
                  <a:pt x="336" y="665"/>
                </a:lnTo>
                <a:lnTo>
                  <a:pt x="354" y="656"/>
                </a:lnTo>
                <a:lnTo>
                  <a:pt x="354" y="656"/>
                </a:lnTo>
                <a:lnTo>
                  <a:pt x="367" y="650"/>
                </a:lnTo>
                <a:lnTo>
                  <a:pt x="382" y="646"/>
                </a:lnTo>
                <a:lnTo>
                  <a:pt x="396" y="642"/>
                </a:lnTo>
                <a:lnTo>
                  <a:pt x="409" y="639"/>
                </a:lnTo>
                <a:lnTo>
                  <a:pt x="423" y="637"/>
                </a:lnTo>
                <a:lnTo>
                  <a:pt x="437" y="636"/>
                </a:lnTo>
                <a:lnTo>
                  <a:pt x="450" y="635"/>
                </a:lnTo>
                <a:lnTo>
                  <a:pt x="464" y="635"/>
                </a:lnTo>
                <a:lnTo>
                  <a:pt x="478" y="636"/>
                </a:lnTo>
                <a:lnTo>
                  <a:pt x="491" y="638"/>
                </a:lnTo>
                <a:lnTo>
                  <a:pt x="504" y="640"/>
                </a:lnTo>
                <a:lnTo>
                  <a:pt x="517" y="643"/>
                </a:lnTo>
                <a:lnTo>
                  <a:pt x="542" y="650"/>
                </a:lnTo>
                <a:lnTo>
                  <a:pt x="566" y="658"/>
                </a:lnTo>
                <a:lnTo>
                  <a:pt x="566" y="658"/>
                </a:lnTo>
                <a:lnTo>
                  <a:pt x="582" y="667"/>
                </a:lnTo>
                <a:lnTo>
                  <a:pt x="596" y="675"/>
                </a:lnTo>
                <a:lnTo>
                  <a:pt x="610" y="683"/>
                </a:lnTo>
                <a:lnTo>
                  <a:pt x="621" y="691"/>
                </a:lnTo>
                <a:lnTo>
                  <a:pt x="631" y="699"/>
                </a:lnTo>
                <a:lnTo>
                  <a:pt x="639" y="709"/>
                </a:lnTo>
                <a:lnTo>
                  <a:pt x="646" y="717"/>
                </a:lnTo>
                <a:lnTo>
                  <a:pt x="653" y="726"/>
                </a:lnTo>
                <a:lnTo>
                  <a:pt x="658" y="735"/>
                </a:lnTo>
                <a:lnTo>
                  <a:pt x="662" y="743"/>
                </a:lnTo>
                <a:lnTo>
                  <a:pt x="665" y="753"/>
                </a:lnTo>
                <a:lnTo>
                  <a:pt x="668" y="761"/>
                </a:lnTo>
                <a:lnTo>
                  <a:pt x="671" y="778"/>
                </a:lnTo>
                <a:lnTo>
                  <a:pt x="673" y="793"/>
                </a:lnTo>
                <a:lnTo>
                  <a:pt x="673" y="793"/>
                </a:lnTo>
                <a:lnTo>
                  <a:pt x="672" y="804"/>
                </a:lnTo>
                <a:lnTo>
                  <a:pt x="670" y="815"/>
                </a:lnTo>
                <a:lnTo>
                  <a:pt x="667" y="827"/>
                </a:lnTo>
                <a:lnTo>
                  <a:pt x="663" y="839"/>
                </a:lnTo>
                <a:lnTo>
                  <a:pt x="654" y="863"/>
                </a:lnTo>
                <a:lnTo>
                  <a:pt x="646" y="877"/>
                </a:lnTo>
                <a:lnTo>
                  <a:pt x="841" y="96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6" name="Freeform 43"/>
          <p:cNvSpPr>
            <a:spLocks/>
          </p:cNvSpPr>
          <p:nvPr userDrawn="1"/>
        </p:nvSpPr>
        <p:spPr bwMode="auto">
          <a:xfrm>
            <a:off x="7581901" y="1218904"/>
            <a:ext cx="193675" cy="33338"/>
          </a:xfrm>
          <a:custGeom>
            <a:avLst/>
            <a:gdLst>
              <a:gd name="T0" fmla="*/ 1228 w 1463"/>
              <a:gd name="T1" fmla="*/ 227 h 256"/>
              <a:gd name="T2" fmla="*/ 1463 w 1463"/>
              <a:gd name="T3" fmla="*/ 113 h 256"/>
              <a:gd name="T4" fmla="*/ 1225 w 1463"/>
              <a:gd name="T5" fmla="*/ 14 h 256"/>
              <a:gd name="T6" fmla="*/ 1225 w 1463"/>
              <a:gd name="T7" fmla="*/ 14 h 256"/>
              <a:gd name="T8" fmla="*/ 1152 w 1463"/>
              <a:gd name="T9" fmla="*/ 15 h 256"/>
              <a:gd name="T10" fmla="*/ 1060 w 1463"/>
              <a:gd name="T11" fmla="*/ 16 h 256"/>
              <a:gd name="T12" fmla="*/ 949 w 1463"/>
              <a:gd name="T13" fmla="*/ 15 h 256"/>
              <a:gd name="T14" fmla="*/ 824 w 1463"/>
              <a:gd name="T15" fmla="*/ 13 h 256"/>
              <a:gd name="T16" fmla="*/ 531 w 1463"/>
              <a:gd name="T17" fmla="*/ 7 h 256"/>
              <a:gd name="T18" fmla="*/ 197 w 1463"/>
              <a:gd name="T19" fmla="*/ 0 h 256"/>
              <a:gd name="T20" fmla="*/ 0 w 1463"/>
              <a:gd name="T21" fmla="*/ 256 h 256"/>
              <a:gd name="T22" fmla="*/ 0 w 1463"/>
              <a:gd name="T23" fmla="*/ 256 h 256"/>
              <a:gd name="T24" fmla="*/ 734 w 1463"/>
              <a:gd name="T25" fmla="*/ 240 h 256"/>
              <a:gd name="T26" fmla="*/ 1024 w 1463"/>
              <a:gd name="T27" fmla="*/ 234 h 256"/>
              <a:gd name="T28" fmla="*/ 1228 w 1463"/>
              <a:gd name="T29" fmla="*/ 22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3" h="256">
                <a:moveTo>
                  <a:pt x="1228" y="227"/>
                </a:moveTo>
                <a:lnTo>
                  <a:pt x="1463" y="113"/>
                </a:lnTo>
                <a:lnTo>
                  <a:pt x="1225" y="14"/>
                </a:lnTo>
                <a:lnTo>
                  <a:pt x="1225" y="14"/>
                </a:lnTo>
                <a:lnTo>
                  <a:pt x="1152" y="15"/>
                </a:lnTo>
                <a:lnTo>
                  <a:pt x="1060" y="16"/>
                </a:lnTo>
                <a:lnTo>
                  <a:pt x="949" y="15"/>
                </a:lnTo>
                <a:lnTo>
                  <a:pt x="824" y="13"/>
                </a:lnTo>
                <a:lnTo>
                  <a:pt x="531" y="7"/>
                </a:lnTo>
                <a:lnTo>
                  <a:pt x="197" y="0"/>
                </a:lnTo>
                <a:lnTo>
                  <a:pt x="0" y="256"/>
                </a:lnTo>
                <a:lnTo>
                  <a:pt x="0" y="256"/>
                </a:lnTo>
                <a:lnTo>
                  <a:pt x="734" y="240"/>
                </a:lnTo>
                <a:lnTo>
                  <a:pt x="1024" y="234"/>
                </a:lnTo>
                <a:lnTo>
                  <a:pt x="1228" y="22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7" name="Freeform 44"/>
          <p:cNvSpPr>
            <a:spLocks/>
          </p:cNvSpPr>
          <p:nvPr userDrawn="1"/>
        </p:nvSpPr>
        <p:spPr bwMode="auto">
          <a:xfrm>
            <a:off x="7643812" y="1301453"/>
            <a:ext cx="114300" cy="112713"/>
          </a:xfrm>
          <a:custGeom>
            <a:avLst/>
            <a:gdLst>
              <a:gd name="T0" fmla="*/ 386 w 869"/>
              <a:gd name="T1" fmla="*/ 818 h 851"/>
              <a:gd name="T2" fmla="*/ 235 w 869"/>
              <a:gd name="T3" fmla="*/ 737 h 851"/>
              <a:gd name="T4" fmla="*/ 156 w 869"/>
              <a:gd name="T5" fmla="*/ 685 h 851"/>
              <a:gd name="T6" fmla="*/ 90 w 869"/>
              <a:gd name="T7" fmla="*/ 626 h 851"/>
              <a:gd name="T8" fmla="*/ 37 w 869"/>
              <a:gd name="T9" fmla="*/ 557 h 851"/>
              <a:gd name="T10" fmla="*/ 24 w 869"/>
              <a:gd name="T11" fmla="*/ 531 h 851"/>
              <a:gd name="T12" fmla="*/ 10 w 869"/>
              <a:gd name="T13" fmla="*/ 487 h 851"/>
              <a:gd name="T14" fmla="*/ 2 w 869"/>
              <a:gd name="T15" fmla="*/ 439 h 851"/>
              <a:gd name="T16" fmla="*/ 0 w 869"/>
              <a:gd name="T17" fmla="*/ 389 h 851"/>
              <a:gd name="T18" fmla="*/ 5 w 869"/>
              <a:gd name="T19" fmla="*/ 336 h 851"/>
              <a:gd name="T20" fmla="*/ 15 w 869"/>
              <a:gd name="T21" fmla="*/ 283 h 851"/>
              <a:gd name="T22" fmla="*/ 34 w 869"/>
              <a:gd name="T23" fmla="*/ 231 h 851"/>
              <a:gd name="T24" fmla="*/ 59 w 869"/>
              <a:gd name="T25" fmla="*/ 182 h 851"/>
              <a:gd name="T26" fmla="*/ 93 w 869"/>
              <a:gd name="T27" fmla="*/ 136 h 851"/>
              <a:gd name="T28" fmla="*/ 134 w 869"/>
              <a:gd name="T29" fmla="*/ 94 h 851"/>
              <a:gd name="T30" fmla="*/ 183 w 869"/>
              <a:gd name="T31" fmla="*/ 59 h 851"/>
              <a:gd name="T32" fmla="*/ 198 w 869"/>
              <a:gd name="T33" fmla="*/ 75 h 851"/>
              <a:gd name="T34" fmla="*/ 217 w 869"/>
              <a:gd name="T35" fmla="*/ 106 h 851"/>
              <a:gd name="T36" fmla="*/ 227 w 869"/>
              <a:gd name="T37" fmla="*/ 141 h 851"/>
              <a:gd name="T38" fmla="*/ 247 w 869"/>
              <a:gd name="T39" fmla="*/ 150 h 851"/>
              <a:gd name="T40" fmla="*/ 379 w 869"/>
              <a:gd name="T41" fmla="*/ 144 h 851"/>
              <a:gd name="T42" fmla="*/ 424 w 869"/>
              <a:gd name="T43" fmla="*/ 143 h 851"/>
              <a:gd name="T44" fmla="*/ 424 w 869"/>
              <a:gd name="T45" fmla="*/ 94 h 851"/>
              <a:gd name="T46" fmla="*/ 414 w 869"/>
              <a:gd name="T47" fmla="*/ 37 h 851"/>
              <a:gd name="T48" fmla="*/ 397 w 869"/>
              <a:gd name="T49" fmla="*/ 0 h 851"/>
              <a:gd name="T50" fmla="*/ 431 w 869"/>
              <a:gd name="T51" fmla="*/ 27 h 851"/>
              <a:gd name="T52" fmla="*/ 459 w 869"/>
              <a:gd name="T53" fmla="*/ 55 h 851"/>
              <a:gd name="T54" fmla="*/ 475 w 869"/>
              <a:gd name="T55" fmla="*/ 82 h 851"/>
              <a:gd name="T56" fmla="*/ 487 w 869"/>
              <a:gd name="T57" fmla="*/ 116 h 851"/>
              <a:gd name="T58" fmla="*/ 493 w 869"/>
              <a:gd name="T59" fmla="*/ 143 h 851"/>
              <a:gd name="T60" fmla="*/ 671 w 869"/>
              <a:gd name="T61" fmla="*/ 133 h 851"/>
              <a:gd name="T62" fmla="*/ 662 w 869"/>
              <a:gd name="T63" fmla="*/ 88 h 851"/>
              <a:gd name="T64" fmla="*/ 643 w 869"/>
              <a:gd name="T65" fmla="*/ 50 h 851"/>
              <a:gd name="T66" fmla="*/ 651 w 869"/>
              <a:gd name="T67" fmla="*/ 46 h 851"/>
              <a:gd name="T68" fmla="*/ 699 w 869"/>
              <a:gd name="T69" fmla="*/ 73 h 851"/>
              <a:gd name="T70" fmla="*/ 740 w 869"/>
              <a:gd name="T71" fmla="*/ 104 h 851"/>
              <a:gd name="T72" fmla="*/ 775 w 869"/>
              <a:gd name="T73" fmla="*/ 138 h 851"/>
              <a:gd name="T74" fmla="*/ 803 w 869"/>
              <a:gd name="T75" fmla="*/ 175 h 851"/>
              <a:gd name="T76" fmla="*/ 837 w 869"/>
              <a:gd name="T77" fmla="*/ 238 h 851"/>
              <a:gd name="T78" fmla="*/ 861 w 869"/>
              <a:gd name="T79" fmla="*/ 312 h 851"/>
              <a:gd name="T80" fmla="*/ 869 w 869"/>
              <a:gd name="T81" fmla="*/ 379 h 851"/>
              <a:gd name="T82" fmla="*/ 869 w 869"/>
              <a:gd name="T83" fmla="*/ 423 h 851"/>
              <a:gd name="T84" fmla="*/ 859 w 869"/>
              <a:gd name="T85" fmla="*/ 499 h 851"/>
              <a:gd name="T86" fmla="*/ 834 w 869"/>
              <a:gd name="T87" fmla="*/ 569 h 851"/>
              <a:gd name="T88" fmla="*/ 796 w 869"/>
              <a:gd name="T89" fmla="*/ 631 h 851"/>
              <a:gd name="T90" fmla="*/ 749 w 869"/>
              <a:gd name="T91" fmla="*/ 684 h 851"/>
              <a:gd name="T92" fmla="*/ 693 w 869"/>
              <a:gd name="T93" fmla="*/ 727 h 851"/>
              <a:gd name="T94" fmla="*/ 626 w 869"/>
              <a:gd name="T95" fmla="*/ 766 h 851"/>
              <a:gd name="T96" fmla="*/ 506 w 869"/>
              <a:gd name="T97" fmla="*/ 826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9" h="851">
                <a:moveTo>
                  <a:pt x="452" y="851"/>
                </a:moveTo>
                <a:lnTo>
                  <a:pt x="452" y="851"/>
                </a:lnTo>
                <a:lnTo>
                  <a:pt x="386" y="818"/>
                </a:lnTo>
                <a:lnTo>
                  <a:pt x="323" y="785"/>
                </a:lnTo>
                <a:lnTo>
                  <a:pt x="264" y="754"/>
                </a:lnTo>
                <a:lnTo>
                  <a:pt x="235" y="737"/>
                </a:lnTo>
                <a:lnTo>
                  <a:pt x="207" y="720"/>
                </a:lnTo>
                <a:lnTo>
                  <a:pt x="181" y="703"/>
                </a:lnTo>
                <a:lnTo>
                  <a:pt x="156" y="685"/>
                </a:lnTo>
                <a:lnTo>
                  <a:pt x="133" y="666"/>
                </a:lnTo>
                <a:lnTo>
                  <a:pt x="110" y="646"/>
                </a:lnTo>
                <a:lnTo>
                  <a:pt x="90" y="626"/>
                </a:lnTo>
                <a:lnTo>
                  <a:pt x="70" y="605"/>
                </a:lnTo>
                <a:lnTo>
                  <a:pt x="53" y="581"/>
                </a:lnTo>
                <a:lnTo>
                  <a:pt x="37" y="557"/>
                </a:lnTo>
                <a:lnTo>
                  <a:pt x="37" y="557"/>
                </a:lnTo>
                <a:lnTo>
                  <a:pt x="31" y="544"/>
                </a:lnTo>
                <a:lnTo>
                  <a:pt x="24" y="531"/>
                </a:lnTo>
                <a:lnTo>
                  <a:pt x="19" y="517"/>
                </a:lnTo>
                <a:lnTo>
                  <a:pt x="14" y="502"/>
                </a:lnTo>
                <a:lnTo>
                  <a:pt x="10" y="487"/>
                </a:lnTo>
                <a:lnTo>
                  <a:pt x="7" y="472"/>
                </a:lnTo>
                <a:lnTo>
                  <a:pt x="4" y="455"/>
                </a:lnTo>
                <a:lnTo>
                  <a:pt x="2" y="439"/>
                </a:lnTo>
                <a:lnTo>
                  <a:pt x="1" y="423"/>
                </a:lnTo>
                <a:lnTo>
                  <a:pt x="0" y="405"/>
                </a:lnTo>
                <a:lnTo>
                  <a:pt x="0" y="389"/>
                </a:lnTo>
                <a:lnTo>
                  <a:pt x="1" y="371"/>
                </a:lnTo>
                <a:lnTo>
                  <a:pt x="2" y="353"/>
                </a:lnTo>
                <a:lnTo>
                  <a:pt x="5" y="336"/>
                </a:lnTo>
                <a:lnTo>
                  <a:pt x="7" y="318"/>
                </a:lnTo>
                <a:lnTo>
                  <a:pt x="11" y="301"/>
                </a:lnTo>
                <a:lnTo>
                  <a:pt x="15" y="283"/>
                </a:lnTo>
                <a:lnTo>
                  <a:pt x="21" y="266"/>
                </a:lnTo>
                <a:lnTo>
                  <a:pt x="26" y="249"/>
                </a:lnTo>
                <a:lnTo>
                  <a:pt x="34" y="231"/>
                </a:lnTo>
                <a:lnTo>
                  <a:pt x="42" y="215"/>
                </a:lnTo>
                <a:lnTo>
                  <a:pt x="50" y="199"/>
                </a:lnTo>
                <a:lnTo>
                  <a:pt x="59" y="182"/>
                </a:lnTo>
                <a:lnTo>
                  <a:pt x="69" y="166"/>
                </a:lnTo>
                <a:lnTo>
                  <a:pt x="81" y="151"/>
                </a:lnTo>
                <a:lnTo>
                  <a:pt x="93" y="136"/>
                </a:lnTo>
                <a:lnTo>
                  <a:pt x="105" y="122"/>
                </a:lnTo>
                <a:lnTo>
                  <a:pt x="120" y="108"/>
                </a:lnTo>
                <a:lnTo>
                  <a:pt x="134" y="94"/>
                </a:lnTo>
                <a:lnTo>
                  <a:pt x="149" y="82"/>
                </a:lnTo>
                <a:lnTo>
                  <a:pt x="166" y="70"/>
                </a:lnTo>
                <a:lnTo>
                  <a:pt x="183" y="59"/>
                </a:lnTo>
                <a:lnTo>
                  <a:pt x="183" y="59"/>
                </a:lnTo>
                <a:lnTo>
                  <a:pt x="191" y="67"/>
                </a:lnTo>
                <a:lnTo>
                  <a:pt x="198" y="75"/>
                </a:lnTo>
                <a:lnTo>
                  <a:pt x="203" y="82"/>
                </a:lnTo>
                <a:lnTo>
                  <a:pt x="208" y="90"/>
                </a:lnTo>
                <a:lnTo>
                  <a:pt x="217" y="106"/>
                </a:lnTo>
                <a:lnTo>
                  <a:pt x="222" y="120"/>
                </a:lnTo>
                <a:lnTo>
                  <a:pt x="225" y="132"/>
                </a:lnTo>
                <a:lnTo>
                  <a:pt x="227" y="141"/>
                </a:lnTo>
                <a:lnTo>
                  <a:pt x="227" y="150"/>
                </a:lnTo>
                <a:lnTo>
                  <a:pt x="227" y="150"/>
                </a:lnTo>
                <a:lnTo>
                  <a:pt x="247" y="150"/>
                </a:lnTo>
                <a:lnTo>
                  <a:pt x="272" y="150"/>
                </a:lnTo>
                <a:lnTo>
                  <a:pt x="325" y="146"/>
                </a:lnTo>
                <a:lnTo>
                  <a:pt x="379" y="144"/>
                </a:lnTo>
                <a:lnTo>
                  <a:pt x="404" y="143"/>
                </a:lnTo>
                <a:lnTo>
                  <a:pt x="424" y="143"/>
                </a:lnTo>
                <a:lnTo>
                  <a:pt x="424" y="143"/>
                </a:lnTo>
                <a:lnTo>
                  <a:pt x="425" y="129"/>
                </a:lnTo>
                <a:lnTo>
                  <a:pt x="425" y="112"/>
                </a:lnTo>
                <a:lnTo>
                  <a:pt x="424" y="94"/>
                </a:lnTo>
                <a:lnTo>
                  <a:pt x="422" y="76"/>
                </a:lnTo>
                <a:lnTo>
                  <a:pt x="419" y="56"/>
                </a:lnTo>
                <a:lnTo>
                  <a:pt x="414" y="37"/>
                </a:lnTo>
                <a:lnTo>
                  <a:pt x="407" y="19"/>
                </a:lnTo>
                <a:lnTo>
                  <a:pt x="402" y="9"/>
                </a:lnTo>
                <a:lnTo>
                  <a:pt x="397" y="0"/>
                </a:lnTo>
                <a:lnTo>
                  <a:pt x="397" y="0"/>
                </a:lnTo>
                <a:lnTo>
                  <a:pt x="415" y="14"/>
                </a:lnTo>
                <a:lnTo>
                  <a:pt x="431" y="27"/>
                </a:lnTo>
                <a:lnTo>
                  <a:pt x="446" y="40"/>
                </a:lnTo>
                <a:lnTo>
                  <a:pt x="453" y="47"/>
                </a:lnTo>
                <a:lnTo>
                  <a:pt x="459" y="55"/>
                </a:lnTo>
                <a:lnTo>
                  <a:pt x="465" y="64"/>
                </a:lnTo>
                <a:lnTo>
                  <a:pt x="470" y="73"/>
                </a:lnTo>
                <a:lnTo>
                  <a:pt x="475" y="82"/>
                </a:lnTo>
                <a:lnTo>
                  <a:pt x="479" y="92"/>
                </a:lnTo>
                <a:lnTo>
                  <a:pt x="484" y="104"/>
                </a:lnTo>
                <a:lnTo>
                  <a:pt x="487" y="116"/>
                </a:lnTo>
                <a:lnTo>
                  <a:pt x="490" y="129"/>
                </a:lnTo>
                <a:lnTo>
                  <a:pt x="493" y="143"/>
                </a:lnTo>
                <a:lnTo>
                  <a:pt x="493" y="143"/>
                </a:lnTo>
                <a:lnTo>
                  <a:pt x="671" y="150"/>
                </a:lnTo>
                <a:lnTo>
                  <a:pt x="671" y="150"/>
                </a:lnTo>
                <a:lnTo>
                  <a:pt x="671" y="133"/>
                </a:lnTo>
                <a:lnTo>
                  <a:pt x="670" y="118"/>
                </a:lnTo>
                <a:lnTo>
                  <a:pt x="667" y="103"/>
                </a:lnTo>
                <a:lnTo>
                  <a:pt x="662" y="88"/>
                </a:lnTo>
                <a:lnTo>
                  <a:pt x="657" y="75"/>
                </a:lnTo>
                <a:lnTo>
                  <a:pt x="651" y="62"/>
                </a:lnTo>
                <a:lnTo>
                  <a:pt x="643" y="50"/>
                </a:lnTo>
                <a:lnTo>
                  <a:pt x="634" y="38"/>
                </a:lnTo>
                <a:lnTo>
                  <a:pt x="634" y="38"/>
                </a:lnTo>
                <a:lnTo>
                  <a:pt x="651" y="46"/>
                </a:lnTo>
                <a:lnTo>
                  <a:pt x="669" y="54"/>
                </a:lnTo>
                <a:lnTo>
                  <a:pt x="684" y="64"/>
                </a:lnTo>
                <a:lnTo>
                  <a:pt x="699" y="73"/>
                </a:lnTo>
                <a:lnTo>
                  <a:pt x="714" y="83"/>
                </a:lnTo>
                <a:lnTo>
                  <a:pt x="728" y="93"/>
                </a:lnTo>
                <a:lnTo>
                  <a:pt x="740" y="104"/>
                </a:lnTo>
                <a:lnTo>
                  <a:pt x="752" y="115"/>
                </a:lnTo>
                <a:lnTo>
                  <a:pt x="764" y="126"/>
                </a:lnTo>
                <a:lnTo>
                  <a:pt x="775" y="138"/>
                </a:lnTo>
                <a:lnTo>
                  <a:pt x="785" y="151"/>
                </a:lnTo>
                <a:lnTo>
                  <a:pt x="794" y="163"/>
                </a:lnTo>
                <a:lnTo>
                  <a:pt x="803" y="175"/>
                </a:lnTo>
                <a:lnTo>
                  <a:pt x="811" y="187"/>
                </a:lnTo>
                <a:lnTo>
                  <a:pt x="825" y="213"/>
                </a:lnTo>
                <a:lnTo>
                  <a:pt x="837" y="238"/>
                </a:lnTo>
                <a:lnTo>
                  <a:pt x="848" y="263"/>
                </a:lnTo>
                <a:lnTo>
                  <a:pt x="855" y="289"/>
                </a:lnTo>
                <a:lnTo>
                  <a:pt x="861" y="312"/>
                </a:lnTo>
                <a:lnTo>
                  <a:pt x="865" y="336"/>
                </a:lnTo>
                <a:lnTo>
                  <a:pt x="868" y="358"/>
                </a:lnTo>
                <a:lnTo>
                  <a:pt x="869" y="379"/>
                </a:lnTo>
                <a:lnTo>
                  <a:pt x="869" y="397"/>
                </a:lnTo>
                <a:lnTo>
                  <a:pt x="869" y="397"/>
                </a:lnTo>
                <a:lnTo>
                  <a:pt x="869" y="423"/>
                </a:lnTo>
                <a:lnTo>
                  <a:pt x="868" y="449"/>
                </a:lnTo>
                <a:lnTo>
                  <a:pt x="864" y="474"/>
                </a:lnTo>
                <a:lnTo>
                  <a:pt x="859" y="499"/>
                </a:lnTo>
                <a:lnTo>
                  <a:pt x="852" y="523"/>
                </a:lnTo>
                <a:lnTo>
                  <a:pt x="843" y="546"/>
                </a:lnTo>
                <a:lnTo>
                  <a:pt x="834" y="569"/>
                </a:lnTo>
                <a:lnTo>
                  <a:pt x="823" y="590"/>
                </a:lnTo>
                <a:lnTo>
                  <a:pt x="811" y="612"/>
                </a:lnTo>
                <a:lnTo>
                  <a:pt x="796" y="631"/>
                </a:lnTo>
                <a:lnTo>
                  <a:pt x="782" y="651"/>
                </a:lnTo>
                <a:lnTo>
                  <a:pt x="766" y="668"/>
                </a:lnTo>
                <a:lnTo>
                  <a:pt x="749" y="684"/>
                </a:lnTo>
                <a:lnTo>
                  <a:pt x="731" y="700"/>
                </a:lnTo>
                <a:lnTo>
                  <a:pt x="713" y="714"/>
                </a:lnTo>
                <a:lnTo>
                  <a:pt x="693" y="727"/>
                </a:lnTo>
                <a:lnTo>
                  <a:pt x="693" y="727"/>
                </a:lnTo>
                <a:lnTo>
                  <a:pt x="658" y="748"/>
                </a:lnTo>
                <a:lnTo>
                  <a:pt x="626" y="766"/>
                </a:lnTo>
                <a:lnTo>
                  <a:pt x="594" y="783"/>
                </a:lnTo>
                <a:lnTo>
                  <a:pt x="563" y="799"/>
                </a:lnTo>
                <a:lnTo>
                  <a:pt x="506" y="826"/>
                </a:lnTo>
                <a:lnTo>
                  <a:pt x="452" y="85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8" name="Freeform 45"/>
          <p:cNvSpPr>
            <a:spLocks/>
          </p:cNvSpPr>
          <p:nvPr userDrawn="1"/>
        </p:nvSpPr>
        <p:spPr bwMode="auto">
          <a:xfrm>
            <a:off x="7677150" y="1579265"/>
            <a:ext cx="1588" cy="0"/>
          </a:xfrm>
          <a:custGeom>
            <a:avLst/>
            <a:gdLst>
              <a:gd name="T0" fmla="*/ 22 w 22"/>
              <a:gd name="T1" fmla="*/ 9 h 9"/>
              <a:gd name="T2" fmla="*/ 22 w 22"/>
              <a:gd name="T3" fmla="*/ 9 h 9"/>
              <a:gd name="T4" fmla="*/ 3 w 22"/>
              <a:gd name="T5" fmla="*/ 2 h 9"/>
              <a:gd name="T6" fmla="*/ 3 w 22"/>
              <a:gd name="T7" fmla="*/ 2 h 9"/>
              <a:gd name="T8" fmla="*/ 0 w 22"/>
              <a:gd name="T9" fmla="*/ 0 h 9"/>
              <a:gd name="T10" fmla="*/ 0 w 22"/>
              <a:gd name="T11" fmla="*/ 0 h 9"/>
              <a:gd name="T12" fmla="*/ 22 w 22"/>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22" h="9">
                <a:moveTo>
                  <a:pt x="22" y="9"/>
                </a:moveTo>
                <a:lnTo>
                  <a:pt x="22" y="9"/>
                </a:lnTo>
                <a:lnTo>
                  <a:pt x="3" y="2"/>
                </a:lnTo>
                <a:lnTo>
                  <a:pt x="3" y="2"/>
                </a:lnTo>
                <a:lnTo>
                  <a:pt x="0" y="0"/>
                </a:lnTo>
                <a:lnTo>
                  <a:pt x="0" y="0"/>
                </a:lnTo>
                <a:lnTo>
                  <a:pt x="22"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9" name="Freeform 46"/>
          <p:cNvSpPr>
            <a:spLocks/>
          </p:cNvSpPr>
          <p:nvPr userDrawn="1"/>
        </p:nvSpPr>
        <p:spPr bwMode="auto">
          <a:xfrm>
            <a:off x="7429500" y="1261766"/>
            <a:ext cx="20638" cy="12700"/>
          </a:xfrm>
          <a:custGeom>
            <a:avLst/>
            <a:gdLst>
              <a:gd name="T0" fmla="*/ 166 w 166"/>
              <a:gd name="T1" fmla="*/ 69 h 96"/>
              <a:gd name="T2" fmla="*/ 166 w 166"/>
              <a:gd name="T3" fmla="*/ 69 h 96"/>
              <a:gd name="T4" fmla="*/ 166 w 166"/>
              <a:gd name="T5" fmla="*/ 70 h 96"/>
              <a:gd name="T6" fmla="*/ 165 w 166"/>
              <a:gd name="T7" fmla="*/ 72 h 96"/>
              <a:gd name="T8" fmla="*/ 161 w 166"/>
              <a:gd name="T9" fmla="*/ 74 h 96"/>
              <a:gd name="T10" fmla="*/ 155 w 166"/>
              <a:gd name="T11" fmla="*/ 77 h 96"/>
              <a:gd name="T12" fmla="*/ 145 w 166"/>
              <a:gd name="T13" fmla="*/ 79 h 96"/>
              <a:gd name="T14" fmla="*/ 123 w 166"/>
              <a:gd name="T15" fmla="*/ 85 h 96"/>
              <a:gd name="T16" fmla="*/ 95 w 166"/>
              <a:gd name="T17" fmla="*/ 90 h 96"/>
              <a:gd name="T18" fmla="*/ 68 w 166"/>
              <a:gd name="T19" fmla="*/ 94 h 96"/>
              <a:gd name="T20" fmla="*/ 42 w 166"/>
              <a:gd name="T21" fmla="*/ 96 h 96"/>
              <a:gd name="T22" fmla="*/ 24 w 166"/>
              <a:gd name="T23" fmla="*/ 96 h 96"/>
              <a:gd name="T24" fmla="*/ 17 w 166"/>
              <a:gd name="T25" fmla="*/ 95 h 96"/>
              <a:gd name="T26" fmla="*/ 13 w 166"/>
              <a:gd name="T27" fmla="*/ 94 h 96"/>
              <a:gd name="T28" fmla="*/ 13 w 166"/>
              <a:gd name="T29" fmla="*/ 94 h 96"/>
              <a:gd name="T30" fmla="*/ 10 w 166"/>
              <a:gd name="T31" fmla="*/ 92 h 96"/>
              <a:gd name="T32" fmla="*/ 8 w 166"/>
              <a:gd name="T33" fmla="*/ 88 h 96"/>
              <a:gd name="T34" fmla="*/ 5 w 166"/>
              <a:gd name="T35" fmla="*/ 77 h 96"/>
              <a:gd name="T36" fmla="*/ 2 w 166"/>
              <a:gd name="T37" fmla="*/ 65 h 96"/>
              <a:gd name="T38" fmla="*/ 0 w 166"/>
              <a:gd name="T39" fmla="*/ 51 h 96"/>
              <a:gd name="T40" fmla="*/ 0 w 166"/>
              <a:gd name="T41" fmla="*/ 36 h 96"/>
              <a:gd name="T42" fmla="*/ 0 w 166"/>
              <a:gd name="T43" fmla="*/ 23 h 96"/>
              <a:gd name="T44" fmla="*/ 1 w 166"/>
              <a:gd name="T45" fmla="*/ 13 h 96"/>
              <a:gd name="T46" fmla="*/ 2 w 166"/>
              <a:gd name="T47" fmla="*/ 8 h 96"/>
              <a:gd name="T48" fmla="*/ 4 w 166"/>
              <a:gd name="T49" fmla="*/ 5 h 96"/>
              <a:gd name="T50" fmla="*/ 4 w 166"/>
              <a:gd name="T51" fmla="*/ 5 h 96"/>
              <a:gd name="T52" fmla="*/ 5 w 166"/>
              <a:gd name="T53" fmla="*/ 4 h 96"/>
              <a:gd name="T54" fmla="*/ 7 w 166"/>
              <a:gd name="T55" fmla="*/ 2 h 96"/>
              <a:gd name="T56" fmla="*/ 13 w 166"/>
              <a:gd name="T57" fmla="*/ 1 h 96"/>
              <a:gd name="T58" fmla="*/ 22 w 166"/>
              <a:gd name="T59" fmla="*/ 0 h 96"/>
              <a:gd name="T60" fmla="*/ 32 w 166"/>
              <a:gd name="T61" fmla="*/ 0 h 96"/>
              <a:gd name="T62" fmla="*/ 43 w 166"/>
              <a:gd name="T63" fmla="*/ 1 h 96"/>
              <a:gd name="T64" fmla="*/ 55 w 166"/>
              <a:gd name="T65" fmla="*/ 3 h 96"/>
              <a:gd name="T66" fmla="*/ 69 w 166"/>
              <a:gd name="T67" fmla="*/ 6 h 96"/>
              <a:gd name="T68" fmla="*/ 83 w 166"/>
              <a:gd name="T69" fmla="*/ 10 h 96"/>
              <a:gd name="T70" fmla="*/ 96 w 166"/>
              <a:gd name="T71" fmla="*/ 15 h 96"/>
              <a:gd name="T72" fmla="*/ 110 w 166"/>
              <a:gd name="T73" fmla="*/ 20 h 96"/>
              <a:gd name="T74" fmla="*/ 123 w 166"/>
              <a:gd name="T75" fmla="*/ 27 h 96"/>
              <a:gd name="T76" fmla="*/ 135 w 166"/>
              <a:gd name="T77" fmla="*/ 34 h 96"/>
              <a:gd name="T78" fmla="*/ 145 w 166"/>
              <a:gd name="T79" fmla="*/ 42 h 96"/>
              <a:gd name="T80" fmla="*/ 155 w 166"/>
              <a:gd name="T81" fmla="*/ 51 h 96"/>
              <a:gd name="T82" fmla="*/ 162 w 166"/>
              <a:gd name="T83" fmla="*/ 60 h 96"/>
              <a:gd name="T84" fmla="*/ 164 w 166"/>
              <a:gd name="T85" fmla="*/ 64 h 96"/>
              <a:gd name="T86" fmla="*/ 166 w 166"/>
              <a:gd name="T87" fmla="*/ 6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6" h="96">
                <a:moveTo>
                  <a:pt x="166" y="69"/>
                </a:moveTo>
                <a:lnTo>
                  <a:pt x="166" y="69"/>
                </a:lnTo>
                <a:lnTo>
                  <a:pt x="166" y="70"/>
                </a:lnTo>
                <a:lnTo>
                  <a:pt x="165" y="72"/>
                </a:lnTo>
                <a:lnTo>
                  <a:pt x="161" y="74"/>
                </a:lnTo>
                <a:lnTo>
                  <a:pt x="155" y="77"/>
                </a:lnTo>
                <a:lnTo>
                  <a:pt x="145" y="79"/>
                </a:lnTo>
                <a:lnTo>
                  <a:pt x="123" y="85"/>
                </a:lnTo>
                <a:lnTo>
                  <a:pt x="95" y="90"/>
                </a:lnTo>
                <a:lnTo>
                  <a:pt x="68" y="94"/>
                </a:lnTo>
                <a:lnTo>
                  <a:pt x="42" y="96"/>
                </a:lnTo>
                <a:lnTo>
                  <a:pt x="24" y="96"/>
                </a:lnTo>
                <a:lnTo>
                  <a:pt x="17" y="95"/>
                </a:lnTo>
                <a:lnTo>
                  <a:pt x="13" y="94"/>
                </a:lnTo>
                <a:lnTo>
                  <a:pt x="13" y="94"/>
                </a:lnTo>
                <a:lnTo>
                  <a:pt x="10" y="92"/>
                </a:lnTo>
                <a:lnTo>
                  <a:pt x="8" y="88"/>
                </a:lnTo>
                <a:lnTo>
                  <a:pt x="5" y="77"/>
                </a:lnTo>
                <a:lnTo>
                  <a:pt x="2" y="65"/>
                </a:lnTo>
                <a:lnTo>
                  <a:pt x="0" y="51"/>
                </a:lnTo>
                <a:lnTo>
                  <a:pt x="0" y="36"/>
                </a:lnTo>
                <a:lnTo>
                  <a:pt x="0" y="23"/>
                </a:lnTo>
                <a:lnTo>
                  <a:pt x="1" y="13"/>
                </a:lnTo>
                <a:lnTo>
                  <a:pt x="2" y="8"/>
                </a:lnTo>
                <a:lnTo>
                  <a:pt x="4" y="5"/>
                </a:lnTo>
                <a:lnTo>
                  <a:pt x="4" y="5"/>
                </a:lnTo>
                <a:lnTo>
                  <a:pt x="5" y="4"/>
                </a:lnTo>
                <a:lnTo>
                  <a:pt x="7" y="2"/>
                </a:lnTo>
                <a:lnTo>
                  <a:pt x="13" y="1"/>
                </a:lnTo>
                <a:lnTo>
                  <a:pt x="22" y="0"/>
                </a:lnTo>
                <a:lnTo>
                  <a:pt x="32" y="0"/>
                </a:lnTo>
                <a:lnTo>
                  <a:pt x="43" y="1"/>
                </a:lnTo>
                <a:lnTo>
                  <a:pt x="55" y="3"/>
                </a:lnTo>
                <a:lnTo>
                  <a:pt x="69" y="6"/>
                </a:lnTo>
                <a:lnTo>
                  <a:pt x="83" y="10"/>
                </a:lnTo>
                <a:lnTo>
                  <a:pt x="96" y="15"/>
                </a:lnTo>
                <a:lnTo>
                  <a:pt x="110" y="20"/>
                </a:lnTo>
                <a:lnTo>
                  <a:pt x="123" y="27"/>
                </a:lnTo>
                <a:lnTo>
                  <a:pt x="135" y="34"/>
                </a:lnTo>
                <a:lnTo>
                  <a:pt x="145" y="42"/>
                </a:lnTo>
                <a:lnTo>
                  <a:pt x="155" y="51"/>
                </a:lnTo>
                <a:lnTo>
                  <a:pt x="162" y="60"/>
                </a:lnTo>
                <a:lnTo>
                  <a:pt x="164" y="64"/>
                </a:lnTo>
                <a:lnTo>
                  <a:pt x="166" y="6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50" name="Freeform 47"/>
          <p:cNvSpPr>
            <a:spLocks/>
          </p:cNvSpPr>
          <p:nvPr userDrawn="1"/>
        </p:nvSpPr>
        <p:spPr bwMode="auto">
          <a:xfrm>
            <a:off x="7151687" y="1218904"/>
            <a:ext cx="657225" cy="776288"/>
          </a:xfrm>
          <a:custGeom>
            <a:avLst/>
            <a:gdLst>
              <a:gd name="T0" fmla="*/ 4703 w 4973"/>
              <a:gd name="T1" fmla="*/ 1877 h 5865"/>
              <a:gd name="T2" fmla="*/ 4733 w 4973"/>
              <a:gd name="T3" fmla="*/ 1183 h 5865"/>
              <a:gd name="T4" fmla="*/ 4302 w 4973"/>
              <a:gd name="T5" fmla="*/ 476 h 5865"/>
              <a:gd name="T6" fmla="*/ 3581 w 4973"/>
              <a:gd name="T7" fmla="*/ 813 h 5865"/>
              <a:gd name="T8" fmla="*/ 3899 w 4973"/>
              <a:gd name="T9" fmla="*/ 1529 h 5865"/>
              <a:gd name="T10" fmla="*/ 3757 w 4973"/>
              <a:gd name="T11" fmla="*/ 2227 h 5865"/>
              <a:gd name="T12" fmla="*/ 3939 w 4973"/>
              <a:gd name="T13" fmla="*/ 2068 h 5865"/>
              <a:gd name="T14" fmla="*/ 4069 w 4973"/>
              <a:gd name="T15" fmla="*/ 1928 h 5865"/>
              <a:gd name="T16" fmla="*/ 4545 w 4973"/>
              <a:gd name="T17" fmla="*/ 1985 h 5865"/>
              <a:gd name="T18" fmla="*/ 4487 w 4973"/>
              <a:gd name="T19" fmla="*/ 2697 h 5865"/>
              <a:gd name="T20" fmla="*/ 3601 w 4973"/>
              <a:gd name="T21" fmla="*/ 2477 h 5865"/>
              <a:gd name="T22" fmla="*/ 3285 w 4973"/>
              <a:gd name="T23" fmla="*/ 1581 h 5865"/>
              <a:gd name="T24" fmla="*/ 3364 w 4973"/>
              <a:gd name="T25" fmla="*/ 1421 h 5865"/>
              <a:gd name="T26" fmla="*/ 3101 w 4973"/>
              <a:gd name="T27" fmla="*/ 996 h 5865"/>
              <a:gd name="T28" fmla="*/ 3251 w 4973"/>
              <a:gd name="T29" fmla="*/ 599 h 5865"/>
              <a:gd name="T30" fmla="*/ 2863 w 4973"/>
              <a:gd name="T31" fmla="*/ 144 h 5865"/>
              <a:gd name="T32" fmla="*/ 1960 w 4973"/>
              <a:gd name="T33" fmla="*/ 304 h 5865"/>
              <a:gd name="T34" fmla="*/ 1819 w 4973"/>
              <a:gd name="T35" fmla="*/ 748 h 5865"/>
              <a:gd name="T36" fmla="*/ 2202 w 4973"/>
              <a:gd name="T37" fmla="*/ 626 h 5865"/>
              <a:gd name="T38" fmla="*/ 2215 w 4973"/>
              <a:gd name="T39" fmla="*/ 803 h 5865"/>
              <a:gd name="T40" fmla="*/ 1623 w 4973"/>
              <a:gd name="T41" fmla="*/ 851 h 5865"/>
              <a:gd name="T42" fmla="*/ 1602 w 4973"/>
              <a:gd name="T43" fmla="*/ 1055 h 5865"/>
              <a:gd name="T44" fmla="*/ 2246 w 4973"/>
              <a:gd name="T45" fmla="*/ 924 h 5865"/>
              <a:gd name="T46" fmla="*/ 2036 w 4973"/>
              <a:gd name="T47" fmla="*/ 981 h 5865"/>
              <a:gd name="T48" fmla="*/ 1754 w 4973"/>
              <a:gd name="T49" fmla="*/ 1278 h 5865"/>
              <a:gd name="T50" fmla="*/ 2105 w 4973"/>
              <a:gd name="T51" fmla="*/ 1619 h 5865"/>
              <a:gd name="T52" fmla="*/ 863 w 4973"/>
              <a:gd name="T53" fmla="*/ 2239 h 5865"/>
              <a:gd name="T54" fmla="*/ 310 w 4973"/>
              <a:gd name="T55" fmla="*/ 2027 h 5865"/>
              <a:gd name="T56" fmla="*/ 319 w 4973"/>
              <a:gd name="T57" fmla="*/ 2172 h 5865"/>
              <a:gd name="T58" fmla="*/ 380 w 4973"/>
              <a:gd name="T59" fmla="*/ 2295 h 5865"/>
              <a:gd name="T60" fmla="*/ 39 w 4973"/>
              <a:gd name="T61" fmla="*/ 2396 h 5865"/>
              <a:gd name="T62" fmla="*/ 189 w 4973"/>
              <a:gd name="T63" fmla="*/ 2511 h 5865"/>
              <a:gd name="T64" fmla="*/ 322 w 4973"/>
              <a:gd name="T65" fmla="*/ 2588 h 5865"/>
              <a:gd name="T66" fmla="*/ 272 w 4973"/>
              <a:gd name="T67" fmla="*/ 2893 h 5865"/>
              <a:gd name="T68" fmla="*/ 630 w 4973"/>
              <a:gd name="T69" fmla="*/ 2730 h 5865"/>
              <a:gd name="T70" fmla="*/ 811 w 4973"/>
              <a:gd name="T71" fmla="*/ 2843 h 5865"/>
              <a:gd name="T72" fmla="*/ 1024 w 4973"/>
              <a:gd name="T73" fmla="*/ 2773 h 5865"/>
              <a:gd name="T74" fmla="*/ 1290 w 4973"/>
              <a:gd name="T75" fmla="*/ 2556 h 5865"/>
              <a:gd name="T76" fmla="*/ 1713 w 4973"/>
              <a:gd name="T77" fmla="*/ 2519 h 5865"/>
              <a:gd name="T78" fmla="*/ 2306 w 4973"/>
              <a:gd name="T79" fmla="*/ 2641 h 5865"/>
              <a:gd name="T80" fmla="*/ 3357 w 4973"/>
              <a:gd name="T81" fmla="*/ 3092 h 5865"/>
              <a:gd name="T82" fmla="*/ 3742 w 4973"/>
              <a:gd name="T83" fmla="*/ 3928 h 5865"/>
              <a:gd name="T84" fmla="*/ 3685 w 4973"/>
              <a:gd name="T85" fmla="*/ 4224 h 5865"/>
              <a:gd name="T86" fmla="*/ 4224 w 4973"/>
              <a:gd name="T87" fmla="*/ 4337 h 5865"/>
              <a:gd name="T88" fmla="*/ 4264 w 4973"/>
              <a:gd name="T89" fmla="*/ 5017 h 5865"/>
              <a:gd name="T90" fmla="*/ 3761 w 4973"/>
              <a:gd name="T91" fmla="*/ 5058 h 5865"/>
              <a:gd name="T92" fmla="*/ 3894 w 4973"/>
              <a:gd name="T93" fmla="*/ 5210 h 5865"/>
              <a:gd name="T94" fmla="*/ 3894 w 4973"/>
              <a:gd name="T95" fmla="*/ 5294 h 5865"/>
              <a:gd name="T96" fmla="*/ 3751 w 4973"/>
              <a:gd name="T97" fmla="*/ 5644 h 5865"/>
              <a:gd name="T98" fmla="*/ 3926 w 4973"/>
              <a:gd name="T99" fmla="*/ 5586 h 5865"/>
              <a:gd name="T100" fmla="*/ 4212 w 4973"/>
              <a:gd name="T101" fmla="*/ 5447 h 5865"/>
              <a:gd name="T102" fmla="*/ 4257 w 4973"/>
              <a:gd name="T103" fmla="*/ 5812 h 5865"/>
              <a:gd name="T104" fmla="*/ 4352 w 4973"/>
              <a:gd name="T105" fmla="*/ 5675 h 5865"/>
              <a:gd name="T106" fmla="*/ 4557 w 4973"/>
              <a:gd name="T107" fmla="*/ 5328 h 5865"/>
              <a:gd name="T108" fmla="*/ 4736 w 4973"/>
              <a:gd name="T109" fmla="*/ 5505 h 5865"/>
              <a:gd name="T110" fmla="*/ 4753 w 4973"/>
              <a:gd name="T111" fmla="*/ 5108 h 5865"/>
              <a:gd name="T112" fmla="*/ 4693 w 4973"/>
              <a:gd name="T113" fmla="*/ 4810 h 5865"/>
              <a:gd name="T114" fmla="*/ 4677 w 4973"/>
              <a:gd name="T115" fmla="*/ 4437 h 5865"/>
              <a:gd name="T116" fmla="*/ 4640 w 4973"/>
              <a:gd name="T117" fmla="*/ 4108 h 5865"/>
              <a:gd name="T118" fmla="*/ 4297 w 4973"/>
              <a:gd name="T119" fmla="*/ 3793 h 5865"/>
              <a:gd name="T120" fmla="*/ 4267 w 4973"/>
              <a:gd name="T121" fmla="*/ 3366 h 5865"/>
              <a:gd name="T122" fmla="*/ 4428 w 4973"/>
              <a:gd name="T123" fmla="*/ 2994 h 5865"/>
              <a:gd name="T124" fmla="*/ 4923 w 4973"/>
              <a:gd name="T125" fmla="*/ 2543 h 5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973" h="5865">
                <a:moveTo>
                  <a:pt x="4842" y="2253"/>
                </a:moveTo>
                <a:lnTo>
                  <a:pt x="4842" y="2253"/>
                </a:lnTo>
                <a:lnTo>
                  <a:pt x="4862" y="2257"/>
                </a:lnTo>
                <a:lnTo>
                  <a:pt x="4881" y="2259"/>
                </a:lnTo>
                <a:lnTo>
                  <a:pt x="4900" y="2260"/>
                </a:lnTo>
                <a:lnTo>
                  <a:pt x="4916" y="2259"/>
                </a:lnTo>
                <a:lnTo>
                  <a:pt x="4932" y="2257"/>
                </a:lnTo>
                <a:lnTo>
                  <a:pt x="4946" y="2254"/>
                </a:lnTo>
                <a:lnTo>
                  <a:pt x="4958" y="2249"/>
                </a:lnTo>
                <a:lnTo>
                  <a:pt x="4969" y="2243"/>
                </a:lnTo>
                <a:lnTo>
                  <a:pt x="4969" y="2243"/>
                </a:lnTo>
                <a:lnTo>
                  <a:pt x="4967" y="2217"/>
                </a:lnTo>
                <a:lnTo>
                  <a:pt x="4960" y="2157"/>
                </a:lnTo>
                <a:lnTo>
                  <a:pt x="4951" y="2084"/>
                </a:lnTo>
                <a:lnTo>
                  <a:pt x="4946" y="2052"/>
                </a:lnTo>
                <a:lnTo>
                  <a:pt x="4940" y="2024"/>
                </a:lnTo>
                <a:lnTo>
                  <a:pt x="4940" y="2024"/>
                </a:lnTo>
                <a:lnTo>
                  <a:pt x="4922" y="2027"/>
                </a:lnTo>
                <a:lnTo>
                  <a:pt x="4902" y="2030"/>
                </a:lnTo>
                <a:lnTo>
                  <a:pt x="4891" y="2030"/>
                </a:lnTo>
                <a:lnTo>
                  <a:pt x="4879" y="2030"/>
                </a:lnTo>
                <a:lnTo>
                  <a:pt x="4867" y="2029"/>
                </a:lnTo>
                <a:lnTo>
                  <a:pt x="4855" y="2027"/>
                </a:lnTo>
                <a:lnTo>
                  <a:pt x="4843" y="2024"/>
                </a:lnTo>
                <a:lnTo>
                  <a:pt x="4830" y="2020"/>
                </a:lnTo>
                <a:lnTo>
                  <a:pt x="4818" y="2015"/>
                </a:lnTo>
                <a:lnTo>
                  <a:pt x="4806" y="2008"/>
                </a:lnTo>
                <a:lnTo>
                  <a:pt x="4794" y="1998"/>
                </a:lnTo>
                <a:lnTo>
                  <a:pt x="4782" y="1988"/>
                </a:lnTo>
                <a:lnTo>
                  <a:pt x="4771" y="1976"/>
                </a:lnTo>
                <a:lnTo>
                  <a:pt x="4761" y="1962"/>
                </a:lnTo>
                <a:lnTo>
                  <a:pt x="4761" y="1962"/>
                </a:lnTo>
                <a:lnTo>
                  <a:pt x="4743" y="1933"/>
                </a:lnTo>
                <a:lnTo>
                  <a:pt x="4724" y="1905"/>
                </a:lnTo>
                <a:lnTo>
                  <a:pt x="4724" y="1905"/>
                </a:lnTo>
                <a:lnTo>
                  <a:pt x="4703" y="1877"/>
                </a:lnTo>
                <a:lnTo>
                  <a:pt x="4680" y="1849"/>
                </a:lnTo>
                <a:lnTo>
                  <a:pt x="4658" y="1823"/>
                </a:lnTo>
                <a:lnTo>
                  <a:pt x="4634" y="1797"/>
                </a:lnTo>
                <a:lnTo>
                  <a:pt x="4611" y="1773"/>
                </a:lnTo>
                <a:lnTo>
                  <a:pt x="4586" y="1750"/>
                </a:lnTo>
                <a:lnTo>
                  <a:pt x="4562" y="1727"/>
                </a:lnTo>
                <a:lnTo>
                  <a:pt x="4538" y="1707"/>
                </a:lnTo>
                <a:lnTo>
                  <a:pt x="4513" y="1687"/>
                </a:lnTo>
                <a:lnTo>
                  <a:pt x="4489" y="1667"/>
                </a:lnTo>
                <a:lnTo>
                  <a:pt x="4463" y="1649"/>
                </a:lnTo>
                <a:lnTo>
                  <a:pt x="4439" y="1630"/>
                </a:lnTo>
                <a:lnTo>
                  <a:pt x="4413" y="1614"/>
                </a:lnTo>
                <a:lnTo>
                  <a:pt x="4389" y="1598"/>
                </a:lnTo>
                <a:lnTo>
                  <a:pt x="4337" y="1566"/>
                </a:lnTo>
                <a:lnTo>
                  <a:pt x="4337" y="1566"/>
                </a:lnTo>
                <a:lnTo>
                  <a:pt x="4381" y="1543"/>
                </a:lnTo>
                <a:lnTo>
                  <a:pt x="4422" y="1521"/>
                </a:lnTo>
                <a:lnTo>
                  <a:pt x="4459" y="1498"/>
                </a:lnTo>
                <a:lnTo>
                  <a:pt x="4492" y="1477"/>
                </a:lnTo>
                <a:lnTo>
                  <a:pt x="4523" y="1455"/>
                </a:lnTo>
                <a:lnTo>
                  <a:pt x="4549" y="1434"/>
                </a:lnTo>
                <a:lnTo>
                  <a:pt x="4574" y="1414"/>
                </a:lnTo>
                <a:lnTo>
                  <a:pt x="4595" y="1393"/>
                </a:lnTo>
                <a:lnTo>
                  <a:pt x="4615" y="1374"/>
                </a:lnTo>
                <a:lnTo>
                  <a:pt x="4632" y="1355"/>
                </a:lnTo>
                <a:lnTo>
                  <a:pt x="4647" y="1337"/>
                </a:lnTo>
                <a:lnTo>
                  <a:pt x="4661" y="1319"/>
                </a:lnTo>
                <a:lnTo>
                  <a:pt x="4673" y="1303"/>
                </a:lnTo>
                <a:lnTo>
                  <a:pt x="4683" y="1288"/>
                </a:lnTo>
                <a:lnTo>
                  <a:pt x="4700" y="1260"/>
                </a:lnTo>
                <a:lnTo>
                  <a:pt x="4700" y="1260"/>
                </a:lnTo>
                <a:lnTo>
                  <a:pt x="4708" y="1248"/>
                </a:lnTo>
                <a:lnTo>
                  <a:pt x="4714" y="1234"/>
                </a:lnTo>
                <a:lnTo>
                  <a:pt x="4721" y="1218"/>
                </a:lnTo>
                <a:lnTo>
                  <a:pt x="4727" y="1202"/>
                </a:lnTo>
                <a:lnTo>
                  <a:pt x="4733" y="1183"/>
                </a:lnTo>
                <a:lnTo>
                  <a:pt x="4739" y="1164"/>
                </a:lnTo>
                <a:lnTo>
                  <a:pt x="4743" y="1144"/>
                </a:lnTo>
                <a:lnTo>
                  <a:pt x="4749" y="1123"/>
                </a:lnTo>
                <a:lnTo>
                  <a:pt x="4753" y="1101"/>
                </a:lnTo>
                <a:lnTo>
                  <a:pt x="4756" y="1078"/>
                </a:lnTo>
                <a:lnTo>
                  <a:pt x="4758" y="1054"/>
                </a:lnTo>
                <a:lnTo>
                  <a:pt x="4759" y="1030"/>
                </a:lnTo>
                <a:lnTo>
                  <a:pt x="4760" y="1005"/>
                </a:lnTo>
                <a:lnTo>
                  <a:pt x="4759" y="980"/>
                </a:lnTo>
                <a:lnTo>
                  <a:pt x="4758" y="954"/>
                </a:lnTo>
                <a:lnTo>
                  <a:pt x="4755" y="928"/>
                </a:lnTo>
                <a:lnTo>
                  <a:pt x="4751" y="902"/>
                </a:lnTo>
                <a:lnTo>
                  <a:pt x="4745" y="876"/>
                </a:lnTo>
                <a:lnTo>
                  <a:pt x="4738" y="849"/>
                </a:lnTo>
                <a:lnTo>
                  <a:pt x="4730" y="824"/>
                </a:lnTo>
                <a:lnTo>
                  <a:pt x="4720" y="797"/>
                </a:lnTo>
                <a:lnTo>
                  <a:pt x="4709" y="771"/>
                </a:lnTo>
                <a:lnTo>
                  <a:pt x="4695" y="746"/>
                </a:lnTo>
                <a:lnTo>
                  <a:pt x="4681" y="721"/>
                </a:lnTo>
                <a:lnTo>
                  <a:pt x="4665" y="697"/>
                </a:lnTo>
                <a:lnTo>
                  <a:pt x="4646" y="672"/>
                </a:lnTo>
                <a:lnTo>
                  <a:pt x="4625" y="649"/>
                </a:lnTo>
                <a:lnTo>
                  <a:pt x="4602" y="626"/>
                </a:lnTo>
                <a:lnTo>
                  <a:pt x="4578" y="605"/>
                </a:lnTo>
                <a:lnTo>
                  <a:pt x="4551" y="584"/>
                </a:lnTo>
                <a:lnTo>
                  <a:pt x="4522" y="565"/>
                </a:lnTo>
                <a:lnTo>
                  <a:pt x="4490" y="545"/>
                </a:lnTo>
                <a:lnTo>
                  <a:pt x="4490" y="545"/>
                </a:lnTo>
                <a:lnTo>
                  <a:pt x="4466" y="533"/>
                </a:lnTo>
                <a:lnTo>
                  <a:pt x="4443" y="522"/>
                </a:lnTo>
                <a:lnTo>
                  <a:pt x="4419" y="512"/>
                </a:lnTo>
                <a:lnTo>
                  <a:pt x="4396" y="503"/>
                </a:lnTo>
                <a:lnTo>
                  <a:pt x="4372" y="494"/>
                </a:lnTo>
                <a:lnTo>
                  <a:pt x="4348" y="487"/>
                </a:lnTo>
                <a:lnTo>
                  <a:pt x="4325" y="481"/>
                </a:lnTo>
                <a:lnTo>
                  <a:pt x="4302" y="476"/>
                </a:lnTo>
                <a:lnTo>
                  <a:pt x="4278" y="471"/>
                </a:lnTo>
                <a:lnTo>
                  <a:pt x="4256" y="468"/>
                </a:lnTo>
                <a:lnTo>
                  <a:pt x="4233" y="465"/>
                </a:lnTo>
                <a:lnTo>
                  <a:pt x="4211" y="463"/>
                </a:lnTo>
                <a:lnTo>
                  <a:pt x="4188" y="461"/>
                </a:lnTo>
                <a:lnTo>
                  <a:pt x="4167" y="461"/>
                </a:lnTo>
                <a:lnTo>
                  <a:pt x="4145" y="461"/>
                </a:lnTo>
                <a:lnTo>
                  <a:pt x="4124" y="461"/>
                </a:lnTo>
                <a:lnTo>
                  <a:pt x="4083" y="464"/>
                </a:lnTo>
                <a:lnTo>
                  <a:pt x="4044" y="468"/>
                </a:lnTo>
                <a:lnTo>
                  <a:pt x="4007" y="474"/>
                </a:lnTo>
                <a:lnTo>
                  <a:pt x="3973" y="482"/>
                </a:lnTo>
                <a:lnTo>
                  <a:pt x="3941" y="490"/>
                </a:lnTo>
                <a:lnTo>
                  <a:pt x="3912" y="499"/>
                </a:lnTo>
                <a:lnTo>
                  <a:pt x="3887" y="510"/>
                </a:lnTo>
                <a:lnTo>
                  <a:pt x="3864" y="519"/>
                </a:lnTo>
                <a:lnTo>
                  <a:pt x="3864" y="519"/>
                </a:lnTo>
                <a:lnTo>
                  <a:pt x="3844" y="529"/>
                </a:lnTo>
                <a:lnTo>
                  <a:pt x="3824" y="539"/>
                </a:lnTo>
                <a:lnTo>
                  <a:pt x="3806" y="551"/>
                </a:lnTo>
                <a:lnTo>
                  <a:pt x="3787" y="562"/>
                </a:lnTo>
                <a:lnTo>
                  <a:pt x="3769" y="575"/>
                </a:lnTo>
                <a:lnTo>
                  <a:pt x="3752" y="587"/>
                </a:lnTo>
                <a:lnTo>
                  <a:pt x="3735" y="602"/>
                </a:lnTo>
                <a:lnTo>
                  <a:pt x="3719" y="616"/>
                </a:lnTo>
                <a:lnTo>
                  <a:pt x="3703" y="631"/>
                </a:lnTo>
                <a:lnTo>
                  <a:pt x="3687" y="647"/>
                </a:lnTo>
                <a:lnTo>
                  <a:pt x="3673" y="663"/>
                </a:lnTo>
                <a:lnTo>
                  <a:pt x="3659" y="679"/>
                </a:lnTo>
                <a:lnTo>
                  <a:pt x="3645" y="697"/>
                </a:lnTo>
                <a:lnTo>
                  <a:pt x="3633" y="715"/>
                </a:lnTo>
                <a:lnTo>
                  <a:pt x="3621" y="734"/>
                </a:lnTo>
                <a:lnTo>
                  <a:pt x="3609" y="753"/>
                </a:lnTo>
                <a:lnTo>
                  <a:pt x="3599" y="772"/>
                </a:lnTo>
                <a:lnTo>
                  <a:pt x="3589" y="793"/>
                </a:lnTo>
                <a:lnTo>
                  <a:pt x="3581" y="813"/>
                </a:lnTo>
                <a:lnTo>
                  <a:pt x="3573" y="835"/>
                </a:lnTo>
                <a:lnTo>
                  <a:pt x="3565" y="856"/>
                </a:lnTo>
                <a:lnTo>
                  <a:pt x="3559" y="879"/>
                </a:lnTo>
                <a:lnTo>
                  <a:pt x="3554" y="901"/>
                </a:lnTo>
                <a:lnTo>
                  <a:pt x="3550" y="924"/>
                </a:lnTo>
                <a:lnTo>
                  <a:pt x="3547" y="947"/>
                </a:lnTo>
                <a:lnTo>
                  <a:pt x="3545" y="972"/>
                </a:lnTo>
                <a:lnTo>
                  <a:pt x="3544" y="996"/>
                </a:lnTo>
                <a:lnTo>
                  <a:pt x="3543" y="1021"/>
                </a:lnTo>
                <a:lnTo>
                  <a:pt x="3544" y="1046"/>
                </a:lnTo>
                <a:lnTo>
                  <a:pt x="3546" y="1072"/>
                </a:lnTo>
                <a:lnTo>
                  <a:pt x="3550" y="1098"/>
                </a:lnTo>
                <a:lnTo>
                  <a:pt x="3554" y="1124"/>
                </a:lnTo>
                <a:lnTo>
                  <a:pt x="3554" y="1124"/>
                </a:lnTo>
                <a:lnTo>
                  <a:pt x="3559" y="1148"/>
                </a:lnTo>
                <a:lnTo>
                  <a:pt x="3564" y="1169"/>
                </a:lnTo>
                <a:lnTo>
                  <a:pt x="3571" y="1191"/>
                </a:lnTo>
                <a:lnTo>
                  <a:pt x="3577" y="1211"/>
                </a:lnTo>
                <a:lnTo>
                  <a:pt x="3585" y="1231"/>
                </a:lnTo>
                <a:lnTo>
                  <a:pt x="3592" y="1249"/>
                </a:lnTo>
                <a:lnTo>
                  <a:pt x="3601" y="1267"/>
                </a:lnTo>
                <a:lnTo>
                  <a:pt x="3610" y="1285"/>
                </a:lnTo>
                <a:lnTo>
                  <a:pt x="3620" y="1301"/>
                </a:lnTo>
                <a:lnTo>
                  <a:pt x="3631" y="1316"/>
                </a:lnTo>
                <a:lnTo>
                  <a:pt x="3641" y="1332"/>
                </a:lnTo>
                <a:lnTo>
                  <a:pt x="3652" y="1347"/>
                </a:lnTo>
                <a:lnTo>
                  <a:pt x="3665" y="1361"/>
                </a:lnTo>
                <a:lnTo>
                  <a:pt x="3677" y="1375"/>
                </a:lnTo>
                <a:lnTo>
                  <a:pt x="3690" y="1388"/>
                </a:lnTo>
                <a:lnTo>
                  <a:pt x="3704" y="1400"/>
                </a:lnTo>
                <a:lnTo>
                  <a:pt x="3732" y="1425"/>
                </a:lnTo>
                <a:lnTo>
                  <a:pt x="3763" y="1447"/>
                </a:lnTo>
                <a:lnTo>
                  <a:pt x="3795" y="1469"/>
                </a:lnTo>
                <a:lnTo>
                  <a:pt x="3828" y="1489"/>
                </a:lnTo>
                <a:lnTo>
                  <a:pt x="3863" y="1510"/>
                </a:lnTo>
                <a:lnTo>
                  <a:pt x="3899" y="1529"/>
                </a:lnTo>
                <a:lnTo>
                  <a:pt x="3976" y="1567"/>
                </a:lnTo>
                <a:lnTo>
                  <a:pt x="3976" y="1567"/>
                </a:lnTo>
                <a:lnTo>
                  <a:pt x="3945" y="1584"/>
                </a:lnTo>
                <a:lnTo>
                  <a:pt x="3916" y="1601"/>
                </a:lnTo>
                <a:lnTo>
                  <a:pt x="3890" y="1618"/>
                </a:lnTo>
                <a:lnTo>
                  <a:pt x="3864" y="1636"/>
                </a:lnTo>
                <a:lnTo>
                  <a:pt x="3840" y="1656"/>
                </a:lnTo>
                <a:lnTo>
                  <a:pt x="3817" y="1675"/>
                </a:lnTo>
                <a:lnTo>
                  <a:pt x="3797" y="1696"/>
                </a:lnTo>
                <a:lnTo>
                  <a:pt x="3778" y="1717"/>
                </a:lnTo>
                <a:lnTo>
                  <a:pt x="3761" y="1741"/>
                </a:lnTo>
                <a:lnTo>
                  <a:pt x="3754" y="1753"/>
                </a:lnTo>
                <a:lnTo>
                  <a:pt x="3746" y="1765"/>
                </a:lnTo>
                <a:lnTo>
                  <a:pt x="3739" y="1778"/>
                </a:lnTo>
                <a:lnTo>
                  <a:pt x="3733" y="1791"/>
                </a:lnTo>
                <a:lnTo>
                  <a:pt x="3728" y="1804"/>
                </a:lnTo>
                <a:lnTo>
                  <a:pt x="3723" y="1818"/>
                </a:lnTo>
                <a:lnTo>
                  <a:pt x="3718" y="1833"/>
                </a:lnTo>
                <a:lnTo>
                  <a:pt x="3714" y="1848"/>
                </a:lnTo>
                <a:lnTo>
                  <a:pt x="3711" y="1863"/>
                </a:lnTo>
                <a:lnTo>
                  <a:pt x="3708" y="1879"/>
                </a:lnTo>
                <a:lnTo>
                  <a:pt x="3706" y="1895"/>
                </a:lnTo>
                <a:lnTo>
                  <a:pt x="3705" y="1912"/>
                </a:lnTo>
                <a:lnTo>
                  <a:pt x="3704" y="1930"/>
                </a:lnTo>
                <a:lnTo>
                  <a:pt x="3703" y="1947"/>
                </a:lnTo>
                <a:lnTo>
                  <a:pt x="3703" y="1947"/>
                </a:lnTo>
                <a:lnTo>
                  <a:pt x="3704" y="1970"/>
                </a:lnTo>
                <a:lnTo>
                  <a:pt x="3707" y="1993"/>
                </a:lnTo>
                <a:lnTo>
                  <a:pt x="3711" y="2016"/>
                </a:lnTo>
                <a:lnTo>
                  <a:pt x="3716" y="2039"/>
                </a:lnTo>
                <a:lnTo>
                  <a:pt x="3729" y="2087"/>
                </a:lnTo>
                <a:lnTo>
                  <a:pt x="3736" y="2113"/>
                </a:lnTo>
                <a:lnTo>
                  <a:pt x="3742" y="2139"/>
                </a:lnTo>
                <a:lnTo>
                  <a:pt x="3749" y="2168"/>
                </a:lnTo>
                <a:lnTo>
                  <a:pt x="3753" y="2197"/>
                </a:lnTo>
                <a:lnTo>
                  <a:pt x="3757" y="2227"/>
                </a:lnTo>
                <a:lnTo>
                  <a:pt x="3758" y="2260"/>
                </a:lnTo>
                <a:lnTo>
                  <a:pt x="3758" y="2295"/>
                </a:lnTo>
                <a:lnTo>
                  <a:pt x="3757" y="2313"/>
                </a:lnTo>
                <a:lnTo>
                  <a:pt x="3755" y="2332"/>
                </a:lnTo>
                <a:lnTo>
                  <a:pt x="3753" y="2350"/>
                </a:lnTo>
                <a:lnTo>
                  <a:pt x="3750" y="2371"/>
                </a:lnTo>
                <a:lnTo>
                  <a:pt x="3745" y="2391"/>
                </a:lnTo>
                <a:lnTo>
                  <a:pt x="3741" y="2411"/>
                </a:lnTo>
                <a:lnTo>
                  <a:pt x="3741" y="2411"/>
                </a:lnTo>
                <a:lnTo>
                  <a:pt x="3741" y="2413"/>
                </a:lnTo>
                <a:lnTo>
                  <a:pt x="3741" y="2414"/>
                </a:lnTo>
                <a:lnTo>
                  <a:pt x="3743" y="2414"/>
                </a:lnTo>
                <a:lnTo>
                  <a:pt x="3745" y="2416"/>
                </a:lnTo>
                <a:lnTo>
                  <a:pt x="3753" y="2413"/>
                </a:lnTo>
                <a:lnTo>
                  <a:pt x="3762" y="2411"/>
                </a:lnTo>
                <a:lnTo>
                  <a:pt x="3785" y="2401"/>
                </a:lnTo>
                <a:lnTo>
                  <a:pt x="3814" y="2389"/>
                </a:lnTo>
                <a:lnTo>
                  <a:pt x="3842" y="2374"/>
                </a:lnTo>
                <a:lnTo>
                  <a:pt x="3867" y="2360"/>
                </a:lnTo>
                <a:lnTo>
                  <a:pt x="3886" y="2349"/>
                </a:lnTo>
                <a:lnTo>
                  <a:pt x="3891" y="2345"/>
                </a:lnTo>
                <a:lnTo>
                  <a:pt x="3894" y="2343"/>
                </a:lnTo>
                <a:lnTo>
                  <a:pt x="3894" y="2343"/>
                </a:lnTo>
                <a:lnTo>
                  <a:pt x="3903" y="2319"/>
                </a:lnTo>
                <a:lnTo>
                  <a:pt x="3910" y="2296"/>
                </a:lnTo>
                <a:lnTo>
                  <a:pt x="3916" y="2272"/>
                </a:lnTo>
                <a:lnTo>
                  <a:pt x="3921" y="2248"/>
                </a:lnTo>
                <a:lnTo>
                  <a:pt x="3925" y="2224"/>
                </a:lnTo>
                <a:lnTo>
                  <a:pt x="3928" y="2201"/>
                </a:lnTo>
                <a:lnTo>
                  <a:pt x="3930" y="2178"/>
                </a:lnTo>
                <a:lnTo>
                  <a:pt x="3932" y="2156"/>
                </a:lnTo>
                <a:lnTo>
                  <a:pt x="3932" y="2117"/>
                </a:lnTo>
                <a:lnTo>
                  <a:pt x="3931" y="2086"/>
                </a:lnTo>
                <a:lnTo>
                  <a:pt x="3928" y="2059"/>
                </a:lnTo>
                <a:lnTo>
                  <a:pt x="3928" y="2059"/>
                </a:lnTo>
                <a:lnTo>
                  <a:pt x="3939" y="2068"/>
                </a:lnTo>
                <a:lnTo>
                  <a:pt x="3947" y="2079"/>
                </a:lnTo>
                <a:lnTo>
                  <a:pt x="3954" y="2091"/>
                </a:lnTo>
                <a:lnTo>
                  <a:pt x="3960" y="2105"/>
                </a:lnTo>
                <a:lnTo>
                  <a:pt x="3964" y="2120"/>
                </a:lnTo>
                <a:lnTo>
                  <a:pt x="3968" y="2135"/>
                </a:lnTo>
                <a:lnTo>
                  <a:pt x="3971" y="2152"/>
                </a:lnTo>
                <a:lnTo>
                  <a:pt x="3973" y="2168"/>
                </a:lnTo>
                <a:lnTo>
                  <a:pt x="3975" y="2185"/>
                </a:lnTo>
                <a:lnTo>
                  <a:pt x="3976" y="2203"/>
                </a:lnTo>
                <a:lnTo>
                  <a:pt x="3976" y="2219"/>
                </a:lnTo>
                <a:lnTo>
                  <a:pt x="3975" y="2237"/>
                </a:lnTo>
                <a:lnTo>
                  <a:pt x="3971" y="2268"/>
                </a:lnTo>
                <a:lnTo>
                  <a:pt x="3965" y="2297"/>
                </a:lnTo>
                <a:lnTo>
                  <a:pt x="3965" y="2297"/>
                </a:lnTo>
                <a:lnTo>
                  <a:pt x="3982" y="2288"/>
                </a:lnTo>
                <a:lnTo>
                  <a:pt x="3998" y="2276"/>
                </a:lnTo>
                <a:lnTo>
                  <a:pt x="4016" y="2263"/>
                </a:lnTo>
                <a:lnTo>
                  <a:pt x="4036" y="2249"/>
                </a:lnTo>
                <a:lnTo>
                  <a:pt x="4053" y="2234"/>
                </a:lnTo>
                <a:lnTo>
                  <a:pt x="4061" y="2226"/>
                </a:lnTo>
                <a:lnTo>
                  <a:pt x="4068" y="2219"/>
                </a:lnTo>
                <a:lnTo>
                  <a:pt x="4072" y="2212"/>
                </a:lnTo>
                <a:lnTo>
                  <a:pt x="4075" y="2206"/>
                </a:lnTo>
                <a:lnTo>
                  <a:pt x="4075" y="2206"/>
                </a:lnTo>
                <a:lnTo>
                  <a:pt x="4083" y="2176"/>
                </a:lnTo>
                <a:lnTo>
                  <a:pt x="4090" y="2148"/>
                </a:lnTo>
                <a:lnTo>
                  <a:pt x="4094" y="2121"/>
                </a:lnTo>
                <a:lnTo>
                  <a:pt x="4096" y="2095"/>
                </a:lnTo>
                <a:lnTo>
                  <a:pt x="4096" y="2071"/>
                </a:lnTo>
                <a:lnTo>
                  <a:pt x="4095" y="2047"/>
                </a:lnTo>
                <a:lnTo>
                  <a:pt x="4093" y="2025"/>
                </a:lnTo>
                <a:lnTo>
                  <a:pt x="4090" y="2003"/>
                </a:lnTo>
                <a:lnTo>
                  <a:pt x="4085" y="1983"/>
                </a:lnTo>
                <a:lnTo>
                  <a:pt x="4080" y="1964"/>
                </a:lnTo>
                <a:lnTo>
                  <a:pt x="4075" y="1945"/>
                </a:lnTo>
                <a:lnTo>
                  <a:pt x="4069" y="1928"/>
                </a:lnTo>
                <a:lnTo>
                  <a:pt x="4055" y="1894"/>
                </a:lnTo>
                <a:lnTo>
                  <a:pt x="4043" y="1862"/>
                </a:lnTo>
                <a:lnTo>
                  <a:pt x="4043" y="1862"/>
                </a:lnTo>
                <a:lnTo>
                  <a:pt x="4038" y="1847"/>
                </a:lnTo>
                <a:lnTo>
                  <a:pt x="4035" y="1832"/>
                </a:lnTo>
                <a:lnTo>
                  <a:pt x="4034" y="1817"/>
                </a:lnTo>
                <a:lnTo>
                  <a:pt x="4035" y="1802"/>
                </a:lnTo>
                <a:lnTo>
                  <a:pt x="4037" y="1788"/>
                </a:lnTo>
                <a:lnTo>
                  <a:pt x="4041" y="1773"/>
                </a:lnTo>
                <a:lnTo>
                  <a:pt x="4046" y="1759"/>
                </a:lnTo>
                <a:lnTo>
                  <a:pt x="4053" y="1746"/>
                </a:lnTo>
                <a:lnTo>
                  <a:pt x="4061" y="1733"/>
                </a:lnTo>
                <a:lnTo>
                  <a:pt x="4071" y="1719"/>
                </a:lnTo>
                <a:lnTo>
                  <a:pt x="4081" y="1707"/>
                </a:lnTo>
                <a:lnTo>
                  <a:pt x="4092" y="1696"/>
                </a:lnTo>
                <a:lnTo>
                  <a:pt x="4103" y="1684"/>
                </a:lnTo>
                <a:lnTo>
                  <a:pt x="4117" y="1673"/>
                </a:lnTo>
                <a:lnTo>
                  <a:pt x="4130" y="1664"/>
                </a:lnTo>
                <a:lnTo>
                  <a:pt x="4145" y="1655"/>
                </a:lnTo>
                <a:lnTo>
                  <a:pt x="4145" y="1655"/>
                </a:lnTo>
                <a:lnTo>
                  <a:pt x="4180" y="1674"/>
                </a:lnTo>
                <a:lnTo>
                  <a:pt x="4215" y="1695"/>
                </a:lnTo>
                <a:lnTo>
                  <a:pt x="4251" y="1716"/>
                </a:lnTo>
                <a:lnTo>
                  <a:pt x="4286" y="1740"/>
                </a:lnTo>
                <a:lnTo>
                  <a:pt x="4286" y="1740"/>
                </a:lnTo>
                <a:lnTo>
                  <a:pt x="4307" y="1754"/>
                </a:lnTo>
                <a:lnTo>
                  <a:pt x="4341" y="1779"/>
                </a:lnTo>
                <a:lnTo>
                  <a:pt x="4361" y="1794"/>
                </a:lnTo>
                <a:lnTo>
                  <a:pt x="4382" y="1812"/>
                </a:lnTo>
                <a:lnTo>
                  <a:pt x="4405" y="1832"/>
                </a:lnTo>
                <a:lnTo>
                  <a:pt x="4430" y="1853"/>
                </a:lnTo>
                <a:lnTo>
                  <a:pt x="4453" y="1877"/>
                </a:lnTo>
                <a:lnTo>
                  <a:pt x="4478" y="1901"/>
                </a:lnTo>
                <a:lnTo>
                  <a:pt x="4501" y="1928"/>
                </a:lnTo>
                <a:lnTo>
                  <a:pt x="4524" y="1956"/>
                </a:lnTo>
                <a:lnTo>
                  <a:pt x="4545" y="1985"/>
                </a:lnTo>
                <a:lnTo>
                  <a:pt x="4564" y="2016"/>
                </a:lnTo>
                <a:lnTo>
                  <a:pt x="4574" y="2031"/>
                </a:lnTo>
                <a:lnTo>
                  <a:pt x="4582" y="2047"/>
                </a:lnTo>
                <a:lnTo>
                  <a:pt x="4590" y="2064"/>
                </a:lnTo>
                <a:lnTo>
                  <a:pt x="4596" y="2080"/>
                </a:lnTo>
                <a:lnTo>
                  <a:pt x="4596" y="2080"/>
                </a:lnTo>
                <a:lnTo>
                  <a:pt x="4606" y="2106"/>
                </a:lnTo>
                <a:lnTo>
                  <a:pt x="4616" y="2130"/>
                </a:lnTo>
                <a:lnTo>
                  <a:pt x="4624" y="2155"/>
                </a:lnTo>
                <a:lnTo>
                  <a:pt x="4630" y="2178"/>
                </a:lnTo>
                <a:lnTo>
                  <a:pt x="4636" y="2202"/>
                </a:lnTo>
                <a:lnTo>
                  <a:pt x="4641" y="2224"/>
                </a:lnTo>
                <a:lnTo>
                  <a:pt x="4645" y="2246"/>
                </a:lnTo>
                <a:lnTo>
                  <a:pt x="4649" y="2266"/>
                </a:lnTo>
                <a:lnTo>
                  <a:pt x="4651" y="2287"/>
                </a:lnTo>
                <a:lnTo>
                  <a:pt x="4653" y="2306"/>
                </a:lnTo>
                <a:lnTo>
                  <a:pt x="4654" y="2325"/>
                </a:lnTo>
                <a:lnTo>
                  <a:pt x="4655" y="2343"/>
                </a:lnTo>
                <a:lnTo>
                  <a:pt x="4654" y="2377"/>
                </a:lnTo>
                <a:lnTo>
                  <a:pt x="4652" y="2408"/>
                </a:lnTo>
                <a:lnTo>
                  <a:pt x="4648" y="2437"/>
                </a:lnTo>
                <a:lnTo>
                  <a:pt x="4642" y="2464"/>
                </a:lnTo>
                <a:lnTo>
                  <a:pt x="4635" y="2487"/>
                </a:lnTo>
                <a:lnTo>
                  <a:pt x="4628" y="2509"/>
                </a:lnTo>
                <a:lnTo>
                  <a:pt x="4620" y="2527"/>
                </a:lnTo>
                <a:lnTo>
                  <a:pt x="4612" y="2544"/>
                </a:lnTo>
                <a:lnTo>
                  <a:pt x="4603" y="2559"/>
                </a:lnTo>
                <a:lnTo>
                  <a:pt x="4596" y="2570"/>
                </a:lnTo>
                <a:lnTo>
                  <a:pt x="4596" y="2570"/>
                </a:lnTo>
                <a:lnTo>
                  <a:pt x="4582" y="2590"/>
                </a:lnTo>
                <a:lnTo>
                  <a:pt x="4568" y="2611"/>
                </a:lnTo>
                <a:lnTo>
                  <a:pt x="4553" y="2629"/>
                </a:lnTo>
                <a:lnTo>
                  <a:pt x="4538" y="2648"/>
                </a:lnTo>
                <a:lnTo>
                  <a:pt x="4522" y="2665"/>
                </a:lnTo>
                <a:lnTo>
                  <a:pt x="4505" y="2681"/>
                </a:lnTo>
                <a:lnTo>
                  <a:pt x="4487" y="2697"/>
                </a:lnTo>
                <a:lnTo>
                  <a:pt x="4469" y="2711"/>
                </a:lnTo>
                <a:lnTo>
                  <a:pt x="4450" y="2724"/>
                </a:lnTo>
                <a:lnTo>
                  <a:pt x="4430" y="2736"/>
                </a:lnTo>
                <a:lnTo>
                  <a:pt x="4409" y="2747"/>
                </a:lnTo>
                <a:lnTo>
                  <a:pt x="4388" y="2756"/>
                </a:lnTo>
                <a:lnTo>
                  <a:pt x="4364" y="2764"/>
                </a:lnTo>
                <a:lnTo>
                  <a:pt x="4341" y="2771"/>
                </a:lnTo>
                <a:lnTo>
                  <a:pt x="4316" y="2776"/>
                </a:lnTo>
                <a:lnTo>
                  <a:pt x="4290" y="2779"/>
                </a:lnTo>
                <a:lnTo>
                  <a:pt x="4290" y="2779"/>
                </a:lnTo>
                <a:lnTo>
                  <a:pt x="4283" y="2778"/>
                </a:lnTo>
                <a:lnTo>
                  <a:pt x="4275" y="2778"/>
                </a:lnTo>
                <a:lnTo>
                  <a:pt x="4275" y="2778"/>
                </a:lnTo>
                <a:lnTo>
                  <a:pt x="4242" y="2779"/>
                </a:lnTo>
                <a:lnTo>
                  <a:pt x="4213" y="2779"/>
                </a:lnTo>
                <a:lnTo>
                  <a:pt x="4185" y="2778"/>
                </a:lnTo>
                <a:lnTo>
                  <a:pt x="4159" y="2775"/>
                </a:lnTo>
                <a:lnTo>
                  <a:pt x="4159" y="2775"/>
                </a:lnTo>
                <a:lnTo>
                  <a:pt x="4131" y="2770"/>
                </a:lnTo>
                <a:lnTo>
                  <a:pt x="4103" y="2765"/>
                </a:lnTo>
                <a:lnTo>
                  <a:pt x="4077" y="2758"/>
                </a:lnTo>
                <a:lnTo>
                  <a:pt x="4052" y="2751"/>
                </a:lnTo>
                <a:lnTo>
                  <a:pt x="4052" y="2751"/>
                </a:lnTo>
                <a:lnTo>
                  <a:pt x="4009" y="2736"/>
                </a:lnTo>
                <a:lnTo>
                  <a:pt x="3965" y="2717"/>
                </a:lnTo>
                <a:lnTo>
                  <a:pt x="3965" y="2717"/>
                </a:lnTo>
                <a:lnTo>
                  <a:pt x="3925" y="2697"/>
                </a:lnTo>
                <a:lnTo>
                  <a:pt x="3874" y="2669"/>
                </a:lnTo>
                <a:lnTo>
                  <a:pt x="3846" y="2652"/>
                </a:lnTo>
                <a:lnTo>
                  <a:pt x="3815" y="2632"/>
                </a:lnTo>
                <a:lnTo>
                  <a:pt x="3782" y="2612"/>
                </a:lnTo>
                <a:lnTo>
                  <a:pt x="3748" y="2588"/>
                </a:lnTo>
                <a:lnTo>
                  <a:pt x="3712" y="2564"/>
                </a:lnTo>
                <a:lnTo>
                  <a:pt x="3676" y="2536"/>
                </a:lnTo>
                <a:lnTo>
                  <a:pt x="3638" y="2508"/>
                </a:lnTo>
                <a:lnTo>
                  <a:pt x="3601" y="2477"/>
                </a:lnTo>
                <a:lnTo>
                  <a:pt x="3563" y="2444"/>
                </a:lnTo>
                <a:lnTo>
                  <a:pt x="3526" y="2409"/>
                </a:lnTo>
                <a:lnTo>
                  <a:pt x="3488" y="2373"/>
                </a:lnTo>
                <a:lnTo>
                  <a:pt x="3451" y="2335"/>
                </a:lnTo>
                <a:lnTo>
                  <a:pt x="3451" y="2335"/>
                </a:lnTo>
                <a:lnTo>
                  <a:pt x="3394" y="2271"/>
                </a:lnTo>
                <a:lnTo>
                  <a:pt x="3342" y="2212"/>
                </a:lnTo>
                <a:lnTo>
                  <a:pt x="3295" y="2157"/>
                </a:lnTo>
                <a:lnTo>
                  <a:pt x="3253" y="2107"/>
                </a:lnTo>
                <a:lnTo>
                  <a:pt x="3215" y="2060"/>
                </a:lnTo>
                <a:lnTo>
                  <a:pt x="3180" y="2017"/>
                </a:lnTo>
                <a:lnTo>
                  <a:pt x="3120" y="1940"/>
                </a:lnTo>
                <a:lnTo>
                  <a:pt x="3120" y="1940"/>
                </a:lnTo>
                <a:lnTo>
                  <a:pt x="3138" y="1947"/>
                </a:lnTo>
                <a:lnTo>
                  <a:pt x="3156" y="1953"/>
                </a:lnTo>
                <a:lnTo>
                  <a:pt x="3175" y="1958"/>
                </a:lnTo>
                <a:lnTo>
                  <a:pt x="3193" y="1963"/>
                </a:lnTo>
                <a:lnTo>
                  <a:pt x="3211" y="1966"/>
                </a:lnTo>
                <a:lnTo>
                  <a:pt x="3229" y="1968"/>
                </a:lnTo>
                <a:lnTo>
                  <a:pt x="3262" y="1971"/>
                </a:lnTo>
                <a:lnTo>
                  <a:pt x="3289" y="1971"/>
                </a:lnTo>
                <a:lnTo>
                  <a:pt x="3312" y="1970"/>
                </a:lnTo>
                <a:lnTo>
                  <a:pt x="3332" y="1968"/>
                </a:lnTo>
                <a:lnTo>
                  <a:pt x="3332" y="1968"/>
                </a:lnTo>
                <a:lnTo>
                  <a:pt x="3336" y="1918"/>
                </a:lnTo>
                <a:lnTo>
                  <a:pt x="3338" y="1873"/>
                </a:lnTo>
                <a:lnTo>
                  <a:pt x="3340" y="1833"/>
                </a:lnTo>
                <a:lnTo>
                  <a:pt x="3346" y="1698"/>
                </a:lnTo>
                <a:lnTo>
                  <a:pt x="3346" y="1698"/>
                </a:lnTo>
                <a:lnTo>
                  <a:pt x="3349" y="1661"/>
                </a:lnTo>
                <a:lnTo>
                  <a:pt x="3351" y="1626"/>
                </a:lnTo>
                <a:lnTo>
                  <a:pt x="3352" y="1589"/>
                </a:lnTo>
                <a:lnTo>
                  <a:pt x="3352" y="1589"/>
                </a:lnTo>
                <a:lnTo>
                  <a:pt x="3340" y="1588"/>
                </a:lnTo>
                <a:lnTo>
                  <a:pt x="3307" y="1584"/>
                </a:lnTo>
                <a:lnTo>
                  <a:pt x="3285" y="1581"/>
                </a:lnTo>
                <a:lnTo>
                  <a:pt x="3260" y="1576"/>
                </a:lnTo>
                <a:lnTo>
                  <a:pt x="3233" y="1571"/>
                </a:lnTo>
                <a:lnTo>
                  <a:pt x="3206" y="1564"/>
                </a:lnTo>
                <a:lnTo>
                  <a:pt x="3176" y="1555"/>
                </a:lnTo>
                <a:lnTo>
                  <a:pt x="3147" y="1544"/>
                </a:lnTo>
                <a:lnTo>
                  <a:pt x="3120" y="1532"/>
                </a:lnTo>
                <a:lnTo>
                  <a:pt x="3106" y="1526"/>
                </a:lnTo>
                <a:lnTo>
                  <a:pt x="3093" y="1519"/>
                </a:lnTo>
                <a:lnTo>
                  <a:pt x="3081" y="1511"/>
                </a:lnTo>
                <a:lnTo>
                  <a:pt x="3070" y="1502"/>
                </a:lnTo>
                <a:lnTo>
                  <a:pt x="3058" y="1493"/>
                </a:lnTo>
                <a:lnTo>
                  <a:pt x="3049" y="1484"/>
                </a:lnTo>
                <a:lnTo>
                  <a:pt x="3040" y="1474"/>
                </a:lnTo>
                <a:lnTo>
                  <a:pt x="3032" y="1463"/>
                </a:lnTo>
                <a:lnTo>
                  <a:pt x="3025" y="1451"/>
                </a:lnTo>
                <a:lnTo>
                  <a:pt x="3019" y="1439"/>
                </a:lnTo>
                <a:lnTo>
                  <a:pt x="3019" y="1439"/>
                </a:lnTo>
                <a:lnTo>
                  <a:pt x="3030" y="1445"/>
                </a:lnTo>
                <a:lnTo>
                  <a:pt x="3042" y="1450"/>
                </a:lnTo>
                <a:lnTo>
                  <a:pt x="3059" y="1457"/>
                </a:lnTo>
                <a:lnTo>
                  <a:pt x="3081" y="1465"/>
                </a:lnTo>
                <a:lnTo>
                  <a:pt x="3106" y="1472"/>
                </a:lnTo>
                <a:lnTo>
                  <a:pt x="3136" y="1477"/>
                </a:lnTo>
                <a:lnTo>
                  <a:pt x="3152" y="1479"/>
                </a:lnTo>
                <a:lnTo>
                  <a:pt x="3169" y="1480"/>
                </a:lnTo>
                <a:lnTo>
                  <a:pt x="3169" y="1480"/>
                </a:lnTo>
                <a:lnTo>
                  <a:pt x="3201" y="1481"/>
                </a:lnTo>
                <a:lnTo>
                  <a:pt x="3234" y="1481"/>
                </a:lnTo>
                <a:lnTo>
                  <a:pt x="3266" y="1479"/>
                </a:lnTo>
                <a:lnTo>
                  <a:pt x="3295" y="1477"/>
                </a:lnTo>
                <a:lnTo>
                  <a:pt x="3340" y="1471"/>
                </a:lnTo>
                <a:lnTo>
                  <a:pt x="3357" y="1469"/>
                </a:lnTo>
                <a:lnTo>
                  <a:pt x="3357" y="1469"/>
                </a:lnTo>
                <a:lnTo>
                  <a:pt x="3359" y="1463"/>
                </a:lnTo>
                <a:lnTo>
                  <a:pt x="3361" y="1451"/>
                </a:lnTo>
                <a:lnTo>
                  <a:pt x="3364" y="1421"/>
                </a:lnTo>
                <a:lnTo>
                  <a:pt x="3367" y="1381"/>
                </a:lnTo>
                <a:lnTo>
                  <a:pt x="3369" y="1337"/>
                </a:lnTo>
                <a:lnTo>
                  <a:pt x="3373" y="1257"/>
                </a:lnTo>
                <a:lnTo>
                  <a:pt x="3375" y="1222"/>
                </a:lnTo>
                <a:lnTo>
                  <a:pt x="3375" y="1222"/>
                </a:lnTo>
                <a:lnTo>
                  <a:pt x="3376" y="1194"/>
                </a:lnTo>
                <a:lnTo>
                  <a:pt x="3377" y="1154"/>
                </a:lnTo>
                <a:lnTo>
                  <a:pt x="3377" y="1105"/>
                </a:lnTo>
                <a:lnTo>
                  <a:pt x="3377" y="1105"/>
                </a:lnTo>
                <a:lnTo>
                  <a:pt x="3369" y="1107"/>
                </a:lnTo>
                <a:lnTo>
                  <a:pt x="3359" y="1108"/>
                </a:lnTo>
                <a:lnTo>
                  <a:pt x="3338" y="1110"/>
                </a:lnTo>
                <a:lnTo>
                  <a:pt x="3315" y="1109"/>
                </a:lnTo>
                <a:lnTo>
                  <a:pt x="3290" y="1107"/>
                </a:lnTo>
                <a:lnTo>
                  <a:pt x="3264" y="1104"/>
                </a:lnTo>
                <a:lnTo>
                  <a:pt x="3236" y="1100"/>
                </a:lnTo>
                <a:lnTo>
                  <a:pt x="3208" y="1094"/>
                </a:lnTo>
                <a:lnTo>
                  <a:pt x="3178" y="1086"/>
                </a:lnTo>
                <a:lnTo>
                  <a:pt x="3178" y="1086"/>
                </a:lnTo>
                <a:lnTo>
                  <a:pt x="3158" y="1080"/>
                </a:lnTo>
                <a:lnTo>
                  <a:pt x="3135" y="1071"/>
                </a:lnTo>
                <a:lnTo>
                  <a:pt x="3112" y="1059"/>
                </a:lnTo>
                <a:lnTo>
                  <a:pt x="3088" y="1044"/>
                </a:lnTo>
                <a:lnTo>
                  <a:pt x="3064" y="1028"/>
                </a:lnTo>
                <a:lnTo>
                  <a:pt x="3053" y="1019"/>
                </a:lnTo>
                <a:lnTo>
                  <a:pt x="3043" y="1010"/>
                </a:lnTo>
                <a:lnTo>
                  <a:pt x="3034" y="999"/>
                </a:lnTo>
                <a:lnTo>
                  <a:pt x="3025" y="990"/>
                </a:lnTo>
                <a:lnTo>
                  <a:pt x="3017" y="980"/>
                </a:lnTo>
                <a:lnTo>
                  <a:pt x="3010" y="969"/>
                </a:lnTo>
                <a:lnTo>
                  <a:pt x="3010" y="969"/>
                </a:lnTo>
                <a:lnTo>
                  <a:pt x="3022" y="974"/>
                </a:lnTo>
                <a:lnTo>
                  <a:pt x="3035" y="978"/>
                </a:lnTo>
                <a:lnTo>
                  <a:pt x="3052" y="984"/>
                </a:lnTo>
                <a:lnTo>
                  <a:pt x="3075" y="990"/>
                </a:lnTo>
                <a:lnTo>
                  <a:pt x="3101" y="996"/>
                </a:lnTo>
                <a:lnTo>
                  <a:pt x="3132" y="1003"/>
                </a:lnTo>
                <a:lnTo>
                  <a:pt x="3167" y="1008"/>
                </a:lnTo>
                <a:lnTo>
                  <a:pt x="3167" y="1008"/>
                </a:lnTo>
                <a:lnTo>
                  <a:pt x="3187" y="1010"/>
                </a:lnTo>
                <a:lnTo>
                  <a:pt x="3207" y="1011"/>
                </a:lnTo>
                <a:lnTo>
                  <a:pt x="3226" y="1012"/>
                </a:lnTo>
                <a:lnTo>
                  <a:pt x="3245" y="1012"/>
                </a:lnTo>
                <a:lnTo>
                  <a:pt x="3283" y="1010"/>
                </a:lnTo>
                <a:lnTo>
                  <a:pt x="3317" y="1007"/>
                </a:lnTo>
                <a:lnTo>
                  <a:pt x="3346" y="1001"/>
                </a:lnTo>
                <a:lnTo>
                  <a:pt x="3369" y="996"/>
                </a:lnTo>
                <a:lnTo>
                  <a:pt x="3377" y="993"/>
                </a:lnTo>
                <a:lnTo>
                  <a:pt x="3383" y="991"/>
                </a:lnTo>
                <a:lnTo>
                  <a:pt x="3388" y="988"/>
                </a:lnTo>
                <a:lnTo>
                  <a:pt x="3390" y="985"/>
                </a:lnTo>
                <a:lnTo>
                  <a:pt x="3390" y="985"/>
                </a:lnTo>
                <a:lnTo>
                  <a:pt x="3392" y="959"/>
                </a:lnTo>
                <a:lnTo>
                  <a:pt x="3393" y="925"/>
                </a:lnTo>
                <a:lnTo>
                  <a:pt x="3394" y="848"/>
                </a:lnTo>
                <a:lnTo>
                  <a:pt x="3394" y="750"/>
                </a:lnTo>
                <a:lnTo>
                  <a:pt x="3394" y="750"/>
                </a:lnTo>
                <a:lnTo>
                  <a:pt x="3399" y="686"/>
                </a:lnTo>
                <a:lnTo>
                  <a:pt x="3400" y="642"/>
                </a:lnTo>
                <a:lnTo>
                  <a:pt x="3400" y="627"/>
                </a:lnTo>
                <a:lnTo>
                  <a:pt x="3399" y="623"/>
                </a:lnTo>
                <a:lnTo>
                  <a:pt x="3398" y="622"/>
                </a:lnTo>
                <a:lnTo>
                  <a:pt x="3398" y="622"/>
                </a:lnTo>
                <a:lnTo>
                  <a:pt x="3392" y="622"/>
                </a:lnTo>
                <a:lnTo>
                  <a:pt x="3381" y="623"/>
                </a:lnTo>
                <a:lnTo>
                  <a:pt x="3368" y="623"/>
                </a:lnTo>
                <a:lnTo>
                  <a:pt x="3354" y="622"/>
                </a:lnTo>
                <a:lnTo>
                  <a:pt x="3336" y="620"/>
                </a:lnTo>
                <a:lnTo>
                  <a:pt x="3317" y="617"/>
                </a:lnTo>
                <a:lnTo>
                  <a:pt x="3297" y="612"/>
                </a:lnTo>
                <a:lnTo>
                  <a:pt x="3274" y="607"/>
                </a:lnTo>
                <a:lnTo>
                  <a:pt x="3251" y="599"/>
                </a:lnTo>
                <a:lnTo>
                  <a:pt x="3226" y="589"/>
                </a:lnTo>
                <a:lnTo>
                  <a:pt x="3200" y="578"/>
                </a:lnTo>
                <a:lnTo>
                  <a:pt x="3175" y="564"/>
                </a:lnTo>
                <a:lnTo>
                  <a:pt x="3149" y="548"/>
                </a:lnTo>
                <a:lnTo>
                  <a:pt x="3123" y="529"/>
                </a:lnTo>
                <a:lnTo>
                  <a:pt x="3110" y="519"/>
                </a:lnTo>
                <a:lnTo>
                  <a:pt x="3097" y="508"/>
                </a:lnTo>
                <a:lnTo>
                  <a:pt x="3085" y="495"/>
                </a:lnTo>
                <a:lnTo>
                  <a:pt x="3073" y="483"/>
                </a:lnTo>
                <a:lnTo>
                  <a:pt x="3073" y="483"/>
                </a:lnTo>
                <a:lnTo>
                  <a:pt x="3071" y="481"/>
                </a:lnTo>
                <a:lnTo>
                  <a:pt x="3065" y="476"/>
                </a:lnTo>
                <a:lnTo>
                  <a:pt x="3059" y="467"/>
                </a:lnTo>
                <a:lnTo>
                  <a:pt x="3056" y="461"/>
                </a:lnTo>
                <a:lnTo>
                  <a:pt x="3053" y="454"/>
                </a:lnTo>
                <a:lnTo>
                  <a:pt x="3051" y="447"/>
                </a:lnTo>
                <a:lnTo>
                  <a:pt x="3050" y="439"/>
                </a:lnTo>
                <a:lnTo>
                  <a:pt x="3049" y="430"/>
                </a:lnTo>
                <a:lnTo>
                  <a:pt x="3050" y="420"/>
                </a:lnTo>
                <a:lnTo>
                  <a:pt x="3053" y="410"/>
                </a:lnTo>
                <a:lnTo>
                  <a:pt x="3056" y="398"/>
                </a:lnTo>
                <a:lnTo>
                  <a:pt x="3062" y="386"/>
                </a:lnTo>
                <a:lnTo>
                  <a:pt x="3071" y="373"/>
                </a:lnTo>
                <a:lnTo>
                  <a:pt x="3071" y="373"/>
                </a:lnTo>
                <a:lnTo>
                  <a:pt x="2806" y="254"/>
                </a:lnTo>
                <a:lnTo>
                  <a:pt x="2806" y="254"/>
                </a:lnTo>
                <a:lnTo>
                  <a:pt x="2815" y="245"/>
                </a:lnTo>
                <a:lnTo>
                  <a:pt x="2824" y="234"/>
                </a:lnTo>
                <a:lnTo>
                  <a:pt x="2834" y="219"/>
                </a:lnTo>
                <a:lnTo>
                  <a:pt x="2845" y="203"/>
                </a:lnTo>
                <a:lnTo>
                  <a:pt x="2850" y="194"/>
                </a:lnTo>
                <a:lnTo>
                  <a:pt x="2854" y="185"/>
                </a:lnTo>
                <a:lnTo>
                  <a:pt x="2858" y="174"/>
                </a:lnTo>
                <a:lnTo>
                  <a:pt x="2861" y="164"/>
                </a:lnTo>
                <a:lnTo>
                  <a:pt x="2863" y="154"/>
                </a:lnTo>
                <a:lnTo>
                  <a:pt x="2863" y="144"/>
                </a:lnTo>
                <a:lnTo>
                  <a:pt x="2863" y="144"/>
                </a:lnTo>
                <a:lnTo>
                  <a:pt x="2863" y="132"/>
                </a:lnTo>
                <a:lnTo>
                  <a:pt x="2860" y="122"/>
                </a:lnTo>
                <a:lnTo>
                  <a:pt x="2855" y="112"/>
                </a:lnTo>
                <a:lnTo>
                  <a:pt x="2849" y="103"/>
                </a:lnTo>
                <a:lnTo>
                  <a:pt x="2841" y="94"/>
                </a:lnTo>
                <a:lnTo>
                  <a:pt x="2830" y="86"/>
                </a:lnTo>
                <a:lnTo>
                  <a:pt x="2820" y="79"/>
                </a:lnTo>
                <a:lnTo>
                  <a:pt x="2808" y="73"/>
                </a:lnTo>
                <a:lnTo>
                  <a:pt x="2795" y="68"/>
                </a:lnTo>
                <a:lnTo>
                  <a:pt x="2781" y="64"/>
                </a:lnTo>
                <a:lnTo>
                  <a:pt x="2767" y="60"/>
                </a:lnTo>
                <a:lnTo>
                  <a:pt x="2753" y="58"/>
                </a:lnTo>
                <a:lnTo>
                  <a:pt x="2738" y="56"/>
                </a:lnTo>
                <a:lnTo>
                  <a:pt x="2723" y="56"/>
                </a:lnTo>
                <a:lnTo>
                  <a:pt x="2709" y="57"/>
                </a:lnTo>
                <a:lnTo>
                  <a:pt x="2694" y="59"/>
                </a:lnTo>
                <a:lnTo>
                  <a:pt x="2694" y="59"/>
                </a:lnTo>
                <a:lnTo>
                  <a:pt x="2681" y="62"/>
                </a:lnTo>
                <a:lnTo>
                  <a:pt x="2669" y="66"/>
                </a:lnTo>
                <a:lnTo>
                  <a:pt x="2656" y="71"/>
                </a:lnTo>
                <a:lnTo>
                  <a:pt x="2644" y="77"/>
                </a:lnTo>
                <a:lnTo>
                  <a:pt x="2634" y="84"/>
                </a:lnTo>
                <a:lnTo>
                  <a:pt x="2623" y="92"/>
                </a:lnTo>
                <a:lnTo>
                  <a:pt x="2604" y="107"/>
                </a:lnTo>
                <a:lnTo>
                  <a:pt x="2589" y="122"/>
                </a:lnTo>
                <a:lnTo>
                  <a:pt x="2578" y="134"/>
                </a:lnTo>
                <a:lnTo>
                  <a:pt x="2569" y="147"/>
                </a:lnTo>
                <a:lnTo>
                  <a:pt x="2238" y="0"/>
                </a:lnTo>
                <a:lnTo>
                  <a:pt x="1977" y="263"/>
                </a:lnTo>
                <a:lnTo>
                  <a:pt x="1977" y="263"/>
                </a:lnTo>
                <a:lnTo>
                  <a:pt x="1972" y="268"/>
                </a:lnTo>
                <a:lnTo>
                  <a:pt x="1966" y="280"/>
                </a:lnTo>
                <a:lnTo>
                  <a:pt x="1963" y="287"/>
                </a:lnTo>
                <a:lnTo>
                  <a:pt x="1961" y="295"/>
                </a:lnTo>
                <a:lnTo>
                  <a:pt x="1960" y="304"/>
                </a:lnTo>
                <a:lnTo>
                  <a:pt x="1960" y="313"/>
                </a:lnTo>
                <a:lnTo>
                  <a:pt x="1964" y="337"/>
                </a:lnTo>
                <a:lnTo>
                  <a:pt x="1964" y="337"/>
                </a:lnTo>
                <a:lnTo>
                  <a:pt x="1964" y="343"/>
                </a:lnTo>
                <a:lnTo>
                  <a:pt x="1963" y="349"/>
                </a:lnTo>
                <a:lnTo>
                  <a:pt x="1962" y="354"/>
                </a:lnTo>
                <a:lnTo>
                  <a:pt x="1961" y="358"/>
                </a:lnTo>
                <a:lnTo>
                  <a:pt x="1957" y="366"/>
                </a:lnTo>
                <a:lnTo>
                  <a:pt x="1955" y="370"/>
                </a:lnTo>
                <a:lnTo>
                  <a:pt x="1955" y="370"/>
                </a:lnTo>
                <a:lnTo>
                  <a:pt x="1936" y="392"/>
                </a:lnTo>
                <a:lnTo>
                  <a:pt x="1916" y="416"/>
                </a:lnTo>
                <a:lnTo>
                  <a:pt x="1896" y="438"/>
                </a:lnTo>
                <a:lnTo>
                  <a:pt x="1876" y="461"/>
                </a:lnTo>
                <a:lnTo>
                  <a:pt x="1876" y="461"/>
                </a:lnTo>
                <a:lnTo>
                  <a:pt x="1847" y="499"/>
                </a:lnTo>
                <a:lnTo>
                  <a:pt x="1836" y="515"/>
                </a:lnTo>
                <a:lnTo>
                  <a:pt x="1828" y="527"/>
                </a:lnTo>
                <a:lnTo>
                  <a:pt x="1828" y="527"/>
                </a:lnTo>
                <a:lnTo>
                  <a:pt x="1819" y="542"/>
                </a:lnTo>
                <a:lnTo>
                  <a:pt x="1811" y="558"/>
                </a:lnTo>
                <a:lnTo>
                  <a:pt x="1799" y="583"/>
                </a:lnTo>
                <a:lnTo>
                  <a:pt x="1789" y="607"/>
                </a:lnTo>
                <a:lnTo>
                  <a:pt x="1781" y="628"/>
                </a:lnTo>
                <a:lnTo>
                  <a:pt x="1781" y="628"/>
                </a:lnTo>
                <a:lnTo>
                  <a:pt x="1780" y="631"/>
                </a:lnTo>
                <a:lnTo>
                  <a:pt x="1778" y="642"/>
                </a:lnTo>
                <a:lnTo>
                  <a:pt x="1778" y="649"/>
                </a:lnTo>
                <a:lnTo>
                  <a:pt x="1777" y="657"/>
                </a:lnTo>
                <a:lnTo>
                  <a:pt x="1778" y="666"/>
                </a:lnTo>
                <a:lnTo>
                  <a:pt x="1780" y="677"/>
                </a:lnTo>
                <a:lnTo>
                  <a:pt x="1784" y="690"/>
                </a:lnTo>
                <a:lnTo>
                  <a:pt x="1789" y="703"/>
                </a:lnTo>
                <a:lnTo>
                  <a:pt x="1797" y="716"/>
                </a:lnTo>
                <a:lnTo>
                  <a:pt x="1807" y="732"/>
                </a:lnTo>
                <a:lnTo>
                  <a:pt x="1819" y="748"/>
                </a:lnTo>
                <a:lnTo>
                  <a:pt x="1833" y="764"/>
                </a:lnTo>
                <a:lnTo>
                  <a:pt x="1852" y="782"/>
                </a:lnTo>
                <a:lnTo>
                  <a:pt x="1874" y="800"/>
                </a:lnTo>
                <a:lnTo>
                  <a:pt x="1881" y="806"/>
                </a:lnTo>
                <a:lnTo>
                  <a:pt x="1881" y="806"/>
                </a:lnTo>
                <a:lnTo>
                  <a:pt x="1894" y="789"/>
                </a:lnTo>
                <a:lnTo>
                  <a:pt x="1905" y="800"/>
                </a:lnTo>
                <a:lnTo>
                  <a:pt x="1905" y="800"/>
                </a:lnTo>
                <a:lnTo>
                  <a:pt x="1914" y="809"/>
                </a:lnTo>
                <a:lnTo>
                  <a:pt x="1926" y="820"/>
                </a:lnTo>
                <a:lnTo>
                  <a:pt x="1941" y="832"/>
                </a:lnTo>
                <a:lnTo>
                  <a:pt x="1957" y="842"/>
                </a:lnTo>
                <a:lnTo>
                  <a:pt x="1957" y="842"/>
                </a:lnTo>
                <a:lnTo>
                  <a:pt x="1959" y="835"/>
                </a:lnTo>
                <a:lnTo>
                  <a:pt x="1964" y="815"/>
                </a:lnTo>
                <a:lnTo>
                  <a:pt x="1969" y="802"/>
                </a:lnTo>
                <a:lnTo>
                  <a:pt x="1975" y="789"/>
                </a:lnTo>
                <a:lnTo>
                  <a:pt x="1983" y="775"/>
                </a:lnTo>
                <a:lnTo>
                  <a:pt x="1991" y="760"/>
                </a:lnTo>
                <a:lnTo>
                  <a:pt x="1991" y="760"/>
                </a:lnTo>
                <a:lnTo>
                  <a:pt x="2000" y="748"/>
                </a:lnTo>
                <a:lnTo>
                  <a:pt x="2011" y="736"/>
                </a:lnTo>
                <a:lnTo>
                  <a:pt x="2025" y="722"/>
                </a:lnTo>
                <a:lnTo>
                  <a:pt x="2038" y="709"/>
                </a:lnTo>
                <a:lnTo>
                  <a:pt x="2052" y="697"/>
                </a:lnTo>
                <a:lnTo>
                  <a:pt x="2065" y="686"/>
                </a:lnTo>
                <a:lnTo>
                  <a:pt x="2080" y="675"/>
                </a:lnTo>
                <a:lnTo>
                  <a:pt x="2092" y="667"/>
                </a:lnTo>
                <a:lnTo>
                  <a:pt x="2092" y="667"/>
                </a:lnTo>
                <a:lnTo>
                  <a:pt x="2107" y="658"/>
                </a:lnTo>
                <a:lnTo>
                  <a:pt x="2123" y="650"/>
                </a:lnTo>
                <a:lnTo>
                  <a:pt x="2138" y="643"/>
                </a:lnTo>
                <a:lnTo>
                  <a:pt x="2154" y="636"/>
                </a:lnTo>
                <a:lnTo>
                  <a:pt x="2170" y="632"/>
                </a:lnTo>
                <a:lnTo>
                  <a:pt x="2186" y="629"/>
                </a:lnTo>
                <a:lnTo>
                  <a:pt x="2202" y="626"/>
                </a:lnTo>
                <a:lnTo>
                  <a:pt x="2220" y="625"/>
                </a:lnTo>
                <a:lnTo>
                  <a:pt x="2220" y="625"/>
                </a:lnTo>
                <a:lnTo>
                  <a:pt x="2234" y="626"/>
                </a:lnTo>
                <a:lnTo>
                  <a:pt x="2247" y="627"/>
                </a:lnTo>
                <a:lnTo>
                  <a:pt x="2261" y="630"/>
                </a:lnTo>
                <a:lnTo>
                  <a:pt x="2272" y="635"/>
                </a:lnTo>
                <a:lnTo>
                  <a:pt x="2283" y="642"/>
                </a:lnTo>
                <a:lnTo>
                  <a:pt x="2295" y="649"/>
                </a:lnTo>
                <a:lnTo>
                  <a:pt x="2305" y="658"/>
                </a:lnTo>
                <a:lnTo>
                  <a:pt x="2316" y="668"/>
                </a:lnTo>
                <a:lnTo>
                  <a:pt x="2316" y="668"/>
                </a:lnTo>
                <a:lnTo>
                  <a:pt x="2323" y="676"/>
                </a:lnTo>
                <a:lnTo>
                  <a:pt x="2330" y="687"/>
                </a:lnTo>
                <a:lnTo>
                  <a:pt x="2336" y="698"/>
                </a:lnTo>
                <a:lnTo>
                  <a:pt x="2342" y="710"/>
                </a:lnTo>
                <a:lnTo>
                  <a:pt x="2347" y="722"/>
                </a:lnTo>
                <a:lnTo>
                  <a:pt x="2351" y="736"/>
                </a:lnTo>
                <a:lnTo>
                  <a:pt x="2355" y="750"/>
                </a:lnTo>
                <a:lnTo>
                  <a:pt x="2358" y="764"/>
                </a:lnTo>
                <a:lnTo>
                  <a:pt x="2360" y="778"/>
                </a:lnTo>
                <a:lnTo>
                  <a:pt x="2362" y="792"/>
                </a:lnTo>
                <a:lnTo>
                  <a:pt x="2363" y="805"/>
                </a:lnTo>
                <a:lnTo>
                  <a:pt x="2364" y="818"/>
                </a:lnTo>
                <a:lnTo>
                  <a:pt x="2364" y="831"/>
                </a:lnTo>
                <a:lnTo>
                  <a:pt x="2363" y="842"/>
                </a:lnTo>
                <a:lnTo>
                  <a:pt x="2361" y="852"/>
                </a:lnTo>
                <a:lnTo>
                  <a:pt x="2359" y="861"/>
                </a:lnTo>
                <a:lnTo>
                  <a:pt x="2359" y="861"/>
                </a:lnTo>
                <a:lnTo>
                  <a:pt x="2330" y="843"/>
                </a:lnTo>
                <a:lnTo>
                  <a:pt x="2330" y="843"/>
                </a:lnTo>
                <a:lnTo>
                  <a:pt x="2309" y="832"/>
                </a:lnTo>
                <a:lnTo>
                  <a:pt x="2281" y="822"/>
                </a:lnTo>
                <a:lnTo>
                  <a:pt x="2266" y="815"/>
                </a:lnTo>
                <a:lnTo>
                  <a:pt x="2251" y="811"/>
                </a:lnTo>
                <a:lnTo>
                  <a:pt x="2233" y="807"/>
                </a:lnTo>
                <a:lnTo>
                  <a:pt x="2215" y="803"/>
                </a:lnTo>
                <a:lnTo>
                  <a:pt x="2195" y="801"/>
                </a:lnTo>
                <a:lnTo>
                  <a:pt x="2175" y="800"/>
                </a:lnTo>
                <a:lnTo>
                  <a:pt x="2154" y="800"/>
                </a:lnTo>
                <a:lnTo>
                  <a:pt x="2132" y="802"/>
                </a:lnTo>
                <a:lnTo>
                  <a:pt x="2109" y="805"/>
                </a:lnTo>
                <a:lnTo>
                  <a:pt x="2086" y="810"/>
                </a:lnTo>
                <a:lnTo>
                  <a:pt x="2062" y="818"/>
                </a:lnTo>
                <a:lnTo>
                  <a:pt x="2037" y="829"/>
                </a:lnTo>
                <a:lnTo>
                  <a:pt x="2037" y="829"/>
                </a:lnTo>
                <a:lnTo>
                  <a:pt x="1995" y="847"/>
                </a:lnTo>
                <a:lnTo>
                  <a:pt x="1967" y="859"/>
                </a:lnTo>
                <a:lnTo>
                  <a:pt x="1936" y="872"/>
                </a:lnTo>
                <a:lnTo>
                  <a:pt x="1900" y="886"/>
                </a:lnTo>
                <a:lnTo>
                  <a:pt x="1860" y="900"/>
                </a:lnTo>
                <a:lnTo>
                  <a:pt x="1814" y="916"/>
                </a:lnTo>
                <a:lnTo>
                  <a:pt x="1764" y="931"/>
                </a:lnTo>
                <a:lnTo>
                  <a:pt x="1764" y="931"/>
                </a:lnTo>
                <a:lnTo>
                  <a:pt x="1737" y="938"/>
                </a:lnTo>
                <a:lnTo>
                  <a:pt x="1725" y="940"/>
                </a:lnTo>
                <a:lnTo>
                  <a:pt x="1713" y="941"/>
                </a:lnTo>
                <a:lnTo>
                  <a:pt x="1701" y="941"/>
                </a:lnTo>
                <a:lnTo>
                  <a:pt x="1691" y="941"/>
                </a:lnTo>
                <a:lnTo>
                  <a:pt x="1681" y="940"/>
                </a:lnTo>
                <a:lnTo>
                  <a:pt x="1672" y="938"/>
                </a:lnTo>
                <a:lnTo>
                  <a:pt x="1664" y="935"/>
                </a:lnTo>
                <a:lnTo>
                  <a:pt x="1655" y="930"/>
                </a:lnTo>
                <a:lnTo>
                  <a:pt x="1649" y="925"/>
                </a:lnTo>
                <a:lnTo>
                  <a:pt x="1642" y="919"/>
                </a:lnTo>
                <a:lnTo>
                  <a:pt x="1637" y="912"/>
                </a:lnTo>
                <a:lnTo>
                  <a:pt x="1633" y="902"/>
                </a:lnTo>
                <a:lnTo>
                  <a:pt x="1629" y="892"/>
                </a:lnTo>
                <a:lnTo>
                  <a:pt x="1626" y="881"/>
                </a:lnTo>
                <a:lnTo>
                  <a:pt x="1626" y="881"/>
                </a:lnTo>
                <a:lnTo>
                  <a:pt x="1624" y="871"/>
                </a:lnTo>
                <a:lnTo>
                  <a:pt x="1623" y="860"/>
                </a:lnTo>
                <a:lnTo>
                  <a:pt x="1623" y="851"/>
                </a:lnTo>
                <a:lnTo>
                  <a:pt x="1623" y="842"/>
                </a:lnTo>
                <a:lnTo>
                  <a:pt x="1625" y="826"/>
                </a:lnTo>
                <a:lnTo>
                  <a:pt x="1629" y="811"/>
                </a:lnTo>
                <a:lnTo>
                  <a:pt x="1633" y="800"/>
                </a:lnTo>
                <a:lnTo>
                  <a:pt x="1636" y="792"/>
                </a:lnTo>
                <a:lnTo>
                  <a:pt x="1640" y="784"/>
                </a:lnTo>
                <a:lnTo>
                  <a:pt x="1640" y="784"/>
                </a:lnTo>
                <a:lnTo>
                  <a:pt x="1636" y="785"/>
                </a:lnTo>
                <a:lnTo>
                  <a:pt x="1626" y="788"/>
                </a:lnTo>
                <a:lnTo>
                  <a:pt x="1610" y="794"/>
                </a:lnTo>
                <a:lnTo>
                  <a:pt x="1601" y="797"/>
                </a:lnTo>
                <a:lnTo>
                  <a:pt x="1592" y="802"/>
                </a:lnTo>
                <a:lnTo>
                  <a:pt x="1582" y="808"/>
                </a:lnTo>
                <a:lnTo>
                  <a:pt x="1573" y="814"/>
                </a:lnTo>
                <a:lnTo>
                  <a:pt x="1563" y="823"/>
                </a:lnTo>
                <a:lnTo>
                  <a:pt x="1554" y="832"/>
                </a:lnTo>
                <a:lnTo>
                  <a:pt x="1546" y="842"/>
                </a:lnTo>
                <a:lnTo>
                  <a:pt x="1539" y="853"/>
                </a:lnTo>
                <a:lnTo>
                  <a:pt x="1533" y="867"/>
                </a:lnTo>
                <a:lnTo>
                  <a:pt x="1528" y="881"/>
                </a:lnTo>
                <a:lnTo>
                  <a:pt x="1528" y="881"/>
                </a:lnTo>
                <a:lnTo>
                  <a:pt x="1525" y="896"/>
                </a:lnTo>
                <a:lnTo>
                  <a:pt x="1523" y="912"/>
                </a:lnTo>
                <a:lnTo>
                  <a:pt x="1523" y="927"/>
                </a:lnTo>
                <a:lnTo>
                  <a:pt x="1523" y="941"/>
                </a:lnTo>
                <a:lnTo>
                  <a:pt x="1524" y="954"/>
                </a:lnTo>
                <a:lnTo>
                  <a:pt x="1527" y="969"/>
                </a:lnTo>
                <a:lnTo>
                  <a:pt x="1531" y="981"/>
                </a:lnTo>
                <a:lnTo>
                  <a:pt x="1536" y="993"/>
                </a:lnTo>
                <a:lnTo>
                  <a:pt x="1542" y="1006"/>
                </a:lnTo>
                <a:lnTo>
                  <a:pt x="1549" y="1016"/>
                </a:lnTo>
                <a:lnTo>
                  <a:pt x="1557" y="1026"/>
                </a:lnTo>
                <a:lnTo>
                  <a:pt x="1568" y="1034"/>
                </a:lnTo>
                <a:lnTo>
                  <a:pt x="1578" y="1042"/>
                </a:lnTo>
                <a:lnTo>
                  <a:pt x="1590" y="1049"/>
                </a:lnTo>
                <a:lnTo>
                  <a:pt x="1602" y="1055"/>
                </a:lnTo>
                <a:lnTo>
                  <a:pt x="1617" y="1059"/>
                </a:lnTo>
                <a:lnTo>
                  <a:pt x="1617" y="1059"/>
                </a:lnTo>
                <a:lnTo>
                  <a:pt x="1630" y="1062"/>
                </a:lnTo>
                <a:lnTo>
                  <a:pt x="1644" y="1063"/>
                </a:lnTo>
                <a:lnTo>
                  <a:pt x="1660" y="1062"/>
                </a:lnTo>
                <a:lnTo>
                  <a:pt x="1676" y="1060"/>
                </a:lnTo>
                <a:lnTo>
                  <a:pt x="1692" y="1058"/>
                </a:lnTo>
                <a:lnTo>
                  <a:pt x="1710" y="1054"/>
                </a:lnTo>
                <a:lnTo>
                  <a:pt x="1727" y="1049"/>
                </a:lnTo>
                <a:lnTo>
                  <a:pt x="1744" y="1043"/>
                </a:lnTo>
                <a:lnTo>
                  <a:pt x="1779" y="1029"/>
                </a:lnTo>
                <a:lnTo>
                  <a:pt x="1815" y="1014"/>
                </a:lnTo>
                <a:lnTo>
                  <a:pt x="1849" y="997"/>
                </a:lnTo>
                <a:lnTo>
                  <a:pt x="1880" y="981"/>
                </a:lnTo>
                <a:lnTo>
                  <a:pt x="1880" y="981"/>
                </a:lnTo>
                <a:lnTo>
                  <a:pt x="1942" y="949"/>
                </a:lnTo>
                <a:lnTo>
                  <a:pt x="1979" y="931"/>
                </a:lnTo>
                <a:lnTo>
                  <a:pt x="2013" y="915"/>
                </a:lnTo>
                <a:lnTo>
                  <a:pt x="2013" y="915"/>
                </a:lnTo>
                <a:lnTo>
                  <a:pt x="2041" y="903"/>
                </a:lnTo>
                <a:lnTo>
                  <a:pt x="2054" y="899"/>
                </a:lnTo>
                <a:lnTo>
                  <a:pt x="2068" y="895"/>
                </a:lnTo>
                <a:lnTo>
                  <a:pt x="2081" y="892"/>
                </a:lnTo>
                <a:lnTo>
                  <a:pt x="2093" y="890"/>
                </a:lnTo>
                <a:lnTo>
                  <a:pt x="2105" y="888"/>
                </a:lnTo>
                <a:lnTo>
                  <a:pt x="2119" y="888"/>
                </a:lnTo>
                <a:lnTo>
                  <a:pt x="2131" y="888"/>
                </a:lnTo>
                <a:lnTo>
                  <a:pt x="2143" y="889"/>
                </a:lnTo>
                <a:lnTo>
                  <a:pt x="2156" y="891"/>
                </a:lnTo>
                <a:lnTo>
                  <a:pt x="2170" y="893"/>
                </a:lnTo>
                <a:lnTo>
                  <a:pt x="2183" y="897"/>
                </a:lnTo>
                <a:lnTo>
                  <a:pt x="2196" y="901"/>
                </a:lnTo>
                <a:lnTo>
                  <a:pt x="2211" y="907"/>
                </a:lnTo>
                <a:lnTo>
                  <a:pt x="2226" y="914"/>
                </a:lnTo>
                <a:lnTo>
                  <a:pt x="2226" y="914"/>
                </a:lnTo>
                <a:lnTo>
                  <a:pt x="2246" y="924"/>
                </a:lnTo>
                <a:lnTo>
                  <a:pt x="2265" y="934"/>
                </a:lnTo>
                <a:lnTo>
                  <a:pt x="2281" y="945"/>
                </a:lnTo>
                <a:lnTo>
                  <a:pt x="2295" y="954"/>
                </a:lnTo>
                <a:lnTo>
                  <a:pt x="2305" y="964"/>
                </a:lnTo>
                <a:lnTo>
                  <a:pt x="2312" y="971"/>
                </a:lnTo>
                <a:lnTo>
                  <a:pt x="2319" y="977"/>
                </a:lnTo>
                <a:lnTo>
                  <a:pt x="2319" y="977"/>
                </a:lnTo>
                <a:lnTo>
                  <a:pt x="2317" y="980"/>
                </a:lnTo>
                <a:lnTo>
                  <a:pt x="2313" y="987"/>
                </a:lnTo>
                <a:lnTo>
                  <a:pt x="2305" y="998"/>
                </a:lnTo>
                <a:lnTo>
                  <a:pt x="2300" y="1005"/>
                </a:lnTo>
                <a:lnTo>
                  <a:pt x="2293" y="1012"/>
                </a:lnTo>
                <a:lnTo>
                  <a:pt x="2285" y="1018"/>
                </a:lnTo>
                <a:lnTo>
                  <a:pt x="2276" y="1025"/>
                </a:lnTo>
                <a:lnTo>
                  <a:pt x="2267" y="1031"/>
                </a:lnTo>
                <a:lnTo>
                  <a:pt x="2255" y="1036"/>
                </a:lnTo>
                <a:lnTo>
                  <a:pt x="2242" y="1041"/>
                </a:lnTo>
                <a:lnTo>
                  <a:pt x="2228" y="1045"/>
                </a:lnTo>
                <a:lnTo>
                  <a:pt x="2212" y="1049"/>
                </a:lnTo>
                <a:lnTo>
                  <a:pt x="2194" y="1050"/>
                </a:lnTo>
                <a:lnTo>
                  <a:pt x="2194" y="1050"/>
                </a:lnTo>
                <a:lnTo>
                  <a:pt x="2180" y="1051"/>
                </a:lnTo>
                <a:lnTo>
                  <a:pt x="2166" y="1050"/>
                </a:lnTo>
                <a:lnTo>
                  <a:pt x="2152" y="1048"/>
                </a:lnTo>
                <a:lnTo>
                  <a:pt x="2139" y="1044"/>
                </a:lnTo>
                <a:lnTo>
                  <a:pt x="2127" y="1041"/>
                </a:lnTo>
                <a:lnTo>
                  <a:pt x="2115" y="1037"/>
                </a:lnTo>
                <a:lnTo>
                  <a:pt x="2103" y="1033"/>
                </a:lnTo>
                <a:lnTo>
                  <a:pt x="2092" y="1027"/>
                </a:lnTo>
                <a:lnTo>
                  <a:pt x="2082" y="1022"/>
                </a:lnTo>
                <a:lnTo>
                  <a:pt x="2073" y="1016"/>
                </a:lnTo>
                <a:lnTo>
                  <a:pt x="2064" y="1010"/>
                </a:lnTo>
                <a:lnTo>
                  <a:pt x="2056" y="1003"/>
                </a:lnTo>
                <a:lnTo>
                  <a:pt x="2048" y="995"/>
                </a:lnTo>
                <a:lnTo>
                  <a:pt x="2042" y="988"/>
                </a:lnTo>
                <a:lnTo>
                  <a:pt x="2036" y="981"/>
                </a:lnTo>
                <a:lnTo>
                  <a:pt x="2031" y="974"/>
                </a:lnTo>
                <a:lnTo>
                  <a:pt x="2031" y="974"/>
                </a:lnTo>
                <a:lnTo>
                  <a:pt x="2022" y="996"/>
                </a:lnTo>
                <a:lnTo>
                  <a:pt x="2013" y="1014"/>
                </a:lnTo>
                <a:lnTo>
                  <a:pt x="2007" y="1027"/>
                </a:lnTo>
                <a:lnTo>
                  <a:pt x="2007" y="1027"/>
                </a:lnTo>
                <a:lnTo>
                  <a:pt x="2003" y="1035"/>
                </a:lnTo>
                <a:lnTo>
                  <a:pt x="2000" y="1042"/>
                </a:lnTo>
                <a:lnTo>
                  <a:pt x="1998" y="1051"/>
                </a:lnTo>
                <a:lnTo>
                  <a:pt x="1997" y="1057"/>
                </a:lnTo>
                <a:lnTo>
                  <a:pt x="1997" y="1064"/>
                </a:lnTo>
                <a:lnTo>
                  <a:pt x="1997" y="1070"/>
                </a:lnTo>
                <a:lnTo>
                  <a:pt x="1999" y="1082"/>
                </a:lnTo>
                <a:lnTo>
                  <a:pt x="2001" y="1094"/>
                </a:lnTo>
                <a:lnTo>
                  <a:pt x="2003" y="1104"/>
                </a:lnTo>
                <a:lnTo>
                  <a:pt x="2004" y="1115"/>
                </a:lnTo>
                <a:lnTo>
                  <a:pt x="2003" y="1121"/>
                </a:lnTo>
                <a:lnTo>
                  <a:pt x="2001" y="1126"/>
                </a:lnTo>
                <a:lnTo>
                  <a:pt x="2001" y="1126"/>
                </a:lnTo>
                <a:lnTo>
                  <a:pt x="1999" y="1132"/>
                </a:lnTo>
                <a:lnTo>
                  <a:pt x="1995" y="1138"/>
                </a:lnTo>
                <a:lnTo>
                  <a:pt x="1986" y="1151"/>
                </a:lnTo>
                <a:lnTo>
                  <a:pt x="1973" y="1163"/>
                </a:lnTo>
                <a:lnTo>
                  <a:pt x="1960" y="1175"/>
                </a:lnTo>
                <a:lnTo>
                  <a:pt x="1945" y="1187"/>
                </a:lnTo>
                <a:lnTo>
                  <a:pt x="1931" y="1198"/>
                </a:lnTo>
                <a:lnTo>
                  <a:pt x="1904" y="1216"/>
                </a:lnTo>
                <a:lnTo>
                  <a:pt x="1904" y="1216"/>
                </a:lnTo>
                <a:lnTo>
                  <a:pt x="1886" y="1227"/>
                </a:lnTo>
                <a:lnTo>
                  <a:pt x="1864" y="1239"/>
                </a:lnTo>
                <a:lnTo>
                  <a:pt x="1842" y="1249"/>
                </a:lnTo>
                <a:lnTo>
                  <a:pt x="1819" y="1257"/>
                </a:lnTo>
                <a:lnTo>
                  <a:pt x="1798" y="1264"/>
                </a:lnTo>
                <a:lnTo>
                  <a:pt x="1779" y="1270"/>
                </a:lnTo>
                <a:lnTo>
                  <a:pt x="1754" y="1278"/>
                </a:lnTo>
                <a:lnTo>
                  <a:pt x="1754" y="1278"/>
                </a:lnTo>
                <a:lnTo>
                  <a:pt x="1779" y="1336"/>
                </a:lnTo>
                <a:lnTo>
                  <a:pt x="1811" y="1404"/>
                </a:lnTo>
                <a:lnTo>
                  <a:pt x="1811" y="1404"/>
                </a:lnTo>
                <a:lnTo>
                  <a:pt x="1833" y="1449"/>
                </a:lnTo>
                <a:lnTo>
                  <a:pt x="1862" y="1504"/>
                </a:lnTo>
                <a:lnTo>
                  <a:pt x="1877" y="1531"/>
                </a:lnTo>
                <a:lnTo>
                  <a:pt x="1893" y="1557"/>
                </a:lnTo>
                <a:lnTo>
                  <a:pt x="1909" y="1578"/>
                </a:lnTo>
                <a:lnTo>
                  <a:pt x="1916" y="1588"/>
                </a:lnTo>
                <a:lnTo>
                  <a:pt x="1924" y="1597"/>
                </a:lnTo>
                <a:lnTo>
                  <a:pt x="1924" y="1597"/>
                </a:lnTo>
                <a:lnTo>
                  <a:pt x="1940" y="1592"/>
                </a:lnTo>
                <a:lnTo>
                  <a:pt x="1957" y="1587"/>
                </a:lnTo>
                <a:lnTo>
                  <a:pt x="1980" y="1581"/>
                </a:lnTo>
                <a:lnTo>
                  <a:pt x="2004" y="1573"/>
                </a:lnTo>
                <a:lnTo>
                  <a:pt x="2031" y="1563"/>
                </a:lnTo>
                <a:lnTo>
                  <a:pt x="2057" y="1551"/>
                </a:lnTo>
                <a:lnTo>
                  <a:pt x="2071" y="1544"/>
                </a:lnTo>
                <a:lnTo>
                  <a:pt x="2083" y="1537"/>
                </a:lnTo>
                <a:lnTo>
                  <a:pt x="2083" y="1537"/>
                </a:lnTo>
                <a:lnTo>
                  <a:pt x="2105" y="1524"/>
                </a:lnTo>
                <a:lnTo>
                  <a:pt x="2126" y="1510"/>
                </a:lnTo>
                <a:lnTo>
                  <a:pt x="2145" y="1495"/>
                </a:lnTo>
                <a:lnTo>
                  <a:pt x="2162" y="1480"/>
                </a:lnTo>
                <a:lnTo>
                  <a:pt x="2177" y="1466"/>
                </a:lnTo>
                <a:lnTo>
                  <a:pt x="2189" y="1451"/>
                </a:lnTo>
                <a:lnTo>
                  <a:pt x="2199" y="1437"/>
                </a:lnTo>
                <a:lnTo>
                  <a:pt x="2207" y="1424"/>
                </a:lnTo>
                <a:lnTo>
                  <a:pt x="2207" y="1424"/>
                </a:lnTo>
                <a:lnTo>
                  <a:pt x="2190" y="1460"/>
                </a:lnTo>
                <a:lnTo>
                  <a:pt x="2175" y="1493"/>
                </a:lnTo>
                <a:lnTo>
                  <a:pt x="2161" y="1523"/>
                </a:lnTo>
                <a:lnTo>
                  <a:pt x="2146" y="1551"/>
                </a:lnTo>
                <a:lnTo>
                  <a:pt x="2132" y="1576"/>
                </a:lnTo>
                <a:lnTo>
                  <a:pt x="2119" y="1599"/>
                </a:lnTo>
                <a:lnTo>
                  <a:pt x="2105" y="1619"/>
                </a:lnTo>
                <a:lnTo>
                  <a:pt x="2092" y="1637"/>
                </a:lnTo>
                <a:lnTo>
                  <a:pt x="2080" y="1655"/>
                </a:lnTo>
                <a:lnTo>
                  <a:pt x="2068" y="1669"/>
                </a:lnTo>
                <a:lnTo>
                  <a:pt x="2055" y="1682"/>
                </a:lnTo>
                <a:lnTo>
                  <a:pt x="2044" y="1694"/>
                </a:lnTo>
                <a:lnTo>
                  <a:pt x="2033" y="1705"/>
                </a:lnTo>
                <a:lnTo>
                  <a:pt x="2022" y="1714"/>
                </a:lnTo>
                <a:lnTo>
                  <a:pt x="2011" y="1721"/>
                </a:lnTo>
                <a:lnTo>
                  <a:pt x="2000" y="1729"/>
                </a:lnTo>
                <a:lnTo>
                  <a:pt x="2000" y="1729"/>
                </a:lnTo>
                <a:lnTo>
                  <a:pt x="1907" y="1790"/>
                </a:lnTo>
                <a:lnTo>
                  <a:pt x="1797" y="1862"/>
                </a:lnTo>
                <a:lnTo>
                  <a:pt x="1735" y="1901"/>
                </a:lnTo>
                <a:lnTo>
                  <a:pt x="1671" y="1940"/>
                </a:lnTo>
                <a:lnTo>
                  <a:pt x="1602" y="1980"/>
                </a:lnTo>
                <a:lnTo>
                  <a:pt x="1532" y="2020"/>
                </a:lnTo>
                <a:lnTo>
                  <a:pt x="1459" y="2058"/>
                </a:lnTo>
                <a:lnTo>
                  <a:pt x="1422" y="2077"/>
                </a:lnTo>
                <a:lnTo>
                  <a:pt x="1384" y="2094"/>
                </a:lnTo>
                <a:lnTo>
                  <a:pt x="1347" y="2112"/>
                </a:lnTo>
                <a:lnTo>
                  <a:pt x="1308" y="2129"/>
                </a:lnTo>
                <a:lnTo>
                  <a:pt x="1269" y="2146"/>
                </a:lnTo>
                <a:lnTo>
                  <a:pt x="1230" y="2161"/>
                </a:lnTo>
                <a:lnTo>
                  <a:pt x="1190" y="2175"/>
                </a:lnTo>
                <a:lnTo>
                  <a:pt x="1151" y="2189"/>
                </a:lnTo>
                <a:lnTo>
                  <a:pt x="1111" y="2202"/>
                </a:lnTo>
                <a:lnTo>
                  <a:pt x="1072" y="2213"/>
                </a:lnTo>
                <a:lnTo>
                  <a:pt x="1032" y="2223"/>
                </a:lnTo>
                <a:lnTo>
                  <a:pt x="992" y="2231"/>
                </a:lnTo>
                <a:lnTo>
                  <a:pt x="952" y="2240"/>
                </a:lnTo>
                <a:lnTo>
                  <a:pt x="913" y="2246"/>
                </a:lnTo>
                <a:lnTo>
                  <a:pt x="913" y="2246"/>
                </a:lnTo>
                <a:lnTo>
                  <a:pt x="901" y="2246"/>
                </a:lnTo>
                <a:lnTo>
                  <a:pt x="889" y="2245"/>
                </a:lnTo>
                <a:lnTo>
                  <a:pt x="876" y="2242"/>
                </a:lnTo>
                <a:lnTo>
                  <a:pt x="863" y="2239"/>
                </a:lnTo>
                <a:lnTo>
                  <a:pt x="850" y="2236"/>
                </a:lnTo>
                <a:lnTo>
                  <a:pt x="836" y="2230"/>
                </a:lnTo>
                <a:lnTo>
                  <a:pt x="809" y="2218"/>
                </a:lnTo>
                <a:lnTo>
                  <a:pt x="781" y="2204"/>
                </a:lnTo>
                <a:lnTo>
                  <a:pt x="754" y="2188"/>
                </a:lnTo>
                <a:lnTo>
                  <a:pt x="726" y="2170"/>
                </a:lnTo>
                <a:lnTo>
                  <a:pt x="698" y="2151"/>
                </a:lnTo>
                <a:lnTo>
                  <a:pt x="672" y="2130"/>
                </a:lnTo>
                <a:lnTo>
                  <a:pt x="646" y="2110"/>
                </a:lnTo>
                <a:lnTo>
                  <a:pt x="623" y="2089"/>
                </a:lnTo>
                <a:lnTo>
                  <a:pt x="600" y="2069"/>
                </a:lnTo>
                <a:lnTo>
                  <a:pt x="581" y="2049"/>
                </a:lnTo>
                <a:lnTo>
                  <a:pt x="563" y="2032"/>
                </a:lnTo>
                <a:lnTo>
                  <a:pt x="548" y="2017"/>
                </a:lnTo>
                <a:lnTo>
                  <a:pt x="537" y="2003"/>
                </a:lnTo>
                <a:lnTo>
                  <a:pt x="537" y="2003"/>
                </a:lnTo>
                <a:lnTo>
                  <a:pt x="533" y="1999"/>
                </a:lnTo>
                <a:lnTo>
                  <a:pt x="530" y="1995"/>
                </a:lnTo>
                <a:lnTo>
                  <a:pt x="520" y="1990"/>
                </a:lnTo>
                <a:lnTo>
                  <a:pt x="512" y="1988"/>
                </a:lnTo>
                <a:lnTo>
                  <a:pt x="502" y="1987"/>
                </a:lnTo>
                <a:lnTo>
                  <a:pt x="493" y="1987"/>
                </a:lnTo>
                <a:lnTo>
                  <a:pt x="483" y="1989"/>
                </a:lnTo>
                <a:lnTo>
                  <a:pt x="473" y="1992"/>
                </a:lnTo>
                <a:lnTo>
                  <a:pt x="464" y="1996"/>
                </a:lnTo>
                <a:lnTo>
                  <a:pt x="447" y="2004"/>
                </a:lnTo>
                <a:lnTo>
                  <a:pt x="433" y="2014"/>
                </a:lnTo>
                <a:lnTo>
                  <a:pt x="419" y="2024"/>
                </a:lnTo>
                <a:lnTo>
                  <a:pt x="419" y="2024"/>
                </a:lnTo>
                <a:lnTo>
                  <a:pt x="412" y="2023"/>
                </a:lnTo>
                <a:lnTo>
                  <a:pt x="393" y="2021"/>
                </a:lnTo>
                <a:lnTo>
                  <a:pt x="379" y="2021"/>
                </a:lnTo>
                <a:lnTo>
                  <a:pt x="364" y="2021"/>
                </a:lnTo>
                <a:lnTo>
                  <a:pt x="348" y="2022"/>
                </a:lnTo>
                <a:lnTo>
                  <a:pt x="329" y="2024"/>
                </a:lnTo>
                <a:lnTo>
                  <a:pt x="310" y="2027"/>
                </a:lnTo>
                <a:lnTo>
                  <a:pt x="290" y="2032"/>
                </a:lnTo>
                <a:lnTo>
                  <a:pt x="271" y="2038"/>
                </a:lnTo>
                <a:lnTo>
                  <a:pt x="252" y="2047"/>
                </a:lnTo>
                <a:lnTo>
                  <a:pt x="242" y="2053"/>
                </a:lnTo>
                <a:lnTo>
                  <a:pt x="233" y="2058"/>
                </a:lnTo>
                <a:lnTo>
                  <a:pt x="224" y="2064"/>
                </a:lnTo>
                <a:lnTo>
                  <a:pt x="216" y="2071"/>
                </a:lnTo>
                <a:lnTo>
                  <a:pt x="207" y="2079"/>
                </a:lnTo>
                <a:lnTo>
                  <a:pt x="199" y="2087"/>
                </a:lnTo>
                <a:lnTo>
                  <a:pt x="191" y="2097"/>
                </a:lnTo>
                <a:lnTo>
                  <a:pt x="184" y="2106"/>
                </a:lnTo>
                <a:lnTo>
                  <a:pt x="184" y="2106"/>
                </a:lnTo>
                <a:lnTo>
                  <a:pt x="183" y="2109"/>
                </a:lnTo>
                <a:lnTo>
                  <a:pt x="185" y="2111"/>
                </a:lnTo>
                <a:lnTo>
                  <a:pt x="188" y="2112"/>
                </a:lnTo>
                <a:lnTo>
                  <a:pt x="193" y="2112"/>
                </a:lnTo>
                <a:lnTo>
                  <a:pt x="210" y="2110"/>
                </a:lnTo>
                <a:lnTo>
                  <a:pt x="230" y="2108"/>
                </a:lnTo>
                <a:lnTo>
                  <a:pt x="255" y="2106"/>
                </a:lnTo>
                <a:lnTo>
                  <a:pt x="280" y="2105"/>
                </a:lnTo>
                <a:lnTo>
                  <a:pt x="293" y="2106"/>
                </a:lnTo>
                <a:lnTo>
                  <a:pt x="307" y="2107"/>
                </a:lnTo>
                <a:lnTo>
                  <a:pt x="319" y="2109"/>
                </a:lnTo>
                <a:lnTo>
                  <a:pt x="331" y="2112"/>
                </a:lnTo>
                <a:lnTo>
                  <a:pt x="331" y="2112"/>
                </a:lnTo>
                <a:lnTo>
                  <a:pt x="338" y="2115"/>
                </a:lnTo>
                <a:lnTo>
                  <a:pt x="343" y="2118"/>
                </a:lnTo>
                <a:lnTo>
                  <a:pt x="346" y="2121"/>
                </a:lnTo>
                <a:lnTo>
                  <a:pt x="347" y="2124"/>
                </a:lnTo>
                <a:lnTo>
                  <a:pt x="347" y="2127"/>
                </a:lnTo>
                <a:lnTo>
                  <a:pt x="345" y="2131"/>
                </a:lnTo>
                <a:lnTo>
                  <a:pt x="339" y="2139"/>
                </a:lnTo>
                <a:lnTo>
                  <a:pt x="332" y="2149"/>
                </a:lnTo>
                <a:lnTo>
                  <a:pt x="325" y="2160"/>
                </a:lnTo>
                <a:lnTo>
                  <a:pt x="321" y="2166"/>
                </a:lnTo>
                <a:lnTo>
                  <a:pt x="319" y="2172"/>
                </a:lnTo>
                <a:lnTo>
                  <a:pt x="317" y="2178"/>
                </a:lnTo>
                <a:lnTo>
                  <a:pt x="317" y="2185"/>
                </a:lnTo>
                <a:lnTo>
                  <a:pt x="317" y="2185"/>
                </a:lnTo>
                <a:lnTo>
                  <a:pt x="317" y="2191"/>
                </a:lnTo>
                <a:lnTo>
                  <a:pt x="319" y="2197"/>
                </a:lnTo>
                <a:lnTo>
                  <a:pt x="321" y="2202"/>
                </a:lnTo>
                <a:lnTo>
                  <a:pt x="324" y="2207"/>
                </a:lnTo>
                <a:lnTo>
                  <a:pt x="328" y="2212"/>
                </a:lnTo>
                <a:lnTo>
                  <a:pt x="333" y="2217"/>
                </a:lnTo>
                <a:lnTo>
                  <a:pt x="346" y="2227"/>
                </a:lnTo>
                <a:lnTo>
                  <a:pt x="361" y="2237"/>
                </a:lnTo>
                <a:lnTo>
                  <a:pt x="377" y="2246"/>
                </a:lnTo>
                <a:lnTo>
                  <a:pt x="397" y="2255"/>
                </a:lnTo>
                <a:lnTo>
                  <a:pt x="416" y="2263"/>
                </a:lnTo>
                <a:lnTo>
                  <a:pt x="458" y="2279"/>
                </a:lnTo>
                <a:lnTo>
                  <a:pt x="500" y="2293"/>
                </a:lnTo>
                <a:lnTo>
                  <a:pt x="571" y="2314"/>
                </a:lnTo>
                <a:lnTo>
                  <a:pt x="571" y="2314"/>
                </a:lnTo>
                <a:lnTo>
                  <a:pt x="579" y="2318"/>
                </a:lnTo>
                <a:lnTo>
                  <a:pt x="585" y="2322"/>
                </a:lnTo>
                <a:lnTo>
                  <a:pt x="588" y="2328"/>
                </a:lnTo>
                <a:lnTo>
                  <a:pt x="590" y="2333"/>
                </a:lnTo>
                <a:lnTo>
                  <a:pt x="590" y="2337"/>
                </a:lnTo>
                <a:lnTo>
                  <a:pt x="588" y="2341"/>
                </a:lnTo>
                <a:lnTo>
                  <a:pt x="585" y="2343"/>
                </a:lnTo>
                <a:lnTo>
                  <a:pt x="581" y="2344"/>
                </a:lnTo>
                <a:lnTo>
                  <a:pt x="581" y="2344"/>
                </a:lnTo>
                <a:lnTo>
                  <a:pt x="556" y="2343"/>
                </a:lnTo>
                <a:lnTo>
                  <a:pt x="532" y="2340"/>
                </a:lnTo>
                <a:lnTo>
                  <a:pt x="509" y="2337"/>
                </a:lnTo>
                <a:lnTo>
                  <a:pt x="488" y="2332"/>
                </a:lnTo>
                <a:lnTo>
                  <a:pt x="467" y="2327"/>
                </a:lnTo>
                <a:lnTo>
                  <a:pt x="448" y="2320"/>
                </a:lnTo>
                <a:lnTo>
                  <a:pt x="429" y="2314"/>
                </a:lnTo>
                <a:lnTo>
                  <a:pt x="412" y="2308"/>
                </a:lnTo>
                <a:lnTo>
                  <a:pt x="380" y="2295"/>
                </a:lnTo>
                <a:lnTo>
                  <a:pt x="352" y="2283"/>
                </a:lnTo>
                <a:lnTo>
                  <a:pt x="327" y="2271"/>
                </a:lnTo>
                <a:lnTo>
                  <a:pt x="316" y="2267"/>
                </a:lnTo>
                <a:lnTo>
                  <a:pt x="305" y="2263"/>
                </a:lnTo>
                <a:lnTo>
                  <a:pt x="305" y="2263"/>
                </a:lnTo>
                <a:lnTo>
                  <a:pt x="286" y="2258"/>
                </a:lnTo>
                <a:lnTo>
                  <a:pt x="268" y="2254"/>
                </a:lnTo>
                <a:lnTo>
                  <a:pt x="253" y="2251"/>
                </a:lnTo>
                <a:lnTo>
                  <a:pt x="237" y="2249"/>
                </a:lnTo>
                <a:lnTo>
                  <a:pt x="224" y="2248"/>
                </a:lnTo>
                <a:lnTo>
                  <a:pt x="213" y="2249"/>
                </a:lnTo>
                <a:lnTo>
                  <a:pt x="202" y="2250"/>
                </a:lnTo>
                <a:lnTo>
                  <a:pt x="192" y="2252"/>
                </a:lnTo>
                <a:lnTo>
                  <a:pt x="185" y="2256"/>
                </a:lnTo>
                <a:lnTo>
                  <a:pt x="178" y="2260"/>
                </a:lnTo>
                <a:lnTo>
                  <a:pt x="172" y="2265"/>
                </a:lnTo>
                <a:lnTo>
                  <a:pt x="167" y="2271"/>
                </a:lnTo>
                <a:lnTo>
                  <a:pt x="163" y="2277"/>
                </a:lnTo>
                <a:lnTo>
                  <a:pt x="160" y="2286"/>
                </a:lnTo>
                <a:lnTo>
                  <a:pt x="156" y="2294"/>
                </a:lnTo>
                <a:lnTo>
                  <a:pt x="155" y="2303"/>
                </a:lnTo>
                <a:lnTo>
                  <a:pt x="155" y="2303"/>
                </a:lnTo>
                <a:lnTo>
                  <a:pt x="154" y="2306"/>
                </a:lnTo>
                <a:lnTo>
                  <a:pt x="152" y="2309"/>
                </a:lnTo>
                <a:lnTo>
                  <a:pt x="150" y="2312"/>
                </a:lnTo>
                <a:lnTo>
                  <a:pt x="147" y="2314"/>
                </a:lnTo>
                <a:lnTo>
                  <a:pt x="140" y="2318"/>
                </a:lnTo>
                <a:lnTo>
                  <a:pt x="132" y="2323"/>
                </a:lnTo>
                <a:lnTo>
                  <a:pt x="109" y="2333"/>
                </a:lnTo>
                <a:lnTo>
                  <a:pt x="97" y="2339"/>
                </a:lnTo>
                <a:lnTo>
                  <a:pt x="84" y="2347"/>
                </a:lnTo>
                <a:lnTo>
                  <a:pt x="71" y="2357"/>
                </a:lnTo>
                <a:lnTo>
                  <a:pt x="57" y="2371"/>
                </a:lnTo>
                <a:lnTo>
                  <a:pt x="51" y="2378"/>
                </a:lnTo>
                <a:lnTo>
                  <a:pt x="45" y="2386"/>
                </a:lnTo>
                <a:lnTo>
                  <a:pt x="39" y="2396"/>
                </a:lnTo>
                <a:lnTo>
                  <a:pt x="33" y="2406"/>
                </a:lnTo>
                <a:lnTo>
                  <a:pt x="28" y="2418"/>
                </a:lnTo>
                <a:lnTo>
                  <a:pt x="22" y="2430"/>
                </a:lnTo>
                <a:lnTo>
                  <a:pt x="17" y="2444"/>
                </a:lnTo>
                <a:lnTo>
                  <a:pt x="13" y="2458"/>
                </a:lnTo>
                <a:lnTo>
                  <a:pt x="9" y="2475"/>
                </a:lnTo>
                <a:lnTo>
                  <a:pt x="6" y="2492"/>
                </a:lnTo>
                <a:lnTo>
                  <a:pt x="3" y="2512"/>
                </a:lnTo>
                <a:lnTo>
                  <a:pt x="0" y="2532"/>
                </a:lnTo>
                <a:lnTo>
                  <a:pt x="0" y="2532"/>
                </a:lnTo>
                <a:lnTo>
                  <a:pt x="1" y="2533"/>
                </a:lnTo>
                <a:lnTo>
                  <a:pt x="2" y="2534"/>
                </a:lnTo>
                <a:lnTo>
                  <a:pt x="6" y="2532"/>
                </a:lnTo>
                <a:lnTo>
                  <a:pt x="12" y="2527"/>
                </a:lnTo>
                <a:lnTo>
                  <a:pt x="20" y="2519"/>
                </a:lnTo>
                <a:lnTo>
                  <a:pt x="43" y="2496"/>
                </a:lnTo>
                <a:lnTo>
                  <a:pt x="69" y="2472"/>
                </a:lnTo>
                <a:lnTo>
                  <a:pt x="82" y="2459"/>
                </a:lnTo>
                <a:lnTo>
                  <a:pt x="95" y="2448"/>
                </a:lnTo>
                <a:lnTo>
                  <a:pt x="107" y="2439"/>
                </a:lnTo>
                <a:lnTo>
                  <a:pt x="119" y="2432"/>
                </a:lnTo>
                <a:lnTo>
                  <a:pt x="124" y="2429"/>
                </a:lnTo>
                <a:lnTo>
                  <a:pt x="129" y="2428"/>
                </a:lnTo>
                <a:lnTo>
                  <a:pt x="133" y="2427"/>
                </a:lnTo>
                <a:lnTo>
                  <a:pt x="137" y="2427"/>
                </a:lnTo>
                <a:lnTo>
                  <a:pt x="140" y="2429"/>
                </a:lnTo>
                <a:lnTo>
                  <a:pt x="143" y="2431"/>
                </a:lnTo>
                <a:lnTo>
                  <a:pt x="144" y="2435"/>
                </a:lnTo>
                <a:lnTo>
                  <a:pt x="146" y="2439"/>
                </a:lnTo>
                <a:lnTo>
                  <a:pt x="146" y="2439"/>
                </a:lnTo>
                <a:lnTo>
                  <a:pt x="149" y="2455"/>
                </a:lnTo>
                <a:lnTo>
                  <a:pt x="154" y="2470"/>
                </a:lnTo>
                <a:lnTo>
                  <a:pt x="162" y="2483"/>
                </a:lnTo>
                <a:lnTo>
                  <a:pt x="170" y="2493"/>
                </a:lnTo>
                <a:lnTo>
                  <a:pt x="179" y="2503"/>
                </a:lnTo>
                <a:lnTo>
                  <a:pt x="189" y="2511"/>
                </a:lnTo>
                <a:lnTo>
                  <a:pt x="200" y="2518"/>
                </a:lnTo>
                <a:lnTo>
                  <a:pt x="214" y="2523"/>
                </a:lnTo>
                <a:lnTo>
                  <a:pt x="227" y="2527"/>
                </a:lnTo>
                <a:lnTo>
                  <a:pt x="241" y="2529"/>
                </a:lnTo>
                <a:lnTo>
                  <a:pt x="256" y="2531"/>
                </a:lnTo>
                <a:lnTo>
                  <a:pt x="271" y="2532"/>
                </a:lnTo>
                <a:lnTo>
                  <a:pt x="287" y="2533"/>
                </a:lnTo>
                <a:lnTo>
                  <a:pt x="304" y="2532"/>
                </a:lnTo>
                <a:lnTo>
                  <a:pt x="337" y="2530"/>
                </a:lnTo>
                <a:lnTo>
                  <a:pt x="371" y="2526"/>
                </a:lnTo>
                <a:lnTo>
                  <a:pt x="405" y="2521"/>
                </a:lnTo>
                <a:lnTo>
                  <a:pt x="438" y="2516"/>
                </a:lnTo>
                <a:lnTo>
                  <a:pt x="468" y="2512"/>
                </a:lnTo>
                <a:lnTo>
                  <a:pt x="496" y="2510"/>
                </a:lnTo>
                <a:lnTo>
                  <a:pt x="509" y="2509"/>
                </a:lnTo>
                <a:lnTo>
                  <a:pt x="520" y="2509"/>
                </a:lnTo>
                <a:lnTo>
                  <a:pt x="531" y="2510"/>
                </a:lnTo>
                <a:lnTo>
                  <a:pt x="541" y="2512"/>
                </a:lnTo>
                <a:lnTo>
                  <a:pt x="549" y="2515"/>
                </a:lnTo>
                <a:lnTo>
                  <a:pt x="555" y="2519"/>
                </a:lnTo>
                <a:lnTo>
                  <a:pt x="555" y="2519"/>
                </a:lnTo>
                <a:lnTo>
                  <a:pt x="558" y="2522"/>
                </a:lnTo>
                <a:lnTo>
                  <a:pt x="559" y="2524"/>
                </a:lnTo>
                <a:lnTo>
                  <a:pt x="557" y="2527"/>
                </a:lnTo>
                <a:lnTo>
                  <a:pt x="554" y="2529"/>
                </a:lnTo>
                <a:lnTo>
                  <a:pt x="549" y="2532"/>
                </a:lnTo>
                <a:lnTo>
                  <a:pt x="542" y="2534"/>
                </a:lnTo>
                <a:lnTo>
                  <a:pt x="525" y="2538"/>
                </a:lnTo>
                <a:lnTo>
                  <a:pt x="475" y="2547"/>
                </a:lnTo>
                <a:lnTo>
                  <a:pt x="447" y="2553"/>
                </a:lnTo>
                <a:lnTo>
                  <a:pt x="417" y="2559"/>
                </a:lnTo>
                <a:lnTo>
                  <a:pt x="388" y="2566"/>
                </a:lnTo>
                <a:lnTo>
                  <a:pt x="359" y="2574"/>
                </a:lnTo>
                <a:lnTo>
                  <a:pt x="346" y="2578"/>
                </a:lnTo>
                <a:lnTo>
                  <a:pt x="333" y="2583"/>
                </a:lnTo>
                <a:lnTo>
                  <a:pt x="322" y="2588"/>
                </a:lnTo>
                <a:lnTo>
                  <a:pt x="312" y="2594"/>
                </a:lnTo>
                <a:lnTo>
                  <a:pt x="303" y="2601"/>
                </a:lnTo>
                <a:lnTo>
                  <a:pt x="294" y="2607"/>
                </a:lnTo>
                <a:lnTo>
                  <a:pt x="288" y="2614"/>
                </a:lnTo>
                <a:lnTo>
                  <a:pt x="284" y="2622"/>
                </a:lnTo>
                <a:lnTo>
                  <a:pt x="282" y="2630"/>
                </a:lnTo>
                <a:lnTo>
                  <a:pt x="281" y="2638"/>
                </a:lnTo>
                <a:lnTo>
                  <a:pt x="283" y="2649"/>
                </a:lnTo>
                <a:lnTo>
                  <a:pt x="287" y="2659"/>
                </a:lnTo>
                <a:lnTo>
                  <a:pt x="287" y="2659"/>
                </a:lnTo>
                <a:lnTo>
                  <a:pt x="287" y="2660"/>
                </a:lnTo>
                <a:lnTo>
                  <a:pt x="286" y="2663"/>
                </a:lnTo>
                <a:lnTo>
                  <a:pt x="283" y="2669"/>
                </a:lnTo>
                <a:lnTo>
                  <a:pt x="268" y="2686"/>
                </a:lnTo>
                <a:lnTo>
                  <a:pt x="258" y="2699"/>
                </a:lnTo>
                <a:lnTo>
                  <a:pt x="247" y="2712"/>
                </a:lnTo>
                <a:lnTo>
                  <a:pt x="237" y="2727"/>
                </a:lnTo>
                <a:lnTo>
                  <a:pt x="228" y="2744"/>
                </a:lnTo>
                <a:lnTo>
                  <a:pt x="220" y="2761"/>
                </a:lnTo>
                <a:lnTo>
                  <a:pt x="217" y="2770"/>
                </a:lnTo>
                <a:lnTo>
                  <a:pt x="214" y="2781"/>
                </a:lnTo>
                <a:lnTo>
                  <a:pt x="213" y="2790"/>
                </a:lnTo>
                <a:lnTo>
                  <a:pt x="212" y="2801"/>
                </a:lnTo>
                <a:lnTo>
                  <a:pt x="212" y="2811"/>
                </a:lnTo>
                <a:lnTo>
                  <a:pt x="213" y="2821"/>
                </a:lnTo>
                <a:lnTo>
                  <a:pt x="215" y="2833"/>
                </a:lnTo>
                <a:lnTo>
                  <a:pt x="219" y="2844"/>
                </a:lnTo>
                <a:lnTo>
                  <a:pt x="223" y="2856"/>
                </a:lnTo>
                <a:lnTo>
                  <a:pt x="229" y="2867"/>
                </a:lnTo>
                <a:lnTo>
                  <a:pt x="237" y="2880"/>
                </a:lnTo>
                <a:lnTo>
                  <a:pt x="246" y="2892"/>
                </a:lnTo>
                <a:lnTo>
                  <a:pt x="257" y="2904"/>
                </a:lnTo>
                <a:lnTo>
                  <a:pt x="270" y="2917"/>
                </a:lnTo>
                <a:lnTo>
                  <a:pt x="270" y="2917"/>
                </a:lnTo>
                <a:lnTo>
                  <a:pt x="270" y="2910"/>
                </a:lnTo>
                <a:lnTo>
                  <a:pt x="272" y="2893"/>
                </a:lnTo>
                <a:lnTo>
                  <a:pt x="277" y="2868"/>
                </a:lnTo>
                <a:lnTo>
                  <a:pt x="281" y="2855"/>
                </a:lnTo>
                <a:lnTo>
                  <a:pt x="285" y="2841"/>
                </a:lnTo>
                <a:lnTo>
                  <a:pt x="291" y="2828"/>
                </a:lnTo>
                <a:lnTo>
                  <a:pt x="298" y="2814"/>
                </a:lnTo>
                <a:lnTo>
                  <a:pt x="306" y="2801"/>
                </a:lnTo>
                <a:lnTo>
                  <a:pt x="315" y="2791"/>
                </a:lnTo>
                <a:lnTo>
                  <a:pt x="321" y="2786"/>
                </a:lnTo>
                <a:lnTo>
                  <a:pt x="326" y="2782"/>
                </a:lnTo>
                <a:lnTo>
                  <a:pt x="332" y="2777"/>
                </a:lnTo>
                <a:lnTo>
                  <a:pt x="339" y="2774"/>
                </a:lnTo>
                <a:lnTo>
                  <a:pt x="346" y="2772"/>
                </a:lnTo>
                <a:lnTo>
                  <a:pt x="354" y="2770"/>
                </a:lnTo>
                <a:lnTo>
                  <a:pt x="361" y="2770"/>
                </a:lnTo>
                <a:lnTo>
                  <a:pt x="369" y="2770"/>
                </a:lnTo>
                <a:lnTo>
                  <a:pt x="369" y="2770"/>
                </a:lnTo>
                <a:lnTo>
                  <a:pt x="383" y="2771"/>
                </a:lnTo>
                <a:lnTo>
                  <a:pt x="396" y="2774"/>
                </a:lnTo>
                <a:lnTo>
                  <a:pt x="408" y="2778"/>
                </a:lnTo>
                <a:lnTo>
                  <a:pt x="420" y="2783"/>
                </a:lnTo>
                <a:lnTo>
                  <a:pt x="443" y="2793"/>
                </a:lnTo>
                <a:lnTo>
                  <a:pt x="454" y="2797"/>
                </a:lnTo>
                <a:lnTo>
                  <a:pt x="465" y="2801"/>
                </a:lnTo>
                <a:lnTo>
                  <a:pt x="476" y="2804"/>
                </a:lnTo>
                <a:lnTo>
                  <a:pt x="489" y="2806"/>
                </a:lnTo>
                <a:lnTo>
                  <a:pt x="501" y="2807"/>
                </a:lnTo>
                <a:lnTo>
                  <a:pt x="514" y="2805"/>
                </a:lnTo>
                <a:lnTo>
                  <a:pt x="528" y="2802"/>
                </a:lnTo>
                <a:lnTo>
                  <a:pt x="542" y="2796"/>
                </a:lnTo>
                <a:lnTo>
                  <a:pt x="558" y="2788"/>
                </a:lnTo>
                <a:lnTo>
                  <a:pt x="575" y="2775"/>
                </a:lnTo>
                <a:lnTo>
                  <a:pt x="575" y="2775"/>
                </a:lnTo>
                <a:lnTo>
                  <a:pt x="588" y="2766"/>
                </a:lnTo>
                <a:lnTo>
                  <a:pt x="600" y="2755"/>
                </a:lnTo>
                <a:lnTo>
                  <a:pt x="614" y="2743"/>
                </a:lnTo>
                <a:lnTo>
                  <a:pt x="630" y="2730"/>
                </a:lnTo>
                <a:lnTo>
                  <a:pt x="651" y="2718"/>
                </a:lnTo>
                <a:lnTo>
                  <a:pt x="664" y="2711"/>
                </a:lnTo>
                <a:lnTo>
                  <a:pt x="678" y="2705"/>
                </a:lnTo>
                <a:lnTo>
                  <a:pt x="693" y="2698"/>
                </a:lnTo>
                <a:lnTo>
                  <a:pt x="712" y="2692"/>
                </a:lnTo>
                <a:lnTo>
                  <a:pt x="732" y="2684"/>
                </a:lnTo>
                <a:lnTo>
                  <a:pt x="754" y="2677"/>
                </a:lnTo>
                <a:lnTo>
                  <a:pt x="754" y="2677"/>
                </a:lnTo>
                <a:lnTo>
                  <a:pt x="756" y="2677"/>
                </a:lnTo>
                <a:lnTo>
                  <a:pt x="757" y="2678"/>
                </a:lnTo>
                <a:lnTo>
                  <a:pt x="760" y="2683"/>
                </a:lnTo>
                <a:lnTo>
                  <a:pt x="762" y="2692"/>
                </a:lnTo>
                <a:lnTo>
                  <a:pt x="765" y="2701"/>
                </a:lnTo>
                <a:lnTo>
                  <a:pt x="768" y="2713"/>
                </a:lnTo>
                <a:lnTo>
                  <a:pt x="772" y="2725"/>
                </a:lnTo>
                <a:lnTo>
                  <a:pt x="777" y="2738"/>
                </a:lnTo>
                <a:lnTo>
                  <a:pt x="783" y="2750"/>
                </a:lnTo>
                <a:lnTo>
                  <a:pt x="783" y="2750"/>
                </a:lnTo>
                <a:lnTo>
                  <a:pt x="786" y="2753"/>
                </a:lnTo>
                <a:lnTo>
                  <a:pt x="789" y="2755"/>
                </a:lnTo>
                <a:lnTo>
                  <a:pt x="797" y="2760"/>
                </a:lnTo>
                <a:lnTo>
                  <a:pt x="805" y="2763"/>
                </a:lnTo>
                <a:lnTo>
                  <a:pt x="813" y="2767"/>
                </a:lnTo>
                <a:lnTo>
                  <a:pt x="821" y="2770"/>
                </a:lnTo>
                <a:lnTo>
                  <a:pt x="827" y="2773"/>
                </a:lnTo>
                <a:lnTo>
                  <a:pt x="830" y="2775"/>
                </a:lnTo>
                <a:lnTo>
                  <a:pt x="831" y="2777"/>
                </a:lnTo>
                <a:lnTo>
                  <a:pt x="833" y="2781"/>
                </a:lnTo>
                <a:lnTo>
                  <a:pt x="833" y="2784"/>
                </a:lnTo>
                <a:lnTo>
                  <a:pt x="833" y="2784"/>
                </a:lnTo>
                <a:lnTo>
                  <a:pt x="832" y="2794"/>
                </a:lnTo>
                <a:lnTo>
                  <a:pt x="830" y="2805"/>
                </a:lnTo>
                <a:lnTo>
                  <a:pt x="826" y="2815"/>
                </a:lnTo>
                <a:lnTo>
                  <a:pt x="822" y="2824"/>
                </a:lnTo>
                <a:lnTo>
                  <a:pt x="817" y="2834"/>
                </a:lnTo>
                <a:lnTo>
                  <a:pt x="811" y="2843"/>
                </a:lnTo>
                <a:lnTo>
                  <a:pt x="798" y="2859"/>
                </a:lnTo>
                <a:lnTo>
                  <a:pt x="784" y="2873"/>
                </a:lnTo>
                <a:lnTo>
                  <a:pt x="773" y="2884"/>
                </a:lnTo>
                <a:lnTo>
                  <a:pt x="765" y="2890"/>
                </a:lnTo>
                <a:lnTo>
                  <a:pt x="763" y="2893"/>
                </a:lnTo>
                <a:lnTo>
                  <a:pt x="763" y="2893"/>
                </a:lnTo>
                <a:lnTo>
                  <a:pt x="767" y="2896"/>
                </a:lnTo>
                <a:lnTo>
                  <a:pt x="778" y="2899"/>
                </a:lnTo>
                <a:lnTo>
                  <a:pt x="785" y="2900"/>
                </a:lnTo>
                <a:lnTo>
                  <a:pt x="794" y="2901"/>
                </a:lnTo>
                <a:lnTo>
                  <a:pt x="804" y="2901"/>
                </a:lnTo>
                <a:lnTo>
                  <a:pt x="815" y="2899"/>
                </a:lnTo>
                <a:lnTo>
                  <a:pt x="826" y="2896"/>
                </a:lnTo>
                <a:lnTo>
                  <a:pt x="839" y="2891"/>
                </a:lnTo>
                <a:lnTo>
                  <a:pt x="852" y="2884"/>
                </a:lnTo>
                <a:lnTo>
                  <a:pt x="865" y="2874"/>
                </a:lnTo>
                <a:lnTo>
                  <a:pt x="879" y="2860"/>
                </a:lnTo>
                <a:lnTo>
                  <a:pt x="894" y="2844"/>
                </a:lnTo>
                <a:lnTo>
                  <a:pt x="907" y="2824"/>
                </a:lnTo>
                <a:lnTo>
                  <a:pt x="921" y="2801"/>
                </a:lnTo>
                <a:lnTo>
                  <a:pt x="921" y="2801"/>
                </a:lnTo>
                <a:lnTo>
                  <a:pt x="924" y="2797"/>
                </a:lnTo>
                <a:lnTo>
                  <a:pt x="927" y="2793"/>
                </a:lnTo>
                <a:lnTo>
                  <a:pt x="930" y="2791"/>
                </a:lnTo>
                <a:lnTo>
                  <a:pt x="935" y="2789"/>
                </a:lnTo>
                <a:lnTo>
                  <a:pt x="939" y="2788"/>
                </a:lnTo>
                <a:lnTo>
                  <a:pt x="943" y="2788"/>
                </a:lnTo>
                <a:lnTo>
                  <a:pt x="951" y="2788"/>
                </a:lnTo>
                <a:lnTo>
                  <a:pt x="970" y="2790"/>
                </a:lnTo>
                <a:lnTo>
                  <a:pt x="982" y="2790"/>
                </a:lnTo>
                <a:lnTo>
                  <a:pt x="987" y="2789"/>
                </a:lnTo>
                <a:lnTo>
                  <a:pt x="992" y="2788"/>
                </a:lnTo>
                <a:lnTo>
                  <a:pt x="992" y="2788"/>
                </a:lnTo>
                <a:lnTo>
                  <a:pt x="1010" y="2782"/>
                </a:lnTo>
                <a:lnTo>
                  <a:pt x="1017" y="2777"/>
                </a:lnTo>
                <a:lnTo>
                  <a:pt x="1024" y="2773"/>
                </a:lnTo>
                <a:lnTo>
                  <a:pt x="1029" y="2770"/>
                </a:lnTo>
                <a:lnTo>
                  <a:pt x="1033" y="2766"/>
                </a:lnTo>
                <a:lnTo>
                  <a:pt x="1036" y="2762"/>
                </a:lnTo>
                <a:lnTo>
                  <a:pt x="1039" y="2757"/>
                </a:lnTo>
                <a:lnTo>
                  <a:pt x="1041" y="2753"/>
                </a:lnTo>
                <a:lnTo>
                  <a:pt x="1042" y="2748"/>
                </a:lnTo>
                <a:lnTo>
                  <a:pt x="1043" y="2739"/>
                </a:lnTo>
                <a:lnTo>
                  <a:pt x="1042" y="2728"/>
                </a:lnTo>
                <a:lnTo>
                  <a:pt x="1040" y="2718"/>
                </a:lnTo>
                <a:lnTo>
                  <a:pt x="1035" y="2696"/>
                </a:lnTo>
                <a:lnTo>
                  <a:pt x="1034" y="2685"/>
                </a:lnTo>
                <a:lnTo>
                  <a:pt x="1033" y="2673"/>
                </a:lnTo>
                <a:lnTo>
                  <a:pt x="1034" y="2662"/>
                </a:lnTo>
                <a:lnTo>
                  <a:pt x="1036" y="2657"/>
                </a:lnTo>
                <a:lnTo>
                  <a:pt x="1038" y="2651"/>
                </a:lnTo>
                <a:lnTo>
                  <a:pt x="1040" y="2646"/>
                </a:lnTo>
                <a:lnTo>
                  <a:pt x="1044" y="2640"/>
                </a:lnTo>
                <a:lnTo>
                  <a:pt x="1048" y="2634"/>
                </a:lnTo>
                <a:lnTo>
                  <a:pt x="1054" y="2629"/>
                </a:lnTo>
                <a:lnTo>
                  <a:pt x="1054" y="2629"/>
                </a:lnTo>
                <a:lnTo>
                  <a:pt x="1069" y="2616"/>
                </a:lnTo>
                <a:lnTo>
                  <a:pt x="1084" y="2603"/>
                </a:lnTo>
                <a:lnTo>
                  <a:pt x="1099" y="2591"/>
                </a:lnTo>
                <a:lnTo>
                  <a:pt x="1115" y="2579"/>
                </a:lnTo>
                <a:lnTo>
                  <a:pt x="1146" y="2559"/>
                </a:lnTo>
                <a:lnTo>
                  <a:pt x="1178" y="2540"/>
                </a:lnTo>
                <a:lnTo>
                  <a:pt x="1210" y="2524"/>
                </a:lnTo>
                <a:lnTo>
                  <a:pt x="1241" y="2509"/>
                </a:lnTo>
                <a:lnTo>
                  <a:pt x="1273" y="2494"/>
                </a:lnTo>
                <a:lnTo>
                  <a:pt x="1304" y="2482"/>
                </a:lnTo>
                <a:lnTo>
                  <a:pt x="1304" y="2482"/>
                </a:lnTo>
                <a:lnTo>
                  <a:pt x="1303" y="2486"/>
                </a:lnTo>
                <a:lnTo>
                  <a:pt x="1299" y="2498"/>
                </a:lnTo>
                <a:lnTo>
                  <a:pt x="1294" y="2518"/>
                </a:lnTo>
                <a:lnTo>
                  <a:pt x="1291" y="2541"/>
                </a:lnTo>
                <a:lnTo>
                  <a:pt x="1290" y="2556"/>
                </a:lnTo>
                <a:lnTo>
                  <a:pt x="1290" y="2570"/>
                </a:lnTo>
                <a:lnTo>
                  <a:pt x="1291" y="2585"/>
                </a:lnTo>
                <a:lnTo>
                  <a:pt x="1292" y="2602"/>
                </a:lnTo>
                <a:lnTo>
                  <a:pt x="1296" y="2618"/>
                </a:lnTo>
                <a:lnTo>
                  <a:pt x="1301" y="2634"/>
                </a:lnTo>
                <a:lnTo>
                  <a:pt x="1306" y="2652"/>
                </a:lnTo>
                <a:lnTo>
                  <a:pt x="1314" y="2669"/>
                </a:lnTo>
                <a:lnTo>
                  <a:pt x="1640" y="2585"/>
                </a:lnTo>
                <a:lnTo>
                  <a:pt x="1640" y="2585"/>
                </a:lnTo>
                <a:lnTo>
                  <a:pt x="1634" y="2569"/>
                </a:lnTo>
                <a:lnTo>
                  <a:pt x="1631" y="2553"/>
                </a:lnTo>
                <a:lnTo>
                  <a:pt x="1629" y="2535"/>
                </a:lnTo>
                <a:lnTo>
                  <a:pt x="1629" y="2518"/>
                </a:lnTo>
                <a:lnTo>
                  <a:pt x="1631" y="2500"/>
                </a:lnTo>
                <a:lnTo>
                  <a:pt x="1634" y="2483"/>
                </a:lnTo>
                <a:lnTo>
                  <a:pt x="1638" y="2466"/>
                </a:lnTo>
                <a:lnTo>
                  <a:pt x="1644" y="2447"/>
                </a:lnTo>
                <a:lnTo>
                  <a:pt x="1651" y="2430"/>
                </a:lnTo>
                <a:lnTo>
                  <a:pt x="1660" y="2411"/>
                </a:lnTo>
                <a:lnTo>
                  <a:pt x="1669" y="2394"/>
                </a:lnTo>
                <a:lnTo>
                  <a:pt x="1679" y="2377"/>
                </a:lnTo>
                <a:lnTo>
                  <a:pt x="1689" y="2359"/>
                </a:lnTo>
                <a:lnTo>
                  <a:pt x="1701" y="2342"/>
                </a:lnTo>
                <a:lnTo>
                  <a:pt x="1725" y="2310"/>
                </a:lnTo>
                <a:lnTo>
                  <a:pt x="1725" y="2310"/>
                </a:lnTo>
                <a:lnTo>
                  <a:pt x="1726" y="2309"/>
                </a:lnTo>
                <a:lnTo>
                  <a:pt x="1727" y="2309"/>
                </a:lnTo>
                <a:lnTo>
                  <a:pt x="1728" y="2313"/>
                </a:lnTo>
                <a:lnTo>
                  <a:pt x="1725" y="2335"/>
                </a:lnTo>
                <a:lnTo>
                  <a:pt x="1721" y="2368"/>
                </a:lnTo>
                <a:lnTo>
                  <a:pt x="1715" y="2410"/>
                </a:lnTo>
                <a:lnTo>
                  <a:pt x="1713" y="2433"/>
                </a:lnTo>
                <a:lnTo>
                  <a:pt x="1711" y="2456"/>
                </a:lnTo>
                <a:lnTo>
                  <a:pt x="1711" y="2478"/>
                </a:lnTo>
                <a:lnTo>
                  <a:pt x="1711" y="2499"/>
                </a:lnTo>
                <a:lnTo>
                  <a:pt x="1713" y="2519"/>
                </a:lnTo>
                <a:lnTo>
                  <a:pt x="1716" y="2536"/>
                </a:lnTo>
                <a:lnTo>
                  <a:pt x="1719" y="2544"/>
                </a:lnTo>
                <a:lnTo>
                  <a:pt x="1722" y="2551"/>
                </a:lnTo>
                <a:lnTo>
                  <a:pt x="1726" y="2557"/>
                </a:lnTo>
                <a:lnTo>
                  <a:pt x="1730" y="2562"/>
                </a:lnTo>
                <a:lnTo>
                  <a:pt x="2050" y="2479"/>
                </a:lnTo>
                <a:lnTo>
                  <a:pt x="2050" y="2479"/>
                </a:lnTo>
                <a:lnTo>
                  <a:pt x="2046" y="2469"/>
                </a:lnTo>
                <a:lnTo>
                  <a:pt x="2043" y="2457"/>
                </a:lnTo>
                <a:lnTo>
                  <a:pt x="2041" y="2446"/>
                </a:lnTo>
                <a:lnTo>
                  <a:pt x="2039" y="2434"/>
                </a:lnTo>
                <a:lnTo>
                  <a:pt x="2038" y="2422"/>
                </a:lnTo>
                <a:lnTo>
                  <a:pt x="2038" y="2409"/>
                </a:lnTo>
                <a:lnTo>
                  <a:pt x="2039" y="2383"/>
                </a:lnTo>
                <a:lnTo>
                  <a:pt x="2043" y="2356"/>
                </a:lnTo>
                <a:lnTo>
                  <a:pt x="2048" y="2330"/>
                </a:lnTo>
                <a:lnTo>
                  <a:pt x="2055" y="2303"/>
                </a:lnTo>
                <a:lnTo>
                  <a:pt x="2064" y="2279"/>
                </a:lnTo>
                <a:lnTo>
                  <a:pt x="2064" y="2279"/>
                </a:lnTo>
                <a:lnTo>
                  <a:pt x="2072" y="2306"/>
                </a:lnTo>
                <a:lnTo>
                  <a:pt x="2079" y="2335"/>
                </a:lnTo>
                <a:lnTo>
                  <a:pt x="2088" y="2362"/>
                </a:lnTo>
                <a:lnTo>
                  <a:pt x="2098" y="2390"/>
                </a:lnTo>
                <a:lnTo>
                  <a:pt x="2108" y="2417"/>
                </a:lnTo>
                <a:lnTo>
                  <a:pt x="2121" y="2443"/>
                </a:lnTo>
                <a:lnTo>
                  <a:pt x="2135" y="2469"/>
                </a:lnTo>
                <a:lnTo>
                  <a:pt x="2149" y="2494"/>
                </a:lnTo>
                <a:lnTo>
                  <a:pt x="2166" y="2519"/>
                </a:lnTo>
                <a:lnTo>
                  <a:pt x="2183" y="2541"/>
                </a:lnTo>
                <a:lnTo>
                  <a:pt x="2201" y="2563"/>
                </a:lnTo>
                <a:lnTo>
                  <a:pt x="2222" y="2583"/>
                </a:lnTo>
                <a:lnTo>
                  <a:pt x="2244" y="2603"/>
                </a:lnTo>
                <a:lnTo>
                  <a:pt x="2268" y="2619"/>
                </a:lnTo>
                <a:lnTo>
                  <a:pt x="2280" y="2627"/>
                </a:lnTo>
                <a:lnTo>
                  <a:pt x="2292" y="2634"/>
                </a:lnTo>
                <a:lnTo>
                  <a:pt x="2306" y="2641"/>
                </a:lnTo>
                <a:lnTo>
                  <a:pt x="2320" y="2648"/>
                </a:lnTo>
                <a:lnTo>
                  <a:pt x="2320" y="2648"/>
                </a:lnTo>
                <a:lnTo>
                  <a:pt x="2365" y="2667"/>
                </a:lnTo>
                <a:lnTo>
                  <a:pt x="2410" y="2685"/>
                </a:lnTo>
                <a:lnTo>
                  <a:pt x="2454" y="2702"/>
                </a:lnTo>
                <a:lnTo>
                  <a:pt x="2499" y="2718"/>
                </a:lnTo>
                <a:lnTo>
                  <a:pt x="2544" y="2733"/>
                </a:lnTo>
                <a:lnTo>
                  <a:pt x="2589" y="2749"/>
                </a:lnTo>
                <a:lnTo>
                  <a:pt x="2683" y="2778"/>
                </a:lnTo>
                <a:lnTo>
                  <a:pt x="2782" y="2807"/>
                </a:lnTo>
                <a:lnTo>
                  <a:pt x="2889" y="2838"/>
                </a:lnTo>
                <a:lnTo>
                  <a:pt x="3005" y="2872"/>
                </a:lnTo>
                <a:lnTo>
                  <a:pt x="3133" y="2908"/>
                </a:lnTo>
                <a:lnTo>
                  <a:pt x="3133" y="2908"/>
                </a:lnTo>
                <a:lnTo>
                  <a:pt x="3205" y="2931"/>
                </a:lnTo>
                <a:lnTo>
                  <a:pt x="3273" y="2954"/>
                </a:lnTo>
                <a:lnTo>
                  <a:pt x="3305" y="2966"/>
                </a:lnTo>
                <a:lnTo>
                  <a:pt x="3333" y="2977"/>
                </a:lnTo>
                <a:lnTo>
                  <a:pt x="3358" y="2987"/>
                </a:lnTo>
                <a:lnTo>
                  <a:pt x="3377" y="2996"/>
                </a:lnTo>
                <a:lnTo>
                  <a:pt x="3377" y="2996"/>
                </a:lnTo>
                <a:lnTo>
                  <a:pt x="3383" y="2999"/>
                </a:lnTo>
                <a:lnTo>
                  <a:pt x="3389" y="3003"/>
                </a:lnTo>
                <a:lnTo>
                  <a:pt x="3393" y="3006"/>
                </a:lnTo>
                <a:lnTo>
                  <a:pt x="3397" y="3011"/>
                </a:lnTo>
                <a:lnTo>
                  <a:pt x="3399" y="3015"/>
                </a:lnTo>
                <a:lnTo>
                  <a:pt x="3401" y="3020"/>
                </a:lnTo>
                <a:lnTo>
                  <a:pt x="3402" y="3024"/>
                </a:lnTo>
                <a:lnTo>
                  <a:pt x="3402" y="3028"/>
                </a:lnTo>
                <a:lnTo>
                  <a:pt x="3401" y="3037"/>
                </a:lnTo>
                <a:lnTo>
                  <a:pt x="3397" y="3046"/>
                </a:lnTo>
                <a:lnTo>
                  <a:pt x="3392" y="3055"/>
                </a:lnTo>
                <a:lnTo>
                  <a:pt x="3386" y="3064"/>
                </a:lnTo>
                <a:lnTo>
                  <a:pt x="3378" y="3072"/>
                </a:lnTo>
                <a:lnTo>
                  <a:pt x="3371" y="3080"/>
                </a:lnTo>
                <a:lnTo>
                  <a:pt x="3357" y="3092"/>
                </a:lnTo>
                <a:lnTo>
                  <a:pt x="3346" y="3102"/>
                </a:lnTo>
                <a:lnTo>
                  <a:pt x="3341" y="3105"/>
                </a:lnTo>
                <a:lnTo>
                  <a:pt x="3341" y="3105"/>
                </a:lnTo>
                <a:lnTo>
                  <a:pt x="3355" y="3113"/>
                </a:lnTo>
                <a:lnTo>
                  <a:pt x="3371" y="3121"/>
                </a:lnTo>
                <a:lnTo>
                  <a:pt x="3411" y="3139"/>
                </a:lnTo>
                <a:lnTo>
                  <a:pt x="3435" y="3152"/>
                </a:lnTo>
                <a:lnTo>
                  <a:pt x="3461" y="3167"/>
                </a:lnTo>
                <a:lnTo>
                  <a:pt x="3492" y="3186"/>
                </a:lnTo>
                <a:lnTo>
                  <a:pt x="3527" y="3211"/>
                </a:lnTo>
                <a:lnTo>
                  <a:pt x="3527" y="3211"/>
                </a:lnTo>
                <a:lnTo>
                  <a:pt x="3545" y="3226"/>
                </a:lnTo>
                <a:lnTo>
                  <a:pt x="3563" y="3244"/>
                </a:lnTo>
                <a:lnTo>
                  <a:pt x="3580" y="3263"/>
                </a:lnTo>
                <a:lnTo>
                  <a:pt x="3595" y="3284"/>
                </a:lnTo>
                <a:lnTo>
                  <a:pt x="3608" y="3305"/>
                </a:lnTo>
                <a:lnTo>
                  <a:pt x="3622" y="3329"/>
                </a:lnTo>
                <a:lnTo>
                  <a:pt x="3634" y="3352"/>
                </a:lnTo>
                <a:lnTo>
                  <a:pt x="3645" y="3378"/>
                </a:lnTo>
                <a:lnTo>
                  <a:pt x="3655" y="3404"/>
                </a:lnTo>
                <a:lnTo>
                  <a:pt x="3665" y="3432"/>
                </a:lnTo>
                <a:lnTo>
                  <a:pt x="3674" y="3460"/>
                </a:lnTo>
                <a:lnTo>
                  <a:pt x="3682" y="3489"/>
                </a:lnTo>
                <a:lnTo>
                  <a:pt x="3698" y="3549"/>
                </a:lnTo>
                <a:lnTo>
                  <a:pt x="3714" y="3612"/>
                </a:lnTo>
                <a:lnTo>
                  <a:pt x="3714" y="3612"/>
                </a:lnTo>
                <a:lnTo>
                  <a:pt x="3725" y="3662"/>
                </a:lnTo>
                <a:lnTo>
                  <a:pt x="3734" y="3715"/>
                </a:lnTo>
                <a:lnTo>
                  <a:pt x="3742" y="3768"/>
                </a:lnTo>
                <a:lnTo>
                  <a:pt x="3744" y="3795"/>
                </a:lnTo>
                <a:lnTo>
                  <a:pt x="3746" y="3819"/>
                </a:lnTo>
                <a:lnTo>
                  <a:pt x="3748" y="3844"/>
                </a:lnTo>
                <a:lnTo>
                  <a:pt x="3749" y="3867"/>
                </a:lnTo>
                <a:lnTo>
                  <a:pt x="3748" y="3889"/>
                </a:lnTo>
                <a:lnTo>
                  <a:pt x="3745" y="3909"/>
                </a:lnTo>
                <a:lnTo>
                  <a:pt x="3742" y="3928"/>
                </a:lnTo>
                <a:lnTo>
                  <a:pt x="3737" y="3944"/>
                </a:lnTo>
                <a:lnTo>
                  <a:pt x="3731" y="3957"/>
                </a:lnTo>
                <a:lnTo>
                  <a:pt x="3728" y="3963"/>
                </a:lnTo>
                <a:lnTo>
                  <a:pt x="3724" y="3969"/>
                </a:lnTo>
                <a:lnTo>
                  <a:pt x="3724" y="3969"/>
                </a:lnTo>
                <a:lnTo>
                  <a:pt x="3715" y="3979"/>
                </a:lnTo>
                <a:lnTo>
                  <a:pt x="3705" y="3989"/>
                </a:lnTo>
                <a:lnTo>
                  <a:pt x="3691" y="3998"/>
                </a:lnTo>
                <a:lnTo>
                  <a:pt x="3683" y="4003"/>
                </a:lnTo>
                <a:lnTo>
                  <a:pt x="3673" y="4008"/>
                </a:lnTo>
                <a:lnTo>
                  <a:pt x="3663" y="4014"/>
                </a:lnTo>
                <a:lnTo>
                  <a:pt x="3650" y="4019"/>
                </a:lnTo>
                <a:lnTo>
                  <a:pt x="3621" y="4028"/>
                </a:lnTo>
                <a:lnTo>
                  <a:pt x="3582" y="4038"/>
                </a:lnTo>
                <a:lnTo>
                  <a:pt x="3535" y="4048"/>
                </a:lnTo>
                <a:lnTo>
                  <a:pt x="3560" y="4171"/>
                </a:lnTo>
                <a:lnTo>
                  <a:pt x="3560" y="4171"/>
                </a:lnTo>
                <a:lnTo>
                  <a:pt x="3579" y="4172"/>
                </a:lnTo>
                <a:lnTo>
                  <a:pt x="3597" y="4172"/>
                </a:lnTo>
                <a:lnTo>
                  <a:pt x="3615" y="4171"/>
                </a:lnTo>
                <a:lnTo>
                  <a:pt x="3631" y="4169"/>
                </a:lnTo>
                <a:lnTo>
                  <a:pt x="3646" y="4167"/>
                </a:lnTo>
                <a:lnTo>
                  <a:pt x="3662" y="4164"/>
                </a:lnTo>
                <a:lnTo>
                  <a:pt x="3688" y="4157"/>
                </a:lnTo>
                <a:lnTo>
                  <a:pt x="3711" y="4150"/>
                </a:lnTo>
                <a:lnTo>
                  <a:pt x="3728" y="4143"/>
                </a:lnTo>
                <a:lnTo>
                  <a:pt x="3742" y="4137"/>
                </a:lnTo>
                <a:lnTo>
                  <a:pt x="3742" y="4137"/>
                </a:lnTo>
                <a:lnTo>
                  <a:pt x="3736" y="4143"/>
                </a:lnTo>
                <a:lnTo>
                  <a:pt x="3730" y="4151"/>
                </a:lnTo>
                <a:lnTo>
                  <a:pt x="3722" y="4161"/>
                </a:lnTo>
                <a:lnTo>
                  <a:pt x="3722" y="4161"/>
                </a:lnTo>
                <a:lnTo>
                  <a:pt x="3711" y="4177"/>
                </a:lnTo>
                <a:lnTo>
                  <a:pt x="3700" y="4194"/>
                </a:lnTo>
                <a:lnTo>
                  <a:pt x="3692" y="4209"/>
                </a:lnTo>
                <a:lnTo>
                  <a:pt x="3685" y="4224"/>
                </a:lnTo>
                <a:lnTo>
                  <a:pt x="3680" y="4240"/>
                </a:lnTo>
                <a:lnTo>
                  <a:pt x="3675" y="4257"/>
                </a:lnTo>
                <a:lnTo>
                  <a:pt x="3672" y="4274"/>
                </a:lnTo>
                <a:lnTo>
                  <a:pt x="3669" y="4295"/>
                </a:lnTo>
                <a:lnTo>
                  <a:pt x="3799" y="4379"/>
                </a:lnTo>
                <a:lnTo>
                  <a:pt x="3799" y="4379"/>
                </a:lnTo>
                <a:lnTo>
                  <a:pt x="3812" y="4338"/>
                </a:lnTo>
                <a:lnTo>
                  <a:pt x="3826" y="4298"/>
                </a:lnTo>
                <a:lnTo>
                  <a:pt x="3841" y="4262"/>
                </a:lnTo>
                <a:lnTo>
                  <a:pt x="3855" y="4229"/>
                </a:lnTo>
                <a:lnTo>
                  <a:pt x="3870" y="4202"/>
                </a:lnTo>
                <a:lnTo>
                  <a:pt x="3877" y="4189"/>
                </a:lnTo>
                <a:lnTo>
                  <a:pt x="3885" y="4179"/>
                </a:lnTo>
                <a:lnTo>
                  <a:pt x="3892" y="4170"/>
                </a:lnTo>
                <a:lnTo>
                  <a:pt x="3899" y="4163"/>
                </a:lnTo>
                <a:lnTo>
                  <a:pt x="3906" y="4158"/>
                </a:lnTo>
                <a:lnTo>
                  <a:pt x="3913" y="4154"/>
                </a:lnTo>
                <a:lnTo>
                  <a:pt x="3913" y="4154"/>
                </a:lnTo>
                <a:lnTo>
                  <a:pt x="3919" y="4152"/>
                </a:lnTo>
                <a:lnTo>
                  <a:pt x="3926" y="4152"/>
                </a:lnTo>
                <a:lnTo>
                  <a:pt x="3935" y="4152"/>
                </a:lnTo>
                <a:lnTo>
                  <a:pt x="3944" y="4153"/>
                </a:lnTo>
                <a:lnTo>
                  <a:pt x="3954" y="4155"/>
                </a:lnTo>
                <a:lnTo>
                  <a:pt x="3965" y="4157"/>
                </a:lnTo>
                <a:lnTo>
                  <a:pt x="3990" y="4166"/>
                </a:lnTo>
                <a:lnTo>
                  <a:pt x="4017" y="4177"/>
                </a:lnTo>
                <a:lnTo>
                  <a:pt x="4047" y="4192"/>
                </a:lnTo>
                <a:lnTo>
                  <a:pt x="4078" y="4212"/>
                </a:lnTo>
                <a:lnTo>
                  <a:pt x="4110" y="4233"/>
                </a:lnTo>
                <a:lnTo>
                  <a:pt x="4127" y="4246"/>
                </a:lnTo>
                <a:lnTo>
                  <a:pt x="4143" y="4259"/>
                </a:lnTo>
                <a:lnTo>
                  <a:pt x="4160" y="4273"/>
                </a:lnTo>
                <a:lnTo>
                  <a:pt x="4176" y="4288"/>
                </a:lnTo>
                <a:lnTo>
                  <a:pt x="4192" y="4303"/>
                </a:lnTo>
                <a:lnTo>
                  <a:pt x="4208" y="4319"/>
                </a:lnTo>
                <a:lnTo>
                  <a:pt x="4224" y="4337"/>
                </a:lnTo>
                <a:lnTo>
                  <a:pt x="4239" y="4355"/>
                </a:lnTo>
                <a:lnTo>
                  <a:pt x="4254" y="4373"/>
                </a:lnTo>
                <a:lnTo>
                  <a:pt x="4268" y="4393"/>
                </a:lnTo>
                <a:lnTo>
                  <a:pt x="4282" y="4413"/>
                </a:lnTo>
                <a:lnTo>
                  <a:pt x="4296" y="4435"/>
                </a:lnTo>
                <a:lnTo>
                  <a:pt x="4308" y="4456"/>
                </a:lnTo>
                <a:lnTo>
                  <a:pt x="4320" y="4479"/>
                </a:lnTo>
                <a:lnTo>
                  <a:pt x="4331" y="4502"/>
                </a:lnTo>
                <a:lnTo>
                  <a:pt x="4342" y="4527"/>
                </a:lnTo>
                <a:lnTo>
                  <a:pt x="4342" y="4527"/>
                </a:lnTo>
                <a:lnTo>
                  <a:pt x="4347" y="4541"/>
                </a:lnTo>
                <a:lnTo>
                  <a:pt x="4352" y="4558"/>
                </a:lnTo>
                <a:lnTo>
                  <a:pt x="4356" y="4574"/>
                </a:lnTo>
                <a:lnTo>
                  <a:pt x="4360" y="4591"/>
                </a:lnTo>
                <a:lnTo>
                  <a:pt x="4363" y="4610"/>
                </a:lnTo>
                <a:lnTo>
                  <a:pt x="4366" y="4628"/>
                </a:lnTo>
                <a:lnTo>
                  <a:pt x="4370" y="4667"/>
                </a:lnTo>
                <a:lnTo>
                  <a:pt x="4372" y="4706"/>
                </a:lnTo>
                <a:lnTo>
                  <a:pt x="4371" y="4747"/>
                </a:lnTo>
                <a:lnTo>
                  <a:pt x="4370" y="4767"/>
                </a:lnTo>
                <a:lnTo>
                  <a:pt x="4369" y="4787"/>
                </a:lnTo>
                <a:lnTo>
                  <a:pt x="4366" y="4807"/>
                </a:lnTo>
                <a:lnTo>
                  <a:pt x="4363" y="4826"/>
                </a:lnTo>
                <a:lnTo>
                  <a:pt x="4360" y="4846"/>
                </a:lnTo>
                <a:lnTo>
                  <a:pt x="4356" y="4864"/>
                </a:lnTo>
                <a:lnTo>
                  <a:pt x="4351" y="4883"/>
                </a:lnTo>
                <a:lnTo>
                  <a:pt x="4345" y="4900"/>
                </a:lnTo>
                <a:lnTo>
                  <a:pt x="4339" y="4917"/>
                </a:lnTo>
                <a:lnTo>
                  <a:pt x="4332" y="4933"/>
                </a:lnTo>
                <a:lnTo>
                  <a:pt x="4324" y="4948"/>
                </a:lnTo>
                <a:lnTo>
                  <a:pt x="4316" y="4962"/>
                </a:lnTo>
                <a:lnTo>
                  <a:pt x="4307" y="4976"/>
                </a:lnTo>
                <a:lnTo>
                  <a:pt x="4298" y="4988"/>
                </a:lnTo>
                <a:lnTo>
                  <a:pt x="4287" y="4999"/>
                </a:lnTo>
                <a:lnTo>
                  <a:pt x="4276" y="5008"/>
                </a:lnTo>
                <a:lnTo>
                  <a:pt x="4264" y="5017"/>
                </a:lnTo>
                <a:lnTo>
                  <a:pt x="4252" y="5024"/>
                </a:lnTo>
                <a:lnTo>
                  <a:pt x="4238" y="5029"/>
                </a:lnTo>
                <a:lnTo>
                  <a:pt x="4224" y="5032"/>
                </a:lnTo>
                <a:lnTo>
                  <a:pt x="4224" y="5032"/>
                </a:lnTo>
                <a:lnTo>
                  <a:pt x="4216" y="5033"/>
                </a:lnTo>
                <a:lnTo>
                  <a:pt x="4208" y="5033"/>
                </a:lnTo>
                <a:lnTo>
                  <a:pt x="4198" y="5032"/>
                </a:lnTo>
                <a:lnTo>
                  <a:pt x="4188" y="5030"/>
                </a:lnTo>
                <a:lnTo>
                  <a:pt x="4168" y="5025"/>
                </a:lnTo>
                <a:lnTo>
                  <a:pt x="4145" y="5017"/>
                </a:lnTo>
                <a:lnTo>
                  <a:pt x="4123" y="5006"/>
                </a:lnTo>
                <a:lnTo>
                  <a:pt x="4099" y="4995"/>
                </a:lnTo>
                <a:lnTo>
                  <a:pt x="4051" y="4973"/>
                </a:lnTo>
                <a:lnTo>
                  <a:pt x="4028" y="4961"/>
                </a:lnTo>
                <a:lnTo>
                  <a:pt x="4005" y="4952"/>
                </a:lnTo>
                <a:lnTo>
                  <a:pt x="3984" y="4945"/>
                </a:lnTo>
                <a:lnTo>
                  <a:pt x="3964" y="4940"/>
                </a:lnTo>
                <a:lnTo>
                  <a:pt x="3955" y="4939"/>
                </a:lnTo>
                <a:lnTo>
                  <a:pt x="3947" y="4938"/>
                </a:lnTo>
                <a:lnTo>
                  <a:pt x="3939" y="4939"/>
                </a:lnTo>
                <a:lnTo>
                  <a:pt x="3932" y="4940"/>
                </a:lnTo>
                <a:lnTo>
                  <a:pt x="3924" y="4943"/>
                </a:lnTo>
                <a:lnTo>
                  <a:pt x="3919" y="4947"/>
                </a:lnTo>
                <a:lnTo>
                  <a:pt x="3914" y="4952"/>
                </a:lnTo>
                <a:lnTo>
                  <a:pt x="3909" y="4958"/>
                </a:lnTo>
                <a:lnTo>
                  <a:pt x="3909" y="4958"/>
                </a:lnTo>
                <a:lnTo>
                  <a:pt x="3905" y="4965"/>
                </a:lnTo>
                <a:lnTo>
                  <a:pt x="3900" y="4973"/>
                </a:lnTo>
                <a:lnTo>
                  <a:pt x="3893" y="4979"/>
                </a:lnTo>
                <a:lnTo>
                  <a:pt x="3886" y="4985"/>
                </a:lnTo>
                <a:lnTo>
                  <a:pt x="3869" y="4996"/>
                </a:lnTo>
                <a:lnTo>
                  <a:pt x="3851" y="5006"/>
                </a:lnTo>
                <a:lnTo>
                  <a:pt x="3810" y="5028"/>
                </a:lnTo>
                <a:lnTo>
                  <a:pt x="3789" y="5039"/>
                </a:lnTo>
                <a:lnTo>
                  <a:pt x="3770" y="5052"/>
                </a:lnTo>
                <a:lnTo>
                  <a:pt x="3761" y="5058"/>
                </a:lnTo>
                <a:lnTo>
                  <a:pt x="3752" y="5067"/>
                </a:lnTo>
                <a:lnTo>
                  <a:pt x="3743" y="5074"/>
                </a:lnTo>
                <a:lnTo>
                  <a:pt x="3735" y="5083"/>
                </a:lnTo>
                <a:lnTo>
                  <a:pt x="3728" y="5092"/>
                </a:lnTo>
                <a:lnTo>
                  <a:pt x="3722" y="5102"/>
                </a:lnTo>
                <a:lnTo>
                  <a:pt x="3717" y="5113"/>
                </a:lnTo>
                <a:lnTo>
                  <a:pt x="3713" y="5125"/>
                </a:lnTo>
                <a:lnTo>
                  <a:pt x="3710" y="5137"/>
                </a:lnTo>
                <a:lnTo>
                  <a:pt x="3708" y="5151"/>
                </a:lnTo>
                <a:lnTo>
                  <a:pt x="3707" y="5165"/>
                </a:lnTo>
                <a:lnTo>
                  <a:pt x="3707" y="5181"/>
                </a:lnTo>
                <a:lnTo>
                  <a:pt x="3709" y="5198"/>
                </a:lnTo>
                <a:lnTo>
                  <a:pt x="3713" y="5215"/>
                </a:lnTo>
                <a:lnTo>
                  <a:pt x="3718" y="5234"/>
                </a:lnTo>
                <a:lnTo>
                  <a:pt x="3724" y="5255"/>
                </a:lnTo>
                <a:lnTo>
                  <a:pt x="3724" y="5255"/>
                </a:lnTo>
                <a:lnTo>
                  <a:pt x="3741" y="5234"/>
                </a:lnTo>
                <a:lnTo>
                  <a:pt x="3759" y="5213"/>
                </a:lnTo>
                <a:lnTo>
                  <a:pt x="3776" y="5194"/>
                </a:lnTo>
                <a:lnTo>
                  <a:pt x="3794" y="5178"/>
                </a:lnTo>
                <a:lnTo>
                  <a:pt x="3802" y="5171"/>
                </a:lnTo>
                <a:lnTo>
                  <a:pt x="3811" y="5165"/>
                </a:lnTo>
                <a:lnTo>
                  <a:pt x="3819" y="5159"/>
                </a:lnTo>
                <a:lnTo>
                  <a:pt x="3827" y="5155"/>
                </a:lnTo>
                <a:lnTo>
                  <a:pt x="3835" y="5153"/>
                </a:lnTo>
                <a:lnTo>
                  <a:pt x="3843" y="5151"/>
                </a:lnTo>
                <a:lnTo>
                  <a:pt x="3850" y="5151"/>
                </a:lnTo>
                <a:lnTo>
                  <a:pt x="3857" y="5153"/>
                </a:lnTo>
                <a:lnTo>
                  <a:pt x="3857" y="5153"/>
                </a:lnTo>
                <a:lnTo>
                  <a:pt x="3861" y="5155"/>
                </a:lnTo>
                <a:lnTo>
                  <a:pt x="3864" y="5157"/>
                </a:lnTo>
                <a:lnTo>
                  <a:pt x="3870" y="5163"/>
                </a:lnTo>
                <a:lnTo>
                  <a:pt x="3875" y="5171"/>
                </a:lnTo>
                <a:lnTo>
                  <a:pt x="3879" y="5179"/>
                </a:lnTo>
                <a:lnTo>
                  <a:pt x="3888" y="5200"/>
                </a:lnTo>
                <a:lnTo>
                  <a:pt x="3894" y="5210"/>
                </a:lnTo>
                <a:lnTo>
                  <a:pt x="3901" y="5220"/>
                </a:lnTo>
                <a:lnTo>
                  <a:pt x="3901" y="5220"/>
                </a:lnTo>
                <a:lnTo>
                  <a:pt x="3904" y="5223"/>
                </a:lnTo>
                <a:lnTo>
                  <a:pt x="3908" y="5225"/>
                </a:lnTo>
                <a:lnTo>
                  <a:pt x="3913" y="5227"/>
                </a:lnTo>
                <a:lnTo>
                  <a:pt x="3919" y="5228"/>
                </a:lnTo>
                <a:lnTo>
                  <a:pt x="3934" y="5230"/>
                </a:lnTo>
                <a:lnTo>
                  <a:pt x="3950" y="5230"/>
                </a:lnTo>
                <a:lnTo>
                  <a:pt x="3968" y="5229"/>
                </a:lnTo>
                <a:lnTo>
                  <a:pt x="3989" y="5227"/>
                </a:lnTo>
                <a:lnTo>
                  <a:pt x="4032" y="5223"/>
                </a:lnTo>
                <a:lnTo>
                  <a:pt x="4074" y="5219"/>
                </a:lnTo>
                <a:lnTo>
                  <a:pt x="4093" y="5217"/>
                </a:lnTo>
                <a:lnTo>
                  <a:pt x="4110" y="5217"/>
                </a:lnTo>
                <a:lnTo>
                  <a:pt x="4126" y="5217"/>
                </a:lnTo>
                <a:lnTo>
                  <a:pt x="4137" y="5219"/>
                </a:lnTo>
                <a:lnTo>
                  <a:pt x="4142" y="5221"/>
                </a:lnTo>
                <a:lnTo>
                  <a:pt x="4146" y="5223"/>
                </a:lnTo>
                <a:lnTo>
                  <a:pt x="4148" y="5225"/>
                </a:lnTo>
                <a:lnTo>
                  <a:pt x="4150" y="5228"/>
                </a:lnTo>
                <a:lnTo>
                  <a:pt x="4150" y="5228"/>
                </a:lnTo>
                <a:lnTo>
                  <a:pt x="4151" y="5231"/>
                </a:lnTo>
                <a:lnTo>
                  <a:pt x="4150" y="5234"/>
                </a:lnTo>
                <a:lnTo>
                  <a:pt x="4149" y="5236"/>
                </a:lnTo>
                <a:lnTo>
                  <a:pt x="4148" y="5238"/>
                </a:lnTo>
                <a:lnTo>
                  <a:pt x="4143" y="5242"/>
                </a:lnTo>
                <a:lnTo>
                  <a:pt x="4136" y="5243"/>
                </a:lnTo>
                <a:lnTo>
                  <a:pt x="4118" y="5246"/>
                </a:lnTo>
                <a:lnTo>
                  <a:pt x="4100" y="5248"/>
                </a:lnTo>
                <a:lnTo>
                  <a:pt x="4100" y="5248"/>
                </a:lnTo>
                <a:lnTo>
                  <a:pt x="4021" y="5262"/>
                </a:lnTo>
                <a:lnTo>
                  <a:pt x="3981" y="5269"/>
                </a:lnTo>
                <a:lnTo>
                  <a:pt x="3943" y="5277"/>
                </a:lnTo>
                <a:lnTo>
                  <a:pt x="3925" y="5282"/>
                </a:lnTo>
                <a:lnTo>
                  <a:pt x="3909" y="5288"/>
                </a:lnTo>
                <a:lnTo>
                  <a:pt x="3894" y="5294"/>
                </a:lnTo>
                <a:lnTo>
                  <a:pt x="3881" y="5300"/>
                </a:lnTo>
                <a:lnTo>
                  <a:pt x="3869" y="5306"/>
                </a:lnTo>
                <a:lnTo>
                  <a:pt x="3860" y="5314"/>
                </a:lnTo>
                <a:lnTo>
                  <a:pt x="3853" y="5322"/>
                </a:lnTo>
                <a:lnTo>
                  <a:pt x="3850" y="5326"/>
                </a:lnTo>
                <a:lnTo>
                  <a:pt x="3848" y="5331"/>
                </a:lnTo>
                <a:lnTo>
                  <a:pt x="3848" y="5331"/>
                </a:lnTo>
                <a:lnTo>
                  <a:pt x="3846" y="5338"/>
                </a:lnTo>
                <a:lnTo>
                  <a:pt x="3846" y="5342"/>
                </a:lnTo>
                <a:lnTo>
                  <a:pt x="3847" y="5352"/>
                </a:lnTo>
                <a:lnTo>
                  <a:pt x="3847" y="5357"/>
                </a:lnTo>
                <a:lnTo>
                  <a:pt x="3846" y="5363"/>
                </a:lnTo>
                <a:lnTo>
                  <a:pt x="3845" y="5371"/>
                </a:lnTo>
                <a:lnTo>
                  <a:pt x="3842" y="5382"/>
                </a:lnTo>
                <a:lnTo>
                  <a:pt x="3842" y="5382"/>
                </a:lnTo>
                <a:lnTo>
                  <a:pt x="3837" y="5393"/>
                </a:lnTo>
                <a:lnTo>
                  <a:pt x="3831" y="5402"/>
                </a:lnTo>
                <a:lnTo>
                  <a:pt x="3823" y="5410"/>
                </a:lnTo>
                <a:lnTo>
                  <a:pt x="3815" y="5418"/>
                </a:lnTo>
                <a:lnTo>
                  <a:pt x="3796" y="5434"/>
                </a:lnTo>
                <a:lnTo>
                  <a:pt x="3786" y="5442"/>
                </a:lnTo>
                <a:lnTo>
                  <a:pt x="3776" y="5451"/>
                </a:lnTo>
                <a:lnTo>
                  <a:pt x="3767" y="5460"/>
                </a:lnTo>
                <a:lnTo>
                  <a:pt x="3758" y="5472"/>
                </a:lnTo>
                <a:lnTo>
                  <a:pt x="3750" y="5485"/>
                </a:lnTo>
                <a:lnTo>
                  <a:pt x="3742" y="5499"/>
                </a:lnTo>
                <a:lnTo>
                  <a:pt x="3736" y="5517"/>
                </a:lnTo>
                <a:lnTo>
                  <a:pt x="3732" y="5536"/>
                </a:lnTo>
                <a:lnTo>
                  <a:pt x="3730" y="5558"/>
                </a:lnTo>
                <a:lnTo>
                  <a:pt x="3730" y="5584"/>
                </a:lnTo>
                <a:lnTo>
                  <a:pt x="3730" y="5584"/>
                </a:lnTo>
                <a:lnTo>
                  <a:pt x="3732" y="5597"/>
                </a:lnTo>
                <a:lnTo>
                  <a:pt x="3735" y="5610"/>
                </a:lnTo>
                <a:lnTo>
                  <a:pt x="3739" y="5622"/>
                </a:lnTo>
                <a:lnTo>
                  <a:pt x="3744" y="5634"/>
                </a:lnTo>
                <a:lnTo>
                  <a:pt x="3751" y="5644"/>
                </a:lnTo>
                <a:lnTo>
                  <a:pt x="3757" y="5656"/>
                </a:lnTo>
                <a:lnTo>
                  <a:pt x="3763" y="5665"/>
                </a:lnTo>
                <a:lnTo>
                  <a:pt x="3770" y="5674"/>
                </a:lnTo>
                <a:lnTo>
                  <a:pt x="3784" y="5689"/>
                </a:lnTo>
                <a:lnTo>
                  <a:pt x="3797" y="5701"/>
                </a:lnTo>
                <a:lnTo>
                  <a:pt x="3807" y="5708"/>
                </a:lnTo>
                <a:lnTo>
                  <a:pt x="3810" y="5710"/>
                </a:lnTo>
                <a:lnTo>
                  <a:pt x="3813" y="5711"/>
                </a:lnTo>
                <a:lnTo>
                  <a:pt x="3813" y="5711"/>
                </a:lnTo>
                <a:lnTo>
                  <a:pt x="3814" y="5710"/>
                </a:lnTo>
                <a:lnTo>
                  <a:pt x="3815" y="5709"/>
                </a:lnTo>
                <a:lnTo>
                  <a:pt x="3816" y="5704"/>
                </a:lnTo>
                <a:lnTo>
                  <a:pt x="3818" y="5696"/>
                </a:lnTo>
                <a:lnTo>
                  <a:pt x="3818" y="5686"/>
                </a:lnTo>
                <a:lnTo>
                  <a:pt x="3820" y="5662"/>
                </a:lnTo>
                <a:lnTo>
                  <a:pt x="3823" y="5633"/>
                </a:lnTo>
                <a:lnTo>
                  <a:pt x="3825" y="5619"/>
                </a:lnTo>
                <a:lnTo>
                  <a:pt x="3828" y="5603"/>
                </a:lnTo>
                <a:lnTo>
                  <a:pt x="3831" y="5590"/>
                </a:lnTo>
                <a:lnTo>
                  <a:pt x="3836" y="5577"/>
                </a:lnTo>
                <a:lnTo>
                  <a:pt x="3843" y="5566"/>
                </a:lnTo>
                <a:lnTo>
                  <a:pt x="3847" y="5562"/>
                </a:lnTo>
                <a:lnTo>
                  <a:pt x="3851" y="5556"/>
                </a:lnTo>
                <a:lnTo>
                  <a:pt x="3855" y="5553"/>
                </a:lnTo>
                <a:lnTo>
                  <a:pt x="3860" y="5550"/>
                </a:lnTo>
                <a:lnTo>
                  <a:pt x="3865" y="5547"/>
                </a:lnTo>
                <a:lnTo>
                  <a:pt x="3871" y="5546"/>
                </a:lnTo>
                <a:lnTo>
                  <a:pt x="3871" y="5546"/>
                </a:lnTo>
                <a:lnTo>
                  <a:pt x="3877" y="5545"/>
                </a:lnTo>
                <a:lnTo>
                  <a:pt x="3882" y="5546"/>
                </a:lnTo>
                <a:lnTo>
                  <a:pt x="3888" y="5548"/>
                </a:lnTo>
                <a:lnTo>
                  <a:pt x="3892" y="5552"/>
                </a:lnTo>
                <a:lnTo>
                  <a:pt x="3902" y="5561"/>
                </a:lnTo>
                <a:lnTo>
                  <a:pt x="3911" y="5571"/>
                </a:lnTo>
                <a:lnTo>
                  <a:pt x="3921" y="5581"/>
                </a:lnTo>
                <a:lnTo>
                  <a:pt x="3926" y="5586"/>
                </a:lnTo>
                <a:lnTo>
                  <a:pt x="3933" y="5590"/>
                </a:lnTo>
                <a:lnTo>
                  <a:pt x="3940" y="5594"/>
                </a:lnTo>
                <a:lnTo>
                  <a:pt x="3946" y="5597"/>
                </a:lnTo>
                <a:lnTo>
                  <a:pt x="3954" y="5598"/>
                </a:lnTo>
                <a:lnTo>
                  <a:pt x="3962" y="5599"/>
                </a:lnTo>
                <a:lnTo>
                  <a:pt x="3962" y="5599"/>
                </a:lnTo>
                <a:lnTo>
                  <a:pt x="3970" y="5598"/>
                </a:lnTo>
                <a:lnTo>
                  <a:pt x="3979" y="5595"/>
                </a:lnTo>
                <a:lnTo>
                  <a:pt x="3987" y="5592"/>
                </a:lnTo>
                <a:lnTo>
                  <a:pt x="3996" y="5588"/>
                </a:lnTo>
                <a:lnTo>
                  <a:pt x="4005" y="5582"/>
                </a:lnTo>
                <a:lnTo>
                  <a:pt x="4014" y="5576"/>
                </a:lnTo>
                <a:lnTo>
                  <a:pt x="4035" y="5559"/>
                </a:lnTo>
                <a:lnTo>
                  <a:pt x="4055" y="5542"/>
                </a:lnTo>
                <a:lnTo>
                  <a:pt x="4077" y="5522"/>
                </a:lnTo>
                <a:lnTo>
                  <a:pt x="4122" y="5479"/>
                </a:lnTo>
                <a:lnTo>
                  <a:pt x="4144" y="5457"/>
                </a:lnTo>
                <a:lnTo>
                  <a:pt x="4166" y="5437"/>
                </a:lnTo>
                <a:lnTo>
                  <a:pt x="4187" y="5417"/>
                </a:lnTo>
                <a:lnTo>
                  <a:pt x="4208" y="5402"/>
                </a:lnTo>
                <a:lnTo>
                  <a:pt x="4227" y="5389"/>
                </a:lnTo>
                <a:lnTo>
                  <a:pt x="4236" y="5384"/>
                </a:lnTo>
                <a:lnTo>
                  <a:pt x="4245" y="5380"/>
                </a:lnTo>
                <a:lnTo>
                  <a:pt x="4254" y="5376"/>
                </a:lnTo>
                <a:lnTo>
                  <a:pt x="4262" y="5374"/>
                </a:lnTo>
                <a:lnTo>
                  <a:pt x="4270" y="5374"/>
                </a:lnTo>
                <a:lnTo>
                  <a:pt x="4277" y="5375"/>
                </a:lnTo>
                <a:lnTo>
                  <a:pt x="4277" y="5375"/>
                </a:lnTo>
                <a:lnTo>
                  <a:pt x="4278" y="5376"/>
                </a:lnTo>
                <a:lnTo>
                  <a:pt x="4279" y="5379"/>
                </a:lnTo>
                <a:lnTo>
                  <a:pt x="4278" y="5382"/>
                </a:lnTo>
                <a:lnTo>
                  <a:pt x="4277" y="5384"/>
                </a:lnTo>
                <a:lnTo>
                  <a:pt x="4272" y="5391"/>
                </a:lnTo>
                <a:lnTo>
                  <a:pt x="4264" y="5399"/>
                </a:lnTo>
                <a:lnTo>
                  <a:pt x="4241" y="5420"/>
                </a:lnTo>
                <a:lnTo>
                  <a:pt x="4212" y="5447"/>
                </a:lnTo>
                <a:lnTo>
                  <a:pt x="4181" y="5477"/>
                </a:lnTo>
                <a:lnTo>
                  <a:pt x="4167" y="5492"/>
                </a:lnTo>
                <a:lnTo>
                  <a:pt x="4152" y="5508"/>
                </a:lnTo>
                <a:lnTo>
                  <a:pt x="4140" y="5525"/>
                </a:lnTo>
                <a:lnTo>
                  <a:pt x="4129" y="5542"/>
                </a:lnTo>
                <a:lnTo>
                  <a:pt x="4121" y="5558"/>
                </a:lnTo>
                <a:lnTo>
                  <a:pt x="4118" y="5567"/>
                </a:lnTo>
                <a:lnTo>
                  <a:pt x="4116" y="5576"/>
                </a:lnTo>
                <a:lnTo>
                  <a:pt x="4116" y="5576"/>
                </a:lnTo>
                <a:lnTo>
                  <a:pt x="4114" y="5588"/>
                </a:lnTo>
                <a:lnTo>
                  <a:pt x="4114" y="5599"/>
                </a:lnTo>
                <a:lnTo>
                  <a:pt x="4115" y="5611"/>
                </a:lnTo>
                <a:lnTo>
                  <a:pt x="4119" y="5620"/>
                </a:lnTo>
                <a:lnTo>
                  <a:pt x="4123" y="5628"/>
                </a:lnTo>
                <a:lnTo>
                  <a:pt x="4129" y="5636"/>
                </a:lnTo>
                <a:lnTo>
                  <a:pt x="4135" y="5643"/>
                </a:lnTo>
                <a:lnTo>
                  <a:pt x="4142" y="5649"/>
                </a:lnTo>
                <a:lnTo>
                  <a:pt x="4157" y="5663"/>
                </a:lnTo>
                <a:lnTo>
                  <a:pt x="4163" y="5669"/>
                </a:lnTo>
                <a:lnTo>
                  <a:pt x="4169" y="5676"/>
                </a:lnTo>
                <a:lnTo>
                  <a:pt x="4175" y="5683"/>
                </a:lnTo>
                <a:lnTo>
                  <a:pt x="4179" y="5690"/>
                </a:lnTo>
                <a:lnTo>
                  <a:pt x="4182" y="5699"/>
                </a:lnTo>
                <a:lnTo>
                  <a:pt x="4183" y="5708"/>
                </a:lnTo>
                <a:lnTo>
                  <a:pt x="4183" y="5708"/>
                </a:lnTo>
                <a:lnTo>
                  <a:pt x="4184" y="5718"/>
                </a:lnTo>
                <a:lnTo>
                  <a:pt x="4186" y="5729"/>
                </a:lnTo>
                <a:lnTo>
                  <a:pt x="4189" y="5738"/>
                </a:lnTo>
                <a:lnTo>
                  <a:pt x="4193" y="5749"/>
                </a:lnTo>
                <a:lnTo>
                  <a:pt x="4198" y="5758"/>
                </a:lnTo>
                <a:lnTo>
                  <a:pt x="4205" y="5767"/>
                </a:lnTo>
                <a:lnTo>
                  <a:pt x="4212" y="5775"/>
                </a:lnTo>
                <a:lnTo>
                  <a:pt x="4220" y="5783"/>
                </a:lnTo>
                <a:lnTo>
                  <a:pt x="4228" y="5792"/>
                </a:lnTo>
                <a:lnTo>
                  <a:pt x="4237" y="5799"/>
                </a:lnTo>
                <a:lnTo>
                  <a:pt x="4257" y="5812"/>
                </a:lnTo>
                <a:lnTo>
                  <a:pt x="4278" y="5824"/>
                </a:lnTo>
                <a:lnTo>
                  <a:pt x="4300" y="5835"/>
                </a:lnTo>
                <a:lnTo>
                  <a:pt x="4322" y="5844"/>
                </a:lnTo>
                <a:lnTo>
                  <a:pt x="4344" y="5852"/>
                </a:lnTo>
                <a:lnTo>
                  <a:pt x="4364" y="5857"/>
                </a:lnTo>
                <a:lnTo>
                  <a:pt x="4382" y="5862"/>
                </a:lnTo>
                <a:lnTo>
                  <a:pt x="4399" y="5864"/>
                </a:lnTo>
                <a:lnTo>
                  <a:pt x="4412" y="5865"/>
                </a:lnTo>
                <a:lnTo>
                  <a:pt x="4421" y="5865"/>
                </a:lnTo>
                <a:lnTo>
                  <a:pt x="4424" y="5864"/>
                </a:lnTo>
                <a:lnTo>
                  <a:pt x="4426" y="5863"/>
                </a:lnTo>
                <a:lnTo>
                  <a:pt x="4426" y="5863"/>
                </a:lnTo>
                <a:lnTo>
                  <a:pt x="4427" y="5861"/>
                </a:lnTo>
                <a:lnTo>
                  <a:pt x="4427" y="5859"/>
                </a:lnTo>
                <a:lnTo>
                  <a:pt x="4425" y="5853"/>
                </a:lnTo>
                <a:lnTo>
                  <a:pt x="4420" y="5846"/>
                </a:lnTo>
                <a:lnTo>
                  <a:pt x="4412" y="5836"/>
                </a:lnTo>
                <a:lnTo>
                  <a:pt x="4393" y="5813"/>
                </a:lnTo>
                <a:lnTo>
                  <a:pt x="4369" y="5786"/>
                </a:lnTo>
                <a:lnTo>
                  <a:pt x="4358" y="5773"/>
                </a:lnTo>
                <a:lnTo>
                  <a:pt x="4348" y="5759"/>
                </a:lnTo>
                <a:lnTo>
                  <a:pt x="4339" y="5745"/>
                </a:lnTo>
                <a:lnTo>
                  <a:pt x="4330" y="5731"/>
                </a:lnTo>
                <a:lnTo>
                  <a:pt x="4325" y="5718"/>
                </a:lnTo>
                <a:lnTo>
                  <a:pt x="4324" y="5712"/>
                </a:lnTo>
                <a:lnTo>
                  <a:pt x="4323" y="5706"/>
                </a:lnTo>
                <a:lnTo>
                  <a:pt x="4323" y="5700"/>
                </a:lnTo>
                <a:lnTo>
                  <a:pt x="4324" y="5694"/>
                </a:lnTo>
                <a:lnTo>
                  <a:pt x="4326" y="5689"/>
                </a:lnTo>
                <a:lnTo>
                  <a:pt x="4329" y="5684"/>
                </a:lnTo>
                <a:lnTo>
                  <a:pt x="4329" y="5684"/>
                </a:lnTo>
                <a:lnTo>
                  <a:pt x="4333" y="5680"/>
                </a:lnTo>
                <a:lnTo>
                  <a:pt x="4337" y="5677"/>
                </a:lnTo>
                <a:lnTo>
                  <a:pt x="4343" y="5676"/>
                </a:lnTo>
                <a:lnTo>
                  <a:pt x="4347" y="5675"/>
                </a:lnTo>
                <a:lnTo>
                  <a:pt x="4352" y="5675"/>
                </a:lnTo>
                <a:lnTo>
                  <a:pt x="4358" y="5676"/>
                </a:lnTo>
                <a:lnTo>
                  <a:pt x="4370" y="5678"/>
                </a:lnTo>
                <a:lnTo>
                  <a:pt x="4384" y="5681"/>
                </a:lnTo>
                <a:lnTo>
                  <a:pt x="4392" y="5682"/>
                </a:lnTo>
                <a:lnTo>
                  <a:pt x="4399" y="5682"/>
                </a:lnTo>
                <a:lnTo>
                  <a:pt x="4408" y="5682"/>
                </a:lnTo>
                <a:lnTo>
                  <a:pt x="4416" y="5681"/>
                </a:lnTo>
                <a:lnTo>
                  <a:pt x="4425" y="5679"/>
                </a:lnTo>
                <a:lnTo>
                  <a:pt x="4436" y="5675"/>
                </a:lnTo>
                <a:lnTo>
                  <a:pt x="4436" y="5675"/>
                </a:lnTo>
                <a:lnTo>
                  <a:pt x="4437" y="5673"/>
                </a:lnTo>
                <a:lnTo>
                  <a:pt x="4438" y="5670"/>
                </a:lnTo>
                <a:lnTo>
                  <a:pt x="4438" y="5663"/>
                </a:lnTo>
                <a:lnTo>
                  <a:pt x="4436" y="5652"/>
                </a:lnTo>
                <a:lnTo>
                  <a:pt x="4434" y="5637"/>
                </a:lnTo>
                <a:lnTo>
                  <a:pt x="4431" y="5621"/>
                </a:lnTo>
                <a:lnTo>
                  <a:pt x="4428" y="5602"/>
                </a:lnTo>
                <a:lnTo>
                  <a:pt x="4426" y="5581"/>
                </a:lnTo>
                <a:lnTo>
                  <a:pt x="4426" y="5557"/>
                </a:lnTo>
                <a:lnTo>
                  <a:pt x="4428" y="5533"/>
                </a:lnTo>
                <a:lnTo>
                  <a:pt x="4431" y="5520"/>
                </a:lnTo>
                <a:lnTo>
                  <a:pt x="4434" y="5505"/>
                </a:lnTo>
                <a:lnTo>
                  <a:pt x="4437" y="5492"/>
                </a:lnTo>
                <a:lnTo>
                  <a:pt x="4441" y="5477"/>
                </a:lnTo>
                <a:lnTo>
                  <a:pt x="4446" y="5462"/>
                </a:lnTo>
                <a:lnTo>
                  <a:pt x="4453" y="5447"/>
                </a:lnTo>
                <a:lnTo>
                  <a:pt x="4460" y="5432"/>
                </a:lnTo>
                <a:lnTo>
                  <a:pt x="4469" y="5416"/>
                </a:lnTo>
                <a:lnTo>
                  <a:pt x="4479" y="5400"/>
                </a:lnTo>
                <a:lnTo>
                  <a:pt x="4490" y="5384"/>
                </a:lnTo>
                <a:lnTo>
                  <a:pt x="4503" y="5367"/>
                </a:lnTo>
                <a:lnTo>
                  <a:pt x="4516" y="5351"/>
                </a:lnTo>
                <a:lnTo>
                  <a:pt x="4533" y="5334"/>
                </a:lnTo>
                <a:lnTo>
                  <a:pt x="4550" y="5317"/>
                </a:lnTo>
                <a:lnTo>
                  <a:pt x="4550" y="5317"/>
                </a:lnTo>
                <a:lnTo>
                  <a:pt x="4557" y="5328"/>
                </a:lnTo>
                <a:lnTo>
                  <a:pt x="4566" y="5340"/>
                </a:lnTo>
                <a:lnTo>
                  <a:pt x="4578" y="5353"/>
                </a:lnTo>
                <a:lnTo>
                  <a:pt x="4586" y="5360"/>
                </a:lnTo>
                <a:lnTo>
                  <a:pt x="4594" y="5367"/>
                </a:lnTo>
                <a:lnTo>
                  <a:pt x="4603" y="5373"/>
                </a:lnTo>
                <a:lnTo>
                  <a:pt x="4614" y="5381"/>
                </a:lnTo>
                <a:lnTo>
                  <a:pt x="4624" y="5386"/>
                </a:lnTo>
                <a:lnTo>
                  <a:pt x="4636" y="5390"/>
                </a:lnTo>
                <a:lnTo>
                  <a:pt x="4648" y="5394"/>
                </a:lnTo>
                <a:lnTo>
                  <a:pt x="4662" y="5396"/>
                </a:lnTo>
                <a:lnTo>
                  <a:pt x="4662" y="5396"/>
                </a:lnTo>
                <a:lnTo>
                  <a:pt x="4668" y="5397"/>
                </a:lnTo>
                <a:lnTo>
                  <a:pt x="4673" y="5399"/>
                </a:lnTo>
                <a:lnTo>
                  <a:pt x="4677" y="5402"/>
                </a:lnTo>
                <a:lnTo>
                  <a:pt x="4681" y="5405"/>
                </a:lnTo>
                <a:lnTo>
                  <a:pt x="4685" y="5409"/>
                </a:lnTo>
                <a:lnTo>
                  <a:pt x="4688" y="5413"/>
                </a:lnTo>
                <a:lnTo>
                  <a:pt x="4692" y="5425"/>
                </a:lnTo>
                <a:lnTo>
                  <a:pt x="4696" y="5437"/>
                </a:lnTo>
                <a:lnTo>
                  <a:pt x="4698" y="5450"/>
                </a:lnTo>
                <a:lnTo>
                  <a:pt x="4698" y="5463"/>
                </a:lnTo>
                <a:lnTo>
                  <a:pt x="4698" y="5478"/>
                </a:lnTo>
                <a:lnTo>
                  <a:pt x="4696" y="5506"/>
                </a:lnTo>
                <a:lnTo>
                  <a:pt x="4694" y="5531"/>
                </a:lnTo>
                <a:lnTo>
                  <a:pt x="4692" y="5548"/>
                </a:lnTo>
                <a:lnTo>
                  <a:pt x="4692" y="5553"/>
                </a:lnTo>
                <a:lnTo>
                  <a:pt x="4693" y="5554"/>
                </a:lnTo>
                <a:lnTo>
                  <a:pt x="4694" y="5554"/>
                </a:lnTo>
                <a:lnTo>
                  <a:pt x="4694" y="5554"/>
                </a:lnTo>
                <a:lnTo>
                  <a:pt x="4697" y="5553"/>
                </a:lnTo>
                <a:lnTo>
                  <a:pt x="4702" y="5550"/>
                </a:lnTo>
                <a:lnTo>
                  <a:pt x="4708" y="5545"/>
                </a:lnTo>
                <a:lnTo>
                  <a:pt x="4714" y="5538"/>
                </a:lnTo>
                <a:lnTo>
                  <a:pt x="4721" y="5529"/>
                </a:lnTo>
                <a:lnTo>
                  <a:pt x="4729" y="5519"/>
                </a:lnTo>
                <a:lnTo>
                  <a:pt x="4736" y="5505"/>
                </a:lnTo>
                <a:lnTo>
                  <a:pt x="4743" y="5492"/>
                </a:lnTo>
                <a:lnTo>
                  <a:pt x="4751" y="5477"/>
                </a:lnTo>
                <a:lnTo>
                  <a:pt x="4758" y="5459"/>
                </a:lnTo>
                <a:lnTo>
                  <a:pt x="4763" y="5442"/>
                </a:lnTo>
                <a:lnTo>
                  <a:pt x="4768" y="5422"/>
                </a:lnTo>
                <a:lnTo>
                  <a:pt x="4771" y="5402"/>
                </a:lnTo>
                <a:lnTo>
                  <a:pt x="4773" y="5382"/>
                </a:lnTo>
                <a:lnTo>
                  <a:pt x="4772" y="5360"/>
                </a:lnTo>
                <a:lnTo>
                  <a:pt x="4770" y="5338"/>
                </a:lnTo>
                <a:lnTo>
                  <a:pt x="4770" y="5338"/>
                </a:lnTo>
                <a:lnTo>
                  <a:pt x="4778" y="5330"/>
                </a:lnTo>
                <a:lnTo>
                  <a:pt x="4798" y="5313"/>
                </a:lnTo>
                <a:lnTo>
                  <a:pt x="4809" y="5302"/>
                </a:lnTo>
                <a:lnTo>
                  <a:pt x="4819" y="5290"/>
                </a:lnTo>
                <a:lnTo>
                  <a:pt x="4827" y="5276"/>
                </a:lnTo>
                <a:lnTo>
                  <a:pt x="4830" y="5270"/>
                </a:lnTo>
                <a:lnTo>
                  <a:pt x="4832" y="5264"/>
                </a:lnTo>
                <a:lnTo>
                  <a:pt x="4832" y="5264"/>
                </a:lnTo>
                <a:lnTo>
                  <a:pt x="4834" y="5255"/>
                </a:lnTo>
                <a:lnTo>
                  <a:pt x="4835" y="5246"/>
                </a:lnTo>
                <a:lnTo>
                  <a:pt x="4836" y="5237"/>
                </a:lnTo>
                <a:lnTo>
                  <a:pt x="4835" y="5230"/>
                </a:lnTo>
                <a:lnTo>
                  <a:pt x="4834" y="5224"/>
                </a:lnTo>
                <a:lnTo>
                  <a:pt x="4832" y="5218"/>
                </a:lnTo>
                <a:lnTo>
                  <a:pt x="4830" y="5213"/>
                </a:lnTo>
                <a:lnTo>
                  <a:pt x="4827" y="5208"/>
                </a:lnTo>
                <a:lnTo>
                  <a:pt x="4819" y="5199"/>
                </a:lnTo>
                <a:lnTo>
                  <a:pt x="4810" y="5189"/>
                </a:lnTo>
                <a:lnTo>
                  <a:pt x="4800" y="5180"/>
                </a:lnTo>
                <a:lnTo>
                  <a:pt x="4789" y="5169"/>
                </a:lnTo>
                <a:lnTo>
                  <a:pt x="4778" y="5156"/>
                </a:lnTo>
                <a:lnTo>
                  <a:pt x="4772" y="5148"/>
                </a:lnTo>
                <a:lnTo>
                  <a:pt x="4767" y="5139"/>
                </a:lnTo>
                <a:lnTo>
                  <a:pt x="4762" y="5130"/>
                </a:lnTo>
                <a:lnTo>
                  <a:pt x="4757" y="5120"/>
                </a:lnTo>
                <a:lnTo>
                  <a:pt x="4753" y="5108"/>
                </a:lnTo>
                <a:lnTo>
                  <a:pt x="4749" y="5095"/>
                </a:lnTo>
                <a:lnTo>
                  <a:pt x="4744" y="5081"/>
                </a:lnTo>
                <a:lnTo>
                  <a:pt x="4741" y="5065"/>
                </a:lnTo>
                <a:lnTo>
                  <a:pt x="4738" y="5048"/>
                </a:lnTo>
                <a:lnTo>
                  <a:pt x="4736" y="5029"/>
                </a:lnTo>
                <a:lnTo>
                  <a:pt x="4735" y="5008"/>
                </a:lnTo>
                <a:lnTo>
                  <a:pt x="4734" y="4986"/>
                </a:lnTo>
                <a:lnTo>
                  <a:pt x="4734" y="4961"/>
                </a:lnTo>
                <a:lnTo>
                  <a:pt x="4735" y="4935"/>
                </a:lnTo>
                <a:lnTo>
                  <a:pt x="4735" y="4935"/>
                </a:lnTo>
                <a:lnTo>
                  <a:pt x="4735" y="4917"/>
                </a:lnTo>
                <a:lnTo>
                  <a:pt x="4734" y="4911"/>
                </a:lnTo>
                <a:lnTo>
                  <a:pt x="4733" y="4906"/>
                </a:lnTo>
                <a:lnTo>
                  <a:pt x="4731" y="4901"/>
                </a:lnTo>
                <a:lnTo>
                  <a:pt x="4729" y="4897"/>
                </a:lnTo>
                <a:lnTo>
                  <a:pt x="4727" y="4894"/>
                </a:lnTo>
                <a:lnTo>
                  <a:pt x="4724" y="4891"/>
                </a:lnTo>
                <a:lnTo>
                  <a:pt x="4716" y="4885"/>
                </a:lnTo>
                <a:lnTo>
                  <a:pt x="4706" y="4878"/>
                </a:lnTo>
                <a:lnTo>
                  <a:pt x="4693" y="4868"/>
                </a:lnTo>
                <a:lnTo>
                  <a:pt x="4679" y="4856"/>
                </a:lnTo>
                <a:lnTo>
                  <a:pt x="4679" y="4856"/>
                </a:lnTo>
                <a:lnTo>
                  <a:pt x="4671" y="4846"/>
                </a:lnTo>
                <a:lnTo>
                  <a:pt x="4664" y="4836"/>
                </a:lnTo>
                <a:lnTo>
                  <a:pt x="4659" y="4825"/>
                </a:lnTo>
                <a:lnTo>
                  <a:pt x="4655" y="4815"/>
                </a:lnTo>
                <a:lnTo>
                  <a:pt x="4654" y="4807"/>
                </a:lnTo>
                <a:lnTo>
                  <a:pt x="4654" y="4804"/>
                </a:lnTo>
                <a:lnTo>
                  <a:pt x="4654" y="4802"/>
                </a:lnTo>
                <a:lnTo>
                  <a:pt x="4657" y="4800"/>
                </a:lnTo>
                <a:lnTo>
                  <a:pt x="4659" y="4799"/>
                </a:lnTo>
                <a:lnTo>
                  <a:pt x="4661" y="4799"/>
                </a:lnTo>
                <a:lnTo>
                  <a:pt x="4665" y="4800"/>
                </a:lnTo>
                <a:lnTo>
                  <a:pt x="4665" y="4800"/>
                </a:lnTo>
                <a:lnTo>
                  <a:pt x="4679" y="4806"/>
                </a:lnTo>
                <a:lnTo>
                  <a:pt x="4693" y="4810"/>
                </a:lnTo>
                <a:lnTo>
                  <a:pt x="4708" y="4813"/>
                </a:lnTo>
                <a:lnTo>
                  <a:pt x="4723" y="4814"/>
                </a:lnTo>
                <a:lnTo>
                  <a:pt x="4737" y="4815"/>
                </a:lnTo>
                <a:lnTo>
                  <a:pt x="4752" y="4816"/>
                </a:lnTo>
                <a:lnTo>
                  <a:pt x="4765" y="4815"/>
                </a:lnTo>
                <a:lnTo>
                  <a:pt x="4778" y="4814"/>
                </a:lnTo>
                <a:lnTo>
                  <a:pt x="4802" y="4811"/>
                </a:lnTo>
                <a:lnTo>
                  <a:pt x="4819" y="4807"/>
                </a:lnTo>
                <a:lnTo>
                  <a:pt x="4835" y="4803"/>
                </a:lnTo>
                <a:lnTo>
                  <a:pt x="4835" y="4803"/>
                </a:lnTo>
                <a:lnTo>
                  <a:pt x="4844" y="4707"/>
                </a:lnTo>
                <a:lnTo>
                  <a:pt x="4849" y="4632"/>
                </a:lnTo>
                <a:lnTo>
                  <a:pt x="4851" y="4577"/>
                </a:lnTo>
                <a:lnTo>
                  <a:pt x="4851" y="4539"/>
                </a:lnTo>
                <a:lnTo>
                  <a:pt x="4849" y="4514"/>
                </a:lnTo>
                <a:lnTo>
                  <a:pt x="4847" y="4499"/>
                </a:lnTo>
                <a:lnTo>
                  <a:pt x="4845" y="4493"/>
                </a:lnTo>
                <a:lnTo>
                  <a:pt x="4844" y="4491"/>
                </a:lnTo>
                <a:lnTo>
                  <a:pt x="4844" y="4491"/>
                </a:lnTo>
                <a:lnTo>
                  <a:pt x="4825" y="4492"/>
                </a:lnTo>
                <a:lnTo>
                  <a:pt x="4808" y="4491"/>
                </a:lnTo>
                <a:lnTo>
                  <a:pt x="4791" y="4490"/>
                </a:lnTo>
                <a:lnTo>
                  <a:pt x="4776" y="4489"/>
                </a:lnTo>
                <a:lnTo>
                  <a:pt x="4763" y="4487"/>
                </a:lnTo>
                <a:lnTo>
                  <a:pt x="4750" y="4484"/>
                </a:lnTo>
                <a:lnTo>
                  <a:pt x="4737" y="4481"/>
                </a:lnTo>
                <a:lnTo>
                  <a:pt x="4726" y="4477"/>
                </a:lnTo>
                <a:lnTo>
                  <a:pt x="4716" y="4473"/>
                </a:lnTo>
                <a:lnTo>
                  <a:pt x="4707" y="4469"/>
                </a:lnTo>
                <a:lnTo>
                  <a:pt x="4698" y="4463"/>
                </a:lnTo>
                <a:lnTo>
                  <a:pt x="4690" y="4458"/>
                </a:lnTo>
                <a:lnTo>
                  <a:pt x="4683" y="4452"/>
                </a:lnTo>
                <a:lnTo>
                  <a:pt x="4676" y="4447"/>
                </a:lnTo>
                <a:lnTo>
                  <a:pt x="4665" y="4434"/>
                </a:lnTo>
                <a:lnTo>
                  <a:pt x="4665" y="4434"/>
                </a:lnTo>
                <a:lnTo>
                  <a:pt x="4677" y="4437"/>
                </a:lnTo>
                <a:lnTo>
                  <a:pt x="4690" y="4439"/>
                </a:lnTo>
                <a:lnTo>
                  <a:pt x="4717" y="4441"/>
                </a:lnTo>
                <a:lnTo>
                  <a:pt x="4742" y="4441"/>
                </a:lnTo>
                <a:lnTo>
                  <a:pt x="4768" y="4439"/>
                </a:lnTo>
                <a:lnTo>
                  <a:pt x="4790" y="4435"/>
                </a:lnTo>
                <a:lnTo>
                  <a:pt x="4812" y="4429"/>
                </a:lnTo>
                <a:lnTo>
                  <a:pt x="4821" y="4426"/>
                </a:lnTo>
                <a:lnTo>
                  <a:pt x="4829" y="4422"/>
                </a:lnTo>
                <a:lnTo>
                  <a:pt x="4838" y="4416"/>
                </a:lnTo>
                <a:lnTo>
                  <a:pt x="4844" y="4412"/>
                </a:lnTo>
                <a:lnTo>
                  <a:pt x="4844" y="4412"/>
                </a:lnTo>
                <a:lnTo>
                  <a:pt x="4843" y="4364"/>
                </a:lnTo>
                <a:lnTo>
                  <a:pt x="4841" y="4316"/>
                </a:lnTo>
                <a:lnTo>
                  <a:pt x="4838" y="4261"/>
                </a:lnTo>
                <a:lnTo>
                  <a:pt x="4833" y="4206"/>
                </a:lnTo>
                <a:lnTo>
                  <a:pt x="4831" y="4181"/>
                </a:lnTo>
                <a:lnTo>
                  <a:pt x="4828" y="4159"/>
                </a:lnTo>
                <a:lnTo>
                  <a:pt x="4825" y="4140"/>
                </a:lnTo>
                <a:lnTo>
                  <a:pt x="4822" y="4126"/>
                </a:lnTo>
                <a:lnTo>
                  <a:pt x="4820" y="4121"/>
                </a:lnTo>
                <a:lnTo>
                  <a:pt x="4818" y="4118"/>
                </a:lnTo>
                <a:lnTo>
                  <a:pt x="4816" y="4116"/>
                </a:lnTo>
                <a:lnTo>
                  <a:pt x="4814" y="4116"/>
                </a:lnTo>
                <a:lnTo>
                  <a:pt x="4814" y="4116"/>
                </a:lnTo>
                <a:lnTo>
                  <a:pt x="4786" y="4123"/>
                </a:lnTo>
                <a:lnTo>
                  <a:pt x="4760" y="4128"/>
                </a:lnTo>
                <a:lnTo>
                  <a:pt x="4746" y="4129"/>
                </a:lnTo>
                <a:lnTo>
                  <a:pt x="4734" y="4130"/>
                </a:lnTo>
                <a:lnTo>
                  <a:pt x="4722" y="4130"/>
                </a:lnTo>
                <a:lnTo>
                  <a:pt x="4711" y="4129"/>
                </a:lnTo>
                <a:lnTo>
                  <a:pt x="4698" y="4127"/>
                </a:lnTo>
                <a:lnTo>
                  <a:pt x="4687" y="4125"/>
                </a:lnTo>
                <a:lnTo>
                  <a:pt x="4675" y="4122"/>
                </a:lnTo>
                <a:lnTo>
                  <a:pt x="4664" y="4118"/>
                </a:lnTo>
                <a:lnTo>
                  <a:pt x="4652" y="4113"/>
                </a:lnTo>
                <a:lnTo>
                  <a:pt x="4640" y="4108"/>
                </a:lnTo>
                <a:lnTo>
                  <a:pt x="4629" y="4100"/>
                </a:lnTo>
                <a:lnTo>
                  <a:pt x="4618" y="4093"/>
                </a:lnTo>
                <a:lnTo>
                  <a:pt x="4618" y="4093"/>
                </a:lnTo>
                <a:lnTo>
                  <a:pt x="4613" y="4090"/>
                </a:lnTo>
                <a:lnTo>
                  <a:pt x="4608" y="4086"/>
                </a:lnTo>
                <a:lnTo>
                  <a:pt x="4602" y="4078"/>
                </a:lnTo>
                <a:lnTo>
                  <a:pt x="4597" y="4069"/>
                </a:lnTo>
                <a:lnTo>
                  <a:pt x="4594" y="4059"/>
                </a:lnTo>
                <a:lnTo>
                  <a:pt x="4592" y="4047"/>
                </a:lnTo>
                <a:lnTo>
                  <a:pt x="4591" y="4037"/>
                </a:lnTo>
                <a:lnTo>
                  <a:pt x="4590" y="4015"/>
                </a:lnTo>
                <a:lnTo>
                  <a:pt x="4589" y="3993"/>
                </a:lnTo>
                <a:lnTo>
                  <a:pt x="4587" y="3984"/>
                </a:lnTo>
                <a:lnTo>
                  <a:pt x="4585" y="3976"/>
                </a:lnTo>
                <a:lnTo>
                  <a:pt x="4581" y="3969"/>
                </a:lnTo>
                <a:lnTo>
                  <a:pt x="4575" y="3962"/>
                </a:lnTo>
                <a:lnTo>
                  <a:pt x="4571" y="3959"/>
                </a:lnTo>
                <a:lnTo>
                  <a:pt x="4567" y="3957"/>
                </a:lnTo>
                <a:lnTo>
                  <a:pt x="4561" y="3956"/>
                </a:lnTo>
                <a:lnTo>
                  <a:pt x="4556" y="3955"/>
                </a:lnTo>
                <a:lnTo>
                  <a:pt x="4556" y="3955"/>
                </a:lnTo>
                <a:lnTo>
                  <a:pt x="4534" y="3948"/>
                </a:lnTo>
                <a:lnTo>
                  <a:pt x="4511" y="3941"/>
                </a:lnTo>
                <a:lnTo>
                  <a:pt x="4489" y="3933"/>
                </a:lnTo>
                <a:lnTo>
                  <a:pt x="4468" y="3923"/>
                </a:lnTo>
                <a:lnTo>
                  <a:pt x="4448" y="3913"/>
                </a:lnTo>
                <a:lnTo>
                  <a:pt x="4428" y="3902"/>
                </a:lnTo>
                <a:lnTo>
                  <a:pt x="4410" y="3892"/>
                </a:lnTo>
                <a:lnTo>
                  <a:pt x="4394" y="3881"/>
                </a:lnTo>
                <a:lnTo>
                  <a:pt x="4377" y="3869"/>
                </a:lnTo>
                <a:lnTo>
                  <a:pt x="4363" y="3859"/>
                </a:lnTo>
                <a:lnTo>
                  <a:pt x="4337" y="3839"/>
                </a:lnTo>
                <a:lnTo>
                  <a:pt x="4318" y="3820"/>
                </a:lnTo>
                <a:lnTo>
                  <a:pt x="4306" y="3805"/>
                </a:lnTo>
                <a:lnTo>
                  <a:pt x="4306" y="3805"/>
                </a:lnTo>
                <a:lnTo>
                  <a:pt x="4297" y="3793"/>
                </a:lnTo>
                <a:lnTo>
                  <a:pt x="4288" y="3780"/>
                </a:lnTo>
                <a:lnTo>
                  <a:pt x="4282" y="3769"/>
                </a:lnTo>
                <a:lnTo>
                  <a:pt x="4277" y="3758"/>
                </a:lnTo>
                <a:lnTo>
                  <a:pt x="4273" y="3748"/>
                </a:lnTo>
                <a:lnTo>
                  <a:pt x="4270" y="3739"/>
                </a:lnTo>
                <a:lnTo>
                  <a:pt x="4266" y="3722"/>
                </a:lnTo>
                <a:lnTo>
                  <a:pt x="4265" y="3709"/>
                </a:lnTo>
                <a:lnTo>
                  <a:pt x="4265" y="3699"/>
                </a:lnTo>
                <a:lnTo>
                  <a:pt x="4266" y="3690"/>
                </a:lnTo>
                <a:lnTo>
                  <a:pt x="4266" y="3690"/>
                </a:lnTo>
                <a:lnTo>
                  <a:pt x="4284" y="3700"/>
                </a:lnTo>
                <a:lnTo>
                  <a:pt x="4302" y="3706"/>
                </a:lnTo>
                <a:lnTo>
                  <a:pt x="4321" y="3711"/>
                </a:lnTo>
                <a:lnTo>
                  <a:pt x="4340" y="3714"/>
                </a:lnTo>
                <a:lnTo>
                  <a:pt x="4358" y="3716"/>
                </a:lnTo>
                <a:lnTo>
                  <a:pt x="4377" y="3715"/>
                </a:lnTo>
                <a:lnTo>
                  <a:pt x="4396" y="3712"/>
                </a:lnTo>
                <a:lnTo>
                  <a:pt x="4414" y="3708"/>
                </a:lnTo>
                <a:lnTo>
                  <a:pt x="4434" y="3468"/>
                </a:lnTo>
                <a:lnTo>
                  <a:pt x="4434" y="3468"/>
                </a:lnTo>
                <a:lnTo>
                  <a:pt x="4425" y="3467"/>
                </a:lnTo>
                <a:lnTo>
                  <a:pt x="4405" y="3464"/>
                </a:lnTo>
                <a:lnTo>
                  <a:pt x="4392" y="3461"/>
                </a:lnTo>
                <a:lnTo>
                  <a:pt x="4377" y="3457"/>
                </a:lnTo>
                <a:lnTo>
                  <a:pt x="4362" y="3453"/>
                </a:lnTo>
                <a:lnTo>
                  <a:pt x="4348" y="3447"/>
                </a:lnTo>
                <a:lnTo>
                  <a:pt x="4348" y="3447"/>
                </a:lnTo>
                <a:lnTo>
                  <a:pt x="4339" y="3443"/>
                </a:lnTo>
                <a:lnTo>
                  <a:pt x="4331" y="3438"/>
                </a:lnTo>
                <a:lnTo>
                  <a:pt x="4323" y="3432"/>
                </a:lnTo>
                <a:lnTo>
                  <a:pt x="4316" y="3426"/>
                </a:lnTo>
                <a:lnTo>
                  <a:pt x="4302" y="3412"/>
                </a:lnTo>
                <a:lnTo>
                  <a:pt x="4289" y="3399"/>
                </a:lnTo>
                <a:lnTo>
                  <a:pt x="4280" y="3386"/>
                </a:lnTo>
                <a:lnTo>
                  <a:pt x="4273" y="3376"/>
                </a:lnTo>
                <a:lnTo>
                  <a:pt x="4267" y="3366"/>
                </a:lnTo>
                <a:lnTo>
                  <a:pt x="4267" y="3366"/>
                </a:lnTo>
                <a:lnTo>
                  <a:pt x="4274" y="3369"/>
                </a:lnTo>
                <a:lnTo>
                  <a:pt x="4293" y="3377"/>
                </a:lnTo>
                <a:lnTo>
                  <a:pt x="4321" y="3385"/>
                </a:lnTo>
                <a:lnTo>
                  <a:pt x="4339" y="3389"/>
                </a:lnTo>
                <a:lnTo>
                  <a:pt x="4356" y="3392"/>
                </a:lnTo>
                <a:lnTo>
                  <a:pt x="4356" y="3392"/>
                </a:lnTo>
                <a:lnTo>
                  <a:pt x="4375" y="3394"/>
                </a:lnTo>
                <a:lnTo>
                  <a:pt x="4392" y="3395"/>
                </a:lnTo>
                <a:lnTo>
                  <a:pt x="4407" y="3393"/>
                </a:lnTo>
                <a:lnTo>
                  <a:pt x="4419" y="3391"/>
                </a:lnTo>
                <a:lnTo>
                  <a:pt x="4430" y="3389"/>
                </a:lnTo>
                <a:lnTo>
                  <a:pt x="4438" y="3387"/>
                </a:lnTo>
                <a:lnTo>
                  <a:pt x="4444" y="3384"/>
                </a:lnTo>
                <a:lnTo>
                  <a:pt x="4477" y="3113"/>
                </a:lnTo>
                <a:lnTo>
                  <a:pt x="4477" y="3113"/>
                </a:lnTo>
                <a:lnTo>
                  <a:pt x="4451" y="3114"/>
                </a:lnTo>
                <a:lnTo>
                  <a:pt x="4427" y="3113"/>
                </a:lnTo>
                <a:lnTo>
                  <a:pt x="4408" y="3111"/>
                </a:lnTo>
                <a:lnTo>
                  <a:pt x="4392" y="3106"/>
                </a:lnTo>
                <a:lnTo>
                  <a:pt x="4377" y="3100"/>
                </a:lnTo>
                <a:lnTo>
                  <a:pt x="4365" y="3093"/>
                </a:lnTo>
                <a:lnTo>
                  <a:pt x="4356" y="3085"/>
                </a:lnTo>
                <a:lnTo>
                  <a:pt x="4348" y="3077"/>
                </a:lnTo>
                <a:lnTo>
                  <a:pt x="4343" y="3069"/>
                </a:lnTo>
                <a:lnTo>
                  <a:pt x="4337" y="3060"/>
                </a:lnTo>
                <a:lnTo>
                  <a:pt x="4335" y="3051"/>
                </a:lnTo>
                <a:lnTo>
                  <a:pt x="4333" y="3043"/>
                </a:lnTo>
                <a:lnTo>
                  <a:pt x="4332" y="3035"/>
                </a:lnTo>
                <a:lnTo>
                  <a:pt x="4331" y="3029"/>
                </a:lnTo>
                <a:lnTo>
                  <a:pt x="4332" y="3020"/>
                </a:lnTo>
                <a:lnTo>
                  <a:pt x="4332" y="3020"/>
                </a:lnTo>
                <a:lnTo>
                  <a:pt x="4357" y="3015"/>
                </a:lnTo>
                <a:lnTo>
                  <a:pt x="4381" y="3009"/>
                </a:lnTo>
                <a:lnTo>
                  <a:pt x="4405" y="3001"/>
                </a:lnTo>
                <a:lnTo>
                  <a:pt x="4428" y="2994"/>
                </a:lnTo>
                <a:lnTo>
                  <a:pt x="4451" y="2985"/>
                </a:lnTo>
                <a:lnTo>
                  <a:pt x="4473" y="2975"/>
                </a:lnTo>
                <a:lnTo>
                  <a:pt x="4495" y="2964"/>
                </a:lnTo>
                <a:lnTo>
                  <a:pt x="4515" y="2951"/>
                </a:lnTo>
                <a:lnTo>
                  <a:pt x="4536" y="2939"/>
                </a:lnTo>
                <a:lnTo>
                  <a:pt x="4555" y="2926"/>
                </a:lnTo>
                <a:lnTo>
                  <a:pt x="4574" y="2911"/>
                </a:lnTo>
                <a:lnTo>
                  <a:pt x="4592" y="2896"/>
                </a:lnTo>
                <a:lnTo>
                  <a:pt x="4609" y="2881"/>
                </a:lnTo>
                <a:lnTo>
                  <a:pt x="4627" y="2864"/>
                </a:lnTo>
                <a:lnTo>
                  <a:pt x="4642" y="2848"/>
                </a:lnTo>
                <a:lnTo>
                  <a:pt x="4659" y="2831"/>
                </a:lnTo>
                <a:lnTo>
                  <a:pt x="4673" y="2812"/>
                </a:lnTo>
                <a:lnTo>
                  <a:pt x="4688" y="2794"/>
                </a:lnTo>
                <a:lnTo>
                  <a:pt x="4702" y="2775"/>
                </a:lnTo>
                <a:lnTo>
                  <a:pt x="4715" y="2756"/>
                </a:lnTo>
                <a:lnTo>
                  <a:pt x="4727" y="2737"/>
                </a:lnTo>
                <a:lnTo>
                  <a:pt x="4738" y="2717"/>
                </a:lnTo>
                <a:lnTo>
                  <a:pt x="4750" y="2698"/>
                </a:lnTo>
                <a:lnTo>
                  <a:pt x="4760" y="2677"/>
                </a:lnTo>
                <a:lnTo>
                  <a:pt x="4770" y="2657"/>
                </a:lnTo>
                <a:lnTo>
                  <a:pt x="4779" y="2636"/>
                </a:lnTo>
                <a:lnTo>
                  <a:pt x="4787" y="2616"/>
                </a:lnTo>
                <a:lnTo>
                  <a:pt x="4796" y="2595"/>
                </a:lnTo>
                <a:lnTo>
                  <a:pt x="4803" y="2575"/>
                </a:lnTo>
                <a:lnTo>
                  <a:pt x="4809" y="2555"/>
                </a:lnTo>
                <a:lnTo>
                  <a:pt x="4815" y="2534"/>
                </a:lnTo>
                <a:lnTo>
                  <a:pt x="4820" y="2515"/>
                </a:lnTo>
                <a:lnTo>
                  <a:pt x="4820" y="2515"/>
                </a:lnTo>
                <a:lnTo>
                  <a:pt x="4831" y="2521"/>
                </a:lnTo>
                <a:lnTo>
                  <a:pt x="4847" y="2527"/>
                </a:lnTo>
                <a:lnTo>
                  <a:pt x="4864" y="2533"/>
                </a:lnTo>
                <a:lnTo>
                  <a:pt x="4882" y="2538"/>
                </a:lnTo>
                <a:lnTo>
                  <a:pt x="4903" y="2541"/>
                </a:lnTo>
                <a:lnTo>
                  <a:pt x="4913" y="2542"/>
                </a:lnTo>
                <a:lnTo>
                  <a:pt x="4923" y="2543"/>
                </a:lnTo>
                <a:lnTo>
                  <a:pt x="4935" y="2542"/>
                </a:lnTo>
                <a:lnTo>
                  <a:pt x="4945" y="2541"/>
                </a:lnTo>
                <a:lnTo>
                  <a:pt x="4955" y="2539"/>
                </a:lnTo>
                <a:lnTo>
                  <a:pt x="4965" y="2536"/>
                </a:lnTo>
                <a:lnTo>
                  <a:pt x="4965" y="2536"/>
                </a:lnTo>
                <a:lnTo>
                  <a:pt x="4967" y="2508"/>
                </a:lnTo>
                <a:lnTo>
                  <a:pt x="4970" y="2441"/>
                </a:lnTo>
                <a:lnTo>
                  <a:pt x="4972" y="2405"/>
                </a:lnTo>
                <a:lnTo>
                  <a:pt x="4973" y="2371"/>
                </a:lnTo>
                <a:lnTo>
                  <a:pt x="4972" y="2343"/>
                </a:lnTo>
                <a:lnTo>
                  <a:pt x="4972" y="2333"/>
                </a:lnTo>
                <a:lnTo>
                  <a:pt x="4970" y="2327"/>
                </a:lnTo>
                <a:lnTo>
                  <a:pt x="4970" y="2327"/>
                </a:lnTo>
                <a:lnTo>
                  <a:pt x="4955" y="2325"/>
                </a:lnTo>
                <a:lnTo>
                  <a:pt x="4938" y="2322"/>
                </a:lnTo>
                <a:lnTo>
                  <a:pt x="4919" y="2317"/>
                </a:lnTo>
                <a:lnTo>
                  <a:pt x="4911" y="2314"/>
                </a:lnTo>
                <a:lnTo>
                  <a:pt x="4902" y="2311"/>
                </a:lnTo>
                <a:lnTo>
                  <a:pt x="4893" y="2306"/>
                </a:lnTo>
                <a:lnTo>
                  <a:pt x="4885" y="2302"/>
                </a:lnTo>
                <a:lnTo>
                  <a:pt x="4876" y="2296"/>
                </a:lnTo>
                <a:lnTo>
                  <a:pt x="4868" y="2289"/>
                </a:lnTo>
                <a:lnTo>
                  <a:pt x="4861" y="2282"/>
                </a:lnTo>
                <a:lnTo>
                  <a:pt x="4854" y="2273"/>
                </a:lnTo>
                <a:lnTo>
                  <a:pt x="4848" y="2264"/>
                </a:lnTo>
                <a:lnTo>
                  <a:pt x="4842" y="225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86" name="Freeform 37"/>
          <p:cNvSpPr>
            <a:spLocks/>
          </p:cNvSpPr>
          <p:nvPr userDrawn="1"/>
        </p:nvSpPr>
        <p:spPr bwMode="auto">
          <a:xfrm>
            <a:off x="8332789" y="-385339"/>
            <a:ext cx="276225" cy="73025"/>
          </a:xfrm>
          <a:custGeom>
            <a:avLst/>
            <a:gdLst>
              <a:gd name="T0" fmla="*/ 0 w 349"/>
              <a:gd name="T1" fmla="*/ 34 h 91"/>
              <a:gd name="T2" fmla="*/ 0 w 349"/>
              <a:gd name="T3" fmla="*/ 34 h 91"/>
              <a:gd name="T4" fmla="*/ 20 w 349"/>
              <a:gd name="T5" fmla="*/ 49 h 91"/>
              <a:gd name="T6" fmla="*/ 38 w 349"/>
              <a:gd name="T7" fmla="*/ 60 h 91"/>
              <a:gd name="T8" fmla="*/ 38 w 349"/>
              <a:gd name="T9" fmla="*/ 60 h 91"/>
              <a:gd name="T10" fmla="*/ 69 w 349"/>
              <a:gd name="T11" fmla="*/ 71 h 91"/>
              <a:gd name="T12" fmla="*/ 89 w 349"/>
              <a:gd name="T13" fmla="*/ 78 h 91"/>
              <a:gd name="T14" fmla="*/ 111 w 349"/>
              <a:gd name="T15" fmla="*/ 84 h 91"/>
              <a:gd name="T16" fmla="*/ 137 w 349"/>
              <a:gd name="T17" fmla="*/ 87 h 91"/>
              <a:gd name="T18" fmla="*/ 164 w 349"/>
              <a:gd name="T19" fmla="*/ 91 h 91"/>
              <a:gd name="T20" fmla="*/ 194 w 349"/>
              <a:gd name="T21" fmla="*/ 91 h 91"/>
              <a:gd name="T22" fmla="*/ 226 w 349"/>
              <a:gd name="T23" fmla="*/ 89 h 91"/>
              <a:gd name="T24" fmla="*/ 226 w 349"/>
              <a:gd name="T25" fmla="*/ 89 h 91"/>
              <a:gd name="T26" fmla="*/ 256 w 349"/>
              <a:gd name="T27" fmla="*/ 86 h 91"/>
              <a:gd name="T28" fmla="*/ 279 w 349"/>
              <a:gd name="T29" fmla="*/ 80 h 91"/>
              <a:gd name="T30" fmla="*/ 301 w 349"/>
              <a:gd name="T31" fmla="*/ 75 h 91"/>
              <a:gd name="T32" fmla="*/ 318 w 349"/>
              <a:gd name="T33" fmla="*/ 69 h 91"/>
              <a:gd name="T34" fmla="*/ 342 w 349"/>
              <a:gd name="T35" fmla="*/ 56 h 91"/>
              <a:gd name="T36" fmla="*/ 349 w 349"/>
              <a:gd name="T37" fmla="*/ 53 h 91"/>
              <a:gd name="T38" fmla="*/ 349 w 349"/>
              <a:gd name="T39" fmla="*/ 53 h 91"/>
              <a:gd name="T40" fmla="*/ 338 w 349"/>
              <a:gd name="T41" fmla="*/ 49 h 91"/>
              <a:gd name="T42" fmla="*/ 329 w 349"/>
              <a:gd name="T43" fmla="*/ 44 h 91"/>
              <a:gd name="T44" fmla="*/ 314 w 349"/>
              <a:gd name="T45" fmla="*/ 31 h 91"/>
              <a:gd name="T46" fmla="*/ 314 w 349"/>
              <a:gd name="T47" fmla="*/ 31 h 91"/>
              <a:gd name="T48" fmla="*/ 312 w 349"/>
              <a:gd name="T49" fmla="*/ 38 h 91"/>
              <a:gd name="T50" fmla="*/ 312 w 349"/>
              <a:gd name="T51" fmla="*/ 38 h 91"/>
              <a:gd name="T52" fmla="*/ 311 w 349"/>
              <a:gd name="T53" fmla="*/ 51 h 91"/>
              <a:gd name="T54" fmla="*/ 311 w 349"/>
              <a:gd name="T55" fmla="*/ 51 h 91"/>
              <a:gd name="T56" fmla="*/ 303 w 349"/>
              <a:gd name="T57" fmla="*/ 49 h 91"/>
              <a:gd name="T58" fmla="*/ 303 w 349"/>
              <a:gd name="T59" fmla="*/ 49 h 91"/>
              <a:gd name="T60" fmla="*/ 298 w 349"/>
              <a:gd name="T61" fmla="*/ 45 h 91"/>
              <a:gd name="T62" fmla="*/ 292 w 349"/>
              <a:gd name="T63" fmla="*/ 40 h 91"/>
              <a:gd name="T64" fmla="*/ 289 w 349"/>
              <a:gd name="T65" fmla="*/ 33 h 91"/>
              <a:gd name="T66" fmla="*/ 287 w 349"/>
              <a:gd name="T67" fmla="*/ 23 h 91"/>
              <a:gd name="T68" fmla="*/ 287 w 349"/>
              <a:gd name="T69" fmla="*/ 23 h 91"/>
              <a:gd name="T70" fmla="*/ 287 w 349"/>
              <a:gd name="T71" fmla="*/ 22 h 91"/>
              <a:gd name="T72" fmla="*/ 287 w 349"/>
              <a:gd name="T73" fmla="*/ 22 h 91"/>
              <a:gd name="T74" fmla="*/ 272 w 349"/>
              <a:gd name="T75" fmla="*/ 27 h 91"/>
              <a:gd name="T76" fmla="*/ 252 w 349"/>
              <a:gd name="T77" fmla="*/ 33 h 91"/>
              <a:gd name="T78" fmla="*/ 228 w 349"/>
              <a:gd name="T79" fmla="*/ 38 h 91"/>
              <a:gd name="T80" fmla="*/ 205 w 349"/>
              <a:gd name="T81" fmla="*/ 40 h 91"/>
              <a:gd name="T82" fmla="*/ 205 w 349"/>
              <a:gd name="T83" fmla="*/ 40 h 91"/>
              <a:gd name="T84" fmla="*/ 161 w 349"/>
              <a:gd name="T85" fmla="*/ 38 h 91"/>
              <a:gd name="T86" fmla="*/ 139 w 349"/>
              <a:gd name="T87" fmla="*/ 36 h 91"/>
              <a:gd name="T88" fmla="*/ 117 w 349"/>
              <a:gd name="T89" fmla="*/ 33 h 91"/>
              <a:gd name="T90" fmla="*/ 95 w 349"/>
              <a:gd name="T91" fmla="*/ 29 h 91"/>
              <a:gd name="T92" fmla="*/ 73 w 349"/>
              <a:gd name="T93" fmla="*/ 22 h 91"/>
              <a:gd name="T94" fmla="*/ 51 w 349"/>
              <a:gd name="T95" fmla="*/ 14 h 91"/>
              <a:gd name="T96" fmla="*/ 31 w 349"/>
              <a:gd name="T97" fmla="*/ 7 h 91"/>
              <a:gd name="T98" fmla="*/ 31 w 349"/>
              <a:gd name="T99" fmla="*/ 7 h 91"/>
              <a:gd name="T100" fmla="*/ 15 w 349"/>
              <a:gd name="T101" fmla="*/ 0 h 91"/>
              <a:gd name="T102" fmla="*/ 15 w 349"/>
              <a:gd name="T103" fmla="*/ 0 h 91"/>
              <a:gd name="T104" fmla="*/ 15 w 349"/>
              <a:gd name="T105" fmla="*/ 1 h 91"/>
              <a:gd name="T106" fmla="*/ 15 w 349"/>
              <a:gd name="T107" fmla="*/ 5 h 91"/>
              <a:gd name="T108" fmla="*/ 18 w 349"/>
              <a:gd name="T109" fmla="*/ 14 h 91"/>
              <a:gd name="T110" fmla="*/ 25 w 349"/>
              <a:gd name="T111" fmla="*/ 25 h 91"/>
              <a:gd name="T112" fmla="*/ 25 w 349"/>
              <a:gd name="T113" fmla="*/ 25 h 91"/>
              <a:gd name="T114" fmla="*/ 16 w 349"/>
              <a:gd name="T115" fmla="*/ 23 h 91"/>
              <a:gd name="T116" fmla="*/ 7 w 349"/>
              <a:gd name="T117" fmla="*/ 27 h 91"/>
              <a:gd name="T118" fmla="*/ 7 w 349"/>
              <a:gd name="T119" fmla="*/ 27 h 91"/>
              <a:gd name="T120" fmla="*/ 2 w 349"/>
              <a:gd name="T121" fmla="*/ 31 h 91"/>
              <a:gd name="T122" fmla="*/ 0 w 349"/>
              <a:gd name="T123" fmla="*/ 3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9" h="91">
                <a:moveTo>
                  <a:pt x="0" y="34"/>
                </a:moveTo>
                <a:lnTo>
                  <a:pt x="0" y="34"/>
                </a:lnTo>
                <a:lnTo>
                  <a:pt x="20" y="49"/>
                </a:lnTo>
                <a:lnTo>
                  <a:pt x="38" y="60"/>
                </a:lnTo>
                <a:lnTo>
                  <a:pt x="38" y="60"/>
                </a:lnTo>
                <a:lnTo>
                  <a:pt x="69" y="71"/>
                </a:lnTo>
                <a:lnTo>
                  <a:pt x="89" y="78"/>
                </a:lnTo>
                <a:lnTo>
                  <a:pt x="111" y="84"/>
                </a:lnTo>
                <a:lnTo>
                  <a:pt x="137" y="87"/>
                </a:lnTo>
                <a:lnTo>
                  <a:pt x="164" y="91"/>
                </a:lnTo>
                <a:lnTo>
                  <a:pt x="194" y="91"/>
                </a:lnTo>
                <a:lnTo>
                  <a:pt x="226" y="89"/>
                </a:lnTo>
                <a:lnTo>
                  <a:pt x="226" y="89"/>
                </a:lnTo>
                <a:lnTo>
                  <a:pt x="256" y="86"/>
                </a:lnTo>
                <a:lnTo>
                  <a:pt x="279" y="80"/>
                </a:lnTo>
                <a:lnTo>
                  <a:pt x="301" y="75"/>
                </a:lnTo>
                <a:lnTo>
                  <a:pt x="318" y="69"/>
                </a:lnTo>
                <a:lnTo>
                  <a:pt x="342" y="56"/>
                </a:lnTo>
                <a:lnTo>
                  <a:pt x="349" y="53"/>
                </a:lnTo>
                <a:lnTo>
                  <a:pt x="349" y="53"/>
                </a:lnTo>
                <a:lnTo>
                  <a:pt x="338" y="49"/>
                </a:lnTo>
                <a:lnTo>
                  <a:pt x="329" y="44"/>
                </a:lnTo>
                <a:lnTo>
                  <a:pt x="314" y="31"/>
                </a:lnTo>
                <a:lnTo>
                  <a:pt x="314" y="31"/>
                </a:lnTo>
                <a:lnTo>
                  <a:pt x="312" y="38"/>
                </a:lnTo>
                <a:lnTo>
                  <a:pt x="312" y="38"/>
                </a:lnTo>
                <a:lnTo>
                  <a:pt x="311" y="51"/>
                </a:lnTo>
                <a:lnTo>
                  <a:pt x="311" y="51"/>
                </a:lnTo>
                <a:lnTo>
                  <a:pt x="303" y="49"/>
                </a:lnTo>
                <a:lnTo>
                  <a:pt x="303" y="49"/>
                </a:lnTo>
                <a:lnTo>
                  <a:pt x="298" y="45"/>
                </a:lnTo>
                <a:lnTo>
                  <a:pt x="292" y="40"/>
                </a:lnTo>
                <a:lnTo>
                  <a:pt x="289" y="33"/>
                </a:lnTo>
                <a:lnTo>
                  <a:pt x="287" y="23"/>
                </a:lnTo>
                <a:lnTo>
                  <a:pt x="287" y="23"/>
                </a:lnTo>
                <a:lnTo>
                  <a:pt x="287" y="22"/>
                </a:lnTo>
                <a:lnTo>
                  <a:pt x="287" y="22"/>
                </a:lnTo>
                <a:lnTo>
                  <a:pt x="272" y="27"/>
                </a:lnTo>
                <a:lnTo>
                  <a:pt x="252" y="33"/>
                </a:lnTo>
                <a:lnTo>
                  <a:pt x="228" y="38"/>
                </a:lnTo>
                <a:lnTo>
                  <a:pt x="205" y="40"/>
                </a:lnTo>
                <a:lnTo>
                  <a:pt x="205" y="40"/>
                </a:lnTo>
                <a:lnTo>
                  <a:pt x="161" y="38"/>
                </a:lnTo>
                <a:lnTo>
                  <a:pt x="139" y="36"/>
                </a:lnTo>
                <a:lnTo>
                  <a:pt x="117" y="33"/>
                </a:lnTo>
                <a:lnTo>
                  <a:pt x="95" y="29"/>
                </a:lnTo>
                <a:lnTo>
                  <a:pt x="73" y="22"/>
                </a:lnTo>
                <a:lnTo>
                  <a:pt x="51" y="14"/>
                </a:lnTo>
                <a:lnTo>
                  <a:pt x="31" y="7"/>
                </a:lnTo>
                <a:lnTo>
                  <a:pt x="31" y="7"/>
                </a:lnTo>
                <a:lnTo>
                  <a:pt x="15" y="0"/>
                </a:lnTo>
                <a:lnTo>
                  <a:pt x="15" y="0"/>
                </a:lnTo>
                <a:lnTo>
                  <a:pt x="15" y="1"/>
                </a:lnTo>
                <a:lnTo>
                  <a:pt x="15" y="5"/>
                </a:lnTo>
                <a:lnTo>
                  <a:pt x="18" y="14"/>
                </a:lnTo>
                <a:lnTo>
                  <a:pt x="25" y="25"/>
                </a:lnTo>
                <a:lnTo>
                  <a:pt x="25" y="25"/>
                </a:lnTo>
                <a:lnTo>
                  <a:pt x="16" y="23"/>
                </a:lnTo>
                <a:lnTo>
                  <a:pt x="7" y="27"/>
                </a:lnTo>
                <a:lnTo>
                  <a:pt x="7" y="27"/>
                </a:lnTo>
                <a:lnTo>
                  <a:pt x="2" y="31"/>
                </a:lnTo>
                <a:lnTo>
                  <a:pt x="0" y="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87" name="Freeform 38"/>
          <p:cNvSpPr>
            <a:spLocks/>
          </p:cNvSpPr>
          <p:nvPr userDrawn="1"/>
        </p:nvSpPr>
        <p:spPr bwMode="auto">
          <a:xfrm>
            <a:off x="8270876" y="-618703"/>
            <a:ext cx="282575" cy="201613"/>
          </a:xfrm>
          <a:custGeom>
            <a:avLst/>
            <a:gdLst>
              <a:gd name="T0" fmla="*/ 326 w 357"/>
              <a:gd name="T1" fmla="*/ 20 h 253"/>
              <a:gd name="T2" fmla="*/ 320 w 357"/>
              <a:gd name="T3" fmla="*/ 3 h 253"/>
              <a:gd name="T4" fmla="*/ 311 w 357"/>
              <a:gd name="T5" fmla="*/ 0 h 253"/>
              <a:gd name="T6" fmla="*/ 227 w 357"/>
              <a:gd name="T7" fmla="*/ 40 h 253"/>
              <a:gd name="T8" fmla="*/ 207 w 357"/>
              <a:gd name="T9" fmla="*/ 53 h 253"/>
              <a:gd name="T10" fmla="*/ 176 w 357"/>
              <a:gd name="T11" fmla="*/ 53 h 253"/>
              <a:gd name="T12" fmla="*/ 181 w 357"/>
              <a:gd name="T13" fmla="*/ 71 h 253"/>
              <a:gd name="T14" fmla="*/ 172 w 357"/>
              <a:gd name="T15" fmla="*/ 78 h 253"/>
              <a:gd name="T16" fmla="*/ 181 w 357"/>
              <a:gd name="T17" fmla="*/ 93 h 253"/>
              <a:gd name="T18" fmla="*/ 198 w 357"/>
              <a:gd name="T19" fmla="*/ 91 h 253"/>
              <a:gd name="T20" fmla="*/ 189 w 357"/>
              <a:gd name="T21" fmla="*/ 115 h 253"/>
              <a:gd name="T22" fmla="*/ 147 w 357"/>
              <a:gd name="T23" fmla="*/ 146 h 253"/>
              <a:gd name="T24" fmla="*/ 101 w 357"/>
              <a:gd name="T25" fmla="*/ 155 h 253"/>
              <a:gd name="T26" fmla="*/ 79 w 357"/>
              <a:gd name="T27" fmla="*/ 137 h 253"/>
              <a:gd name="T28" fmla="*/ 68 w 357"/>
              <a:gd name="T29" fmla="*/ 126 h 253"/>
              <a:gd name="T30" fmla="*/ 50 w 357"/>
              <a:gd name="T31" fmla="*/ 126 h 253"/>
              <a:gd name="T32" fmla="*/ 28 w 357"/>
              <a:gd name="T33" fmla="*/ 137 h 253"/>
              <a:gd name="T34" fmla="*/ 48 w 357"/>
              <a:gd name="T35" fmla="*/ 140 h 253"/>
              <a:gd name="T36" fmla="*/ 44 w 357"/>
              <a:gd name="T37" fmla="*/ 149 h 253"/>
              <a:gd name="T38" fmla="*/ 75 w 357"/>
              <a:gd name="T39" fmla="*/ 169 h 253"/>
              <a:gd name="T40" fmla="*/ 75 w 357"/>
              <a:gd name="T41" fmla="*/ 171 h 253"/>
              <a:gd name="T42" fmla="*/ 39 w 357"/>
              <a:gd name="T43" fmla="*/ 160 h 253"/>
              <a:gd name="T44" fmla="*/ 28 w 357"/>
              <a:gd name="T45" fmla="*/ 164 h 253"/>
              <a:gd name="T46" fmla="*/ 8 w 357"/>
              <a:gd name="T47" fmla="*/ 171 h 253"/>
              <a:gd name="T48" fmla="*/ 2 w 357"/>
              <a:gd name="T49" fmla="*/ 193 h 253"/>
              <a:gd name="T50" fmla="*/ 17 w 357"/>
              <a:gd name="T51" fmla="*/ 180 h 253"/>
              <a:gd name="T52" fmla="*/ 22 w 357"/>
              <a:gd name="T53" fmla="*/ 188 h 253"/>
              <a:gd name="T54" fmla="*/ 26 w 357"/>
              <a:gd name="T55" fmla="*/ 197 h 253"/>
              <a:gd name="T56" fmla="*/ 66 w 357"/>
              <a:gd name="T57" fmla="*/ 195 h 253"/>
              <a:gd name="T58" fmla="*/ 75 w 357"/>
              <a:gd name="T59" fmla="*/ 197 h 253"/>
              <a:gd name="T60" fmla="*/ 39 w 357"/>
              <a:gd name="T61" fmla="*/ 206 h 253"/>
              <a:gd name="T62" fmla="*/ 37 w 357"/>
              <a:gd name="T63" fmla="*/ 213 h 253"/>
              <a:gd name="T64" fmla="*/ 28 w 357"/>
              <a:gd name="T65" fmla="*/ 233 h 253"/>
              <a:gd name="T66" fmla="*/ 35 w 357"/>
              <a:gd name="T67" fmla="*/ 248 h 253"/>
              <a:gd name="T68" fmla="*/ 41 w 357"/>
              <a:gd name="T69" fmla="*/ 244 h 253"/>
              <a:gd name="T70" fmla="*/ 42 w 357"/>
              <a:gd name="T71" fmla="*/ 235 h 253"/>
              <a:gd name="T72" fmla="*/ 55 w 357"/>
              <a:gd name="T73" fmla="*/ 243 h 253"/>
              <a:gd name="T74" fmla="*/ 72 w 357"/>
              <a:gd name="T75" fmla="*/ 232 h 253"/>
              <a:gd name="T76" fmla="*/ 94 w 357"/>
              <a:gd name="T77" fmla="*/ 213 h 253"/>
              <a:gd name="T78" fmla="*/ 108 w 357"/>
              <a:gd name="T79" fmla="*/ 211 h 253"/>
              <a:gd name="T80" fmla="*/ 110 w 357"/>
              <a:gd name="T81" fmla="*/ 222 h 253"/>
              <a:gd name="T82" fmla="*/ 115 w 357"/>
              <a:gd name="T83" fmla="*/ 233 h 253"/>
              <a:gd name="T84" fmla="*/ 114 w 357"/>
              <a:gd name="T85" fmla="*/ 243 h 253"/>
              <a:gd name="T86" fmla="*/ 136 w 357"/>
              <a:gd name="T87" fmla="*/ 224 h 253"/>
              <a:gd name="T88" fmla="*/ 141 w 357"/>
              <a:gd name="T89" fmla="*/ 219 h 253"/>
              <a:gd name="T90" fmla="*/ 145 w 357"/>
              <a:gd name="T91" fmla="*/ 211 h 253"/>
              <a:gd name="T92" fmla="*/ 147 w 357"/>
              <a:gd name="T93" fmla="*/ 200 h 253"/>
              <a:gd name="T94" fmla="*/ 167 w 357"/>
              <a:gd name="T95" fmla="*/ 193 h 253"/>
              <a:gd name="T96" fmla="*/ 170 w 357"/>
              <a:gd name="T97" fmla="*/ 180 h 253"/>
              <a:gd name="T98" fmla="*/ 181 w 357"/>
              <a:gd name="T99" fmla="*/ 179 h 253"/>
              <a:gd name="T100" fmla="*/ 199 w 357"/>
              <a:gd name="T101" fmla="*/ 197 h 253"/>
              <a:gd name="T102" fmla="*/ 231 w 357"/>
              <a:gd name="T103" fmla="*/ 182 h 253"/>
              <a:gd name="T104" fmla="*/ 227 w 357"/>
              <a:gd name="T105" fmla="*/ 169 h 253"/>
              <a:gd name="T106" fmla="*/ 223 w 357"/>
              <a:gd name="T107" fmla="*/ 155 h 253"/>
              <a:gd name="T108" fmla="*/ 245 w 357"/>
              <a:gd name="T109" fmla="*/ 173 h 253"/>
              <a:gd name="T110" fmla="*/ 276 w 357"/>
              <a:gd name="T111" fmla="*/ 155 h 253"/>
              <a:gd name="T112" fmla="*/ 273 w 357"/>
              <a:gd name="T113" fmla="*/ 149 h 253"/>
              <a:gd name="T114" fmla="*/ 263 w 357"/>
              <a:gd name="T115" fmla="*/ 131 h 253"/>
              <a:gd name="T116" fmla="*/ 262 w 357"/>
              <a:gd name="T117" fmla="*/ 115 h 253"/>
              <a:gd name="T118" fmla="*/ 262 w 357"/>
              <a:gd name="T119" fmla="*/ 98 h 253"/>
              <a:gd name="T120" fmla="*/ 353 w 357"/>
              <a:gd name="T121" fmla="*/ 45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7" h="253">
                <a:moveTo>
                  <a:pt x="344" y="31"/>
                </a:moveTo>
                <a:lnTo>
                  <a:pt x="344" y="31"/>
                </a:lnTo>
                <a:lnTo>
                  <a:pt x="335" y="23"/>
                </a:lnTo>
                <a:lnTo>
                  <a:pt x="326" y="20"/>
                </a:lnTo>
                <a:lnTo>
                  <a:pt x="309" y="12"/>
                </a:lnTo>
                <a:lnTo>
                  <a:pt x="309" y="12"/>
                </a:lnTo>
                <a:lnTo>
                  <a:pt x="316" y="7"/>
                </a:lnTo>
                <a:lnTo>
                  <a:pt x="320" y="3"/>
                </a:lnTo>
                <a:lnTo>
                  <a:pt x="320" y="1"/>
                </a:lnTo>
                <a:lnTo>
                  <a:pt x="320" y="1"/>
                </a:lnTo>
                <a:lnTo>
                  <a:pt x="315" y="0"/>
                </a:lnTo>
                <a:lnTo>
                  <a:pt x="311" y="0"/>
                </a:lnTo>
                <a:lnTo>
                  <a:pt x="311" y="0"/>
                </a:lnTo>
                <a:lnTo>
                  <a:pt x="280" y="12"/>
                </a:lnTo>
                <a:lnTo>
                  <a:pt x="252" y="25"/>
                </a:lnTo>
                <a:lnTo>
                  <a:pt x="227" y="40"/>
                </a:lnTo>
                <a:lnTo>
                  <a:pt x="209" y="53"/>
                </a:lnTo>
                <a:lnTo>
                  <a:pt x="209" y="53"/>
                </a:lnTo>
                <a:lnTo>
                  <a:pt x="207" y="53"/>
                </a:lnTo>
                <a:lnTo>
                  <a:pt x="207" y="53"/>
                </a:lnTo>
                <a:lnTo>
                  <a:pt x="201" y="56"/>
                </a:lnTo>
                <a:lnTo>
                  <a:pt x="196" y="56"/>
                </a:lnTo>
                <a:lnTo>
                  <a:pt x="185" y="54"/>
                </a:lnTo>
                <a:lnTo>
                  <a:pt x="176" y="53"/>
                </a:lnTo>
                <a:lnTo>
                  <a:pt x="174" y="51"/>
                </a:lnTo>
                <a:lnTo>
                  <a:pt x="170" y="67"/>
                </a:lnTo>
                <a:lnTo>
                  <a:pt x="170" y="67"/>
                </a:lnTo>
                <a:lnTo>
                  <a:pt x="181" y="71"/>
                </a:lnTo>
                <a:lnTo>
                  <a:pt x="189" y="74"/>
                </a:lnTo>
                <a:lnTo>
                  <a:pt x="189" y="74"/>
                </a:lnTo>
                <a:lnTo>
                  <a:pt x="178" y="76"/>
                </a:lnTo>
                <a:lnTo>
                  <a:pt x="172" y="78"/>
                </a:lnTo>
                <a:lnTo>
                  <a:pt x="168" y="82"/>
                </a:lnTo>
                <a:lnTo>
                  <a:pt x="174" y="96"/>
                </a:lnTo>
                <a:lnTo>
                  <a:pt x="174" y="96"/>
                </a:lnTo>
                <a:lnTo>
                  <a:pt x="181" y="93"/>
                </a:lnTo>
                <a:lnTo>
                  <a:pt x="189" y="91"/>
                </a:lnTo>
                <a:lnTo>
                  <a:pt x="198" y="89"/>
                </a:lnTo>
                <a:lnTo>
                  <a:pt x="198" y="89"/>
                </a:lnTo>
                <a:lnTo>
                  <a:pt x="198" y="91"/>
                </a:lnTo>
                <a:lnTo>
                  <a:pt x="198" y="91"/>
                </a:lnTo>
                <a:lnTo>
                  <a:pt x="198" y="98"/>
                </a:lnTo>
                <a:lnTo>
                  <a:pt x="194" y="105"/>
                </a:lnTo>
                <a:lnTo>
                  <a:pt x="189" y="115"/>
                </a:lnTo>
                <a:lnTo>
                  <a:pt x="181" y="122"/>
                </a:lnTo>
                <a:lnTo>
                  <a:pt x="165" y="137"/>
                </a:lnTo>
                <a:lnTo>
                  <a:pt x="156" y="142"/>
                </a:lnTo>
                <a:lnTo>
                  <a:pt x="147" y="146"/>
                </a:lnTo>
                <a:lnTo>
                  <a:pt x="147" y="146"/>
                </a:lnTo>
                <a:lnTo>
                  <a:pt x="128" y="151"/>
                </a:lnTo>
                <a:lnTo>
                  <a:pt x="112" y="155"/>
                </a:lnTo>
                <a:lnTo>
                  <a:pt x="101" y="155"/>
                </a:lnTo>
                <a:lnTo>
                  <a:pt x="95" y="153"/>
                </a:lnTo>
                <a:lnTo>
                  <a:pt x="95" y="153"/>
                </a:lnTo>
                <a:lnTo>
                  <a:pt x="84" y="144"/>
                </a:lnTo>
                <a:lnTo>
                  <a:pt x="79" y="137"/>
                </a:lnTo>
                <a:lnTo>
                  <a:pt x="73" y="129"/>
                </a:lnTo>
                <a:lnTo>
                  <a:pt x="72" y="126"/>
                </a:lnTo>
                <a:lnTo>
                  <a:pt x="68" y="126"/>
                </a:lnTo>
                <a:lnTo>
                  <a:pt x="68" y="126"/>
                </a:lnTo>
                <a:lnTo>
                  <a:pt x="64" y="126"/>
                </a:lnTo>
                <a:lnTo>
                  <a:pt x="61" y="127"/>
                </a:lnTo>
                <a:lnTo>
                  <a:pt x="61" y="127"/>
                </a:lnTo>
                <a:lnTo>
                  <a:pt x="50" y="126"/>
                </a:lnTo>
                <a:lnTo>
                  <a:pt x="41" y="127"/>
                </a:lnTo>
                <a:lnTo>
                  <a:pt x="33" y="131"/>
                </a:lnTo>
                <a:lnTo>
                  <a:pt x="30" y="133"/>
                </a:lnTo>
                <a:lnTo>
                  <a:pt x="28" y="137"/>
                </a:lnTo>
                <a:lnTo>
                  <a:pt x="28" y="137"/>
                </a:lnTo>
                <a:lnTo>
                  <a:pt x="41" y="137"/>
                </a:lnTo>
                <a:lnTo>
                  <a:pt x="48" y="138"/>
                </a:lnTo>
                <a:lnTo>
                  <a:pt x="48" y="140"/>
                </a:lnTo>
                <a:lnTo>
                  <a:pt x="46" y="142"/>
                </a:lnTo>
                <a:lnTo>
                  <a:pt x="46" y="142"/>
                </a:lnTo>
                <a:lnTo>
                  <a:pt x="42" y="146"/>
                </a:lnTo>
                <a:lnTo>
                  <a:pt x="44" y="149"/>
                </a:lnTo>
                <a:lnTo>
                  <a:pt x="46" y="153"/>
                </a:lnTo>
                <a:lnTo>
                  <a:pt x="52" y="157"/>
                </a:lnTo>
                <a:lnTo>
                  <a:pt x="75" y="169"/>
                </a:lnTo>
                <a:lnTo>
                  <a:pt x="75" y="169"/>
                </a:lnTo>
                <a:lnTo>
                  <a:pt x="75" y="169"/>
                </a:lnTo>
                <a:lnTo>
                  <a:pt x="75" y="171"/>
                </a:lnTo>
                <a:lnTo>
                  <a:pt x="75" y="171"/>
                </a:lnTo>
                <a:lnTo>
                  <a:pt x="75" y="171"/>
                </a:lnTo>
                <a:lnTo>
                  <a:pt x="68" y="171"/>
                </a:lnTo>
                <a:lnTo>
                  <a:pt x="59" y="168"/>
                </a:lnTo>
                <a:lnTo>
                  <a:pt x="39" y="160"/>
                </a:lnTo>
                <a:lnTo>
                  <a:pt x="39" y="160"/>
                </a:lnTo>
                <a:lnTo>
                  <a:pt x="35" y="160"/>
                </a:lnTo>
                <a:lnTo>
                  <a:pt x="31" y="160"/>
                </a:lnTo>
                <a:lnTo>
                  <a:pt x="28" y="164"/>
                </a:lnTo>
                <a:lnTo>
                  <a:pt x="28" y="164"/>
                </a:lnTo>
                <a:lnTo>
                  <a:pt x="24" y="164"/>
                </a:lnTo>
                <a:lnTo>
                  <a:pt x="19" y="164"/>
                </a:lnTo>
                <a:lnTo>
                  <a:pt x="11" y="168"/>
                </a:lnTo>
                <a:lnTo>
                  <a:pt x="8" y="171"/>
                </a:lnTo>
                <a:lnTo>
                  <a:pt x="2" y="175"/>
                </a:lnTo>
                <a:lnTo>
                  <a:pt x="0" y="180"/>
                </a:lnTo>
                <a:lnTo>
                  <a:pt x="0" y="186"/>
                </a:lnTo>
                <a:lnTo>
                  <a:pt x="2" y="193"/>
                </a:lnTo>
                <a:lnTo>
                  <a:pt x="2" y="193"/>
                </a:lnTo>
                <a:lnTo>
                  <a:pt x="8" y="186"/>
                </a:lnTo>
                <a:lnTo>
                  <a:pt x="13" y="180"/>
                </a:lnTo>
                <a:lnTo>
                  <a:pt x="17" y="180"/>
                </a:lnTo>
                <a:lnTo>
                  <a:pt x="20" y="180"/>
                </a:lnTo>
                <a:lnTo>
                  <a:pt x="20" y="180"/>
                </a:lnTo>
                <a:lnTo>
                  <a:pt x="22" y="182"/>
                </a:lnTo>
                <a:lnTo>
                  <a:pt x="22" y="188"/>
                </a:lnTo>
                <a:lnTo>
                  <a:pt x="22" y="191"/>
                </a:lnTo>
                <a:lnTo>
                  <a:pt x="24" y="195"/>
                </a:lnTo>
                <a:lnTo>
                  <a:pt x="26" y="197"/>
                </a:lnTo>
                <a:lnTo>
                  <a:pt x="26" y="197"/>
                </a:lnTo>
                <a:lnTo>
                  <a:pt x="30" y="199"/>
                </a:lnTo>
                <a:lnTo>
                  <a:pt x="37" y="199"/>
                </a:lnTo>
                <a:lnTo>
                  <a:pt x="52" y="197"/>
                </a:lnTo>
                <a:lnTo>
                  <a:pt x="66" y="195"/>
                </a:lnTo>
                <a:lnTo>
                  <a:pt x="73" y="195"/>
                </a:lnTo>
                <a:lnTo>
                  <a:pt x="75" y="195"/>
                </a:lnTo>
                <a:lnTo>
                  <a:pt x="75" y="195"/>
                </a:lnTo>
                <a:lnTo>
                  <a:pt x="75" y="197"/>
                </a:lnTo>
                <a:lnTo>
                  <a:pt x="72" y="199"/>
                </a:lnTo>
                <a:lnTo>
                  <a:pt x="59" y="200"/>
                </a:lnTo>
                <a:lnTo>
                  <a:pt x="44" y="202"/>
                </a:lnTo>
                <a:lnTo>
                  <a:pt x="39" y="206"/>
                </a:lnTo>
                <a:lnTo>
                  <a:pt x="37" y="208"/>
                </a:lnTo>
                <a:lnTo>
                  <a:pt x="37" y="208"/>
                </a:lnTo>
                <a:lnTo>
                  <a:pt x="37" y="213"/>
                </a:lnTo>
                <a:lnTo>
                  <a:pt x="37" y="213"/>
                </a:lnTo>
                <a:lnTo>
                  <a:pt x="37" y="215"/>
                </a:lnTo>
                <a:lnTo>
                  <a:pt x="33" y="219"/>
                </a:lnTo>
                <a:lnTo>
                  <a:pt x="30" y="226"/>
                </a:lnTo>
                <a:lnTo>
                  <a:pt x="28" y="233"/>
                </a:lnTo>
                <a:lnTo>
                  <a:pt x="28" y="233"/>
                </a:lnTo>
                <a:lnTo>
                  <a:pt x="28" y="237"/>
                </a:lnTo>
                <a:lnTo>
                  <a:pt x="30" y="243"/>
                </a:lnTo>
                <a:lnTo>
                  <a:pt x="35" y="248"/>
                </a:lnTo>
                <a:lnTo>
                  <a:pt x="41" y="253"/>
                </a:lnTo>
                <a:lnTo>
                  <a:pt x="41" y="253"/>
                </a:lnTo>
                <a:lnTo>
                  <a:pt x="42" y="252"/>
                </a:lnTo>
                <a:lnTo>
                  <a:pt x="41" y="244"/>
                </a:lnTo>
                <a:lnTo>
                  <a:pt x="41" y="239"/>
                </a:lnTo>
                <a:lnTo>
                  <a:pt x="42" y="237"/>
                </a:lnTo>
                <a:lnTo>
                  <a:pt x="42" y="235"/>
                </a:lnTo>
                <a:lnTo>
                  <a:pt x="42" y="235"/>
                </a:lnTo>
                <a:lnTo>
                  <a:pt x="46" y="235"/>
                </a:lnTo>
                <a:lnTo>
                  <a:pt x="48" y="237"/>
                </a:lnTo>
                <a:lnTo>
                  <a:pt x="52" y="241"/>
                </a:lnTo>
                <a:lnTo>
                  <a:pt x="55" y="243"/>
                </a:lnTo>
                <a:lnTo>
                  <a:pt x="55" y="243"/>
                </a:lnTo>
                <a:lnTo>
                  <a:pt x="59" y="241"/>
                </a:lnTo>
                <a:lnTo>
                  <a:pt x="62" y="239"/>
                </a:lnTo>
                <a:lnTo>
                  <a:pt x="72" y="232"/>
                </a:lnTo>
                <a:lnTo>
                  <a:pt x="81" y="222"/>
                </a:lnTo>
                <a:lnTo>
                  <a:pt x="86" y="217"/>
                </a:lnTo>
                <a:lnTo>
                  <a:pt x="94" y="213"/>
                </a:lnTo>
                <a:lnTo>
                  <a:pt x="94" y="213"/>
                </a:lnTo>
                <a:lnTo>
                  <a:pt x="103" y="210"/>
                </a:lnTo>
                <a:lnTo>
                  <a:pt x="106" y="208"/>
                </a:lnTo>
                <a:lnTo>
                  <a:pt x="108" y="210"/>
                </a:lnTo>
                <a:lnTo>
                  <a:pt x="108" y="211"/>
                </a:lnTo>
                <a:lnTo>
                  <a:pt x="108" y="217"/>
                </a:lnTo>
                <a:lnTo>
                  <a:pt x="108" y="221"/>
                </a:lnTo>
                <a:lnTo>
                  <a:pt x="110" y="222"/>
                </a:lnTo>
                <a:lnTo>
                  <a:pt x="110" y="222"/>
                </a:lnTo>
                <a:lnTo>
                  <a:pt x="115" y="224"/>
                </a:lnTo>
                <a:lnTo>
                  <a:pt x="117" y="226"/>
                </a:lnTo>
                <a:lnTo>
                  <a:pt x="117" y="230"/>
                </a:lnTo>
                <a:lnTo>
                  <a:pt x="115" y="233"/>
                </a:lnTo>
                <a:lnTo>
                  <a:pt x="112" y="239"/>
                </a:lnTo>
                <a:lnTo>
                  <a:pt x="108" y="243"/>
                </a:lnTo>
                <a:lnTo>
                  <a:pt x="108" y="243"/>
                </a:lnTo>
                <a:lnTo>
                  <a:pt x="114" y="243"/>
                </a:lnTo>
                <a:lnTo>
                  <a:pt x="121" y="241"/>
                </a:lnTo>
                <a:lnTo>
                  <a:pt x="128" y="233"/>
                </a:lnTo>
                <a:lnTo>
                  <a:pt x="132" y="230"/>
                </a:lnTo>
                <a:lnTo>
                  <a:pt x="136" y="224"/>
                </a:lnTo>
                <a:lnTo>
                  <a:pt x="136" y="224"/>
                </a:lnTo>
                <a:lnTo>
                  <a:pt x="136" y="221"/>
                </a:lnTo>
                <a:lnTo>
                  <a:pt x="137" y="221"/>
                </a:lnTo>
                <a:lnTo>
                  <a:pt x="141" y="219"/>
                </a:lnTo>
                <a:lnTo>
                  <a:pt x="143" y="217"/>
                </a:lnTo>
                <a:lnTo>
                  <a:pt x="143" y="217"/>
                </a:lnTo>
                <a:lnTo>
                  <a:pt x="145" y="215"/>
                </a:lnTo>
                <a:lnTo>
                  <a:pt x="145" y="211"/>
                </a:lnTo>
                <a:lnTo>
                  <a:pt x="145" y="208"/>
                </a:lnTo>
                <a:lnTo>
                  <a:pt x="145" y="204"/>
                </a:lnTo>
                <a:lnTo>
                  <a:pt x="145" y="204"/>
                </a:lnTo>
                <a:lnTo>
                  <a:pt x="147" y="200"/>
                </a:lnTo>
                <a:lnTo>
                  <a:pt x="150" y="199"/>
                </a:lnTo>
                <a:lnTo>
                  <a:pt x="157" y="197"/>
                </a:lnTo>
                <a:lnTo>
                  <a:pt x="165" y="195"/>
                </a:lnTo>
                <a:lnTo>
                  <a:pt x="167" y="193"/>
                </a:lnTo>
                <a:lnTo>
                  <a:pt x="167" y="191"/>
                </a:lnTo>
                <a:lnTo>
                  <a:pt x="167" y="191"/>
                </a:lnTo>
                <a:lnTo>
                  <a:pt x="167" y="186"/>
                </a:lnTo>
                <a:lnTo>
                  <a:pt x="170" y="180"/>
                </a:lnTo>
                <a:lnTo>
                  <a:pt x="176" y="179"/>
                </a:lnTo>
                <a:lnTo>
                  <a:pt x="179" y="177"/>
                </a:lnTo>
                <a:lnTo>
                  <a:pt x="179" y="177"/>
                </a:lnTo>
                <a:lnTo>
                  <a:pt x="181" y="179"/>
                </a:lnTo>
                <a:lnTo>
                  <a:pt x="183" y="184"/>
                </a:lnTo>
                <a:lnTo>
                  <a:pt x="189" y="190"/>
                </a:lnTo>
                <a:lnTo>
                  <a:pt x="194" y="193"/>
                </a:lnTo>
                <a:lnTo>
                  <a:pt x="199" y="197"/>
                </a:lnTo>
                <a:lnTo>
                  <a:pt x="199" y="197"/>
                </a:lnTo>
                <a:lnTo>
                  <a:pt x="221" y="186"/>
                </a:lnTo>
                <a:lnTo>
                  <a:pt x="221" y="186"/>
                </a:lnTo>
                <a:lnTo>
                  <a:pt x="231" y="182"/>
                </a:lnTo>
                <a:lnTo>
                  <a:pt x="234" y="179"/>
                </a:lnTo>
                <a:lnTo>
                  <a:pt x="234" y="179"/>
                </a:lnTo>
                <a:lnTo>
                  <a:pt x="231" y="173"/>
                </a:lnTo>
                <a:lnTo>
                  <a:pt x="227" y="169"/>
                </a:lnTo>
                <a:lnTo>
                  <a:pt x="225" y="164"/>
                </a:lnTo>
                <a:lnTo>
                  <a:pt x="225" y="164"/>
                </a:lnTo>
                <a:lnTo>
                  <a:pt x="223" y="158"/>
                </a:lnTo>
                <a:lnTo>
                  <a:pt x="223" y="155"/>
                </a:lnTo>
                <a:lnTo>
                  <a:pt x="223" y="155"/>
                </a:lnTo>
                <a:lnTo>
                  <a:pt x="229" y="162"/>
                </a:lnTo>
                <a:lnTo>
                  <a:pt x="236" y="168"/>
                </a:lnTo>
                <a:lnTo>
                  <a:pt x="245" y="173"/>
                </a:lnTo>
                <a:lnTo>
                  <a:pt x="245" y="173"/>
                </a:lnTo>
                <a:lnTo>
                  <a:pt x="271" y="157"/>
                </a:lnTo>
                <a:lnTo>
                  <a:pt x="271" y="157"/>
                </a:lnTo>
                <a:lnTo>
                  <a:pt x="276" y="155"/>
                </a:lnTo>
                <a:lnTo>
                  <a:pt x="276" y="155"/>
                </a:lnTo>
                <a:lnTo>
                  <a:pt x="276" y="155"/>
                </a:lnTo>
                <a:lnTo>
                  <a:pt x="276" y="155"/>
                </a:lnTo>
                <a:lnTo>
                  <a:pt x="273" y="149"/>
                </a:lnTo>
                <a:lnTo>
                  <a:pt x="267" y="144"/>
                </a:lnTo>
                <a:lnTo>
                  <a:pt x="262" y="137"/>
                </a:lnTo>
                <a:lnTo>
                  <a:pt x="262" y="133"/>
                </a:lnTo>
                <a:lnTo>
                  <a:pt x="263" y="131"/>
                </a:lnTo>
                <a:lnTo>
                  <a:pt x="263" y="131"/>
                </a:lnTo>
                <a:lnTo>
                  <a:pt x="265" y="129"/>
                </a:lnTo>
                <a:lnTo>
                  <a:pt x="265" y="126"/>
                </a:lnTo>
                <a:lnTo>
                  <a:pt x="262" y="115"/>
                </a:lnTo>
                <a:lnTo>
                  <a:pt x="258" y="105"/>
                </a:lnTo>
                <a:lnTo>
                  <a:pt x="258" y="100"/>
                </a:lnTo>
                <a:lnTo>
                  <a:pt x="262" y="98"/>
                </a:lnTo>
                <a:lnTo>
                  <a:pt x="262" y="98"/>
                </a:lnTo>
                <a:lnTo>
                  <a:pt x="313" y="73"/>
                </a:lnTo>
                <a:lnTo>
                  <a:pt x="357" y="51"/>
                </a:lnTo>
                <a:lnTo>
                  <a:pt x="357" y="51"/>
                </a:lnTo>
                <a:lnTo>
                  <a:pt x="353" y="45"/>
                </a:lnTo>
                <a:lnTo>
                  <a:pt x="349" y="38"/>
                </a:lnTo>
                <a:lnTo>
                  <a:pt x="344" y="3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88" name="Freeform 39"/>
          <p:cNvSpPr>
            <a:spLocks/>
          </p:cNvSpPr>
          <p:nvPr userDrawn="1"/>
        </p:nvSpPr>
        <p:spPr bwMode="auto">
          <a:xfrm>
            <a:off x="8229601" y="-437728"/>
            <a:ext cx="120650" cy="115888"/>
          </a:xfrm>
          <a:custGeom>
            <a:avLst/>
            <a:gdLst>
              <a:gd name="T0" fmla="*/ 0 w 152"/>
              <a:gd name="T1" fmla="*/ 42 h 144"/>
              <a:gd name="T2" fmla="*/ 2 w 152"/>
              <a:gd name="T3" fmla="*/ 51 h 144"/>
              <a:gd name="T4" fmla="*/ 4 w 152"/>
              <a:gd name="T5" fmla="*/ 57 h 144"/>
              <a:gd name="T6" fmla="*/ 15 w 152"/>
              <a:gd name="T7" fmla="*/ 60 h 144"/>
              <a:gd name="T8" fmla="*/ 18 w 152"/>
              <a:gd name="T9" fmla="*/ 58 h 144"/>
              <a:gd name="T10" fmla="*/ 20 w 152"/>
              <a:gd name="T11" fmla="*/ 51 h 144"/>
              <a:gd name="T12" fmla="*/ 22 w 152"/>
              <a:gd name="T13" fmla="*/ 44 h 144"/>
              <a:gd name="T14" fmla="*/ 24 w 152"/>
              <a:gd name="T15" fmla="*/ 42 h 144"/>
              <a:gd name="T16" fmla="*/ 26 w 152"/>
              <a:gd name="T17" fmla="*/ 42 h 144"/>
              <a:gd name="T18" fmla="*/ 28 w 152"/>
              <a:gd name="T19" fmla="*/ 40 h 144"/>
              <a:gd name="T20" fmla="*/ 68 w 152"/>
              <a:gd name="T21" fmla="*/ 60 h 144"/>
              <a:gd name="T22" fmla="*/ 106 w 152"/>
              <a:gd name="T23" fmla="*/ 86 h 144"/>
              <a:gd name="T24" fmla="*/ 112 w 152"/>
              <a:gd name="T25" fmla="*/ 89 h 144"/>
              <a:gd name="T26" fmla="*/ 106 w 152"/>
              <a:gd name="T27" fmla="*/ 100 h 144"/>
              <a:gd name="T28" fmla="*/ 95 w 152"/>
              <a:gd name="T29" fmla="*/ 128 h 144"/>
              <a:gd name="T30" fmla="*/ 93 w 152"/>
              <a:gd name="T31" fmla="*/ 135 h 144"/>
              <a:gd name="T32" fmla="*/ 97 w 152"/>
              <a:gd name="T33" fmla="*/ 142 h 144"/>
              <a:gd name="T34" fmla="*/ 104 w 152"/>
              <a:gd name="T35" fmla="*/ 144 h 144"/>
              <a:gd name="T36" fmla="*/ 110 w 152"/>
              <a:gd name="T37" fmla="*/ 144 h 144"/>
              <a:gd name="T38" fmla="*/ 117 w 152"/>
              <a:gd name="T39" fmla="*/ 139 h 144"/>
              <a:gd name="T40" fmla="*/ 119 w 152"/>
              <a:gd name="T41" fmla="*/ 135 h 144"/>
              <a:gd name="T42" fmla="*/ 119 w 152"/>
              <a:gd name="T43" fmla="*/ 130 h 144"/>
              <a:gd name="T44" fmla="*/ 112 w 152"/>
              <a:gd name="T45" fmla="*/ 122 h 144"/>
              <a:gd name="T46" fmla="*/ 110 w 152"/>
              <a:gd name="T47" fmla="*/ 122 h 144"/>
              <a:gd name="T48" fmla="*/ 115 w 152"/>
              <a:gd name="T49" fmla="*/ 110 h 144"/>
              <a:gd name="T50" fmla="*/ 123 w 152"/>
              <a:gd name="T51" fmla="*/ 93 h 144"/>
              <a:gd name="T52" fmla="*/ 132 w 152"/>
              <a:gd name="T53" fmla="*/ 86 h 144"/>
              <a:gd name="T54" fmla="*/ 141 w 152"/>
              <a:gd name="T55" fmla="*/ 84 h 144"/>
              <a:gd name="T56" fmla="*/ 139 w 152"/>
              <a:gd name="T57" fmla="*/ 80 h 144"/>
              <a:gd name="T58" fmla="*/ 135 w 152"/>
              <a:gd name="T59" fmla="*/ 69 h 144"/>
              <a:gd name="T60" fmla="*/ 137 w 152"/>
              <a:gd name="T61" fmla="*/ 57 h 144"/>
              <a:gd name="T62" fmla="*/ 141 w 152"/>
              <a:gd name="T63" fmla="*/ 49 h 144"/>
              <a:gd name="T64" fmla="*/ 152 w 152"/>
              <a:gd name="T65" fmla="*/ 18 h 144"/>
              <a:gd name="T66" fmla="*/ 152 w 152"/>
              <a:gd name="T67" fmla="*/ 13 h 144"/>
              <a:gd name="T68" fmla="*/ 146 w 152"/>
              <a:gd name="T69" fmla="*/ 5 h 144"/>
              <a:gd name="T70" fmla="*/ 141 w 152"/>
              <a:gd name="T71" fmla="*/ 4 h 144"/>
              <a:gd name="T72" fmla="*/ 132 w 152"/>
              <a:gd name="T73" fmla="*/ 7 h 144"/>
              <a:gd name="T74" fmla="*/ 128 w 152"/>
              <a:gd name="T75" fmla="*/ 15 h 144"/>
              <a:gd name="T76" fmla="*/ 128 w 152"/>
              <a:gd name="T77" fmla="*/ 20 h 144"/>
              <a:gd name="T78" fmla="*/ 134 w 152"/>
              <a:gd name="T79" fmla="*/ 27 h 144"/>
              <a:gd name="T80" fmla="*/ 137 w 152"/>
              <a:gd name="T81" fmla="*/ 29 h 144"/>
              <a:gd name="T82" fmla="*/ 132 w 152"/>
              <a:gd name="T83" fmla="*/ 46 h 144"/>
              <a:gd name="T84" fmla="*/ 124 w 152"/>
              <a:gd name="T85" fmla="*/ 55 h 144"/>
              <a:gd name="T86" fmla="*/ 117 w 152"/>
              <a:gd name="T87" fmla="*/ 51 h 144"/>
              <a:gd name="T88" fmla="*/ 60 w 152"/>
              <a:gd name="T89" fmla="*/ 24 h 144"/>
              <a:gd name="T90" fmla="*/ 40 w 152"/>
              <a:gd name="T91" fmla="*/ 18 h 144"/>
              <a:gd name="T92" fmla="*/ 42 w 152"/>
              <a:gd name="T93" fmla="*/ 13 h 144"/>
              <a:gd name="T94" fmla="*/ 50 w 152"/>
              <a:gd name="T95" fmla="*/ 0 h 144"/>
              <a:gd name="T96" fmla="*/ 46 w 152"/>
              <a:gd name="T97" fmla="*/ 2 h 144"/>
              <a:gd name="T98" fmla="*/ 39 w 152"/>
              <a:gd name="T99" fmla="*/ 5 h 144"/>
              <a:gd name="T100" fmla="*/ 24 w 152"/>
              <a:gd name="T101" fmla="*/ 11 h 144"/>
              <a:gd name="T102" fmla="*/ 18 w 152"/>
              <a:gd name="T103" fmla="*/ 11 h 144"/>
              <a:gd name="T104" fmla="*/ 15 w 152"/>
              <a:gd name="T105" fmla="*/ 11 h 144"/>
              <a:gd name="T106" fmla="*/ 9 w 152"/>
              <a:gd name="T107" fmla="*/ 22 h 144"/>
              <a:gd name="T108" fmla="*/ 6 w 152"/>
              <a:gd name="T109" fmla="*/ 33 h 144"/>
              <a:gd name="T110" fmla="*/ 2 w 152"/>
              <a:gd name="T111" fmla="*/ 3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2" h="144">
                <a:moveTo>
                  <a:pt x="0" y="42"/>
                </a:moveTo>
                <a:lnTo>
                  <a:pt x="0" y="42"/>
                </a:lnTo>
                <a:lnTo>
                  <a:pt x="0" y="47"/>
                </a:lnTo>
                <a:lnTo>
                  <a:pt x="2" y="51"/>
                </a:lnTo>
                <a:lnTo>
                  <a:pt x="4" y="57"/>
                </a:lnTo>
                <a:lnTo>
                  <a:pt x="4" y="57"/>
                </a:lnTo>
                <a:lnTo>
                  <a:pt x="11" y="58"/>
                </a:lnTo>
                <a:lnTo>
                  <a:pt x="15" y="60"/>
                </a:lnTo>
                <a:lnTo>
                  <a:pt x="18" y="58"/>
                </a:lnTo>
                <a:lnTo>
                  <a:pt x="18" y="58"/>
                </a:lnTo>
                <a:lnTo>
                  <a:pt x="20" y="55"/>
                </a:lnTo>
                <a:lnTo>
                  <a:pt x="20" y="51"/>
                </a:lnTo>
                <a:lnTo>
                  <a:pt x="20" y="47"/>
                </a:lnTo>
                <a:lnTo>
                  <a:pt x="22" y="44"/>
                </a:lnTo>
                <a:lnTo>
                  <a:pt x="22" y="44"/>
                </a:lnTo>
                <a:lnTo>
                  <a:pt x="24" y="42"/>
                </a:lnTo>
                <a:lnTo>
                  <a:pt x="26" y="42"/>
                </a:lnTo>
                <a:lnTo>
                  <a:pt x="26" y="42"/>
                </a:lnTo>
                <a:lnTo>
                  <a:pt x="28" y="40"/>
                </a:lnTo>
                <a:lnTo>
                  <a:pt x="28" y="40"/>
                </a:lnTo>
                <a:lnTo>
                  <a:pt x="48" y="49"/>
                </a:lnTo>
                <a:lnTo>
                  <a:pt x="68" y="60"/>
                </a:lnTo>
                <a:lnTo>
                  <a:pt x="106" y="86"/>
                </a:lnTo>
                <a:lnTo>
                  <a:pt x="106" y="86"/>
                </a:lnTo>
                <a:lnTo>
                  <a:pt x="112" y="89"/>
                </a:lnTo>
                <a:lnTo>
                  <a:pt x="112" y="89"/>
                </a:lnTo>
                <a:lnTo>
                  <a:pt x="106" y="100"/>
                </a:lnTo>
                <a:lnTo>
                  <a:pt x="106" y="100"/>
                </a:lnTo>
                <a:lnTo>
                  <a:pt x="97" y="119"/>
                </a:lnTo>
                <a:lnTo>
                  <a:pt x="95" y="128"/>
                </a:lnTo>
                <a:lnTo>
                  <a:pt x="93" y="135"/>
                </a:lnTo>
                <a:lnTo>
                  <a:pt x="93" y="135"/>
                </a:lnTo>
                <a:lnTo>
                  <a:pt x="95" y="139"/>
                </a:lnTo>
                <a:lnTo>
                  <a:pt x="97" y="142"/>
                </a:lnTo>
                <a:lnTo>
                  <a:pt x="101" y="144"/>
                </a:lnTo>
                <a:lnTo>
                  <a:pt x="104" y="144"/>
                </a:lnTo>
                <a:lnTo>
                  <a:pt x="104" y="144"/>
                </a:lnTo>
                <a:lnTo>
                  <a:pt x="110" y="144"/>
                </a:lnTo>
                <a:lnTo>
                  <a:pt x="113" y="142"/>
                </a:lnTo>
                <a:lnTo>
                  <a:pt x="117" y="139"/>
                </a:lnTo>
                <a:lnTo>
                  <a:pt x="119" y="135"/>
                </a:lnTo>
                <a:lnTo>
                  <a:pt x="119" y="135"/>
                </a:lnTo>
                <a:lnTo>
                  <a:pt x="119" y="131"/>
                </a:lnTo>
                <a:lnTo>
                  <a:pt x="119" y="130"/>
                </a:lnTo>
                <a:lnTo>
                  <a:pt x="115" y="124"/>
                </a:lnTo>
                <a:lnTo>
                  <a:pt x="112" y="122"/>
                </a:lnTo>
                <a:lnTo>
                  <a:pt x="110" y="122"/>
                </a:lnTo>
                <a:lnTo>
                  <a:pt x="110" y="122"/>
                </a:lnTo>
                <a:lnTo>
                  <a:pt x="115" y="110"/>
                </a:lnTo>
                <a:lnTo>
                  <a:pt x="115" y="110"/>
                </a:lnTo>
                <a:lnTo>
                  <a:pt x="119" y="100"/>
                </a:lnTo>
                <a:lnTo>
                  <a:pt x="123" y="93"/>
                </a:lnTo>
                <a:lnTo>
                  <a:pt x="128" y="89"/>
                </a:lnTo>
                <a:lnTo>
                  <a:pt x="132" y="86"/>
                </a:lnTo>
                <a:lnTo>
                  <a:pt x="137" y="84"/>
                </a:lnTo>
                <a:lnTo>
                  <a:pt x="141" y="84"/>
                </a:lnTo>
                <a:lnTo>
                  <a:pt x="141" y="84"/>
                </a:lnTo>
                <a:lnTo>
                  <a:pt x="139" y="80"/>
                </a:lnTo>
                <a:lnTo>
                  <a:pt x="135" y="75"/>
                </a:lnTo>
                <a:lnTo>
                  <a:pt x="135" y="69"/>
                </a:lnTo>
                <a:lnTo>
                  <a:pt x="135" y="64"/>
                </a:lnTo>
                <a:lnTo>
                  <a:pt x="137" y="57"/>
                </a:lnTo>
                <a:lnTo>
                  <a:pt x="141" y="49"/>
                </a:lnTo>
                <a:lnTo>
                  <a:pt x="141" y="49"/>
                </a:lnTo>
                <a:lnTo>
                  <a:pt x="148" y="31"/>
                </a:lnTo>
                <a:lnTo>
                  <a:pt x="152" y="18"/>
                </a:lnTo>
                <a:lnTo>
                  <a:pt x="152" y="18"/>
                </a:lnTo>
                <a:lnTo>
                  <a:pt x="152" y="13"/>
                </a:lnTo>
                <a:lnTo>
                  <a:pt x="150" y="9"/>
                </a:lnTo>
                <a:lnTo>
                  <a:pt x="146" y="5"/>
                </a:lnTo>
                <a:lnTo>
                  <a:pt x="141" y="4"/>
                </a:lnTo>
                <a:lnTo>
                  <a:pt x="141" y="4"/>
                </a:lnTo>
                <a:lnTo>
                  <a:pt x="137" y="5"/>
                </a:lnTo>
                <a:lnTo>
                  <a:pt x="132" y="7"/>
                </a:lnTo>
                <a:lnTo>
                  <a:pt x="130" y="11"/>
                </a:lnTo>
                <a:lnTo>
                  <a:pt x="128" y="15"/>
                </a:lnTo>
                <a:lnTo>
                  <a:pt x="128" y="15"/>
                </a:lnTo>
                <a:lnTo>
                  <a:pt x="128" y="20"/>
                </a:lnTo>
                <a:lnTo>
                  <a:pt x="130" y="24"/>
                </a:lnTo>
                <a:lnTo>
                  <a:pt x="134" y="27"/>
                </a:lnTo>
                <a:lnTo>
                  <a:pt x="137" y="29"/>
                </a:lnTo>
                <a:lnTo>
                  <a:pt x="137" y="29"/>
                </a:lnTo>
                <a:lnTo>
                  <a:pt x="137" y="29"/>
                </a:lnTo>
                <a:lnTo>
                  <a:pt x="132" y="46"/>
                </a:lnTo>
                <a:lnTo>
                  <a:pt x="124" y="55"/>
                </a:lnTo>
                <a:lnTo>
                  <a:pt x="124" y="55"/>
                </a:lnTo>
                <a:lnTo>
                  <a:pt x="117" y="51"/>
                </a:lnTo>
                <a:lnTo>
                  <a:pt x="117" y="51"/>
                </a:lnTo>
                <a:lnTo>
                  <a:pt x="81" y="31"/>
                </a:lnTo>
                <a:lnTo>
                  <a:pt x="60" y="24"/>
                </a:lnTo>
                <a:lnTo>
                  <a:pt x="40" y="18"/>
                </a:lnTo>
                <a:lnTo>
                  <a:pt x="40" y="18"/>
                </a:lnTo>
                <a:lnTo>
                  <a:pt x="42" y="13"/>
                </a:lnTo>
                <a:lnTo>
                  <a:pt x="42" y="13"/>
                </a:lnTo>
                <a:lnTo>
                  <a:pt x="48" y="4"/>
                </a:lnTo>
                <a:lnTo>
                  <a:pt x="50" y="0"/>
                </a:lnTo>
                <a:lnTo>
                  <a:pt x="50" y="0"/>
                </a:lnTo>
                <a:lnTo>
                  <a:pt x="46" y="2"/>
                </a:lnTo>
                <a:lnTo>
                  <a:pt x="39" y="5"/>
                </a:lnTo>
                <a:lnTo>
                  <a:pt x="39" y="5"/>
                </a:lnTo>
                <a:lnTo>
                  <a:pt x="29" y="9"/>
                </a:lnTo>
                <a:lnTo>
                  <a:pt x="24" y="11"/>
                </a:lnTo>
                <a:lnTo>
                  <a:pt x="24" y="11"/>
                </a:lnTo>
                <a:lnTo>
                  <a:pt x="18" y="11"/>
                </a:lnTo>
                <a:lnTo>
                  <a:pt x="15" y="11"/>
                </a:lnTo>
                <a:lnTo>
                  <a:pt x="15" y="11"/>
                </a:lnTo>
                <a:lnTo>
                  <a:pt x="13" y="13"/>
                </a:lnTo>
                <a:lnTo>
                  <a:pt x="9" y="22"/>
                </a:lnTo>
                <a:lnTo>
                  <a:pt x="9" y="22"/>
                </a:lnTo>
                <a:lnTo>
                  <a:pt x="6" y="33"/>
                </a:lnTo>
                <a:lnTo>
                  <a:pt x="6" y="33"/>
                </a:lnTo>
                <a:lnTo>
                  <a:pt x="2" y="38"/>
                </a:lnTo>
                <a:lnTo>
                  <a:pt x="0" y="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89" name="Freeform 40"/>
          <p:cNvSpPr>
            <a:spLocks/>
          </p:cNvSpPr>
          <p:nvPr userDrawn="1"/>
        </p:nvSpPr>
        <p:spPr bwMode="auto">
          <a:xfrm>
            <a:off x="8226426" y="-921915"/>
            <a:ext cx="30163" cy="34925"/>
          </a:xfrm>
          <a:custGeom>
            <a:avLst/>
            <a:gdLst>
              <a:gd name="T0" fmla="*/ 12 w 36"/>
              <a:gd name="T1" fmla="*/ 44 h 44"/>
              <a:gd name="T2" fmla="*/ 12 w 36"/>
              <a:gd name="T3" fmla="*/ 44 h 44"/>
              <a:gd name="T4" fmla="*/ 27 w 36"/>
              <a:gd name="T5" fmla="*/ 42 h 44"/>
              <a:gd name="T6" fmla="*/ 36 w 36"/>
              <a:gd name="T7" fmla="*/ 40 h 44"/>
              <a:gd name="T8" fmla="*/ 36 w 36"/>
              <a:gd name="T9" fmla="*/ 3 h 44"/>
              <a:gd name="T10" fmla="*/ 36 w 36"/>
              <a:gd name="T11" fmla="*/ 3 h 44"/>
              <a:gd name="T12" fmla="*/ 16 w 36"/>
              <a:gd name="T13" fmla="*/ 0 h 44"/>
              <a:gd name="T14" fmla="*/ 16 w 36"/>
              <a:gd name="T15" fmla="*/ 0 h 44"/>
              <a:gd name="T16" fmla="*/ 11 w 36"/>
              <a:gd name="T17" fmla="*/ 0 h 44"/>
              <a:gd name="T18" fmla="*/ 7 w 36"/>
              <a:gd name="T19" fmla="*/ 2 h 44"/>
              <a:gd name="T20" fmla="*/ 3 w 36"/>
              <a:gd name="T21" fmla="*/ 3 h 44"/>
              <a:gd name="T22" fmla="*/ 1 w 36"/>
              <a:gd name="T23" fmla="*/ 7 h 44"/>
              <a:gd name="T24" fmla="*/ 0 w 36"/>
              <a:gd name="T25" fmla="*/ 13 h 44"/>
              <a:gd name="T26" fmla="*/ 0 w 36"/>
              <a:gd name="T27" fmla="*/ 16 h 44"/>
              <a:gd name="T28" fmla="*/ 0 w 36"/>
              <a:gd name="T29" fmla="*/ 27 h 44"/>
              <a:gd name="T30" fmla="*/ 0 w 36"/>
              <a:gd name="T31" fmla="*/ 27 h 44"/>
              <a:gd name="T32" fmla="*/ 1 w 36"/>
              <a:gd name="T33" fmla="*/ 34 h 44"/>
              <a:gd name="T34" fmla="*/ 5 w 36"/>
              <a:gd name="T35" fmla="*/ 40 h 44"/>
              <a:gd name="T36" fmla="*/ 9 w 36"/>
              <a:gd name="T37" fmla="*/ 42 h 44"/>
              <a:gd name="T38" fmla="*/ 12 w 36"/>
              <a:gd name="T3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 h="44">
                <a:moveTo>
                  <a:pt x="12" y="44"/>
                </a:moveTo>
                <a:lnTo>
                  <a:pt x="12" y="44"/>
                </a:lnTo>
                <a:lnTo>
                  <a:pt x="27" y="42"/>
                </a:lnTo>
                <a:lnTo>
                  <a:pt x="36" y="40"/>
                </a:lnTo>
                <a:lnTo>
                  <a:pt x="36" y="3"/>
                </a:lnTo>
                <a:lnTo>
                  <a:pt x="36" y="3"/>
                </a:lnTo>
                <a:lnTo>
                  <a:pt x="16" y="0"/>
                </a:lnTo>
                <a:lnTo>
                  <a:pt x="16" y="0"/>
                </a:lnTo>
                <a:lnTo>
                  <a:pt x="11" y="0"/>
                </a:lnTo>
                <a:lnTo>
                  <a:pt x="7" y="2"/>
                </a:lnTo>
                <a:lnTo>
                  <a:pt x="3" y="3"/>
                </a:lnTo>
                <a:lnTo>
                  <a:pt x="1" y="7"/>
                </a:lnTo>
                <a:lnTo>
                  <a:pt x="0" y="13"/>
                </a:lnTo>
                <a:lnTo>
                  <a:pt x="0" y="16"/>
                </a:lnTo>
                <a:lnTo>
                  <a:pt x="0" y="27"/>
                </a:lnTo>
                <a:lnTo>
                  <a:pt x="0" y="27"/>
                </a:lnTo>
                <a:lnTo>
                  <a:pt x="1" y="34"/>
                </a:lnTo>
                <a:lnTo>
                  <a:pt x="5" y="40"/>
                </a:lnTo>
                <a:lnTo>
                  <a:pt x="9" y="42"/>
                </a:lnTo>
                <a:lnTo>
                  <a:pt x="12" y="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0" name="Freeform 41"/>
          <p:cNvSpPr>
            <a:spLocks/>
          </p:cNvSpPr>
          <p:nvPr userDrawn="1"/>
        </p:nvSpPr>
        <p:spPr bwMode="auto">
          <a:xfrm>
            <a:off x="8262939" y="-928264"/>
            <a:ext cx="44450" cy="41275"/>
          </a:xfrm>
          <a:custGeom>
            <a:avLst/>
            <a:gdLst>
              <a:gd name="T0" fmla="*/ 55 w 55"/>
              <a:gd name="T1" fmla="*/ 38 h 53"/>
              <a:gd name="T2" fmla="*/ 55 w 55"/>
              <a:gd name="T3" fmla="*/ 27 h 53"/>
              <a:gd name="T4" fmla="*/ 55 w 55"/>
              <a:gd name="T5" fmla="*/ 7 h 53"/>
              <a:gd name="T6" fmla="*/ 55 w 55"/>
              <a:gd name="T7" fmla="*/ 1 h 53"/>
              <a:gd name="T8" fmla="*/ 53 w 55"/>
              <a:gd name="T9" fmla="*/ 0 h 53"/>
              <a:gd name="T10" fmla="*/ 46 w 55"/>
              <a:gd name="T11" fmla="*/ 0 h 53"/>
              <a:gd name="T12" fmla="*/ 40 w 55"/>
              <a:gd name="T13" fmla="*/ 0 h 53"/>
              <a:gd name="T14" fmla="*/ 29 w 55"/>
              <a:gd name="T15" fmla="*/ 0 h 53"/>
              <a:gd name="T16" fmla="*/ 28 w 55"/>
              <a:gd name="T17" fmla="*/ 7 h 53"/>
              <a:gd name="T18" fmla="*/ 26 w 55"/>
              <a:gd name="T19" fmla="*/ 0 h 53"/>
              <a:gd name="T20" fmla="*/ 17 w 55"/>
              <a:gd name="T21" fmla="*/ 0 h 53"/>
              <a:gd name="T22" fmla="*/ 11 w 55"/>
              <a:gd name="T23" fmla="*/ 0 h 53"/>
              <a:gd name="T24" fmla="*/ 4 w 55"/>
              <a:gd name="T25" fmla="*/ 0 h 53"/>
              <a:gd name="T26" fmla="*/ 2 w 55"/>
              <a:gd name="T27" fmla="*/ 1 h 53"/>
              <a:gd name="T28" fmla="*/ 0 w 55"/>
              <a:gd name="T29" fmla="*/ 7 h 53"/>
              <a:gd name="T30" fmla="*/ 0 w 55"/>
              <a:gd name="T31" fmla="*/ 27 h 53"/>
              <a:gd name="T32" fmla="*/ 0 w 55"/>
              <a:gd name="T33" fmla="*/ 49 h 53"/>
              <a:gd name="T34" fmla="*/ 6 w 55"/>
              <a:gd name="T35" fmla="*/ 49 h 53"/>
              <a:gd name="T36" fmla="*/ 9 w 55"/>
              <a:gd name="T37" fmla="*/ 47 h 53"/>
              <a:gd name="T38" fmla="*/ 13 w 55"/>
              <a:gd name="T39" fmla="*/ 40 h 53"/>
              <a:gd name="T40" fmla="*/ 13 w 55"/>
              <a:gd name="T41" fmla="*/ 53 h 53"/>
              <a:gd name="T42" fmla="*/ 17 w 55"/>
              <a:gd name="T43" fmla="*/ 53 h 53"/>
              <a:gd name="T44" fmla="*/ 24 w 55"/>
              <a:gd name="T45" fmla="*/ 49 h 53"/>
              <a:gd name="T46" fmla="*/ 26 w 55"/>
              <a:gd name="T47" fmla="*/ 43 h 53"/>
              <a:gd name="T48" fmla="*/ 28 w 55"/>
              <a:gd name="T49" fmla="*/ 40 h 53"/>
              <a:gd name="T50" fmla="*/ 28 w 55"/>
              <a:gd name="T51" fmla="*/ 53 h 53"/>
              <a:gd name="T52" fmla="*/ 39 w 55"/>
              <a:gd name="T53" fmla="*/ 49 h 53"/>
              <a:gd name="T54" fmla="*/ 42 w 55"/>
              <a:gd name="T55" fmla="*/ 43 h 53"/>
              <a:gd name="T56" fmla="*/ 42 w 55"/>
              <a:gd name="T57" fmla="*/ 40 h 53"/>
              <a:gd name="T58" fmla="*/ 42 w 55"/>
              <a:gd name="T59" fmla="*/ 49 h 53"/>
              <a:gd name="T60" fmla="*/ 46 w 55"/>
              <a:gd name="T61" fmla="*/ 47 h 53"/>
              <a:gd name="T62" fmla="*/ 51 w 55"/>
              <a:gd name="T63" fmla="*/ 45 h 53"/>
              <a:gd name="T64" fmla="*/ 55 w 55"/>
              <a:gd name="T65" fmla="*/ 38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5" h="53">
                <a:moveTo>
                  <a:pt x="55" y="38"/>
                </a:moveTo>
                <a:lnTo>
                  <a:pt x="55" y="38"/>
                </a:lnTo>
                <a:lnTo>
                  <a:pt x="55" y="27"/>
                </a:lnTo>
                <a:lnTo>
                  <a:pt x="55" y="27"/>
                </a:lnTo>
                <a:lnTo>
                  <a:pt x="55" y="7"/>
                </a:lnTo>
                <a:lnTo>
                  <a:pt x="55" y="7"/>
                </a:lnTo>
                <a:lnTo>
                  <a:pt x="55" y="3"/>
                </a:lnTo>
                <a:lnTo>
                  <a:pt x="55" y="1"/>
                </a:lnTo>
                <a:lnTo>
                  <a:pt x="53" y="0"/>
                </a:lnTo>
                <a:lnTo>
                  <a:pt x="53" y="0"/>
                </a:lnTo>
                <a:lnTo>
                  <a:pt x="46" y="0"/>
                </a:lnTo>
                <a:lnTo>
                  <a:pt x="46" y="0"/>
                </a:lnTo>
                <a:lnTo>
                  <a:pt x="42" y="7"/>
                </a:lnTo>
                <a:lnTo>
                  <a:pt x="40" y="0"/>
                </a:lnTo>
                <a:lnTo>
                  <a:pt x="40" y="0"/>
                </a:lnTo>
                <a:lnTo>
                  <a:pt x="29" y="0"/>
                </a:lnTo>
                <a:lnTo>
                  <a:pt x="29" y="0"/>
                </a:lnTo>
                <a:lnTo>
                  <a:pt x="28" y="7"/>
                </a:lnTo>
                <a:lnTo>
                  <a:pt x="26" y="0"/>
                </a:lnTo>
                <a:lnTo>
                  <a:pt x="26" y="0"/>
                </a:lnTo>
                <a:lnTo>
                  <a:pt x="17" y="0"/>
                </a:lnTo>
                <a:lnTo>
                  <a:pt x="17" y="0"/>
                </a:lnTo>
                <a:lnTo>
                  <a:pt x="13" y="7"/>
                </a:lnTo>
                <a:lnTo>
                  <a:pt x="11" y="0"/>
                </a:lnTo>
                <a:lnTo>
                  <a:pt x="11" y="0"/>
                </a:lnTo>
                <a:lnTo>
                  <a:pt x="4" y="0"/>
                </a:lnTo>
                <a:lnTo>
                  <a:pt x="4" y="0"/>
                </a:lnTo>
                <a:lnTo>
                  <a:pt x="2" y="1"/>
                </a:lnTo>
                <a:lnTo>
                  <a:pt x="0" y="3"/>
                </a:lnTo>
                <a:lnTo>
                  <a:pt x="0" y="7"/>
                </a:lnTo>
                <a:lnTo>
                  <a:pt x="0" y="7"/>
                </a:lnTo>
                <a:lnTo>
                  <a:pt x="0" y="27"/>
                </a:lnTo>
                <a:lnTo>
                  <a:pt x="0" y="27"/>
                </a:lnTo>
                <a:lnTo>
                  <a:pt x="0" y="49"/>
                </a:lnTo>
                <a:lnTo>
                  <a:pt x="0" y="49"/>
                </a:lnTo>
                <a:lnTo>
                  <a:pt x="6" y="49"/>
                </a:lnTo>
                <a:lnTo>
                  <a:pt x="9" y="47"/>
                </a:lnTo>
                <a:lnTo>
                  <a:pt x="9" y="47"/>
                </a:lnTo>
                <a:lnTo>
                  <a:pt x="11" y="42"/>
                </a:lnTo>
                <a:lnTo>
                  <a:pt x="13" y="40"/>
                </a:lnTo>
                <a:lnTo>
                  <a:pt x="13" y="40"/>
                </a:lnTo>
                <a:lnTo>
                  <a:pt x="13" y="53"/>
                </a:lnTo>
                <a:lnTo>
                  <a:pt x="13" y="53"/>
                </a:lnTo>
                <a:lnTo>
                  <a:pt x="17" y="53"/>
                </a:lnTo>
                <a:lnTo>
                  <a:pt x="20" y="51"/>
                </a:lnTo>
                <a:lnTo>
                  <a:pt x="24" y="49"/>
                </a:lnTo>
                <a:lnTo>
                  <a:pt x="24" y="49"/>
                </a:lnTo>
                <a:lnTo>
                  <a:pt x="26" y="43"/>
                </a:lnTo>
                <a:lnTo>
                  <a:pt x="28" y="40"/>
                </a:lnTo>
                <a:lnTo>
                  <a:pt x="28" y="40"/>
                </a:lnTo>
                <a:lnTo>
                  <a:pt x="28" y="53"/>
                </a:lnTo>
                <a:lnTo>
                  <a:pt x="28" y="53"/>
                </a:lnTo>
                <a:lnTo>
                  <a:pt x="33" y="51"/>
                </a:lnTo>
                <a:lnTo>
                  <a:pt x="39" y="49"/>
                </a:lnTo>
                <a:lnTo>
                  <a:pt x="39" y="49"/>
                </a:lnTo>
                <a:lnTo>
                  <a:pt x="42" y="43"/>
                </a:lnTo>
                <a:lnTo>
                  <a:pt x="42" y="40"/>
                </a:lnTo>
                <a:lnTo>
                  <a:pt x="42" y="40"/>
                </a:lnTo>
                <a:lnTo>
                  <a:pt x="42" y="49"/>
                </a:lnTo>
                <a:lnTo>
                  <a:pt x="42" y="49"/>
                </a:lnTo>
                <a:lnTo>
                  <a:pt x="46" y="47"/>
                </a:lnTo>
                <a:lnTo>
                  <a:pt x="46" y="47"/>
                </a:lnTo>
                <a:lnTo>
                  <a:pt x="51" y="45"/>
                </a:lnTo>
                <a:lnTo>
                  <a:pt x="51" y="45"/>
                </a:lnTo>
                <a:lnTo>
                  <a:pt x="53" y="43"/>
                </a:lnTo>
                <a:lnTo>
                  <a:pt x="55" y="3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1" name="Freeform 42"/>
          <p:cNvSpPr>
            <a:spLocks/>
          </p:cNvSpPr>
          <p:nvPr userDrawn="1"/>
        </p:nvSpPr>
        <p:spPr bwMode="auto">
          <a:xfrm>
            <a:off x="8269289" y="-926677"/>
            <a:ext cx="53975" cy="60325"/>
          </a:xfrm>
          <a:custGeom>
            <a:avLst/>
            <a:gdLst>
              <a:gd name="T0" fmla="*/ 67 w 67"/>
              <a:gd name="T1" fmla="*/ 57 h 77"/>
              <a:gd name="T2" fmla="*/ 67 w 67"/>
              <a:gd name="T3" fmla="*/ 44 h 77"/>
              <a:gd name="T4" fmla="*/ 67 w 67"/>
              <a:gd name="T5" fmla="*/ 44 h 77"/>
              <a:gd name="T6" fmla="*/ 65 w 67"/>
              <a:gd name="T7" fmla="*/ 42 h 77"/>
              <a:gd name="T8" fmla="*/ 63 w 67"/>
              <a:gd name="T9" fmla="*/ 37 h 77"/>
              <a:gd name="T10" fmla="*/ 63 w 67"/>
              <a:gd name="T11" fmla="*/ 30 h 77"/>
              <a:gd name="T12" fmla="*/ 63 w 67"/>
              <a:gd name="T13" fmla="*/ 30 h 77"/>
              <a:gd name="T14" fmla="*/ 63 w 67"/>
              <a:gd name="T15" fmla="*/ 26 h 77"/>
              <a:gd name="T16" fmla="*/ 65 w 67"/>
              <a:gd name="T17" fmla="*/ 21 h 77"/>
              <a:gd name="T18" fmla="*/ 67 w 67"/>
              <a:gd name="T19" fmla="*/ 17 h 77"/>
              <a:gd name="T20" fmla="*/ 67 w 67"/>
              <a:gd name="T21" fmla="*/ 6 h 77"/>
              <a:gd name="T22" fmla="*/ 67 w 67"/>
              <a:gd name="T23" fmla="*/ 6 h 77"/>
              <a:gd name="T24" fmla="*/ 63 w 67"/>
              <a:gd name="T25" fmla="*/ 2 h 77"/>
              <a:gd name="T26" fmla="*/ 60 w 67"/>
              <a:gd name="T27" fmla="*/ 0 h 77"/>
              <a:gd name="T28" fmla="*/ 56 w 67"/>
              <a:gd name="T29" fmla="*/ 0 h 77"/>
              <a:gd name="T30" fmla="*/ 56 w 67"/>
              <a:gd name="T31" fmla="*/ 41 h 77"/>
              <a:gd name="T32" fmla="*/ 56 w 67"/>
              <a:gd name="T33" fmla="*/ 41 h 77"/>
              <a:gd name="T34" fmla="*/ 54 w 67"/>
              <a:gd name="T35" fmla="*/ 46 h 77"/>
              <a:gd name="T36" fmla="*/ 51 w 67"/>
              <a:gd name="T37" fmla="*/ 52 h 77"/>
              <a:gd name="T38" fmla="*/ 45 w 67"/>
              <a:gd name="T39" fmla="*/ 55 h 77"/>
              <a:gd name="T40" fmla="*/ 38 w 67"/>
              <a:gd name="T41" fmla="*/ 57 h 77"/>
              <a:gd name="T42" fmla="*/ 38 w 67"/>
              <a:gd name="T43" fmla="*/ 57 h 77"/>
              <a:gd name="T44" fmla="*/ 23 w 67"/>
              <a:gd name="T45" fmla="*/ 59 h 77"/>
              <a:gd name="T46" fmla="*/ 10 w 67"/>
              <a:gd name="T47" fmla="*/ 61 h 77"/>
              <a:gd name="T48" fmla="*/ 0 w 67"/>
              <a:gd name="T49" fmla="*/ 61 h 77"/>
              <a:gd name="T50" fmla="*/ 0 w 67"/>
              <a:gd name="T51" fmla="*/ 61 h 77"/>
              <a:gd name="T52" fmla="*/ 1 w 67"/>
              <a:gd name="T53" fmla="*/ 70 h 77"/>
              <a:gd name="T54" fmla="*/ 1 w 67"/>
              <a:gd name="T55" fmla="*/ 70 h 77"/>
              <a:gd name="T56" fmla="*/ 5 w 67"/>
              <a:gd name="T57" fmla="*/ 75 h 77"/>
              <a:gd name="T58" fmla="*/ 7 w 67"/>
              <a:gd name="T59" fmla="*/ 77 h 77"/>
              <a:gd name="T60" fmla="*/ 54 w 67"/>
              <a:gd name="T61" fmla="*/ 77 h 77"/>
              <a:gd name="T62" fmla="*/ 67 w 67"/>
              <a:gd name="T63" fmla="*/ 5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7" h="77">
                <a:moveTo>
                  <a:pt x="67" y="57"/>
                </a:moveTo>
                <a:lnTo>
                  <a:pt x="67" y="44"/>
                </a:lnTo>
                <a:lnTo>
                  <a:pt x="67" y="44"/>
                </a:lnTo>
                <a:lnTo>
                  <a:pt x="65" y="42"/>
                </a:lnTo>
                <a:lnTo>
                  <a:pt x="63" y="37"/>
                </a:lnTo>
                <a:lnTo>
                  <a:pt x="63" y="30"/>
                </a:lnTo>
                <a:lnTo>
                  <a:pt x="63" y="30"/>
                </a:lnTo>
                <a:lnTo>
                  <a:pt x="63" y="26"/>
                </a:lnTo>
                <a:lnTo>
                  <a:pt x="65" y="21"/>
                </a:lnTo>
                <a:lnTo>
                  <a:pt x="67" y="17"/>
                </a:lnTo>
                <a:lnTo>
                  <a:pt x="67" y="6"/>
                </a:lnTo>
                <a:lnTo>
                  <a:pt x="67" y="6"/>
                </a:lnTo>
                <a:lnTo>
                  <a:pt x="63" y="2"/>
                </a:lnTo>
                <a:lnTo>
                  <a:pt x="60" y="0"/>
                </a:lnTo>
                <a:lnTo>
                  <a:pt x="56" y="0"/>
                </a:lnTo>
                <a:lnTo>
                  <a:pt x="56" y="41"/>
                </a:lnTo>
                <a:lnTo>
                  <a:pt x="56" y="41"/>
                </a:lnTo>
                <a:lnTo>
                  <a:pt x="54" y="46"/>
                </a:lnTo>
                <a:lnTo>
                  <a:pt x="51" y="52"/>
                </a:lnTo>
                <a:lnTo>
                  <a:pt x="45" y="55"/>
                </a:lnTo>
                <a:lnTo>
                  <a:pt x="38" y="57"/>
                </a:lnTo>
                <a:lnTo>
                  <a:pt x="38" y="57"/>
                </a:lnTo>
                <a:lnTo>
                  <a:pt x="23" y="59"/>
                </a:lnTo>
                <a:lnTo>
                  <a:pt x="10" y="61"/>
                </a:lnTo>
                <a:lnTo>
                  <a:pt x="0" y="61"/>
                </a:lnTo>
                <a:lnTo>
                  <a:pt x="0" y="61"/>
                </a:lnTo>
                <a:lnTo>
                  <a:pt x="1" y="70"/>
                </a:lnTo>
                <a:lnTo>
                  <a:pt x="1" y="70"/>
                </a:lnTo>
                <a:lnTo>
                  <a:pt x="5" y="75"/>
                </a:lnTo>
                <a:lnTo>
                  <a:pt x="7" y="77"/>
                </a:lnTo>
                <a:lnTo>
                  <a:pt x="54" y="77"/>
                </a:lnTo>
                <a:lnTo>
                  <a:pt x="67" y="5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2" name="Freeform 43"/>
          <p:cNvSpPr>
            <a:spLocks/>
          </p:cNvSpPr>
          <p:nvPr userDrawn="1"/>
        </p:nvSpPr>
        <p:spPr bwMode="auto">
          <a:xfrm>
            <a:off x="8272464" y="-858415"/>
            <a:ext cx="42863" cy="14288"/>
          </a:xfrm>
          <a:custGeom>
            <a:avLst/>
            <a:gdLst>
              <a:gd name="T0" fmla="*/ 4 w 55"/>
              <a:gd name="T1" fmla="*/ 19 h 19"/>
              <a:gd name="T2" fmla="*/ 51 w 55"/>
              <a:gd name="T3" fmla="*/ 19 h 19"/>
              <a:gd name="T4" fmla="*/ 51 w 55"/>
              <a:gd name="T5" fmla="*/ 19 h 19"/>
              <a:gd name="T6" fmla="*/ 55 w 55"/>
              <a:gd name="T7" fmla="*/ 9 h 19"/>
              <a:gd name="T8" fmla="*/ 53 w 55"/>
              <a:gd name="T9" fmla="*/ 0 h 19"/>
              <a:gd name="T10" fmla="*/ 4 w 55"/>
              <a:gd name="T11" fmla="*/ 0 h 19"/>
              <a:gd name="T12" fmla="*/ 0 w 55"/>
              <a:gd name="T13" fmla="*/ 9 h 19"/>
              <a:gd name="T14" fmla="*/ 4 w 55"/>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19">
                <a:moveTo>
                  <a:pt x="4" y="19"/>
                </a:moveTo>
                <a:lnTo>
                  <a:pt x="51" y="19"/>
                </a:lnTo>
                <a:lnTo>
                  <a:pt x="51" y="19"/>
                </a:lnTo>
                <a:lnTo>
                  <a:pt x="55" y="9"/>
                </a:lnTo>
                <a:lnTo>
                  <a:pt x="53" y="0"/>
                </a:lnTo>
                <a:lnTo>
                  <a:pt x="4" y="0"/>
                </a:lnTo>
                <a:lnTo>
                  <a:pt x="0" y="9"/>
                </a:lnTo>
                <a:lnTo>
                  <a:pt x="4" y="1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3" name="Freeform 44"/>
          <p:cNvSpPr>
            <a:spLocks/>
          </p:cNvSpPr>
          <p:nvPr userDrawn="1"/>
        </p:nvSpPr>
        <p:spPr bwMode="auto">
          <a:xfrm>
            <a:off x="8274051" y="-837778"/>
            <a:ext cx="44450" cy="50800"/>
          </a:xfrm>
          <a:custGeom>
            <a:avLst/>
            <a:gdLst>
              <a:gd name="T0" fmla="*/ 47 w 55"/>
              <a:gd name="T1" fmla="*/ 0 h 64"/>
              <a:gd name="T2" fmla="*/ 0 w 55"/>
              <a:gd name="T3" fmla="*/ 0 h 64"/>
              <a:gd name="T4" fmla="*/ 0 w 55"/>
              <a:gd name="T5" fmla="*/ 62 h 64"/>
              <a:gd name="T6" fmla="*/ 42 w 55"/>
              <a:gd name="T7" fmla="*/ 64 h 64"/>
              <a:gd name="T8" fmla="*/ 55 w 55"/>
              <a:gd name="T9" fmla="*/ 53 h 64"/>
              <a:gd name="T10" fmla="*/ 47 w 55"/>
              <a:gd name="T11" fmla="*/ 0 h 64"/>
            </a:gdLst>
            <a:ahLst/>
            <a:cxnLst>
              <a:cxn ang="0">
                <a:pos x="T0" y="T1"/>
              </a:cxn>
              <a:cxn ang="0">
                <a:pos x="T2" y="T3"/>
              </a:cxn>
              <a:cxn ang="0">
                <a:pos x="T4" y="T5"/>
              </a:cxn>
              <a:cxn ang="0">
                <a:pos x="T6" y="T7"/>
              </a:cxn>
              <a:cxn ang="0">
                <a:pos x="T8" y="T9"/>
              </a:cxn>
              <a:cxn ang="0">
                <a:pos x="T10" y="T11"/>
              </a:cxn>
            </a:cxnLst>
            <a:rect l="0" t="0" r="r" b="b"/>
            <a:pathLst>
              <a:path w="55" h="64">
                <a:moveTo>
                  <a:pt x="47" y="0"/>
                </a:moveTo>
                <a:lnTo>
                  <a:pt x="0" y="0"/>
                </a:lnTo>
                <a:lnTo>
                  <a:pt x="0" y="62"/>
                </a:lnTo>
                <a:lnTo>
                  <a:pt x="42" y="64"/>
                </a:lnTo>
                <a:lnTo>
                  <a:pt x="55" y="53"/>
                </a:lnTo>
                <a:lnTo>
                  <a:pt x="4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4" name="Freeform 45"/>
          <p:cNvSpPr>
            <a:spLocks/>
          </p:cNvSpPr>
          <p:nvPr userDrawn="1"/>
        </p:nvSpPr>
        <p:spPr bwMode="auto">
          <a:xfrm>
            <a:off x="8274050" y="-788565"/>
            <a:ext cx="57150" cy="50800"/>
          </a:xfrm>
          <a:custGeom>
            <a:avLst/>
            <a:gdLst>
              <a:gd name="T0" fmla="*/ 73 w 73"/>
              <a:gd name="T1" fmla="*/ 16 h 64"/>
              <a:gd name="T2" fmla="*/ 73 w 73"/>
              <a:gd name="T3" fmla="*/ 16 h 64"/>
              <a:gd name="T4" fmla="*/ 64 w 73"/>
              <a:gd name="T5" fmla="*/ 9 h 64"/>
              <a:gd name="T6" fmla="*/ 64 w 73"/>
              <a:gd name="T7" fmla="*/ 9 h 64"/>
              <a:gd name="T8" fmla="*/ 62 w 73"/>
              <a:gd name="T9" fmla="*/ 0 h 64"/>
              <a:gd name="T10" fmla="*/ 48 w 73"/>
              <a:gd name="T11" fmla="*/ 11 h 64"/>
              <a:gd name="T12" fmla="*/ 0 w 73"/>
              <a:gd name="T13" fmla="*/ 11 h 64"/>
              <a:gd name="T14" fmla="*/ 0 w 73"/>
              <a:gd name="T15" fmla="*/ 11 h 64"/>
              <a:gd name="T16" fmla="*/ 0 w 73"/>
              <a:gd name="T17" fmla="*/ 27 h 64"/>
              <a:gd name="T18" fmla="*/ 0 w 73"/>
              <a:gd name="T19" fmla="*/ 45 h 64"/>
              <a:gd name="T20" fmla="*/ 0 w 73"/>
              <a:gd name="T21" fmla="*/ 45 h 64"/>
              <a:gd name="T22" fmla="*/ 11 w 73"/>
              <a:gd name="T23" fmla="*/ 55 h 64"/>
              <a:gd name="T24" fmla="*/ 24 w 73"/>
              <a:gd name="T25" fmla="*/ 64 h 64"/>
              <a:gd name="T26" fmla="*/ 55 w 73"/>
              <a:gd name="T27" fmla="*/ 25 h 64"/>
              <a:gd name="T28" fmla="*/ 73 w 73"/>
              <a:gd name="T29"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64">
                <a:moveTo>
                  <a:pt x="73" y="16"/>
                </a:moveTo>
                <a:lnTo>
                  <a:pt x="73" y="16"/>
                </a:lnTo>
                <a:lnTo>
                  <a:pt x="64" y="9"/>
                </a:lnTo>
                <a:lnTo>
                  <a:pt x="64" y="9"/>
                </a:lnTo>
                <a:lnTo>
                  <a:pt x="62" y="0"/>
                </a:lnTo>
                <a:lnTo>
                  <a:pt x="48" y="11"/>
                </a:lnTo>
                <a:lnTo>
                  <a:pt x="0" y="11"/>
                </a:lnTo>
                <a:lnTo>
                  <a:pt x="0" y="11"/>
                </a:lnTo>
                <a:lnTo>
                  <a:pt x="0" y="27"/>
                </a:lnTo>
                <a:lnTo>
                  <a:pt x="0" y="45"/>
                </a:lnTo>
                <a:lnTo>
                  <a:pt x="0" y="45"/>
                </a:lnTo>
                <a:lnTo>
                  <a:pt x="11" y="55"/>
                </a:lnTo>
                <a:lnTo>
                  <a:pt x="24" y="64"/>
                </a:lnTo>
                <a:lnTo>
                  <a:pt x="55" y="25"/>
                </a:lnTo>
                <a:lnTo>
                  <a:pt x="73"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5" name="Freeform 46"/>
          <p:cNvSpPr>
            <a:spLocks/>
          </p:cNvSpPr>
          <p:nvPr userDrawn="1"/>
        </p:nvSpPr>
        <p:spPr bwMode="auto">
          <a:xfrm>
            <a:off x="8301038" y="-769515"/>
            <a:ext cx="85725" cy="50800"/>
          </a:xfrm>
          <a:custGeom>
            <a:avLst/>
            <a:gdLst>
              <a:gd name="T0" fmla="*/ 27 w 108"/>
              <a:gd name="T1" fmla="*/ 7 h 63"/>
              <a:gd name="T2" fmla="*/ 0 w 108"/>
              <a:gd name="T3" fmla="*/ 43 h 63"/>
              <a:gd name="T4" fmla="*/ 45 w 108"/>
              <a:gd name="T5" fmla="*/ 63 h 63"/>
              <a:gd name="T6" fmla="*/ 45 w 108"/>
              <a:gd name="T7" fmla="*/ 63 h 63"/>
              <a:gd name="T8" fmla="*/ 65 w 108"/>
              <a:gd name="T9" fmla="*/ 51 h 63"/>
              <a:gd name="T10" fmla="*/ 86 w 108"/>
              <a:gd name="T11" fmla="*/ 38 h 63"/>
              <a:gd name="T12" fmla="*/ 108 w 108"/>
              <a:gd name="T13" fmla="*/ 23 h 63"/>
              <a:gd name="T14" fmla="*/ 44 w 108"/>
              <a:gd name="T15" fmla="*/ 0 h 63"/>
              <a:gd name="T16" fmla="*/ 27 w 108"/>
              <a:gd name="T17" fmla="*/ 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63">
                <a:moveTo>
                  <a:pt x="27" y="7"/>
                </a:moveTo>
                <a:lnTo>
                  <a:pt x="0" y="43"/>
                </a:lnTo>
                <a:lnTo>
                  <a:pt x="45" y="63"/>
                </a:lnTo>
                <a:lnTo>
                  <a:pt x="45" y="63"/>
                </a:lnTo>
                <a:lnTo>
                  <a:pt x="65" y="51"/>
                </a:lnTo>
                <a:lnTo>
                  <a:pt x="86" y="38"/>
                </a:lnTo>
                <a:lnTo>
                  <a:pt x="108" y="23"/>
                </a:lnTo>
                <a:lnTo>
                  <a:pt x="44" y="0"/>
                </a:lnTo>
                <a:lnTo>
                  <a:pt x="2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6" name="Freeform 47"/>
          <p:cNvSpPr>
            <a:spLocks/>
          </p:cNvSpPr>
          <p:nvPr userDrawn="1"/>
        </p:nvSpPr>
        <p:spPr bwMode="auto">
          <a:xfrm>
            <a:off x="8324851" y="-952078"/>
            <a:ext cx="22225" cy="93663"/>
          </a:xfrm>
          <a:custGeom>
            <a:avLst/>
            <a:gdLst>
              <a:gd name="T0" fmla="*/ 22 w 27"/>
              <a:gd name="T1" fmla="*/ 50 h 117"/>
              <a:gd name="T2" fmla="*/ 22 w 27"/>
              <a:gd name="T3" fmla="*/ 50 h 117"/>
              <a:gd name="T4" fmla="*/ 22 w 27"/>
              <a:gd name="T5" fmla="*/ 11 h 117"/>
              <a:gd name="T6" fmla="*/ 22 w 27"/>
              <a:gd name="T7" fmla="*/ 11 h 117"/>
              <a:gd name="T8" fmla="*/ 24 w 27"/>
              <a:gd name="T9" fmla="*/ 8 h 117"/>
              <a:gd name="T10" fmla="*/ 24 w 27"/>
              <a:gd name="T11" fmla="*/ 8 h 117"/>
              <a:gd name="T12" fmla="*/ 24 w 27"/>
              <a:gd name="T13" fmla="*/ 4 h 117"/>
              <a:gd name="T14" fmla="*/ 24 w 27"/>
              <a:gd name="T15" fmla="*/ 0 h 117"/>
              <a:gd name="T16" fmla="*/ 2 w 27"/>
              <a:gd name="T17" fmla="*/ 0 h 117"/>
              <a:gd name="T18" fmla="*/ 2 w 27"/>
              <a:gd name="T19" fmla="*/ 0 h 117"/>
              <a:gd name="T20" fmla="*/ 2 w 27"/>
              <a:gd name="T21" fmla="*/ 6 h 117"/>
              <a:gd name="T22" fmla="*/ 2 w 27"/>
              <a:gd name="T23" fmla="*/ 6 h 117"/>
              <a:gd name="T24" fmla="*/ 2 w 27"/>
              <a:gd name="T25" fmla="*/ 9 h 117"/>
              <a:gd name="T26" fmla="*/ 3 w 27"/>
              <a:gd name="T27" fmla="*/ 11 h 117"/>
              <a:gd name="T28" fmla="*/ 3 w 27"/>
              <a:gd name="T29" fmla="*/ 50 h 117"/>
              <a:gd name="T30" fmla="*/ 3 w 27"/>
              <a:gd name="T31" fmla="*/ 50 h 117"/>
              <a:gd name="T32" fmla="*/ 2 w 27"/>
              <a:gd name="T33" fmla="*/ 52 h 117"/>
              <a:gd name="T34" fmla="*/ 0 w 27"/>
              <a:gd name="T35" fmla="*/ 61 h 117"/>
              <a:gd name="T36" fmla="*/ 0 w 27"/>
              <a:gd name="T37" fmla="*/ 61 h 117"/>
              <a:gd name="T38" fmla="*/ 0 w 27"/>
              <a:gd name="T39" fmla="*/ 66 h 117"/>
              <a:gd name="T40" fmla="*/ 2 w 27"/>
              <a:gd name="T41" fmla="*/ 72 h 117"/>
              <a:gd name="T42" fmla="*/ 5 w 27"/>
              <a:gd name="T43" fmla="*/ 75 h 117"/>
              <a:gd name="T44" fmla="*/ 3 w 27"/>
              <a:gd name="T45" fmla="*/ 106 h 117"/>
              <a:gd name="T46" fmla="*/ 3 w 27"/>
              <a:gd name="T47" fmla="*/ 106 h 117"/>
              <a:gd name="T48" fmla="*/ 3 w 27"/>
              <a:gd name="T49" fmla="*/ 108 h 117"/>
              <a:gd name="T50" fmla="*/ 2 w 27"/>
              <a:gd name="T51" fmla="*/ 112 h 117"/>
              <a:gd name="T52" fmla="*/ 2 w 27"/>
              <a:gd name="T53" fmla="*/ 112 h 117"/>
              <a:gd name="T54" fmla="*/ 2 w 27"/>
              <a:gd name="T55" fmla="*/ 117 h 117"/>
              <a:gd name="T56" fmla="*/ 24 w 27"/>
              <a:gd name="T57" fmla="*/ 117 h 117"/>
              <a:gd name="T58" fmla="*/ 24 w 27"/>
              <a:gd name="T59" fmla="*/ 117 h 117"/>
              <a:gd name="T60" fmla="*/ 24 w 27"/>
              <a:gd name="T61" fmla="*/ 110 h 117"/>
              <a:gd name="T62" fmla="*/ 24 w 27"/>
              <a:gd name="T63" fmla="*/ 110 h 117"/>
              <a:gd name="T64" fmla="*/ 22 w 27"/>
              <a:gd name="T65" fmla="*/ 106 h 117"/>
              <a:gd name="T66" fmla="*/ 22 w 27"/>
              <a:gd name="T67" fmla="*/ 75 h 117"/>
              <a:gd name="T68" fmla="*/ 22 w 27"/>
              <a:gd name="T69" fmla="*/ 75 h 117"/>
              <a:gd name="T70" fmla="*/ 25 w 27"/>
              <a:gd name="T71" fmla="*/ 70 h 117"/>
              <a:gd name="T72" fmla="*/ 25 w 27"/>
              <a:gd name="T73" fmla="*/ 66 h 117"/>
              <a:gd name="T74" fmla="*/ 27 w 27"/>
              <a:gd name="T75" fmla="*/ 62 h 117"/>
              <a:gd name="T76" fmla="*/ 27 w 27"/>
              <a:gd name="T77" fmla="*/ 62 h 117"/>
              <a:gd name="T78" fmla="*/ 24 w 27"/>
              <a:gd name="T79" fmla="*/ 53 h 117"/>
              <a:gd name="T80" fmla="*/ 22 w 27"/>
              <a:gd name="T81" fmla="*/ 5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7" h="117">
                <a:moveTo>
                  <a:pt x="22" y="50"/>
                </a:moveTo>
                <a:lnTo>
                  <a:pt x="22" y="50"/>
                </a:lnTo>
                <a:lnTo>
                  <a:pt x="22" y="11"/>
                </a:lnTo>
                <a:lnTo>
                  <a:pt x="22" y="11"/>
                </a:lnTo>
                <a:lnTo>
                  <a:pt x="24" y="8"/>
                </a:lnTo>
                <a:lnTo>
                  <a:pt x="24" y="8"/>
                </a:lnTo>
                <a:lnTo>
                  <a:pt x="24" y="4"/>
                </a:lnTo>
                <a:lnTo>
                  <a:pt x="24" y="0"/>
                </a:lnTo>
                <a:lnTo>
                  <a:pt x="2" y="0"/>
                </a:lnTo>
                <a:lnTo>
                  <a:pt x="2" y="0"/>
                </a:lnTo>
                <a:lnTo>
                  <a:pt x="2" y="6"/>
                </a:lnTo>
                <a:lnTo>
                  <a:pt x="2" y="6"/>
                </a:lnTo>
                <a:lnTo>
                  <a:pt x="2" y="9"/>
                </a:lnTo>
                <a:lnTo>
                  <a:pt x="3" y="11"/>
                </a:lnTo>
                <a:lnTo>
                  <a:pt x="3" y="50"/>
                </a:lnTo>
                <a:lnTo>
                  <a:pt x="3" y="50"/>
                </a:lnTo>
                <a:lnTo>
                  <a:pt x="2" y="52"/>
                </a:lnTo>
                <a:lnTo>
                  <a:pt x="0" y="61"/>
                </a:lnTo>
                <a:lnTo>
                  <a:pt x="0" y="61"/>
                </a:lnTo>
                <a:lnTo>
                  <a:pt x="0" y="66"/>
                </a:lnTo>
                <a:lnTo>
                  <a:pt x="2" y="72"/>
                </a:lnTo>
                <a:lnTo>
                  <a:pt x="5" y="75"/>
                </a:lnTo>
                <a:lnTo>
                  <a:pt x="3" y="106"/>
                </a:lnTo>
                <a:lnTo>
                  <a:pt x="3" y="106"/>
                </a:lnTo>
                <a:lnTo>
                  <a:pt x="3" y="108"/>
                </a:lnTo>
                <a:lnTo>
                  <a:pt x="2" y="112"/>
                </a:lnTo>
                <a:lnTo>
                  <a:pt x="2" y="112"/>
                </a:lnTo>
                <a:lnTo>
                  <a:pt x="2" y="117"/>
                </a:lnTo>
                <a:lnTo>
                  <a:pt x="24" y="117"/>
                </a:lnTo>
                <a:lnTo>
                  <a:pt x="24" y="117"/>
                </a:lnTo>
                <a:lnTo>
                  <a:pt x="24" y="110"/>
                </a:lnTo>
                <a:lnTo>
                  <a:pt x="24" y="110"/>
                </a:lnTo>
                <a:lnTo>
                  <a:pt x="22" y="106"/>
                </a:lnTo>
                <a:lnTo>
                  <a:pt x="22" y="75"/>
                </a:lnTo>
                <a:lnTo>
                  <a:pt x="22" y="75"/>
                </a:lnTo>
                <a:lnTo>
                  <a:pt x="25" y="70"/>
                </a:lnTo>
                <a:lnTo>
                  <a:pt x="25" y="66"/>
                </a:lnTo>
                <a:lnTo>
                  <a:pt x="27" y="62"/>
                </a:lnTo>
                <a:lnTo>
                  <a:pt x="27" y="62"/>
                </a:lnTo>
                <a:lnTo>
                  <a:pt x="24" y="53"/>
                </a:lnTo>
                <a:lnTo>
                  <a:pt x="22" y="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7" name="Freeform 48"/>
          <p:cNvSpPr>
            <a:spLocks/>
          </p:cNvSpPr>
          <p:nvPr userDrawn="1"/>
        </p:nvSpPr>
        <p:spPr bwMode="auto">
          <a:xfrm>
            <a:off x="8347076" y="-923502"/>
            <a:ext cx="60325" cy="42863"/>
          </a:xfrm>
          <a:custGeom>
            <a:avLst/>
            <a:gdLst>
              <a:gd name="T0" fmla="*/ 42 w 77"/>
              <a:gd name="T1" fmla="*/ 46 h 55"/>
              <a:gd name="T2" fmla="*/ 77 w 77"/>
              <a:gd name="T3" fmla="*/ 9 h 55"/>
              <a:gd name="T4" fmla="*/ 77 w 77"/>
              <a:gd name="T5" fmla="*/ 9 h 55"/>
              <a:gd name="T6" fmla="*/ 26 w 77"/>
              <a:gd name="T7" fmla="*/ 9 h 55"/>
              <a:gd name="T8" fmla="*/ 26 w 77"/>
              <a:gd name="T9" fmla="*/ 9 h 55"/>
              <a:gd name="T10" fmla="*/ 20 w 77"/>
              <a:gd name="T11" fmla="*/ 7 h 55"/>
              <a:gd name="T12" fmla="*/ 15 w 77"/>
              <a:gd name="T13" fmla="*/ 4 h 55"/>
              <a:gd name="T14" fmla="*/ 7 w 77"/>
              <a:gd name="T15" fmla="*/ 0 h 55"/>
              <a:gd name="T16" fmla="*/ 6 w 77"/>
              <a:gd name="T17" fmla="*/ 0 h 55"/>
              <a:gd name="T18" fmla="*/ 6 w 77"/>
              <a:gd name="T19" fmla="*/ 0 h 55"/>
              <a:gd name="T20" fmla="*/ 0 w 77"/>
              <a:gd name="T21" fmla="*/ 11 h 55"/>
              <a:gd name="T22" fmla="*/ 0 w 77"/>
              <a:gd name="T23" fmla="*/ 11 h 55"/>
              <a:gd name="T24" fmla="*/ 4 w 77"/>
              <a:gd name="T25" fmla="*/ 17 h 55"/>
              <a:gd name="T26" fmla="*/ 6 w 77"/>
              <a:gd name="T27" fmla="*/ 20 h 55"/>
              <a:gd name="T28" fmla="*/ 7 w 77"/>
              <a:gd name="T29" fmla="*/ 27 h 55"/>
              <a:gd name="T30" fmla="*/ 7 w 77"/>
              <a:gd name="T31" fmla="*/ 27 h 55"/>
              <a:gd name="T32" fmla="*/ 7 w 77"/>
              <a:gd name="T33" fmla="*/ 33 h 55"/>
              <a:gd name="T34" fmla="*/ 4 w 77"/>
              <a:gd name="T35" fmla="*/ 38 h 55"/>
              <a:gd name="T36" fmla="*/ 0 w 77"/>
              <a:gd name="T37" fmla="*/ 42 h 55"/>
              <a:gd name="T38" fmla="*/ 0 w 77"/>
              <a:gd name="T39" fmla="*/ 42 h 55"/>
              <a:gd name="T40" fmla="*/ 7 w 77"/>
              <a:gd name="T41" fmla="*/ 55 h 55"/>
              <a:gd name="T42" fmla="*/ 7 w 77"/>
              <a:gd name="T43" fmla="*/ 55 h 55"/>
              <a:gd name="T44" fmla="*/ 13 w 77"/>
              <a:gd name="T45" fmla="*/ 51 h 55"/>
              <a:gd name="T46" fmla="*/ 28 w 77"/>
              <a:gd name="T47" fmla="*/ 46 h 55"/>
              <a:gd name="T48" fmla="*/ 28 w 77"/>
              <a:gd name="T49" fmla="*/ 46 h 55"/>
              <a:gd name="T50" fmla="*/ 42 w 77"/>
              <a:gd name="T51" fmla="*/ 4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7" h="55">
                <a:moveTo>
                  <a:pt x="42" y="46"/>
                </a:moveTo>
                <a:lnTo>
                  <a:pt x="77" y="9"/>
                </a:lnTo>
                <a:lnTo>
                  <a:pt x="77" y="9"/>
                </a:lnTo>
                <a:lnTo>
                  <a:pt x="26" y="9"/>
                </a:lnTo>
                <a:lnTo>
                  <a:pt x="26" y="9"/>
                </a:lnTo>
                <a:lnTo>
                  <a:pt x="20" y="7"/>
                </a:lnTo>
                <a:lnTo>
                  <a:pt x="15" y="4"/>
                </a:lnTo>
                <a:lnTo>
                  <a:pt x="7" y="0"/>
                </a:lnTo>
                <a:lnTo>
                  <a:pt x="6" y="0"/>
                </a:lnTo>
                <a:lnTo>
                  <a:pt x="6" y="0"/>
                </a:lnTo>
                <a:lnTo>
                  <a:pt x="0" y="11"/>
                </a:lnTo>
                <a:lnTo>
                  <a:pt x="0" y="11"/>
                </a:lnTo>
                <a:lnTo>
                  <a:pt x="4" y="17"/>
                </a:lnTo>
                <a:lnTo>
                  <a:pt x="6" y="20"/>
                </a:lnTo>
                <a:lnTo>
                  <a:pt x="7" y="27"/>
                </a:lnTo>
                <a:lnTo>
                  <a:pt x="7" y="27"/>
                </a:lnTo>
                <a:lnTo>
                  <a:pt x="7" y="33"/>
                </a:lnTo>
                <a:lnTo>
                  <a:pt x="4" y="38"/>
                </a:lnTo>
                <a:lnTo>
                  <a:pt x="0" y="42"/>
                </a:lnTo>
                <a:lnTo>
                  <a:pt x="0" y="42"/>
                </a:lnTo>
                <a:lnTo>
                  <a:pt x="7" y="55"/>
                </a:lnTo>
                <a:lnTo>
                  <a:pt x="7" y="55"/>
                </a:lnTo>
                <a:lnTo>
                  <a:pt x="13" y="51"/>
                </a:lnTo>
                <a:lnTo>
                  <a:pt x="28" y="46"/>
                </a:lnTo>
                <a:lnTo>
                  <a:pt x="28" y="46"/>
                </a:lnTo>
                <a:lnTo>
                  <a:pt x="42" y="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8" name="Freeform 49"/>
          <p:cNvSpPr>
            <a:spLocks/>
          </p:cNvSpPr>
          <p:nvPr userDrawn="1"/>
        </p:nvSpPr>
        <p:spPr bwMode="auto">
          <a:xfrm>
            <a:off x="8423276" y="-982240"/>
            <a:ext cx="119063" cy="93663"/>
          </a:xfrm>
          <a:custGeom>
            <a:avLst/>
            <a:gdLst>
              <a:gd name="T0" fmla="*/ 152 w 152"/>
              <a:gd name="T1" fmla="*/ 60 h 119"/>
              <a:gd name="T2" fmla="*/ 148 w 152"/>
              <a:gd name="T3" fmla="*/ 58 h 119"/>
              <a:gd name="T4" fmla="*/ 139 w 152"/>
              <a:gd name="T5" fmla="*/ 62 h 119"/>
              <a:gd name="T6" fmla="*/ 135 w 152"/>
              <a:gd name="T7" fmla="*/ 64 h 119"/>
              <a:gd name="T8" fmla="*/ 134 w 152"/>
              <a:gd name="T9" fmla="*/ 75 h 119"/>
              <a:gd name="T10" fmla="*/ 130 w 152"/>
              <a:gd name="T11" fmla="*/ 71 h 119"/>
              <a:gd name="T12" fmla="*/ 121 w 152"/>
              <a:gd name="T13" fmla="*/ 69 h 119"/>
              <a:gd name="T14" fmla="*/ 113 w 152"/>
              <a:gd name="T15" fmla="*/ 71 h 119"/>
              <a:gd name="T16" fmla="*/ 117 w 152"/>
              <a:gd name="T17" fmla="*/ 80 h 119"/>
              <a:gd name="T18" fmla="*/ 113 w 152"/>
              <a:gd name="T19" fmla="*/ 90 h 119"/>
              <a:gd name="T20" fmla="*/ 110 w 152"/>
              <a:gd name="T21" fmla="*/ 90 h 119"/>
              <a:gd name="T22" fmla="*/ 103 w 152"/>
              <a:gd name="T23" fmla="*/ 84 h 119"/>
              <a:gd name="T24" fmla="*/ 103 w 152"/>
              <a:gd name="T25" fmla="*/ 79 h 119"/>
              <a:gd name="T26" fmla="*/ 93 w 152"/>
              <a:gd name="T27" fmla="*/ 82 h 119"/>
              <a:gd name="T28" fmla="*/ 88 w 152"/>
              <a:gd name="T29" fmla="*/ 79 h 119"/>
              <a:gd name="T30" fmla="*/ 90 w 152"/>
              <a:gd name="T31" fmla="*/ 69 h 119"/>
              <a:gd name="T32" fmla="*/ 104 w 152"/>
              <a:gd name="T33" fmla="*/ 66 h 119"/>
              <a:gd name="T34" fmla="*/ 103 w 152"/>
              <a:gd name="T35" fmla="*/ 60 h 119"/>
              <a:gd name="T36" fmla="*/ 97 w 152"/>
              <a:gd name="T37" fmla="*/ 53 h 119"/>
              <a:gd name="T38" fmla="*/ 92 w 152"/>
              <a:gd name="T39" fmla="*/ 51 h 119"/>
              <a:gd name="T40" fmla="*/ 82 w 152"/>
              <a:gd name="T41" fmla="*/ 53 h 119"/>
              <a:gd name="T42" fmla="*/ 86 w 152"/>
              <a:gd name="T43" fmla="*/ 51 h 119"/>
              <a:gd name="T44" fmla="*/ 90 w 152"/>
              <a:gd name="T45" fmla="*/ 44 h 119"/>
              <a:gd name="T46" fmla="*/ 90 w 152"/>
              <a:gd name="T47" fmla="*/ 35 h 119"/>
              <a:gd name="T48" fmla="*/ 84 w 152"/>
              <a:gd name="T49" fmla="*/ 26 h 119"/>
              <a:gd name="T50" fmla="*/ 84 w 152"/>
              <a:gd name="T51" fmla="*/ 26 h 119"/>
              <a:gd name="T52" fmla="*/ 79 w 152"/>
              <a:gd name="T53" fmla="*/ 27 h 119"/>
              <a:gd name="T54" fmla="*/ 68 w 152"/>
              <a:gd name="T55" fmla="*/ 33 h 119"/>
              <a:gd name="T56" fmla="*/ 66 w 152"/>
              <a:gd name="T57" fmla="*/ 38 h 119"/>
              <a:gd name="T58" fmla="*/ 66 w 152"/>
              <a:gd name="T59" fmla="*/ 46 h 119"/>
              <a:gd name="T60" fmla="*/ 62 w 152"/>
              <a:gd name="T61" fmla="*/ 40 h 119"/>
              <a:gd name="T62" fmla="*/ 55 w 152"/>
              <a:gd name="T63" fmla="*/ 35 h 119"/>
              <a:gd name="T64" fmla="*/ 50 w 152"/>
              <a:gd name="T65" fmla="*/ 35 h 119"/>
              <a:gd name="T66" fmla="*/ 42 w 152"/>
              <a:gd name="T67" fmla="*/ 38 h 119"/>
              <a:gd name="T68" fmla="*/ 48 w 152"/>
              <a:gd name="T69" fmla="*/ 46 h 119"/>
              <a:gd name="T70" fmla="*/ 48 w 152"/>
              <a:gd name="T71" fmla="*/ 57 h 119"/>
              <a:gd name="T72" fmla="*/ 42 w 152"/>
              <a:gd name="T73" fmla="*/ 58 h 119"/>
              <a:gd name="T74" fmla="*/ 35 w 152"/>
              <a:gd name="T75" fmla="*/ 53 h 119"/>
              <a:gd name="T76" fmla="*/ 33 w 152"/>
              <a:gd name="T77" fmla="*/ 47 h 119"/>
              <a:gd name="T78" fmla="*/ 26 w 152"/>
              <a:gd name="T79" fmla="*/ 53 h 119"/>
              <a:gd name="T80" fmla="*/ 20 w 152"/>
              <a:gd name="T81" fmla="*/ 51 h 119"/>
              <a:gd name="T82" fmla="*/ 17 w 152"/>
              <a:gd name="T83" fmla="*/ 42 h 119"/>
              <a:gd name="T84" fmla="*/ 31 w 152"/>
              <a:gd name="T85" fmla="*/ 35 h 119"/>
              <a:gd name="T86" fmla="*/ 29 w 152"/>
              <a:gd name="T87" fmla="*/ 33 h 119"/>
              <a:gd name="T88" fmla="*/ 22 w 152"/>
              <a:gd name="T89" fmla="*/ 24 h 119"/>
              <a:gd name="T90" fmla="*/ 15 w 152"/>
              <a:gd name="T91" fmla="*/ 24 h 119"/>
              <a:gd name="T92" fmla="*/ 18 w 152"/>
              <a:gd name="T93" fmla="*/ 18 h 119"/>
              <a:gd name="T94" fmla="*/ 20 w 152"/>
              <a:gd name="T95" fmla="*/ 9 h 119"/>
              <a:gd name="T96" fmla="*/ 18 w 152"/>
              <a:gd name="T97" fmla="*/ 5 h 119"/>
              <a:gd name="T98" fmla="*/ 13 w 152"/>
              <a:gd name="T99" fmla="*/ 0 h 119"/>
              <a:gd name="T100" fmla="*/ 35 w 152"/>
              <a:gd name="T101" fmla="*/ 88 h 119"/>
              <a:gd name="T102" fmla="*/ 46 w 152"/>
              <a:gd name="T103" fmla="*/ 82 h 119"/>
              <a:gd name="T104" fmla="*/ 51 w 152"/>
              <a:gd name="T105" fmla="*/ 79 h 119"/>
              <a:gd name="T106" fmla="*/ 66 w 152"/>
              <a:gd name="T107" fmla="*/ 80 h 119"/>
              <a:gd name="T108" fmla="*/ 71 w 152"/>
              <a:gd name="T109" fmla="*/ 82 h 119"/>
              <a:gd name="T110" fmla="*/ 82 w 152"/>
              <a:gd name="T111" fmla="*/ 90 h 119"/>
              <a:gd name="T112" fmla="*/ 84 w 152"/>
              <a:gd name="T113" fmla="*/ 99 h 119"/>
              <a:gd name="T114" fmla="*/ 84 w 152"/>
              <a:gd name="T115" fmla="*/ 104 h 119"/>
              <a:gd name="T116" fmla="*/ 106 w 152"/>
              <a:gd name="T117"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2" h="119">
                <a:moveTo>
                  <a:pt x="106" y="119"/>
                </a:moveTo>
                <a:lnTo>
                  <a:pt x="152" y="60"/>
                </a:lnTo>
                <a:lnTo>
                  <a:pt x="152" y="60"/>
                </a:lnTo>
                <a:lnTo>
                  <a:pt x="148" y="58"/>
                </a:lnTo>
                <a:lnTo>
                  <a:pt x="145" y="60"/>
                </a:lnTo>
                <a:lnTo>
                  <a:pt x="139" y="62"/>
                </a:lnTo>
                <a:lnTo>
                  <a:pt x="139" y="62"/>
                </a:lnTo>
                <a:lnTo>
                  <a:pt x="135" y="64"/>
                </a:lnTo>
                <a:lnTo>
                  <a:pt x="134" y="69"/>
                </a:lnTo>
                <a:lnTo>
                  <a:pt x="134" y="75"/>
                </a:lnTo>
                <a:lnTo>
                  <a:pt x="134" y="75"/>
                </a:lnTo>
                <a:lnTo>
                  <a:pt x="130" y="71"/>
                </a:lnTo>
                <a:lnTo>
                  <a:pt x="128" y="69"/>
                </a:lnTo>
                <a:lnTo>
                  <a:pt x="121" y="69"/>
                </a:lnTo>
                <a:lnTo>
                  <a:pt x="115" y="69"/>
                </a:lnTo>
                <a:lnTo>
                  <a:pt x="113" y="71"/>
                </a:lnTo>
                <a:lnTo>
                  <a:pt x="113" y="71"/>
                </a:lnTo>
                <a:lnTo>
                  <a:pt x="117" y="80"/>
                </a:lnTo>
                <a:lnTo>
                  <a:pt x="117" y="86"/>
                </a:lnTo>
                <a:lnTo>
                  <a:pt x="113" y="90"/>
                </a:lnTo>
                <a:lnTo>
                  <a:pt x="110" y="90"/>
                </a:lnTo>
                <a:lnTo>
                  <a:pt x="110" y="90"/>
                </a:lnTo>
                <a:lnTo>
                  <a:pt x="104" y="88"/>
                </a:lnTo>
                <a:lnTo>
                  <a:pt x="103" y="84"/>
                </a:lnTo>
                <a:lnTo>
                  <a:pt x="103" y="79"/>
                </a:lnTo>
                <a:lnTo>
                  <a:pt x="103" y="79"/>
                </a:lnTo>
                <a:lnTo>
                  <a:pt x="97" y="82"/>
                </a:lnTo>
                <a:lnTo>
                  <a:pt x="93" y="82"/>
                </a:lnTo>
                <a:lnTo>
                  <a:pt x="88" y="79"/>
                </a:lnTo>
                <a:lnTo>
                  <a:pt x="88" y="79"/>
                </a:lnTo>
                <a:lnTo>
                  <a:pt x="86" y="75"/>
                </a:lnTo>
                <a:lnTo>
                  <a:pt x="90" y="69"/>
                </a:lnTo>
                <a:lnTo>
                  <a:pt x="95" y="68"/>
                </a:lnTo>
                <a:lnTo>
                  <a:pt x="104" y="66"/>
                </a:lnTo>
                <a:lnTo>
                  <a:pt x="104" y="66"/>
                </a:lnTo>
                <a:lnTo>
                  <a:pt x="103" y="60"/>
                </a:lnTo>
                <a:lnTo>
                  <a:pt x="101" y="57"/>
                </a:lnTo>
                <a:lnTo>
                  <a:pt x="97" y="53"/>
                </a:lnTo>
                <a:lnTo>
                  <a:pt x="97" y="53"/>
                </a:lnTo>
                <a:lnTo>
                  <a:pt x="92" y="51"/>
                </a:lnTo>
                <a:lnTo>
                  <a:pt x="88" y="51"/>
                </a:lnTo>
                <a:lnTo>
                  <a:pt x="82" y="53"/>
                </a:lnTo>
                <a:lnTo>
                  <a:pt x="82" y="53"/>
                </a:lnTo>
                <a:lnTo>
                  <a:pt x="86" y="51"/>
                </a:lnTo>
                <a:lnTo>
                  <a:pt x="88" y="47"/>
                </a:lnTo>
                <a:lnTo>
                  <a:pt x="90" y="44"/>
                </a:lnTo>
                <a:lnTo>
                  <a:pt x="90" y="44"/>
                </a:lnTo>
                <a:lnTo>
                  <a:pt x="90" y="35"/>
                </a:lnTo>
                <a:lnTo>
                  <a:pt x="88" y="31"/>
                </a:lnTo>
                <a:lnTo>
                  <a:pt x="84" y="26"/>
                </a:lnTo>
                <a:lnTo>
                  <a:pt x="84" y="26"/>
                </a:lnTo>
                <a:lnTo>
                  <a:pt x="84" y="26"/>
                </a:lnTo>
                <a:lnTo>
                  <a:pt x="84" y="26"/>
                </a:lnTo>
                <a:lnTo>
                  <a:pt x="79" y="27"/>
                </a:lnTo>
                <a:lnTo>
                  <a:pt x="73" y="29"/>
                </a:lnTo>
                <a:lnTo>
                  <a:pt x="68" y="33"/>
                </a:lnTo>
                <a:lnTo>
                  <a:pt x="68" y="33"/>
                </a:lnTo>
                <a:lnTo>
                  <a:pt x="66" y="38"/>
                </a:lnTo>
                <a:lnTo>
                  <a:pt x="66" y="42"/>
                </a:lnTo>
                <a:lnTo>
                  <a:pt x="66" y="46"/>
                </a:lnTo>
                <a:lnTo>
                  <a:pt x="66" y="46"/>
                </a:lnTo>
                <a:lnTo>
                  <a:pt x="62" y="40"/>
                </a:lnTo>
                <a:lnTo>
                  <a:pt x="60" y="37"/>
                </a:lnTo>
                <a:lnTo>
                  <a:pt x="55" y="35"/>
                </a:lnTo>
                <a:lnTo>
                  <a:pt x="55" y="35"/>
                </a:lnTo>
                <a:lnTo>
                  <a:pt x="50" y="35"/>
                </a:lnTo>
                <a:lnTo>
                  <a:pt x="46" y="37"/>
                </a:lnTo>
                <a:lnTo>
                  <a:pt x="42" y="38"/>
                </a:lnTo>
                <a:lnTo>
                  <a:pt x="42" y="38"/>
                </a:lnTo>
                <a:lnTo>
                  <a:pt x="48" y="46"/>
                </a:lnTo>
                <a:lnTo>
                  <a:pt x="48" y="53"/>
                </a:lnTo>
                <a:lnTo>
                  <a:pt x="48" y="57"/>
                </a:lnTo>
                <a:lnTo>
                  <a:pt x="42" y="58"/>
                </a:lnTo>
                <a:lnTo>
                  <a:pt x="42" y="58"/>
                </a:lnTo>
                <a:lnTo>
                  <a:pt x="37" y="57"/>
                </a:lnTo>
                <a:lnTo>
                  <a:pt x="35" y="53"/>
                </a:lnTo>
                <a:lnTo>
                  <a:pt x="33" y="47"/>
                </a:lnTo>
                <a:lnTo>
                  <a:pt x="33" y="47"/>
                </a:lnTo>
                <a:lnTo>
                  <a:pt x="29" y="51"/>
                </a:lnTo>
                <a:lnTo>
                  <a:pt x="26" y="53"/>
                </a:lnTo>
                <a:lnTo>
                  <a:pt x="20" y="51"/>
                </a:lnTo>
                <a:lnTo>
                  <a:pt x="20" y="51"/>
                </a:lnTo>
                <a:lnTo>
                  <a:pt x="17" y="47"/>
                </a:lnTo>
                <a:lnTo>
                  <a:pt x="17" y="42"/>
                </a:lnTo>
                <a:lnTo>
                  <a:pt x="22" y="38"/>
                </a:lnTo>
                <a:lnTo>
                  <a:pt x="31" y="35"/>
                </a:lnTo>
                <a:lnTo>
                  <a:pt x="31" y="35"/>
                </a:lnTo>
                <a:lnTo>
                  <a:pt x="29" y="33"/>
                </a:lnTo>
                <a:lnTo>
                  <a:pt x="28" y="27"/>
                </a:lnTo>
                <a:lnTo>
                  <a:pt x="22" y="24"/>
                </a:lnTo>
                <a:lnTo>
                  <a:pt x="18" y="22"/>
                </a:lnTo>
                <a:lnTo>
                  <a:pt x="15" y="24"/>
                </a:lnTo>
                <a:lnTo>
                  <a:pt x="15" y="24"/>
                </a:lnTo>
                <a:lnTo>
                  <a:pt x="18" y="18"/>
                </a:lnTo>
                <a:lnTo>
                  <a:pt x="20" y="15"/>
                </a:lnTo>
                <a:lnTo>
                  <a:pt x="20" y="9"/>
                </a:lnTo>
                <a:lnTo>
                  <a:pt x="20" y="9"/>
                </a:lnTo>
                <a:lnTo>
                  <a:pt x="18" y="5"/>
                </a:lnTo>
                <a:lnTo>
                  <a:pt x="17" y="2"/>
                </a:lnTo>
                <a:lnTo>
                  <a:pt x="13" y="0"/>
                </a:lnTo>
                <a:lnTo>
                  <a:pt x="0" y="73"/>
                </a:lnTo>
                <a:lnTo>
                  <a:pt x="35" y="88"/>
                </a:lnTo>
                <a:lnTo>
                  <a:pt x="35" y="88"/>
                </a:lnTo>
                <a:lnTo>
                  <a:pt x="46" y="82"/>
                </a:lnTo>
                <a:lnTo>
                  <a:pt x="46" y="82"/>
                </a:lnTo>
                <a:lnTo>
                  <a:pt x="51" y="79"/>
                </a:lnTo>
                <a:lnTo>
                  <a:pt x="59" y="79"/>
                </a:lnTo>
                <a:lnTo>
                  <a:pt x="66" y="80"/>
                </a:lnTo>
                <a:lnTo>
                  <a:pt x="71" y="82"/>
                </a:lnTo>
                <a:lnTo>
                  <a:pt x="71" y="82"/>
                </a:lnTo>
                <a:lnTo>
                  <a:pt x="79" y="86"/>
                </a:lnTo>
                <a:lnTo>
                  <a:pt x="82" y="90"/>
                </a:lnTo>
                <a:lnTo>
                  <a:pt x="84" y="95"/>
                </a:lnTo>
                <a:lnTo>
                  <a:pt x="84" y="99"/>
                </a:lnTo>
                <a:lnTo>
                  <a:pt x="84" y="99"/>
                </a:lnTo>
                <a:lnTo>
                  <a:pt x="84" y="104"/>
                </a:lnTo>
                <a:lnTo>
                  <a:pt x="81" y="110"/>
                </a:lnTo>
                <a:lnTo>
                  <a:pt x="106" y="11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9" name="Freeform 50"/>
          <p:cNvSpPr>
            <a:spLocks/>
          </p:cNvSpPr>
          <p:nvPr userDrawn="1"/>
        </p:nvSpPr>
        <p:spPr bwMode="auto">
          <a:xfrm>
            <a:off x="8520113" y="-917153"/>
            <a:ext cx="142875" cy="25400"/>
          </a:xfrm>
          <a:custGeom>
            <a:avLst/>
            <a:gdLst>
              <a:gd name="T0" fmla="*/ 151 w 180"/>
              <a:gd name="T1" fmla="*/ 28 h 31"/>
              <a:gd name="T2" fmla="*/ 180 w 180"/>
              <a:gd name="T3" fmla="*/ 15 h 31"/>
              <a:gd name="T4" fmla="*/ 151 w 180"/>
              <a:gd name="T5" fmla="*/ 2 h 31"/>
              <a:gd name="T6" fmla="*/ 151 w 180"/>
              <a:gd name="T7" fmla="*/ 2 h 31"/>
              <a:gd name="T8" fmla="*/ 102 w 180"/>
              <a:gd name="T9" fmla="*/ 2 h 31"/>
              <a:gd name="T10" fmla="*/ 23 w 180"/>
              <a:gd name="T11" fmla="*/ 0 h 31"/>
              <a:gd name="T12" fmla="*/ 0 w 180"/>
              <a:gd name="T13" fmla="*/ 31 h 31"/>
              <a:gd name="T14" fmla="*/ 0 w 180"/>
              <a:gd name="T15" fmla="*/ 31 h 31"/>
              <a:gd name="T16" fmla="*/ 151 w 180"/>
              <a:gd name="T17"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31">
                <a:moveTo>
                  <a:pt x="151" y="28"/>
                </a:moveTo>
                <a:lnTo>
                  <a:pt x="180" y="15"/>
                </a:lnTo>
                <a:lnTo>
                  <a:pt x="151" y="2"/>
                </a:lnTo>
                <a:lnTo>
                  <a:pt x="151" y="2"/>
                </a:lnTo>
                <a:lnTo>
                  <a:pt x="102" y="2"/>
                </a:lnTo>
                <a:lnTo>
                  <a:pt x="23" y="0"/>
                </a:lnTo>
                <a:lnTo>
                  <a:pt x="0" y="31"/>
                </a:lnTo>
                <a:lnTo>
                  <a:pt x="0" y="31"/>
                </a:lnTo>
                <a:lnTo>
                  <a:pt x="151"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100" name="Freeform 51"/>
          <p:cNvSpPr>
            <a:spLocks/>
          </p:cNvSpPr>
          <p:nvPr userDrawn="1"/>
        </p:nvSpPr>
        <p:spPr bwMode="auto">
          <a:xfrm>
            <a:off x="8566151" y="-855240"/>
            <a:ext cx="85725" cy="84138"/>
          </a:xfrm>
          <a:custGeom>
            <a:avLst/>
            <a:gdLst>
              <a:gd name="T0" fmla="*/ 55 w 108"/>
              <a:gd name="T1" fmla="*/ 106 h 106"/>
              <a:gd name="T2" fmla="*/ 55 w 108"/>
              <a:gd name="T3" fmla="*/ 106 h 106"/>
              <a:gd name="T4" fmla="*/ 38 w 108"/>
              <a:gd name="T5" fmla="*/ 97 h 106"/>
              <a:gd name="T6" fmla="*/ 26 w 108"/>
              <a:gd name="T7" fmla="*/ 89 h 106"/>
              <a:gd name="T8" fmla="*/ 13 w 108"/>
              <a:gd name="T9" fmla="*/ 80 h 106"/>
              <a:gd name="T10" fmla="*/ 4 w 108"/>
              <a:gd name="T11" fmla="*/ 69 h 106"/>
              <a:gd name="T12" fmla="*/ 4 w 108"/>
              <a:gd name="T13" fmla="*/ 69 h 106"/>
              <a:gd name="T14" fmla="*/ 0 w 108"/>
              <a:gd name="T15" fmla="*/ 62 h 106"/>
              <a:gd name="T16" fmla="*/ 0 w 108"/>
              <a:gd name="T17" fmla="*/ 53 h 106"/>
              <a:gd name="T18" fmla="*/ 0 w 108"/>
              <a:gd name="T19" fmla="*/ 45 h 106"/>
              <a:gd name="T20" fmla="*/ 0 w 108"/>
              <a:gd name="T21" fmla="*/ 36 h 106"/>
              <a:gd name="T22" fmla="*/ 4 w 108"/>
              <a:gd name="T23" fmla="*/ 27 h 106"/>
              <a:gd name="T24" fmla="*/ 7 w 108"/>
              <a:gd name="T25" fmla="*/ 20 h 106"/>
              <a:gd name="T26" fmla="*/ 15 w 108"/>
              <a:gd name="T27" fmla="*/ 13 h 106"/>
              <a:gd name="T28" fmla="*/ 22 w 108"/>
              <a:gd name="T29" fmla="*/ 7 h 106"/>
              <a:gd name="T30" fmla="*/ 22 w 108"/>
              <a:gd name="T31" fmla="*/ 7 h 106"/>
              <a:gd name="T32" fmla="*/ 26 w 108"/>
              <a:gd name="T33" fmla="*/ 11 h 106"/>
              <a:gd name="T34" fmla="*/ 27 w 108"/>
              <a:gd name="T35" fmla="*/ 14 h 106"/>
              <a:gd name="T36" fmla="*/ 27 w 108"/>
              <a:gd name="T37" fmla="*/ 18 h 106"/>
              <a:gd name="T38" fmla="*/ 27 w 108"/>
              <a:gd name="T39" fmla="*/ 18 h 106"/>
              <a:gd name="T40" fmla="*/ 51 w 108"/>
              <a:gd name="T41" fmla="*/ 16 h 106"/>
              <a:gd name="T42" fmla="*/ 51 w 108"/>
              <a:gd name="T43" fmla="*/ 16 h 106"/>
              <a:gd name="T44" fmla="*/ 51 w 108"/>
              <a:gd name="T45" fmla="*/ 9 h 106"/>
              <a:gd name="T46" fmla="*/ 51 w 108"/>
              <a:gd name="T47" fmla="*/ 3 h 106"/>
              <a:gd name="T48" fmla="*/ 49 w 108"/>
              <a:gd name="T49" fmla="*/ 0 h 106"/>
              <a:gd name="T50" fmla="*/ 49 w 108"/>
              <a:gd name="T51" fmla="*/ 0 h 106"/>
              <a:gd name="T52" fmla="*/ 57 w 108"/>
              <a:gd name="T53" fmla="*/ 5 h 106"/>
              <a:gd name="T54" fmla="*/ 59 w 108"/>
              <a:gd name="T55" fmla="*/ 11 h 106"/>
              <a:gd name="T56" fmla="*/ 60 w 108"/>
              <a:gd name="T57" fmla="*/ 16 h 106"/>
              <a:gd name="T58" fmla="*/ 60 w 108"/>
              <a:gd name="T59" fmla="*/ 16 h 106"/>
              <a:gd name="T60" fmla="*/ 82 w 108"/>
              <a:gd name="T61" fmla="*/ 18 h 106"/>
              <a:gd name="T62" fmla="*/ 82 w 108"/>
              <a:gd name="T63" fmla="*/ 18 h 106"/>
              <a:gd name="T64" fmla="*/ 82 w 108"/>
              <a:gd name="T65" fmla="*/ 11 h 106"/>
              <a:gd name="T66" fmla="*/ 79 w 108"/>
              <a:gd name="T67" fmla="*/ 3 h 106"/>
              <a:gd name="T68" fmla="*/ 79 w 108"/>
              <a:gd name="T69" fmla="*/ 3 h 106"/>
              <a:gd name="T70" fmla="*/ 86 w 108"/>
              <a:gd name="T71" fmla="*/ 9 h 106"/>
              <a:gd name="T72" fmla="*/ 93 w 108"/>
              <a:gd name="T73" fmla="*/ 13 h 106"/>
              <a:gd name="T74" fmla="*/ 99 w 108"/>
              <a:gd name="T75" fmla="*/ 20 h 106"/>
              <a:gd name="T76" fmla="*/ 102 w 108"/>
              <a:gd name="T77" fmla="*/ 25 h 106"/>
              <a:gd name="T78" fmla="*/ 106 w 108"/>
              <a:gd name="T79" fmla="*/ 38 h 106"/>
              <a:gd name="T80" fmla="*/ 108 w 108"/>
              <a:gd name="T81" fmla="*/ 49 h 106"/>
              <a:gd name="T82" fmla="*/ 108 w 108"/>
              <a:gd name="T83" fmla="*/ 49 h 106"/>
              <a:gd name="T84" fmla="*/ 106 w 108"/>
              <a:gd name="T85" fmla="*/ 62 h 106"/>
              <a:gd name="T86" fmla="*/ 102 w 108"/>
              <a:gd name="T87" fmla="*/ 73 h 106"/>
              <a:gd name="T88" fmla="*/ 95 w 108"/>
              <a:gd name="T89" fmla="*/ 82 h 106"/>
              <a:gd name="T90" fmla="*/ 86 w 108"/>
              <a:gd name="T91" fmla="*/ 89 h 106"/>
              <a:gd name="T92" fmla="*/ 86 w 108"/>
              <a:gd name="T93" fmla="*/ 89 h 106"/>
              <a:gd name="T94" fmla="*/ 69 w 108"/>
              <a:gd name="T95" fmla="*/ 98 h 106"/>
              <a:gd name="T96" fmla="*/ 55 w 108"/>
              <a:gd name="T97"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 h="106">
                <a:moveTo>
                  <a:pt x="55" y="106"/>
                </a:moveTo>
                <a:lnTo>
                  <a:pt x="55" y="106"/>
                </a:lnTo>
                <a:lnTo>
                  <a:pt x="38" y="97"/>
                </a:lnTo>
                <a:lnTo>
                  <a:pt x="26" y="89"/>
                </a:lnTo>
                <a:lnTo>
                  <a:pt x="13" y="80"/>
                </a:lnTo>
                <a:lnTo>
                  <a:pt x="4" y="69"/>
                </a:lnTo>
                <a:lnTo>
                  <a:pt x="4" y="69"/>
                </a:lnTo>
                <a:lnTo>
                  <a:pt x="0" y="62"/>
                </a:lnTo>
                <a:lnTo>
                  <a:pt x="0" y="53"/>
                </a:lnTo>
                <a:lnTo>
                  <a:pt x="0" y="45"/>
                </a:lnTo>
                <a:lnTo>
                  <a:pt x="0" y="36"/>
                </a:lnTo>
                <a:lnTo>
                  <a:pt x="4" y="27"/>
                </a:lnTo>
                <a:lnTo>
                  <a:pt x="7" y="20"/>
                </a:lnTo>
                <a:lnTo>
                  <a:pt x="15" y="13"/>
                </a:lnTo>
                <a:lnTo>
                  <a:pt x="22" y="7"/>
                </a:lnTo>
                <a:lnTo>
                  <a:pt x="22" y="7"/>
                </a:lnTo>
                <a:lnTo>
                  <a:pt x="26" y="11"/>
                </a:lnTo>
                <a:lnTo>
                  <a:pt x="27" y="14"/>
                </a:lnTo>
                <a:lnTo>
                  <a:pt x="27" y="18"/>
                </a:lnTo>
                <a:lnTo>
                  <a:pt x="27" y="18"/>
                </a:lnTo>
                <a:lnTo>
                  <a:pt x="51" y="16"/>
                </a:lnTo>
                <a:lnTo>
                  <a:pt x="51" y="16"/>
                </a:lnTo>
                <a:lnTo>
                  <a:pt x="51" y="9"/>
                </a:lnTo>
                <a:lnTo>
                  <a:pt x="51" y="3"/>
                </a:lnTo>
                <a:lnTo>
                  <a:pt x="49" y="0"/>
                </a:lnTo>
                <a:lnTo>
                  <a:pt x="49" y="0"/>
                </a:lnTo>
                <a:lnTo>
                  <a:pt x="57" y="5"/>
                </a:lnTo>
                <a:lnTo>
                  <a:pt x="59" y="11"/>
                </a:lnTo>
                <a:lnTo>
                  <a:pt x="60" y="16"/>
                </a:lnTo>
                <a:lnTo>
                  <a:pt x="60" y="16"/>
                </a:lnTo>
                <a:lnTo>
                  <a:pt x="82" y="18"/>
                </a:lnTo>
                <a:lnTo>
                  <a:pt x="82" y="18"/>
                </a:lnTo>
                <a:lnTo>
                  <a:pt x="82" y="11"/>
                </a:lnTo>
                <a:lnTo>
                  <a:pt x="79" y="3"/>
                </a:lnTo>
                <a:lnTo>
                  <a:pt x="79" y="3"/>
                </a:lnTo>
                <a:lnTo>
                  <a:pt x="86" y="9"/>
                </a:lnTo>
                <a:lnTo>
                  <a:pt x="93" y="13"/>
                </a:lnTo>
                <a:lnTo>
                  <a:pt x="99" y="20"/>
                </a:lnTo>
                <a:lnTo>
                  <a:pt x="102" y="25"/>
                </a:lnTo>
                <a:lnTo>
                  <a:pt x="106" y="38"/>
                </a:lnTo>
                <a:lnTo>
                  <a:pt x="108" y="49"/>
                </a:lnTo>
                <a:lnTo>
                  <a:pt x="108" y="49"/>
                </a:lnTo>
                <a:lnTo>
                  <a:pt x="106" y="62"/>
                </a:lnTo>
                <a:lnTo>
                  <a:pt x="102" y="73"/>
                </a:lnTo>
                <a:lnTo>
                  <a:pt x="95" y="82"/>
                </a:lnTo>
                <a:lnTo>
                  <a:pt x="86" y="89"/>
                </a:lnTo>
                <a:lnTo>
                  <a:pt x="86" y="89"/>
                </a:lnTo>
                <a:lnTo>
                  <a:pt x="69" y="98"/>
                </a:lnTo>
                <a:lnTo>
                  <a:pt x="55" y="1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101" name="Freeform 52"/>
          <p:cNvSpPr>
            <a:spLocks/>
          </p:cNvSpPr>
          <p:nvPr userDrawn="1"/>
        </p:nvSpPr>
        <p:spPr bwMode="auto">
          <a:xfrm>
            <a:off x="8589963" y="-648865"/>
            <a:ext cx="1588" cy="1588"/>
          </a:xfrm>
          <a:custGeom>
            <a:avLst/>
            <a:gdLst>
              <a:gd name="T0" fmla="*/ 4 w 4"/>
              <a:gd name="T1" fmla="*/ 2 h 2"/>
              <a:gd name="T2" fmla="*/ 4 w 4"/>
              <a:gd name="T3" fmla="*/ 2 h 2"/>
              <a:gd name="T4" fmla="*/ 2 w 4"/>
              <a:gd name="T5" fmla="*/ 0 h 2"/>
              <a:gd name="T6" fmla="*/ 2 w 4"/>
              <a:gd name="T7" fmla="*/ 0 h 2"/>
              <a:gd name="T8" fmla="*/ 0 w 4"/>
              <a:gd name="T9" fmla="*/ 0 h 2"/>
              <a:gd name="T10" fmla="*/ 0 w 4"/>
              <a:gd name="T11" fmla="*/ 0 h 2"/>
              <a:gd name="T12" fmla="*/ 4 w 4"/>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2"/>
                </a:moveTo>
                <a:lnTo>
                  <a:pt x="4" y="2"/>
                </a:lnTo>
                <a:lnTo>
                  <a:pt x="2" y="0"/>
                </a:lnTo>
                <a:lnTo>
                  <a:pt x="2" y="0"/>
                </a:lnTo>
                <a:lnTo>
                  <a:pt x="0" y="0"/>
                </a:lnTo>
                <a:lnTo>
                  <a:pt x="0" y="0"/>
                </a:lnTo>
                <a:lnTo>
                  <a:pt x="4"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102" name="Freeform 53"/>
          <p:cNvSpPr>
            <a:spLocks/>
          </p:cNvSpPr>
          <p:nvPr userDrawn="1"/>
        </p:nvSpPr>
        <p:spPr bwMode="auto">
          <a:xfrm>
            <a:off x="8405814" y="-885403"/>
            <a:ext cx="15875" cy="9525"/>
          </a:xfrm>
          <a:custGeom>
            <a:avLst/>
            <a:gdLst>
              <a:gd name="T0" fmla="*/ 20 w 20"/>
              <a:gd name="T1" fmla="*/ 10 h 11"/>
              <a:gd name="T2" fmla="*/ 20 w 20"/>
              <a:gd name="T3" fmla="*/ 10 h 11"/>
              <a:gd name="T4" fmla="*/ 19 w 20"/>
              <a:gd name="T5" fmla="*/ 10 h 11"/>
              <a:gd name="T6" fmla="*/ 11 w 20"/>
              <a:gd name="T7" fmla="*/ 11 h 11"/>
              <a:gd name="T8" fmla="*/ 2 w 20"/>
              <a:gd name="T9" fmla="*/ 11 h 11"/>
              <a:gd name="T10" fmla="*/ 2 w 20"/>
              <a:gd name="T11" fmla="*/ 11 h 11"/>
              <a:gd name="T12" fmla="*/ 0 w 20"/>
              <a:gd name="T13" fmla="*/ 8 h 11"/>
              <a:gd name="T14" fmla="*/ 0 w 20"/>
              <a:gd name="T15" fmla="*/ 0 h 11"/>
              <a:gd name="T16" fmla="*/ 0 w 20"/>
              <a:gd name="T17" fmla="*/ 0 h 11"/>
              <a:gd name="T18" fmla="*/ 4 w 20"/>
              <a:gd name="T19" fmla="*/ 0 h 11"/>
              <a:gd name="T20" fmla="*/ 11 w 20"/>
              <a:gd name="T21" fmla="*/ 2 h 11"/>
              <a:gd name="T22" fmla="*/ 17 w 20"/>
              <a:gd name="T23" fmla="*/ 4 h 11"/>
              <a:gd name="T24" fmla="*/ 20 w 20"/>
              <a:gd name="T25"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1">
                <a:moveTo>
                  <a:pt x="20" y="10"/>
                </a:moveTo>
                <a:lnTo>
                  <a:pt x="20" y="10"/>
                </a:lnTo>
                <a:lnTo>
                  <a:pt x="19" y="10"/>
                </a:lnTo>
                <a:lnTo>
                  <a:pt x="11" y="11"/>
                </a:lnTo>
                <a:lnTo>
                  <a:pt x="2" y="11"/>
                </a:lnTo>
                <a:lnTo>
                  <a:pt x="2" y="11"/>
                </a:lnTo>
                <a:lnTo>
                  <a:pt x="0" y="8"/>
                </a:lnTo>
                <a:lnTo>
                  <a:pt x="0" y="0"/>
                </a:lnTo>
                <a:lnTo>
                  <a:pt x="0" y="0"/>
                </a:lnTo>
                <a:lnTo>
                  <a:pt x="4" y="0"/>
                </a:lnTo>
                <a:lnTo>
                  <a:pt x="11" y="2"/>
                </a:lnTo>
                <a:lnTo>
                  <a:pt x="17" y="4"/>
                </a:lnTo>
                <a:lnTo>
                  <a:pt x="20"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103" name="Freeform 54"/>
          <p:cNvSpPr>
            <a:spLocks/>
          </p:cNvSpPr>
          <p:nvPr userDrawn="1"/>
        </p:nvSpPr>
        <p:spPr bwMode="auto">
          <a:xfrm>
            <a:off x="8197851" y="-917153"/>
            <a:ext cx="492125" cy="579438"/>
          </a:xfrm>
          <a:custGeom>
            <a:avLst/>
            <a:gdLst>
              <a:gd name="T0" fmla="*/ 592 w 619"/>
              <a:gd name="T1" fmla="*/ 245 h 729"/>
              <a:gd name="T2" fmla="*/ 588 w 619"/>
              <a:gd name="T3" fmla="*/ 150 h 729"/>
              <a:gd name="T4" fmla="*/ 513 w 619"/>
              <a:gd name="T5" fmla="*/ 57 h 729"/>
              <a:gd name="T6" fmla="*/ 446 w 619"/>
              <a:gd name="T7" fmla="*/ 150 h 729"/>
              <a:gd name="T8" fmla="*/ 460 w 619"/>
              <a:gd name="T9" fmla="*/ 243 h 729"/>
              <a:gd name="T10" fmla="*/ 490 w 619"/>
              <a:gd name="T11" fmla="*/ 256 h 729"/>
              <a:gd name="T12" fmla="*/ 506 w 619"/>
              <a:gd name="T13" fmla="*/ 240 h 729"/>
              <a:gd name="T14" fmla="*/ 568 w 619"/>
              <a:gd name="T15" fmla="*/ 250 h 729"/>
              <a:gd name="T16" fmla="*/ 533 w 619"/>
              <a:gd name="T17" fmla="*/ 345 h 729"/>
              <a:gd name="T18" fmla="*/ 429 w 619"/>
              <a:gd name="T19" fmla="*/ 291 h 729"/>
              <a:gd name="T20" fmla="*/ 417 w 619"/>
              <a:gd name="T21" fmla="*/ 198 h 729"/>
              <a:gd name="T22" fmla="*/ 418 w 619"/>
              <a:gd name="T23" fmla="*/ 183 h 729"/>
              <a:gd name="T24" fmla="*/ 375 w 619"/>
              <a:gd name="T25" fmla="*/ 121 h 729"/>
              <a:gd name="T26" fmla="*/ 424 w 619"/>
              <a:gd name="T27" fmla="*/ 77 h 729"/>
              <a:gd name="T28" fmla="*/ 353 w 619"/>
              <a:gd name="T29" fmla="*/ 28 h 729"/>
              <a:gd name="T30" fmla="*/ 247 w 619"/>
              <a:gd name="T31" fmla="*/ 33 h 729"/>
              <a:gd name="T32" fmla="*/ 225 w 619"/>
              <a:gd name="T33" fmla="*/ 73 h 729"/>
              <a:gd name="T34" fmla="*/ 243 w 619"/>
              <a:gd name="T35" fmla="*/ 104 h 729"/>
              <a:gd name="T36" fmla="*/ 292 w 619"/>
              <a:gd name="T37" fmla="*/ 88 h 729"/>
              <a:gd name="T38" fmla="*/ 219 w 619"/>
              <a:gd name="T39" fmla="*/ 115 h 729"/>
              <a:gd name="T40" fmla="*/ 190 w 619"/>
              <a:gd name="T41" fmla="*/ 110 h 729"/>
              <a:gd name="T42" fmla="*/ 258 w 619"/>
              <a:gd name="T43" fmla="*/ 112 h 729"/>
              <a:gd name="T44" fmla="*/ 261 w 619"/>
              <a:gd name="T45" fmla="*/ 128 h 729"/>
              <a:gd name="T46" fmla="*/ 238 w 619"/>
              <a:gd name="T47" fmla="*/ 152 h 729"/>
              <a:gd name="T48" fmla="*/ 259 w 619"/>
              <a:gd name="T49" fmla="*/ 192 h 729"/>
              <a:gd name="T50" fmla="*/ 133 w 619"/>
              <a:gd name="T51" fmla="*/ 276 h 729"/>
              <a:gd name="T52" fmla="*/ 53 w 619"/>
              <a:gd name="T53" fmla="*/ 252 h 729"/>
              <a:gd name="T54" fmla="*/ 42 w 619"/>
              <a:gd name="T55" fmla="*/ 267 h 729"/>
              <a:gd name="T56" fmla="*/ 51 w 619"/>
              <a:gd name="T57" fmla="*/ 287 h 729"/>
              <a:gd name="T58" fmla="*/ 2 w 619"/>
              <a:gd name="T59" fmla="*/ 305 h 729"/>
              <a:gd name="T60" fmla="*/ 58 w 619"/>
              <a:gd name="T61" fmla="*/ 313 h 729"/>
              <a:gd name="T62" fmla="*/ 37 w 619"/>
              <a:gd name="T63" fmla="*/ 331 h 729"/>
              <a:gd name="T64" fmla="*/ 53 w 619"/>
              <a:gd name="T65" fmla="*/ 345 h 729"/>
              <a:gd name="T66" fmla="*/ 104 w 619"/>
              <a:gd name="T67" fmla="*/ 345 h 729"/>
              <a:gd name="T68" fmla="*/ 117 w 619"/>
              <a:gd name="T69" fmla="*/ 347 h 729"/>
              <a:gd name="T70" fmla="*/ 163 w 619"/>
              <a:gd name="T71" fmla="*/ 309 h 729"/>
              <a:gd name="T72" fmla="*/ 214 w 619"/>
              <a:gd name="T73" fmla="*/ 300 h 729"/>
              <a:gd name="T74" fmla="*/ 283 w 619"/>
              <a:gd name="T75" fmla="*/ 325 h 729"/>
              <a:gd name="T76" fmla="*/ 417 w 619"/>
              <a:gd name="T77" fmla="*/ 386 h 729"/>
              <a:gd name="T78" fmla="*/ 466 w 619"/>
              <a:gd name="T79" fmla="*/ 492 h 729"/>
              <a:gd name="T80" fmla="*/ 464 w 619"/>
              <a:gd name="T81" fmla="*/ 517 h 729"/>
              <a:gd name="T82" fmla="*/ 512 w 619"/>
              <a:gd name="T83" fmla="*/ 526 h 729"/>
              <a:gd name="T84" fmla="*/ 526 w 619"/>
              <a:gd name="T85" fmla="*/ 627 h 729"/>
              <a:gd name="T86" fmla="*/ 462 w 619"/>
              <a:gd name="T87" fmla="*/ 638 h 729"/>
              <a:gd name="T88" fmla="*/ 491 w 619"/>
              <a:gd name="T89" fmla="*/ 651 h 729"/>
              <a:gd name="T90" fmla="*/ 479 w 619"/>
              <a:gd name="T91" fmla="*/ 663 h 729"/>
              <a:gd name="T92" fmla="*/ 475 w 619"/>
              <a:gd name="T93" fmla="*/ 711 h 729"/>
              <a:gd name="T94" fmla="*/ 502 w 619"/>
              <a:gd name="T95" fmla="*/ 693 h 729"/>
              <a:gd name="T96" fmla="*/ 513 w 619"/>
              <a:gd name="T97" fmla="*/ 700 h 729"/>
              <a:gd name="T98" fmla="*/ 544 w 619"/>
              <a:gd name="T99" fmla="*/ 720 h 729"/>
              <a:gd name="T100" fmla="*/ 554 w 619"/>
              <a:gd name="T101" fmla="*/ 678 h 729"/>
              <a:gd name="T102" fmla="*/ 586 w 619"/>
              <a:gd name="T103" fmla="*/ 689 h 729"/>
              <a:gd name="T104" fmla="*/ 590 w 619"/>
              <a:gd name="T105" fmla="*/ 625 h 729"/>
              <a:gd name="T106" fmla="*/ 603 w 619"/>
              <a:gd name="T107" fmla="*/ 598 h 729"/>
              <a:gd name="T108" fmla="*/ 599 w 619"/>
              <a:gd name="T109" fmla="*/ 552 h 729"/>
              <a:gd name="T110" fmla="*/ 574 w 619"/>
              <a:gd name="T111" fmla="*/ 508 h 729"/>
              <a:gd name="T112" fmla="*/ 532 w 619"/>
              <a:gd name="T113" fmla="*/ 462 h 729"/>
              <a:gd name="T114" fmla="*/ 532 w 619"/>
              <a:gd name="T115" fmla="*/ 419 h 729"/>
              <a:gd name="T116" fmla="*/ 539 w 619"/>
              <a:gd name="T117" fmla="*/ 377 h 729"/>
              <a:gd name="T118" fmla="*/ 618 w 619"/>
              <a:gd name="T119" fmla="*/ 316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9" h="729">
                <a:moveTo>
                  <a:pt x="603" y="280"/>
                </a:moveTo>
                <a:lnTo>
                  <a:pt x="603" y="280"/>
                </a:lnTo>
                <a:lnTo>
                  <a:pt x="612" y="282"/>
                </a:lnTo>
                <a:lnTo>
                  <a:pt x="619" y="280"/>
                </a:lnTo>
                <a:lnTo>
                  <a:pt x="619" y="280"/>
                </a:lnTo>
                <a:lnTo>
                  <a:pt x="618" y="269"/>
                </a:lnTo>
                <a:lnTo>
                  <a:pt x="616" y="252"/>
                </a:lnTo>
                <a:lnTo>
                  <a:pt x="616" y="252"/>
                </a:lnTo>
                <a:lnTo>
                  <a:pt x="610" y="252"/>
                </a:lnTo>
                <a:lnTo>
                  <a:pt x="605" y="252"/>
                </a:lnTo>
                <a:lnTo>
                  <a:pt x="599" y="250"/>
                </a:lnTo>
                <a:lnTo>
                  <a:pt x="592" y="245"/>
                </a:lnTo>
                <a:lnTo>
                  <a:pt x="592" y="245"/>
                </a:lnTo>
                <a:lnTo>
                  <a:pt x="588" y="238"/>
                </a:lnTo>
                <a:lnTo>
                  <a:pt x="588" y="238"/>
                </a:lnTo>
                <a:lnTo>
                  <a:pt x="577" y="223"/>
                </a:lnTo>
                <a:lnTo>
                  <a:pt x="565" y="212"/>
                </a:lnTo>
                <a:lnTo>
                  <a:pt x="552" y="203"/>
                </a:lnTo>
                <a:lnTo>
                  <a:pt x="541" y="196"/>
                </a:lnTo>
                <a:lnTo>
                  <a:pt x="541" y="196"/>
                </a:lnTo>
                <a:lnTo>
                  <a:pt x="559" y="185"/>
                </a:lnTo>
                <a:lnTo>
                  <a:pt x="572" y="174"/>
                </a:lnTo>
                <a:lnTo>
                  <a:pt x="581" y="165"/>
                </a:lnTo>
                <a:lnTo>
                  <a:pt x="585" y="157"/>
                </a:lnTo>
                <a:lnTo>
                  <a:pt x="585" y="157"/>
                </a:lnTo>
                <a:lnTo>
                  <a:pt x="588" y="150"/>
                </a:lnTo>
                <a:lnTo>
                  <a:pt x="592" y="139"/>
                </a:lnTo>
                <a:lnTo>
                  <a:pt x="592" y="128"/>
                </a:lnTo>
                <a:lnTo>
                  <a:pt x="592" y="115"/>
                </a:lnTo>
                <a:lnTo>
                  <a:pt x="588" y="103"/>
                </a:lnTo>
                <a:lnTo>
                  <a:pt x="583" y="90"/>
                </a:lnTo>
                <a:lnTo>
                  <a:pt x="574" y="79"/>
                </a:lnTo>
                <a:lnTo>
                  <a:pt x="566" y="73"/>
                </a:lnTo>
                <a:lnTo>
                  <a:pt x="559" y="68"/>
                </a:lnTo>
                <a:lnTo>
                  <a:pt x="559" y="68"/>
                </a:lnTo>
                <a:lnTo>
                  <a:pt x="548" y="62"/>
                </a:lnTo>
                <a:lnTo>
                  <a:pt x="535" y="59"/>
                </a:lnTo>
                <a:lnTo>
                  <a:pt x="524" y="57"/>
                </a:lnTo>
                <a:lnTo>
                  <a:pt x="513" y="57"/>
                </a:lnTo>
                <a:lnTo>
                  <a:pt x="495" y="60"/>
                </a:lnTo>
                <a:lnTo>
                  <a:pt x="481" y="64"/>
                </a:lnTo>
                <a:lnTo>
                  <a:pt x="481" y="64"/>
                </a:lnTo>
                <a:lnTo>
                  <a:pt x="471" y="70"/>
                </a:lnTo>
                <a:lnTo>
                  <a:pt x="462" y="77"/>
                </a:lnTo>
                <a:lnTo>
                  <a:pt x="455" y="84"/>
                </a:lnTo>
                <a:lnTo>
                  <a:pt x="449" y="93"/>
                </a:lnTo>
                <a:lnTo>
                  <a:pt x="446" y="104"/>
                </a:lnTo>
                <a:lnTo>
                  <a:pt x="442" y="115"/>
                </a:lnTo>
                <a:lnTo>
                  <a:pt x="442" y="126"/>
                </a:lnTo>
                <a:lnTo>
                  <a:pt x="442" y="141"/>
                </a:lnTo>
                <a:lnTo>
                  <a:pt x="442" y="141"/>
                </a:lnTo>
                <a:lnTo>
                  <a:pt x="446" y="150"/>
                </a:lnTo>
                <a:lnTo>
                  <a:pt x="449" y="159"/>
                </a:lnTo>
                <a:lnTo>
                  <a:pt x="455" y="168"/>
                </a:lnTo>
                <a:lnTo>
                  <a:pt x="460" y="174"/>
                </a:lnTo>
                <a:lnTo>
                  <a:pt x="477" y="185"/>
                </a:lnTo>
                <a:lnTo>
                  <a:pt x="495" y="196"/>
                </a:lnTo>
                <a:lnTo>
                  <a:pt x="495" y="196"/>
                </a:lnTo>
                <a:lnTo>
                  <a:pt x="481" y="203"/>
                </a:lnTo>
                <a:lnTo>
                  <a:pt x="470" y="214"/>
                </a:lnTo>
                <a:lnTo>
                  <a:pt x="466" y="219"/>
                </a:lnTo>
                <a:lnTo>
                  <a:pt x="464" y="227"/>
                </a:lnTo>
                <a:lnTo>
                  <a:pt x="462" y="234"/>
                </a:lnTo>
                <a:lnTo>
                  <a:pt x="460" y="243"/>
                </a:lnTo>
                <a:lnTo>
                  <a:pt x="460" y="243"/>
                </a:lnTo>
                <a:lnTo>
                  <a:pt x="462" y="254"/>
                </a:lnTo>
                <a:lnTo>
                  <a:pt x="466" y="267"/>
                </a:lnTo>
                <a:lnTo>
                  <a:pt x="468" y="282"/>
                </a:lnTo>
                <a:lnTo>
                  <a:pt x="468" y="291"/>
                </a:lnTo>
                <a:lnTo>
                  <a:pt x="466" y="300"/>
                </a:lnTo>
                <a:lnTo>
                  <a:pt x="466" y="300"/>
                </a:lnTo>
                <a:lnTo>
                  <a:pt x="468" y="300"/>
                </a:lnTo>
                <a:lnTo>
                  <a:pt x="475" y="298"/>
                </a:lnTo>
                <a:lnTo>
                  <a:pt x="484" y="291"/>
                </a:lnTo>
                <a:lnTo>
                  <a:pt x="484" y="291"/>
                </a:lnTo>
                <a:lnTo>
                  <a:pt x="488" y="280"/>
                </a:lnTo>
                <a:lnTo>
                  <a:pt x="490" y="269"/>
                </a:lnTo>
                <a:lnTo>
                  <a:pt x="490" y="256"/>
                </a:lnTo>
                <a:lnTo>
                  <a:pt x="490" y="256"/>
                </a:lnTo>
                <a:lnTo>
                  <a:pt x="493" y="261"/>
                </a:lnTo>
                <a:lnTo>
                  <a:pt x="495" y="271"/>
                </a:lnTo>
                <a:lnTo>
                  <a:pt x="495" y="278"/>
                </a:lnTo>
                <a:lnTo>
                  <a:pt x="493" y="285"/>
                </a:lnTo>
                <a:lnTo>
                  <a:pt x="493" y="285"/>
                </a:lnTo>
                <a:lnTo>
                  <a:pt x="501" y="282"/>
                </a:lnTo>
                <a:lnTo>
                  <a:pt x="504" y="278"/>
                </a:lnTo>
                <a:lnTo>
                  <a:pt x="508" y="274"/>
                </a:lnTo>
                <a:lnTo>
                  <a:pt x="508" y="274"/>
                </a:lnTo>
                <a:lnTo>
                  <a:pt x="510" y="261"/>
                </a:lnTo>
                <a:lnTo>
                  <a:pt x="510" y="249"/>
                </a:lnTo>
                <a:lnTo>
                  <a:pt x="506" y="240"/>
                </a:lnTo>
                <a:lnTo>
                  <a:pt x="504" y="232"/>
                </a:lnTo>
                <a:lnTo>
                  <a:pt x="504" y="232"/>
                </a:lnTo>
                <a:lnTo>
                  <a:pt x="502" y="225"/>
                </a:lnTo>
                <a:lnTo>
                  <a:pt x="504" y="218"/>
                </a:lnTo>
                <a:lnTo>
                  <a:pt x="510" y="210"/>
                </a:lnTo>
                <a:lnTo>
                  <a:pt x="515" y="207"/>
                </a:lnTo>
                <a:lnTo>
                  <a:pt x="515" y="207"/>
                </a:lnTo>
                <a:lnTo>
                  <a:pt x="533" y="216"/>
                </a:lnTo>
                <a:lnTo>
                  <a:pt x="533" y="216"/>
                </a:lnTo>
                <a:lnTo>
                  <a:pt x="541" y="221"/>
                </a:lnTo>
                <a:lnTo>
                  <a:pt x="552" y="230"/>
                </a:lnTo>
                <a:lnTo>
                  <a:pt x="563" y="243"/>
                </a:lnTo>
                <a:lnTo>
                  <a:pt x="568" y="250"/>
                </a:lnTo>
                <a:lnTo>
                  <a:pt x="572" y="260"/>
                </a:lnTo>
                <a:lnTo>
                  <a:pt x="572" y="260"/>
                </a:lnTo>
                <a:lnTo>
                  <a:pt x="577" y="271"/>
                </a:lnTo>
                <a:lnTo>
                  <a:pt x="579" y="282"/>
                </a:lnTo>
                <a:lnTo>
                  <a:pt x="579" y="291"/>
                </a:lnTo>
                <a:lnTo>
                  <a:pt x="579" y="300"/>
                </a:lnTo>
                <a:lnTo>
                  <a:pt x="576" y="313"/>
                </a:lnTo>
                <a:lnTo>
                  <a:pt x="572" y="320"/>
                </a:lnTo>
                <a:lnTo>
                  <a:pt x="572" y="320"/>
                </a:lnTo>
                <a:lnTo>
                  <a:pt x="565" y="329"/>
                </a:lnTo>
                <a:lnTo>
                  <a:pt x="557" y="338"/>
                </a:lnTo>
                <a:lnTo>
                  <a:pt x="546" y="344"/>
                </a:lnTo>
                <a:lnTo>
                  <a:pt x="533" y="345"/>
                </a:lnTo>
                <a:lnTo>
                  <a:pt x="533" y="345"/>
                </a:lnTo>
                <a:lnTo>
                  <a:pt x="532" y="345"/>
                </a:lnTo>
                <a:lnTo>
                  <a:pt x="532" y="345"/>
                </a:lnTo>
                <a:lnTo>
                  <a:pt x="517" y="345"/>
                </a:lnTo>
                <a:lnTo>
                  <a:pt x="517" y="345"/>
                </a:lnTo>
                <a:lnTo>
                  <a:pt x="504" y="342"/>
                </a:lnTo>
                <a:lnTo>
                  <a:pt x="504" y="342"/>
                </a:lnTo>
                <a:lnTo>
                  <a:pt x="493" y="338"/>
                </a:lnTo>
                <a:lnTo>
                  <a:pt x="493" y="338"/>
                </a:lnTo>
                <a:lnTo>
                  <a:pt x="482" y="333"/>
                </a:lnTo>
                <a:lnTo>
                  <a:pt x="466" y="322"/>
                </a:lnTo>
                <a:lnTo>
                  <a:pt x="448" y="309"/>
                </a:lnTo>
                <a:lnTo>
                  <a:pt x="429" y="291"/>
                </a:lnTo>
                <a:lnTo>
                  <a:pt x="429" y="291"/>
                </a:lnTo>
                <a:lnTo>
                  <a:pt x="406" y="261"/>
                </a:lnTo>
                <a:lnTo>
                  <a:pt x="389" y="241"/>
                </a:lnTo>
                <a:lnTo>
                  <a:pt x="389" y="241"/>
                </a:lnTo>
                <a:lnTo>
                  <a:pt x="398" y="245"/>
                </a:lnTo>
                <a:lnTo>
                  <a:pt x="406" y="245"/>
                </a:lnTo>
                <a:lnTo>
                  <a:pt x="415" y="245"/>
                </a:lnTo>
                <a:lnTo>
                  <a:pt x="415" y="245"/>
                </a:lnTo>
                <a:lnTo>
                  <a:pt x="417" y="229"/>
                </a:lnTo>
                <a:lnTo>
                  <a:pt x="417" y="212"/>
                </a:lnTo>
                <a:lnTo>
                  <a:pt x="417" y="212"/>
                </a:lnTo>
                <a:lnTo>
                  <a:pt x="417" y="198"/>
                </a:lnTo>
                <a:lnTo>
                  <a:pt x="417" y="198"/>
                </a:lnTo>
                <a:lnTo>
                  <a:pt x="411" y="198"/>
                </a:lnTo>
                <a:lnTo>
                  <a:pt x="398" y="194"/>
                </a:lnTo>
                <a:lnTo>
                  <a:pt x="393" y="192"/>
                </a:lnTo>
                <a:lnTo>
                  <a:pt x="386" y="188"/>
                </a:lnTo>
                <a:lnTo>
                  <a:pt x="380" y="185"/>
                </a:lnTo>
                <a:lnTo>
                  <a:pt x="376" y="179"/>
                </a:lnTo>
                <a:lnTo>
                  <a:pt x="376" y="179"/>
                </a:lnTo>
                <a:lnTo>
                  <a:pt x="382" y="181"/>
                </a:lnTo>
                <a:lnTo>
                  <a:pt x="387" y="183"/>
                </a:lnTo>
                <a:lnTo>
                  <a:pt x="395" y="185"/>
                </a:lnTo>
                <a:lnTo>
                  <a:pt x="395" y="185"/>
                </a:lnTo>
                <a:lnTo>
                  <a:pt x="411" y="183"/>
                </a:lnTo>
                <a:lnTo>
                  <a:pt x="418" y="183"/>
                </a:lnTo>
                <a:lnTo>
                  <a:pt x="418" y="183"/>
                </a:lnTo>
                <a:lnTo>
                  <a:pt x="420" y="166"/>
                </a:lnTo>
                <a:lnTo>
                  <a:pt x="420" y="152"/>
                </a:lnTo>
                <a:lnTo>
                  <a:pt x="420" y="152"/>
                </a:lnTo>
                <a:lnTo>
                  <a:pt x="420" y="137"/>
                </a:lnTo>
                <a:lnTo>
                  <a:pt x="420" y="137"/>
                </a:lnTo>
                <a:lnTo>
                  <a:pt x="409" y="137"/>
                </a:lnTo>
                <a:lnTo>
                  <a:pt x="396" y="135"/>
                </a:lnTo>
                <a:lnTo>
                  <a:pt x="396" y="135"/>
                </a:lnTo>
                <a:lnTo>
                  <a:pt x="384" y="130"/>
                </a:lnTo>
                <a:lnTo>
                  <a:pt x="378" y="126"/>
                </a:lnTo>
                <a:lnTo>
                  <a:pt x="375" y="121"/>
                </a:lnTo>
                <a:lnTo>
                  <a:pt x="375" y="121"/>
                </a:lnTo>
                <a:lnTo>
                  <a:pt x="380" y="123"/>
                </a:lnTo>
                <a:lnTo>
                  <a:pt x="395" y="126"/>
                </a:lnTo>
                <a:lnTo>
                  <a:pt x="395" y="126"/>
                </a:lnTo>
                <a:lnTo>
                  <a:pt x="404" y="126"/>
                </a:lnTo>
                <a:lnTo>
                  <a:pt x="413" y="124"/>
                </a:lnTo>
                <a:lnTo>
                  <a:pt x="420" y="124"/>
                </a:lnTo>
                <a:lnTo>
                  <a:pt x="422" y="123"/>
                </a:lnTo>
                <a:lnTo>
                  <a:pt x="422" y="123"/>
                </a:lnTo>
                <a:lnTo>
                  <a:pt x="422" y="93"/>
                </a:lnTo>
                <a:lnTo>
                  <a:pt x="422" y="93"/>
                </a:lnTo>
                <a:lnTo>
                  <a:pt x="424" y="86"/>
                </a:lnTo>
                <a:lnTo>
                  <a:pt x="424" y="77"/>
                </a:lnTo>
                <a:lnTo>
                  <a:pt x="424" y="77"/>
                </a:lnTo>
                <a:lnTo>
                  <a:pt x="418" y="77"/>
                </a:lnTo>
                <a:lnTo>
                  <a:pt x="407" y="75"/>
                </a:lnTo>
                <a:lnTo>
                  <a:pt x="395" y="70"/>
                </a:lnTo>
                <a:lnTo>
                  <a:pt x="389" y="66"/>
                </a:lnTo>
                <a:lnTo>
                  <a:pt x="382" y="60"/>
                </a:lnTo>
                <a:lnTo>
                  <a:pt x="382" y="60"/>
                </a:lnTo>
                <a:lnTo>
                  <a:pt x="380" y="57"/>
                </a:lnTo>
                <a:lnTo>
                  <a:pt x="380" y="53"/>
                </a:lnTo>
                <a:lnTo>
                  <a:pt x="382" y="46"/>
                </a:lnTo>
                <a:lnTo>
                  <a:pt x="382" y="46"/>
                </a:lnTo>
                <a:lnTo>
                  <a:pt x="349" y="31"/>
                </a:lnTo>
                <a:lnTo>
                  <a:pt x="349" y="31"/>
                </a:lnTo>
                <a:lnTo>
                  <a:pt x="353" y="28"/>
                </a:lnTo>
                <a:lnTo>
                  <a:pt x="356" y="22"/>
                </a:lnTo>
                <a:lnTo>
                  <a:pt x="356" y="18"/>
                </a:lnTo>
                <a:lnTo>
                  <a:pt x="356" y="18"/>
                </a:lnTo>
                <a:lnTo>
                  <a:pt x="354" y="13"/>
                </a:lnTo>
                <a:lnTo>
                  <a:pt x="349" y="9"/>
                </a:lnTo>
                <a:lnTo>
                  <a:pt x="343" y="8"/>
                </a:lnTo>
                <a:lnTo>
                  <a:pt x="336" y="8"/>
                </a:lnTo>
                <a:lnTo>
                  <a:pt x="336" y="8"/>
                </a:lnTo>
                <a:lnTo>
                  <a:pt x="329" y="9"/>
                </a:lnTo>
                <a:lnTo>
                  <a:pt x="325" y="13"/>
                </a:lnTo>
                <a:lnTo>
                  <a:pt x="320" y="18"/>
                </a:lnTo>
                <a:lnTo>
                  <a:pt x="280" y="0"/>
                </a:lnTo>
                <a:lnTo>
                  <a:pt x="247" y="33"/>
                </a:lnTo>
                <a:lnTo>
                  <a:pt x="247" y="33"/>
                </a:lnTo>
                <a:lnTo>
                  <a:pt x="245" y="35"/>
                </a:lnTo>
                <a:lnTo>
                  <a:pt x="245" y="39"/>
                </a:lnTo>
                <a:lnTo>
                  <a:pt x="245" y="42"/>
                </a:lnTo>
                <a:lnTo>
                  <a:pt x="245" y="42"/>
                </a:lnTo>
                <a:lnTo>
                  <a:pt x="245" y="44"/>
                </a:lnTo>
                <a:lnTo>
                  <a:pt x="243" y="46"/>
                </a:lnTo>
                <a:lnTo>
                  <a:pt x="243" y="46"/>
                </a:lnTo>
                <a:lnTo>
                  <a:pt x="234" y="57"/>
                </a:lnTo>
                <a:lnTo>
                  <a:pt x="234" y="57"/>
                </a:lnTo>
                <a:lnTo>
                  <a:pt x="228" y="66"/>
                </a:lnTo>
                <a:lnTo>
                  <a:pt x="228" y="66"/>
                </a:lnTo>
                <a:lnTo>
                  <a:pt x="225" y="73"/>
                </a:lnTo>
                <a:lnTo>
                  <a:pt x="223" y="79"/>
                </a:lnTo>
                <a:lnTo>
                  <a:pt x="223" y="79"/>
                </a:lnTo>
                <a:lnTo>
                  <a:pt x="221" y="81"/>
                </a:lnTo>
                <a:lnTo>
                  <a:pt x="221" y="84"/>
                </a:lnTo>
                <a:lnTo>
                  <a:pt x="225" y="92"/>
                </a:lnTo>
                <a:lnTo>
                  <a:pt x="234" y="99"/>
                </a:lnTo>
                <a:lnTo>
                  <a:pt x="234" y="101"/>
                </a:lnTo>
                <a:lnTo>
                  <a:pt x="234" y="101"/>
                </a:lnTo>
                <a:lnTo>
                  <a:pt x="236" y="99"/>
                </a:lnTo>
                <a:lnTo>
                  <a:pt x="238" y="99"/>
                </a:lnTo>
                <a:lnTo>
                  <a:pt x="238" y="99"/>
                </a:lnTo>
                <a:lnTo>
                  <a:pt x="243" y="104"/>
                </a:lnTo>
                <a:lnTo>
                  <a:pt x="243" y="104"/>
                </a:lnTo>
                <a:lnTo>
                  <a:pt x="245" y="101"/>
                </a:lnTo>
                <a:lnTo>
                  <a:pt x="248" y="95"/>
                </a:lnTo>
                <a:lnTo>
                  <a:pt x="248" y="95"/>
                </a:lnTo>
                <a:lnTo>
                  <a:pt x="254" y="88"/>
                </a:lnTo>
                <a:lnTo>
                  <a:pt x="261" y="82"/>
                </a:lnTo>
                <a:lnTo>
                  <a:pt x="261" y="82"/>
                </a:lnTo>
                <a:lnTo>
                  <a:pt x="269" y="79"/>
                </a:lnTo>
                <a:lnTo>
                  <a:pt x="276" y="79"/>
                </a:lnTo>
                <a:lnTo>
                  <a:pt x="276" y="79"/>
                </a:lnTo>
                <a:lnTo>
                  <a:pt x="283" y="79"/>
                </a:lnTo>
                <a:lnTo>
                  <a:pt x="289" y="82"/>
                </a:lnTo>
                <a:lnTo>
                  <a:pt x="289" y="82"/>
                </a:lnTo>
                <a:lnTo>
                  <a:pt x="292" y="88"/>
                </a:lnTo>
                <a:lnTo>
                  <a:pt x="294" y="95"/>
                </a:lnTo>
                <a:lnTo>
                  <a:pt x="294" y="103"/>
                </a:lnTo>
                <a:lnTo>
                  <a:pt x="294" y="108"/>
                </a:lnTo>
                <a:lnTo>
                  <a:pt x="294" y="108"/>
                </a:lnTo>
                <a:lnTo>
                  <a:pt x="290" y="104"/>
                </a:lnTo>
                <a:lnTo>
                  <a:pt x="290" y="104"/>
                </a:lnTo>
                <a:lnTo>
                  <a:pt x="285" y="103"/>
                </a:lnTo>
                <a:lnTo>
                  <a:pt x="276" y="101"/>
                </a:lnTo>
                <a:lnTo>
                  <a:pt x="265" y="101"/>
                </a:lnTo>
                <a:lnTo>
                  <a:pt x="254" y="103"/>
                </a:lnTo>
                <a:lnTo>
                  <a:pt x="254" y="103"/>
                </a:lnTo>
                <a:lnTo>
                  <a:pt x="241" y="108"/>
                </a:lnTo>
                <a:lnTo>
                  <a:pt x="219" y="115"/>
                </a:lnTo>
                <a:lnTo>
                  <a:pt x="219" y="115"/>
                </a:lnTo>
                <a:lnTo>
                  <a:pt x="214" y="117"/>
                </a:lnTo>
                <a:lnTo>
                  <a:pt x="208" y="117"/>
                </a:lnTo>
                <a:lnTo>
                  <a:pt x="205" y="113"/>
                </a:lnTo>
                <a:lnTo>
                  <a:pt x="203" y="110"/>
                </a:lnTo>
                <a:lnTo>
                  <a:pt x="203" y="110"/>
                </a:lnTo>
                <a:lnTo>
                  <a:pt x="203" y="104"/>
                </a:lnTo>
                <a:lnTo>
                  <a:pt x="203" y="101"/>
                </a:lnTo>
                <a:lnTo>
                  <a:pt x="205" y="97"/>
                </a:lnTo>
                <a:lnTo>
                  <a:pt x="205" y="97"/>
                </a:lnTo>
                <a:lnTo>
                  <a:pt x="199" y="101"/>
                </a:lnTo>
                <a:lnTo>
                  <a:pt x="194" y="104"/>
                </a:lnTo>
                <a:lnTo>
                  <a:pt x="190" y="110"/>
                </a:lnTo>
                <a:lnTo>
                  <a:pt x="190" y="110"/>
                </a:lnTo>
                <a:lnTo>
                  <a:pt x="190" y="117"/>
                </a:lnTo>
                <a:lnTo>
                  <a:pt x="192" y="124"/>
                </a:lnTo>
                <a:lnTo>
                  <a:pt x="195" y="128"/>
                </a:lnTo>
                <a:lnTo>
                  <a:pt x="201" y="132"/>
                </a:lnTo>
                <a:lnTo>
                  <a:pt x="201" y="132"/>
                </a:lnTo>
                <a:lnTo>
                  <a:pt x="208" y="132"/>
                </a:lnTo>
                <a:lnTo>
                  <a:pt x="217" y="130"/>
                </a:lnTo>
                <a:lnTo>
                  <a:pt x="234" y="123"/>
                </a:lnTo>
                <a:lnTo>
                  <a:pt x="234" y="123"/>
                </a:lnTo>
                <a:lnTo>
                  <a:pt x="250" y="113"/>
                </a:lnTo>
                <a:lnTo>
                  <a:pt x="250" y="113"/>
                </a:lnTo>
                <a:lnTo>
                  <a:pt x="258" y="112"/>
                </a:lnTo>
                <a:lnTo>
                  <a:pt x="263" y="110"/>
                </a:lnTo>
                <a:lnTo>
                  <a:pt x="270" y="112"/>
                </a:lnTo>
                <a:lnTo>
                  <a:pt x="278" y="113"/>
                </a:lnTo>
                <a:lnTo>
                  <a:pt x="278" y="113"/>
                </a:lnTo>
                <a:lnTo>
                  <a:pt x="285" y="119"/>
                </a:lnTo>
                <a:lnTo>
                  <a:pt x="289" y="121"/>
                </a:lnTo>
                <a:lnTo>
                  <a:pt x="289" y="121"/>
                </a:lnTo>
                <a:lnTo>
                  <a:pt x="285" y="126"/>
                </a:lnTo>
                <a:lnTo>
                  <a:pt x="281" y="130"/>
                </a:lnTo>
                <a:lnTo>
                  <a:pt x="274" y="130"/>
                </a:lnTo>
                <a:lnTo>
                  <a:pt x="274" y="130"/>
                </a:lnTo>
                <a:lnTo>
                  <a:pt x="267" y="130"/>
                </a:lnTo>
                <a:lnTo>
                  <a:pt x="261" y="128"/>
                </a:lnTo>
                <a:lnTo>
                  <a:pt x="256" y="124"/>
                </a:lnTo>
                <a:lnTo>
                  <a:pt x="254" y="121"/>
                </a:lnTo>
                <a:lnTo>
                  <a:pt x="254" y="121"/>
                </a:lnTo>
                <a:lnTo>
                  <a:pt x="250" y="128"/>
                </a:lnTo>
                <a:lnTo>
                  <a:pt x="250" y="128"/>
                </a:lnTo>
                <a:lnTo>
                  <a:pt x="248" y="132"/>
                </a:lnTo>
                <a:lnTo>
                  <a:pt x="248" y="135"/>
                </a:lnTo>
                <a:lnTo>
                  <a:pt x="250" y="137"/>
                </a:lnTo>
                <a:lnTo>
                  <a:pt x="248" y="141"/>
                </a:lnTo>
                <a:lnTo>
                  <a:pt x="248" y="141"/>
                </a:lnTo>
                <a:lnTo>
                  <a:pt x="247" y="143"/>
                </a:lnTo>
                <a:lnTo>
                  <a:pt x="245" y="146"/>
                </a:lnTo>
                <a:lnTo>
                  <a:pt x="238" y="152"/>
                </a:lnTo>
                <a:lnTo>
                  <a:pt x="238" y="152"/>
                </a:lnTo>
                <a:lnTo>
                  <a:pt x="227" y="157"/>
                </a:lnTo>
                <a:lnTo>
                  <a:pt x="219" y="159"/>
                </a:lnTo>
                <a:lnTo>
                  <a:pt x="219" y="159"/>
                </a:lnTo>
                <a:lnTo>
                  <a:pt x="227" y="176"/>
                </a:lnTo>
                <a:lnTo>
                  <a:pt x="227" y="176"/>
                </a:lnTo>
                <a:lnTo>
                  <a:pt x="232" y="187"/>
                </a:lnTo>
                <a:lnTo>
                  <a:pt x="236" y="194"/>
                </a:lnTo>
                <a:lnTo>
                  <a:pt x="239" y="199"/>
                </a:lnTo>
                <a:lnTo>
                  <a:pt x="239" y="199"/>
                </a:lnTo>
                <a:lnTo>
                  <a:pt x="247" y="198"/>
                </a:lnTo>
                <a:lnTo>
                  <a:pt x="259" y="192"/>
                </a:lnTo>
                <a:lnTo>
                  <a:pt x="259" y="192"/>
                </a:lnTo>
                <a:lnTo>
                  <a:pt x="269" y="185"/>
                </a:lnTo>
                <a:lnTo>
                  <a:pt x="274" y="177"/>
                </a:lnTo>
                <a:lnTo>
                  <a:pt x="274" y="177"/>
                </a:lnTo>
                <a:lnTo>
                  <a:pt x="267" y="194"/>
                </a:lnTo>
                <a:lnTo>
                  <a:pt x="261" y="203"/>
                </a:lnTo>
                <a:lnTo>
                  <a:pt x="254" y="210"/>
                </a:lnTo>
                <a:lnTo>
                  <a:pt x="248" y="216"/>
                </a:lnTo>
                <a:lnTo>
                  <a:pt x="248" y="216"/>
                </a:lnTo>
                <a:lnTo>
                  <a:pt x="225" y="232"/>
                </a:lnTo>
                <a:lnTo>
                  <a:pt x="192" y="250"/>
                </a:lnTo>
                <a:lnTo>
                  <a:pt x="172" y="261"/>
                </a:lnTo>
                <a:lnTo>
                  <a:pt x="153" y="269"/>
                </a:lnTo>
                <a:lnTo>
                  <a:pt x="133" y="276"/>
                </a:lnTo>
                <a:lnTo>
                  <a:pt x="113" y="280"/>
                </a:lnTo>
                <a:lnTo>
                  <a:pt x="113" y="280"/>
                </a:lnTo>
                <a:lnTo>
                  <a:pt x="108" y="278"/>
                </a:lnTo>
                <a:lnTo>
                  <a:pt x="100" y="276"/>
                </a:lnTo>
                <a:lnTo>
                  <a:pt x="88" y="267"/>
                </a:lnTo>
                <a:lnTo>
                  <a:pt x="75" y="258"/>
                </a:lnTo>
                <a:lnTo>
                  <a:pt x="68" y="249"/>
                </a:lnTo>
                <a:lnTo>
                  <a:pt x="68" y="249"/>
                </a:lnTo>
                <a:lnTo>
                  <a:pt x="66" y="249"/>
                </a:lnTo>
                <a:lnTo>
                  <a:pt x="62" y="247"/>
                </a:lnTo>
                <a:lnTo>
                  <a:pt x="58" y="249"/>
                </a:lnTo>
                <a:lnTo>
                  <a:pt x="53" y="252"/>
                </a:lnTo>
                <a:lnTo>
                  <a:pt x="53" y="252"/>
                </a:lnTo>
                <a:lnTo>
                  <a:pt x="49" y="252"/>
                </a:lnTo>
                <a:lnTo>
                  <a:pt x="42" y="252"/>
                </a:lnTo>
                <a:lnTo>
                  <a:pt x="31" y="254"/>
                </a:lnTo>
                <a:lnTo>
                  <a:pt x="27" y="258"/>
                </a:lnTo>
                <a:lnTo>
                  <a:pt x="24" y="261"/>
                </a:lnTo>
                <a:lnTo>
                  <a:pt x="24" y="261"/>
                </a:lnTo>
                <a:lnTo>
                  <a:pt x="24" y="263"/>
                </a:lnTo>
                <a:lnTo>
                  <a:pt x="29" y="263"/>
                </a:lnTo>
                <a:lnTo>
                  <a:pt x="35" y="261"/>
                </a:lnTo>
                <a:lnTo>
                  <a:pt x="42" y="263"/>
                </a:lnTo>
                <a:lnTo>
                  <a:pt x="42" y="263"/>
                </a:lnTo>
                <a:lnTo>
                  <a:pt x="44" y="265"/>
                </a:lnTo>
                <a:lnTo>
                  <a:pt x="42" y="267"/>
                </a:lnTo>
                <a:lnTo>
                  <a:pt x="40" y="269"/>
                </a:lnTo>
                <a:lnTo>
                  <a:pt x="40" y="272"/>
                </a:lnTo>
                <a:lnTo>
                  <a:pt x="40" y="272"/>
                </a:lnTo>
                <a:lnTo>
                  <a:pt x="40" y="274"/>
                </a:lnTo>
                <a:lnTo>
                  <a:pt x="44" y="278"/>
                </a:lnTo>
                <a:lnTo>
                  <a:pt x="53" y="282"/>
                </a:lnTo>
                <a:lnTo>
                  <a:pt x="71" y="289"/>
                </a:lnTo>
                <a:lnTo>
                  <a:pt x="71" y="289"/>
                </a:lnTo>
                <a:lnTo>
                  <a:pt x="73" y="291"/>
                </a:lnTo>
                <a:lnTo>
                  <a:pt x="73" y="293"/>
                </a:lnTo>
                <a:lnTo>
                  <a:pt x="73" y="293"/>
                </a:lnTo>
                <a:lnTo>
                  <a:pt x="60" y="291"/>
                </a:lnTo>
                <a:lnTo>
                  <a:pt x="51" y="287"/>
                </a:lnTo>
                <a:lnTo>
                  <a:pt x="38" y="282"/>
                </a:lnTo>
                <a:lnTo>
                  <a:pt x="38" y="282"/>
                </a:lnTo>
                <a:lnTo>
                  <a:pt x="29" y="280"/>
                </a:lnTo>
                <a:lnTo>
                  <a:pt x="24" y="280"/>
                </a:lnTo>
                <a:lnTo>
                  <a:pt x="22" y="283"/>
                </a:lnTo>
                <a:lnTo>
                  <a:pt x="20" y="287"/>
                </a:lnTo>
                <a:lnTo>
                  <a:pt x="20" y="287"/>
                </a:lnTo>
                <a:lnTo>
                  <a:pt x="18" y="289"/>
                </a:lnTo>
                <a:lnTo>
                  <a:pt x="16" y="289"/>
                </a:lnTo>
                <a:lnTo>
                  <a:pt x="11" y="293"/>
                </a:lnTo>
                <a:lnTo>
                  <a:pt x="7" y="294"/>
                </a:lnTo>
                <a:lnTo>
                  <a:pt x="4" y="300"/>
                </a:lnTo>
                <a:lnTo>
                  <a:pt x="2" y="305"/>
                </a:lnTo>
                <a:lnTo>
                  <a:pt x="0" y="314"/>
                </a:lnTo>
                <a:lnTo>
                  <a:pt x="0" y="314"/>
                </a:lnTo>
                <a:lnTo>
                  <a:pt x="4" y="313"/>
                </a:lnTo>
                <a:lnTo>
                  <a:pt x="9" y="307"/>
                </a:lnTo>
                <a:lnTo>
                  <a:pt x="15" y="303"/>
                </a:lnTo>
                <a:lnTo>
                  <a:pt x="18" y="302"/>
                </a:lnTo>
                <a:lnTo>
                  <a:pt x="18" y="303"/>
                </a:lnTo>
                <a:lnTo>
                  <a:pt x="18" y="303"/>
                </a:lnTo>
                <a:lnTo>
                  <a:pt x="22" y="311"/>
                </a:lnTo>
                <a:lnTo>
                  <a:pt x="27" y="314"/>
                </a:lnTo>
                <a:lnTo>
                  <a:pt x="35" y="314"/>
                </a:lnTo>
                <a:lnTo>
                  <a:pt x="42" y="314"/>
                </a:lnTo>
                <a:lnTo>
                  <a:pt x="58" y="313"/>
                </a:lnTo>
                <a:lnTo>
                  <a:pt x="66" y="313"/>
                </a:lnTo>
                <a:lnTo>
                  <a:pt x="69" y="313"/>
                </a:lnTo>
                <a:lnTo>
                  <a:pt x="69" y="313"/>
                </a:lnTo>
                <a:lnTo>
                  <a:pt x="69" y="314"/>
                </a:lnTo>
                <a:lnTo>
                  <a:pt x="69" y="314"/>
                </a:lnTo>
                <a:lnTo>
                  <a:pt x="66" y="316"/>
                </a:lnTo>
                <a:lnTo>
                  <a:pt x="53" y="318"/>
                </a:lnTo>
                <a:lnTo>
                  <a:pt x="46" y="320"/>
                </a:lnTo>
                <a:lnTo>
                  <a:pt x="38" y="324"/>
                </a:lnTo>
                <a:lnTo>
                  <a:pt x="37" y="325"/>
                </a:lnTo>
                <a:lnTo>
                  <a:pt x="35" y="329"/>
                </a:lnTo>
                <a:lnTo>
                  <a:pt x="37" y="331"/>
                </a:lnTo>
                <a:lnTo>
                  <a:pt x="37" y="331"/>
                </a:lnTo>
                <a:lnTo>
                  <a:pt x="33" y="335"/>
                </a:lnTo>
                <a:lnTo>
                  <a:pt x="29" y="342"/>
                </a:lnTo>
                <a:lnTo>
                  <a:pt x="27" y="345"/>
                </a:lnTo>
                <a:lnTo>
                  <a:pt x="27" y="351"/>
                </a:lnTo>
                <a:lnTo>
                  <a:pt x="29" y="356"/>
                </a:lnTo>
                <a:lnTo>
                  <a:pt x="35" y="364"/>
                </a:lnTo>
                <a:lnTo>
                  <a:pt x="35" y="364"/>
                </a:lnTo>
                <a:lnTo>
                  <a:pt x="37" y="353"/>
                </a:lnTo>
                <a:lnTo>
                  <a:pt x="40" y="347"/>
                </a:lnTo>
                <a:lnTo>
                  <a:pt x="42" y="345"/>
                </a:lnTo>
                <a:lnTo>
                  <a:pt x="46" y="345"/>
                </a:lnTo>
                <a:lnTo>
                  <a:pt x="46" y="345"/>
                </a:lnTo>
                <a:lnTo>
                  <a:pt x="53" y="345"/>
                </a:lnTo>
                <a:lnTo>
                  <a:pt x="58" y="349"/>
                </a:lnTo>
                <a:lnTo>
                  <a:pt x="64" y="349"/>
                </a:lnTo>
                <a:lnTo>
                  <a:pt x="71" y="345"/>
                </a:lnTo>
                <a:lnTo>
                  <a:pt x="71" y="345"/>
                </a:lnTo>
                <a:lnTo>
                  <a:pt x="79" y="340"/>
                </a:lnTo>
                <a:lnTo>
                  <a:pt x="84" y="336"/>
                </a:lnTo>
                <a:lnTo>
                  <a:pt x="95" y="333"/>
                </a:lnTo>
                <a:lnTo>
                  <a:pt x="95" y="333"/>
                </a:lnTo>
                <a:lnTo>
                  <a:pt x="95" y="336"/>
                </a:lnTo>
                <a:lnTo>
                  <a:pt x="99" y="342"/>
                </a:lnTo>
                <a:lnTo>
                  <a:pt x="99" y="342"/>
                </a:lnTo>
                <a:lnTo>
                  <a:pt x="102" y="344"/>
                </a:lnTo>
                <a:lnTo>
                  <a:pt x="104" y="345"/>
                </a:lnTo>
                <a:lnTo>
                  <a:pt x="104" y="345"/>
                </a:lnTo>
                <a:lnTo>
                  <a:pt x="104" y="345"/>
                </a:lnTo>
                <a:lnTo>
                  <a:pt x="102" y="351"/>
                </a:lnTo>
                <a:lnTo>
                  <a:pt x="99" y="356"/>
                </a:lnTo>
                <a:lnTo>
                  <a:pt x="95" y="360"/>
                </a:lnTo>
                <a:lnTo>
                  <a:pt x="95" y="360"/>
                </a:lnTo>
                <a:lnTo>
                  <a:pt x="97" y="360"/>
                </a:lnTo>
                <a:lnTo>
                  <a:pt x="102" y="360"/>
                </a:lnTo>
                <a:lnTo>
                  <a:pt x="108" y="358"/>
                </a:lnTo>
                <a:lnTo>
                  <a:pt x="111" y="355"/>
                </a:lnTo>
                <a:lnTo>
                  <a:pt x="115" y="349"/>
                </a:lnTo>
                <a:lnTo>
                  <a:pt x="115" y="349"/>
                </a:lnTo>
                <a:lnTo>
                  <a:pt x="117" y="347"/>
                </a:lnTo>
                <a:lnTo>
                  <a:pt x="119" y="347"/>
                </a:lnTo>
                <a:lnTo>
                  <a:pt x="124" y="347"/>
                </a:lnTo>
                <a:lnTo>
                  <a:pt x="124" y="347"/>
                </a:lnTo>
                <a:lnTo>
                  <a:pt x="128" y="345"/>
                </a:lnTo>
                <a:lnTo>
                  <a:pt x="130" y="344"/>
                </a:lnTo>
                <a:lnTo>
                  <a:pt x="130" y="338"/>
                </a:lnTo>
                <a:lnTo>
                  <a:pt x="130" y="333"/>
                </a:lnTo>
                <a:lnTo>
                  <a:pt x="130" y="329"/>
                </a:lnTo>
                <a:lnTo>
                  <a:pt x="132" y="327"/>
                </a:lnTo>
                <a:lnTo>
                  <a:pt x="132" y="327"/>
                </a:lnTo>
                <a:lnTo>
                  <a:pt x="139" y="322"/>
                </a:lnTo>
                <a:lnTo>
                  <a:pt x="146" y="316"/>
                </a:lnTo>
                <a:lnTo>
                  <a:pt x="163" y="309"/>
                </a:lnTo>
                <a:lnTo>
                  <a:pt x="163" y="309"/>
                </a:lnTo>
                <a:lnTo>
                  <a:pt x="161" y="316"/>
                </a:lnTo>
                <a:lnTo>
                  <a:pt x="161" y="324"/>
                </a:lnTo>
                <a:lnTo>
                  <a:pt x="164" y="333"/>
                </a:lnTo>
                <a:lnTo>
                  <a:pt x="205" y="322"/>
                </a:lnTo>
                <a:lnTo>
                  <a:pt x="205" y="322"/>
                </a:lnTo>
                <a:lnTo>
                  <a:pt x="203" y="313"/>
                </a:lnTo>
                <a:lnTo>
                  <a:pt x="205" y="305"/>
                </a:lnTo>
                <a:lnTo>
                  <a:pt x="210" y="296"/>
                </a:lnTo>
                <a:lnTo>
                  <a:pt x="216" y="287"/>
                </a:lnTo>
                <a:lnTo>
                  <a:pt x="216" y="287"/>
                </a:lnTo>
                <a:lnTo>
                  <a:pt x="216" y="291"/>
                </a:lnTo>
                <a:lnTo>
                  <a:pt x="214" y="300"/>
                </a:lnTo>
                <a:lnTo>
                  <a:pt x="214" y="311"/>
                </a:lnTo>
                <a:lnTo>
                  <a:pt x="214" y="316"/>
                </a:lnTo>
                <a:lnTo>
                  <a:pt x="216" y="318"/>
                </a:lnTo>
                <a:lnTo>
                  <a:pt x="256" y="309"/>
                </a:lnTo>
                <a:lnTo>
                  <a:pt x="256" y="309"/>
                </a:lnTo>
                <a:lnTo>
                  <a:pt x="254" y="303"/>
                </a:lnTo>
                <a:lnTo>
                  <a:pt x="254" y="296"/>
                </a:lnTo>
                <a:lnTo>
                  <a:pt x="258" y="283"/>
                </a:lnTo>
                <a:lnTo>
                  <a:pt x="258" y="283"/>
                </a:lnTo>
                <a:lnTo>
                  <a:pt x="261" y="298"/>
                </a:lnTo>
                <a:lnTo>
                  <a:pt x="269" y="311"/>
                </a:lnTo>
                <a:lnTo>
                  <a:pt x="278" y="322"/>
                </a:lnTo>
                <a:lnTo>
                  <a:pt x="283" y="325"/>
                </a:lnTo>
                <a:lnTo>
                  <a:pt x="289" y="329"/>
                </a:lnTo>
                <a:lnTo>
                  <a:pt x="289" y="329"/>
                </a:lnTo>
                <a:lnTo>
                  <a:pt x="311" y="338"/>
                </a:lnTo>
                <a:lnTo>
                  <a:pt x="334" y="345"/>
                </a:lnTo>
                <a:lnTo>
                  <a:pt x="391" y="362"/>
                </a:lnTo>
                <a:lnTo>
                  <a:pt x="391" y="362"/>
                </a:lnTo>
                <a:lnTo>
                  <a:pt x="407" y="367"/>
                </a:lnTo>
                <a:lnTo>
                  <a:pt x="420" y="373"/>
                </a:lnTo>
                <a:lnTo>
                  <a:pt x="420" y="373"/>
                </a:lnTo>
                <a:lnTo>
                  <a:pt x="424" y="375"/>
                </a:lnTo>
                <a:lnTo>
                  <a:pt x="424" y="377"/>
                </a:lnTo>
                <a:lnTo>
                  <a:pt x="422" y="382"/>
                </a:lnTo>
                <a:lnTo>
                  <a:pt x="417" y="386"/>
                </a:lnTo>
                <a:lnTo>
                  <a:pt x="417" y="386"/>
                </a:lnTo>
                <a:lnTo>
                  <a:pt x="424" y="391"/>
                </a:lnTo>
                <a:lnTo>
                  <a:pt x="438" y="400"/>
                </a:lnTo>
                <a:lnTo>
                  <a:pt x="438" y="400"/>
                </a:lnTo>
                <a:lnTo>
                  <a:pt x="448" y="409"/>
                </a:lnTo>
                <a:lnTo>
                  <a:pt x="453" y="420"/>
                </a:lnTo>
                <a:lnTo>
                  <a:pt x="459" y="435"/>
                </a:lnTo>
                <a:lnTo>
                  <a:pt x="462" y="450"/>
                </a:lnTo>
                <a:lnTo>
                  <a:pt x="462" y="450"/>
                </a:lnTo>
                <a:lnTo>
                  <a:pt x="466" y="462"/>
                </a:lnTo>
                <a:lnTo>
                  <a:pt x="466" y="475"/>
                </a:lnTo>
                <a:lnTo>
                  <a:pt x="466" y="486"/>
                </a:lnTo>
                <a:lnTo>
                  <a:pt x="466" y="492"/>
                </a:lnTo>
                <a:lnTo>
                  <a:pt x="464" y="493"/>
                </a:lnTo>
                <a:lnTo>
                  <a:pt x="464" y="493"/>
                </a:lnTo>
                <a:lnTo>
                  <a:pt x="460" y="497"/>
                </a:lnTo>
                <a:lnTo>
                  <a:pt x="457" y="499"/>
                </a:lnTo>
                <a:lnTo>
                  <a:pt x="451" y="501"/>
                </a:lnTo>
                <a:lnTo>
                  <a:pt x="440" y="504"/>
                </a:lnTo>
                <a:lnTo>
                  <a:pt x="444" y="519"/>
                </a:lnTo>
                <a:lnTo>
                  <a:pt x="444" y="519"/>
                </a:lnTo>
                <a:lnTo>
                  <a:pt x="451" y="519"/>
                </a:lnTo>
                <a:lnTo>
                  <a:pt x="459" y="517"/>
                </a:lnTo>
                <a:lnTo>
                  <a:pt x="466" y="515"/>
                </a:lnTo>
                <a:lnTo>
                  <a:pt x="466" y="515"/>
                </a:lnTo>
                <a:lnTo>
                  <a:pt x="464" y="517"/>
                </a:lnTo>
                <a:lnTo>
                  <a:pt x="464" y="517"/>
                </a:lnTo>
                <a:lnTo>
                  <a:pt x="459" y="526"/>
                </a:lnTo>
                <a:lnTo>
                  <a:pt x="457" y="534"/>
                </a:lnTo>
                <a:lnTo>
                  <a:pt x="473" y="545"/>
                </a:lnTo>
                <a:lnTo>
                  <a:pt x="473" y="545"/>
                </a:lnTo>
                <a:lnTo>
                  <a:pt x="481" y="526"/>
                </a:lnTo>
                <a:lnTo>
                  <a:pt x="484" y="521"/>
                </a:lnTo>
                <a:lnTo>
                  <a:pt x="488" y="517"/>
                </a:lnTo>
                <a:lnTo>
                  <a:pt x="488" y="517"/>
                </a:lnTo>
                <a:lnTo>
                  <a:pt x="491" y="517"/>
                </a:lnTo>
                <a:lnTo>
                  <a:pt x="497" y="519"/>
                </a:lnTo>
                <a:lnTo>
                  <a:pt x="504" y="523"/>
                </a:lnTo>
                <a:lnTo>
                  <a:pt x="512" y="526"/>
                </a:lnTo>
                <a:lnTo>
                  <a:pt x="521" y="534"/>
                </a:lnTo>
                <a:lnTo>
                  <a:pt x="528" y="543"/>
                </a:lnTo>
                <a:lnTo>
                  <a:pt x="535" y="552"/>
                </a:lnTo>
                <a:lnTo>
                  <a:pt x="541" y="563"/>
                </a:lnTo>
                <a:lnTo>
                  <a:pt x="541" y="563"/>
                </a:lnTo>
                <a:lnTo>
                  <a:pt x="543" y="572"/>
                </a:lnTo>
                <a:lnTo>
                  <a:pt x="544" y="581"/>
                </a:lnTo>
                <a:lnTo>
                  <a:pt x="544" y="590"/>
                </a:lnTo>
                <a:lnTo>
                  <a:pt x="543" y="601"/>
                </a:lnTo>
                <a:lnTo>
                  <a:pt x="541" y="610"/>
                </a:lnTo>
                <a:lnTo>
                  <a:pt x="537" y="618"/>
                </a:lnTo>
                <a:lnTo>
                  <a:pt x="532" y="623"/>
                </a:lnTo>
                <a:lnTo>
                  <a:pt x="526" y="627"/>
                </a:lnTo>
                <a:lnTo>
                  <a:pt x="526" y="627"/>
                </a:lnTo>
                <a:lnTo>
                  <a:pt x="521" y="627"/>
                </a:lnTo>
                <a:lnTo>
                  <a:pt x="517" y="625"/>
                </a:lnTo>
                <a:lnTo>
                  <a:pt x="504" y="620"/>
                </a:lnTo>
                <a:lnTo>
                  <a:pt x="493" y="614"/>
                </a:lnTo>
                <a:lnTo>
                  <a:pt x="490" y="614"/>
                </a:lnTo>
                <a:lnTo>
                  <a:pt x="486" y="618"/>
                </a:lnTo>
                <a:lnTo>
                  <a:pt x="486" y="618"/>
                </a:lnTo>
                <a:lnTo>
                  <a:pt x="484" y="620"/>
                </a:lnTo>
                <a:lnTo>
                  <a:pt x="479" y="623"/>
                </a:lnTo>
                <a:lnTo>
                  <a:pt x="470" y="629"/>
                </a:lnTo>
                <a:lnTo>
                  <a:pt x="466" y="632"/>
                </a:lnTo>
                <a:lnTo>
                  <a:pt x="462" y="638"/>
                </a:lnTo>
                <a:lnTo>
                  <a:pt x="462" y="645"/>
                </a:lnTo>
                <a:lnTo>
                  <a:pt x="464" y="654"/>
                </a:lnTo>
                <a:lnTo>
                  <a:pt x="464" y="654"/>
                </a:lnTo>
                <a:lnTo>
                  <a:pt x="473" y="645"/>
                </a:lnTo>
                <a:lnTo>
                  <a:pt x="477" y="641"/>
                </a:lnTo>
                <a:lnTo>
                  <a:pt x="481" y="641"/>
                </a:lnTo>
                <a:lnTo>
                  <a:pt x="481" y="641"/>
                </a:lnTo>
                <a:lnTo>
                  <a:pt x="482" y="643"/>
                </a:lnTo>
                <a:lnTo>
                  <a:pt x="482" y="645"/>
                </a:lnTo>
                <a:lnTo>
                  <a:pt x="486" y="649"/>
                </a:lnTo>
                <a:lnTo>
                  <a:pt x="486" y="649"/>
                </a:lnTo>
                <a:lnTo>
                  <a:pt x="488" y="651"/>
                </a:lnTo>
                <a:lnTo>
                  <a:pt x="491" y="651"/>
                </a:lnTo>
                <a:lnTo>
                  <a:pt x="502" y="651"/>
                </a:lnTo>
                <a:lnTo>
                  <a:pt x="512" y="649"/>
                </a:lnTo>
                <a:lnTo>
                  <a:pt x="515" y="649"/>
                </a:lnTo>
                <a:lnTo>
                  <a:pt x="517" y="651"/>
                </a:lnTo>
                <a:lnTo>
                  <a:pt x="517" y="651"/>
                </a:lnTo>
                <a:lnTo>
                  <a:pt x="517" y="652"/>
                </a:lnTo>
                <a:lnTo>
                  <a:pt x="515" y="652"/>
                </a:lnTo>
                <a:lnTo>
                  <a:pt x="510" y="652"/>
                </a:lnTo>
                <a:lnTo>
                  <a:pt x="510" y="652"/>
                </a:lnTo>
                <a:lnTo>
                  <a:pt x="491" y="656"/>
                </a:lnTo>
                <a:lnTo>
                  <a:pt x="484" y="660"/>
                </a:lnTo>
                <a:lnTo>
                  <a:pt x="479" y="663"/>
                </a:lnTo>
                <a:lnTo>
                  <a:pt x="479" y="663"/>
                </a:lnTo>
                <a:lnTo>
                  <a:pt x="479" y="665"/>
                </a:lnTo>
                <a:lnTo>
                  <a:pt x="479" y="669"/>
                </a:lnTo>
                <a:lnTo>
                  <a:pt x="479" y="669"/>
                </a:lnTo>
                <a:lnTo>
                  <a:pt x="475" y="674"/>
                </a:lnTo>
                <a:lnTo>
                  <a:pt x="470" y="678"/>
                </a:lnTo>
                <a:lnTo>
                  <a:pt x="466" y="683"/>
                </a:lnTo>
                <a:lnTo>
                  <a:pt x="464" y="689"/>
                </a:lnTo>
                <a:lnTo>
                  <a:pt x="464" y="694"/>
                </a:lnTo>
                <a:lnTo>
                  <a:pt x="464" y="694"/>
                </a:lnTo>
                <a:lnTo>
                  <a:pt x="466" y="702"/>
                </a:lnTo>
                <a:lnTo>
                  <a:pt x="470" y="705"/>
                </a:lnTo>
                <a:lnTo>
                  <a:pt x="475" y="711"/>
                </a:lnTo>
                <a:lnTo>
                  <a:pt x="475" y="711"/>
                </a:lnTo>
                <a:lnTo>
                  <a:pt x="475" y="707"/>
                </a:lnTo>
                <a:lnTo>
                  <a:pt x="477" y="702"/>
                </a:lnTo>
                <a:lnTo>
                  <a:pt x="479" y="694"/>
                </a:lnTo>
                <a:lnTo>
                  <a:pt x="479" y="691"/>
                </a:lnTo>
                <a:lnTo>
                  <a:pt x="482" y="691"/>
                </a:lnTo>
                <a:lnTo>
                  <a:pt x="482" y="691"/>
                </a:lnTo>
                <a:lnTo>
                  <a:pt x="484" y="691"/>
                </a:lnTo>
                <a:lnTo>
                  <a:pt x="488" y="693"/>
                </a:lnTo>
                <a:lnTo>
                  <a:pt x="490" y="696"/>
                </a:lnTo>
                <a:lnTo>
                  <a:pt x="493" y="696"/>
                </a:lnTo>
                <a:lnTo>
                  <a:pt x="493" y="696"/>
                </a:lnTo>
                <a:lnTo>
                  <a:pt x="497" y="696"/>
                </a:lnTo>
                <a:lnTo>
                  <a:pt x="502" y="693"/>
                </a:lnTo>
                <a:lnTo>
                  <a:pt x="513" y="682"/>
                </a:lnTo>
                <a:lnTo>
                  <a:pt x="524" y="672"/>
                </a:lnTo>
                <a:lnTo>
                  <a:pt x="528" y="669"/>
                </a:lnTo>
                <a:lnTo>
                  <a:pt x="532" y="669"/>
                </a:lnTo>
                <a:lnTo>
                  <a:pt x="532" y="669"/>
                </a:lnTo>
                <a:lnTo>
                  <a:pt x="533" y="671"/>
                </a:lnTo>
                <a:lnTo>
                  <a:pt x="532" y="672"/>
                </a:lnTo>
                <a:lnTo>
                  <a:pt x="524" y="678"/>
                </a:lnTo>
                <a:lnTo>
                  <a:pt x="517" y="685"/>
                </a:lnTo>
                <a:lnTo>
                  <a:pt x="513" y="689"/>
                </a:lnTo>
                <a:lnTo>
                  <a:pt x="512" y="694"/>
                </a:lnTo>
                <a:lnTo>
                  <a:pt x="512" y="694"/>
                </a:lnTo>
                <a:lnTo>
                  <a:pt x="513" y="700"/>
                </a:lnTo>
                <a:lnTo>
                  <a:pt x="515" y="704"/>
                </a:lnTo>
                <a:lnTo>
                  <a:pt x="519" y="707"/>
                </a:lnTo>
                <a:lnTo>
                  <a:pt x="521" y="711"/>
                </a:lnTo>
                <a:lnTo>
                  <a:pt x="521" y="711"/>
                </a:lnTo>
                <a:lnTo>
                  <a:pt x="523" y="715"/>
                </a:lnTo>
                <a:lnTo>
                  <a:pt x="526" y="720"/>
                </a:lnTo>
                <a:lnTo>
                  <a:pt x="530" y="724"/>
                </a:lnTo>
                <a:lnTo>
                  <a:pt x="535" y="725"/>
                </a:lnTo>
                <a:lnTo>
                  <a:pt x="546" y="729"/>
                </a:lnTo>
                <a:lnTo>
                  <a:pt x="552" y="729"/>
                </a:lnTo>
                <a:lnTo>
                  <a:pt x="552" y="729"/>
                </a:lnTo>
                <a:lnTo>
                  <a:pt x="550" y="725"/>
                </a:lnTo>
                <a:lnTo>
                  <a:pt x="544" y="720"/>
                </a:lnTo>
                <a:lnTo>
                  <a:pt x="539" y="713"/>
                </a:lnTo>
                <a:lnTo>
                  <a:pt x="539" y="711"/>
                </a:lnTo>
                <a:lnTo>
                  <a:pt x="539" y="707"/>
                </a:lnTo>
                <a:lnTo>
                  <a:pt x="539" y="707"/>
                </a:lnTo>
                <a:lnTo>
                  <a:pt x="541" y="705"/>
                </a:lnTo>
                <a:lnTo>
                  <a:pt x="544" y="707"/>
                </a:lnTo>
                <a:lnTo>
                  <a:pt x="548" y="707"/>
                </a:lnTo>
                <a:lnTo>
                  <a:pt x="552" y="705"/>
                </a:lnTo>
                <a:lnTo>
                  <a:pt x="552" y="705"/>
                </a:lnTo>
                <a:lnTo>
                  <a:pt x="552" y="702"/>
                </a:lnTo>
                <a:lnTo>
                  <a:pt x="552" y="691"/>
                </a:lnTo>
                <a:lnTo>
                  <a:pt x="552" y="685"/>
                </a:lnTo>
                <a:lnTo>
                  <a:pt x="554" y="678"/>
                </a:lnTo>
                <a:lnTo>
                  <a:pt x="559" y="671"/>
                </a:lnTo>
                <a:lnTo>
                  <a:pt x="566" y="662"/>
                </a:lnTo>
                <a:lnTo>
                  <a:pt x="566" y="662"/>
                </a:lnTo>
                <a:lnTo>
                  <a:pt x="570" y="667"/>
                </a:lnTo>
                <a:lnTo>
                  <a:pt x="574" y="669"/>
                </a:lnTo>
                <a:lnTo>
                  <a:pt x="581" y="671"/>
                </a:lnTo>
                <a:lnTo>
                  <a:pt x="581" y="671"/>
                </a:lnTo>
                <a:lnTo>
                  <a:pt x="583" y="672"/>
                </a:lnTo>
                <a:lnTo>
                  <a:pt x="585" y="674"/>
                </a:lnTo>
                <a:lnTo>
                  <a:pt x="585" y="682"/>
                </a:lnTo>
                <a:lnTo>
                  <a:pt x="585" y="691"/>
                </a:lnTo>
                <a:lnTo>
                  <a:pt x="585" y="691"/>
                </a:lnTo>
                <a:lnTo>
                  <a:pt x="586" y="689"/>
                </a:lnTo>
                <a:lnTo>
                  <a:pt x="590" y="683"/>
                </a:lnTo>
                <a:lnTo>
                  <a:pt x="594" y="674"/>
                </a:lnTo>
                <a:lnTo>
                  <a:pt x="594" y="663"/>
                </a:lnTo>
                <a:lnTo>
                  <a:pt x="594" y="663"/>
                </a:lnTo>
                <a:lnTo>
                  <a:pt x="597" y="662"/>
                </a:lnTo>
                <a:lnTo>
                  <a:pt x="601" y="654"/>
                </a:lnTo>
                <a:lnTo>
                  <a:pt x="601" y="654"/>
                </a:lnTo>
                <a:lnTo>
                  <a:pt x="603" y="651"/>
                </a:lnTo>
                <a:lnTo>
                  <a:pt x="601" y="649"/>
                </a:lnTo>
                <a:lnTo>
                  <a:pt x="596" y="643"/>
                </a:lnTo>
                <a:lnTo>
                  <a:pt x="594" y="640"/>
                </a:lnTo>
                <a:lnTo>
                  <a:pt x="592" y="634"/>
                </a:lnTo>
                <a:lnTo>
                  <a:pt x="590" y="625"/>
                </a:lnTo>
                <a:lnTo>
                  <a:pt x="590" y="614"/>
                </a:lnTo>
                <a:lnTo>
                  <a:pt x="590" y="614"/>
                </a:lnTo>
                <a:lnTo>
                  <a:pt x="590" y="610"/>
                </a:lnTo>
                <a:lnTo>
                  <a:pt x="588" y="609"/>
                </a:lnTo>
                <a:lnTo>
                  <a:pt x="583" y="605"/>
                </a:lnTo>
                <a:lnTo>
                  <a:pt x="583" y="605"/>
                </a:lnTo>
                <a:lnTo>
                  <a:pt x="579" y="599"/>
                </a:lnTo>
                <a:lnTo>
                  <a:pt x="579" y="598"/>
                </a:lnTo>
                <a:lnTo>
                  <a:pt x="581" y="598"/>
                </a:lnTo>
                <a:lnTo>
                  <a:pt x="581" y="598"/>
                </a:lnTo>
                <a:lnTo>
                  <a:pt x="588" y="599"/>
                </a:lnTo>
                <a:lnTo>
                  <a:pt x="596" y="599"/>
                </a:lnTo>
                <a:lnTo>
                  <a:pt x="603" y="598"/>
                </a:lnTo>
                <a:lnTo>
                  <a:pt x="603" y="598"/>
                </a:lnTo>
                <a:lnTo>
                  <a:pt x="603" y="576"/>
                </a:lnTo>
                <a:lnTo>
                  <a:pt x="605" y="565"/>
                </a:lnTo>
                <a:lnTo>
                  <a:pt x="603" y="559"/>
                </a:lnTo>
                <a:lnTo>
                  <a:pt x="603" y="559"/>
                </a:lnTo>
                <a:lnTo>
                  <a:pt x="596" y="559"/>
                </a:lnTo>
                <a:lnTo>
                  <a:pt x="588" y="557"/>
                </a:lnTo>
                <a:lnTo>
                  <a:pt x="585" y="556"/>
                </a:lnTo>
                <a:lnTo>
                  <a:pt x="581" y="552"/>
                </a:lnTo>
                <a:lnTo>
                  <a:pt x="581" y="552"/>
                </a:lnTo>
                <a:lnTo>
                  <a:pt x="586" y="552"/>
                </a:lnTo>
                <a:lnTo>
                  <a:pt x="594" y="552"/>
                </a:lnTo>
                <a:lnTo>
                  <a:pt x="599" y="552"/>
                </a:lnTo>
                <a:lnTo>
                  <a:pt x="603" y="548"/>
                </a:lnTo>
                <a:lnTo>
                  <a:pt x="603" y="548"/>
                </a:lnTo>
                <a:lnTo>
                  <a:pt x="603" y="530"/>
                </a:lnTo>
                <a:lnTo>
                  <a:pt x="601" y="517"/>
                </a:lnTo>
                <a:lnTo>
                  <a:pt x="601" y="514"/>
                </a:lnTo>
                <a:lnTo>
                  <a:pt x="599" y="512"/>
                </a:lnTo>
                <a:lnTo>
                  <a:pt x="599" y="512"/>
                </a:lnTo>
                <a:lnTo>
                  <a:pt x="592" y="514"/>
                </a:lnTo>
                <a:lnTo>
                  <a:pt x="586" y="514"/>
                </a:lnTo>
                <a:lnTo>
                  <a:pt x="581" y="512"/>
                </a:lnTo>
                <a:lnTo>
                  <a:pt x="576" y="510"/>
                </a:lnTo>
                <a:lnTo>
                  <a:pt x="576" y="510"/>
                </a:lnTo>
                <a:lnTo>
                  <a:pt x="574" y="508"/>
                </a:lnTo>
                <a:lnTo>
                  <a:pt x="572" y="504"/>
                </a:lnTo>
                <a:lnTo>
                  <a:pt x="572" y="499"/>
                </a:lnTo>
                <a:lnTo>
                  <a:pt x="570" y="495"/>
                </a:lnTo>
                <a:lnTo>
                  <a:pt x="570" y="493"/>
                </a:lnTo>
                <a:lnTo>
                  <a:pt x="568" y="492"/>
                </a:lnTo>
                <a:lnTo>
                  <a:pt x="568" y="492"/>
                </a:lnTo>
                <a:lnTo>
                  <a:pt x="557" y="488"/>
                </a:lnTo>
                <a:lnTo>
                  <a:pt x="546" y="482"/>
                </a:lnTo>
                <a:lnTo>
                  <a:pt x="541" y="477"/>
                </a:lnTo>
                <a:lnTo>
                  <a:pt x="535" y="473"/>
                </a:lnTo>
                <a:lnTo>
                  <a:pt x="535" y="473"/>
                </a:lnTo>
                <a:lnTo>
                  <a:pt x="532" y="468"/>
                </a:lnTo>
                <a:lnTo>
                  <a:pt x="532" y="462"/>
                </a:lnTo>
                <a:lnTo>
                  <a:pt x="532" y="459"/>
                </a:lnTo>
                <a:lnTo>
                  <a:pt x="532" y="459"/>
                </a:lnTo>
                <a:lnTo>
                  <a:pt x="541" y="462"/>
                </a:lnTo>
                <a:lnTo>
                  <a:pt x="544" y="462"/>
                </a:lnTo>
                <a:lnTo>
                  <a:pt x="550" y="461"/>
                </a:lnTo>
                <a:lnTo>
                  <a:pt x="552" y="431"/>
                </a:lnTo>
                <a:lnTo>
                  <a:pt x="552" y="431"/>
                </a:lnTo>
                <a:lnTo>
                  <a:pt x="548" y="431"/>
                </a:lnTo>
                <a:lnTo>
                  <a:pt x="541" y="430"/>
                </a:lnTo>
                <a:lnTo>
                  <a:pt x="541" y="430"/>
                </a:lnTo>
                <a:lnTo>
                  <a:pt x="537" y="426"/>
                </a:lnTo>
                <a:lnTo>
                  <a:pt x="533" y="422"/>
                </a:lnTo>
                <a:lnTo>
                  <a:pt x="532" y="419"/>
                </a:lnTo>
                <a:lnTo>
                  <a:pt x="532" y="419"/>
                </a:lnTo>
                <a:lnTo>
                  <a:pt x="535" y="420"/>
                </a:lnTo>
                <a:lnTo>
                  <a:pt x="543" y="422"/>
                </a:lnTo>
                <a:lnTo>
                  <a:pt x="543" y="422"/>
                </a:lnTo>
                <a:lnTo>
                  <a:pt x="550" y="422"/>
                </a:lnTo>
                <a:lnTo>
                  <a:pt x="554" y="420"/>
                </a:lnTo>
                <a:lnTo>
                  <a:pt x="557" y="387"/>
                </a:lnTo>
                <a:lnTo>
                  <a:pt x="557" y="387"/>
                </a:lnTo>
                <a:lnTo>
                  <a:pt x="552" y="387"/>
                </a:lnTo>
                <a:lnTo>
                  <a:pt x="546" y="386"/>
                </a:lnTo>
                <a:lnTo>
                  <a:pt x="541" y="384"/>
                </a:lnTo>
                <a:lnTo>
                  <a:pt x="539" y="378"/>
                </a:lnTo>
                <a:lnTo>
                  <a:pt x="539" y="377"/>
                </a:lnTo>
                <a:lnTo>
                  <a:pt x="539" y="377"/>
                </a:lnTo>
                <a:lnTo>
                  <a:pt x="552" y="373"/>
                </a:lnTo>
                <a:lnTo>
                  <a:pt x="563" y="367"/>
                </a:lnTo>
                <a:lnTo>
                  <a:pt x="572" y="360"/>
                </a:lnTo>
                <a:lnTo>
                  <a:pt x="579" y="353"/>
                </a:lnTo>
                <a:lnTo>
                  <a:pt x="586" y="344"/>
                </a:lnTo>
                <a:lnTo>
                  <a:pt x="592" y="333"/>
                </a:lnTo>
                <a:lnTo>
                  <a:pt x="597" y="324"/>
                </a:lnTo>
                <a:lnTo>
                  <a:pt x="599" y="313"/>
                </a:lnTo>
                <a:lnTo>
                  <a:pt x="599" y="313"/>
                </a:lnTo>
                <a:lnTo>
                  <a:pt x="608" y="316"/>
                </a:lnTo>
                <a:lnTo>
                  <a:pt x="614" y="316"/>
                </a:lnTo>
                <a:lnTo>
                  <a:pt x="618" y="316"/>
                </a:lnTo>
                <a:lnTo>
                  <a:pt x="618" y="316"/>
                </a:lnTo>
                <a:lnTo>
                  <a:pt x="619" y="303"/>
                </a:lnTo>
                <a:lnTo>
                  <a:pt x="619" y="289"/>
                </a:lnTo>
                <a:lnTo>
                  <a:pt x="619" y="289"/>
                </a:lnTo>
                <a:lnTo>
                  <a:pt x="610" y="287"/>
                </a:lnTo>
                <a:lnTo>
                  <a:pt x="607" y="285"/>
                </a:lnTo>
                <a:lnTo>
                  <a:pt x="603" y="28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pic>
        <p:nvPicPr>
          <p:cNvPr id="53" name="Picture 3">
            <a:extLst>
              <a:ext uri="{FF2B5EF4-FFF2-40B4-BE49-F238E27FC236}">
                <a16:creationId xmlns:a16="http://schemas.microsoft.com/office/drawing/2014/main" id="{F1689B57-8BAA-BF42-B648-10782572357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804249" y="4443959"/>
            <a:ext cx="2088034" cy="397877"/>
          </a:xfrm>
          <a:prstGeom prst="rect">
            <a:avLst/>
          </a:prstGeom>
        </p:spPr>
      </p:pic>
      <p:pic>
        <p:nvPicPr>
          <p:cNvPr id="55" name="Picture 5">
            <a:extLst>
              <a:ext uri="{FF2B5EF4-FFF2-40B4-BE49-F238E27FC236}">
                <a16:creationId xmlns:a16="http://schemas.microsoft.com/office/drawing/2014/main" id="{4F591584-9FCE-5A4F-A985-77C337C3AB8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04449" y="235341"/>
            <a:ext cx="305495" cy="419486"/>
          </a:xfrm>
          <a:prstGeom prst="rect">
            <a:avLst/>
          </a:prstGeom>
        </p:spPr>
      </p:pic>
    </p:spTree>
    <p:extLst>
      <p:ext uri="{BB962C8B-B14F-4D97-AF65-F5344CB8AC3E}">
        <p14:creationId xmlns:p14="http://schemas.microsoft.com/office/powerpoint/2010/main" val="120053511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15_Väliotsikko">
    <p:spTree>
      <p:nvGrpSpPr>
        <p:cNvPr id="1" name=""/>
        <p:cNvGrpSpPr/>
        <p:nvPr/>
      </p:nvGrpSpPr>
      <p:grpSpPr>
        <a:xfrm>
          <a:off x="0" y="0"/>
          <a:ext cx="0" cy="0"/>
          <a:chOff x="0" y="0"/>
          <a:chExt cx="0" cy="0"/>
        </a:xfrm>
      </p:grpSpPr>
      <p:pic>
        <p:nvPicPr>
          <p:cNvPr id="2" name="Kuva 1"/>
          <p:cNvPicPr>
            <a:picLocks noChangeAspect="1"/>
          </p:cNvPicPr>
          <p:nvPr userDrawn="1"/>
        </p:nvPicPr>
        <p:blipFill rotWithShape="1">
          <a:blip r:embed="rId2" cstate="print">
            <a:extLst>
              <a:ext uri="{28A0092B-C50C-407E-A947-70E740481C1C}">
                <a14:useLocalDpi xmlns:a14="http://schemas.microsoft.com/office/drawing/2010/main" val="0"/>
              </a:ext>
            </a:extLst>
          </a:blip>
          <a:srcRect l="8800" r="29700"/>
          <a:stretch/>
        </p:blipFill>
        <p:spPr>
          <a:xfrm>
            <a:off x="4393097" y="-32715"/>
            <a:ext cx="4787416" cy="5189129"/>
          </a:xfrm>
          <a:prstGeom prst="rect">
            <a:avLst/>
          </a:prstGeom>
        </p:spPr>
      </p:pic>
      <p:sp>
        <p:nvSpPr>
          <p:cNvPr id="51" name="Rectangle 50"/>
          <p:cNvSpPr/>
          <p:nvPr userDrawn="1"/>
        </p:nvSpPr>
        <p:spPr>
          <a:xfrm rot="10800000" flipV="1">
            <a:off x="-10666" y="-21804"/>
            <a:ext cx="4582667" cy="5165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a:p>
        </p:txBody>
      </p:sp>
      <p:sp>
        <p:nvSpPr>
          <p:cNvPr id="58" name="Rectangle 57"/>
          <p:cNvSpPr/>
          <p:nvPr userDrawn="1"/>
        </p:nvSpPr>
        <p:spPr>
          <a:xfrm rot="10800000" flipV="1">
            <a:off x="4499988" y="-21805"/>
            <a:ext cx="4680524" cy="5185843"/>
          </a:xfrm>
          <a:prstGeom prst="rect">
            <a:avLst/>
          </a:pr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a:p>
        </p:txBody>
      </p:sp>
      <p:sp>
        <p:nvSpPr>
          <p:cNvPr id="54" name="Freeform 7"/>
          <p:cNvSpPr>
            <a:spLocks/>
          </p:cNvSpPr>
          <p:nvPr userDrawn="1"/>
        </p:nvSpPr>
        <p:spPr bwMode="auto">
          <a:xfrm rot="10800000" flipV="1">
            <a:off x="3392895" y="-21803"/>
            <a:ext cx="4279900" cy="5165302"/>
          </a:xfrm>
          <a:custGeom>
            <a:avLst/>
            <a:gdLst>
              <a:gd name="T0" fmla="*/ 2425 w 2696"/>
              <a:gd name="T1" fmla="*/ 3240 h 3240"/>
              <a:gd name="T2" fmla="*/ 2398 w 2696"/>
              <a:gd name="T3" fmla="*/ 3171 h 3240"/>
              <a:gd name="T4" fmla="*/ 2372 w 2696"/>
              <a:gd name="T5" fmla="*/ 3103 h 3240"/>
              <a:gd name="T6" fmla="*/ 2325 w 2696"/>
              <a:gd name="T7" fmla="*/ 2966 h 3240"/>
              <a:gd name="T8" fmla="*/ 2283 w 2696"/>
              <a:gd name="T9" fmla="*/ 2828 h 3240"/>
              <a:gd name="T10" fmla="*/ 2248 w 2696"/>
              <a:gd name="T11" fmla="*/ 2689 h 3240"/>
              <a:gd name="T12" fmla="*/ 2219 w 2696"/>
              <a:gd name="T13" fmla="*/ 2550 h 3240"/>
              <a:gd name="T14" fmla="*/ 2196 w 2696"/>
              <a:gd name="T15" fmla="*/ 2411 h 3240"/>
              <a:gd name="T16" fmla="*/ 2178 w 2696"/>
              <a:gd name="T17" fmla="*/ 2273 h 3240"/>
              <a:gd name="T18" fmla="*/ 2164 w 2696"/>
              <a:gd name="T19" fmla="*/ 2133 h 3240"/>
              <a:gd name="T20" fmla="*/ 2157 w 2696"/>
              <a:gd name="T21" fmla="*/ 1995 h 3240"/>
              <a:gd name="T22" fmla="*/ 2156 w 2696"/>
              <a:gd name="T23" fmla="*/ 1856 h 3240"/>
              <a:gd name="T24" fmla="*/ 2160 w 2696"/>
              <a:gd name="T25" fmla="*/ 1718 h 3240"/>
              <a:gd name="T26" fmla="*/ 2170 w 2696"/>
              <a:gd name="T27" fmla="*/ 1581 h 3240"/>
              <a:gd name="T28" fmla="*/ 2183 w 2696"/>
              <a:gd name="T29" fmla="*/ 1445 h 3240"/>
              <a:gd name="T30" fmla="*/ 2203 w 2696"/>
              <a:gd name="T31" fmla="*/ 1310 h 3240"/>
              <a:gd name="T32" fmla="*/ 2228 w 2696"/>
              <a:gd name="T33" fmla="*/ 1175 h 3240"/>
              <a:gd name="T34" fmla="*/ 2259 w 2696"/>
              <a:gd name="T35" fmla="*/ 1042 h 3240"/>
              <a:gd name="T36" fmla="*/ 2274 w 2696"/>
              <a:gd name="T37" fmla="*/ 977 h 3240"/>
              <a:gd name="T38" fmla="*/ 2313 w 2696"/>
              <a:gd name="T39" fmla="*/ 845 h 3240"/>
              <a:gd name="T40" fmla="*/ 2354 w 2696"/>
              <a:gd name="T41" fmla="*/ 716 h 3240"/>
              <a:gd name="T42" fmla="*/ 2400 w 2696"/>
              <a:gd name="T43" fmla="*/ 590 h 3240"/>
              <a:gd name="T44" fmla="*/ 2452 w 2696"/>
              <a:gd name="T45" fmla="*/ 466 h 3240"/>
              <a:gd name="T46" fmla="*/ 2507 w 2696"/>
              <a:gd name="T47" fmla="*/ 345 h 3240"/>
              <a:gd name="T48" fmla="*/ 2566 w 2696"/>
              <a:gd name="T49" fmla="*/ 227 h 3240"/>
              <a:gd name="T50" fmla="*/ 2630 w 2696"/>
              <a:gd name="T51" fmla="*/ 113 h 3240"/>
              <a:gd name="T52" fmla="*/ 2696 w 2696"/>
              <a:gd name="T53" fmla="*/ 0 h 3240"/>
              <a:gd name="T54" fmla="*/ 0 w 2696"/>
              <a:gd name="T55" fmla="*/ 0 h 3240"/>
              <a:gd name="T56" fmla="*/ 72 w 2696"/>
              <a:gd name="T57" fmla="*/ 207 h 3240"/>
              <a:gd name="T58" fmla="*/ 150 w 2696"/>
              <a:gd name="T59" fmla="*/ 414 h 3240"/>
              <a:gd name="T60" fmla="*/ 187 w 2696"/>
              <a:gd name="T61" fmla="*/ 510 h 3240"/>
              <a:gd name="T62" fmla="*/ 266 w 2696"/>
              <a:gd name="T63" fmla="*/ 701 h 3240"/>
              <a:gd name="T64" fmla="*/ 349 w 2696"/>
              <a:gd name="T65" fmla="*/ 890 h 3240"/>
              <a:gd name="T66" fmla="*/ 436 w 2696"/>
              <a:gd name="T67" fmla="*/ 1077 h 3240"/>
              <a:gd name="T68" fmla="*/ 527 w 2696"/>
              <a:gd name="T69" fmla="*/ 1262 h 3240"/>
              <a:gd name="T70" fmla="*/ 622 w 2696"/>
              <a:gd name="T71" fmla="*/ 1446 h 3240"/>
              <a:gd name="T72" fmla="*/ 722 w 2696"/>
              <a:gd name="T73" fmla="*/ 1627 h 3240"/>
              <a:gd name="T74" fmla="*/ 826 w 2696"/>
              <a:gd name="T75" fmla="*/ 1807 h 3240"/>
              <a:gd name="T76" fmla="*/ 934 w 2696"/>
              <a:gd name="T77" fmla="*/ 1983 h 3240"/>
              <a:gd name="T78" fmla="*/ 1046 w 2696"/>
              <a:gd name="T79" fmla="*/ 2159 h 3240"/>
              <a:gd name="T80" fmla="*/ 1162 w 2696"/>
              <a:gd name="T81" fmla="*/ 2332 h 3240"/>
              <a:gd name="T82" fmla="*/ 1282 w 2696"/>
              <a:gd name="T83" fmla="*/ 2503 h 3240"/>
              <a:gd name="T84" fmla="*/ 1406 w 2696"/>
              <a:gd name="T85" fmla="*/ 2671 h 3240"/>
              <a:gd name="T86" fmla="*/ 1535 w 2696"/>
              <a:gd name="T87" fmla="*/ 2837 h 3240"/>
              <a:gd name="T88" fmla="*/ 1667 w 2696"/>
              <a:gd name="T89" fmla="*/ 3000 h 3240"/>
              <a:gd name="T90" fmla="*/ 1804 w 2696"/>
              <a:gd name="T91" fmla="*/ 3160 h 3240"/>
              <a:gd name="T92" fmla="*/ 1874 w 2696"/>
              <a:gd name="T93" fmla="*/ 3240 h 3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96" h="3240">
                <a:moveTo>
                  <a:pt x="1874" y="3240"/>
                </a:moveTo>
                <a:lnTo>
                  <a:pt x="2425" y="3240"/>
                </a:lnTo>
                <a:lnTo>
                  <a:pt x="2425" y="3240"/>
                </a:lnTo>
                <a:lnTo>
                  <a:pt x="2398" y="3171"/>
                </a:lnTo>
                <a:lnTo>
                  <a:pt x="2398" y="3171"/>
                </a:lnTo>
                <a:lnTo>
                  <a:pt x="2372" y="3103"/>
                </a:lnTo>
                <a:lnTo>
                  <a:pt x="2347" y="3034"/>
                </a:lnTo>
                <a:lnTo>
                  <a:pt x="2325" y="2966"/>
                </a:lnTo>
                <a:lnTo>
                  <a:pt x="2304" y="2897"/>
                </a:lnTo>
                <a:lnTo>
                  <a:pt x="2283" y="2828"/>
                </a:lnTo>
                <a:lnTo>
                  <a:pt x="2265" y="2759"/>
                </a:lnTo>
                <a:lnTo>
                  <a:pt x="2248" y="2689"/>
                </a:lnTo>
                <a:lnTo>
                  <a:pt x="2233" y="2620"/>
                </a:lnTo>
                <a:lnTo>
                  <a:pt x="2219" y="2550"/>
                </a:lnTo>
                <a:lnTo>
                  <a:pt x="2207" y="2481"/>
                </a:lnTo>
                <a:lnTo>
                  <a:pt x="2196" y="2411"/>
                </a:lnTo>
                <a:lnTo>
                  <a:pt x="2185" y="2342"/>
                </a:lnTo>
                <a:lnTo>
                  <a:pt x="2178" y="2273"/>
                </a:lnTo>
                <a:lnTo>
                  <a:pt x="2170" y="2203"/>
                </a:lnTo>
                <a:lnTo>
                  <a:pt x="2164" y="2133"/>
                </a:lnTo>
                <a:lnTo>
                  <a:pt x="2161" y="2063"/>
                </a:lnTo>
                <a:lnTo>
                  <a:pt x="2157" y="1995"/>
                </a:lnTo>
                <a:lnTo>
                  <a:pt x="2156" y="1925"/>
                </a:lnTo>
                <a:lnTo>
                  <a:pt x="2156" y="1856"/>
                </a:lnTo>
                <a:lnTo>
                  <a:pt x="2157" y="1787"/>
                </a:lnTo>
                <a:lnTo>
                  <a:pt x="2160" y="1718"/>
                </a:lnTo>
                <a:lnTo>
                  <a:pt x="2164" y="1649"/>
                </a:lnTo>
                <a:lnTo>
                  <a:pt x="2170" y="1581"/>
                </a:lnTo>
                <a:lnTo>
                  <a:pt x="2175" y="1513"/>
                </a:lnTo>
                <a:lnTo>
                  <a:pt x="2183" y="1445"/>
                </a:lnTo>
                <a:lnTo>
                  <a:pt x="2193" y="1377"/>
                </a:lnTo>
                <a:lnTo>
                  <a:pt x="2203" y="1310"/>
                </a:lnTo>
                <a:lnTo>
                  <a:pt x="2215" y="1242"/>
                </a:lnTo>
                <a:lnTo>
                  <a:pt x="2228" y="1175"/>
                </a:lnTo>
                <a:lnTo>
                  <a:pt x="2243" y="1108"/>
                </a:lnTo>
                <a:lnTo>
                  <a:pt x="2259" y="1042"/>
                </a:lnTo>
                <a:lnTo>
                  <a:pt x="2274" y="977"/>
                </a:lnTo>
                <a:lnTo>
                  <a:pt x="2274" y="977"/>
                </a:lnTo>
                <a:lnTo>
                  <a:pt x="2293" y="910"/>
                </a:lnTo>
                <a:lnTo>
                  <a:pt x="2313" y="845"/>
                </a:lnTo>
                <a:lnTo>
                  <a:pt x="2333" y="780"/>
                </a:lnTo>
                <a:lnTo>
                  <a:pt x="2354" y="716"/>
                </a:lnTo>
                <a:lnTo>
                  <a:pt x="2377" y="653"/>
                </a:lnTo>
                <a:lnTo>
                  <a:pt x="2400" y="590"/>
                </a:lnTo>
                <a:lnTo>
                  <a:pt x="2426" y="528"/>
                </a:lnTo>
                <a:lnTo>
                  <a:pt x="2452" y="466"/>
                </a:lnTo>
                <a:lnTo>
                  <a:pt x="2479" y="405"/>
                </a:lnTo>
                <a:lnTo>
                  <a:pt x="2507" y="345"/>
                </a:lnTo>
                <a:lnTo>
                  <a:pt x="2536" y="286"/>
                </a:lnTo>
                <a:lnTo>
                  <a:pt x="2566" y="227"/>
                </a:lnTo>
                <a:lnTo>
                  <a:pt x="2597" y="169"/>
                </a:lnTo>
                <a:lnTo>
                  <a:pt x="2630" y="113"/>
                </a:lnTo>
                <a:lnTo>
                  <a:pt x="2662" y="55"/>
                </a:lnTo>
                <a:lnTo>
                  <a:pt x="2696" y="0"/>
                </a:lnTo>
                <a:lnTo>
                  <a:pt x="0" y="0"/>
                </a:lnTo>
                <a:lnTo>
                  <a:pt x="0" y="0"/>
                </a:lnTo>
                <a:lnTo>
                  <a:pt x="35" y="104"/>
                </a:lnTo>
                <a:lnTo>
                  <a:pt x="72" y="207"/>
                </a:lnTo>
                <a:lnTo>
                  <a:pt x="111" y="311"/>
                </a:lnTo>
                <a:lnTo>
                  <a:pt x="150" y="414"/>
                </a:lnTo>
                <a:lnTo>
                  <a:pt x="150" y="414"/>
                </a:lnTo>
                <a:lnTo>
                  <a:pt x="187" y="510"/>
                </a:lnTo>
                <a:lnTo>
                  <a:pt x="226" y="605"/>
                </a:lnTo>
                <a:lnTo>
                  <a:pt x="266" y="701"/>
                </a:lnTo>
                <a:lnTo>
                  <a:pt x="306" y="795"/>
                </a:lnTo>
                <a:lnTo>
                  <a:pt x="349" y="890"/>
                </a:lnTo>
                <a:lnTo>
                  <a:pt x="392" y="983"/>
                </a:lnTo>
                <a:lnTo>
                  <a:pt x="436" y="1077"/>
                </a:lnTo>
                <a:lnTo>
                  <a:pt x="481" y="1169"/>
                </a:lnTo>
                <a:lnTo>
                  <a:pt x="527" y="1262"/>
                </a:lnTo>
                <a:lnTo>
                  <a:pt x="574" y="1353"/>
                </a:lnTo>
                <a:lnTo>
                  <a:pt x="622" y="1446"/>
                </a:lnTo>
                <a:lnTo>
                  <a:pt x="672" y="1537"/>
                </a:lnTo>
                <a:lnTo>
                  <a:pt x="722" y="1627"/>
                </a:lnTo>
                <a:lnTo>
                  <a:pt x="773" y="1717"/>
                </a:lnTo>
                <a:lnTo>
                  <a:pt x="826" y="1807"/>
                </a:lnTo>
                <a:lnTo>
                  <a:pt x="879" y="1896"/>
                </a:lnTo>
                <a:lnTo>
                  <a:pt x="934" y="1983"/>
                </a:lnTo>
                <a:lnTo>
                  <a:pt x="989" y="2072"/>
                </a:lnTo>
                <a:lnTo>
                  <a:pt x="1046" y="2159"/>
                </a:lnTo>
                <a:lnTo>
                  <a:pt x="1104" y="2246"/>
                </a:lnTo>
                <a:lnTo>
                  <a:pt x="1162" y="2332"/>
                </a:lnTo>
                <a:lnTo>
                  <a:pt x="1222" y="2418"/>
                </a:lnTo>
                <a:lnTo>
                  <a:pt x="1282" y="2503"/>
                </a:lnTo>
                <a:lnTo>
                  <a:pt x="1344" y="2588"/>
                </a:lnTo>
                <a:lnTo>
                  <a:pt x="1406" y="2671"/>
                </a:lnTo>
                <a:lnTo>
                  <a:pt x="1470" y="2754"/>
                </a:lnTo>
                <a:lnTo>
                  <a:pt x="1535" y="2837"/>
                </a:lnTo>
                <a:lnTo>
                  <a:pt x="1601" y="2918"/>
                </a:lnTo>
                <a:lnTo>
                  <a:pt x="1667" y="3000"/>
                </a:lnTo>
                <a:lnTo>
                  <a:pt x="1736" y="3080"/>
                </a:lnTo>
                <a:lnTo>
                  <a:pt x="1804" y="3160"/>
                </a:lnTo>
                <a:lnTo>
                  <a:pt x="1874" y="3240"/>
                </a:lnTo>
                <a:lnTo>
                  <a:pt x="1874" y="3240"/>
                </a:lnTo>
                <a:close/>
              </a:path>
            </a:pathLst>
          </a:custGeom>
          <a:solidFill>
            <a:srgbClr val="EA006F"/>
          </a:solidFill>
          <a:ln>
            <a:noFill/>
          </a:ln>
          <a:extLst/>
        </p:spPr>
        <p:txBody>
          <a:bodyPr vert="horz" wrap="square" lIns="91440" tIns="45720" rIns="91440" bIns="45720" numCol="1" anchor="t" anchorCtr="0" compatLnSpc="1">
            <a:prstTxWarp prst="textNoShape">
              <a:avLst/>
            </a:prstTxWarp>
          </a:bodyPr>
          <a:lstStyle/>
          <a:p>
            <a:endParaRPr lang="fi-FI" sz="1800"/>
          </a:p>
        </p:txBody>
      </p:sp>
      <p:sp>
        <p:nvSpPr>
          <p:cNvPr id="10" name="Otsikko 1"/>
          <p:cNvSpPr>
            <a:spLocks noGrp="1"/>
          </p:cNvSpPr>
          <p:nvPr userDrawn="1">
            <p:ph type="ctrTitle"/>
          </p:nvPr>
        </p:nvSpPr>
        <p:spPr>
          <a:xfrm>
            <a:off x="366652" y="411510"/>
            <a:ext cx="3485269" cy="2967062"/>
          </a:xfrm>
        </p:spPr>
        <p:txBody>
          <a:bodyPr anchor="b" anchorCtr="0">
            <a:noAutofit/>
          </a:bodyPr>
          <a:lstStyle>
            <a:lvl1pPr algn="l">
              <a:defRPr sz="4000">
                <a:solidFill>
                  <a:schemeClr val="accent4"/>
                </a:solidFill>
              </a:defRPr>
            </a:lvl1pPr>
          </a:lstStyle>
          <a:p>
            <a:r>
              <a:rPr lang="en-US" dirty="0"/>
              <a:t>Click to edit Master title style</a:t>
            </a:r>
            <a:endParaRPr lang="fi-FI" dirty="0"/>
          </a:p>
        </p:txBody>
      </p:sp>
      <p:sp>
        <p:nvSpPr>
          <p:cNvPr id="11" name="Alaotsikko 2"/>
          <p:cNvSpPr>
            <a:spLocks noGrp="1"/>
          </p:cNvSpPr>
          <p:nvPr userDrawn="1">
            <p:ph type="subTitle" idx="1"/>
          </p:nvPr>
        </p:nvSpPr>
        <p:spPr>
          <a:xfrm>
            <a:off x="366652" y="3507854"/>
            <a:ext cx="3485270" cy="1512168"/>
          </a:xfrm>
        </p:spPr>
        <p:txBody>
          <a:bodyPr>
            <a:normAutofit/>
          </a:bodyPr>
          <a:lstStyle>
            <a:lvl1pPr marL="0" indent="0" algn="l">
              <a:spcBef>
                <a:spcPts val="0"/>
              </a:spcBef>
              <a:buNone/>
              <a:defRPr sz="1800">
                <a:solidFill>
                  <a:srgbClr val="595965"/>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endParaRPr lang="fi-FI" dirty="0"/>
          </a:p>
        </p:txBody>
      </p:sp>
      <p:sp>
        <p:nvSpPr>
          <p:cNvPr id="32" name="Freeform 30"/>
          <p:cNvSpPr>
            <a:spLocks/>
          </p:cNvSpPr>
          <p:nvPr userDrawn="1"/>
        </p:nvSpPr>
        <p:spPr bwMode="auto">
          <a:xfrm>
            <a:off x="7331075" y="1931691"/>
            <a:ext cx="371475" cy="98425"/>
          </a:xfrm>
          <a:custGeom>
            <a:avLst/>
            <a:gdLst>
              <a:gd name="T0" fmla="*/ 87 w 2807"/>
              <a:gd name="T1" fmla="*/ 343 h 743"/>
              <a:gd name="T2" fmla="*/ 203 w 2807"/>
              <a:gd name="T3" fmla="*/ 417 h 743"/>
              <a:gd name="T4" fmla="*/ 319 w 2807"/>
              <a:gd name="T5" fmla="*/ 479 h 743"/>
              <a:gd name="T6" fmla="*/ 430 w 2807"/>
              <a:gd name="T7" fmla="*/ 529 h 743"/>
              <a:gd name="T8" fmla="*/ 603 w 2807"/>
              <a:gd name="T9" fmla="*/ 595 h 743"/>
              <a:gd name="T10" fmla="*/ 724 w 2807"/>
              <a:gd name="T11" fmla="*/ 633 h 743"/>
              <a:gd name="T12" fmla="*/ 857 w 2807"/>
              <a:gd name="T13" fmla="*/ 666 h 743"/>
              <a:gd name="T14" fmla="*/ 1001 w 2807"/>
              <a:gd name="T15" fmla="*/ 696 h 743"/>
              <a:gd name="T16" fmla="*/ 1157 w 2807"/>
              <a:gd name="T17" fmla="*/ 719 h 743"/>
              <a:gd name="T18" fmla="*/ 1324 w 2807"/>
              <a:gd name="T19" fmla="*/ 736 h 743"/>
              <a:gd name="T20" fmla="*/ 1502 w 2807"/>
              <a:gd name="T21" fmla="*/ 743 h 743"/>
              <a:gd name="T22" fmla="*/ 1689 w 2807"/>
              <a:gd name="T23" fmla="*/ 738 h 743"/>
              <a:gd name="T24" fmla="*/ 1819 w 2807"/>
              <a:gd name="T25" fmla="*/ 729 h 743"/>
              <a:gd name="T26" fmla="*/ 1999 w 2807"/>
              <a:gd name="T27" fmla="*/ 706 h 743"/>
              <a:gd name="T28" fmla="*/ 2159 w 2807"/>
              <a:gd name="T29" fmla="*/ 678 h 743"/>
              <a:gd name="T30" fmla="*/ 2302 w 2807"/>
              <a:gd name="T31" fmla="*/ 643 h 743"/>
              <a:gd name="T32" fmla="*/ 2426 w 2807"/>
              <a:gd name="T33" fmla="*/ 605 h 743"/>
              <a:gd name="T34" fmla="*/ 2533 w 2807"/>
              <a:gd name="T35" fmla="*/ 566 h 743"/>
              <a:gd name="T36" fmla="*/ 2672 w 2807"/>
              <a:gd name="T37" fmla="*/ 505 h 743"/>
              <a:gd name="T38" fmla="*/ 2773 w 2807"/>
              <a:gd name="T39" fmla="*/ 449 h 743"/>
              <a:gd name="T40" fmla="*/ 2807 w 2807"/>
              <a:gd name="T41" fmla="*/ 426 h 743"/>
              <a:gd name="T42" fmla="*/ 2745 w 2807"/>
              <a:gd name="T43" fmla="*/ 402 h 743"/>
              <a:gd name="T44" fmla="*/ 2688 w 2807"/>
              <a:gd name="T45" fmla="*/ 372 h 743"/>
              <a:gd name="T46" fmla="*/ 2586 w 2807"/>
              <a:gd name="T47" fmla="*/ 303 h 743"/>
              <a:gd name="T48" fmla="*/ 2529 w 2807"/>
              <a:gd name="T49" fmla="*/ 256 h 743"/>
              <a:gd name="T50" fmla="*/ 2518 w 2807"/>
              <a:gd name="T51" fmla="*/ 294 h 743"/>
              <a:gd name="T52" fmla="*/ 2507 w 2807"/>
              <a:gd name="T53" fmla="*/ 381 h 743"/>
              <a:gd name="T54" fmla="*/ 2499 w 2807"/>
              <a:gd name="T55" fmla="*/ 413 h 743"/>
              <a:gd name="T56" fmla="*/ 2443 w 2807"/>
              <a:gd name="T57" fmla="*/ 391 h 743"/>
              <a:gd name="T58" fmla="*/ 2423 w 2807"/>
              <a:gd name="T59" fmla="*/ 381 h 743"/>
              <a:gd name="T60" fmla="*/ 2392 w 2807"/>
              <a:gd name="T61" fmla="*/ 357 h 743"/>
              <a:gd name="T62" fmla="*/ 2361 w 2807"/>
              <a:gd name="T63" fmla="*/ 324 h 743"/>
              <a:gd name="T64" fmla="*/ 2334 w 2807"/>
              <a:gd name="T65" fmla="*/ 283 h 743"/>
              <a:gd name="T66" fmla="*/ 2316 w 2807"/>
              <a:gd name="T67" fmla="*/ 235 h 743"/>
              <a:gd name="T68" fmla="*/ 2310 w 2807"/>
              <a:gd name="T69" fmla="*/ 199 h 743"/>
              <a:gd name="T70" fmla="*/ 2252 w 2807"/>
              <a:gd name="T71" fmla="*/ 195 h 743"/>
              <a:gd name="T72" fmla="*/ 2110 w 2807"/>
              <a:gd name="T73" fmla="*/ 243 h 743"/>
              <a:gd name="T74" fmla="*/ 1984 w 2807"/>
              <a:gd name="T75" fmla="*/ 277 h 743"/>
              <a:gd name="T76" fmla="*/ 1843 w 2807"/>
              <a:gd name="T77" fmla="*/ 303 h 743"/>
              <a:gd name="T78" fmla="*/ 1697 w 2807"/>
              <a:gd name="T79" fmla="*/ 319 h 743"/>
              <a:gd name="T80" fmla="*/ 1558 w 2807"/>
              <a:gd name="T81" fmla="*/ 322 h 743"/>
              <a:gd name="T82" fmla="*/ 1293 w 2807"/>
              <a:gd name="T83" fmla="*/ 312 h 743"/>
              <a:gd name="T84" fmla="*/ 1030 w 2807"/>
              <a:gd name="T85" fmla="*/ 282 h 743"/>
              <a:gd name="T86" fmla="*/ 855 w 2807"/>
              <a:gd name="T87" fmla="*/ 251 h 743"/>
              <a:gd name="T88" fmla="*/ 725 w 2807"/>
              <a:gd name="T89" fmla="*/ 221 h 743"/>
              <a:gd name="T90" fmla="*/ 594 w 2807"/>
              <a:gd name="T91" fmla="*/ 185 h 743"/>
              <a:gd name="T92" fmla="*/ 465 w 2807"/>
              <a:gd name="T93" fmla="*/ 143 h 743"/>
              <a:gd name="T94" fmla="*/ 336 w 2807"/>
              <a:gd name="T95" fmla="*/ 94 h 743"/>
              <a:gd name="T96" fmla="*/ 251 w 2807"/>
              <a:gd name="T97" fmla="*/ 58 h 743"/>
              <a:gd name="T98" fmla="*/ 122 w 2807"/>
              <a:gd name="T99" fmla="*/ 0 h 743"/>
              <a:gd name="T100" fmla="*/ 119 w 2807"/>
              <a:gd name="T101" fmla="*/ 19 h 743"/>
              <a:gd name="T102" fmla="*/ 121 w 2807"/>
              <a:gd name="T103" fmla="*/ 51 h 743"/>
              <a:gd name="T104" fmla="*/ 136 w 2807"/>
              <a:gd name="T105" fmla="*/ 96 h 743"/>
              <a:gd name="T106" fmla="*/ 171 w 2807"/>
              <a:gd name="T107" fmla="*/ 156 h 743"/>
              <a:gd name="T108" fmla="*/ 207 w 2807"/>
              <a:gd name="T109" fmla="*/ 204 h 743"/>
              <a:gd name="T110" fmla="*/ 151 w 2807"/>
              <a:gd name="T111" fmla="*/ 199 h 743"/>
              <a:gd name="T112" fmla="*/ 98 w 2807"/>
              <a:gd name="T113" fmla="*/ 204 h 743"/>
              <a:gd name="T114" fmla="*/ 69 w 2807"/>
              <a:gd name="T115" fmla="*/ 215 h 743"/>
              <a:gd name="T116" fmla="*/ 32 w 2807"/>
              <a:gd name="T117" fmla="*/ 244 h 743"/>
              <a:gd name="T118" fmla="*/ 7 w 2807"/>
              <a:gd name="T119" fmla="*/ 272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07" h="743">
                <a:moveTo>
                  <a:pt x="0" y="284"/>
                </a:moveTo>
                <a:lnTo>
                  <a:pt x="0" y="284"/>
                </a:lnTo>
                <a:lnTo>
                  <a:pt x="87" y="343"/>
                </a:lnTo>
                <a:lnTo>
                  <a:pt x="127" y="369"/>
                </a:lnTo>
                <a:lnTo>
                  <a:pt x="166" y="394"/>
                </a:lnTo>
                <a:lnTo>
                  <a:pt x="203" y="417"/>
                </a:lnTo>
                <a:lnTo>
                  <a:pt x="241" y="438"/>
                </a:lnTo>
                <a:lnTo>
                  <a:pt x="280" y="460"/>
                </a:lnTo>
                <a:lnTo>
                  <a:pt x="319" y="479"/>
                </a:lnTo>
                <a:lnTo>
                  <a:pt x="319" y="479"/>
                </a:lnTo>
                <a:lnTo>
                  <a:pt x="372" y="504"/>
                </a:lnTo>
                <a:lnTo>
                  <a:pt x="430" y="529"/>
                </a:lnTo>
                <a:lnTo>
                  <a:pt x="495" y="556"/>
                </a:lnTo>
                <a:lnTo>
                  <a:pt x="565" y="581"/>
                </a:lnTo>
                <a:lnTo>
                  <a:pt x="603" y="595"/>
                </a:lnTo>
                <a:lnTo>
                  <a:pt x="642" y="607"/>
                </a:lnTo>
                <a:lnTo>
                  <a:pt x="682" y="620"/>
                </a:lnTo>
                <a:lnTo>
                  <a:pt x="724" y="633"/>
                </a:lnTo>
                <a:lnTo>
                  <a:pt x="767" y="644"/>
                </a:lnTo>
                <a:lnTo>
                  <a:pt x="811" y="655"/>
                </a:lnTo>
                <a:lnTo>
                  <a:pt x="857" y="666"/>
                </a:lnTo>
                <a:lnTo>
                  <a:pt x="903" y="677"/>
                </a:lnTo>
                <a:lnTo>
                  <a:pt x="952" y="687"/>
                </a:lnTo>
                <a:lnTo>
                  <a:pt x="1001" y="696"/>
                </a:lnTo>
                <a:lnTo>
                  <a:pt x="1052" y="705"/>
                </a:lnTo>
                <a:lnTo>
                  <a:pt x="1104" y="713"/>
                </a:lnTo>
                <a:lnTo>
                  <a:pt x="1157" y="719"/>
                </a:lnTo>
                <a:lnTo>
                  <a:pt x="1212" y="727"/>
                </a:lnTo>
                <a:lnTo>
                  <a:pt x="1267" y="732"/>
                </a:lnTo>
                <a:lnTo>
                  <a:pt x="1324" y="736"/>
                </a:lnTo>
                <a:lnTo>
                  <a:pt x="1382" y="739"/>
                </a:lnTo>
                <a:lnTo>
                  <a:pt x="1442" y="741"/>
                </a:lnTo>
                <a:lnTo>
                  <a:pt x="1502" y="743"/>
                </a:lnTo>
                <a:lnTo>
                  <a:pt x="1563" y="742"/>
                </a:lnTo>
                <a:lnTo>
                  <a:pt x="1626" y="741"/>
                </a:lnTo>
                <a:lnTo>
                  <a:pt x="1689" y="738"/>
                </a:lnTo>
                <a:lnTo>
                  <a:pt x="1754" y="734"/>
                </a:lnTo>
                <a:lnTo>
                  <a:pt x="1819" y="729"/>
                </a:lnTo>
                <a:lnTo>
                  <a:pt x="1819" y="729"/>
                </a:lnTo>
                <a:lnTo>
                  <a:pt x="1881" y="723"/>
                </a:lnTo>
                <a:lnTo>
                  <a:pt x="1941" y="714"/>
                </a:lnTo>
                <a:lnTo>
                  <a:pt x="1999" y="706"/>
                </a:lnTo>
                <a:lnTo>
                  <a:pt x="2054" y="697"/>
                </a:lnTo>
                <a:lnTo>
                  <a:pt x="2108" y="688"/>
                </a:lnTo>
                <a:lnTo>
                  <a:pt x="2159" y="678"/>
                </a:lnTo>
                <a:lnTo>
                  <a:pt x="2209" y="666"/>
                </a:lnTo>
                <a:lnTo>
                  <a:pt x="2257" y="655"/>
                </a:lnTo>
                <a:lnTo>
                  <a:pt x="2302" y="643"/>
                </a:lnTo>
                <a:lnTo>
                  <a:pt x="2346" y="631"/>
                </a:lnTo>
                <a:lnTo>
                  <a:pt x="2387" y="618"/>
                </a:lnTo>
                <a:lnTo>
                  <a:pt x="2426" y="605"/>
                </a:lnTo>
                <a:lnTo>
                  <a:pt x="2464" y="593"/>
                </a:lnTo>
                <a:lnTo>
                  <a:pt x="2500" y="579"/>
                </a:lnTo>
                <a:lnTo>
                  <a:pt x="2533" y="566"/>
                </a:lnTo>
                <a:lnTo>
                  <a:pt x="2564" y="554"/>
                </a:lnTo>
                <a:lnTo>
                  <a:pt x="2622" y="528"/>
                </a:lnTo>
                <a:lnTo>
                  <a:pt x="2672" y="505"/>
                </a:lnTo>
                <a:lnTo>
                  <a:pt x="2713" y="483"/>
                </a:lnTo>
                <a:lnTo>
                  <a:pt x="2747" y="465"/>
                </a:lnTo>
                <a:lnTo>
                  <a:pt x="2773" y="449"/>
                </a:lnTo>
                <a:lnTo>
                  <a:pt x="2792" y="436"/>
                </a:lnTo>
                <a:lnTo>
                  <a:pt x="2807" y="426"/>
                </a:lnTo>
                <a:lnTo>
                  <a:pt x="2807" y="426"/>
                </a:lnTo>
                <a:lnTo>
                  <a:pt x="2786" y="419"/>
                </a:lnTo>
                <a:lnTo>
                  <a:pt x="2766" y="410"/>
                </a:lnTo>
                <a:lnTo>
                  <a:pt x="2745" y="402"/>
                </a:lnTo>
                <a:lnTo>
                  <a:pt x="2726" y="391"/>
                </a:lnTo>
                <a:lnTo>
                  <a:pt x="2706" y="382"/>
                </a:lnTo>
                <a:lnTo>
                  <a:pt x="2688" y="372"/>
                </a:lnTo>
                <a:lnTo>
                  <a:pt x="2651" y="349"/>
                </a:lnTo>
                <a:lnTo>
                  <a:pt x="2618" y="327"/>
                </a:lnTo>
                <a:lnTo>
                  <a:pt x="2586" y="303"/>
                </a:lnTo>
                <a:lnTo>
                  <a:pt x="2556" y="280"/>
                </a:lnTo>
                <a:lnTo>
                  <a:pt x="2529" y="256"/>
                </a:lnTo>
                <a:lnTo>
                  <a:pt x="2529" y="256"/>
                </a:lnTo>
                <a:lnTo>
                  <a:pt x="2524" y="266"/>
                </a:lnTo>
                <a:lnTo>
                  <a:pt x="2521" y="279"/>
                </a:lnTo>
                <a:lnTo>
                  <a:pt x="2518" y="294"/>
                </a:lnTo>
                <a:lnTo>
                  <a:pt x="2515" y="312"/>
                </a:lnTo>
                <a:lnTo>
                  <a:pt x="2515" y="312"/>
                </a:lnTo>
                <a:lnTo>
                  <a:pt x="2507" y="381"/>
                </a:lnTo>
                <a:lnTo>
                  <a:pt x="2503" y="414"/>
                </a:lnTo>
                <a:lnTo>
                  <a:pt x="2503" y="414"/>
                </a:lnTo>
                <a:lnTo>
                  <a:pt x="2499" y="413"/>
                </a:lnTo>
                <a:lnTo>
                  <a:pt x="2489" y="410"/>
                </a:lnTo>
                <a:lnTo>
                  <a:pt x="2470" y="403"/>
                </a:lnTo>
                <a:lnTo>
                  <a:pt x="2443" y="391"/>
                </a:lnTo>
                <a:lnTo>
                  <a:pt x="2443" y="391"/>
                </a:lnTo>
                <a:lnTo>
                  <a:pt x="2433" y="387"/>
                </a:lnTo>
                <a:lnTo>
                  <a:pt x="2423" y="381"/>
                </a:lnTo>
                <a:lnTo>
                  <a:pt x="2413" y="374"/>
                </a:lnTo>
                <a:lnTo>
                  <a:pt x="2403" y="366"/>
                </a:lnTo>
                <a:lnTo>
                  <a:pt x="2392" y="357"/>
                </a:lnTo>
                <a:lnTo>
                  <a:pt x="2381" y="347"/>
                </a:lnTo>
                <a:lnTo>
                  <a:pt x="2371" y="336"/>
                </a:lnTo>
                <a:lnTo>
                  <a:pt x="2361" y="324"/>
                </a:lnTo>
                <a:lnTo>
                  <a:pt x="2351" y="312"/>
                </a:lnTo>
                <a:lnTo>
                  <a:pt x="2342" y="297"/>
                </a:lnTo>
                <a:lnTo>
                  <a:pt x="2334" y="283"/>
                </a:lnTo>
                <a:lnTo>
                  <a:pt x="2326" y="268"/>
                </a:lnTo>
                <a:lnTo>
                  <a:pt x="2320" y="251"/>
                </a:lnTo>
                <a:lnTo>
                  <a:pt x="2316" y="235"/>
                </a:lnTo>
                <a:lnTo>
                  <a:pt x="2312" y="216"/>
                </a:lnTo>
                <a:lnTo>
                  <a:pt x="2310" y="199"/>
                </a:lnTo>
                <a:lnTo>
                  <a:pt x="2310" y="199"/>
                </a:lnTo>
                <a:lnTo>
                  <a:pt x="2309" y="174"/>
                </a:lnTo>
                <a:lnTo>
                  <a:pt x="2309" y="174"/>
                </a:lnTo>
                <a:lnTo>
                  <a:pt x="2252" y="195"/>
                </a:lnTo>
                <a:lnTo>
                  <a:pt x="2186" y="218"/>
                </a:lnTo>
                <a:lnTo>
                  <a:pt x="2149" y="231"/>
                </a:lnTo>
                <a:lnTo>
                  <a:pt x="2110" y="243"/>
                </a:lnTo>
                <a:lnTo>
                  <a:pt x="2069" y="254"/>
                </a:lnTo>
                <a:lnTo>
                  <a:pt x="2028" y="266"/>
                </a:lnTo>
                <a:lnTo>
                  <a:pt x="1984" y="277"/>
                </a:lnTo>
                <a:lnTo>
                  <a:pt x="1938" y="286"/>
                </a:lnTo>
                <a:lnTo>
                  <a:pt x="1892" y="295"/>
                </a:lnTo>
                <a:lnTo>
                  <a:pt x="1843" y="303"/>
                </a:lnTo>
                <a:lnTo>
                  <a:pt x="1795" y="311"/>
                </a:lnTo>
                <a:lnTo>
                  <a:pt x="1746" y="316"/>
                </a:lnTo>
                <a:lnTo>
                  <a:pt x="1697" y="319"/>
                </a:lnTo>
                <a:lnTo>
                  <a:pt x="1647" y="321"/>
                </a:lnTo>
                <a:lnTo>
                  <a:pt x="1647" y="321"/>
                </a:lnTo>
                <a:lnTo>
                  <a:pt x="1558" y="322"/>
                </a:lnTo>
                <a:lnTo>
                  <a:pt x="1470" y="321"/>
                </a:lnTo>
                <a:lnTo>
                  <a:pt x="1382" y="317"/>
                </a:lnTo>
                <a:lnTo>
                  <a:pt x="1293" y="312"/>
                </a:lnTo>
                <a:lnTo>
                  <a:pt x="1205" y="304"/>
                </a:lnTo>
                <a:lnTo>
                  <a:pt x="1118" y="294"/>
                </a:lnTo>
                <a:lnTo>
                  <a:pt x="1030" y="282"/>
                </a:lnTo>
                <a:lnTo>
                  <a:pt x="943" y="268"/>
                </a:lnTo>
                <a:lnTo>
                  <a:pt x="899" y="259"/>
                </a:lnTo>
                <a:lnTo>
                  <a:pt x="855" y="251"/>
                </a:lnTo>
                <a:lnTo>
                  <a:pt x="812" y="241"/>
                </a:lnTo>
                <a:lnTo>
                  <a:pt x="768" y="231"/>
                </a:lnTo>
                <a:lnTo>
                  <a:pt x="725" y="221"/>
                </a:lnTo>
                <a:lnTo>
                  <a:pt x="681" y="209"/>
                </a:lnTo>
                <a:lnTo>
                  <a:pt x="638" y="197"/>
                </a:lnTo>
                <a:lnTo>
                  <a:pt x="594" y="185"/>
                </a:lnTo>
                <a:lnTo>
                  <a:pt x="551" y="171"/>
                </a:lnTo>
                <a:lnTo>
                  <a:pt x="508" y="157"/>
                </a:lnTo>
                <a:lnTo>
                  <a:pt x="465" y="143"/>
                </a:lnTo>
                <a:lnTo>
                  <a:pt x="422" y="127"/>
                </a:lnTo>
                <a:lnTo>
                  <a:pt x="379" y="111"/>
                </a:lnTo>
                <a:lnTo>
                  <a:pt x="336" y="94"/>
                </a:lnTo>
                <a:lnTo>
                  <a:pt x="294" y="76"/>
                </a:lnTo>
                <a:lnTo>
                  <a:pt x="251" y="58"/>
                </a:lnTo>
                <a:lnTo>
                  <a:pt x="251" y="58"/>
                </a:lnTo>
                <a:lnTo>
                  <a:pt x="165" y="19"/>
                </a:lnTo>
                <a:lnTo>
                  <a:pt x="122" y="0"/>
                </a:lnTo>
                <a:lnTo>
                  <a:pt x="122" y="0"/>
                </a:lnTo>
                <a:lnTo>
                  <a:pt x="121" y="3"/>
                </a:lnTo>
                <a:lnTo>
                  <a:pt x="119" y="12"/>
                </a:lnTo>
                <a:lnTo>
                  <a:pt x="119" y="19"/>
                </a:lnTo>
                <a:lnTo>
                  <a:pt x="119" y="28"/>
                </a:lnTo>
                <a:lnTo>
                  <a:pt x="119" y="39"/>
                </a:lnTo>
                <a:lnTo>
                  <a:pt x="121" y="51"/>
                </a:lnTo>
                <a:lnTo>
                  <a:pt x="125" y="64"/>
                </a:lnTo>
                <a:lnTo>
                  <a:pt x="129" y="79"/>
                </a:lnTo>
                <a:lnTo>
                  <a:pt x="136" y="96"/>
                </a:lnTo>
                <a:lnTo>
                  <a:pt x="145" y="114"/>
                </a:lnTo>
                <a:lnTo>
                  <a:pt x="156" y="135"/>
                </a:lnTo>
                <a:lnTo>
                  <a:pt x="171" y="156"/>
                </a:lnTo>
                <a:lnTo>
                  <a:pt x="187" y="180"/>
                </a:lnTo>
                <a:lnTo>
                  <a:pt x="207" y="204"/>
                </a:lnTo>
                <a:lnTo>
                  <a:pt x="207" y="204"/>
                </a:lnTo>
                <a:lnTo>
                  <a:pt x="189" y="201"/>
                </a:lnTo>
                <a:lnTo>
                  <a:pt x="170" y="199"/>
                </a:lnTo>
                <a:lnTo>
                  <a:pt x="151" y="199"/>
                </a:lnTo>
                <a:lnTo>
                  <a:pt x="132" y="199"/>
                </a:lnTo>
                <a:lnTo>
                  <a:pt x="114" y="201"/>
                </a:lnTo>
                <a:lnTo>
                  <a:pt x="98" y="204"/>
                </a:lnTo>
                <a:lnTo>
                  <a:pt x="83" y="209"/>
                </a:lnTo>
                <a:lnTo>
                  <a:pt x="69" y="215"/>
                </a:lnTo>
                <a:lnTo>
                  <a:pt x="69" y="215"/>
                </a:lnTo>
                <a:lnTo>
                  <a:pt x="55" y="224"/>
                </a:lnTo>
                <a:lnTo>
                  <a:pt x="42" y="234"/>
                </a:lnTo>
                <a:lnTo>
                  <a:pt x="32" y="244"/>
                </a:lnTo>
                <a:lnTo>
                  <a:pt x="21" y="253"/>
                </a:lnTo>
                <a:lnTo>
                  <a:pt x="13" y="262"/>
                </a:lnTo>
                <a:lnTo>
                  <a:pt x="7" y="272"/>
                </a:lnTo>
                <a:lnTo>
                  <a:pt x="0" y="28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3" name="Freeform 31"/>
          <p:cNvSpPr>
            <a:spLocks/>
          </p:cNvSpPr>
          <p:nvPr userDrawn="1"/>
        </p:nvSpPr>
        <p:spPr bwMode="auto">
          <a:xfrm>
            <a:off x="7248526" y="1618954"/>
            <a:ext cx="377825" cy="271463"/>
          </a:xfrm>
          <a:custGeom>
            <a:avLst/>
            <a:gdLst>
              <a:gd name="T0" fmla="*/ 2491 w 2863"/>
              <a:gd name="T1" fmla="*/ 103 h 2054"/>
              <a:gd name="T2" fmla="*/ 2575 w 2863"/>
              <a:gd name="T3" fmla="*/ 23 h 2054"/>
              <a:gd name="T4" fmla="*/ 2196 w 2863"/>
              <a:gd name="T5" fmla="*/ 132 h 2054"/>
              <a:gd name="T6" fmla="*/ 1671 w 2863"/>
              <a:gd name="T7" fmla="*/ 429 h 2054"/>
              <a:gd name="T8" fmla="*/ 1528 w 2863"/>
              <a:gd name="T9" fmla="*/ 462 h 2054"/>
              <a:gd name="T10" fmla="*/ 1416 w 2863"/>
              <a:gd name="T11" fmla="*/ 568 h 2054"/>
              <a:gd name="T12" fmla="*/ 1409 w 2863"/>
              <a:gd name="T13" fmla="*/ 634 h 2054"/>
              <a:gd name="T14" fmla="*/ 1479 w 2863"/>
              <a:gd name="T15" fmla="*/ 748 h 2054"/>
              <a:gd name="T16" fmla="*/ 1586 w 2863"/>
              <a:gd name="T17" fmla="*/ 787 h 2054"/>
              <a:gd name="T18" fmla="*/ 1476 w 2863"/>
              <a:gd name="T19" fmla="*/ 974 h 2054"/>
              <a:gd name="T20" fmla="*/ 1133 w 2863"/>
              <a:gd name="T21" fmla="*/ 1199 h 2054"/>
              <a:gd name="T22" fmla="*/ 799 w 2863"/>
              <a:gd name="T23" fmla="*/ 1254 h 2054"/>
              <a:gd name="T24" fmla="*/ 634 w 2863"/>
              <a:gd name="T25" fmla="*/ 1102 h 2054"/>
              <a:gd name="T26" fmla="*/ 539 w 2863"/>
              <a:gd name="T27" fmla="*/ 1015 h 2054"/>
              <a:gd name="T28" fmla="*/ 406 w 2863"/>
              <a:gd name="T29" fmla="*/ 1023 h 2054"/>
              <a:gd name="T30" fmla="*/ 231 w 2863"/>
              <a:gd name="T31" fmla="*/ 1090 h 2054"/>
              <a:gd name="T32" fmla="*/ 382 w 2863"/>
              <a:gd name="T33" fmla="*/ 1121 h 2054"/>
              <a:gd name="T34" fmla="*/ 351 w 2863"/>
              <a:gd name="T35" fmla="*/ 1168 h 2054"/>
              <a:gd name="T36" fmla="*/ 418 w 2863"/>
              <a:gd name="T37" fmla="*/ 1270 h 2054"/>
              <a:gd name="T38" fmla="*/ 608 w 2863"/>
              <a:gd name="T39" fmla="*/ 1387 h 2054"/>
              <a:gd name="T40" fmla="*/ 314 w 2863"/>
              <a:gd name="T41" fmla="*/ 1296 h 2054"/>
              <a:gd name="T42" fmla="*/ 234 w 2863"/>
              <a:gd name="T43" fmla="*/ 1324 h 2054"/>
              <a:gd name="T44" fmla="*/ 77 w 2863"/>
              <a:gd name="T45" fmla="*/ 1367 h 2054"/>
              <a:gd name="T46" fmla="*/ 0 w 2863"/>
              <a:gd name="T47" fmla="*/ 1480 h 2054"/>
              <a:gd name="T48" fmla="*/ 63 w 2863"/>
              <a:gd name="T49" fmla="*/ 1501 h 2054"/>
              <a:gd name="T50" fmla="*/ 166 w 2863"/>
              <a:gd name="T51" fmla="*/ 1461 h 2054"/>
              <a:gd name="T52" fmla="*/ 187 w 2863"/>
              <a:gd name="T53" fmla="*/ 1573 h 2054"/>
              <a:gd name="T54" fmla="*/ 354 w 2863"/>
              <a:gd name="T55" fmla="*/ 1597 h 2054"/>
              <a:gd name="T56" fmla="*/ 616 w 2863"/>
              <a:gd name="T57" fmla="*/ 1588 h 2054"/>
              <a:gd name="T58" fmla="*/ 382 w 2863"/>
              <a:gd name="T59" fmla="*/ 1636 h 2054"/>
              <a:gd name="T60" fmla="*/ 295 w 2863"/>
              <a:gd name="T61" fmla="*/ 1696 h 2054"/>
              <a:gd name="T62" fmla="*/ 254 w 2863"/>
              <a:gd name="T63" fmla="*/ 1795 h 2054"/>
              <a:gd name="T64" fmla="*/ 239 w 2863"/>
              <a:gd name="T65" fmla="*/ 1953 h 2054"/>
              <a:gd name="T66" fmla="*/ 335 w 2863"/>
              <a:gd name="T67" fmla="*/ 2045 h 2054"/>
              <a:gd name="T68" fmla="*/ 341 w 2863"/>
              <a:gd name="T69" fmla="*/ 1906 h 2054"/>
              <a:gd name="T70" fmla="*/ 417 w 2863"/>
              <a:gd name="T71" fmla="*/ 1946 h 2054"/>
              <a:gd name="T72" fmla="*/ 509 w 2863"/>
              <a:gd name="T73" fmla="*/ 1935 h 2054"/>
              <a:gd name="T74" fmla="*/ 732 w 2863"/>
              <a:gd name="T75" fmla="*/ 1733 h 2054"/>
              <a:gd name="T76" fmla="*/ 874 w 2863"/>
              <a:gd name="T77" fmla="*/ 1691 h 2054"/>
              <a:gd name="T78" fmla="*/ 870 w 2863"/>
              <a:gd name="T79" fmla="*/ 1786 h 2054"/>
              <a:gd name="T80" fmla="*/ 945 w 2863"/>
              <a:gd name="T81" fmla="*/ 1834 h 2054"/>
              <a:gd name="T82" fmla="*/ 875 w 2863"/>
              <a:gd name="T83" fmla="*/ 1948 h 2054"/>
              <a:gd name="T84" fmla="*/ 1004 w 2863"/>
              <a:gd name="T85" fmla="*/ 1919 h 2054"/>
              <a:gd name="T86" fmla="*/ 1100 w 2863"/>
              <a:gd name="T87" fmla="*/ 1787 h 2054"/>
              <a:gd name="T88" fmla="*/ 1159 w 2863"/>
              <a:gd name="T89" fmla="*/ 1734 h 2054"/>
              <a:gd name="T90" fmla="*/ 1183 w 2863"/>
              <a:gd name="T91" fmla="*/ 1628 h 2054"/>
              <a:gd name="T92" fmla="*/ 1338 w 2863"/>
              <a:gd name="T93" fmla="*/ 1564 h 2054"/>
              <a:gd name="T94" fmla="*/ 1370 w 2863"/>
              <a:gd name="T95" fmla="*/ 1465 h 2054"/>
              <a:gd name="T96" fmla="*/ 1461 w 2863"/>
              <a:gd name="T97" fmla="*/ 1462 h 2054"/>
              <a:gd name="T98" fmla="*/ 1684 w 2863"/>
              <a:gd name="T99" fmla="*/ 1556 h 2054"/>
              <a:gd name="T100" fmla="*/ 1888 w 2863"/>
              <a:gd name="T101" fmla="*/ 1440 h 2054"/>
              <a:gd name="T102" fmla="*/ 1799 w 2863"/>
              <a:gd name="T103" fmla="*/ 1308 h 2054"/>
              <a:gd name="T104" fmla="*/ 1857 w 2863"/>
              <a:gd name="T105" fmla="*/ 1327 h 2054"/>
              <a:gd name="T106" fmla="*/ 2183 w 2863"/>
              <a:gd name="T107" fmla="*/ 1273 h 2054"/>
              <a:gd name="T108" fmla="*/ 2142 w 2863"/>
              <a:gd name="T109" fmla="*/ 1164 h 2054"/>
              <a:gd name="T110" fmla="*/ 2112 w 2863"/>
              <a:gd name="T111" fmla="*/ 1069 h 2054"/>
              <a:gd name="T112" fmla="*/ 2121 w 2863"/>
              <a:gd name="T113" fmla="*/ 977 h 2054"/>
              <a:gd name="T114" fmla="*/ 2085 w 2863"/>
              <a:gd name="T115" fmla="*/ 807 h 2054"/>
              <a:gd name="T116" fmla="*/ 2859 w 2863"/>
              <a:gd name="T117" fmla="*/ 408 h 2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63" h="2054">
                <a:moveTo>
                  <a:pt x="2759" y="252"/>
                </a:moveTo>
                <a:lnTo>
                  <a:pt x="2759" y="252"/>
                </a:lnTo>
                <a:lnTo>
                  <a:pt x="2742" y="239"/>
                </a:lnTo>
                <a:lnTo>
                  <a:pt x="2725" y="227"/>
                </a:lnTo>
                <a:lnTo>
                  <a:pt x="2708" y="214"/>
                </a:lnTo>
                <a:lnTo>
                  <a:pt x="2690" y="203"/>
                </a:lnTo>
                <a:lnTo>
                  <a:pt x="2655" y="184"/>
                </a:lnTo>
                <a:lnTo>
                  <a:pt x="2621" y="165"/>
                </a:lnTo>
                <a:lnTo>
                  <a:pt x="2586" y="148"/>
                </a:lnTo>
                <a:lnTo>
                  <a:pt x="2553" y="133"/>
                </a:lnTo>
                <a:lnTo>
                  <a:pt x="2522" y="118"/>
                </a:lnTo>
                <a:lnTo>
                  <a:pt x="2491" y="103"/>
                </a:lnTo>
                <a:lnTo>
                  <a:pt x="2491" y="103"/>
                </a:lnTo>
                <a:lnTo>
                  <a:pt x="2507" y="93"/>
                </a:lnTo>
                <a:lnTo>
                  <a:pt x="2523" y="82"/>
                </a:lnTo>
                <a:lnTo>
                  <a:pt x="2540" y="68"/>
                </a:lnTo>
                <a:lnTo>
                  <a:pt x="2556" y="54"/>
                </a:lnTo>
                <a:lnTo>
                  <a:pt x="2570" y="41"/>
                </a:lnTo>
                <a:lnTo>
                  <a:pt x="2574" y="35"/>
                </a:lnTo>
                <a:lnTo>
                  <a:pt x="2577" y="30"/>
                </a:lnTo>
                <a:lnTo>
                  <a:pt x="2577" y="26"/>
                </a:lnTo>
                <a:lnTo>
                  <a:pt x="2577" y="24"/>
                </a:lnTo>
                <a:lnTo>
                  <a:pt x="2575" y="23"/>
                </a:lnTo>
                <a:lnTo>
                  <a:pt x="2575" y="23"/>
                </a:lnTo>
                <a:lnTo>
                  <a:pt x="2562" y="16"/>
                </a:lnTo>
                <a:lnTo>
                  <a:pt x="2550" y="10"/>
                </a:lnTo>
                <a:lnTo>
                  <a:pt x="2538" y="6"/>
                </a:lnTo>
                <a:lnTo>
                  <a:pt x="2527" y="4"/>
                </a:lnTo>
                <a:lnTo>
                  <a:pt x="2508" y="1"/>
                </a:lnTo>
                <a:lnTo>
                  <a:pt x="2501" y="0"/>
                </a:lnTo>
                <a:lnTo>
                  <a:pt x="2501" y="0"/>
                </a:lnTo>
                <a:lnTo>
                  <a:pt x="2440" y="24"/>
                </a:lnTo>
                <a:lnTo>
                  <a:pt x="2377" y="50"/>
                </a:lnTo>
                <a:lnTo>
                  <a:pt x="2317" y="76"/>
                </a:lnTo>
                <a:lnTo>
                  <a:pt x="2256" y="103"/>
                </a:lnTo>
                <a:lnTo>
                  <a:pt x="2196" y="132"/>
                </a:lnTo>
                <a:lnTo>
                  <a:pt x="2138" y="160"/>
                </a:lnTo>
                <a:lnTo>
                  <a:pt x="2081" y="189"/>
                </a:lnTo>
                <a:lnTo>
                  <a:pt x="2026" y="219"/>
                </a:lnTo>
                <a:lnTo>
                  <a:pt x="1972" y="247"/>
                </a:lnTo>
                <a:lnTo>
                  <a:pt x="1921" y="276"/>
                </a:lnTo>
                <a:lnTo>
                  <a:pt x="1872" y="303"/>
                </a:lnTo>
                <a:lnTo>
                  <a:pt x="1825" y="331"/>
                </a:lnTo>
                <a:lnTo>
                  <a:pt x="1782" y="358"/>
                </a:lnTo>
                <a:lnTo>
                  <a:pt x="1741" y="383"/>
                </a:lnTo>
                <a:lnTo>
                  <a:pt x="1705" y="407"/>
                </a:lnTo>
                <a:lnTo>
                  <a:pt x="1671" y="429"/>
                </a:lnTo>
                <a:lnTo>
                  <a:pt x="1671" y="429"/>
                </a:lnTo>
                <a:lnTo>
                  <a:pt x="1666" y="432"/>
                </a:lnTo>
                <a:lnTo>
                  <a:pt x="1666" y="432"/>
                </a:lnTo>
                <a:lnTo>
                  <a:pt x="1654" y="439"/>
                </a:lnTo>
                <a:lnTo>
                  <a:pt x="1643" y="446"/>
                </a:lnTo>
                <a:lnTo>
                  <a:pt x="1632" y="451"/>
                </a:lnTo>
                <a:lnTo>
                  <a:pt x="1620" y="455"/>
                </a:lnTo>
                <a:lnTo>
                  <a:pt x="1608" y="458"/>
                </a:lnTo>
                <a:lnTo>
                  <a:pt x="1597" y="461"/>
                </a:lnTo>
                <a:lnTo>
                  <a:pt x="1585" y="462"/>
                </a:lnTo>
                <a:lnTo>
                  <a:pt x="1574" y="463"/>
                </a:lnTo>
                <a:lnTo>
                  <a:pt x="1550" y="464"/>
                </a:lnTo>
                <a:lnTo>
                  <a:pt x="1528" y="462"/>
                </a:lnTo>
                <a:lnTo>
                  <a:pt x="1505" y="459"/>
                </a:lnTo>
                <a:lnTo>
                  <a:pt x="1485" y="454"/>
                </a:lnTo>
                <a:lnTo>
                  <a:pt x="1465" y="449"/>
                </a:lnTo>
                <a:lnTo>
                  <a:pt x="1448" y="442"/>
                </a:lnTo>
                <a:lnTo>
                  <a:pt x="1433" y="436"/>
                </a:lnTo>
                <a:lnTo>
                  <a:pt x="1418" y="430"/>
                </a:lnTo>
                <a:lnTo>
                  <a:pt x="1399" y="420"/>
                </a:lnTo>
                <a:lnTo>
                  <a:pt x="1393" y="416"/>
                </a:lnTo>
                <a:lnTo>
                  <a:pt x="1372" y="544"/>
                </a:lnTo>
                <a:lnTo>
                  <a:pt x="1372" y="544"/>
                </a:lnTo>
                <a:lnTo>
                  <a:pt x="1395" y="557"/>
                </a:lnTo>
                <a:lnTo>
                  <a:pt x="1416" y="568"/>
                </a:lnTo>
                <a:lnTo>
                  <a:pt x="1437" y="577"/>
                </a:lnTo>
                <a:lnTo>
                  <a:pt x="1454" y="586"/>
                </a:lnTo>
                <a:lnTo>
                  <a:pt x="1470" y="592"/>
                </a:lnTo>
                <a:lnTo>
                  <a:pt x="1486" y="596"/>
                </a:lnTo>
                <a:lnTo>
                  <a:pt x="1499" y="600"/>
                </a:lnTo>
                <a:lnTo>
                  <a:pt x="1510" y="602"/>
                </a:lnTo>
                <a:lnTo>
                  <a:pt x="1510" y="602"/>
                </a:lnTo>
                <a:lnTo>
                  <a:pt x="1491" y="606"/>
                </a:lnTo>
                <a:lnTo>
                  <a:pt x="1470" y="611"/>
                </a:lnTo>
                <a:lnTo>
                  <a:pt x="1450" y="617"/>
                </a:lnTo>
                <a:lnTo>
                  <a:pt x="1428" y="625"/>
                </a:lnTo>
                <a:lnTo>
                  <a:pt x="1409" y="634"/>
                </a:lnTo>
                <a:lnTo>
                  <a:pt x="1391" y="645"/>
                </a:lnTo>
                <a:lnTo>
                  <a:pt x="1381" y="650"/>
                </a:lnTo>
                <a:lnTo>
                  <a:pt x="1373" y="656"/>
                </a:lnTo>
                <a:lnTo>
                  <a:pt x="1366" y="663"/>
                </a:lnTo>
                <a:lnTo>
                  <a:pt x="1360" y="670"/>
                </a:lnTo>
                <a:lnTo>
                  <a:pt x="1404" y="788"/>
                </a:lnTo>
                <a:lnTo>
                  <a:pt x="1404" y="788"/>
                </a:lnTo>
                <a:lnTo>
                  <a:pt x="1416" y="779"/>
                </a:lnTo>
                <a:lnTo>
                  <a:pt x="1432" y="770"/>
                </a:lnTo>
                <a:lnTo>
                  <a:pt x="1453" y="758"/>
                </a:lnTo>
                <a:lnTo>
                  <a:pt x="1465" y="753"/>
                </a:lnTo>
                <a:lnTo>
                  <a:pt x="1479" y="748"/>
                </a:lnTo>
                <a:lnTo>
                  <a:pt x="1494" y="743"/>
                </a:lnTo>
                <a:lnTo>
                  <a:pt x="1509" y="738"/>
                </a:lnTo>
                <a:lnTo>
                  <a:pt x="1527" y="734"/>
                </a:lnTo>
                <a:lnTo>
                  <a:pt x="1545" y="731"/>
                </a:lnTo>
                <a:lnTo>
                  <a:pt x="1564" y="729"/>
                </a:lnTo>
                <a:lnTo>
                  <a:pt x="1585" y="728"/>
                </a:lnTo>
                <a:lnTo>
                  <a:pt x="1585" y="728"/>
                </a:lnTo>
                <a:lnTo>
                  <a:pt x="1588" y="744"/>
                </a:lnTo>
                <a:lnTo>
                  <a:pt x="1588" y="744"/>
                </a:lnTo>
                <a:lnTo>
                  <a:pt x="1588" y="758"/>
                </a:lnTo>
                <a:lnTo>
                  <a:pt x="1588" y="773"/>
                </a:lnTo>
                <a:lnTo>
                  <a:pt x="1586" y="787"/>
                </a:lnTo>
                <a:lnTo>
                  <a:pt x="1583" y="802"/>
                </a:lnTo>
                <a:lnTo>
                  <a:pt x="1578" y="818"/>
                </a:lnTo>
                <a:lnTo>
                  <a:pt x="1573" y="833"/>
                </a:lnTo>
                <a:lnTo>
                  <a:pt x="1565" y="848"/>
                </a:lnTo>
                <a:lnTo>
                  <a:pt x="1557" y="864"/>
                </a:lnTo>
                <a:lnTo>
                  <a:pt x="1549" y="880"/>
                </a:lnTo>
                <a:lnTo>
                  <a:pt x="1539" y="895"/>
                </a:lnTo>
                <a:lnTo>
                  <a:pt x="1528" y="912"/>
                </a:lnTo>
                <a:lnTo>
                  <a:pt x="1516" y="927"/>
                </a:lnTo>
                <a:lnTo>
                  <a:pt x="1503" y="943"/>
                </a:lnTo>
                <a:lnTo>
                  <a:pt x="1490" y="959"/>
                </a:lnTo>
                <a:lnTo>
                  <a:pt x="1476" y="974"/>
                </a:lnTo>
                <a:lnTo>
                  <a:pt x="1461" y="989"/>
                </a:lnTo>
                <a:lnTo>
                  <a:pt x="1429" y="1020"/>
                </a:lnTo>
                <a:lnTo>
                  <a:pt x="1396" y="1049"/>
                </a:lnTo>
                <a:lnTo>
                  <a:pt x="1360" y="1076"/>
                </a:lnTo>
                <a:lnTo>
                  <a:pt x="1323" y="1102"/>
                </a:lnTo>
                <a:lnTo>
                  <a:pt x="1285" y="1126"/>
                </a:lnTo>
                <a:lnTo>
                  <a:pt x="1247" y="1148"/>
                </a:lnTo>
                <a:lnTo>
                  <a:pt x="1209" y="1167"/>
                </a:lnTo>
                <a:lnTo>
                  <a:pt x="1189" y="1177"/>
                </a:lnTo>
                <a:lnTo>
                  <a:pt x="1171" y="1185"/>
                </a:lnTo>
                <a:lnTo>
                  <a:pt x="1171" y="1185"/>
                </a:lnTo>
                <a:lnTo>
                  <a:pt x="1133" y="1199"/>
                </a:lnTo>
                <a:lnTo>
                  <a:pt x="1095" y="1211"/>
                </a:lnTo>
                <a:lnTo>
                  <a:pt x="1060" y="1223"/>
                </a:lnTo>
                <a:lnTo>
                  <a:pt x="1026" y="1232"/>
                </a:lnTo>
                <a:lnTo>
                  <a:pt x="993" y="1240"/>
                </a:lnTo>
                <a:lnTo>
                  <a:pt x="962" y="1246"/>
                </a:lnTo>
                <a:lnTo>
                  <a:pt x="933" y="1250"/>
                </a:lnTo>
                <a:lnTo>
                  <a:pt x="905" y="1254"/>
                </a:lnTo>
                <a:lnTo>
                  <a:pt x="879" y="1256"/>
                </a:lnTo>
                <a:lnTo>
                  <a:pt x="856" y="1257"/>
                </a:lnTo>
                <a:lnTo>
                  <a:pt x="834" y="1257"/>
                </a:lnTo>
                <a:lnTo>
                  <a:pt x="815" y="1256"/>
                </a:lnTo>
                <a:lnTo>
                  <a:pt x="799" y="1254"/>
                </a:lnTo>
                <a:lnTo>
                  <a:pt x="785" y="1251"/>
                </a:lnTo>
                <a:lnTo>
                  <a:pt x="774" y="1247"/>
                </a:lnTo>
                <a:lnTo>
                  <a:pt x="765" y="1243"/>
                </a:lnTo>
                <a:lnTo>
                  <a:pt x="765" y="1243"/>
                </a:lnTo>
                <a:lnTo>
                  <a:pt x="741" y="1227"/>
                </a:lnTo>
                <a:lnTo>
                  <a:pt x="720" y="1209"/>
                </a:lnTo>
                <a:lnTo>
                  <a:pt x="701" y="1191"/>
                </a:lnTo>
                <a:lnTo>
                  <a:pt x="685" y="1172"/>
                </a:lnTo>
                <a:lnTo>
                  <a:pt x="670" y="1155"/>
                </a:lnTo>
                <a:lnTo>
                  <a:pt x="656" y="1137"/>
                </a:lnTo>
                <a:lnTo>
                  <a:pt x="645" y="1119"/>
                </a:lnTo>
                <a:lnTo>
                  <a:pt x="634" y="1102"/>
                </a:lnTo>
                <a:lnTo>
                  <a:pt x="615" y="1071"/>
                </a:lnTo>
                <a:lnTo>
                  <a:pt x="605" y="1057"/>
                </a:lnTo>
                <a:lnTo>
                  <a:pt x="596" y="1045"/>
                </a:lnTo>
                <a:lnTo>
                  <a:pt x="587" y="1033"/>
                </a:lnTo>
                <a:lnTo>
                  <a:pt x="577" y="1025"/>
                </a:lnTo>
                <a:lnTo>
                  <a:pt x="565" y="1018"/>
                </a:lnTo>
                <a:lnTo>
                  <a:pt x="559" y="1015"/>
                </a:lnTo>
                <a:lnTo>
                  <a:pt x="553" y="1013"/>
                </a:lnTo>
                <a:lnTo>
                  <a:pt x="553" y="1013"/>
                </a:lnTo>
                <a:lnTo>
                  <a:pt x="549" y="1013"/>
                </a:lnTo>
                <a:lnTo>
                  <a:pt x="546" y="1013"/>
                </a:lnTo>
                <a:lnTo>
                  <a:pt x="539" y="1015"/>
                </a:lnTo>
                <a:lnTo>
                  <a:pt x="532" y="1018"/>
                </a:lnTo>
                <a:lnTo>
                  <a:pt x="524" y="1022"/>
                </a:lnTo>
                <a:lnTo>
                  <a:pt x="516" y="1026"/>
                </a:lnTo>
                <a:lnTo>
                  <a:pt x="507" y="1029"/>
                </a:lnTo>
                <a:lnTo>
                  <a:pt x="499" y="1031"/>
                </a:lnTo>
                <a:lnTo>
                  <a:pt x="494" y="1031"/>
                </a:lnTo>
                <a:lnTo>
                  <a:pt x="489" y="1031"/>
                </a:lnTo>
                <a:lnTo>
                  <a:pt x="489" y="1031"/>
                </a:lnTo>
                <a:lnTo>
                  <a:pt x="468" y="1028"/>
                </a:lnTo>
                <a:lnTo>
                  <a:pt x="448" y="1025"/>
                </a:lnTo>
                <a:lnTo>
                  <a:pt x="427" y="1024"/>
                </a:lnTo>
                <a:lnTo>
                  <a:pt x="406" y="1023"/>
                </a:lnTo>
                <a:lnTo>
                  <a:pt x="386" y="1023"/>
                </a:lnTo>
                <a:lnTo>
                  <a:pt x="366" y="1025"/>
                </a:lnTo>
                <a:lnTo>
                  <a:pt x="347" y="1027"/>
                </a:lnTo>
                <a:lnTo>
                  <a:pt x="327" y="1031"/>
                </a:lnTo>
                <a:lnTo>
                  <a:pt x="309" y="1035"/>
                </a:lnTo>
                <a:lnTo>
                  <a:pt x="292" y="1043"/>
                </a:lnTo>
                <a:lnTo>
                  <a:pt x="276" y="1050"/>
                </a:lnTo>
                <a:lnTo>
                  <a:pt x="262" y="1059"/>
                </a:lnTo>
                <a:lnTo>
                  <a:pt x="248" y="1070"/>
                </a:lnTo>
                <a:lnTo>
                  <a:pt x="242" y="1076"/>
                </a:lnTo>
                <a:lnTo>
                  <a:pt x="236" y="1082"/>
                </a:lnTo>
                <a:lnTo>
                  <a:pt x="231" y="1090"/>
                </a:lnTo>
                <a:lnTo>
                  <a:pt x="227" y="1098"/>
                </a:lnTo>
                <a:lnTo>
                  <a:pt x="223" y="1105"/>
                </a:lnTo>
                <a:lnTo>
                  <a:pt x="219" y="1114"/>
                </a:lnTo>
                <a:lnTo>
                  <a:pt x="219" y="1114"/>
                </a:lnTo>
                <a:lnTo>
                  <a:pt x="257" y="1112"/>
                </a:lnTo>
                <a:lnTo>
                  <a:pt x="292" y="1111"/>
                </a:lnTo>
                <a:lnTo>
                  <a:pt x="312" y="1111"/>
                </a:lnTo>
                <a:lnTo>
                  <a:pt x="331" y="1112"/>
                </a:lnTo>
                <a:lnTo>
                  <a:pt x="349" y="1113"/>
                </a:lnTo>
                <a:lnTo>
                  <a:pt x="364" y="1116"/>
                </a:lnTo>
                <a:lnTo>
                  <a:pt x="377" y="1119"/>
                </a:lnTo>
                <a:lnTo>
                  <a:pt x="382" y="1121"/>
                </a:lnTo>
                <a:lnTo>
                  <a:pt x="387" y="1123"/>
                </a:lnTo>
                <a:lnTo>
                  <a:pt x="389" y="1126"/>
                </a:lnTo>
                <a:lnTo>
                  <a:pt x="391" y="1130"/>
                </a:lnTo>
                <a:lnTo>
                  <a:pt x="391" y="1133"/>
                </a:lnTo>
                <a:lnTo>
                  <a:pt x="389" y="1137"/>
                </a:lnTo>
                <a:lnTo>
                  <a:pt x="386" y="1141"/>
                </a:lnTo>
                <a:lnTo>
                  <a:pt x="381" y="1146"/>
                </a:lnTo>
                <a:lnTo>
                  <a:pt x="374" y="1151"/>
                </a:lnTo>
                <a:lnTo>
                  <a:pt x="366" y="1156"/>
                </a:lnTo>
                <a:lnTo>
                  <a:pt x="366" y="1156"/>
                </a:lnTo>
                <a:lnTo>
                  <a:pt x="357" y="1162"/>
                </a:lnTo>
                <a:lnTo>
                  <a:pt x="351" y="1168"/>
                </a:lnTo>
                <a:lnTo>
                  <a:pt x="346" y="1175"/>
                </a:lnTo>
                <a:lnTo>
                  <a:pt x="344" y="1182"/>
                </a:lnTo>
                <a:lnTo>
                  <a:pt x="343" y="1189"/>
                </a:lnTo>
                <a:lnTo>
                  <a:pt x="344" y="1195"/>
                </a:lnTo>
                <a:lnTo>
                  <a:pt x="346" y="1202"/>
                </a:lnTo>
                <a:lnTo>
                  <a:pt x="349" y="1209"/>
                </a:lnTo>
                <a:lnTo>
                  <a:pt x="354" y="1217"/>
                </a:lnTo>
                <a:lnTo>
                  <a:pt x="360" y="1225"/>
                </a:lnTo>
                <a:lnTo>
                  <a:pt x="368" y="1232"/>
                </a:lnTo>
                <a:lnTo>
                  <a:pt x="376" y="1239"/>
                </a:lnTo>
                <a:lnTo>
                  <a:pt x="396" y="1254"/>
                </a:lnTo>
                <a:lnTo>
                  <a:pt x="418" y="1270"/>
                </a:lnTo>
                <a:lnTo>
                  <a:pt x="442" y="1285"/>
                </a:lnTo>
                <a:lnTo>
                  <a:pt x="467" y="1299"/>
                </a:lnTo>
                <a:lnTo>
                  <a:pt x="519" y="1327"/>
                </a:lnTo>
                <a:lnTo>
                  <a:pt x="565" y="1350"/>
                </a:lnTo>
                <a:lnTo>
                  <a:pt x="585" y="1361"/>
                </a:lnTo>
                <a:lnTo>
                  <a:pt x="601" y="1370"/>
                </a:lnTo>
                <a:lnTo>
                  <a:pt x="601" y="1370"/>
                </a:lnTo>
                <a:lnTo>
                  <a:pt x="608" y="1375"/>
                </a:lnTo>
                <a:lnTo>
                  <a:pt x="611" y="1379"/>
                </a:lnTo>
                <a:lnTo>
                  <a:pt x="613" y="1382"/>
                </a:lnTo>
                <a:lnTo>
                  <a:pt x="611" y="1385"/>
                </a:lnTo>
                <a:lnTo>
                  <a:pt x="608" y="1387"/>
                </a:lnTo>
                <a:lnTo>
                  <a:pt x="604" y="1389"/>
                </a:lnTo>
                <a:lnTo>
                  <a:pt x="598" y="1390"/>
                </a:lnTo>
                <a:lnTo>
                  <a:pt x="598" y="1390"/>
                </a:lnTo>
                <a:lnTo>
                  <a:pt x="588" y="1390"/>
                </a:lnTo>
                <a:lnTo>
                  <a:pt x="576" y="1388"/>
                </a:lnTo>
                <a:lnTo>
                  <a:pt x="561" y="1385"/>
                </a:lnTo>
                <a:lnTo>
                  <a:pt x="545" y="1380"/>
                </a:lnTo>
                <a:lnTo>
                  <a:pt x="509" y="1369"/>
                </a:lnTo>
                <a:lnTo>
                  <a:pt x="469" y="1354"/>
                </a:lnTo>
                <a:lnTo>
                  <a:pt x="387" y="1323"/>
                </a:lnTo>
                <a:lnTo>
                  <a:pt x="349" y="1307"/>
                </a:lnTo>
                <a:lnTo>
                  <a:pt x="314" y="1296"/>
                </a:lnTo>
                <a:lnTo>
                  <a:pt x="314" y="1296"/>
                </a:lnTo>
                <a:lnTo>
                  <a:pt x="303" y="1293"/>
                </a:lnTo>
                <a:lnTo>
                  <a:pt x="292" y="1291"/>
                </a:lnTo>
                <a:lnTo>
                  <a:pt x="283" y="1291"/>
                </a:lnTo>
                <a:lnTo>
                  <a:pt x="275" y="1292"/>
                </a:lnTo>
                <a:lnTo>
                  <a:pt x="268" y="1294"/>
                </a:lnTo>
                <a:lnTo>
                  <a:pt x="262" y="1297"/>
                </a:lnTo>
                <a:lnTo>
                  <a:pt x="257" y="1300"/>
                </a:lnTo>
                <a:lnTo>
                  <a:pt x="253" y="1303"/>
                </a:lnTo>
                <a:lnTo>
                  <a:pt x="244" y="1312"/>
                </a:lnTo>
                <a:lnTo>
                  <a:pt x="238" y="1319"/>
                </a:lnTo>
                <a:lnTo>
                  <a:pt x="234" y="1324"/>
                </a:lnTo>
                <a:lnTo>
                  <a:pt x="231" y="1325"/>
                </a:lnTo>
                <a:lnTo>
                  <a:pt x="229" y="1326"/>
                </a:lnTo>
                <a:lnTo>
                  <a:pt x="229" y="1326"/>
                </a:lnTo>
                <a:lnTo>
                  <a:pt x="220" y="1325"/>
                </a:lnTo>
                <a:lnTo>
                  <a:pt x="210" y="1324"/>
                </a:lnTo>
                <a:lnTo>
                  <a:pt x="198" y="1325"/>
                </a:lnTo>
                <a:lnTo>
                  <a:pt x="188" y="1325"/>
                </a:lnTo>
                <a:lnTo>
                  <a:pt x="166" y="1329"/>
                </a:lnTo>
                <a:lnTo>
                  <a:pt x="143" y="1335"/>
                </a:lnTo>
                <a:lnTo>
                  <a:pt x="121" y="1343"/>
                </a:lnTo>
                <a:lnTo>
                  <a:pt x="98" y="1353"/>
                </a:lnTo>
                <a:lnTo>
                  <a:pt x="77" y="1367"/>
                </a:lnTo>
                <a:lnTo>
                  <a:pt x="66" y="1374"/>
                </a:lnTo>
                <a:lnTo>
                  <a:pt x="57" y="1381"/>
                </a:lnTo>
                <a:lnTo>
                  <a:pt x="48" y="1389"/>
                </a:lnTo>
                <a:lnTo>
                  <a:pt x="40" y="1397"/>
                </a:lnTo>
                <a:lnTo>
                  <a:pt x="32" y="1407"/>
                </a:lnTo>
                <a:lnTo>
                  <a:pt x="25" y="1416"/>
                </a:lnTo>
                <a:lnTo>
                  <a:pt x="18" y="1426"/>
                </a:lnTo>
                <a:lnTo>
                  <a:pt x="12" y="1435"/>
                </a:lnTo>
                <a:lnTo>
                  <a:pt x="8" y="1446"/>
                </a:lnTo>
                <a:lnTo>
                  <a:pt x="4" y="1458"/>
                </a:lnTo>
                <a:lnTo>
                  <a:pt x="2" y="1469"/>
                </a:lnTo>
                <a:lnTo>
                  <a:pt x="0" y="1480"/>
                </a:lnTo>
                <a:lnTo>
                  <a:pt x="0" y="1492"/>
                </a:lnTo>
                <a:lnTo>
                  <a:pt x="0" y="1505"/>
                </a:lnTo>
                <a:lnTo>
                  <a:pt x="3" y="1518"/>
                </a:lnTo>
                <a:lnTo>
                  <a:pt x="6" y="1530"/>
                </a:lnTo>
                <a:lnTo>
                  <a:pt x="11" y="1544"/>
                </a:lnTo>
                <a:lnTo>
                  <a:pt x="17" y="1558"/>
                </a:lnTo>
                <a:lnTo>
                  <a:pt x="17" y="1558"/>
                </a:lnTo>
                <a:lnTo>
                  <a:pt x="20" y="1553"/>
                </a:lnTo>
                <a:lnTo>
                  <a:pt x="30" y="1540"/>
                </a:lnTo>
                <a:lnTo>
                  <a:pt x="45" y="1521"/>
                </a:lnTo>
                <a:lnTo>
                  <a:pt x="53" y="1511"/>
                </a:lnTo>
                <a:lnTo>
                  <a:pt x="63" y="1501"/>
                </a:lnTo>
                <a:lnTo>
                  <a:pt x="75" y="1490"/>
                </a:lnTo>
                <a:lnTo>
                  <a:pt x="86" y="1481"/>
                </a:lnTo>
                <a:lnTo>
                  <a:pt x="98" y="1473"/>
                </a:lnTo>
                <a:lnTo>
                  <a:pt x="111" y="1466"/>
                </a:lnTo>
                <a:lnTo>
                  <a:pt x="125" y="1461"/>
                </a:lnTo>
                <a:lnTo>
                  <a:pt x="131" y="1459"/>
                </a:lnTo>
                <a:lnTo>
                  <a:pt x="138" y="1458"/>
                </a:lnTo>
                <a:lnTo>
                  <a:pt x="145" y="1458"/>
                </a:lnTo>
                <a:lnTo>
                  <a:pt x="151" y="1458"/>
                </a:lnTo>
                <a:lnTo>
                  <a:pt x="159" y="1459"/>
                </a:lnTo>
                <a:lnTo>
                  <a:pt x="166" y="1461"/>
                </a:lnTo>
                <a:lnTo>
                  <a:pt x="166" y="1461"/>
                </a:lnTo>
                <a:lnTo>
                  <a:pt x="171" y="1463"/>
                </a:lnTo>
                <a:lnTo>
                  <a:pt x="174" y="1467"/>
                </a:lnTo>
                <a:lnTo>
                  <a:pt x="175" y="1473"/>
                </a:lnTo>
                <a:lnTo>
                  <a:pt x="176" y="1479"/>
                </a:lnTo>
                <a:lnTo>
                  <a:pt x="176" y="1496"/>
                </a:lnTo>
                <a:lnTo>
                  <a:pt x="174" y="1514"/>
                </a:lnTo>
                <a:lnTo>
                  <a:pt x="174" y="1524"/>
                </a:lnTo>
                <a:lnTo>
                  <a:pt x="174" y="1534"/>
                </a:lnTo>
                <a:lnTo>
                  <a:pt x="176" y="1545"/>
                </a:lnTo>
                <a:lnTo>
                  <a:pt x="178" y="1554"/>
                </a:lnTo>
                <a:lnTo>
                  <a:pt x="182" y="1564"/>
                </a:lnTo>
                <a:lnTo>
                  <a:pt x="187" y="1573"/>
                </a:lnTo>
                <a:lnTo>
                  <a:pt x="195" y="1581"/>
                </a:lnTo>
                <a:lnTo>
                  <a:pt x="205" y="1589"/>
                </a:lnTo>
                <a:lnTo>
                  <a:pt x="205" y="1589"/>
                </a:lnTo>
                <a:lnTo>
                  <a:pt x="213" y="1593"/>
                </a:lnTo>
                <a:lnTo>
                  <a:pt x="221" y="1596"/>
                </a:lnTo>
                <a:lnTo>
                  <a:pt x="231" y="1599"/>
                </a:lnTo>
                <a:lnTo>
                  <a:pt x="242" y="1600"/>
                </a:lnTo>
                <a:lnTo>
                  <a:pt x="254" y="1602"/>
                </a:lnTo>
                <a:lnTo>
                  <a:pt x="267" y="1602"/>
                </a:lnTo>
                <a:lnTo>
                  <a:pt x="293" y="1602"/>
                </a:lnTo>
                <a:lnTo>
                  <a:pt x="323" y="1600"/>
                </a:lnTo>
                <a:lnTo>
                  <a:pt x="354" y="1597"/>
                </a:lnTo>
                <a:lnTo>
                  <a:pt x="418" y="1589"/>
                </a:lnTo>
                <a:lnTo>
                  <a:pt x="481" y="1580"/>
                </a:lnTo>
                <a:lnTo>
                  <a:pt x="510" y="1576"/>
                </a:lnTo>
                <a:lnTo>
                  <a:pt x="538" y="1574"/>
                </a:lnTo>
                <a:lnTo>
                  <a:pt x="562" y="1573"/>
                </a:lnTo>
                <a:lnTo>
                  <a:pt x="583" y="1574"/>
                </a:lnTo>
                <a:lnTo>
                  <a:pt x="592" y="1575"/>
                </a:lnTo>
                <a:lnTo>
                  <a:pt x="600" y="1577"/>
                </a:lnTo>
                <a:lnTo>
                  <a:pt x="607" y="1580"/>
                </a:lnTo>
                <a:lnTo>
                  <a:pt x="613" y="1585"/>
                </a:lnTo>
                <a:lnTo>
                  <a:pt x="613" y="1585"/>
                </a:lnTo>
                <a:lnTo>
                  <a:pt x="616" y="1588"/>
                </a:lnTo>
                <a:lnTo>
                  <a:pt x="617" y="1591"/>
                </a:lnTo>
                <a:lnTo>
                  <a:pt x="616" y="1593"/>
                </a:lnTo>
                <a:lnTo>
                  <a:pt x="611" y="1596"/>
                </a:lnTo>
                <a:lnTo>
                  <a:pt x="607" y="1598"/>
                </a:lnTo>
                <a:lnTo>
                  <a:pt x="600" y="1601"/>
                </a:lnTo>
                <a:lnTo>
                  <a:pt x="583" y="1605"/>
                </a:lnTo>
                <a:lnTo>
                  <a:pt x="560" y="1609"/>
                </a:lnTo>
                <a:lnTo>
                  <a:pt x="535" y="1612"/>
                </a:lnTo>
                <a:lnTo>
                  <a:pt x="474" y="1620"/>
                </a:lnTo>
                <a:lnTo>
                  <a:pt x="443" y="1624"/>
                </a:lnTo>
                <a:lnTo>
                  <a:pt x="412" y="1629"/>
                </a:lnTo>
                <a:lnTo>
                  <a:pt x="382" y="1636"/>
                </a:lnTo>
                <a:lnTo>
                  <a:pt x="356" y="1642"/>
                </a:lnTo>
                <a:lnTo>
                  <a:pt x="344" y="1646"/>
                </a:lnTo>
                <a:lnTo>
                  <a:pt x="332" y="1650"/>
                </a:lnTo>
                <a:lnTo>
                  <a:pt x="322" y="1654"/>
                </a:lnTo>
                <a:lnTo>
                  <a:pt x="314" y="1659"/>
                </a:lnTo>
                <a:lnTo>
                  <a:pt x="307" y="1664"/>
                </a:lnTo>
                <a:lnTo>
                  <a:pt x="302" y="1669"/>
                </a:lnTo>
                <a:lnTo>
                  <a:pt x="298" y="1676"/>
                </a:lnTo>
                <a:lnTo>
                  <a:pt x="296" y="1682"/>
                </a:lnTo>
                <a:lnTo>
                  <a:pt x="296" y="1682"/>
                </a:lnTo>
                <a:lnTo>
                  <a:pt x="295" y="1687"/>
                </a:lnTo>
                <a:lnTo>
                  <a:pt x="295" y="1696"/>
                </a:lnTo>
                <a:lnTo>
                  <a:pt x="296" y="1707"/>
                </a:lnTo>
                <a:lnTo>
                  <a:pt x="298" y="1713"/>
                </a:lnTo>
                <a:lnTo>
                  <a:pt x="300" y="1718"/>
                </a:lnTo>
                <a:lnTo>
                  <a:pt x="300" y="1718"/>
                </a:lnTo>
                <a:lnTo>
                  <a:pt x="301" y="1725"/>
                </a:lnTo>
                <a:lnTo>
                  <a:pt x="301" y="1731"/>
                </a:lnTo>
                <a:lnTo>
                  <a:pt x="298" y="1737"/>
                </a:lnTo>
                <a:lnTo>
                  <a:pt x="293" y="1743"/>
                </a:lnTo>
                <a:lnTo>
                  <a:pt x="283" y="1757"/>
                </a:lnTo>
                <a:lnTo>
                  <a:pt x="269" y="1775"/>
                </a:lnTo>
                <a:lnTo>
                  <a:pt x="261" y="1785"/>
                </a:lnTo>
                <a:lnTo>
                  <a:pt x="254" y="1795"/>
                </a:lnTo>
                <a:lnTo>
                  <a:pt x="246" y="1807"/>
                </a:lnTo>
                <a:lnTo>
                  <a:pt x="240" y="1820"/>
                </a:lnTo>
                <a:lnTo>
                  <a:pt x="234" y="1834"/>
                </a:lnTo>
                <a:lnTo>
                  <a:pt x="230" y="1849"/>
                </a:lnTo>
                <a:lnTo>
                  <a:pt x="226" y="1866"/>
                </a:lnTo>
                <a:lnTo>
                  <a:pt x="225" y="1884"/>
                </a:lnTo>
                <a:lnTo>
                  <a:pt x="225" y="1884"/>
                </a:lnTo>
                <a:lnTo>
                  <a:pt x="225" y="1893"/>
                </a:lnTo>
                <a:lnTo>
                  <a:pt x="225" y="1902"/>
                </a:lnTo>
                <a:lnTo>
                  <a:pt x="228" y="1920"/>
                </a:lnTo>
                <a:lnTo>
                  <a:pt x="233" y="1937"/>
                </a:lnTo>
                <a:lnTo>
                  <a:pt x="239" y="1953"/>
                </a:lnTo>
                <a:lnTo>
                  <a:pt x="247" y="1968"/>
                </a:lnTo>
                <a:lnTo>
                  <a:pt x="257" y="1982"/>
                </a:lnTo>
                <a:lnTo>
                  <a:pt x="267" y="1995"/>
                </a:lnTo>
                <a:lnTo>
                  <a:pt x="277" y="2007"/>
                </a:lnTo>
                <a:lnTo>
                  <a:pt x="287" y="2017"/>
                </a:lnTo>
                <a:lnTo>
                  <a:pt x="298" y="2026"/>
                </a:lnTo>
                <a:lnTo>
                  <a:pt x="315" y="2042"/>
                </a:lnTo>
                <a:lnTo>
                  <a:pt x="327" y="2050"/>
                </a:lnTo>
                <a:lnTo>
                  <a:pt x="332" y="2054"/>
                </a:lnTo>
                <a:lnTo>
                  <a:pt x="332" y="2054"/>
                </a:lnTo>
                <a:lnTo>
                  <a:pt x="334" y="2050"/>
                </a:lnTo>
                <a:lnTo>
                  <a:pt x="335" y="2045"/>
                </a:lnTo>
                <a:lnTo>
                  <a:pt x="335" y="2036"/>
                </a:lnTo>
                <a:lnTo>
                  <a:pt x="334" y="2027"/>
                </a:lnTo>
                <a:lnTo>
                  <a:pt x="331" y="2006"/>
                </a:lnTo>
                <a:lnTo>
                  <a:pt x="328" y="1980"/>
                </a:lnTo>
                <a:lnTo>
                  <a:pt x="327" y="1968"/>
                </a:lnTo>
                <a:lnTo>
                  <a:pt x="326" y="1955"/>
                </a:lnTo>
                <a:lnTo>
                  <a:pt x="326" y="1943"/>
                </a:lnTo>
                <a:lnTo>
                  <a:pt x="328" y="1932"/>
                </a:lnTo>
                <a:lnTo>
                  <a:pt x="330" y="1922"/>
                </a:lnTo>
                <a:lnTo>
                  <a:pt x="334" y="1913"/>
                </a:lnTo>
                <a:lnTo>
                  <a:pt x="337" y="1910"/>
                </a:lnTo>
                <a:lnTo>
                  <a:pt x="341" y="1906"/>
                </a:lnTo>
                <a:lnTo>
                  <a:pt x="344" y="1904"/>
                </a:lnTo>
                <a:lnTo>
                  <a:pt x="348" y="1901"/>
                </a:lnTo>
                <a:lnTo>
                  <a:pt x="348" y="1901"/>
                </a:lnTo>
                <a:lnTo>
                  <a:pt x="353" y="1900"/>
                </a:lnTo>
                <a:lnTo>
                  <a:pt x="357" y="1900"/>
                </a:lnTo>
                <a:lnTo>
                  <a:pt x="362" y="1901"/>
                </a:lnTo>
                <a:lnTo>
                  <a:pt x="366" y="1905"/>
                </a:lnTo>
                <a:lnTo>
                  <a:pt x="375" y="1912"/>
                </a:lnTo>
                <a:lnTo>
                  <a:pt x="386" y="1921"/>
                </a:lnTo>
                <a:lnTo>
                  <a:pt x="397" y="1932"/>
                </a:lnTo>
                <a:lnTo>
                  <a:pt x="410" y="1941"/>
                </a:lnTo>
                <a:lnTo>
                  <a:pt x="417" y="1946"/>
                </a:lnTo>
                <a:lnTo>
                  <a:pt x="424" y="1950"/>
                </a:lnTo>
                <a:lnTo>
                  <a:pt x="434" y="1953"/>
                </a:lnTo>
                <a:lnTo>
                  <a:pt x="442" y="1955"/>
                </a:lnTo>
                <a:lnTo>
                  <a:pt x="442" y="1955"/>
                </a:lnTo>
                <a:lnTo>
                  <a:pt x="451" y="1955"/>
                </a:lnTo>
                <a:lnTo>
                  <a:pt x="460" y="1955"/>
                </a:lnTo>
                <a:lnTo>
                  <a:pt x="468" y="1954"/>
                </a:lnTo>
                <a:lnTo>
                  <a:pt x="478" y="1952"/>
                </a:lnTo>
                <a:lnTo>
                  <a:pt x="486" y="1948"/>
                </a:lnTo>
                <a:lnTo>
                  <a:pt x="494" y="1944"/>
                </a:lnTo>
                <a:lnTo>
                  <a:pt x="501" y="1940"/>
                </a:lnTo>
                <a:lnTo>
                  <a:pt x="509" y="1935"/>
                </a:lnTo>
                <a:lnTo>
                  <a:pt x="525" y="1923"/>
                </a:lnTo>
                <a:lnTo>
                  <a:pt x="539" y="1909"/>
                </a:lnTo>
                <a:lnTo>
                  <a:pt x="554" y="1892"/>
                </a:lnTo>
                <a:lnTo>
                  <a:pt x="571" y="1875"/>
                </a:lnTo>
                <a:lnTo>
                  <a:pt x="604" y="1836"/>
                </a:lnTo>
                <a:lnTo>
                  <a:pt x="624" y="1817"/>
                </a:lnTo>
                <a:lnTo>
                  <a:pt x="644" y="1797"/>
                </a:lnTo>
                <a:lnTo>
                  <a:pt x="667" y="1777"/>
                </a:lnTo>
                <a:lnTo>
                  <a:pt x="691" y="1758"/>
                </a:lnTo>
                <a:lnTo>
                  <a:pt x="705" y="1749"/>
                </a:lnTo>
                <a:lnTo>
                  <a:pt x="718" y="1741"/>
                </a:lnTo>
                <a:lnTo>
                  <a:pt x="732" y="1733"/>
                </a:lnTo>
                <a:lnTo>
                  <a:pt x="747" y="1725"/>
                </a:lnTo>
                <a:lnTo>
                  <a:pt x="747" y="1725"/>
                </a:lnTo>
                <a:lnTo>
                  <a:pt x="787" y="1706"/>
                </a:lnTo>
                <a:lnTo>
                  <a:pt x="819" y="1694"/>
                </a:lnTo>
                <a:lnTo>
                  <a:pt x="831" y="1689"/>
                </a:lnTo>
                <a:lnTo>
                  <a:pt x="843" y="1686"/>
                </a:lnTo>
                <a:lnTo>
                  <a:pt x="852" y="1685"/>
                </a:lnTo>
                <a:lnTo>
                  <a:pt x="859" y="1684"/>
                </a:lnTo>
                <a:lnTo>
                  <a:pt x="865" y="1684"/>
                </a:lnTo>
                <a:lnTo>
                  <a:pt x="869" y="1686"/>
                </a:lnTo>
                <a:lnTo>
                  <a:pt x="872" y="1688"/>
                </a:lnTo>
                <a:lnTo>
                  <a:pt x="874" y="1691"/>
                </a:lnTo>
                <a:lnTo>
                  <a:pt x="876" y="1694"/>
                </a:lnTo>
                <a:lnTo>
                  <a:pt x="876" y="1698"/>
                </a:lnTo>
                <a:lnTo>
                  <a:pt x="875" y="1708"/>
                </a:lnTo>
                <a:lnTo>
                  <a:pt x="872" y="1720"/>
                </a:lnTo>
                <a:lnTo>
                  <a:pt x="868" y="1734"/>
                </a:lnTo>
                <a:lnTo>
                  <a:pt x="865" y="1747"/>
                </a:lnTo>
                <a:lnTo>
                  <a:pt x="863" y="1759"/>
                </a:lnTo>
                <a:lnTo>
                  <a:pt x="863" y="1765"/>
                </a:lnTo>
                <a:lnTo>
                  <a:pt x="863" y="1772"/>
                </a:lnTo>
                <a:lnTo>
                  <a:pt x="865" y="1777"/>
                </a:lnTo>
                <a:lnTo>
                  <a:pt x="867" y="1782"/>
                </a:lnTo>
                <a:lnTo>
                  <a:pt x="870" y="1786"/>
                </a:lnTo>
                <a:lnTo>
                  <a:pt x="875" y="1790"/>
                </a:lnTo>
                <a:lnTo>
                  <a:pt x="881" y="1793"/>
                </a:lnTo>
                <a:lnTo>
                  <a:pt x="889" y="1795"/>
                </a:lnTo>
                <a:lnTo>
                  <a:pt x="889" y="1795"/>
                </a:lnTo>
                <a:lnTo>
                  <a:pt x="901" y="1799"/>
                </a:lnTo>
                <a:lnTo>
                  <a:pt x="912" y="1802"/>
                </a:lnTo>
                <a:lnTo>
                  <a:pt x="921" y="1807"/>
                </a:lnTo>
                <a:lnTo>
                  <a:pt x="928" y="1811"/>
                </a:lnTo>
                <a:lnTo>
                  <a:pt x="935" y="1817"/>
                </a:lnTo>
                <a:lnTo>
                  <a:pt x="940" y="1822"/>
                </a:lnTo>
                <a:lnTo>
                  <a:pt x="943" y="1828"/>
                </a:lnTo>
                <a:lnTo>
                  <a:pt x="945" y="1834"/>
                </a:lnTo>
                <a:lnTo>
                  <a:pt x="947" y="1840"/>
                </a:lnTo>
                <a:lnTo>
                  <a:pt x="947" y="1846"/>
                </a:lnTo>
                <a:lnTo>
                  <a:pt x="946" y="1853"/>
                </a:lnTo>
                <a:lnTo>
                  <a:pt x="945" y="1860"/>
                </a:lnTo>
                <a:lnTo>
                  <a:pt x="943" y="1867"/>
                </a:lnTo>
                <a:lnTo>
                  <a:pt x="940" y="1874"/>
                </a:lnTo>
                <a:lnTo>
                  <a:pt x="932" y="1887"/>
                </a:lnTo>
                <a:lnTo>
                  <a:pt x="922" y="1900"/>
                </a:lnTo>
                <a:lnTo>
                  <a:pt x="912" y="1913"/>
                </a:lnTo>
                <a:lnTo>
                  <a:pt x="902" y="1924"/>
                </a:lnTo>
                <a:lnTo>
                  <a:pt x="892" y="1934"/>
                </a:lnTo>
                <a:lnTo>
                  <a:pt x="875" y="1948"/>
                </a:lnTo>
                <a:lnTo>
                  <a:pt x="869" y="1955"/>
                </a:lnTo>
                <a:lnTo>
                  <a:pt x="869" y="1955"/>
                </a:lnTo>
                <a:lnTo>
                  <a:pt x="877" y="1959"/>
                </a:lnTo>
                <a:lnTo>
                  <a:pt x="888" y="1961"/>
                </a:lnTo>
                <a:lnTo>
                  <a:pt x="899" y="1962"/>
                </a:lnTo>
                <a:lnTo>
                  <a:pt x="912" y="1961"/>
                </a:lnTo>
                <a:lnTo>
                  <a:pt x="926" y="1958"/>
                </a:lnTo>
                <a:lnTo>
                  <a:pt x="941" y="1954"/>
                </a:lnTo>
                <a:lnTo>
                  <a:pt x="957" y="1947"/>
                </a:lnTo>
                <a:lnTo>
                  <a:pt x="972" y="1939"/>
                </a:lnTo>
                <a:lnTo>
                  <a:pt x="989" y="1930"/>
                </a:lnTo>
                <a:lnTo>
                  <a:pt x="1004" y="1919"/>
                </a:lnTo>
                <a:lnTo>
                  <a:pt x="1019" y="1906"/>
                </a:lnTo>
                <a:lnTo>
                  <a:pt x="1035" y="1891"/>
                </a:lnTo>
                <a:lnTo>
                  <a:pt x="1048" y="1874"/>
                </a:lnTo>
                <a:lnTo>
                  <a:pt x="1061" y="1855"/>
                </a:lnTo>
                <a:lnTo>
                  <a:pt x="1073" y="1835"/>
                </a:lnTo>
                <a:lnTo>
                  <a:pt x="1083" y="1814"/>
                </a:lnTo>
                <a:lnTo>
                  <a:pt x="1083" y="1814"/>
                </a:lnTo>
                <a:lnTo>
                  <a:pt x="1086" y="1805"/>
                </a:lnTo>
                <a:lnTo>
                  <a:pt x="1089" y="1799"/>
                </a:lnTo>
                <a:lnTo>
                  <a:pt x="1092" y="1794"/>
                </a:lnTo>
                <a:lnTo>
                  <a:pt x="1096" y="1790"/>
                </a:lnTo>
                <a:lnTo>
                  <a:pt x="1100" y="1787"/>
                </a:lnTo>
                <a:lnTo>
                  <a:pt x="1103" y="1784"/>
                </a:lnTo>
                <a:lnTo>
                  <a:pt x="1111" y="1781"/>
                </a:lnTo>
                <a:lnTo>
                  <a:pt x="1120" y="1778"/>
                </a:lnTo>
                <a:lnTo>
                  <a:pt x="1129" y="1774"/>
                </a:lnTo>
                <a:lnTo>
                  <a:pt x="1138" y="1768"/>
                </a:lnTo>
                <a:lnTo>
                  <a:pt x="1143" y="1763"/>
                </a:lnTo>
                <a:lnTo>
                  <a:pt x="1148" y="1758"/>
                </a:lnTo>
                <a:lnTo>
                  <a:pt x="1148" y="1758"/>
                </a:lnTo>
                <a:lnTo>
                  <a:pt x="1151" y="1752"/>
                </a:lnTo>
                <a:lnTo>
                  <a:pt x="1154" y="1746"/>
                </a:lnTo>
                <a:lnTo>
                  <a:pt x="1158" y="1740"/>
                </a:lnTo>
                <a:lnTo>
                  <a:pt x="1159" y="1734"/>
                </a:lnTo>
                <a:lnTo>
                  <a:pt x="1160" y="1719"/>
                </a:lnTo>
                <a:lnTo>
                  <a:pt x="1160" y="1705"/>
                </a:lnTo>
                <a:lnTo>
                  <a:pt x="1160" y="1690"/>
                </a:lnTo>
                <a:lnTo>
                  <a:pt x="1160" y="1676"/>
                </a:lnTo>
                <a:lnTo>
                  <a:pt x="1162" y="1661"/>
                </a:lnTo>
                <a:lnTo>
                  <a:pt x="1164" y="1655"/>
                </a:lnTo>
                <a:lnTo>
                  <a:pt x="1166" y="1649"/>
                </a:lnTo>
                <a:lnTo>
                  <a:pt x="1166" y="1649"/>
                </a:lnTo>
                <a:lnTo>
                  <a:pt x="1170" y="1643"/>
                </a:lnTo>
                <a:lnTo>
                  <a:pt x="1174" y="1638"/>
                </a:lnTo>
                <a:lnTo>
                  <a:pt x="1178" y="1633"/>
                </a:lnTo>
                <a:lnTo>
                  <a:pt x="1183" y="1628"/>
                </a:lnTo>
                <a:lnTo>
                  <a:pt x="1195" y="1620"/>
                </a:lnTo>
                <a:lnTo>
                  <a:pt x="1209" y="1614"/>
                </a:lnTo>
                <a:lnTo>
                  <a:pt x="1223" y="1609"/>
                </a:lnTo>
                <a:lnTo>
                  <a:pt x="1237" y="1605"/>
                </a:lnTo>
                <a:lnTo>
                  <a:pt x="1268" y="1597"/>
                </a:lnTo>
                <a:lnTo>
                  <a:pt x="1298" y="1591"/>
                </a:lnTo>
                <a:lnTo>
                  <a:pt x="1310" y="1587"/>
                </a:lnTo>
                <a:lnTo>
                  <a:pt x="1321" y="1581"/>
                </a:lnTo>
                <a:lnTo>
                  <a:pt x="1329" y="1575"/>
                </a:lnTo>
                <a:lnTo>
                  <a:pt x="1333" y="1572"/>
                </a:lnTo>
                <a:lnTo>
                  <a:pt x="1335" y="1568"/>
                </a:lnTo>
                <a:lnTo>
                  <a:pt x="1338" y="1564"/>
                </a:lnTo>
                <a:lnTo>
                  <a:pt x="1340" y="1559"/>
                </a:lnTo>
                <a:lnTo>
                  <a:pt x="1340" y="1554"/>
                </a:lnTo>
                <a:lnTo>
                  <a:pt x="1340" y="1549"/>
                </a:lnTo>
                <a:lnTo>
                  <a:pt x="1340" y="1549"/>
                </a:lnTo>
                <a:lnTo>
                  <a:pt x="1338" y="1534"/>
                </a:lnTo>
                <a:lnTo>
                  <a:pt x="1338" y="1521"/>
                </a:lnTo>
                <a:lnTo>
                  <a:pt x="1341" y="1509"/>
                </a:lnTo>
                <a:lnTo>
                  <a:pt x="1345" y="1499"/>
                </a:lnTo>
                <a:lnTo>
                  <a:pt x="1350" y="1488"/>
                </a:lnTo>
                <a:lnTo>
                  <a:pt x="1355" y="1480"/>
                </a:lnTo>
                <a:lnTo>
                  <a:pt x="1362" y="1472"/>
                </a:lnTo>
                <a:lnTo>
                  <a:pt x="1370" y="1465"/>
                </a:lnTo>
                <a:lnTo>
                  <a:pt x="1378" y="1459"/>
                </a:lnTo>
                <a:lnTo>
                  <a:pt x="1388" y="1453"/>
                </a:lnTo>
                <a:lnTo>
                  <a:pt x="1406" y="1443"/>
                </a:lnTo>
                <a:lnTo>
                  <a:pt x="1424" y="1435"/>
                </a:lnTo>
                <a:lnTo>
                  <a:pt x="1441" y="1428"/>
                </a:lnTo>
                <a:lnTo>
                  <a:pt x="1441" y="1428"/>
                </a:lnTo>
                <a:lnTo>
                  <a:pt x="1443" y="1428"/>
                </a:lnTo>
                <a:lnTo>
                  <a:pt x="1444" y="1429"/>
                </a:lnTo>
                <a:lnTo>
                  <a:pt x="1447" y="1431"/>
                </a:lnTo>
                <a:lnTo>
                  <a:pt x="1449" y="1436"/>
                </a:lnTo>
                <a:lnTo>
                  <a:pt x="1453" y="1443"/>
                </a:lnTo>
                <a:lnTo>
                  <a:pt x="1461" y="1462"/>
                </a:lnTo>
                <a:lnTo>
                  <a:pt x="1467" y="1473"/>
                </a:lnTo>
                <a:lnTo>
                  <a:pt x="1474" y="1485"/>
                </a:lnTo>
                <a:lnTo>
                  <a:pt x="1484" y="1498"/>
                </a:lnTo>
                <a:lnTo>
                  <a:pt x="1494" y="1511"/>
                </a:lnTo>
                <a:lnTo>
                  <a:pt x="1506" y="1525"/>
                </a:lnTo>
                <a:lnTo>
                  <a:pt x="1522" y="1539"/>
                </a:lnTo>
                <a:lnTo>
                  <a:pt x="1539" y="1552"/>
                </a:lnTo>
                <a:lnTo>
                  <a:pt x="1559" y="1564"/>
                </a:lnTo>
                <a:lnTo>
                  <a:pt x="1583" y="1576"/>
                </a:lnTo>
                <a:lnTo>
                  <a:pt x="1609" y="1587"/>
                </a:lnTo>
                <a:lnTo>
                  <a:pt x="1609" y="1587"/>
                </a:lnTo>
                <a:lnTo>
                  <a:pt x="1684" y="1556"/>
                </a:lnTo>
                <a:lnTo>
                  <a:pt x="1730" y="1534"/>
                </a:lnTo>
                <a:lnTo>
                  <a:pt x="1757" y="1521"/>
                </a:lnTo>
                <a:lnTo>
                  <a:pt x="1786" y="1506"/>
                </a:lnTo>
                <a:lnTo>
                  <a:pt x="1786" y="1506"/>
                </a:lnTo>
                <a:lnTo>
                  <a:pt x="1818" y="1489"/>
                </a:lnTo>
                <a:lnTo>
                  <a:pt x="1848" y="1472"/>
                </a:lnTo>
                <a:lnTo>
                  <a:pt x="1860" y="1464"/>
                </a:lnTo>
                <a:lnTo>
                  <a:pt x="1871" y="1457"/>
                </a:lnTo>
                <a:lnTo>
                  <a:pt x="1881" y="1449"/>
                </a:lnTo>
                <a:lnTo>
                  <a:pt x="1889" y="1442"/>
                </a:lnTo>
                <a:lnTo>
                  <a:pt x="1889" y="1442"/>
                </a:lnTo>
                <a:lnTo>
                  <a:pt x="1888" y="1440"/>
                </a:lnTo>
                <a:lnTo>
                  <a:pt x="1887" y="1438"/>
                </a:lnTo>
                <a:lnTo>
                  <a:pt x="1879" y="1431"/>
                </a:lnTo>
                <a:lnTo>
                  <a:pt x="1868" y="1420"/>
                </a:lnTo>
                <a:lnTo>
                  <a:pt x="1855" y="1406"/>
                </a:lnTo>
                <a:lnTo>
                  <a:pt x="1840" y="1388"/>
                </a:lnTo>
                <a:lnTo>
                  <a:pt x="1825" y="1369"/>
                </a:lnTo>
                <a:lnTo>
                  <a:pt x="1818" y="1358"/>
                </a:lnTo>
                <a:lnTo>
                  <a:pt x="1812" y="1345"/>
                </a:lnTo>
                <a:lnTo>
                  <a:pt x="1807" y="1334"/>
                </a:lnTo>
                <a:lnTo>
                  <a:pt x="1802" y="1321"/>
                </a:lnTo>
                <a:lnTo>
                  <a:pt x="1802" y="1321"/>
                </a:lnTo>
                <a:lnTo>
                  <a:pt x="1799" y="1308"/>
                </a:lnTo>
                <a:lnTo>
                  <a:pt x="1796" y="1297"/>
                </a:lnTo>
                <a:lnTo>
                  <a:pt x="1794" y="1288"/>
                </a:lnTo>
                <a:lnTo>
                  <a:pt x="1794" y="1279"/>
                </a:lnTo>
                <a:lnTo>
                  <a:pt x="1794" y="1272"/>
                </a:lnTo>
                <a:lnTo>
                  <a:pt x="1794" y="1267"/>
                </a:lnTo>
                <a:lnTo>
                  <a:pt x="1795" y="1263"/>
                </a:lnTo>
                <a:lnTo>
                  <a:pt x="1796" y="1261"/>
                </a:lnTo>
                <a:lnTo>
                  <a:pt x="1796" y="1261"/>
                </a:lnTo>
                <a:lnTo>
                  <a:pt x="1809" y="1278"/>
                </a:lnTo>
                <a:lnTo>
                  <a:pt x="1824" y="1295"/>
                </a:lnTo>
                <a:lnTo>
                  <a:pt x="1845" y="1316"/>
                </a:lnTo>
                <a:lnTo>
                  <a:pt x="1857" y="1327"/>
                </a:lnTo>
                <a:lnTo>
                  <a:pt x="1869" y="1338"/>
                </a:lnTo>
                <a:lnTo>
                  <a:pt x="1883" y="1349"/>
                </a:lnTo>
                <a:lnTo>
                  <a:pt x="1899" y="1361"/>
                </a:lnTo>
                <a:lnTo>
                  <a:pt x="1915" y="1372"/>
                </a:lnTo>
                <a:lnTo>
                  <a:pt x="1932" y="1381"/>
                </a:lnTo>
                <a:lnTo>
                  <a:pt x="1949" y="1390"/>
                </a:lnTo>
                <a:lnTo>
                  <a:pt x="1967" y="1398"/>
                </a:lnTo>
                <a:lnTo>
                  <a:pt x="1967" y="1398"/>
                </a:lnTo>
                <a:lnTo>
                  <a:pt x="2021" y="1370"/>
                </a:lnTo>
                <a:lnTo>
                  <a:pt x="2075" y="1340"/>
                </a:lnTo>
                <a:lnTo>
                  <a:pt x="2129" y="1307"/>
                </a:lnTo>
                <a:lnTo>
                  <a:pt x="2183" y="1273"/>
                </a:lnTo>
                <a:lnTo>
                  <a:pt x="2183" y="1273"/>
                </a:lnTo>
                <a:lnTo>
                  <a:pt x="2218" y="1249"/>
                </a:lnTo>
                <a:lnTo>
                  <a:pt x="2218" y="1249"/>
                </a:lnTo>
                <a:lnTo>
                  <a:pt x="2219" y="1248"/>
                </a:lnTo>
                <a:lnTo>
                  <a:pt x="2219" y="1248"/>
                </a:lnTo>
                <a:lnTo>
                  <a:pt x="2220" y="1246"/>
                </a:lnTo>
                <a:lnTo>
                  <a:pt x="2219" y="1244"/>
                </a:lnTo>
                <a:lnTo>
                  <a:pt x="2215" y="1237"/>
                </a:lnTo>
                <a:lnTo>
                  <a:pt x="2207" y="1228"/>
                </a:lnTo>
                <a:lnTo>
                  <a:pt x="2196" y="1217"/>
                </a:lnTo>
                <a:lnTo>
                  <a:pt x="2171" y="1193"/>
                </a:lnTo>
                <a:lnTo>
                  <a:pt x="2142" y="1164"/>
                </a:lnTo>
                <a:lnTo>
                  <a:pt x="2129" y="1150"/>
                </a:lnTo>
                <a:lnTo>
                  <a:pt x="2118" y="1136"/>
                </a:lnTo>
                <a:lnTo>
                  <a:pt x="2108" y="1121"/>
                </a:lnTo>
                <a:lnTo>
                  <a:pt x="2104" y="1114"/>
                </a:lnTo>
                <a:lnTo>
                  <a:pt x="2101" y="1108"/>
                </a:lnTo>
                <a:lnTo>
                  <a:pt x="2100" y="1101"/>
                </a:lnTo>
                <a:lnTo>
                  <a:pt x="2099" y="1095"/>
                </a:lnTo>
                <a:lnTo>
                  <a:pt x="2099" y="1089"/>
                </a:lnTo>
                <a:lnTo>
                  <a:pt x="2100" y="1084"/>
                </a:lnTo>
                <a:lnTo>
                  <a:pt x="2102" y="1078"/>
                </a:lnTo>
                <a:lnTo>
                  <a:pt x="2106" y="1073"/>
                </a:lnTo>
                <a:lnTo>
                  <a:pt x="2112" y="1069"/>
                </a:lnTo>
                <a:lnTo>
                  <a:pt x="2119" y="1065"/>
                </a:lnTo>
                <a:lnTo>
                  <a:pt x="2119" y="1065"/>
                </a:lnTo>
                <a:lnTo>
                  <a:pt x="2125" y="1061"/>
                </a:lnTo>
                <a:lnTo>
                  <a:pt x="2130" y="1056"/>
                </a:lnTo>
                <a:lnTo>
                  <a:pt x="2133" y="1051"/>
                </a:lnTo>
                <a:lnTo>
                  <a:pt x="2135" y="1045"/>
                </a:lnTo>
                <a:lnTo>
                  <a:pt x="2136" y="1039"/>
                </a:lnTo>
                <a:lnTo>
                  <a:pt x="2136" y="1030"/>
                </a:lnTo>
                <a:lnTo>
                  <a:pt x="2136" y="1023"/>
                </a:lnTo>
                <a:lnTo>
                  <a:pt x="2134" y="1014"/>
                </a:lnTo>
                <a:lnTo>
                  <a:pt x="2129" y="997"/>
                </a:lnTo>
                <a:lnTo>
                  <a:pt x="2121" y="977"/>
                </a:lnTo>
                <a:lnTo>
                  <a:pt x="2102" y="935"/>
                </a:lnTo>
                <a:lnTo>
                  <a:pt x="2093" y="914"/>
                </a:lnTo>
                <a:lnTo>
                  <a:pt x="2085" y="893"/>
                </a:lnTo>
                <a:lnTo>
                  <a:pt x="2078" y="873"/>
                </a:lnTo>
                <a:lnTo>
                  <a:pt x="2076" y="863"/>
                </a:lnTo>
                <a:lnTo>
                  <a:pt x="2074" y="853"/>
                </a:lnTo>
                <a:lnTo>
                  <a:pt x="2074" y="844"/>
                </a:lnTo>
                <a:lnTo>
                  <a:pt x="2074" y="836"/>
                </a:lnTo>
                <a:lnTo>
                  <a:pt x="2075" y="828"/>
                </a:lnTo>
                <a:lnTo>
                  <a:pt x="2077" y="821"/>
                </a:lnTo>
                <a:lnTo>
                  <a:pt x="2080" y="814"/>
                </a:lnTo>
                <a:lnTo>
                  <a:pt x="2085" y="807"/>
                </a:lnTo>
                <a:lnTo>
                  <a:pt x="2091" y="801"/>
                </a:lnTo>
                <a:lnTo>
                  <a:pt x="2099" y="797"/>
                </a:lnTo>
                <a:lnTo>
                  <a:pt x="2099" y="797"/>
                </a:lnTo>
                <a:lnTo>
                  <a:pt x="2200" y="744"/>
                </a:lnTo>
                <a:lnTo>
                  <a:pt x="2306" y="693"/>
                </a:lnTo>
                <a:lnTo>
                  <a:pt x="2410" y="642"/>
                </a:lnTo>
                <a:lnTo>
                  <a:pt x="2513" y="592"/>
                </a:lnTo>
                <a:lnTo>
                  <a:pt x="2705" y="501"/>
                </a:lnTo>
                <a:lnTo>
                  <a:pt x="2788" y="461"/>
                </a:lnTo>
                <a:lnTo>
                  <a:pt x="2863" y="424"/>
                </a:lnTo>
                <a:lnTo>
                  <a:pt x="2863" y="424"/>
                </a:lnTo>
                <a:lnTo>
                  <a:pt x="2859" y="408"/>
                </a:lnTo>
                <a:lnTo>
                  <a:pt x="2853" y="389"/>
                </a:lnTo>
                <a:lnTo>
                  <a:pt x="2843" y="366"/>
                </a:lnTo>
                <a:lnTo>
                  <a:pt x="2836" y="354"/>
                </a:lnTo>
                <a:lnTo>
                  <a:pt x="2829" y="339"/>
                </a:lnTo>
                <a:lnTo>
                  <a:pt x="2821" y="325"/>
                </a:lnTo>
                <a:lnTo>
                  <a:pt x="2812" y="311"/>
                </a:lnTo>
                <a:lnTo>
                  <a:pt x="2801" y="296"/>
                </a:lnTo>
                <a:lnTo>
                  <a:pt x="2788" y="281"/>
                </a:lnTo>
                <a:lnTo>
                  <a:pt x="2774" y="267"/>
                </a:lnTo>
                <a:lnTo>
                  <a:pt x="2759" y="25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5" name="Freeform 32"/>
          <p:cNvSpPr>
            <a:spLocks/>
          </p:cNvSpPr>
          <p:nvPr userDrawn="1"/>
        </p:nvSpPr>
        <p:spPr bwMode="auto">
          <a:xfrm>
            <a:off x="7194551" y="1861841"/>
            <a:ext cx="161925" cy="153988"/>
          </a:xfrm>
          <a:custGeom>
            <a:avLst/>
            <a:gdLst>
              <a:gd name="T0" fmla="*/ 2 w 1226"/>
              <a:gd name="T1" fmla="*/ 386 h 1168"/>
              <a:gd name="T2" fmla="*/ 22 w 1226"/>
              <a:gd name="T3" fmla="*/ 434 h 1168"/>
              <a:gd name="T4" fmla="*/ 61 w 1226"/>
              <a:gd name="T5" fmla="*/ 466 h 1168"/>
              <a:gd name="T6" fmla="*/ 120 w 1226"/>
              <a:gd name="T7" fmla="*/ 479 h 1168"/>
              <a:gd name="T8" fmla="*/ 142 w 1226"/>
              <a:gd name="T9" fmla="*/ 469 h 1168"/>
              <a:gd name="T10" fmla="*/ 160 w 1226"/>
              <a:gd name="T11" fmla="*/ 436 h 1168"/>
              <a:gd name="T12" fmla="*/ 164 w 1226"/>
              <a:gd name="T13" fmla="*/ 370 h 1168"/>
              <a:gd name="T14" fmla="*/ 174 w 1226"/>
              <a:gd name="T15" fmla="*/ 344 h 1168"/>
              <a:gd name="T16" fmla="*/ 198 w 1226"/>
              <a:gd name="T17" fmla="*/ 331 h 1168"/>
              <a:gd name="T18" fmla="*/ 223 w 1226"/>
              <a:gd name="T19" fmla="*/ 318 h 1168"/>
              <a:gd name="T20" fmla="*/ 427 w 1226"/>
              <a:gd name="T21" fmla="*/ 416 h 1168"/>
              <a:gd name="T22" fmla="*/ 628 w 1226"/>
              <a:gd name="T23" fmla="*/ 534 h 1168"/>
              <a:gd name="T24" fmla="*/ 876 w 1226"/>
              <a:gd name="T25" fmla="*/ 703 h 1168"/>
              <a:gd name="T26" fmla="*/ 868 w 1226"/>
              <a:gd name="T27" fmla="*/ 783 h 1168"/>
              <a:gd name="T28" fmla="*/ 779 w 1226"/>
              <a:gd name="T29" fmla="*/ 957 h 1168"/>
              <a:gd name="T30" fmla="*/ 753 w 1226"/>
              <a:gd name="T31" fmla="*/ 1040 h 1168"/>
              <a:gd name="T32" fmla="*/ 754 w 1226"/>
              <a:gd name="T33" fmla="*/ 1090 h 1168"/>
              <a:gd name="T34" fmla="*/ 771 w 1226"/>
              <a:gd name="T35" fmla="*/ 1130 h 1168"/>
              <a:gd name="T36" fmla="*/ 801 w 1226"/>
              <a:gd name="T37" fmla="*/ 1157 h 1168"/>
              <a:gd name="T38" fmla="*/ 842 w 1226"/>
              <a:gd name="T39" fmla="*/ 1168 h 1168"/>
              <a:gd name="T40" fmla="*/ 880 w 1226"/>
              <a:gd name="T41" fmla="*/ 1163 h 1168"/>
              <a:gd name="T42" fmla="*/ 919 w 1226"/>
              <a:gd name="T43" fmla="*/ 1140 h 1168"/>
              <a:gd name="T44" fmla="*/ 944 w 1226"/>
              <a:gd name="T45" fmla="*/ 1107 h 1168"/>
              <a:gd name="T46" fmla="*/ 952 w 1226"/>
              <a:gd name="T47" fmla="*/ 1060 h 1168"/>
              <a:gd name="T48" fmla="*/ 930 w 1226"/>
              <a:gd name="T49" fmla="*/ 1010 h 1168"/>
              <a:gd name="T50" fmla="*/ 885 w 1226"/>
              <a:gd name="T51" fmla="*/ 989 h 1168"/>
              <a:gd name="T52" fmla="*/ 919 w 1226"/>
              <a:gd name="T53" fmla="*/ 879 h 1168"/>
              <a:gd name="T54" fmla="*/ 954 w 1226"/>
              <a:gd name="T55" fmla="*/ 807 h 1168"/>
              <a:gd name="T56" fmla="*/ 1024 w 1226"/>
              <a:gd name="T57" fmla="*/ 715 h 1168"/>
              <a:gd name="T58" fmla="*/ 1095 w 1226"/>
              <a:gd name="T59" fmla="*/ 673 h 1168"/>
              <a:gd name="T60" fmla="*/ 1125 w 1226"/>
              <a:gd name="T61" fmla="*/ 670 h 1168"/>
              <a:gd name="T62" fmla="*/ 1099 w 1226"/>
              <a:gd name="T63" fmla="*/ 633 h 1168"/>
              <a:gd name="T64" fmla="*/ 1083 w 1226"/>
              <a:gd name="T65" fmla="*/ 543 h 1168"/>
              <a:gd name="T66" fmla="*/ 1096 w 1226"/>
              <a:gd name="T67" fmla="*/ 477 h 1168"/>
              <a:gd name="T68" fmla="*/ 1132 w 1226"/>
              <a:gd name="T69" fmla="*/ 395 h 1168"/>
              <a:gd name="T70" fmla="*/ 1195 w 1226"/>
              <a:gd name="T71" fmla="*/ 258 h 1168"/>
              <a:gd name="T72" fmla="*/ 1225 w 1226"/>
              <a:gd name="T73" fmla="*/ 141 h 1168"/>
              <a:gd name="T74" fmla="*/ 1217 w 1226"/>
              <a:gd name="T75" fmla="*/ 95 h 1168"/>
              <a:gd name="T76" fmla="*/ 1187 w 1226"/>
              <a:gd name="T77" fmla="*/ 55 h 1168"/>
              <a:gd name="T78" fmla="*/ 1144 w 1226"/>
              <a:gd name="T79" fmla="*/ 34 h 1168"/>
              <a:gd name="T80" fmla="*/ 1104 w 1226"/>
              <a:gd name="T81" fmla="*/ 35 h 1168"/>
              <a:gd name="T82" fmla="*/ 1061 w 1226"/>
              <a:gd name="T83" fmla="*/ 57 h 1168"/>
              <a:gd name="T84" fmla="*/ 1033 w 1226"/>
              <a:gd name="T85" fmla="*/ 94 h 1168"/>
              <a:gd name="T86" fmla="*/ 1025 w 1226"/>
              <a:gd name="T87" fmla="*/ 139 h 1168"/>
              <a:gd name="T88" fmla="*/ 1048 w 1226"/>
              <a:gd name="T89" fmla="*/ 205 h 1168"/>
              <a:gd name="T90" fmla="*/ 1095 w 1226"/>
              <a:gd name="T91" fmla="*/ 230 h 1168"/>
              <a:gd name="T92" fmla="*/ 1107 w 1226"/>
              <a:gd name="T93" fmla="*/ 240 h 1168"/>
              <a:gd name="T94" fmla="*/ 1044 w 1226"/>
              <a:gd name="T95" fmla="*/ 390 h 1168"/>
              <a:gd name="T96" fmla="*/ 975 w 1226"/>
              <a:gd name="T97" fmla="*/ 431 h 1168"/>
              <a:gd name="T98" fmla="*/ 717 w 1226"/>
              <a:gd name="T99" fmla="*/ 289 h 1168"/>
              <a:gd name="T100" fmla="*/ 529 w 1226"/>
              <a:gd name="T101" fmla="*/ 205 h 1168"/>
              <a:gd name="T102" fmla="*/ 317 w 1226"/>
              <a:gd name="T103" fmla="*/ 140 h 1168"/>
              <a:gd name="T104" fmla="*/ 378 w 1226"/>
              <a:gd name="T105" fmla="*/ 31 h 1168"/>
              <a:gd name="T106" fmla="*/ 389 w 1226"/>
              <a:gd name="T107" fmla="*/ 0 h 1168"/>
              <a:gd name="T108" fmla="*/ 367 w 1226"/>
              <a:gd name="T109" fmla="*/ 10 h 1168"/>
              <a:gd name="T110" fmla="*/ 285 w 1226"/>
              <a:gd name="T111" fmla="*/ 57 h 1168"/>
              <a:gd name="T112" fmla="*/ 211 w 1226"/>
              <a:gd name="T113" fmla="*/ 85 h 1168"/>
              <a:gd name="T114" fmla="*/ 147 w 1226"/>
              <a:gd name="T115" fmla="*/ 85 h 1168"/>
              <a:gd name="T116" fmla="*/ 114 w 1226"/>
              <a:gd name="T117" fmla="*/ 85 h 1168"/>
              <a:gd name="T118" fmla="*/ 87 w 1226"/>
              <a:gd name="T119" fmla="*/ 134 h 1168"/>
              <a:gd name="T120" fmla="*/ 42 w 1226"/>
              <a:gd name="T121" fmla="*/ 261 h 1168"/>
              <a:gd name="T122" fmla="*/ 6 w 1226"/>
              <a:gd name="T123" fmla="*/ 327 h 1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6" h="1168">
                <a:moveTo>
                  <a:pt x="1" y="345"/>
                </a:moveTo>
                <a:lnTo>
                  <a:pt x="1" y="345"/>
                </a:lnTo>
                <a:lnTo>
                  <a:pt x="0" y="359"/>
                </a:lnTo>
                <a:lnTo>
                  <a:pt x="0" y="370"/>
                </a:lnTo>
                <a:lnTo>
                  <a:pt x="2" y="386"/>
                </a:lnTo>
                <a:lnTo>
                  <a:pt x="5" y="401"/>
                </a:lnTo>
                <a:lnTo>
                  <a:pt x="8" y="409"/>
                </a:lnTo>
                <a:lnTo>
                  <a:pt x="11" y="417"/>
                </a:lnTo>
                <a:lnTo>
                  <a:pt x="16" y="425"/>
                </a:lnTo>
                <a:lnTo>
                  <a:pt x="22" y="434"/>
                </a:lnTo>
                <a:lnTo>
                  <a:pt x="28" y="442"/>
                </a:lnTo>
                <a:lnTo>
                  <a:pt x="36" y="449"/>
                </a:lnTo>
                <a:lnTo>
                  <a:pt x="36" y="449"/>
                </a:lnTo>
                <a:lnTo>
                  <a:pt x="48" y="458"/>
                </a:lnTo>
                <a:lnTo>
                  <a:pt x="61" y="466"/>
                </a:lnTo>
                <a:lnTo>
                  <a:pt x="76" y="473"/>
                </a:lnTo>
                <a:lnTo>
                  <a:pt x="91" y="478"/>
                </a:lnTo>
                <a:lnTo>
                  <a:pt x="105" y="480"/>
                </a:lnTo>
                <a:lnTo>
                  <a:pt x="113" y="480"/>
                </a:lnTo>
                <a:lnTo>
                  <a:pt x="120" y="479"/>
                </a:lnTo>
                <a:lnTo>
                  <a:pt x="126" y="478"/>
                </a:lnTo>
                <a:lnTo>
                  <a:pt x="132" y="476"/>
                </a:lnTo>
                <a:lnTo>
                  <a:pt x="137" y="473"/>
                </a:lnTo>
                <a:lnTo>
                  <a:pt x="142" y="469"/>
                </a:lnTo>
                <a:lnTo>
                  <a:pt x="142" y="469"/>
                </a:lnTo>
                <a:lnTo>
                  <a:pt x="147" y="464"/>
                </a:lnTo>
                <a:lnTo>
                  <a:pt x="152" y="457"/>
                </a:lnTo>
                <a:lnTo>
                  <a:pt x="155" y="451"/>
                </a:lnTo>
                <a:lnTo>
                  <a:pt x="158" y="444"/>
                </a:lnTo>
                <a:lnTo>
                  <a:pt x="160" y="436"/>
                </a:lnTo>
                <a:lnTo>
                  <a:pt x="161" y="428"/>
                </a:lnTo>
                <a:lnTo>
                  <a:pt x="162" y="411"/>
                </a:lnTo>
                <a:lnTo>
                  <a:pt x="162" y="395"/>
                </a:lnTo>
                <a:lnTo>
                  <a:pt x="163" y="378"/>
                </a:lnTo>
                <a:lnTo>
                  <a:pt x="164" y="370"/>
                </a:lnTo>
                <a:lnTo>
                  <a:pt x="166" y="362"/>
                </a:lnTo>
                <a:lnTo>
                  <a:pt x="168" y="355"/>
                </a:lnTo>
                <a:lnTo>
                  <a:pt x="172" y="347"/>
                </a:lnTo>
                <a:lnTo>
                  <a:pt x="172" y="347"/>
                </a:lnTo>
                <a:lnTo>
                  <a:pt x="174" y="344"/>
                </a:lnTo>
                <a:lnTo>
                  <a:pt x="178" y="341"/>
                </a:lnTo>
                <a:lnTo>
                  <a:pt x="187" y="335"/>
                </a:lnTo>
                <a:lnTo>
                  <a:pt x="195" y="332"/>
                </a:lnTo>
                <a:lnTo>
                  <a:pt x="198" y="331"/>
                </a:lnTo>
                <a:lnTo>
                  <a:pt x="198" y="331"/>
                </a:lnTo>
                <a:lnTo>
                  <a:pt x="205" y="329"/>
                </a:lnTo>
                <a:lnTo>
                  <a:pt x="211" y="326"/>
                </a:lnTo>
                <a:lnTo>
                  <a:pt x="217" y="323"/>
                </a:lnTo>
                <a:lnTo>
                  <a:pt x="223" y="318"/>
                </a:lnTo>
                <a:lnTo>
                  <a:pt x="223" y="318"/>
                </a:lnTo>
                <a:lnTo>
                  <a:pt x="264" y="337"/>
                </a:lnTo>
                <a:lnTo>
                  <a:pt x="305" y="355"/>
                </a:lnTo>
                <a:lnTo>
                  <a:pt x="347" y="374"/>
                </a:lnTo>
                <a:lnTo>
                  <a:pt x="388" y="395"/>
                </a:lnTo>
                <a:lnTo>
                  <a:pt x="427" y="416"/>
                </a:lnTo>
                <a:lnTo>
                  <a:pt x="468" y="439"/>
                </a:lnTo>
                <a:lnTo>
                  <a:pt x="509" y="461"/>
                </a:lnTo>
                <a:lnTo>
                  <a:pt x="549" y="485"/>
                </a:lnTo>
                <a:lnTo>
                  <a:pt x="589" y="509"/>
                </a:lnTo>
                <a:lnTo>
                  <a:pt x="628" y="534"/>
                </a:lnTo>
                <a:lnTo>
                  <a:pt x="706" y="584"/>
                </a:lnTo>
                <a:lnTo>
                  <a:pt x="782" y="636"/>
                </a:lnTo>
                <a:lnTo>
                  <a:pt x="857" y="689"/>
                </a:lnTo>
                <a:lnTo>
                  <a:pt x="857" y="689"/>
                </a:lnTo>
                <a:lnTo>
                  <a:pt x="876" y="703"/>
                </a:lnTo>
                <a:lnTo>
                  <a:pt x="894" y="714"/>
                </a:lnTo>
                <a:lnTo>
                  <a:pt x="894" y="714"/>
                </a:lnTo>
                <a:lnTo>
                  <a:pt x="887" y="736"/>
                </a:lnTo>
                <a:lnTo>
                  <a:pt x="878" y="759"/>
                </a:lnTo>
                <a:lnTo>
                  <a:pt x="868" y="783"/>
                </a:lnTo>
                <a:lnTo>
                  <a:pt x="856" y="809"/>
                </a:lnTo>
                <a:lnTo>
                  <a:pt x="856" y="809"/>
                </a:lnTo>
                <a:lnTo>
                  <a:pt x="816" y="885"/>
                </a:lnTo>
                <a:lnTo>
                  <a:pt x="797" y="921"/>
                </a:lnTo>
                <a:lnTo>
                  <a:pt x="779" y="957"/>
                </a:lnTo>
                <a:lnTo>
                  <a:pt x="772" y="975"/>
                </a:lnTo>
                <a:lnTo>
                  <a:pt x="766" y="992"/>
                </a:lnTo>
                <a:lnTo>
                  <a:pt x="760" y="1008"/>
                </a:lnTo>
                <a:lnTo>
                  <a:pt x="756" y="1025"/>
                </a:lnTo>
                <a:lnTo>
                  <a:pt x="753" y="1040"/>
                </a:lnTo>
                <a:lnTo>
                  <a:pt x="751" y="1054"/>
                </a:lnTo>
                <a:lnTo>
                  <a:pt x="751" y="1069"/>
                </a:lnTo>
                <a:lnTo>
                  <a:pt x="752" y="1081"/>
                </a:lnTo>
                <a:lnTo>
                  <a:pt x="752" y="1081"/>
                </a:lnTo>
                <a:lnTo>
                  <a:pt x="754" y="1090"/>
                </a:lnTo>
                <a:lnTo>
                  <a:pt x="756" y="1099"/>
                </a:lnTo>
                <a:lnTo>
                  <a:pt x="759" y="1107"/>
                </a:lnTo>
                <a:lnTo>
                  <a:pt x="762" y="1116"/>
                </a:lnTo>
                <a:lnTo>
                  <a:pt x="766" y="1123"/>
                </a:lnTo>
                <a:lnTo>
                  <a:pt x="771" y="1130"/>
                </a:lnTo>
                <a:lnTo>
                  <a:pt x="776" y="1136"/>
                </a:lnTo>
                <a:lnTo>
                  <a:pt x="781" y="1142"/>
                </a:lnTo>
                <a:lnTo>
                  <a:pt x="787" y="1147"/>
                </a:lnTo>
                <a:lnTo>
                  <a:pt x="794" y="1152"/>
                </a:lnTo>
                <a:lnTo>
                  <a:pt x="801" y="1157"/>
                </a:lnTo>
                <a:lnTo>
                  <a:pt x="808" y="1160"/>
                </a:lnTo>
                <a:lnTo>
                  <a:pt x="816" y="1163"/>
                </a:lnTo>
                <a:lnTo>
                  <a:pt x="824" y="1165"/>
                </a:lnTo>
                <a:lnTo>
                  <a:pt x="833" y="1167"/>
                </a:lnTo>
                <a:lnTo>
                  <a:pt x="842" y="1168"/>
                </a:lnTo>
                <a:lnTo>
                  <a:pt x="842" y="1168"/>
                </a:lnTo>
                <a:lnTo>
                  <a:pt x="852" y="1168"/>
                </a:lnTo>
                <a:lnTo>
                  <a:pt x="862" y="1167"/>
                </a:lnTo>
                <a:lnTo>
                  <a:pt x="871" y="1165"/>
                </a:lnTo>
                <a:lnTo>
                  <a:pt x="880" y="1163"/>
                </a:lnTo>
                <a:lnTo>
                  <a:pt x="889" y="1160"/>
                </a:lnTo>
                <a:lnTo>
                  <a:pt x="897" y="1155"/>
                </a:lnTo>
                <a:lnTo>
                  <a:pt x="905" y="1151"/>
                </a:lnTo>
                <a:lnTo>
                  <a:pt x="912" y="1146"/>
                </a:lnTo>
                <a:lnTo>
                  <a:pt x="919" y="1140"/>
                </a:lnTo>
                <a:lnTo>
                  <a:pt x="925" y="1135"/>
                </a:lnTo>
                <a:lnTo>
                  <a:pt x="931" y="1129"/>
                </a:lnTo>
                <a:lnTo>
                  <a:pt x="936" y="1122"/>
                </a:lnTo>
                <a:lnTo>
                  <a:pt x="940" y="1115"/>
                </a:lnTo>
                <a:lnTo>
                  <a:pt x="944" y="1107"/>
                </a:lnTo>
                <a:lnTo>
                  <a:pt x="947" y="1100"/>
                </a:lnTo>
                <a:lnTo>
                  <a:pt x="949" y="1092"/>
                </a:lnTo>
                <a:lnTo>
                  <a:pt x="949" y="1092"/>
                </a:lnTo>
                <a:lnTo>
                  <a:pt x="951" y="1076"/>
                </a:lnTo>
                <a:lnTo>
                  <a:pt x="952" y="1060"/>
                </a:lnTo>
                <a:lnTo>
                  <a:pt x="950" y="1048"/>
                </a:lnTo>
                <a:lnTo>
                  <a:pt x="947" y="1036"/>
                </a:lnTo>
                <a:lnTo>
                  <a:pt x="942" y="1027"/>
                </a:lnTo>
                <a:lnTo>
                  <a:pt x="937" y="1017"/>
                </a:lnTo>
                <a:lnTo>
                  <a:pt x="930" y="1010"/>
                </a:lnTo>
                <a:lnTo>
                  <a:pt x="922" y="1005"/>
                </a:lnTo>
                <a:lnTo>
                  <a:pt x="915" y="1000"/>
                </a:lnTo>
                <a:lnTo>
                  <a:pt x="908" y="996"/>
                </a:lnTo>
                <a:lnTo>
                  <a:pt x="894" y="991"/>
                </a:lnTo>
                <a:lnTo>
                  <a:pt x="885" y="989"/>
                </a:lnTo>
                <a:lnTo>
                  <a:pt x="880" y="989"/>
                </a:lnTo>
                <a:lnTo>
                  <a:pt x="880" y="989"/>
                </a:lnTo>
                <a:lnTo>
                  <a:pt x="896" y="944"/>
                </a:lnTo>
                <a:lnTo>
                  <a:pt x="908" y="908"/>
                </a:lnTo>
                <a:lnTo>
                  <a:pt x="919" y="879"/>
                </a:lnTo>
                <a:lnTo>
                  <a:pt x="919" y="879"/>
                </a:lnTo>
                <a:lnTo>
                  <a:pt x="927" y="859"/>
                </a:lnTo>
                <a:lnTo>
                  <a:pt x="937" y="841"/>
                </a:lnTo>
                <a:lnTo>
                  <a:pt x="945" y="823"/>
                </a:lnTo>
                <a:lnTo>
                  <a:pt x="954" y="807"/>
                </a:lnTo>
                <a:lnTo>
                  <a:pt x="962" y="792"/>
                </a:lnTo>
                <a:lnTo>
                  <a:pt x="971" y="777"/>
                </a:lnTo>
                <a:lnTo>
                  <a:pt x="989" y="753"/>
                </a:lnTo>
                <a:lnTo>
                  <a:pt x="1006" y="732"/>
                </a:lnTo>
                <a:lnTo>
                  <a:pt x="1024" y="715"/>
                </a:lnTo>
                <a:lnTo>
                  <a:pt x="1040" y="702"/>
                </a:lnTo>
                <a:lnTo>
                  <a:pt x="1055" y="690"/>
                </a:lnTo>
                <a:lnTo>
                  <a:pt x="1070" y="683"/>
                </a:lnTo>
                <a:lnTo>
                  <a:pt x="1083" y="677"/>
                </a:lnTo>
                <a:lnTo>
                  <a:pt x="1095" y="673"/>
                </a:lnTo>
                <a:lnTo>
                  <a:pt x="1105" y="671"/>
                </a:lnTo>
                <a:lnTo>
                  <a:pt x="1114" y="670"/>
                </a:lnTo>
                <a:lnTo>
                  <a:pt x="1120" y="670"/>
                </a:lnTo>
                <a:lnTo>
                  <a:pt x="1125" y="670"/>
                </a:lnTo>
                <a:lnTo>
                  <a:pt x="1125" y="670"/>
                </a:lnTo>
                <a:lnTo>
                  <a:pt x="1121" y="666"/>
                </a:lnTo>
                <a:lnTo>
                  <a:pt x="1116" y="661"/>
                </a:lnTo>
                <a:lnTo>
                  <a:pt x="1111" y="653"/>
                </a:lnTo>
                <a:lnTo>
                  <a:pt x="1104" y="644"/>
                </a:lnTo>
                <a:lnTo>
                  <a:pt x="1099" y="633"/>
                </a:lnTo>
                <a:lnTo>
                  <a:pt x="1093" y="620"/>
                </a:lnTo>
                <a:lnTo>
                  <a:pt x="1088" y="603"/>
                </a:lnTo>
                <a:lnTo>
                  <a:pt x="1085" y="586"/>
                </a:lnTo>
                <a:lnTo>
                  <a:pt x="1083" y="566"/>
                </a:lnTo>
                <a:lnTo>
                  <a:pt x="1083" y="543"/>
                </a:lnTo>
                <a:lnTo>
                  <a:pt x="1084" y="531"/>
                </a:lnTo>
                <a:lnTo>
                  <a:pt x="1086" y="519"/>
                </a:lnTo>
                <a:lnTo>
                  <a:pt x="1088" y="505"/>
                </a:lnTo>
                <a:lnTo>
                  <a:pt x="1092" y="491"/>
                </a:lnTo>
                <a:lnTo>
                  <a:pt x="1096" y="477"/>
                </a:lnTo>
                <a:lnTo>
                  <a:pt x="1101" y="461"/>
                </a:lnTo>
                <a:lnTo>
                  <a:pt x="1107" y="446"/>
                </a:lnTo>
                <a:lnTo>
                  <a:pt x="1115" y="430"/>
                </a:lnTo>
                <a:lnTo>
                  <a:pt x="1123" y="412"/>
                </a:lnTo>
                <a:lnTo>
                  <a:pt x="1132" y="395"/>
                </a:lnTo>
                <a:lnTo>
                  <a:pt x="1132" y="395"/>
                </a:lnTo>
                <a:lnTo>
                  <a:pt x="1152" y="358"/>
                </a:lnTo>
                <a:lnTo>
                  <a:pt x="1169" y="322"/>
                </a:lnTo>
                <a:lnTo>
                  <a:pt x="1184" y="289"/>
                </a:lnTo>
                <a:lnTo>
                  <a:pt x="1195" y="258"/>
                </a:lnTo>
                <a:lnTo>
                  <a:pt x="1206" y="227"/>
                </a:lnTo>
                <a:lnTo>
                  <a:pt x="1214" y="197"/>
                </a:lnTo>
                <a:lnTo>
                  <a:pt x="1220" y="169"/>
                </a:lnTo>
                <a:lnTo>
                  <a:pt x="1225" y="141"/>
                </a:lnTo>
                <a:lnTo>
                  <a:pt x="1225" y="141"/>
                </a:lnTo>
                <a:lnTo>
                  <a:pt x="1226" y="132"/>
                </a:lnTo>
                <a:lnTo>
                  <a:pt x="1225" y="123"/>
                </a:lnTo>
                <a:lnTo>
                  <a:pt x="1224" y="114"/>
                </a:lnTo>
                <a:lnTo>
                  <a:pt x="1221" y="104"/>
                </a:lnTo>
                <a:lnTo>
                  <a:pt x="1217" y="95"/>
                </a:lnTo>
                <a:lnTo>
                  <a:pt x="1213" y="87"/>
                </a:lnTo>
                <a:lnTo>
                  <a:pt x="1208" y="78"/>
                </a:lnTo>
                <a:lnTo>
                  <a:pt x="1202" y="70"/>
                </a:lnTo>
                <a:lnTo>
                  <a:pt x="1194" y="63"/>
                </a:lnTo>
                <a:lnTo>
                  <a:pt x="1187" y="55"/>
                </a:lnTo>
                <a:lnTo>
                  <a:pt x="1179" y="49"/>
                </a:lnTo>
                <a:lnTo>
                  <a:pt x="1171" y="44"/>
                </a:lnTo>
                <a:lnTo>
                  <a:pt x="1163" y="39"/>
                </a:lnTo>
                <a:lnTo>
                  <a:pt x="1153" y="36"/>
                </a:lnTo>
                <a:lnTo>
                  <a:pt x="1144" y="34"/>
                </a:lnTo>
                <a:lnTo>
                  <a:pt x="1134" y="32"/>
                </a:lnTo>
                <a:lnTo>
                  <a:pt x="1134" y="32"/>
                </a:lnTo>
                <a:lnTo>
                  <a:pt x="1124" y="32"/>
                </a:lnTo>
                <a:lnTo>
                  <a:pt x="1115" y="33"/>
                </a:lnTo>
                <a:lnTo>
                  <a:pt x="1104" y="35"/>
                </a:lnTo>
                <a:lnTo>
                  <a:pt x="1095" y="38"/>
                </a:lnTo>
                <a:lnTo>
                  <a:pt x="1086" y="42"/>
                </a:lnTo>
                <a:lnTo>
                  <a:pt x="1078" y="46"/>
                </a:lnTo>
                <a:lnTo>
                  <a:pt x="1070" y="52"/>
                </a:lnTo>
                <a:lnTo>
                  <a:pt x="1061" y="57"/>
                </a:lnTo>
                <a:lnTo>
                  <a:pt x="1054" y="65"/>
                </a:lnTo>
                <a:lnTo>
                  <a:pt x="1048" y="71"/>
                </a:lnTo>
                <a:lnTo>
                  <a:pt x="1042" y="78"/>
                </a:lnTo>
                <a:lnTo>
                  <a:pt x="1037" y="86"/>
                </a:lnTo>
                <a:lnTo>
                  <a:pt x="1033" y="94"/>
                </a:lnTo>
                <a:lnTo>
                  <a:pt x="1029" y="102"/>
                </a:lnTo>
                <a:lnTo>
                  <a:pt x="1027" y="111"/>
                </a:lnTo>
                <a:lnTo>
                  <a:pt x="1026" y="119"/>
                </a:lnTo>
                <a:lnTo>
                  <a:pt x="1026" y="119"/>
                </a:lnTo>
                <a:lnTo>
                  <a:pt x="1025" y="139"/>
                </a:lnTo>
                <a:lnTo>
                  <a:pt x="1026" y="158"/>
                </a:lnTo>
                <a:lnTo>
                  <a:pt x="1030" y="173"/>
                </a:lnTo>
                <a:lnTo>
                  <a:pt x="1035" y="185"/>
                </a:lnTo>
                <a:lnTo>
                  <a:pt x="1041" y="195"/>
                </a:lnTo>
                <a:lnTo>
                  <a:pt x="1048" y="205"/>
                </a:lnTo>
                <a:lnTo>
                  <a:pt x="1056" y="212"/>
                </a:lnTo>
                <a:lnTo>
                  <a:pt x="1065" y="217"/>
                </a:lnTo>
                <a:lnTo>
                  <a:pt x="1073" y="221"/>
                </a:lnTo>
                <a:lnTo>
                  <a:pt x="1081" y="225"/>
                </a:lnTo>
                <a:lnTo>
                  <a:pt x="1095" y="230"/>
                </a:lnTo>
                <a:lnTo>
                  <a:pt x="1101" y="232"/>
                </a:lnTo>
                <a:lnTo>
                  <a:pt x="1104" y="234"/>
                </a:lnTo>
                <a:lnTo>
                  <a:pt x="1107" y="237"/>
                </a:lnTo>
                <a:lnTo>
                  <a:pt x="1107" y="240"/>
                </a:lnTo>
                <a:lnTo>
                  <a:pt x="1107" y="240"/>
                </a:lnTo>
                <a:lnTo>
                  <a:pt x="1096" y="276"/>
                </a:lnTo>
                <a:lnTo>
                  <a:pt x="1084" y="309"/>
                </a:lnTo>
                <a:lnTo>
                  <a:pt x="1071" y="339"/>
                </a:lnTo>
                <a:lnTo>
                  <a:pt x="1057" y="365"/>
                </a:lnTo>
                <a:lnTo>
                  <a:pt x="1044" y="390"/>
                </a:lnTo>
                <a:lnTo>
                  <a:pt x="1031" y="411"/>
                </a:lnTo>
                <a:lnTo>
                  <a:pt x="1016" y="431"/>
                </a:lnTo>
                <a:lnTo>
                  <a:pt x="1002" y="447"/>
                </a:lnTo>
                <a:lnTo>
                  <a:pt x="1002" y="447"/>
                </a:lnTo>
                <a:lnTo>
                  <a:pt x="975" y="431"/>
                </a:lnTo>
                <a:lnTo>
                  <a:pt x="942" y="411"/>
                </a:lnTo>
                <a:lnTo>
                  <a:pt x="942" y="411"/>
                </a:lnTo>
                <a:lnTo>
                  <a:pt x="865" y="369"/>
                </a:lnTo>
                <a:lnTo>
                  <a:pt x="790" y="328"/>
                </a:lnTo>
                <a:lnTo>
                  <a:pt x="717" y="289"/>
                </a:lnTo>
                <a:lnTo>
                  <a:pt x="680" y="271"/>
                </a:lnTo>
                <a:lnTo>
                  <a:pt x="643" y="254"/>
                </a:lnTo>
                <a:lnTo>
                  <a:pt x="606" y="236"/>
                </a:lnTo>
                <a:lnTo>
                  <a:pt x="568" y="221"/>
                </a:lnTo>
                <a:lnTo>
                  <a:pt x="529" y="205"/>
                </a:lnTo>
                <a:lnTo>
                  <a:pt x="489" y="190"/>
                </a:lnTo>
                <a:lnTo>
                  <a:pt x="448" y="176"/>
                </a:lnTo>
                <a:lnTo>
                  <a:pt x="406" y="164"/>
                </a:lnTo>
                <a:lnTo>
                  <a:pt x="362" y="151"/>
                </a:lnTo>
                <a:lnTo>
                  <a:pt x="317" y="140"/>
                </a:lnTo>
                <a:lnTo>
                  <a:pt x="317" y="140"/>
                </a:lnTo>
                <a:lnTo>
                  <a:pt x="334" y="107"/>
                </a:lnTo>
                <a:lnTo>
                  <a:pt x="334" y="107"/>
                </a:lnTo>
                <a:lnTo>
                  <a:pt x="360" y="63"/>
                </a:lnTo>
                <a:lnTo>
                  <a:pt x="378" y="31"/>
                </a:lnTo>
                <a:lnTo>
                  <a:pt x="385" y="20"/>
                </a:lnTo>
                <a:lnTo>
                  <a:pt x="389" y="10"/>
                </a:lnTo>
                <a:lnTo>
                  <a:pt x="391" y="4"/>
                </a:lnTo>
                <a:lnTo>
                  <a:pt x="390" y="2"/>
                </a:lnTo>
                <a:lnTo>
                  <a:pt x="389" y="0"/>
                </a:lnTo>
                <a:lnTo>
                  <a:pt x="389" y="0"/>
                </a:lnTo>
                <a:lnTo>
                  <a:pt x="388" y="0"/>
                </a:lnTo>
                <a:lnTo>
                  <a:pt x="387" y="0"/>
                </a:lnTo>
                <a:lnTo>
                  <a:pt x="381" y="1"/>
                </a:lnTo>
                <a:lnTo>
                  <a:pt x="367" y="10"/>
                </a:lnTo>
                <a:lnTo>
                  <a:pt x="343" y="26"/>
                </a:lnTo>
                <a:lnTo>
                  <a:pt x="326" y="35"/>
                </a:lnTo>
                <a:lnTo>
                  <a:pt x="307" y="46"/>
                </a:lnTo>
                <a:lnTo>
                  <a:pt x="307" y="46"/>
                </a:lnTo>
                <a:lnTo>
                  <a:pt x="285" y="57"/>
                </a:lnTo>
                <a:lnTo>
                  <a:pt x="267" y="67"/>
                </a:lnTo>
                <a:lnTo>
                  <a:pt x="252" y="73"/>
                </a:lnTo>
                <a:lnTo>
                  <a:pt x="237" y="78"/>
                </a:lnTo>
                <a:lnTo>
                  <a:pt x="224" y="82"/>
                </a:lnTo>
                <a:lnTo>
                  <a:pt x="211" y="85"/>
                </a:lnTo>
                <a:lnTo>
                  <a:pt x="183" y="89"/>
                </a:lnTo>
                <a:lnTo>
                  <a:pt x="183" y="89"/>
                </a:lnTo>
                <a:lnTo>
                  <a:pt x="174" y="89"/>
                </a:lnTo>
                <a:lnTo>
                  <a:pt x="165" y="88"/>
                </a:lnTo>
                <a:lnTo>
                  <a:pt x="147" y="85"/>
                </a:lnTo>
                <a:lnTo>
                  <a:pt x="132" y="81"/>
                </a:lnTo>
                <a:lnTo>
                  <a:pt x="125" y="81"/>
                </a:lnTo>
                <a:lnTo>
                  <a:pt x="120" y="82"/>
                </a:lnTo>
                <a:lnTo>
                  <a:pt x="120" y="82"/>
                </a:lnTo>
                <a:lnTo>
                  <a:pt x="114" y="85"/>
                </a:lnTo>
                <a:lnTo>
                  <a:pt x="107" y="91"/>
                </a:lnTo>
                <a:lnTo>
                  <a:pt x="102" y="98"/>
                </a:lnTo>
                <a:lnTo>
                  <a:pt x="97" y="107"/>
                </a:lnTo>
                <a:lnTo>
                  <a:pt x="92" y="120"/>
                </a:lnTo>
                <a:lnTo>
                  <a:pt x="87" y="134"/>
                </a:lnTo>
                <a:lnTo>
                  <a:pt x="74" y="171"/>
                </a:lnTo>
                <a:lnTo>
                  <a:pt x="74" y="171"/>
                </a:lnTo>
                <a:lnTo>
                  <a:pt x="49" y="242"/>
                </a:lnTo>
                <a:lnTo>
                  <a:pt x="42" y="261"/>
                </a:lnTo>
                <a:lnTo>
                  <a:pt x="42" y="261"/>
                </a:lnTo>
                <a:lnTo>
                  <a:pt x="34" y="279"/>
                </a:lnTo>
                <a:lnTo>
                  <a:pt x="27" y="293"/>
                </a:lnTo>
                <a:lnTo>
                  <a:pt x="14" y="312"/>
                </a:lnTo>
                <a:lnTo>
                  <a:pt x="10" y="320"/>
                </a:lnTo>
                <a:lnTo>
                  <a:pt x="6" y="327"/>
                </a:lnTo>
                <a:lnTo>
                  <a:pt x="3" y="335"/>
                </a:lnTo>
                <a:lnTo>
                  <a:pt x="1" y="34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6" name="Freeform 33"/>
          <p:cNvSpPr>
            <a:spLocks/>
          </p:cNvSpPr>
          <p:nvPr userDrawn="1"/>
        </p:nvSpPr>
        <p:spPr bwMode="auto">
          <a:xfrm>
            <a:off x="7189787" y="1214140"/>
            <a:ext cx="39688" cy="46038"/>
          </a:xfrm>
          <a:custGeom>
            <a:avLst/>
            <a:gdLst>
              <a:gd name="T0" fmla="*/ 103 w 296"/>
              <a:gd name="T1" fmla="*/ 350 h 350"/>
              <a:gd name="T2" fmla="*/ 103 w 296"/>
              <a:gd name="T3" fmla="*/ 350 h 350"/>
              <a:gd name="T4" fmla="*/ 132 w 296"/>
              <a:gd name="T5" fmla="*/ 349 h 350"/>
              <a:gd name="T6" fmla="*/ 164 w 296"/>
              <a:gd name="T7" fmla="*/ 346 h 350"/>
              <a:gd name="T8" fmla="*/ 196 w 296"/>
              <a:gd name="T9" fmla="*/ 343 h 350"/>
              <a:gd name="T10" fmla="*/ 226 w 296"/>
              <a:gd name="T11" fmla="*/ 339 h 350"/>
              <a:gd name="T12" fmla="*/ 276 w 296"/>
              <a:gd name="T13" fmla="*/ 333 h 350"/>
              <a:gd name="T14" fmla="*/ 296 w 296"/>
              <a:gd name="T15" fmla="*/ 329 h 350"/>
              <a:gd name="T16" fmla="*/ 293 w 296"/>
              <a:gd name="T17" fmla="*/ 25 h 350"/>
              <a:gd name="T18" fmla="*/ 293 w 296"/>
              <a:gd name="T19" fmla="*/ 25 h 350"/>
              <a:gd name="T20" fmla="*/ 244 w 296"/>
              <a:gd name="T21" fmla="*/ 18 h 350"/>
              <a:gd name="T22" fmla="*/ 142 w 296"/>
              <a:gd name="T23" fmla="*/ 2 h 350"/>
              <a:gd name="T24" fmla="*/ 142 w 296"/>
              <a:gd name="T25" fmla="*/ 2 h 350"/>
              <a:gd name="T26" fmla="*/ 129 w 296"/>
              <a:gd name="T27" fmla="*/ 1 h 350"/>
              <a:gd name="T28" fmla="*/ 117 w 296"/>
              <a:gd name="T29" fmla="*/ 0 h 350"/>
              <a:gd name="T30" fmla="*/ 105 w 296"/>
              <a:gd name="T31" fmla="*/ 0 h 350"/>
              <a:gd name="T32" fmla="*/ 94 w 296"/>
              <a:gd name="T33" fmla="*/ 1 h 350"/>
              <a:gd name="T34" fmla="*/ 84 w 296"/>
              <a:gd name="T35" fmla="*/ 3 h 350"/>
              <a:gd name="T36" fmla="*/ 75 w 296"/>
              <a:gd name="T37" fmla="*/ 6 h 350"/>
              <a:gd name="T38" fmla="*/ 66 w 296"/>
              <a:gd name="T39" fmla="*/ 9 h 350"/>
              <a:gd name="T40" fmla="*/ 59 w 296"/>
              <a:gd name="T41" fmla="*/ 13 h 350"/>
              <a:gd name="T42" fmla="*/ 51 w 296"/>
              <a:gd name="T43" fmla="*/ 17 h 350"/>
              <a:gd name="T44" fmla="*/ 44 w 296"/>
              <a:gd name="T45" fmla="*/ 22 h 350"/>
              <a:gd name="T46" fmla="*/ 38 w 296"/>
              <a:gd name="T47" fmla="*/ 27 h 350"/>
              <a:gd name="T48" fmla="*/ 33 w 296"/>
              <a:gd name="T49" fmla="*/ 32 h 350"/>
              <a:gd name="T50" fmla="*/ 24 w 296"/>
              <a:gd name="T51" fmla="*/ 45 h 350"/>
              <a:gd name="T52" fmla="*/ 17 w 296"/>
              <a:gd name="T53" fmla="*/ 57 h 350"/>
              <a:gd name="T54" fmla="*/ 11 w 296"/>
              <a:gd name="T55" fmla="*/ 70 h 350"/>
              <a:gd name="T56" fmla="*/ 6 w 296"/>
              <a:gd name="T57" fmla="*/ 83 h 350"/>
              <a:gd name="T58" fmla="*/ 3 w 296"/>
              <a:gd name="T59" fmla="*/ 96 h 350"/>
              <a:gd name="T60" fmla="*/ 1 w 296"/>
              <a:gd name="T61" fmla="*/ 106 h 350"/>
              <a:gd name="T62" fmla="*/ 0 w 296"/>
              <a:gd name="T63" fmla="*/ 123 h 350"/>
              <a:gd name="T64" fmla="*/ 0 w 296"/>
              <a:gd name="T65" fmla="*/ 129 h 350"/>
              <a:gd name="T66" fmla="*/ 4 w 296"/>
              <a:gd name="T67" fmla="*/ 213 h 350"/>
              <a:gd name="T68" fmla="*/ 4 w 296"/>
              <a:gd name="T69" fmla="*/ 213 h 350"/>
              <a:gd name="T70" fmla="*/ 4 w 296"/>
              <a:gd name="T71" fmla="*/ 219 h 350"/>
              <a:gd name="T72" fmla="*/ 6 w 296"/>
              <a:gd name="T73" fmla="*/ 235 h 350"/>
              <a:gd name="T74" fmla="*/ 11 w 296"/>
              <a:gd name="T75" fmla="*/ 256 h 350"/>
              <a:gd name="T76" fmla="*/ 15 w 296"/>
              <a:gd name="T77" fmla="*/ 268 h 350"/>
              <a:gd name="T78" fmla="*/ 19 w 296"/>
              <a:gd name="T79" fmla="*/ 282 h 350"/>
              <a:gd name="T80" fmla="*/ 24 w 296"/>
              <a:gd name="T81" fmla="*/ 294 h 350"/>
              <a:gd name="T82" fmla="*/ 31 w 296"/>
              <a:gd name="T83" fmla="*/ 306 h 350"/>
              <a:gd name="T84" fmla="*/ 39 w 296"/>
              <a:gd name="T85" fmla="*/ 319 h 350"/>
              <a:gd name="T86" fmla="*/ 48 w 296"/>
              <a:gd name="T87" fmla="*/ 329 h 350"/>
              <a:gd name="T88" fmla="*/ 53 w 296"/>
              <a:gd name="T89" fmla="*/ 333 h 350"/>
              <a:gd name="T90" fmla="*/ 60 w 296"/>
              <a:gd name="T91" fmla="*/ 337 h 350"/>
              <a:gd name="T92" fmla="*/ 66 w 296"/>
              <a:gd name="T93" fmla="*/ 341 h 350"/>
              <a:gd name="T94" fmla="*/ 72 w 296"/>
              <a:gd name="T95" fmla="*/ 344 h 350"/>
              <a:gd name="T96" fmla="*/ 79 w 296"/>
              <a:gd name="T97" fmla="*/ 346 h 350"/>
              <a:gd name="T98" fmla="*/ 86 w 296"/>
              <a:gd name="T99" fmla="*/ 348 h 350"/>
              <a:gd name="T100" fmla="*/ 94 w 296"/>
              <a:gd name="T101" fmla="*/ 349 h 350"/>
              <a:gd name="T102" fmla="*/ 103 w 296"/>
              <a:gd name="T103" fmla="*/ 35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6" h="350">
                <a:moveTo>
                  <a:pt x="103" y="350"/>
                </a:moveTo>
                <a:lnTo>
                  <a:pt x="103" y="350"/>
                </a:lnTo>
                <a:lnTo>
                  <a:pt x="132" y="349"/>
                </a:lnTo>
                <a:lnTo>
                  <a:pt x="164" y="346"/>
                </a:lnTo>
                <a:lnTo>
                  <a:pt x="196" y="343"/>
                </a:lnTo>
                <a:lnTo>
                  <a:pt x="226" y="339"/>
                </a:lnTo>
                <a:lnTo>
                  <a:pt x="276" y="333"/>
                </a:lnTo>
                <a:lnTo>
                  <a:pt x="296" y="329"/>
                </a:lnTo>
                <a:lnTo>
                  <a:pt x="293" y="25"/>
                </a:lnTo>
                <a:lnTo>
                  <a:pt x="293" y="25"/>
                </a:lnTo>
                <a:lnTo>
                  <a:pt x="244" y="18"/>
                </a:lnTo>
                <a:lnTo>
                  <a:pt x="142" y="2"/>
                </a:lnTo>
                <a:lnTo>
                  <a:pt x="142" y="2"/>
                </a:lnTo>
                <a:lnTo>
                  <a:pt x="129" y="1"/>
                </a:lnTo>
                <a:lnTo>
                  <a:pt x="117" y="0"/>
                </a:lnTo>
                <a:lnTo>
                  <a:pt x="105" y="0"/>
                </a:lnTo>
                <a:lnTo>
                  <a:pt x="94" y="1"/>
                </a:lnTo>
                <a:lnTo>
                  <a:pt x="84" y="3"/>
                </a:lnTo>
                <a:lnTo>
                  <a:pt x="75" y="6"/>
                </a:lnTo>
                <a:lnTo>
                  <a:pt x="66" y="9"/>
                </a:lnTo>
                <a:lnTo>
                  <a:pt x="59" y="13"/>
                </a:lnTo>
                <a:lnTo>
                  <a:pt x="51" y="17"/>
                </a:lnTo>
                <a:lnTo>
                  <a:pt x="44" y="22"/>
                </a:lnTo>
                <a:lnTo>
                  <a:pt x="38" y="27"/>
                </a:lnTo>
                <a:lnTo>
                  <a:pt x="33" y="32"/>
                </a:lnTo>
                <a:lnTo>
                  <a:pt x="24" y="45"/>
                </a:lnTo>
                <a:lnTo>
                  <a:pt x="17" y="57"/>
                </a:lnTo>
                <a:lnTo>
                  <a:pt x="11" y="70"/>
                </a:lnTo>
                <a:lnTo>
                  <a:pt x="6" y="83"/>
                </a:lnTo>
                <a:lnTo>
                  <a:pt x="3" y="96"/>
                </a:lnTo>
                <a:lnTo>
                  <a:pt x="1" y="106"/>
                </a:lnTo>
                <a:lnTo>
                  <a:pt x="0" y="123"/>
                </a:lnTo>
                <a:lnTo>
                  <a:pt x="0" y="129"/>
                </a:lnTo>
                <a:lnTo>
                  <a:pt x="4" y="213"/>
                </a:lnTo>
                <a:lnTo>
                  <a:pt x="4" y="213"/>
                </a:lnTo>
                <a:lnTo>
                  <a:pt x="4" y="219"/>
                </a:lnTo>
                <a:lnTo>
                  <a:pt x="6" y="235"/>
                </a:lnTo>
                <a:lnTo>
                  <a:pt x="11" y="256"/>
                </a:lnTo>
                <a:lnTo>
                  <a:pt x="15" y="268"/>
                </a:lnTo>
                <a:lnTo>
                  <a:pt x="19" y="282"/>
                </a:lnTo>
                <a:lnTo>
                  <a:pt x="24" y="294"/>
                </a:lnTo>
                <a:lnTo>
                  <a:pt x="31" y="306"/>
                </a:lnTo>
                <a:lnTo>
                  <a:pt x="39" y="319"/>
                </a:lnTo>
                <a:lnTo>
                  <a:pt x="48" y="329"/>
                </a:lnTo>
                <a:lnTo>
                  <a:pt x="53" y="333"/>
                </a:lnTo>
                <a:lnTo>
                  <a:pt x="60" y="337"/>
                </a:lnTo>
                <a:lnTo>
                  <a:pt x="66" y="341"/>
                </a:lnTo>
                <a:lnTo>
                  <a:pt x="72" y="344"/>
                </a:lnTo>
                <a:lnTo>
                  <a:pt x="79" y="346"/>
                </a:lnTo>
                <a:lnTo>
                  <a:pt x="86" y="348"/>
                </a:lnTo>
                <a:lnTo>
                  <a:pt x="94" y="349"/>
                </a:lnTo>
                <a:lnTo>
                  <a:pt x="103" y="3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7" name="Freeform 34"/>
          <p:cNvSpPr>
            <a:spLocks/>
          </p:cNvSpPr>
          <p:nvPr userDrawn="1"/>
        </p:nvSpPr>
        <p:spPr bwMode="auto">
          <a:xfrm>
            <a:off x="7237413" y="1203028"/>
            <a:ext cx="60325" cy="57150"/>
          </a:xfrm>
          <a:custGeom>
            <a:avLst/>
            <a:gdLst>
              <a:gd name="T0" fmla="*/ 450 w 450"/>
              <a:gd name="T1" fmla="*/ 290 h 425"/>
              <a:gd name="T2" fmla="*/ 450 w 450"/>
              <a:gd name="T3" fmla="*/ 225 h 425"/>
              <a:gd name="T4" fmla="*/ 449 w 450"/>
              <a:gd name="T5" fmla="*/ 54 h 425"/>
              <a:gd name="T6" fmla="*/ 444 w 450"/>
              <a:gd name="T7" fmla="*/ 20 h 425"/>
              <a:gd name="T8" fmla="*/ 436 w 450"/>
              <a:gd name="T9" fmla="*/ 3 h 425"/>
              <a:gd name="T10" fmla="*/ 429 w 450"/>
              <a:gd name="T11" fmla="*/ 0 h 425"/>
              <a:gd name="T12" fmla="*/ 367 w 450"/>
              <a:gd name="T13" fmla="*/ 2 h 425"/>
              <a:gd name="T14" fmla="*/ 362 w 450"/>
              <a:gd name="T15" fmla="*/ 14 h 425"/>
              <a:gd name="T16" fmla="*/ 347 w 450"/>
              <a:gd name="T17" fmla="*/ 59 h 425"/>
              <a:gd name="T18" fmla="*/ 325 w 450"/>
              <a:gd name="T19" fmla="*/ 2 h 425"/>
              <a:gd name="T20" fmla="*/ 261 w 450"/>
              <a:gd name="T21" fmla="*/ 2 h 425"/>
              <a:gd name="T22" fmla="*/ 242 w 450"/>
              <a:gd name="T23" fmla="*/ 16 h 425"/>
              <a:gd name="T24" fmla="*/ 224 w 450"/>
              <a:gd name="T25" fmla="*/ 64 h 425"/>
              <a:gd name="T26" fmla="*/ 192 w 450"/>
              <a:gd name="T27" fmla="*/ 4 h 425"/>
              <a:gd name="T28" fmla="*/ 135 w 450"/>
              <a:gd name="T29" fmla="*/ 6 h 425"/>
              <a:gd name="T30" fmla="*/ 127 w 450"/>
              <a:gd name="T31" fmla="*/ 11 h 425"/>
              <a:gd name="T32" fmla="*/ 110 w 450"/>
              <a:gd name="T33" fmla="*/ 53 h 425"/>
              <a:gd name="T34" fmla="*/ 86 w 450"/>
              <a:gd name="T35" fmla="*/ 6 h 425"/>
              <a:gd name="T36" fmla="*/ 38 w 450"/>
              <a:gd name="T37" fmla="*/ 6 h 425"/>
              <a:gd name="T38" fmla="*/ 25 w 450"/>
              <a:gd name="T39" fmla="*/ 10 h 425"/>
              <a:gd name="T40" fmla="*/ 10 w 450"/>
              <a:gd name="T41" fmla="*/ 28 h 425"/>
              <a:gd name="T42" fmla="*/ 1 w 450"/>
              <a:gd name="T43" fmla="*/ 55 h 425"/>
              <a:gd name="T44" fmla="*/ 1 w 450"/>
              <a:gd name="T45" fmla="*/ 141 h 425"/>
              <a:gd name="T46" fmla="*/ 5 w 450"/>
              <a:gd name="T47" fmla="*/ 324 h 425"/>
              <a:gd name="T48" fmla="*/ 27 w 450"/>
              <a:gd name="T49" fmla="*/ 401 h 425"/>
              <a:gd name="T50" fmla="*/ 54 w 450"/>
              <a:gd name="T51" fmla="*/ 396 h 425"/>
              <a:gd name="T52" fmla="*/ 74 w 450"/>
              <a:gd name="T53" fmla="*/ 384 h 425"/>
              <a:gd name="T54" fmla="*/ 83 w 450"/>
              <a:gd name="T55" fmla="*/ 374 h 425"/>
              <a:gd name="T56" fmla="*/ 100 w 450"/>
              <a:gd name="T57" fmla="*/ 341 h 425"/>
              <a:gd name="T58" fmla="*/ 105 w 450"/>
              <a:gd name="T59" fmla="*/ 317 h 425"/>
              <a:gd name="T60" fmla="*/ 105 w 450"/>
              <a:gd name="T61" fmla="*/ 367 h 425"/>
              <a:gd name="T62" fmla="*/ 108 w 450"/>
              <a:gd name="T63" fmla="*/ 420 h 425"/>
              <a:gd name="T64" fmla="*/ 116 w 450"/>
              <a:gd name="T65" fmla="*/ 424 h 425"/>
              <a:gd name="T66" fmla="*/ 150 w 450"/>
              <a:gd name="T67" fmla="*/ 423 h 425"/>
              <a:gd name="T68" fmla="*/ 176 w 450"/>
              <a:gd name="T69" fmla="*/ 412 h 425"/>
              <a:gd name="T70" fmla="*/ 189 w 450"/>
              <a:gd name="T71" fmla="*/ 402 h 425"/>
              <a:gd name="T72" fmla="*/ 209 w 450"/>
              <a:gd name="T73" fmla="*/ 368 h 425"/>
              <a:gd name="T74" fmla="*/ 224 w 450"/>
              <a:gd name="T75" fmla="*/ 317 h 425"/>
              <a:gd name="T76" fmla="*/ 225 w 450"/>
              <a:gd name="T77" fmla="*/ 381 h 425"/>
              <a:gd name="T78" fmla="*/ 229 w 450"/>
              <a:gd name="T79" fmla="*/ 419 h 425"/>
              <a:gd name="T80" fmla="*/ 237 w 450"/>
              <a:gd name="T81" fmla="*/ 421 h 425"/>
              <a:gd name="T82" fmla="*/ 266 w 450"/>
              <a:gd name="T83" fmla="*/ 418 h 425"/>
              <a:gd name="T84" fmla="*/ 300 w 450"/>
              <a:gd name="T85" fmla="*/ 405 h 425"/>
              <a:gd name="T86" fmla="*/ 309 w 450"/>
              <a:gd name="T87" fmla="*/ 397 h 425"/>
              <a:gd name="T88" fmla="*/ 331 w 450"/>
              <a:gd name="T89" fmla="*/ 367 h 425"/>
              <a:gd name="T90" fmla="*/ 342 w 450"/>
              <a:gd name="T91" fmla="*/ 334 h 425"/>
              <a:gd name="T92" fmla="*/ 345 w 450"/>
              <a:gd name="T93" fmla="*/ 346 h 425"/>
              <a:gd name="T94" fmla="*/ 348 w 450"/>
              <a:gd name="T95" fmla="*/ 391 h 425"/>
              <a:gd name="T96" fmla="*/ 379 w 450"/>
              <a:gd name="T97" fmla="*/ 386 h 425"/>
              <a:gd name="T98" fmla="*/ 404 w 450"/>
              <a:gd name="T99" fmla="*/ 375 h 425"/>
              <a:gd name="T100" fmla="*/ 425 w 450"/>
              <a:gd name="T101" fmla="*/ 360 h 425"/>
              <a:gd name="T102" fmla="*/ 439 w 450"/>
              <a:gd name="T103" fmla="*/ 342 h 425"/>
              <a:gd name="T104" fmla="*/ 448 w 450"/>
              <a:gd name="T105" fmla="*/ 311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0" h="425">
                <a:moveTo>
                  <a:pt x="448" y="311"/>
                </a:moveTo>
                <a:lnTo>
                  <a:pt x="448" y="311"/>
                </a:lnTo>
                <a:lnTo>
                  <a:pt x="450" y="290"/>
                </a:lnTo>
                <a:lnTo>
                  <a:pt x="450" y="268"/>
                </a:lnTo>
                <a:lnTo>
                  <a:pt x="450" y="225"/>
                </a:lnTo>
                <a:lnTo>
                  <a:pt x="450" y="225"/>
                </a:lnTo>
                <a:lnTo>
                  <a:pt x="449" y="64"/>
                </a:lnTo>
                <a:lnTo>
                  <a:pt x="449" y="64"/>
                </a:lnTo>
                <a:lnTo>
                  <a:pt x="449" y="54"/>
                </a:lnTo>
                <a:lnTo>
                  <a:pt x="448" y="44"/>
                </a:lnTo>
                <a:lnTo>
                  <a:pt x="447" y="33"/>
                </a:lnTo>
                <a:lnTo>
                  <a:pt x="444" y="20"/>
                </a:lnTo>
                <a:lnTo>
                  <a:pt x="441" y="10"/>
                </a:lnTo>
                <a:lnTo>
                  <a:pt x="439" y="6"/>
                </a:lnTo>
                <a:lnTo>
                  <a:pt x="436" y="3"/>
                </a:lnTo>
                <a:lnTo>
                  <a:pt x="433" y="1"/>
                </a:lnTo>
                <a:lnTo>
                  <a:pt x="429" y="0"/>
                </a:lnTo>
                <a:lnTo>
                  <a:pt x="429" y="0"/>
                </a:lnTo>
                <a:lnTo>
                  <a:pt x="396" y="0"/>
                </a:lnTo>
                <a:lnTo>
                  <a:pt x="378" y="1"/>
                </a:lnTo>
                <a:lnTo>
                  <a:pt x="367" y="2"/>
                </a:lnTo>
                <a:lnTo>
                  <a:pt x="367" y="2"/>
                </a:lnTo>
                <a:lnTo>
                  <a:pt x="364" y="7"/>
                </a:lnTo>
                <a:lnTo>
                  <a:pt x="362" y="14"/>
                </a:lnTo>
                <a:lnTo>
                  <a:pt x="356" y="33"/>
                </a:lnTo>
                <a:lnTo>
                  <a:pt x="350" y="52"/>
                </a:lnTo>
                <a:lnTo>
                  <a:pt x="347" y="59"/>
                </a:lnTo>
                <a:lnTo>
                  <a:pt x="345" y="64"/>
                </a:lnTo>
                <a:lnTo>
                  <a:pt x="325" y="2"/>
                </a:lnTo>
                <a:lnTo>
                  <a:pt x="325" y="2"/>
                </a:lnTo>
                <a:lnTo>
                  <a:pt x="309" y="1"/>
                </a:lnTo>
                <a:lnTo>
                  <a:pt x="286" y="1"/>
                </a:lnTo>
                <a:lnTo>
                  <a:pt x="261" y="2"/>
                </a:lnTo>
                <a:lnTo>
                  <a:pt x="247" y="4"/>
                </a:lnTo>
                <a:lnTo>
                  <a:pt x="247" y="4"/>
                </a:lnTo>
                <a:lnTo>
                  <a:pt x="242" y="16"/>
                </a:lnTo>
                <a:lnTo>
                  <a:pt x="236" y="34"/>
                </a:lnTo>
                <a:lnTo>
                  <a:pt x="229" y="52"/>
                </a:lnTo>
                <a:lnTo>
                  <a:pt x="224" y="64"/>
                </a:lnTo>
                <a:lnTo>
                  <a:pt x="205" y="5"/>
                </a:lnTo>
                <a:lnTo>
                  <a:pt x="205" y="5"/>
                </a:lnTo>
                <a:lnTo>
                  <a:pt x="192" y="4"/>
                </a:lnTo>
                <a:lnTo>
                  <a:pt x="168" y="4"/>
                </a:lnTo>
                <a:lnTo>
                  <a:pt x="144" y="5"/>
                </a:lnTo>
                <a:lnTo>
                  <a:pt x="135" y="6"/>
                </a:lnTo>
                <a:lnTo>
                  <a:pt x="131" y="6"/>
                </a:lnTo>
                <a:lnTo>
                  <a:pt x="131" y="6"/>
                </a:lnTo>
                <a:lnTo>
                  <a:pt x="127" y="11"/>
                </a:lnTo>
                <a:lnTo>
                  <a:pt x="124" y="18"/>
                </a:lnTo>
                <a:lnTo>
                  <a:pt x="117" y="36"/>
                </a:lnTo>
                <a:lnTo>
                  <a:pt x="110" y="53"/>
                </a:lnTo>
                <a:lnTo>
                  <a:pt x="105" y="64"/>
                </a:lnTo>
                <a:lnTo>
                  <a:pt x="86" y="6"/>
                </a:lnTo>
                <a:lnTo>
                  <a:pt x="86" y="6"/>
                </a:lnTo>
                <a:lnTo>
                  <a:pt x="69" y="6"/>
                </a:lnTo>
                <a:lnTo>
                  <a:pt x="38" y="6"/>
                </a:lnTo>
                <a:lnTo>
                  <a:pt x="38" y="6"/>
                </a:lnTo>
                <a:lnTo>
                  <a:pt x="33" y="7"/>
                </a:lnTo>
                <a:lnTo>
                  <a:pt x="29" y="8"/>
                </a:lnTo>
                <a:lnTo>
                  <a:pt x="25" y="10"/>
                </a:lnTo>
                <a:lnTo>
                  <a:pt x="21" y="12"/>
                </a:lnTo>
                <a:lnTo>
                  <a:pt x="15" y="19"/>
                </a:lnTo>
                <a:lnTo>
                  <a:pt x="10" y="28"/>
                </a:lnTo>
                <a:lnTo>
                  <a:pt x="5" y="36"/>
                </a:lnTo>
                <a:lnTo>
                  <a:pt x="2" y="46"/>
                </a:lnTo>
                <a:lnTo>
                  <a:pt x="1" y="55"/>
                </a:lnTo>
                <a:lnTo>
                  <a:pt x="0" y="63"/>
                </a:lnTo>
                <a:lnTo>
                  <a:pt x="0" y="63"/>
                </a:lnTo>
                <a:lnTo>
                  <a:pt x="1" y="141"/>
                </a:lnTo>
                <a:lnTo>
                  <a:pt x="2" y="220"/>
                </a:lnTo>
                <a:lnTo>
                  <a:pt x="2" y="220"/>
                </a:lnTo>
                <a:lnTo>
                  <a:pt x="5" y="324"/>
                </a:lnTo>
                <a:lnTo>
                  <a:pt x="8" y="402"/>
                </a:lnTo>
                <a:lnTo>
                  <a:pt x="8" y="402"/>
                </a:lnTo>
                <a:lnTo>
                  <a:pt x="27" y="401"/>
                </a:lnTo>
                <a:lnTo>
                  <a:pt x="37" y="399"/>
                </a:lnTo>
                <a:lnTo>
                  <a:pt x="45" y="398"/>
                </a:lnTo>
                <a:lnTo>
                  <a:pt x="54" y="396"/>
                </a:lnTo>
                <a:lnTo>
                  <a:pt x="62" y="393"/>
                </a:lnTo>
                <a:lnTo>
                  <a:pt x="68" y="388"/>
                </a:lnTo>
                <a:lnTo>
                  <a:pt x="74" y="384"/>
                </a:lnTo>
                <a:lnTo>
                  <a:pt x="74" y="384"/>
                </a:lnTo>
                <a:lnTo>
                  <a:pt x="79" y="379"/>
                </a:lnTo>
                <a:lnTo>
                  <a:pt x="83" y="374"/>
                </a:lnTo>
                <a:lnTo>
                  <a:pt x="90" y="363"/>
                </a:lnTo>
                <a:lnTo>
                  <a:pt x="95" y="352"/>
                </a:lnTo>
                <a:lnTo>
                  <a:pt x="100" y="341"/>
                </a:lnTo>
                <a:lnTo>
                  <a:pt x="103" y="331"/>
                </a:lnTo>
                <a:lnTo>
                  <a:pt x="104" y="324"/>
                </a:lnTo>
                <a:lnTo>
                  <a:pt x="105" y="317"/>
                </a:lnTo>
                <a:lnTo>
                  <a:pt x="105" y="317"/>
                </a:lnTo>
                <a:lnTo>
                  <a:pt x="105" y="337"/>
                </a:lnTo>
                <a:lnTo>
                  <a:pt x="105" y="367"/>
                </a:lnTo>
                <a:lnTo>
                  <a:pt x="106" y="397"/>
                </a:lnTo>
                <a:lnTo>
                  <a:pt x="108" y="420"/>
                </a:lnTo>
                <a:lnTo>
                  <a:pt x="108" y="420"/>
                </a:lnTo>
                <a:lnTo>
                  <a:pt x="108" y="421"/>
                </a:lnTo>
                <a:lnTo>
                  <a:pt x="110" y="422"/>
                </a:lnTo>
                <a:lnTo>
                  <a:pt x="116" y="424"/>
                </a:lnTo>
                <a:lnTo>
                  <a:pt x="125" y="425"/>
                </a:lnTo>
                <a:lnTo>
                  <a:pt x="136" y="425"/>
                </a:lnTo>
                <a:lnTo>
                  <a:pt x="150" y="423"/>
                </a:lnTo>
                <a:lnTo>
                  <a:pt x="163" y="418"/>
                </a:lnTo>
                <a:lnTo>
                  <a:pt x="169" y="415"/>
                </a:lnTo>
                <a:lnTo>
                  <a:pt x="176" y="412"/>
                </a:lnTo>
                <a:lnTo>
                  <a:pt x="182" y="407"/>
                </a:lnTo>
                <a:lnTo>
                  <a:pt x="189" y="402"/>
                </a:lnTo>
                <a:lnTo>
                  <a:pt x="189" y="402"/>
                </a:lnTo>
                <a:lnTo>
                  <a:pt x="197" y="392"/>
                </a:lnTo>
                <a:lnTo>
                  <a:pt x="204" y="380"/>
                </a:lnTo>
                <a:lnTo>
                  <a:pt x="209" y="368"/>
                </a:lnTo>
                <a:lnTo>
                  <a:pt x="213" y="356"/>
                </a:lnTo>
                <a:lnTo>
                  <a:pt x="220" y="333"/>
                </a:lnTo>
                <a:lnTo>
                  <a:pt x="224" y="317"/>
                </a:lnTo>
                <a:lnTo>
                  <a:pt x="224" y="317"/>
                </a:lnTo>
                <a:lnTo>
                  <a:pt x="224" y="348"/>
                </a:lnTo>
                <a:lnTo>
                  <a:pt x="225" y="381"/>
                </a:lnTo>
                <a:lnTo>
                  <a:pt x="227" y="408"/>
                </a:lnTo>
                <a:lnTo>
                  <a:pt x="228" y="417"/>
                </a:lnTo>
                <a:lnTo>
                  <a:pt x="229" y="419"/>
                </a:lnTo>
                <a:lnTo>
                  <a:pt x="230" y="420"/>
                </a:lnTo>
                <a:lnTo>
                  <a:pt x="230" y="420"/>
                </a:lnTo>
                <a:lnTo>
                  <a:pt x="237" y="421"/>
                </a:lnTo>
                <a:lnTo>
                  <a:pt x="245" y="421"/>
                </a:lnTo>
                <a:lnTo>
                  <a:pt x="255" y="420"/>
                </a:lnTo>
                <a:lnTo>
                  <a:pt x="266" y="418"/>
                </a:lnTo>
                <a:lnTo>
                  <a:pt x="277" y="415"/>
                </a:lnTo>
                <a:lnTo>
                  <a:pt x="289" y="411"/>
                </a:lnTo>
                <a:lnTo>
                  <a:pt x="300" y="405"/>
                </a:lnTo>
                <a:lnTo>
                  <a:pt x="305" y="401"/>
                </a:lnTo>
                <a:lnTo>
                  <a:pt x="309" y="397"/>
                </a:lnTo>
                <a:lnTo>
                  <a:pt x="309" y="397"/>
                </a:lnTo>
                <a:lnTo>
                  <a:pt x="317" y="387"/>
                </a:lnTo>
                <a:lnTo>
                  <a:pt x="325" y="377"/>
                </a:lnTo>
                <a:lnTo>
                  <a:pt x="331" y="367"/>
                </a:lnTo>
                <a:lnTo>
                  <a:pt x="336" y="356"/>
                </a:lnTo>
                <a:lnTo>
                  <a:pt x="339" y="345"/>
                </a:lnTo>
                <a:lnTo>
                  <a:pt x="342" y="334"/>
                </a:lnTo>
                <a:lnTo>
                  <a:pt x="345" y="317"/>
                </a:lnTo>
                <a:lnTo>
                  <a:pt x="345" y="317"/>
                </a:lnTo>
                <a:lnTo>
                  <a:pt x="345" y="346"/>
                </a:lnTo>
                <a:lnTo>
                  <a:pt x="346" y="370"/>
                </a:lnTo>
                <a:lnTo>
                  <a:pt x="348" y="391"/>
                </a:lnTo>
                <a:lnTo>
                  <a:pt x="348" y="391"/>
                </a:lnTo>
                <a:lnTo>
                  <a:pt x="362" y="390"/>
                </a:lnTo>
                <a:lnTo>
                  <a:pt x="371" y="388"/>
                </a:lnTo>
                <a:lnTo>
                  <a:pt x="379" y="386"/>
                </a:lnTo>
                <a:lnTo>
                  <a:pt x="379" y="386"/>
                </a:lnTo>
                <a:lnTo>
                  <a:pt x="393" y="380"/>
                </a:lnTo>
                <a:lnTo>
                  <a:pt x="404" y="375"/>
                </a:lnTo>
                <a:lnTo>
                  <a:pt x="415" y="368"/>
                </a:lnTo>
                <a:lnTo>
                  <a:pt x="415" y="368"/>
                </a:lnTo>
                <a:lnTo>
                  <a:pt x="425" y="360"/>
                </a:lnTo>
                <a:lnTo>
                  <a:pt x="430" y="355"/>
                </a:lnTo>
                <a:lnTo>
                  <a:pt x="435" y="349"/>
                </a:lnTo>
                <a:lnTo>
                  <a:pt x="439" y="342"/>
                </a:lnTo>
                <a:lnTo>
                  <a:pt x="443" y="333"/>
                </a:lnTo>
                <a:lnTo>
                  <a:pt x="446" y="323"/>
                </a:lnTo>
                <a:lnTo>
                  <a:pt x="448" y="3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8" name="Freeform 35"/>
          <p:cNvSpPr>
            <a:spLocks/>
          </p:cNvSpPr>
          <p:nvPr userDrawn="1"/>
        </p:nvSpPr>
        <p:spPr bwMode="auto">
          <a:xfrm>
            <a:off x="7245351" y="1206204"/>
            <a:ext cx="73025" cy="80963"/>
          </a:xfrm>
          <a:custGeom>
            <a:avLst/>
            <a:gdLst>
              <a:gd name="T0" fmla="*/ 554 w 554"/>
              <a:gd name="T1" fmla="*/ 356 h 620"/>
              <a:gd name="T2" fmla="*/ 549 w 554"/>
              <a:gd name="T3" fmla="*/ 350 h 620"/>
              <a:gd name="T4" fmla="*/ 535 w 554"/>
              <a:gd name="T5" fmla="*/ 331 h 620"/>
              <a:gd name="T6" fmla="*/ 525 w 554"/>
              <a:gd name="T7" fmla="*/ 306 h 620"/>
              <a:gd name="T8" fmla="*/ 520 w 554"/>
              <a:gd name="T9" fmla="*/ 285 h 620"/>
              <a:gd name="T10" fmla="*/ 516 w 554"/>
              <a:gd name="T11" fmla="*/ 258 h 620"/>
              <a:gd name="T12" fmla="*/ 515 w 554"/>
              <a:gd name="T13" fmla="*/ 243 h 620"/>
              <a:gd name="T14" fmla="*/ 516 w 554"/>
              <a:gd name="T15" fmla="*/ 222 h 620"/>
              <a:gd name="T16" fmla="*/ 520 w 554"/>
              <a:gd name="T17" fmla="*/ 202 h 620"/>
              <a:gd name="T18" fmla="*/ 532 w 554"/>
              <a:gd name="T19" fmla="*/ 167 h 620"/>
              <a:gd name="T20" fmla="*/ 546 w 554"/>
              <a:gd name="T21" fmla="*/ 142 h 620"/>
              <a:gd name="T22" fmla="*/ 551 w 554"/>
              <a:gd name="T23" fmla="*/ 43 h 620"/>
              <a:gd name="T24" fmla="*/ 542 w 554"/>
              <a:gd name="T25" fmla="*/ 36 h 620"/>
              <a:gd name="T26" fmla="*/ 504 w 554"/>
              <a:gd name="T27" fmla="*/ 13 h 620"/>
              <a:gd name="T28" fmla="*/ 482 w 554"/>
              <a:gd name="T29" fmla="*/ 2 h 620"/>
              <a:gd name="T30" fmla="*/ 470 w 554"/>
              <a:gd name="T31" fmla="*/ 0 h 620"/>
              <a:gd name="T32" fmla="*/ 465 w 554"/>
              <a:gd name="T33" fmla="*/ 327 h 620"/>
              <a:gd name="T34" fmla="*/ 465 w 554"/>
              <a:gd name="T35" fmla="*/ 339 h 620"/>
              <a:gd name="T36" fmla="*/ 458 w 554"/>
              <a:gd name="T37" fmla="*/ 360 h 620"/>
              <a:gd name="T38" fmla="*/ 444 w 554"/>
              <a:gd name="T39" fmla="*/ 382 h 620"/>
              <a:gd name="T40" fmla="*/ 426 w 554"/>
              <a:gd name="T41" fmla="*/ 402 h 620"/>
              <a:gd name="T42" fmla="*/ 405 w 554"/>
              <a:gd name="T43" fmla="*/ 421 h 620"/>
              <a:gd name="T44" fmla="*/ 380 w 554"/>
              <a:gd name="T45" fmla="*/ 437 h 620"/>
              <a:gd name="T46" fmla="*/ 353 w 554"/>
              <a:gd name="T47" fmla="*/ 449 h 620"/>
              <a:gd name="T48" fmla="*/ 327 w 554"/>
              <a:gd name="T49" fmla="*/ 458 h 620"/>
              <a:gd name="T50" fmla="*/ 314 w 554"/>
              <a:gd name="T51" fmla="*/ 461 h 620"/>
              <a:gd name="T52" fmla="*/ 255 w 554"/>
              <a:gd name="T53" fmla="*/ 471 h 620"/>
              <a:gd name="T54" fmla="*/ 199 w 554"/>
              <a:gd name="T55" fmla="*/ 477 h 620"/>
              <a:gd name="T56" fmla="*/ 98 w 554"/>
              <a:gd name="T57" fmla="*/ 482 h 620"/>
              <a:gd name="T58" fmla="*/ 27 w 554"/>
              <a:gd name="T59" fmla="*/ 482 h 620"/>
              <a:gd name="T60" fmla="*/ 0 w 554"/>
              <a:gd name="T61" fmla="*/ 481 h 620"/>
              <a:gd name="T62" fmla="*/ 4 w 554"/>
              <a:gd name="T63" fmla="*/ 508 h 620"/>
              <a:gd name="T64" fmla="*/ 13 w 554"/>
              <a:gd name="T65" fmla="*/ 550 h 620"/>
              <a:gd name="T66" fmla="*/ 18 w 554"/>
              <a:gd name="T67" fmla="*/ 566 h 620"/>
              <a:gd name="T68" fmla="*/ 29 w 554"/>
              <a:gd name="T69" fmla="*/ 586 h 620"/>
              <a:gd name="T70" fmla="*/ 44 w 554"/>
              <a:gd name="T71" fmla="*/ 604 h 620"/>
              <a:gd name="T72" fmla="*/ 62 w 554"/>
              <a:gd name="T73" fmla="*/ 620 h 620"/>
              <a:gd name="T74" fmla="*/ 554 w 554"/>
              <a:gd name="T75" fmla="*/ 450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4" h="620">
                <a:moveTo>
                  <a:pt x="554" y="450"/>
                </a:moveTo>
                <a:lnTo>
                  <a:pt x="554" y="356"/>
                </a:lnTo>
                <a:lnTo>
                  <a:pt x="554" y="356"/>
                </a:lnTo>
                <a:lnTo>
                  <a:pt x="549" y="350"/>
                </a:lnTo>
                <a:lnTo>
                  <a:pt x="543" y="342"/>
                </a:lnTo>
                <a:lnTo>
                  <a:pt x="535" y="331"/>
                </a:lnTo>
                <a:lnTo>
                  <a:pt x="528" y="315"/>
                </a:lnTo>
                <a:lnTo>
                  <a:pt x="525" y="306"/>
                </a:lnTo>
                <a:lnTo>
                  <a:pt x="522" y="296"/>
                </a:lnTo>
                <a:lnTo>
                  <a:pt x="520" y="285"/>
                </a:lnTo>
                <a:lnTo>
                  <a:pt x="517" y="271"/>
                </a:lnTo>
                <a:lnTo>
                  <a:pt x="516" y="258"/>
                </a:lnTo>
                <a:lnTo>
                  <a:pt x="515" y="243"/>
                </a:lnTo>
                <a:lnTo>
                  <a:pt x="515" y="243"/>
                </a:lnTo>
                <a:lnTo>
                  <a:pt x="515" y="232"/>
                </a:lnTo>
                <a:lnTo>
                  <a:pt x="516" y="222"/>
                </a:lnTo>
                <a:lnTo>
                  <a:pt x="517" y="212"/>
                </a:lnTo>
                <a:lnTo>
                  <a:pt x="520" y="202"/>
                </a:lnTo>
                <a:lnTo>
                  <a:pt x="526" y="183"/>
                </a:lnTo>
                <a:lnTo>
                  <a:pt x="532" y="167"/>
                </a:lnTo>
                <a:lnTo>
                  <a:pt x="540" y="154"/>
                </a:lnTo>
                <a:lnTo>
                  <a:pt x="546" y="142"/>
                </a:lnTo>
                <a:lnTo>
                  <a:pt x="552" y="133"/>
                </a:lnTo>
                <a:lnTo>
                  <a:pt x="551" y="43"/>
                </a:lnTo>
                <a:lnTo>
                  <a:pt x="551" y="43"/>
                </a:lnTo>
                <a:lnTo>
                  <a:pt x="542" y="36"/>
                </a:lnTo>
                <a:lnTo>
                  <a:pt x="518" y="21"/>
                </a:lnTo>
                <a:lnTo>
                  <a:pt x="504" y="13"/>
                </a:lnTo>
                <a:lnTo>
                  <a:pt x="489" y="5"/>
                </a:lnTo>
                <a:lnTo>
                  <a:pt x="482" y="2"/>
                </a:lnTo>
                <a:lnTo>
                  <a:pt x="476" y="1"/>
                </a:lnTo>
                <a:lnTo>
                  <a:pt x="470" y="0"/>
                </a:lnTo>
                <a:lnTo>
                  <a:pt x="464" y="0"/>
                </a:lnTo>
                <a:lnTo>
                  <a:pt x="465" y="327"/>
                </a:lnTo>
                <a:lnTo>
                  <a:pt x="465" y="327"/>
                </a:lnTo>
                <a:lnTo>
                  <a:pt x="465" y="339"/>
                </a:lnTo>
                <a:lnTo>
                  <a:pt x="462" y="349"/>
                </a:lnTo>
                <a:lnTo>
                  <a:pt x="458" y="360"/>
                </a:lnTo>
                <a:lnTo>
                  <a:pt x="452" y="370"/>
                </a:lnTo>
                <a:lnTo>
                  <a:pt x="444" y="382"/>
                </a:lnTo>
                <a:lnTo>
                  <a:pt x="436" y="392"/>
                </a:lnTo>
                <a:lnTo>
                  <a:pt x="426" y="402"/>
                </a:lnTo>
                <a:lnTo>
                  <a:pt x="416" y="411"/>
                </a:lnTo>
                <a:lnTo>
                  <a:pt x="405" y="421"/>
                </a:lnTo>
                <a:lnTo>
                  <a:pt x="392" y="429"/>
                </a:lnTo>
                <a:lnTo>
                  <a:pt x="380" y="437"/>
                </a:lnTo>
                <a:lnTo>
                  <a:pt x="367" y="443"/>
                </a:lnTo>
                <a:lnTo>
                  <a:pt x="353" y="449"/>
                </a:lnTo>
                <a:lnTo>
                  <a:pt x="340" y="454"/>
                </a:lnTo>
                <a:lnTo>
                  <a:pt x="327" y="458"/>
                </a:lnTo>
                <a:lnTo>
                  <a:pt x="314" y="461"/>
                </a:lnTo>
                <a:lnTo>
                  <a:pt x="314" y="461"/>
                </a:lnTo>
                <a:lnTo>
                  <a:pt x="284" y="467"/>
                </a:lnTo>
                <a:lnTo>
                  <a:pt x="255" y="471"/>
                </a:lnTo>
                <a:lnTo>
                  <a:pt x="227" y="474"/>
                </a:lnTo>
                <a:lnTo>
                  <a:pt x="199" y="477"/>
                </a:lnTo>
                <a:lnTo>
                  <a:pt x="146" y="480"/>
                </a:lnTo>
                <a:lnTo>
                  <a:pt x="98" y="482"/>
                </a:lnTo>
                <a:lnTo>
                  <a:pt x="58" y="482"/>
                </a:lnTo>
                <a:lnTo>
                  <a:pt x="27" y="482"/>
                </a:lnTo>
                <a:lnTo>
                  <a:pt x="0" y="481"/>
                </a:lnTo>
                <a:lnTo>
                  <a:pt x="0" y="481"/>
                </a:lnTo>
                <a:lnTo>
                  <a:pt x="1" y="488"/>
                </a:lnTo>
                <a:lnTo>
                  <a:pt x="4" y="508"/>
                </a:lnTo>
                <a:lnTo>
                  <a:pt x="10" y="535"/>
                </a:lnTo>
                <a:lnTo>
                  <a:pt x="13" y="550"/>
                </a:lnTo>
                <a:lnTo>
                  <a:pt x="18" y="566"/>
                </a:lnTo>
                <a:lnTo>
                  <a:pt x="18" y="566"/>
                </a:lnTo>
                <a:lnTo>
                  <a:pt x="23" y="576"/>
                </a:lnTo>
                <a:lnTo>
                  <a:pt x="29" y="586"/>
                </a:lnTo>
                <a:lnTo>
                  <a:pt x="36" y="595"/>
                </a:lnTo>
                <a:lnTo>
                  <a:pt x="44" y="604"/>
                </a:lnTo>
                <a:lnTo>
                  <a:pt x="57" y="616"/>
                </a:lnTo>
                <a:lnTo>
                  <a:pt x="62" y="620"/>
                </a:lnTo>
                <a:lnTo>
                  <a:pt x="451" y="620"/>
                </a:lnTo>
                <a:lnTo>
                  <a:pt x="554" y="4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9" name="Freeform 36"/>
          <p:cNvSpPr>
            <a:spLocks/>
          </p:cNvSpPr>
          <p:nvPr userDrawn="1"/>
        </p:nvSpPr>
        <p:spPr bwMode="auto">
          <a:xfrm>
            <a:off x="7251700" y="1298279"/>
            <a:ext cx="57150" cy="17463"/>
          </a:xfrm>
          <a:custGeom>
            <a:avLst/>
            <a:gdLst>
              <a:gd name="T0" fmla="*/ 20 w 435"/>
              <a:gd name="T1" fmla="*/ 142 h 142"/>
              <a:gd name="T2" fmla="*/ 411 w 435"/>
              <a:gd name="T3" fmla="*/ 142 h 142"/>
              <a:gd name="T4" fmla="*/ 411 w 435"/>
              <a:gd name="T5" fmla="*/ 142 h 142"/>
              <a:gd name="T6" fmla="*/ 422 w 435"/>
              <a:gd name="T7" fmla="*/ 109 h 142"/>
              <a:gd name="T8" fmla="*/ 430 w 435"/>
              <a:gd name="T9" fmla="*/ 83 h 142"/>
              <a:gd name="T10" fmla="*/ 433 w 435"/>
              <a:gd name="T11" fmla="*/ 72 h 142"/>
              <a:gd name="T12" fmla="*/ 435 w 435"/>
              <a:gd name="T13" fmla="*/ 63 h 142"/>
              <a:gd name="T14" fmla="*/ 417 w 435"/>
              <a:gd name="T15" fmla="*/ 0 h 142"/>
              <a:gd name="T16" fmla="*/ 22 w 435"/>
              <a:gd name="T17" fmla="*/ 0 h 142"/>
              <a:gd name="T18" fmla="*/ 0 w 435"/>
              <a:gd name="T19" fmla="*/ 65 h 142"/>
              <a:gd name="T20" fmla="*/ 20 w 435"/>
              <a:gd name="T2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5" h="142">
                <a:moveTo>
                  <a:pt x="20" y="142"/>
                </a:moveTo>
                <a:lnTo>
                  <a:pt x="411" y="142"/>
                </a:lnTo>
                <a:lnTo>
                  <a:pt x="411" y="142"/>
                </a:lnTo>
                <a:lnTo>
                  <a:pt x="422" y="109"/>
                </a:lnTo>
                <a:lnTo>
                  <a:pt x="430" y="83"/>
                </a:lnTo>
                <a:lnTo>
                  <a:pt x="433" y="72"/>
                </a:lnTo>
                <a:lnTo>
                  <a:pt x="435" y="63"/>
                </a:lnTo>
                <a:lnTo>
                  <a:pt x="417" y="0"/>
                </a:lnTo>
                <a:lnTo>
                  <a:pt x="22" y="0"/>
                </a:lnTo>
                <a:lnTo>
                  <a:pt x="0" y="65"/>
                </a:lnTo>
                <a:lnTo>
                  <a:pt x="20" y="1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0" name="Freeform 37"/>
          <p:cNvSpPr>
            <a:spLocks/>
          </p:cNvSpPr>
          <p:nvPr userDrawn="1"/>
        </p:nvSpPr>
        <p:spPr bwMode="auto">
          <a:xfrm>
            <a:off x="7254875" y="1326854"/>
            <a:ext cx="57150" cy="66675"/>
          </a:xfrm>
          <a:custGeom>
            <a:avLst/>
            <a:gdLst>
              <a:gd name="T0" fmla="*/ 384 w 436"/>
              <a:gd name="T1" fmla="*/ 0 h 514"/>
              <a:gd name="T2" fmla="*/ 2 w 436"/>
              <a:gd name="T3" fmla="*/ 0 h 514"/>
              <a:gd name="T4" fmla="*/ 0 w 436"/>
              <a:gd name="T5" fmla="*/ 505 h 514"/>
              <a:gd name="T6" fmla="*/ 331 w 436"/>
              <a:gd name="T7" fmla="*/ 514 h 514"/>
              <a:gd name="T8" fmla="*/ 436 w 436"/>
              <a:gd name="T9" fmla="*/ 431 h 514"/>
              <a:gd name="T10" fmla="*/ 384 w 436"/>
              <a:gd name="T11" fmla="*/ 0 h 514"/>
            </a:gdLst>
            <a:ahLst/>
            <a:cxnLst>
              <a:cxn ang="0">
                <a:pos x="T0" y="T1"/>
              </a:cxn>
              <a:cxn ang="0">
                <a:pos x="T2" y="T3"/>
              </a:cxn>
              <a:cxn ang="0">
                <a:pos x="T4" y="T5"/>
              </a:cxn>
              <a:cxn ang="0">
                <a:pos x="T6" y="T7"/>
              </a:cxn>
              <a:cxn ang="0">
                <a:pos x="T8" y="T9"/>
              </a:cxn>
              <a:cxn ang="0">
                <a:pos x="T10" y="T11"/>
              </a:cxn>
            </a:cxnLst>
            <a:rect l="0" t="0" r="r" b="b"/>
            <a:pathLst>
              <a:path w="436" h="514">
                <a:moveTo>
                  <a:pt x="384" y="0"/>
                </a:moveTo>
                <a:lnTo>
                  <a:pt x="2" y="0"/>
                </a:lnTo>
                <a:lnTo>
                  <a:pt x="0" y="505"/>
                </a:lnTo>
                <a:lnTo>
                  <a:pt x="331" y="514"/>
                </a:lnTo>
                <a:lnTo>
                  <a:pt x="436" y="431"/>
                </a:lnTo>
                <a:lnTo>
                  <a:pt x="3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1" name="Freeform 38"/>
          <p:cNvSpPr>
            <a:spLocks/>
          </p:cNvSpPr>
          <p:nvPr userDrawn="1"/>
        </p:nvSpPr>
        <p:spPr bwMode="auto">
          <a:xfrm>
            <a:off x="7251701" y="1391941"/>
            <a:ext cx="77788" cy="68263"/>
          </a:xfrm>
          <a:custGeom>
            <a:avLst/>
            <a:gdLst>
              <a:gd name="T0" fmla="*/ 586 w 586"/>
              <a:gd name="T1" fmla="*/ 139 h 523"/>
              <a:gd name="T2" fmla="*/ 586 w 586"/>
              <a:gd name="T3" fmla="*/ 139 h 523"/>
              <a:gd name="T4" fmla="*/ 552 w 586"/>
              <a:gd name="T5" fmla="*/ 115 h 523"/>
              <a:gd name="T6" fmla="*/ 527 w 586"/>
              <a:gd name="T7" fmla="*/ 97 h 523"/>
              <a:gd name="T8" fmla="*/ 519 w 586"/>
              <a:gd name="T9" fmla="*/ 90 h 523"/>
              <a:gd name="T10" fmla="*/ 514 w 586"/>
              <a:gd name="T11" fmla="*/ 85 h 523"/>
              <a:gd name="T12" fmla="*/ 514 w 586"/>
              <a:gd name="T13" fmla="*/ 85 h 523"/>
              <a:gd name="T14" fmla="*/ 512 w 586"/>
              <a:gd name="T15" fmla="*/ 79 h 523"/>
              <a:gd name="T16" fmla="*/ 510 w 586"/>
              <a:gd name="T17" fmla="*/ 69 h 523"/>
              <a:gd name="T18" fmla="*/ 506 w 586"/>
              <a:gd name="T19" fmla="*/ 40 h 523"/>
              <a:gd name="T20" fmla="*/ 503 w 586"/>
              <a:gd name="T21" fmla="*/ 0 h 523"/>
              <a:gd name="T22" fmla="*/ 381 w 586"/>
              <a:gd name="T23" fmla="*/ 98 h 523"/>
              <a:gd name="T24" fmla="*/ 8 w 586"/>
              <a:gd name="T25" fmla="*/ 97 h 523"/>
              <a:gd name="T26" fmla="*/ 8 w 586"/>
              <a:gd name="T27" fmla="*/ 97 h 523"/>
              <a:gd name="T28" fmla="*/ 8 w 586"/>
              <a:gd name="T29" fmla="*/ 98 h 523"/>
              <a:gd name="T30" fmla="*/ 7 w 586"/>
              <a:gd name="T31" fmla="*/ 100 h 523"/>
              <a:gd name="T32" fmla="*/ 5 w 586"/>
              <a:gd name="T33" fmla="*/ 108 h 523"/>
              <a:gd name="T34" fmla="*/ 3 w 586"/>
              <a:gd name="T35" fmla="*/ 139 h 523"/>
              <a:gd name="T36" fmla="*/ 2 w 586"/>
              <a:gd name="T37" fmla="*/ 183 h 523"/>
              <a:gd name="T38" fmla="*/ 1 w 586"/>
              <a:gd name="T39" fmla="*/ 233 h 523"/>
              <a:gd name="T40" fmla="*/ 0 w 586"/>
              <a:gd name="T41" fmla="*/ 327 h 523"/>
              <a:gd name="T42" fmla="*/ 0 w 586"/>
              <a:gd name="T43" fmla="*/ 369 h 523"/>
              <a:gd name="T44" fmla="*/ 0 w 586"/>
              <a:gd name="T45" fmla="*/ 369 h 523"/>
              <a:gd name="T46" fmla="*/ 29 w 586"/>
              <a:gd name="T47" fmla="*/ 395 h 523"/>
              <a:gd name="T48" fmla="*/ 95 w 586"/>
              <a:gd name="T49" fmla="*/ 448 h 523"/>
              <a:gd name="T50" fmla="*/ 131 w 586"/>
              <a:gd name="T51" fmla="*/ 477 h 523"/>
              <a:gd name="T52" fmla="*/ 162 w 586"/>
              <a:gd name="T53" fmla="*/ 501 h 523"/>
              <a:gd name="T54" fmla="*/ 186 w 586"/>
              <a:gd name="T55" fmla="*/ 517 h 523"/>
              <a:gd name="T56" fmla="*/ 193 w 586"/>
              <a:gd name="T57" fmla="*/ 522 h 523"/>
              <a:gd name="T58" fmla="*/ 195 w 586"/>
              <a:gd name="T59" fmla="*/ 523 h 523"/>
              <a:gd name="T60" fmla="*/ 197 w 586"/>
              <a:gd name="T61" fmla="*/ 523 h 523"/>
              <a:gd name="T62" fmla="*/ 448 w 586"/>
              <a:gd name="T63" fmla="*/ 206 h 523"/>
              <a:gd name="T64" fmla="*/ 586 w 586"/>
              <a:gd name="T65" fmla="*/ 139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86" h="523">
                <a:moveTo>
                  <a:pt x="586" y="139"/>
                </a:moveTo>
                <a:lnTo>
                  <a:pt x="586" y="139"/>
                </a:lnTo>
                <a:lnTo>
                  <a:pt x="552" y="115"/>
                </a:lnTo>
                <a:lnTo>
                  <a:pt x="527" y="97"/>
                </a:lnTo>
                <a:lnTo>
                  <a:pt x="519" y="90"/>
                </a:lnTo>
                <a:lnTo>
                  <a:pt x="514" y="85"/>
                </a:lnTo>
                <a:lnTo>
                  <a:pt x="514" y="85"/>
                </a:lnTo>
                <a:lnTo>
                  <a:pt x="512" y="79"/>
                </a:lnTo>
                <a:lnTo>
                  <a:pt x="510" y="69"/>
                </a:lnTo>
                <a:lnTo>
                  <a:pt x="506" y="40"/>
                </a:lnTo>
                <a:lnTo>
                  <a:pt x="503" y="0"/>
                </a:lnTo>
                <a:lnTo>
                  <a:pt x="381" y="98"/>
                </a:lnTo>
                <a:lnTo>
                  <a:pt x="8" y="97"/>
                </a:lnTo>
                <a:lnTo>
                  <a:pt x="8" y="97"/>
                </a:lnTo>
                <a:lnTo>
                  <a:pt x="8" y="98"/>
                </a:lnTo>
                <a:lnTo>
                  <a:pt x="7" y="100"/>
                </a:lnTo>
                <a:lnTo>
                  <a:pt x="5" y="108"/>
                </a:lnTo>
                <a:lnTo>
                  <a:pt x="3" y="139"/>
                </a:lnTo>
                <a:lnTo>
                  <a:pt x="2" y="183"/>
                </a:lnTo>
                <a:lnTo>
                  <a:pt x="1" y="233"/>
                </a:lnTo>
                <a:lnTo>
                  <a:pt x="0" y="327"/>
                </a:lnTo>
                <a:lnTo>
                  <a:pt x="0" y="369"/>
                </a:lnTo>
                <a:lnTo>
                  <a:pt x="0" y="369"/>
                </a:lnTo>
                <a:lnTo>
                  <a:pt x="29" y="395"/>
                </a:lnTo>
                <a:lnTo>
                  <a:pt x="95" y="448"/>
                </a:lnTo>
                <a:lnTo>
                  <a:pt x="131" y="477"/>
                </a:lnTo>
                <a:lnTo>
                  <a:pt x="162" y="501"/>
                </a:lnTo>
                <a:lnTo>
                  <a:pt x="186" y="517"/>
                </a:lnTo>
                <a:lnTo>
                  <a:pt x="193" y="522"/>
                </a:lnTo>
                <a:lnTo>
                  <a:pt x="195" y="523"/>
                </a:lnTo>
                <a:lnTo>
                  <a:pt x="197" y="523"/>
                </a:lnTo>
                <a:lnTo>
                  <a:pt x="448" y="206"/>
                </a:lnTo>
                <a:lnTo>
                  <a:pt x="586" y="13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2" name="Freeform 39"/>
          <p:cNvSpPr>
            <a:spLocks/>
          </p:cNvSpPr>
          <p:nvPr userDrawn="1"/>
        </p:nvSpPr>
        <p:spPr bwMode="auto">
          <a:xfrm>
            <a:off x="7288212" y="1417340"/>
            <a:ext cx="115888" cy="66675"/>
          </a:xfrm>
          <a:custGeom>
            <a:avLst/>
            <a:gdLst>
              <a:gd name="T0" fmla="*/ 226 w 879"/>
              <a:gd name="T1" fmla="*/ 65 h 509"/>
              <a:gd name="T2" fmla="*/ 0 w 879"/>
              <a:gd name="T3" fmla="*/ 355 h 509"/>
              <a:gd name="T4" fmla="*/ 369 w 879"/>
              <a:gd name="T5" fmla="*/ 509 h 509"/>
              <a:gd name="T6" fmla="*/ 369 w 879"/>
              <a:gd name="T7" fmla="*/ 509 h 509"/>
              <a:gd name="T8" fmla="*/ 409 w 879"/>
              <a:gd name="T9" fmla="*/ 487 h 509"/>
              <a:gd name="T10" fmla="*/ 452 w 879"/>
              <a:gd name="T11" fmla="*/ 464 h 509"/>
              <a:gd name="T12" fmla="*/ 495 w 879"/>
              <a:gd name="T13" fmla="*/ 439 h 509"/>
              <a:gd name="T14" fmla="*/ 538 w 879"/>
              <a:gd name="T15" fmla="*/ 413 h 509"/>
              <a:gd name="T16" fmla="*/ 623 w 879"/>
              <a:gd name="T17" fmla="*/ 361 h 509"/>
              <a:gd name="T18" fmla="*/ 703 w 879"/>
              <a:gd name="T19" fmla="*/ 311 h 509"/>
              <a:gd name="T20" fmla="*/ 773 w 879"/>
              <a:gd name="T21" fmla="*/ 266 h 509"/>
              <a:gd name="T22" fmla="*/ 829 w 879"/>
              <a:gd name="T23" fmla="*/ 229 h 509"/>
              <a:gd name="T24" fmla="*/ 879 w 879"/>
              <a:gd name="T25" fmla="*/ 196 h 509"/>
              <a:gd name="T26" fmla="*/ 359 w 879"/>
              <a:gd name="T27" fmla="*/ 0 h 509"/>
              <a:gd name="T28" fmla="*/ 226 w 879"/>
              <a:gd name="T29" fmla="*/ 65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9" h="509">
                <a:moveTo>
                  <a:pt x="226" y="65"/>
                </a:moveTo>
                <a:lnTo>
                  <a:pt x="0" y="355"/>
                </a:lnTo>
                <a:lnTo>
                  <a:pt x="369" y="509"/>
                </a:lnTo>
                <a:lnTo>
                  <a:pt x="369" y="509"/>
                </a:lnTo>
                <a:lnTo>
                  <a:pt x="409" y="487"/>
                </a:lnTo>
                <a:lnTo>
                  <a:pt x="452" y="464"/>
                </a:lnTo>
                <a:lnTo>
                  <a:pt x="495" y="439"/>
                </a:lnTo>
                <a:lnTo>
                  <a:pt x="538" y="413"/>
                </a:lnTo>
                <a:lnTo>
                  <a:pt x="623" y="361"/>
                </a:lnTo>
                <a:lnTo>
                  <a:pt x="703" y="311"/>
                </a:lnTo>
                <a:lnTo>
                  <a:pt x="773" y="266"/>
                </a:lnTo>
                <a:lnTo>
                  <a:pt x="829" y="229"/>
                </a:lnTo>
                <a:lnTo>
                  <a:pt x="879" y="196"/>
                </a:lnTo>
                <a:lnTo>
                  <a:pt x="359" y="0"/>
                </a:lnTo>
                <a:lnTo>
                  <a:pt x="226" y="6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3" name="Freeform 40"/>
          <p:cNvSpPr>
            <a:spLocks/>
          </p:cNvSpPr>
          <p:nvPr userDrawn="1"/>
        </p:nvSpPr>
        <p:spPr bwMode="auto">
          <a:xfrm>
            <a:off x="7323137" y="1172866"/>
            <a:ext cx="26988" cy="123825"/>
          </a:xfrm>
          <a:custGeom>
            <a:avLst/>
            <a:gdLst>
              <a:gd name="T0" fmla="*/ 170 w 211"/>
              <a:gd name="T1" fmla="*/ 388 h 928"/>
              <a:gd name="T2" fmla="*/ 169 w 211"/>
              <a:gd name="T3" fmla="*/ 133 h 928"/>
              <a:gd name="T4" fmla="*/ 171 w 211"/>
              <a:gd name="T5" fmla="*/ 84 h 928"/>
              <a:gd name="T6" fmla="*/ 172 w 211"/>
              <a:gd name="T7" fmla="*/ 79 h 928"/>
              <a:gd name="T8" fmla="*/ 182 w 211"/>
              <a:gd name="T9" fmla="*/ 64 h 928"/>
              <a:gd name="T10" fmla="*/ 188 w 211"/>
              <a:gd name="T11" fmla="*/ 53 h 928"/>
              <a:gd name="T12" fmla="*/ 192 w 211"/>
              <a:gd name="T13" fmla="*/ 36 h 928"/>
              <a:gd name="T14" fmla="*/ 191 w 211"/>
              <a:gd name="T15" fmla="*/ 18 h 928"/>
              <a:gd name="T16" fmla="*/ 188 w 211"/>
              <a:gd name="T17" fmla="*/ 0 h 928"/>
              <a:gd name="T18" fmla="*/ 6 w 211"/>
              <a:gd name="T19" fmla="*/ 0 h 928"/>
              <a:gd name="T20" fmla="*/ 4 w 211"/>
              <a:gd name="T21" fmla="*/ 8 h 928"/>
              <a:gd name="T22" fmla="*/ 5 w 211"/>
              <a:gd name="T23" fmla="*/ 33 h 928"/>
              <a:gd name="T24" fmla="*/ 7 w 211"/>
              <a:gd name="T25" fmla="*/ 43 h 928"/>
              <a:gd name="T26" fmla="*/ 17 w 211"/>
              <a:gd name="T27" fmla="*/ 65 h 928"/>
              <a:gd name="T28" fmla="*/ 28 w 211"/>
              <a:gd name="T29" fmla="*/ 80 h 928"/>
              <a:gd name="T30" fmla="*/ 33 w 211"/>
              <a:gd name="T31" fmla="*/ 388 h 928"/>
              <a:gd name="T32" fmla="*/ 29 w 211"/>
              <a:gd name="T33" fmla="*/ 395 h 928"/>
              <a:gd name="T34" fmla="*/ 19 w 211"/>
              <a:gd name="T35" fmla="*/ 412 h 928"/>
              <a:gd name="T36" fmla="*/ 9 w 211"/>
              <a:gd name="T37" fmla="*/ 443 h 928"/>
              <a:gd name="T38" fmla="*/ 0 w 211"/>
              <a:gd name="T39" fmla="*/ 487 h 928"/>
              <a:gd name="T40" fmla="*/ 0 w 211"/>
              <a:gd name="T41" fmla="*/ 498 h 928"/>
              <a:gd name="T42" fmla="*/ 1 w 211"/>
              <a:gd name="T43" fmla="*/ 518 h 928"/>
              <a:gd name="T44" fmla="*/ 10 w 211"/>
              <a:gd name="T45" fmla="*/ 546 h 928"/>
              <a:gd name="T46" fmla="*/ 23 w 211"/>
              <a:gd name="T47" fmla="*/ 576 h 928"/>
              <a:gd name="T48" fmla="*/ 35 w 211"/>
              <a:gd name="T49" fmla="*/ 594 h 928"/>
              <a:gd name="T50" fmla="*/ 31 w 211"/>
              <a:gd name="T51" fmla="*/ 850 h 928"/>
              <a:gd name="T52" fmla="*/ 23 w 211"/>
              <a:gd name="T53" fmla="*/ 859 h 928"/>
              <a:gd name="T54" fmla="*/ 18 w 211"/>
              <a:gd name="T55" fmla="*/ 871 h 928"/>
              <a:gd name="T56" fmla="*/ 14 w 211"/>
              <a:gd name="T57" fmla="*/ 888 h 928"/>
              <a:gd name="T58" fmla="*/ 14 w 211"/>
              <a:gd name="T59" fmla="*/ 898 h 928"/>
              <a:gd name="T60" fmla="*/ 15 w 211"/>
              <a:gd name="T61" fmla="*/ 919 h 928"/>
              <a:gd name="T62" fmla="*/ 18 w 211"/>
              <a:gd name="T63" fmla="*/ 928 h 928"/>
              <a:gd name="T64" fmla="*/ 188 w 211"/>
              <a:gd name="T65" fmla="*/ 928 h 928"/>
              <a:gd name="T66" fmla="*/ 191 w 211"/>
              <a:gd name="T67" fmla="*/ 906 h 928"/>
              <a:gd name="T68" fmla="*/ 190 w 211"/>
              <a:gd name="T69" fmla="*/ 881 h 928"/>
              <a:gd name="T70" fmla="*/ 188 w 211"/>
              <a:gd name="T71" fmla="*/ 873 h 928"/>
              <a:gd name="T72" fmla="*/ 179 w 211"/>
              <a:gd name="T73" fmla="*/ 857 h 928"/>
              <a:gd name="T74" fmla="*/ 169 w 211"/>
              <a:gd name="T75" fmla="*/ 846 h 928"/>
              <a:gd name="T76" fmla="*/ 168 w 211"/>
              <a:gd name="T77" fmla="*/ 594 h 928"/>
              <a:gd name="T78" fmla="*/ 190 w 211"/>
              <a:gd name="T79" fmla="*/ 561 h 928"/>
              <a:gd name="T80" fmla="*/ 202 w 211"/>
              <a:gd name="T81" fmla="*/ 537 h 928"/>
              <a:gd name="T82" fmla="*/ 210 w 211"/>
              <a:gd name="T83" fmla="*/ 507 h 928"/>
              <a:gd name="T84" fmla="*/ 211 w 211"/>
              <a:gd name="T85" fmla="*/ 491 h 928"/>
              <a:gd name="T86" fmla="*/ 211 w 211"/>
              <a:gd name="T87" fmla="*/ 482 h 928"/>
              <a:gd name="T88" fmla="*/ 206 w 211"/>
              <a:gd name="T89" fmla="*/ 458 h 928"/>
              <a:gd name="T90" fmla="*/ 195 w 211"/>
              <a:gd name="T91" fmla="*/ 428 h 928"/>
              <a:gd name="T92" fmla="*/ 181 w 211"/>
              <a:gd name="T93" fmla="*/ 405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1" h="928">
                <a:moveTo>
                  <a:pt x="170" y="388"/>
                </a:moveTo>
                <a:lnTo>
                  <a:pt x="170" y="388"/>
                </a:lnTo>
                <a:lnTo>
                  <a:pt x="169" y="238"/>
                </a:lnTo>
                <a:lnTo>
                  <a:pt x="169" y="133"/>
                </a:lnTo>
                <a:lnTo>
                  <a:pt x="170" y="96"/>
                </a:lnTo>
                <a:lnTo>
                  <a:pt x="171" y="84"/>
                </a:lnTo>
                <a:lnTo>
                  <a:pt x="172" y="79"/>
                </a:lnTo>
                <a:lnTo>
                  <a:pt x="172" y="79"/>
                </a:lnTo>
                <a:lnTo>
                  <a:pt x="177" y="71"/>
                </a:lnTo>
                <a:lnTo>
                  <a:pt x="182" y="64"/>
                </a:lnTo>
                <a:lnTo>
                  <a:pt x="188" y="53"/>
                </a:lnTo>
                <a:lnTo>
                  <a:pt x="188" y="53"/>
                </a:lnTo>
                <a:lnTo>
                  <a:pt x="191" y="45"/>
                </a:lnTo>
                <a:lnTo>
                  <a:pt x="192" y="36"/>
                </a:lnTo>
                <a:lnTo>
                  <a:pt x="192" y="28"/>
                </a:lnTo>
                <a:lnTo>
                  <a:pt x="191" y="18"/>
                </a:lnTo>
                <a:lnTo>
                  <a:pt x="189" y="5"/>
                </a:lnTo>
                <a:lnTo>
                  <a:pt x="188" y="0"/>
                </a:lnTo>
                <a:lnTo>
                  <a:pt x="6" y="0"/>
                </a:lnTo>
                <a:lnTo>
                  <a:pt x="6" y="0"/>
                </a:lnTo>
                <a:lnTo>
                  <a:pt x="5" y="4"/>
                </a:lnTo>
                <a:lnTo>
                  <a:pt x="4" y="8"/>
                </a:lnTo>
                <a:lnTo>
                  <a:pt x="4" y="20"/>
                </a:lnTo>
                <a:lnTo>
                  <a:pt x="5" y="33"/>
                </a:lnTo>
                <a:lnTo>
                  <a:pt x="7" y="43"/>
                </a:lnTo>
                <a:lnTo>
                  <a:pt x="7" y="43"/>
                </a:lnTo>
                <a:lnTo>
                  <a:pt x="11" y="54"/>
                </a:lnTo>
                <a:lnTo>
                  <a:pt x="17" y="65"/>
                </a:lnTo>
                <a:lnTo>
                  <a:pt x="24" y="76"/>
                </a:lnTo>
                <a:lnTo>
                  <a:pt x="28" y="80"/>
                </a:lnTo>
                <a:lnTo>
                  <a:pt x="33" y="83"/>
                </a:lnTo>
                <a:lnTo>
                  <a:pt x="33" y="388"/>
                </a:lnTo>
                <a:lnTo>
                  <a:pt x="33" y="388"/>
                </a:lnTo>
                <a:lnTo>
                  <a:pt x="29" y="395"/>
                </a:lnTo>
                <a:lnTo>
                  <a:pt x="24" y="402"/>
                </a:lnTo>
                <a:lnTo>
                  <a:pt x="19" y="412"/>
                </a:lnTo>
                <a:lnTo>
                  <a:pt x="14" y="426"/>
                </a:lnTo>
                <a:lnTo>
                  <a:pt x="9" y="443"/>
                </a:lnTo>
                <a:lnTo>
                  <a:pt x="4" y="463"/>
                </a:lnTo>
                <a:lnTo>
                  <a:pt x="0" y="487"/>
                </a:lnTo>
                <a:lnTo>
                  <a:pt x="0" y="487"/>
                </a:lnTo>
                <a:lnTo>
                  <a:pt x="0" y="498"/>
                </a:lnTo>
                <a:lnTo>
                  <a:pt x="0" y="508"/>
                </a:lnTo>
                <a:lnTo>
                  <a:pt x="1" y="518"/>
                </a:lnTo>
                <a:lnTo>
                  <a:pt x="4" y="529"/>
                </a:lnTo>
                <a:lnTo>
                  <a:pt x="10" y="546"/>
                </a:lnTo>
                <a:lnTo>
                  <a:pt x="16" y="562"/>
                </a:lnTo>
                <a:lnTo>
                  <a:pt x="23" y="576"/>
                </a:lnTo>
                <a:lnTo>
                  <a:pt x="29" y="585"/>
                </a:lnTo>
                <a:lnTo>
                  <a:pt x="35" y="594"/>
                </a:lnTo>
                <a:lnTo>
                  <a:pt x="31" y="850"/>
                </a:lnTo>
                <a:lnTo>
                  <a:pt x="31" y="850"/>
                </a:lnTo>
                <a:lnTo>
                  <a:pt x="29" y="852"/>
                </a:lnTo>
                <a:lnTo>
                  <a:pt x="23" y="859"/>
                </a:lnTo>
                <a:lnTo>
                  <a:pt x="20" y="864"/>
                </a:lnTo>
                <a:lnTo>
                  <a:pt x="18" y="871"/>
                </a:lnTo>
                <a:lnTo>
                  <a:pt x="15" y="879"/>
                </a:lnTo>
                <a:lnTo>
                  <a:pt x="14" y="888"/>
                </a:lnTo>
                <a:lnTo>
                  <a:pt x="14" y="888"/>
                </a:lnTo>
                <a:lnTo>
                  <a:pt x="14" y="898"/>
                </a:lnTo>
                <a:lnTo>
                  <a:pt x="14" y="906"/>
                </a:lnTo>
                <a:lnTo>
                  <a:pt x="15" y="919"/>
                </a:lnTo>
                <a:lnTo>
                  <a:pt x="17" y="926"/>
                </a:lnTo>
                <a:lnTo>
                  <a:pt x="18" y="928"/>
                </a:lnTo>
                <a:lnTo>
                  <a:pt x="188" y="928"/>
                </a:lnTo>
                <a:lnTo>
                  <a:pt x="188" y="928"/>
                </a:lnTo>
                <a:lnTo>
                  <a:pt x="190" y="920"/>
                </a:lnTo>
                <a:lnTo>
                  <a:pt x="191" y="906"/>
                </a:lnTo>
                <a:lnTo>
                  <a:pt x="190" y="889"/>
                </a:lnTo>
                <a:lnTo>
                  <a:pt x="190" y="881"/>
                </a:lnTo>
                <a:lnTo>
                  <a:pt x="188" y="873"/>
                </a:lnTo>
                <a:lnTo>
                  <a:pt x="188" y="873"/>
                </a:lnTo>
                <a:lnTo>
                  <a:pt x="185" y="864"/>
                </a:lnTo>
                <a:lnTo>
                  <a:pt x="179" y="857"/>
                </a:lnTo>
                <a:lnTo>
                  <a:pt x="174" y="851"/>
                </a:lnTo>
                <a:lnTo>
                  <a:pt x="169" y="846"/>
                </a:lnTo>
                <a:lnTo>
                  <a:pt x="168" y="594"/>
                </a:lnTo>
                <a:lnTo>
                  <a:pt x="168" y="594"/>
                </a:lnTo>
                <a:lnTo>
                  <a:pt x="181" y="573"/>
                </a:lnTo>
                <a:lnTo>
                  <a:pt x="190" y="561"/>
                </a:lnTo>
                <a:lnTo>
                  <a:pt x="196" y="550"/>
                </a:lnTo>
                <a:lnTo>
                  <a:pt x="202" y="537"/>
                </a:lnTo>
                <a:lnTo>
                  <a:pt x="207" y="522"/>
                </a:lnTo>
                <a:lnTo>
                  <a:pt x="210" y="507"/>
                </a:lnTo>
                <a:lnTo>
                  <a:pt x="211" y="499"/>
                </a:lnTo>
                <a:lnTo>
                  <a:pt x="211" y="491"/>
                </a:lnTo>
                <a:lnTo>
                  <a:pt x="211" y="491"/>
                </a:lnTo>
                <a:lnTo>
                  <a:pt x="211" y="482"/>
                </a:lnTo>
                <a:lnTo>
                  <a:pt x="210" y="473"/>
                </a:lnTo>
                <a:lnTo>
                  <a:pt x="206" y="458"/>
                </a:lnTo>
                <a:lnTo>
                  <a:pt x="201" y="443"/>
                </a:lnTo>
                <a:lnTo>
                  <a:pt x="195" y="428"/>
                </a:lnTo>
                <a:lnTo>
                  <a:pt x="189" y="416"/>
                </a:lnTo>
                <a:lnTo>
                  <a:pt x="181" y="405"/>
                </a:lnTo>
                <a:lnTo>
                  <a:pt x="170" y="3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4" name="Freeform 41"/>
          <p:cNvSpPr>
            <a:spLocks/>
          </p:cNvSpPr>
          <p:nvPr userDrawn="1"/>
        </p:nvSpPr>
        <p:spPr bwMode="auto">
          <a:xfrm>
            <a:off x="7351713" y="1209378"/>
            <a:ext cx="80963" cy="58738"/>
          </a:xfrm>
          <a:custGeom>
            <a:avLst/>
            <a:gdLst>
              <a:gd name="T0" fmla="*/ 617 w 617"/>
              <a:gd name="T1" fmla="*/ 73 h 442"/>
              <a:gd name="T2" fmla="*/ 433 w 617"/>
              <a:gd name="T3" fmla="*/ 70 h 442"/>
              <a:gd name="T4" fmla="*/ 202 w 617"/>
              <a:gd name="T5" fmla="*/ 68 h 442"/>
              <a:gd name="T6" fmla="*/ 195 w 617"/>
              <a:gd name="T7" fmla="*/ 67 h 442"/>
              <a:gd name="T8" fmla="*/ 174 w 617"/>
              <a:gd name="T9" fmla="*/ 61 h 442"/>
              <a:gd name="T10" fmla="*/ 137 w 617"/>
              <a:gd name="T11" fmla="*/ 44 h 442"/>
              <a:gd name="T12" fmla="*/ 84 w 617"/>
              <a:gd name="T13" fmla="*/ 16 h 442"/>
              <a:gd name="T14" fmla="*/ 53 w 617"/>
              <a:gd name="T15" fmla="*/ 2 h 442"/>
              <a:gd name="T16" fmla="*/ 40 w 617"/>
              <a:gd name="T17" fmla="*/ 0 h 442"/>
              <a:gd name="T18" fmla="*/ 37 w 617"/>
              <a:gd name="T19" fmla="*/ 2 h 442"/>
              <a:gd name="T20" fmla="*/ 22 w 617"/>
              <a:gd name="T21" fmla="*/ 38 h 442"/>
              <a:gd name="T22" fmla="*/ 1 w 617"/>
              <a:gd name="T23" fmla="*/ 91 h 442"/>
              <a:gd name="T24" fmla="*/ 19 w 617"/>
              <a:gd name="T25" fmla="*/ 113 h 442"/>
              <a:gd name="T26" fmla="*/ 38 w 617"/>
              <a:gd name="T27" fmla="*/ 147 h 442"/>
              <a:gd name="T28" fmla="*/ 47 w 617"/>
              <a:gd name="T29" fmla="*/ 169 h 442"/>
              <a:gd name="T30" fmla="*/ 52 w 617"/>
              <a:gd name="T31" fmla="*/ 191 h 442"/>
              <a:gd name="T32" fmla="*/ 55 w 617"/>
              <a:gd name="T33" fmla="*/ 216 h 442"/>
              <a:gd name="T34" fmla="*/ 53 w 617"/>
              <a:gd name="T35" fmla="*/ 235 h 442"/>
              <a:gd name="T36" fmla="*/ 48 w 617"/>
              <a:gd name="T37" fmla="*/ 265 h 442"/>
              <a:gd name="T38" fmla="*/ 42 w 617"/>
              <a:gd name="T39" fmla="*/ 283 h 442"/>
              <a:gd name="T40" fmla="*/ 32 w 617"/>
              <a:gd name="T41" fmla="*/ 304 h 442"/>
              <a:gd name="T42" fmla="*/ 19 w 617"/>
              <a:gd name="T43" fmla="*/ 324 h 442"/>
              <a:gd name="T44" fmla="*/ 0 w 617"/>
              <a:gd name="T45" fmla="*/ 345 h 442"/>
              <a:gd name="T46" fmla="*/ 23 w 617"/>
              <a:gd name="T47" fmla="*/ 391 h 442"/>
              <a:gd name="T48" fmla="*/ 47 w 617"/>
              <a:gd name="T49" fmla="*/ 435 h 442"/>
              <a:gd name="T50" fmla="*/ 52 w 617"/>
              <a:gd name="T51" fmla="*/ 442 h 442"/>
              <a:gd name="T52" fmla="*/ 84 w 617"/>
              <a:gd name="T53" fmla="*/ 423 h 442"/>
              <a:gd name="T54" fmla="*/ 129 w 617"/>
              <a:gd name="T55" fmla="*/ 400 h 442"/>
              <a:gd name="T56" fmla="*/ 183 w 617"/>
              <a:gd name="T57" fmla="*/ 378 h 442"/>
              <a:gd name="T58" fmla="*/ 211 w 617"/>
              <a:gd name="T59" fmla="*/ 371 h 442"/>
              <a:gd name="T60" fmla="*/ 224 w 617"/>
              <a:gd name="T61" fmla="*/ 369 h 442"/>
              <a:gd name="T62" fmla="*/ 330 w 617"/>
              <a:gd name="T63" fmla="*/ 363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17" h="442">
                <a:moveTo>
                  <a:pt x="330" y="363"/>
                </a:moveTo>
                <a:lnTo>
                  <a:pt x="617" y="73"/>
                </a:lnTo>
                <a:lnTo>
                  <a:pt x="617" y="73"/>
                </a:lnTo>
                <a:lnTo>
                  <a:pt x="433" y="70"/>
                </a:lnTo>
                <a:lnTo>
                  <a:pt x="324" y="69"/>
                </a:lnTo>
                <a:lnTo>
                  <a:pt x="202" y="68"/>
                </a:lnTo>
                <a:lnTo>
                  <a:pt x="202" y="68"/>
                </a:lnTo>
                <a:lnTo>
                  <a:pt x="195" y="67"/>
                </a:lnTo>
                <a:lnTo>
                  <a:pt x="185" y="65"/>
                </a:lnTo>
                <a:lnTo>
                  <a:pt x="174" y="61"/>
                </a:lnTo>
                <a:lnTo>
                  <a:pt x="163" y="56"/>
                </a:lnTo>
                <a:lnTo>
                  <a:pt x="137" y="44"/>
                </a:lnTo>
                <a:lnTo>
                  <a:pt x="110" y="30"/>
                </a:lnTo>
                <a:lnTo>
                  <a:pt x="84" y="16"/>
                </a:lnTo>
                <a:lnTo>
                  <a:pt x="63" y="6"/>
                </a:lnTo>
                <a:lnTo>
                  <a:pt x="53" y="2"/>
                </a:lnTo>
                <a:lnTo>
                  <a:pt x="45" y="1"/>
                </a:lnTo>
                <a:lnTo>
                  <a:pt x="40" y="0"/>
                </a:lnTo>
                <a:lnTo>
                  <a:pt x="38" y="1"/>
                </a:lnTo>
                <a:lnTo>
                  <a:pt x="37" y="2"/>
                </a:lnTo>
                <a:lnTo>
                  <a:pt x="37" y="2"/>
                </a:lnTo>
                <a:lnTo>
                  <a:pt x="22" y="38"/>
                </a:lnTo>
                <a:lnTo>
                  <a:pt x="1" y="91"/>
                </a:lnTo>
                <a:lnTo>
                  <a:pt x="1" y="91"/>
                </a:lnTo>
                <a:lnTo>
                  <a:pt x="10" y="101"/>
                </a:lnTo>
                <a:lnTo>
                  <a:pt x="19" y="113"/>
                </a:lnTo>
                <a:lnTo>
                  <a:pt x="29" y="129"/>
                </a:lnTo>
                <a:lnTo>
                  <a:pt x="38" y="147"/>
                </a:lnTo>
                <a:lnTo>
                  <a:pt x="43" y="157"/>
                </a:lnTo>
                <a:lnTo>
                  <a:pt x="47" y="169"/>
                </a:lnTo>
                <a:lnTo>
                  <a:pt x="50" y="180"/>
                </a:lnTo>
                <a:lnTo>
                  <a:pt x="52" y="191"/>
                </a:lnTo>
                <a:lnTo>
                  <a:pt x="55" y="203"/>
                </a:lnTo>
                <a:lnTo>
                  <a:pt x="55" y="216"/>
                </a:lnTo>
                <a:lnTo>
                  <a:pt x="55" y="216"/>
                </a:lnTo>
                <a:lnTo>
                  <a:pt x="53" y="235"/>
                </a:lnTo>
                <a:lnTo>
                  <a:pt x="51" y="248"/>
                </a:lnTo>
                <a:lnTo>
                  <a:pt x="48" y="265"/>
                </a:lnTo>
                <a:lnTo>
                  <a:pt x="45" y="274"/>
                </a:lnTo>
                <a:lnTo>
                  <a:pt x="42" y="283"/>
                </a:lnTo>
                <a:lnTo>
                  <a:pt x="38" y="293"/>
                </a:lnTo>
                <a:lnTo>
                  <a:pt x="32" y="304"/>
                </a:lnTo>
                <a:lnTo>
                  <a:pt x="26" y="313"/>
                </a:lnTo>
                <a:lnTo>
                  <a:pt x="19" y="324"/>
                </a:lnTo>
                <a:lnTo>
                  <a:pt x="11" y="334"/>
                </a:lnTo>
                <a:lnTo>
                  <a:pt x="0" y="345"/>
                </a:lnTo>
                <a:lnTo>
                  <a:pt x="0" y="345"/>
                </a:lnTo>
                <a:lnTo>
                  <a:pt x="23" y="391"/>
                </a:lnTo>
                <a:lnTo>
                  <a:pt x="40" y="423"/>
                </a:lnTo>
                <a:lnTo>
                  <a:pt x="47" y="435"/>
                </a:lnTo>
                <a:lnTo>
                  <a:pt x="52" y="442"/>
                </a:lnTo>
                <a:lnTo>
                  <a:pt x="52" y="442"/>
                </a:lnTo>
                <a:lnTo>
                  <a:pt x="67" y="433"/>
                </a:lnTo>
                <a:lnTo>
                  <a:pt x="84" y="423"/>
                </a:lnTo>
                <a:lnTo>
                  <a:pt x="105" y="412"/>
                </a:lnTo>
                <a:lnTo>
                  <a:pt x="129" y="400"/>
                </a:lnTo>
                <a:lnTo>
                  <a:pt x="156" y="388"/>
                </a:lnTo>
                <a:lnTo>
                  <a:pt x="183" y="378"/>
                </a:lnTo>
                <a:lnTo>
                  <a:pt x="198" y="374"/>
                </a:lnTo>
                <a:lnTo>
                  <a:pt x="211" y="371"/>
                </a:lnTo>
                <a:lnTo>
                  <a:pt x="211" y="371"/>
                </a:lnTo>
                <a:lnTo>
                  <a:pt x="224" y="369"/>
                </a:lnTo>
                <a:lnTo>
                  <a:pt x="248" y="367"/>
                </a:lnTo>
                <a:lnTo>
                  <a:pt x="330" y="36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5" name="Freeform 42"/>
          <p:cNvSpPr>
            <a:spLocks/>
          </p:cNvSpPr>
          <p:nvPr userDrawn="1"/>
        </p:nvSpPr>
        <p:spPr bwMode="auto">
          <a:xfrm>
            <a:off x="7453312" y="1131591"/>
            <a:ext cx="158750" cy="127000"/>
          </a:xfrm>
          <a:custGeom>
            <a:avLst/>
            <a:gdLst>
              <a:gd name="T0" fmla="*/ 1179 w 1207"/>
              <a:gd name="T1" fmla="*/ 480 h 962"/>
              <a:gd name="T2" fmla="*/ 1115 w 1207"/>
              <a:gd name="T3" fmla="*/ 496 h 962"/>
              <a:gd name="T4" fmla="*/ 1079 w 1207"/>
              <a:gd name="T5" fmla="*/ 532 h 962"/>
              <a:gd name="T6" fmla="*/ 1057 w 1207"/>
              <a:gd name="T7" fmla="*/ 600 h 962"/>
              <a:gd name="T8" fmla="*/ 1046 w 1207"/>
              <a:gd name="T9" fmla="*/ 585 h 962"/>
              <a:gd name="T10" fmla="*/ 1007 w 1207"/>
              <a:gd name="T11" fmla="*/ 556 h 962"/>
              <a:gd name="T12" fmla="*/ 935 w 1207"/>
              <a:gd name="T13" fmla="*/ 562 h 962"/>
              <a:gd name="T14" fmla="*/ 930 w 1207"/>
              <a:gd name="T15" fmla="*/ 613 h 962"/>
              <a:gd name="T16" fmla="*/ 935 w 1207"/>
              <a:gd name="T17" fmla="*/ 696 h 962"/>
              <a:gd name="T18" fmla="*/ 890 w 1207"/>
              <a:gd name="T19" fmla="*/ 725 h 962"/>
              <a:gd name="T20" fmla="*/ 842 w 1207"/>
              <a:gd name="T21" fmla="*/ 709 h 962"/>
              <a:gd name="T22" fmla="*/ 816 w 1207"/>
              <a:gd name="T23" fmla="*/ 658 h 962"/>
              <a:gd name="T24" fmla="*/ 805 w 1207"/>
              <a:gd name="T25" fmla="*/ 643 h 962"/>
              <a:gd name="T26" fmla="*/ 749 w 1207"/>
              <a:gd name="T27" fmla="*/ 659 h 962"/>
              <a:gd name="T28" fmla="*/ 701 w 1207"/>
              <a:gd name="T29" fmla="*/ 634 h 962"/>
              <a:gd name="T30" fmla="*/ 694 w 1207"/>
              <a:gd name="T31" fmla="*/ 581 h 962"/>
              <a:gd name="T32" fmla="*/ 754 w 1207"/>
              <a:gd name="T33" fmla="*/ 540 h 962"/>
              <a:gd name="T34" fmla="*/ 824 w 1207"/>
              <a:gd name="T35" fmla="*/ 520 h 962"/>
              <a:gd name="T36" fmla="*/ 805 w 1207"/>
              <a:gd name="T37" fmla="*/ 460 h 962"/>
              <a:gd name="T38" fmla="*/ 764 w 1207"/>
              <a:gd name="T39" fmla="*/ 421 h 962"/>
              <a:gd name="T40" fmla="*/ 698 w 1207"/>
              <a:gd name="T41" fmla="*/ 414 h 962"/>
              <a:gd name="T42" fmla="*/ 672 w 1207"/>
              <a:gd name="T43" fmla="*/ 415 h 962"/>
              <a:gd name="T44" fmla="*/ 712 w 1207"/>
              <a:gd name="T45" fmla="*/ 360 h 962"/>
              <a:gd name="T46" fmla="*/ 709 w 1207"/>
              <a:gd name="T47" fmla="*/ 285 h 962"/>
              <a:gd name="T48" fmla="*/ 668 w 1207"/>
              <a:gd name="T49" fmla="*/ 214 h 962"/>
              <a:gd name="T50" fmla="*/ 606 w 1207"/>
              <a:gd name="T51" fmla="*/ 224 h 962"/>
              <a:gd name="T52" fmla="*/ 535 w 1207"/>
              <a:gd name="T53" fmla="*/ 272 h 962"/>
              <a:gd name="T54" fmla="*/ 516 w 1207"/>
              <a:gd name="T55" fmla="*/ 334 h 962"/>
              <a:gd name="T56" fmla="*/ 508 w 1207"/>
              <a:gd name="T57" fmla="*/ 341 h 962"/>
              <a:gd name="T58" fmla="*/ 458 w 1207"/>
              <a:gd name="T59" fmla="*/ 287 h 962"/>
              <a:gd name="T60" fmla="*/ 404 w 1207"/>
              <a:gd name="T61" fmla="*/ 278 h 962"/>
              <a:gd name="T62" fmla="*/ 345 w 1207"/>
              <a:gd name="T63" fmla="*/ 300 h 962"/>
              <a:gd name="T64" fmla="*/ 362 w 1207"/>
              <a:gd name="T65" fmla="*/ 357 h 962"/>
              <a:gd name="T66" fmla="*/ 382 w 1207"/>
              <a:gd name="T67" fmla="*/ 432 h 962"/>
              <a:gd name="T68" fmla="*/ 347 w 1207"/>
              <a:gd name="T69" fmla="*/ 472 h 962"/>
              <a:gd name="T70" fmla="*/ 292 w 1207"/>
              <a:gd name="T71" fmla="*/ 462 h 962"/>
              <a:gd name="T72" fmla="*/ 262 w 1207"/>
              <a:gd name="T73" fmla="*/ 417 h 962"/>
              <a:gd name="T74" fmla="*/ 249 w 1207"/>
              <a:gd name="T75" fmla="*/ 398 h 962"/>
              <a:gd name="T76" fmla="*/ 194 w 1207"/>
              <a:gd name="T77" fmla="*/ 421 h 962"/>
              <a:gd name="T78" fmla="*/ 147 w 1207"/>
              <a:gd name="T79" fmla="*/ 404 h 962"/>
              <a:gd name="T80" fmla="*/ 128 w 1207"/>
              <a:gd name="T81" fmla="*/ 354 h 962"/>
              <a:gd name="T82" fmla="*/ 178 w 1207"/>
              <a:gd name="T83" fmla="*/ 300 h 962"/>
              <a:gd name="T84" fmla="*/ 233 w 1207"/>
              <a:gd name="T85" fmla="*/ 262 h 962"/>
              <a:gd name="T86" fmla="*/ 195 w 1207"/>
              <a:gd name="T87" fmla="*/ 203 h 962"/>
              <a:gd name="T88" fmla="*/ 145 w 1207"/>
              <a:gd name="T89" fmla="*/ 185 h 962"/>
              <a:gd name="T90" fmla="*/ 115 w 1207"/>
              <a:gd name="T91" fmla="*/ 191 h 962"/>
              <a:gd name="T92" fmla="*/ 153 w 1207"/>
              <a:gd name="T93" fmla="*/ 136 h 962"/>
              <a:gd name="T94" fmla="*/ 157 w 1207"/>
              <a:gd name="T95" fmla="*/ 76 h 962"/>
              <a:gd name="T96" fmla="*/ 134 w 1207"/>
              <a:gd name="T97" fmla="*/ 28 h 962"/>
              <a:gd name="T98" fmla="*/ 269 w 1207"/>
              <a:gd name="T99" fmla="*/ 712 h 962"/>
              <a:gd name="T100" fmla="*/ 354 w 1207"/>
              <a:gd name="T101" fmla="*/ 656 h 962"/>
              <a:gd name="T102" fmla="*/ 437 w 1207"/>
              <a:gd name="T103" fmla="*/ 636 h 962"/>
              <a:gd name="T104" fmla="*/ 517 w 1207"/>
              <a:gd name="T105" fmla="*/ 643 h 962"/>
              <a:gd name="T106" fmla="*/ 610 w 1207"/>
              <a:gd name="T107" fmla="*/ 683 h 962"/>
              <a:gd name="T108" fmla="*/ 658 w 1207"/>
              <a:gd name="T109" fmla="*/ 735 h 962"/>
              <a:gd name="T110" fmla="*/ 673 w 1207"/>
              <a:gd name="T111" fmla="*/ 793 h 962"/>
              <a:gd name="T112" fmla="*/ 646 w 1207"/>
              <a:gd name="T113" fmla="*/ 877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07" h="962">
                <a:moveTo>
                  <a:pt x="841" y="962"/>
                </a:moveTo>
                <a:lnTo>
                  <a:pt x="1207" y="484"/>
                </a:lnTo>
                <a:lnTo>
                  <a:pt x="1207" y="484"/>
                </a:lnTo>
                <a:lnTo>
                  <a:pt x="1200" y="482"/>
                </a:lnTo>
                <a:lnTo>
                  <a:pt x="1190" y="481"/>
                </a:lnTo>
                <a:lnTo>
                  <a:pt x="1179" y="480"/>
                </a:lnTo>
                <a:lnTo>
                  <a:pt x="1166" y="480"/>
                </a:lnTo>
                <a:lnTo>
                  <a:pt x="1149" y="483"/>
                </a:lnTo>
                <a:lnTo>
                  <a:pt x="1141" y="485"/>
                </a:lnTo>
                <a:lnTo>
                  <a:pt x="1133" y="488"/>
                </a:lnTo>
                <a:lnTo>
                  <a:pt x="1124" y="492"/>
                </a:lnTo>
                <a:lnTo>
                  <a:pt x="1115" y="496"/>
                </a:lnTo>
                <a:lnTo>
                  <a:pt x="1115" y="496"/>
                </a:lnTo>
                <a:lnTo>
                  <a:pt x="1106" y="502"/>
                </a:lnTo>
                <a:lnTo>
                  <a:pt x="1097" y="508"/>
                </a:lnTo>
                <a:lnTo>
                  <a:pt x="1090" y="515"/>
                </a:lnTo>
                <a:lnTo>
                  <a:pt x="1084" y="523"/>
                </a:lnTo>
                <a:lnTo>
                  <a:pt x="1079" y="532"/>
                </a:lnTo>
                <a:lnTo>
                  <a:pt x="1074" y="540"/>
                </a:lnTo>
                <a:lnTo>
                  <a:pt x="1070" y="548"/>
                </a:lnTo>
                <a:lnTo>
                  <a:pt x="1067" y="557"/>
                </a:lnTo>
                <a:lnTo>
                  <a:pt x="1062" y="574"/>
                </a:lnTo>
                <a:lnTo>
                  <a:pt x="1058" y="589"/>
                </a:lnTo>
                <a:lnTo>
                  <a:pt x="1057" y="600"/>
                </a:lnTo>
                <a:lnTo>
                  <a:pt x="1058" y="605"/>
                </a:lnTo>
                <a:lnTo>
                  <a:pt x="1059" y="608"/>
                </a:lnTo>
                <a:lnTo>
                  <a:pt x="1059" y="608"/>
                </a:lnTo>
                <a:lnTo>
                  <a:pt x="1055" y="599"/>
                </a:lnTo>
                <a:lnTo>
                  <a:pt x="1051" y="592"/>
                </a:lnTo>
                <a:lnTo>
                  <a:pt x="1046" y="585"/>
                </a:lnTo>
                <a:lnTo>
                  <a:pt x="1041" y="579"/>
                </a:lnTo>
                <a:lnTo>
                  <a:pt x="1036" y="574"/>
                </a:lnTo>
                <a:lnTo>
                  <a:pt x="1031" y="568"/>
                </a:lnTo>
                <a:lnTo>
                  <a:pt x="1025" y="564"/>
                </a:lnTo>
                <a:lnTo>
                  <a:pt x="1020" y="561"/>
                </a:lnTo>
                <a:lnTo>
                  <a:pt x="1007" y="556"/>
                </a:lnTo>
                <a:lnTo>
                  <a:pt x="994" y="554"/>
                </a:lnTo>
                <a:lnTo>
                  <a:pt x="982" y="553"/>
                </a:lnTo>
                <a:lnTo>
                  <a:pt x="970" y="554"/>
                </a:lnTo>
                <a:lnTo>
                  <a:pt x="957" y="556"/>
                </a:lnTo>
                <a:lnTo>
                  <a:pt x="946" y="558"/>
                </a:lnTo>
                <a:lnTo>
                  <a:pt x="935" y="562"/>
                </a:lnTo>
                <a:lnTo>
                  <a:pt x="927" y="565"/>
                </a:lnTo>
                <a:lnTo>
                  <a:pt x="913" y="572"/>
                </a:lnTo>
                <a:lnTo>
                  <a:pt x="908" y="574"/>
                </a:lnTo>
                <a:lnTo>
                  <a:pt x="908" y="574"/>
                </a:lnTo>
                <a:lnTo>
                  <a:pt x="920" y="594"/>
                </a:lnTo>
                <a:lnTo>
                  <a:pt x="930" y="613"/>
                </a:lnTo>
                <a:lnTo>
                  <a:pt x="936" y="632"/>
                </a:lnTo>
                <a:lnTo>
                  <a:pt x="940" y="647"/>
                </a:lnTo>
                <a:lnTo>
                  <a:pt x="941" y="663"/>
                </a:lnTo>
                <a:lnTo>
                  <a:pt x="941" y="675"/>
                </a:lnTo>
                <a:lnTo>
                  <a:pt x="939" y="687"/>
                </a:lnTo>
                <a:lnTo>
                  <a:pt x="935" y="696"/>
                </a:lnTo>
                <a:lnTo>
                  <a:pt x="930" y="705"/>
                </a:lnTo>
                <a:lnTo>
                  <a:pt x="924" y="712"/>
                </a:lnTo>
                <a:lnTo>
                  <a:pt x="915" y="718"/>
                </a:lnTo>
                <a:lnTo>
                  <a:pt x="907" y="722"/>
                </a:lnTo>
                <a:lnTo>
                  <a:pt x="899" y="724"/>
                </a:lnTo>
                <a:lnTo>
                  <a:pt x="890" y="725"/>
                </a:lnTo>
                <a:lnTo>
                  <a:pt x="881" y="725"/>
                </a:lnTo>
                <a:lnTo>
                  <a:pt x="871" y="724"/>
                </a:lnTo>
                <a:lnTo>
                  <a:pt x="871" y="724"/>
                </a:lnTo>
                <a:lnTo>
                  <a:pt x="859" y="720"/>
                </a:lnTo>
                <a:lnTo>
                  <a:pt x="850" y="715"/>
                </a:lnTo>
                <a:lnTo>
                  <a:pt x="842" y="709"/>
                </a:lnTo>
                <a:lnTo>
                  <a:pt x="835" y="702"/>
                </a:lnTo>
                <a:lnTo>
                  <a:pt x="829" y="695"/>
                </a:lnTo>
                <a:lnTo>
                  <a:pt x="825" y="688"/>
                </a:lnTo>
                <a:lnTo>
                  <a:pt x="821" y="680"/>
                </a:lnTo>
                <a:lnTo>
                  <a:pt x="819" y="673"/>
                </a:lnTo>
                <a:lnTo>
                  <a:pt x="816" y="658"/>
                </a:lnTo>
                <a:lnTo>
                  <a:pt x="816" y="646"/>
                </a:lnTo>
                <a:lnTo>
                  <a:pt x="816" y="638"/>
                </a:lnTo>
                <a:lnTo>
                  <a:pt x="816" y="635"/>
                </a:lnTo>
                <a:lnTo>
                  <a:pt x="816" y="635"/>
                </a:lnTo>
                <a:lnTo>
                  <a:pt x="813" y="637"/>
                </a:lnTo>
                <a:lnTo>
                  <a:pt x="805" y="643"/>
                </a:lnTo>
                <a:lnTo>
                  <a:pt x="793" y="650"/>
                </a:lnTo>
                <a:lnTo>
                  <a:pt x="785" y="653"/>
                </a:lnTo>
                <a:lnTo>
                  <a:pt x="777" y="656"/>
                </a:lnTo>
                <a:lnTo>
                  <a:pt x="768" y="658"/>
                </a:lnTo>
                <a:lnTo>
                  <a:pt x="759" y="659"/>
                </a:lnTo>
                <a:lnTo>
                  <a:pt x="749" y="659"/>
                </a:lnTo>
                <a:lnTo>
                  <a:pt x="739" y="658"/>
                </a:lnTo>
                <a:lnTo>
                  <a:pt x="729" y="655"/>
                </a:lnTo>
                <a:lnTo>
                  <a:pt x="720" y="650"/>
                </a:lnTo>
                <a:lnTo>
                  <a:pt x="710" y="643"/>
                </a:lnTo>
                <a:lnTo>
                  <a:pt x="701" y="634"/>
                </a:lnTo>
                <a:lnTo>
                  <a:pt x="701" y="634"/>
                </a:lnTo>
                <a:lnTo>
                  <a:pt x="694" y="625"/>
                </a:lnTo>
                <a:lnTo>
                  <a:pt x="690" y="616"/>
                </a:lnTo>
                <a:lnTo>
                  <a:pt x="688" y="607"/>
                </a:lnTo>
                <a:lnTo>
                  <a:pt x="689" y="598"/>
                </a:lnTo>
                <a:lnTo>
                  <a:pt x="690" y="589"/>
                </a:lnTo>
                <a:lnTo>
                  <a:pt x="694" y="581"/>
                </a:lnTo>
                <a:lnTo>
                  <a:pt x="701" y="572"/>
                </a:lnTo>
                <a:lnTo>
                  <a:pt x="708" y="564"/>
                </a:lnTo>
                <a:lnTo>
                  <a:pt x="717" y="557"/>
                </a:lnTo>
                <a:lnTo>
                  <a:pt x="727" y="550"/>
                </a:lnTo>
                <a:lnTo>
                  <a:pt x="740" y="544"/>
                </a:lnTo>
                <a:lnTo>
                  <a:pt x="754" y="540"/>
                </a:lnTo>
                <a:lnTo>
                  <a:pt x="769" y="536"/>
                </a:lnTo>
                <a:lnTo>
                  <a:pt x="786" y="533"/>
                </a:lnTo>
                <a:lnTo>
                  <a:pt x="804" y="532"/>
                </a:lnTo>
                <a:lnTo>
                  <a:pt x="823" y="531"/>
                </a:lnTo>
                <a:lnTo>
                  <a:pt x="823" y="531"/>
                </a:lnTo>
                <a:lnTo>
                  <a:pt x="824" y="520"/>
                </a:lnTo>
                <a:lnTo>
                  <a:pt x="823" y="509"/>
                </a:lnTo>
                <a:lnTo>
                  <a:pt x="820" y="494"/>
                </a:lnTo>
                <a:lnTo>
                  <a:pt x="817" y="486"/>
                </a:lnTo>
                <a:lnTo>
                  <a:pt x="814" y="477"/>
                </a:lnTo>
                <a:lnTo>
                  <a:pt x="810" y="469"/>
                </a:lnTo>
                <a:lnTo>
                  <a:pt x="805" y="460"/>
                </a:lnTo>
                <a:lnTo>
                  <a:pt x="799" y="451"/>
                </a:lnTo>
                <a:lnTo>
                  <a:pt x="792" y="443"/>
                </a:lnTo>
                <a:lnTo>
                  <a:pt x="782" y="435"/>
                </a:lnTo>
                <a:lnTo>
                  <a:pt x="772" y="426"/>
                </a:lnTo>
                <a:lnTo>
                  <a:pt x="772" y="426"/>
                </a:lnTo>
                <a:lnTo>
                  <a:pt x="764" y="421"/>
                </a:lnTo>
                <a:lnTo>
                  <a:pt x="755" y="417"/>
                </a:lnTo>
                <a:lnTo>
                  <a:pt x="745" y="415"/>
                </a:lnTo>
                <a:lnTo>
                  <a:pt x="735" y="413"/>
                </a:lnTo>
                <a:lnTo>
                  <a:pt x="725" y="412"/>
                </a:lnTo>
                <a:lnTo>
                  <a:pt x="716" y="412"/>
                </a:lnTo>
                <a:lnTo>
                  <a:pt x="698" y="414"/>
                </a:lnTo>
                <a:lnTo>
                  <a:pt x="681" y="418"/>
                </a:lnTo>
                <a:lnTo>
                  <a:pt x="668" y="421"/>
                </a:lnTo>
                <a:lnTo>
                  <a:pt x="657" y="425"/>
                </a:lnTo>
                <a:lnTo>
                  <a:pt x="657" y="425"/>
                </a:lnTo>
                <a:lnTo>
                  <a:pt x="664" y="421"/>
                </a:lnTo>
                <a:lnTo>
                  <a:pt x="672" y="415"/>
                </a:lnTo>
                <a:lnTo>
                  <a:pt x="681" y="408"/>
                </a:lnTo>
                <a:lnTo>
                  <a:pt x="691" y="397"/>
                </a:lnTo>
                <a:lnTo>
                  <a:pt x="701" y="384"/>
                </a:lnTo>
                <a:lnTo>
                  <a:pt x="705" y="376"/>
                </a:lnTo>
                <a:lnTo>
                  <a:pt x="709" y="369"/>
                </a:lnTo>
                <a:lnTo>
                  <a:pt x="712" y="360"/>
                </a:lnTo>
                <a:lnTo>
                  <a:pt x="714" y="351"/>
                </a:lnTo>
                <a:lnTo>
                  <a:pt x="714" y="351"/>
                </a:lnTo>
                <a:lnTo>
                  <a:pt x="716" y="336"/>
                </a:lnTo>
                <a:lnTo>
                  <a:pt x="715" y="320"/>
                </a:lnTo>
                <a:lnTo>
                  <a:pt x="713" y="303"/>
                </a:lnTo>
                <a:lnTo>
                  <a:pt x="709" y="285"/>
                </a:lnTo>
                <a:lnTo>
                  <a:pt x="702" y="267"/>
                </a:lnTo>
                <a:lnTo>
                  <a:pt x="693" y="249"/>
                </a:lnTo>
                <a:lnTo>
                  <a:pt x="682" y="232"/>
                </a:lnTo>
                <a:lnTo>
                  <a:pt x="676" y="223"/>
                </a:lnTo>
                <a:lnTo>
                  <a:pt x="669" y="216"/>
                </a:lnTo>
                <a:lnTo>
                  <a:pt x="668" y="214"/>
                </a:lnTo>
                <a:lnTo>
                  <a:pt x="665" y="214"/>
                </a:lnTo>
                <a:lnTo>
                  <a:pt x="665" y="214"/>
                </a:lnTo>
                <a:lnTo>
                  <a:pt x="655" y="214"/>
                </a:lnTo>
                <a:lnTo>
                  <a:pt x="644" y="215"/>
                </a:lnTo>
                <a:lnTo>
                  <a:pt x="624" y="219"/>
                </a:lnTo>
                <a:lnTo>
                  <a:pt x="606" y="224"/>
                </a:lnTo>
                <a:lnTo>
                  <a:pt x="587" y="232"/>
                </a:lnTo>
                <a:lnTo>
                  <a:pt x="572" y="240"/>
                </a:lnTo>
                <a:lnTo>
                  <a:pt x="557" y="250"/>
                </a:lnTo>
                <a:lnTo>
                  <a:pt x="545" y="261"/>
                </a:lnTo>
                <a:lnTo>
                  <a:pt x="535" y="272"/>
                </a:lnTo>
                <a:lnTo>
                  <a:pt x="535" y="272"/>
                </a:lnTo>
                <a:lnTo>
                  <a:pt x="530" y="280"/>
                </a:lnTo>
                <a:lnTo>
                  <a:pt x="526" y="288"/>
                </a:lnTo>
                <a:lnTo>
                  <a:pt x="523" y="297"/>
                </a:lnTo>
                <a:lnTo>
                  <a:pt x="520" y="305"/>
                </a:lnTo>
                <a:lnTo>
                  <a:pt x="517" y="320"/>
                </a:lnTo>
                <a:lnTo>
                  <a:pt x="516" y="334"/>
                </a:lnTo>
                <a:lnTo>
                  <a:pt x="516" y="347"/>
                </a:lnTo>
                <a:lnTo>
                  <a:pt x="517" y="357"/>
                </a:lnTo>
                <a:lnTo>
                  <a:pt x="519" y="365"/>
                </a:lnTo>
                <a:lnTo>
                  <a:pt x="519" y="365"/>
                </a:lnTo>
                <a:lnTo>
                  <a:pt x="513" y="354"/>
                </a:lnTo>
                <a:lnTo>
                  <a:pt x="508" y="341"/>
                </a:lnTo>
                <a:lnTo>
                  <a:pt x="499" y="327"/>
                </a:lnTo>
                <a:lnTo>
                  <a:pt x="488" y="313"/>
                </a:lnTo>
                <a:lnTo>
                  <a:pt x="482" y="306"/>
                </a:lnTo>
                <a:lnTo>
                  <a:pt x="475" y="299"/>
                </a:lnTo>
                <a:lnTo>
                  <a:pt x="467" y="292"/>
                </a:lnTo>
                <a:lnTo>
                  <a:pt x="458" y="287"/>
                </a:lnTo>
                <a:lnTo>
                  <a:pt x="450" y="283"/>
                </a:lnTo>
                <a:lnTo>
                  <a:pt x="440" y="281"/>
                </a:lnTo>
                <a:lnTo>
                  <a:pt x="440" y="281"/>
                </a:lnTo>
                <a:lnTo>
                  <a:pt x="428" y="278"/>
                </a:lnTo>
                <a:lnTo>
                  <a:pt x="415" y="278"/>
                </a:lnTo>
                <a:lnTo>
                  <a:pt x="404" y="278"/>
                </a:lnTo>
                <a:lnTo>
                  <a:pt x="393" y="279"/>
                </a:lnTo>
                <a:lnTo>
                  <a:pt x="384" y="281"/>
                </a:lnTo>
                <a:lnTo>
                  <a:pt x="374" y="284"/>
                </a:lnTo>
                <a:lnTo>
                  <a:pt x="365" y="287"/>
                </a:lnTo>
                <a:lnTo>
                  <a:pt x="358" y="291"/>
                </a:lnTo>
                <a:lnTo>
                  <a:pt x="345" y="300"/>
                </a:lnTo>
                <a:lnTo>
                  <a:pt x="336" y="307"/>
                </a:lnTo>
                <a:lnTo>
                  <a:pt x="328" y="314"/>
                </a:lnTo>
                <a:lnTo>
                  <a:pt x="328" y="314"/>
                </a:lnTo>
                <a:lnTo>
                  <a:pt x="342" y="328"/>
                </a:lnTo>
                <a:lnTo>
                  <a:pt x="353" y="343"/>
                </a:lnTo>
                <a:lnTo>
                  <a:pt x="362" y="357"/>
                </a:lnTo>
                <a:lnTo>
                  <a:pt x="369" y="371"/>
                </a:lnTo>
                <a:lnTo>
                  <a:pt x="375" y="384"/>
                </a:lnTo>
                <a:lnTo>
                  <a:pt x="380" y="398"/>
                </a:lnTo>
                <a:lnTo>
                  <a:pt x="382" y="410"/>
                </a:lnTo>
                <a:lnTo>
                  <a:pt x="383" y="421"/>
                </a:lnTo>
                <a:lnTo>
                  <a:pt x="382" y="432"/>
                </a:lnTo>
                <a:lnTo>
                  <a:pt x="380" y="442"/>
                </a:lnTo>
                <a:lnTo>
                  <a:pt x="375" y="451"/>
                </a:lnTo>
                <a:lnTo>
                  <a:pt x="370" y="458"/>
                </a:lnTo>
                <a:lnTo>
                  <a:pt x="363" y="464"/>
                </a:lnTo>
                <a:lnTo>
                  <a:pt x="356" y="469"/>
                </a:lnTo>
                <a:lnTo>
                  <a:pt x="347" y="472"/>
                </a:lnTo>
                <a:lnTo>
                  <a:pt x="337" y="473"/>
                </a:lnTo>
                <a:lnTo>
                  <a:pt x="337" y="473"/>
                </a:lnTo>
                <a:lnTo>
                  <a:pt x="322" y="473"/>
                </a:lnTo>
                <a:lnTo>
                  <a:pt x="311" y="471"/>
                </a:lnTo>
                <a:lnTo>
                  <a:pt x="301" y="467"/>
                </a:lnTo>
                <a:lnTo>
                  <a:pt x="292" y="462"/>
                </a:lnTo>
                <a:lnTo>
                  <a:pt x="283" y="456"/>
                </a:lnTo>
                <a:lnTo>
                  <a:pt x="277" y="449"/>
                </a:lnTo>
                <a:lnTo>
                  <a:pt x="272" y="441"/>
                </a:lnTo>
                <a:lnTo>
                  <a:pt x="268" y="432"/>
                </a:lnTo>
                <a:lnTo>
                  <a:pt x="264" y="424"/>
                </a:lnTo>
                <a:lnTo>
                  <a:pt x="262" y="417"/>
                </a:lnTo>
                <a:lnTo>
                  <a:pt x="259" y="403"/>
                </a:lnTo>
                <a:lnTo>
                  <a:pt x="257" y="393"/>
                </a:lnTo>
                <a:lnTo>
                  <a:pt x="257" y="390"/>
                </a:lnTo>
                <a:lnTo>
                  <a:pt x="257" y="390"/>
                </a:lnTo>
                <a:lnTo>
                  <a:pt x="255" y="392"/>
                </a:lnTo>
                <a:lnTo>
                  <a:pt x="249" y="398"/>
                </a:lnTo>
                <a:lnTo>
                  <a:pt x="239" y="405"/>
                </a:lnTo>
                <a:lnTo>
                  <a:pt x="227" y="413"/>
                </a:lnTo>
                <a:lnTo>
                  <a:pt x="220" y="416"/>
                </a:lnTo>
                <a:lnTo>
                  <a:pt x="212" y="419"/>
                </a:lnTo>
                <a:lnTo>
                  <a:pt x="204" y="420"/>
                </a:lnTo>
                <a:lnTo>
                  <a:pt x="194" y="421"/>
                </a:lnTo>
                <a:lnTo>
                  <a:pt x="185" y="421"/>
                </a:lnTo>
                <a:lnTo>
                  <a:pt x="175" y="419"/>
                </a:lnTo>
                <a:lnTo>
                  <a:pt x="165" y="415"/>
                </a:lnTo>
                <a:lnTo>
                  <a:pt x="155" y="409"/>
                </a:lnTo>
                <a:lnTo>
                  <a:pt x="155" y="409"/>
                </a:lnTo>
                <a:lnTo>
                  <a:pt x="147" y="404"/>
                </a:lnTo>
                <a:lnTo>
                  <a:pt x="140" y="397"/>
                </a:lnTo>
                <a:lnTo>
                  <a:pt x="135" y="390"/>
                </a:lnTo>
                <a:lnTo>
                  <a:pt x="131" y="381"/>
                </a:lnTo>
                <a:lnTo>
                  <a:pt x="129" y="372"/>
                </a:lnTo>
                <a:lnTo>
                  <a:pt x="128" y="363"/>
                </a:lnTo>
                <a:lnTo>
                  <a:pt x="128" y="354"/>
                </a:lnTo>
                <a:lnTo>
                  <a:pt x="131" y="345"/>
                </a:lnTo>
                <a:lnTo>
                  <a:pt x="136" y="334"/>
                </a:lnTo>
                <a:lnTo>
                  <a:pt x="142" y="325"/>
                </a:lnTo>
                <a:lnTo>
                  <a:pt x="153" y="316"/>
                </a:lnTo>
                <a:lnTo>
                  <a:pt x="164" y="308"/>
                </a:lnTo>
                <a:lnTo>
                  <a:pt x="178" y="300"/>
                </a:lnTo>
                <a:lnTo>
                  <a:pt x="195" y="292"/>
                </a:lnTo>
                <a:lnTo>
                  <a:pt x="216" y="286"/>
                </a:lnTo>
                <a:lnTo>
                  <a:pt x="239" y="280"/>
                </a:lnTo>
                <a:lnTo>
                  <a:pt x="239" y="280"/>
                </a:lnTo>
                <a:lnTo>
                  <a:pt x="238" y="275"/>
                </a:lnTo>
                <a:lnTo>
                  <a:pt x="233" y="262"/>
                </a:lnTo>
                <a:lnTo>
                  <a:pt x="230" y="253"/>
                </a:lnTo>
                <a:lnTo>
                  <a:pt x="225" y="242"/>
                </a:lnTo>
                <a:lnTo>
                  <a:pt x="220" y="232"/>
                </a:lnTo>
                <a:lnTo>
                  <a:pt x="213" y="222"/>
                </a:lnTo>
                <a:lnTo>
                  <a:pt x="205" y="213"/>
                </a:lnTo>
                <a:lnTo>
                  <a:pt x="195" y="203"/>
                </a:lnTo>
                <a:lnTo>
                  <a:pt x="185" y="196"/>
                </a:lnTo>
                <a:lnTo>
                  <a:pt x="173" y="190"/>
                </a:lnTo>
                <a:lnTo>
                  <a:pt x="167" y="188"/>
                </a:lnTo>
                <a:lnTo>
                  <a:pt x="161" y="187"/>
                </a:lnTo>
                <a:lnTo>
                  <a:pt x="154" y="186"/>
                </a:lnTo>
                <a:lnTo>
                  <a:pt x="145" y="185"/>
                </a:lnTo>
                <a:lnTo>
                  <a:pt x="138" y="186"/>
                </a:lnTo>
                <a:lnTo>
                  <a:pt x="129" y="187"/>
                </a:lnTo>
                <a:lnTo>
                  <a:pt x="121" y="190"/>
                </a:lnTo>
                <a:lnTo>
                  <a:pt x="112" y="193"/>
                </a:lnTo>
                <a:lnTo>
                  <a:pt x="112" y="193"/>
                </a:lnTo>
                <a:lnTo>
                  <a:pt x="115" y="191"/>
                </a:lnTo>
                <a:lnTo>
                  <a:pt x="119" y="188"/>
                </a:lnTo>
                <a:lnTo>
                  <a:pt x="127" y="180"/>
                </a:lnTo>
                <a:lnTo>
                  <a:pt x="136" y="168"/>
                </a:lnTo>
                <a:lnTo>
                  <a:pt x="144" y="153"/>
                </a:lnTo>
                <a:lnTo>
                  <a:pt x="148" y="144"/>
                </a:lnTo>
                <a:lnTo>
                  <a:pt x="153" y="136"/>
                </a:lnTo>
                <a:lnTo>
                  <a:pt x="156" y="127"/>
                </a:lnTo>
                <a:lnTo>
                  <a:pt x="158" y="117"/>
                </a:lnTo>
                <a:lnTo>
                  <a:pt x="159" y="106"/>
                </a:lnTo>
                <a:lnTo>
                  <a:pt x="160" y="97"/>
                </a:lnTo>
                <a:lnTo>
                  <a:pt x="159" y="86"/>
                </a:lnTo>
                <a:lnTo>
                  <a:pt x="157" y="76"/>
                </a:lnTo>
                <a:lnTo>
                  <a:pt x="157" y="76"/>
                </a:lnTo>
                <a:lnTo>
                  <a:pt x="155" y="66"/>
                </a:lnTo>
                <a:lnTo>
                  <a:pt x="150" y="57"/>
                </a:lnTo>
                <a:lnTo>
                  <a:pt x="147" y="49"/>
                </a:lnTo>
                <a:lnTo>
                  <a:pt x="143" y="41"/>
                </a:lnTo>
                <a:lnTo>
                  <a:pt x="134" y="28"/>
                </a:lnTo>
                <a:lnTo>
                  <a:pt x="125" y="17"/>
                </a:lnTo>
                <a:lnTo>
                  <a:pt x="117" y="9"/>
                </a:lnTo>
                <a:lnTo>
                  <a:pt x="110" y="4"/>
                </a:lnTo>
                <a:lnTo>
                  <a:pt x="103" y="0"/>
                </a:lnTo>
                <a:lnTo>
                  <a:pt x="0" y="593"/>
                </a:lnTo>
                <a:lnTo>
                  <a:pt x="269" y="712"/>
                </a:lnTo>
                <a:lnTo>
                  <a:pt x="269" y="712"/>
                </a:lnTo>
                <a:lnTo>
                  <a:pt x="293" y="693"/>
                </a:lnTo>
                <a:lnTo>
                  <a:pt x="315" y="677"/>
                </a:lnTo>
                <a:lnTo>
                  <a:pt x="336" y="665"/>
                </a:lnTo>
                <a:lnTo>
                  <a:pt x="354" y="656"/>
                </a:lnTo>
                <a:lnTo>
                  <a:pt x="354" y="656"/>
                </a:lnTo>
                <a:lnTo>
                  <a:pt x="367" y="650"/>
                </a:lnTo>
                <a:lnTo>
                  <a:pt x="382" y="646"/>
                </a:lnTo>
                <a:lnTo>
                  <a:pt x="396" y="642"/>
                </a:lnTo>
                <a:lnTo>
                  <a:pt x="409" y="639"/>
                </a:lnTo>
                <a:lnTo>
                  <a:pt x="423" y="637"/>
                </a:lnTo>
                <a:lnTo>
                  <a:pt x="437" y="636"/>
                </a:lnTo>
                <a:lnTo>
                  <a:pt x="450" y="635"/>
                </a:lnTo>
                <a:lnTo>
                  <a:pt x="464" y="635"/>
                </a:lnTo>
                <a:lnTo>
                  <a:pt x="478" y="636"/>
                </a:lnTo>
                <a:lnTo>
                  <a:pt x="491" y="638"/>
                </a:lnTo>
                <a:lnTo>
                  <a:pt x="504" y="640"/>
                </a:lnTo>
                <a:lnTo>
                  <a:pt x="517" y="643"/>
                </a:lnTo>
                <a:lnTo>
                  <a:pt x="542" y="650"/>
                </a:lnTo>
                <a:lnTo>
                  <a:pt x="566" y="658"/>
                </a:lnTo>
                <a:lnTo>
                  <a:pt x="566" y="658"/>
                </a:lnTo>
                <a:lnTo>
                  <a:pt x="582" y="667"/>
                </a:lnTo>
                <a:lnTo>
                  <a:pt x="596" y="675"/>
                </a:lnTo>
                <a:lnTo>
                  <a:pt x="610" y="683"/>
                </a:lnTo>
                <a:lnTo>
                  <a:pt x="621" y="691"/>
                </a:lnTo>
                <a:lnTo>
                  <a:pt x="631" y="699"/>
                </a:lnTo>
                <a:lnTo>
                  <a:pt x="639" y="709"/>
                </a:lnTo>
                <a:lnTo>
                  <a:pt x="646" y="717"/>
                </a:lnTo>
                <a:lnTo>
                  <a:pt x="653" y="726"/>
                </a:lnTo>
                <a:lnTo>
                  <a:pt x="658" y="735"/>
                </a:lnTo>
                <a:lnTo>
                  <a:pt x="662" y="743"/>
                </a:lnTo>
                <a:lnTo>
                  <a:pt x="665" y="753"/>
                </a:lnTo>
                <a:lnTo>
                  <a:pt x="668" y="761"/>
                </a:lnTo>
                <a:lnTo>
                  <a:pt x="671" y="778"/>
                </a:lnTo>
                <a:lnTo>
                  <a:pt x="673" y="793"/>
                </a:lnTo>
                <a:lnTo>
                  <a:pt x="673" y="793"/>
                </a:lnTo>
                <a:lnTo>
                  <a:pt x="672" y="804"/>
                </a:lnTo>
                <a:lnTo>
                  <a:pt x="670" y="815"/>
                </a:lnTo>
                <a:lnTo>
                  <a:pt x="667" y="827"/>
                </a:lnTo>
                <a:lnTo>
                  <a:pt x="663" y="839"/>
                </a:lnTo>
                <a:lnTo>
                  <a:pt x="654" y="863"/>
                </a:lnTo>
                <a:lnTo>
                  <a:pt x="646" y="877"/>
                </a:lnTo>
                <a:lnTo>
                  <a:pt x="841" y="96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6" name="Freeform 43"/>
          <p:cNvSpPr>
            <a:spLocks/>
          </p:cNvSpPr>
          <p:nvPr userDrawn="1"/>
        </p:nvSpPr>
        <p:spPr bwMode="auto">
          <a:xfrm>
            <a:off x="7581901" y="1218904"/>
            <a:ext cx="193675" cy="33338"/>
          </a:xfrm>
          <a:custGeom>
            <a:avLst/>
            <a:gdLst>
              <a:gd name="T0" fmla="*/ 1228 w 1463"/>
              <a:gd name="T1" fmla="*/ 227 h 256"/>
              <a:gd name="T2" fmla="*/ 1463 w 1463"/>
              <a:gd name="T3" fmla="*/ 113 h 256"/>
              <a:gd name="T4" fmla="*/ 1225 w 1463"/>
              <a:gd name="T5" fmla="*/ 14 h 256"/>
              <a:gd name="T6" fmla="*/ 1225 w 1463"/>
              <a:gd name="T7" fmla="*/ 14 h 256"/>
              <a:gd name="T8" fmla="*/ 1152 w 1463"/>
              <a:gd name="T9" fmla="*/ 15 h 256"/>
              <a:gd name="T10" fmla="*/ 1060 w 1463"/>
              <a:gd name="T11" fmla="*/ 16 h 256"/>
              <a:gd name="T12" fmla="*/ 949 w 1463"/>
              <a:gd name="T13" fmla="*/ 15 h 256"/>
              <a:gd name="T14" fmla="*/ 824 w 1463"/>
              <a:gd name="T15" fmla="*/ 13 h 256"/>
              <a:gd name="T16" fmla="*/ 531 w 1463"/>
              <a:gd name="T17" fmla="*/ 7 h 256"/>
              <a:gd name="T18" fmla="*/ 197 w 1463"/>
              <a:gd name="T19" fmla="*/ 0 h 256"/>
              <a:gd name="T20" fmla="*/ 0 w 1463"/>
              <a:gd name="T21" fmla="*/ 256 h 256"/>
              <a:gd name="T22" fmla="*/ 0 w 1463"/>
              <a:gd name="T23" fmla="*/ 256 h 256"/>
              <a:gd name="T24" fmla="*/ 734 w 1463"/>
              <a:gd name="T25" fmla="*/ 240 h 256"/>
              <a:gd name="T26" fmla="*/ 1024 w 1463"/>
              <a:gd name="T27" fmla="*/ 234 h 256"/>
              <a:gd name="T28" fmla="*/ 1228 w 1463"/>
              <a:gd name="T29" fmla="*/ 22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3" h="256">
                <a:moveTo>
                  <a:pt x="1228" y="227"/>
                </a:moveTo>
                <a:lnTo>
                  <a:pt x="1463" y="113"/>
                </a:lnTo>
                <a:lnTo>
                  <a:pt x="1225" y="14"/>
                </a:lnTo>
                <a:lnTo>
                  <a:pt x="1225" y="14"/>
                </a:lnTo>
                <a:lnTo>
                  <a:pt x="1152" y="15"/>
                </a:lnTo>
                <a:lnTo>
                  <a:pt x="1060" y="16"/>
                </a:lnTo>
                <a:lnTo>
                  <a:pt x="949" y="15"/>
                </a:lnTo>
                <a:lnTo>
                  <a:pt x="824" y="13"/>
                </a:lnTo>
                <a:lnTo>
                  <a:pt x="531" y="7"/>
                </a:lnTo>
                <a:lnTo>
                  <a:pt x="197" y="0"/>
                </a:lnTo>
                <a:lnTo>
                  <a:pt x="0" y="256"/>
                </a:lnTo>
                <a:lnTo>
                  <a:pt x="0" y="256"/>
                </a:lnTo>
                <a:lnTo>
                  <a:pt x="734" y="240"/>
                </a:lnTo>
                <a:lnTo>
                  <a:pt x="1024" y="234"/>
                </a:lnTo>
                <a:lnTo>
                  <a:pt x="1228" y="22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7" name="Freeform 44"/>
          <p:cNvSpPr>
            <a:spLocks/>
          </p:cNvSpPr>
          <p:nvPr userDrawn="1"/>
        </p:nvSpPr>
        <p:spPr bwMode="auto">
          <a:xfrm>
            <a:off x="7643812" y="1301453"/>
            <a:ext cx="114300" cy="112713"/>
          </a:xfrm>
          <a:custGeom>
            <a:avLst/>
            <a:gdLst>
              <a:gd name="T0" fmla="*/ 386 w 869"/>
              <a:gd name="T1" fmla="*/ 818 h 851"/>
              <a:gd name="T2" fmla="*/ 235 w 869"/>
              <a:gd name="T3" fmla="*/ 737 h 851"/>
              <a:gd name="T4" fmla="*/ 156 w 869"/>
              <a:gd name="T5" fmla="*/ 685 h 851"/>
              <a:gd name="T6" fmla="*/ 90 w 869"/>
              <a:gd name="T7" fmla="*/ 626 h 851"/>
              <a:gd name="T8" fmla="*/ 37 w 869"/>
              <a:gd name="T9" fmla="*/ 557 h 851"/>
              <a:gd name="T10" fmla="*/ 24 w 869"/>
              <a:gd name="T11" fmla="*/ 531 h 851"/>
              <a:gd name="T12" fmla="*/ 10 w 869"/>
              <a:gd name="T13" fmla="*/ 487 h 851"/>
              <a:gd name="T14" fmla="*/ 2 w 869"/>
              <a:gd name="T15" fmla="*/ 439 h 851"/>
              <a:gd name="T16" fmla="*/ 0 w 869"/>
              <a:gd name="T17" fmla="*/ 389 h 851"/>
              <a:gd name="T18" fmla="*/ 5 w 869"/>
              <a:gd name="T19" fmla="*/ 336 h 851"/>
              <a:gd name="T20" fmla="*/ 15 w 869"/>
              <a:gd name="T21" fmla="*/ 283 h 851"/>
              <a:gd name="T22" fmla="*/ 34 w 869"/>
              <a:gd name="T23" fmla="*/ 231 h 851"/>
              <a:gd name="T24" fmla="*/ 59 w 869"/>
              <a:gd name="T25" fmla="*/ 182 h 851"/>
              <a:gd name="T26" fmla="*/ 93 w 869"/>
              <a:gd name="T27" fmla="*/ 136 h 851"/>
              <a:gd name="T28" fmla="*/ 134 w 869"/>
              <a:gd name="T29" fmla="*/ 94 h 851"/>
              <a:gd name="T30" fmla="*/ 183 w 869"/>
              <a:gd name="T31" fmla="*/ 59 h 851"/>
              <a:gd name="T32" fmla="*/ 198 w 869"/>
              <a:gd name="T33" fmla="*/ 75 h 851"/>
              <a:gd name="T34" fmla="*/ 217 w 869"/>
              <a:gd name="T35" fmla="*/ 106 h 851"/>
              <a:gd name="T36" fmla="*/ 227 w 869"/>
              <a:gd name="T37" fmla="*/ 141 h 851"/>
              <a:gd name="T38" fmla="*/ 247 w 869"/>
              <a:gd name="T39" fmla="*/ 150 h 851"/>
              <a:gd name="T40" fmla="*/ 379 w 869"/>
              <a:gd name="T41" fmla="*/ 144 h 851"/>
              <a:gd name="T42" fmla="*/ 424 w 869"/>
              <a:gd name="T43" fmla="*/ 143 h 851"/>
              <a:gd name="T44" fmla="*/ 424 w 869"/>
              <a:gd name="T45" fmla="*/ 94 h 851"/>
              <a:gd name="T46" fmla="*/ 414 w 869"/>
              <a:gd name="T47" fmla="*/ 37 h 851"/>
              <a:gd name="T48" fmla="*/ 397 w 869"/>
              <a:gd name="T49" fmla="*/ 0 h 851"/>
              <a:gd name="T50" fmla="*/ 431 w 869"/>
              <a:gd name="T51" fmla="*/ 27 h 851"/>
              <a:gd name="T52" fmla="*/ 459 w 869"/>
              <a:gd name="T53" fmla="*/ 55 h 851"/>
              <a:gd name="T54" fmla="*/ 475 w 869"/>
              <a:gd name="T55" fmla="*/ 82 h 851"/>
              <a:gd name="T56" fmla="*/ 487 w 869"/>
              <a:gd name="T57" fmla="*/ 116 h 851"/>
              <a:gd name="T58" fmla="*/ 493 w 869"/>
              <a:gd name="T59" fmla="*/ 143 h 851"/>
              <a:gd name="T60" fmla="*/ 671 w 869"/>
              <a:gd name="T61" fmla="*/ 133 h 851"/>
              <a:gd name="T62" fmla="*/ 662 w 869"/>
              <a:gd name="T63" fmla="*/ 88 h 851"/>
              <a:gd name="T64" fmla="*/ 643 w 869"/>
              <a:gd name="T65" fmla="*/ 50 h 851"/>
              <a:gd name="T66" fmla="*/ 651 w 869"/>
              <a:gd name="T67" fmla="*/ 46 h 851"/>
              <a:gd name="T68" fmla="*/ 699 w 869"/>
              <a:gd name="T69" fmla="*/ 73 h 851"/>
              <a:gd name="T70" fmla="*/ 740 w 869"/>
              <a:gd name="T71" fmla="*/ 104 h 851"/>
              <a:gd name="T72" fmla="*/ 775 w 869"/>
              <a:gd name="T73" fmla="*/ 138 h 851"/>
              <a:gd name="T74" fmla="*/ 803 w 869"/>
              <a:gd name="T75" fmla="*/ 175 h 851"/>
              <a:gd name="T76" fmla="*/ 837 w 869"/>
              <a:gd name="T77" fmla="*/ 238 h 851"/>
              <a:gd name="T78" fmla="*/ 861 w 869"/>
              <a:gd name="T79" fmla="*/ 312 h 851"/>
              <a:gd name="T80" fmla="*/ 869 w 869"/>
              <a:gd name="T81" fmla="*/ 379 h 851"/>
              <a:gd name="T82" fmla="*/ 869 w 869"/>
              <a:gd name="T83" fmla="*/ 423 h 851"/>
              <a:gd name="T84" fmla="*/ 859 w 869"/>
              <a:gd name="T85" fmla="*/ 499 h 851"/>
              <a:gd name="T86" fmla="*/ 834 w 869"/>
              <a:gd name="T87" fmla="*/ 569 h 851"/>
              <a:gd name="T88" fmla="*/ 796 w 869"/>
              <a:gd name="T89" fmla="*/ 631 h 851"/>
              <a:gd name="T90" fmla="*/ 749 w 869"/>
              <a:gd name="T91" fmla="*/ 684 h 851"/>
              <a:gd name="T92" fmla="*/ 693 w 869"/>
              <a:gd name="T93" fmla="*/ 727 h 851"/>
              <a:gd name="T94" fmla="*/ 626 w 869"/>
              <a:gd name="T95" fmla="*/ 766 h 851"/>
              <a:gd name="T96" fmla="*/ 506 w 869"/>
              <a:gd name="T97" fmla="*/ 826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9" h="851">
                <a:moveTo>
                  <a:pt x="452" y="851"/>
                </a:moveTo>
                <a:lnTo>
                  <a:pt x="452" y="851"/>
                </a:lnTo>
                <a:lnTo>
                  <a:pt x="386" y="818"/>
                </a:lnTo>
                <a:lnTo>
                  <a:pt x="323" y="785"/>
                </a:lnTo>
                <a:lnTo>
                  <a:pt x="264" y="754"/>
                </a:lnTo>
                <a:lnTo>
                  <a:pt x="235" y="737"/>
                </a:lnTo>
                <a:lnTo>
                  <a:pt x="207" y="720"/>
                </a:lnTo>
                <a:lnTo>
                  <a:pt x="181" y="703"/>
                </a:lnTo>
                <a:lnTo>
                  <a:pt x="156" y="685"/>
                </a:lnTo>
                <a:lnTo>
                  <a:pt x="133" y="666"/>
                </a:lnTo>
                <a:lnTo>
                  <a:pt x="110" y="646"/>
                </a:lnTo>
                <a:lnTo>
                  <a:pt x="90" y="626"/>
                </a:lnTo>
                <a:lnTo>
                  <a:pt x="70" y="605"/>
                </a:lnTo>
                <a:lnTo>
                  <a:pt x="53" y="581"/>
                </a:lnTo>
                <a:lnTo>
                  <a:pt x="37" y="557"/>
                </a:lnTo>
                <a:lnTo>
                  <a:pt x="37" y="557"/>
                </a:lnTo>
                <a:lnTo>
                  <a:pt x="31" y="544"/>
                </a:lnTo>
                <a:lnTo>
                  <a:pt x="24" y="531"/>
                </a:lnTo>
                <a:lnTo>
                  <a:pt x="19" y="517"/>
                </a:lnTo>
                <a:lnTo>
                  <a:pt x="14" y="502"/>
                </a:lnTo>
                <a:lnTo>
                  <a:pt x="10" y="487"/>
                </a:lnTo>
                <a:lnTo>
                  <a:pt x="7" y="472"/>
                </a:lnTo>
                <a:lnTo>
                  <a:pt x="4" y="455"/>
                </a:lnTo>
                <a:lnTo>
                  <a:pt x="2" y="439"/>
                </a:lnTo>
                <a:lnTo>
                  <a:pt x="1" y="423"/>
                </a:lnTo>
                <a:lnTo>
                  <a:pt x="0" y="405"/>
                </a:lnTo>
                <a:lnTo>
                  <a:pt x="0" y="389"/>
                </a:lnTo>
                <a:lnTo>
                  <a:pt x="1" y="371"/>
                </a:lnTo>
                <a:lnTo>
                  <a:pt x="2" y="353"/>
                </a:lnTo>
                <a:lnTo>
                  <a:pt x="5" y="336"/>
                </a:lnTo>
                <a:lnTo>
                  <a:pt x="7" y="318"/>
                </a:lnTo>
                <a:lnTo>
                  <a:pt x="11" y="301"/>
                </a:lnTo>
                <a:lnTo>
                  <a:pt x="15" y="283"/>
                </a:lnTo>
                <a:lnTo>
                  <a:pt x="21" y="266"/>
                </a:lnTo>
                <a:lnTo>
                  <a:pt x="26" y="249"/>
                </a:lnTo>
                <a:lnTo>
                  <a:pt x="34" y="231"/>
                </a:lnTo>
                <a:lnTo>
                  <a:pt x="42" y="215"/>
                </a:lnTo>
                <a:lnTo>
                  <a:pt x="50" y="199"/>
                </a:lnTo>
                <a:lnTo>
                  <a:pt x="59" y="182"/>
                </a:lnTo>
                <a:lnTo>
                  <a:pt x="69" y="166"/>
                </a:lnTo>
                <a:lnTo>
                  <a:pt x="81" y="151"/>
                </a:lnTo>
                <a:lnTo>
                  <a:pt x="93" y="136"/>
                </a:lnTo>
                <a:lnTo>
                  <a:pt x="105" y="122"/>
                </a:lnTo>
                <a:lnTo>
                  <a:pt x="120" y="108"/>
                </a:lnTo>
                <a:lnTo>
                  <a:pt x="134" y="94"/>
                </a:lnTo>
                <a:lnTo>
                  <a:pt x="149" y="82"/>
                </a:lnTo>
                <a:lnTo>
                  <a:pt x="166" y="70"/>
                </a:lnTo>
                <a:lnTo>
                  <a:pt x="183" y="59"/>
                </a:lnTo>
                <a:lnTo>
                  <a:pt x="183" y="59"/>
                </a:lnTo>
                <a:lnTo>
                  <a:pt x="191" y="67"/>
                </a:lnTo>
                <a:lnTo>
                  <a:pt x="198" y="75"/>
                </a:lnTo>
                <a:lnTo>
                  <a:pt x="203" y="82"/>
                </a:lnTo>
                <a:lnTo>
                  <a:pt x="208" y="90"/>
                </a:lnTo>
                <a:lnTo>
                  <a:pt x="217" y="106"/>
                </a:lnTo>
                <a:lnTo>
                  <a:pt x="222" y="120"/>
                </a:lnTo>
                <a:lnTo>
                  <a:pt x="225" y="132"/>
                </a:lnTo>
                <a:lnTo>
                  <a:pt x="227" y="141"/>
                </a:lnTo>
                <a:lnTo>
                  <a:pt x="227" y="150"/>
                </a:lnTo>
                <a:lnTo>
                  <a:pt x="227" y="150"/>
                </a:lnTo>
                <a:lnTo>
                  <a:pt x="247" y="150"/>
                </a:lnTo>
                <a:lnTo>
                  <a:pt x="272" y="150"/>
                </a:lnTo>
                <a:lnTo>
                  <a:pt x="325" y="146"/>
                </a:lnTo>
                <a:lnTo>
                  <a:pt x="379" y="144"/>
                </a:lnTo>
                <a:lnTo>
                  <a:pt x="404" y="143"/>
                </a:lnTo>
                <a:lnTo>
                  <a:pt x="424" y="143"/>
                </a:lnTo>
                <a:lnTo>
                  <a:pt x="424" y="143"/>
                </a:lnTo>
                <a:lnTo>
                  <a:pt x="425" y="129"/>
                </a:lnTo>
                <a:lnTo>
                  <a:pt x="425" y="112"/>
                </a:lnTo>
                <a:lnTo>
                  <a:pt x="424" y="94"/>
                </a:lnTo>
                <a:lnTo>
                  <a:pt x="422" y="76"/>
                </a:lnTo>
                <a:lnTo>
                  <a:pt x="419" y="56"/>
                </a:lnTo>
                <a:lnTo>
                  <a:pt x="414" y="37"/>
                </a:lnTo>
                <a:lnTo>
                  <a:pt x="407" y="19"/>
                </a:lnTo>
                <a:lnTo>
                  <a:pt x="402" y="9"/>
                </a:lnTo>
                <a:lnTo>
                  <a:pt x="397" y="0"/>
                </a:lnTo>
                <a:lnTo>
                  <a:pt x="397" y="0"/>
                </a:lnTo>
                <a:lnTo>
                  <a:pt x="415" y="14"/>
                </a:lnTo>
                <a:lnTo>
                  <a:pt x="431" y="27"/>
                </a:lnTo>
                <a:lnTo>
                  <a:pt x="446" y="40"/>
                </a:lnTo>
                <a:lnTo>
                  <a:pt x="453" y="47"/>
                </a:lnTo>
                <a:lnTo>
                  <a:pt x="459" y="55"/>
                </a:lnTo>
                <a:lnTo>
                  <a:pt x="465" y="64"/>
                </a:lnTo>
                <a:lnTo>
                  <a:pt x="470" y="73"/>
                </a:lnTo>
                <a:lnTo>
                  <a:pt x="475" y="82"/>
                </a:lnTo>
                <a:lnTo>
                  <a:pt x="479" y="92"/>
                </a:lnTo>
                <a:lnTo>
                  <a:pt x="484" y="104"/>
                </a:lnTo>
                <a:lnTo>
                  <a:pt x="487" y="116"/>
                </a:lnTo>
                <a:lnTo>
                  <a:pt x="490" y="129"/>
                </a:lnTo>
                <a:lnTo>
                  <a:pt x="493" y="143"/>
                </a:lnTo>
                <a:lnTo>
                  <a:pt x="493" y="143"/>
                </a:lnTo>
                <a:lnTo>
                  <a:pt x="671" y="150"/>
                </a:lnTo>
                <a:lnTo>
                  <a:pt x="671" y="150"/>
                </a:lnTo>
                <a:lnTo>
                  <a:pt x="671" y="133"/>
                </a:lnTo>
                <a:lnTo>
                  <a:pt x="670" y="118"/>
                </a:lnTo>
                <a:lnTo>
                  <a:pt x="667" y="103"/>
                </a:lnTo>
                <a:lnTo>
                  <a:pt x="662" y="88"/>
                </a:lnTo>
                <a:lnTo>
                  <a:pt x="657" y="75"/>
                </a:lnTo>
                <a:lnTo>
                  <a:pt x="651" y="62"/>
                </a:lnTo>
                <a:lnTo>
                  <a:pt x="643" y="50"/>
                </a:lnTo>
                <a:lnTo>
                  <a:pt x="634" y="38"/>
                </a:lnTo>
                <a:lnTo>
                  <a:pt x="634" y="38"/>
                </a:lnTo>
                <a:lnTo>
                  <a:pt x="651" y="46"/>
                </a:lnTo>
                <a:lnTo>
                  <a:pt x="669" y="54"/>
                </a:lnTo>
                <a:lnTo>
                  <a:pt x="684" y="64"/>
                </a:lnTo>
                <a:lnTo>
                  <a:pt x="699" y="73"/>
                </a:lnTo>
                <a:lnTo>
                  <a:pt x="714" y="83"/>
                </a:lnTo>
                <a:lnTo>
                  <a:pt x="728" y="93"/>
                </a:lnTo>
                <a:lnTo>
                  <a:pt x="740" y="104"/>
                </a:lnTo>
                <a:lnTo>
                  <a:pt x="752" y="115"/>
                </a:lnTo>
                <a:lnTo>
                  <a:pt x="764" y="126"/>
                </a:lnTo>
                <a:lnTo>
                  <a:pt x="775" y="138"/>
                </a:lnTo>
                <a:lnTo>
                  <a:pt x="785" y="151"/>
                </a:lnTo>
                <a:lnTo>
                  <a:pt x="794" y="163"/>
                </a:lnTo>
                <a:lnTo>
                  <a:pt x="803" y="175"/>
                </a:lnTo>
                <a:lnTo>
                  <a:pt x="811" y="187"/>
                </a:lnTo>
                <a:lnTo>
                  <a:pt x="825" y="213"/>
                </a:lnTo>
                <a:lnTo>
                  <a:pt x="837" y="238"/>
                </a:lnTo>
                <a:lnTo>
                  <a:pt x="848" y="263"/>
                </a:lnTo>
                <a:lnTo>
                  <a:pt x="855" y="289"/>
                </a:lnTo>
                <a:lnTo>
                  <a:pt x="861" y="312"/>
                </a:lnTo>
                <a:lnTo>
                  <a:pt x="865" y="336"/>
                </a:lnTo>
                <a:lnTo>
                  <a:pt x="868" y="358"/>
                </a:lnTo>
                <a:lnTo>
                  <a:pt x="869" y="379"/>
                </a:lnTo>
                <a:lnTo>
                  <a:pt x="869" y="397"/>
                </a:lnTo>
                <a:lnTo>
                  <a:pt x="869" y="397"/>
                </a:lnTo>
                <a:lnTo>
                  <a:pt x="869" y="423"/>
                </a:lnTo>
                <a:lnTo>
                  <a:pt x="868" y="449"/>
                </a:lnTo>
                <a:lnTo>
                  <a:pt x="864" y="474"/>
                </a:lnTo>
                <a:lnTo>
                  <a:pt x="859" y="499"/>
                </a:lnTo>
                <a:lnTo>
                  <a:pt x="852" y="523"/>
                </a:lnTo>
                <a:lnTo>
                  <a:pt x="843" y="546"/>
                </a:lnTo>
                <a:lnTo>
                  <a:pt x="834" y="569"/>
                </a:lnTo>
                <a:lnTo>
                  <a:pt x="823" y="590"/>
                </a:lnTo>
                <a:lnTo>
                  <a:pt x="811" y="612"/>
                </a:lnTo>
                <a:lnTo>
                  <a:pt x="796" y="631"/>
                </a:lnTo>
                <a:lnTo>
                  <a:pt x="782" y="651"/>
                </a:lnTo>
                <a:lnTo>
                  <a:pt x="766" y="668"/>
                </a:lnTo>
                <a:lnTo>
                  <a:pt x="749" y="684"/>
                </a:lnTo>
                <a:lnTo>
                  <a:pt x="731" y="700"/>
                </a:lnTo>
                <a:lnTo>
                  <a:pt x="713" y="714"/>
                </a:lnTo>
                <a:lnTo>
                  <a:pt x="693" y="727"/>
                </a:lnTo>
                <a:lnTo>
                  <a:pt x="693" y="727"/>
                </a:lnTo>
                <a:lnTo>
                  <a:pt x="658" y="748"/>
                </a:lnTo>
                <a:lnTo>
                  <a:pt x="626" y="766"/>
                </a:lnTo>
                <a:lnTo>
                  <a:pt x="594" y="783"/>
                </a:lnTo>
                <a:lnTo>
                  <a:pt x="563" y="799"/>
                </a:lnTo>
                <a:lnTo>
                  <a:pt x="506" y="826"/>
                </a:lnTo>
                <a:lnTo>
                  <a:pt x="452" y="85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8" name="Freeform 45"/>
          <p:cNvSpPr>
            <a:spLocks/>
          </p:cNvSpPr>
          <p:nvPr userDrawn="1"/>
        </p:nvSpPr>
        <p:spPr bwMode="auto">
          <a:xfrm>
            <a:off x="7677150" y="1579265"/>
            <a:ext cx="1588" cy="0"/>
          </a:xfrm>
          <a:custGeom>
            <a:avLst/>
            <a:gdLst>
              <a:gd name="T0" fmla="*/ 22 w 22"/>
              <a:gd name="T1" fmla="*/ 9 h 9"/>
              <a:gd name="T2" fmla="*/ 22 w 22"/>
              <a:gd name="T3" fmla="*/ 9 h 9"/>
              <a:gd name="T4" fmla="*/ 3 w 22"/>
              <a:gd name="T5" fmla="*/ 2 h 9"/>
              <a:gd name="T6" fmla="*/ 3 w 22"/>
              <a:gd name="T7" fmla="*/ 2 h 9"/>
              <a:gd name="T8" fmla="*/ 0 w 22"/>
              <a:gd name="T9" fmla="*/ 0 h 9"/>
              <a:gd name="T10" fmla="*/ 0 w 22"/>
              <a:gd name="T11" fmla="*/ 0 h 9"/>
              <a:gd name="T12" fmla="*/ 22 w 22"/>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22" h="9">
                <a:moveTo>
                  <a:pt x="22" y="9"/>
                </a:moveTo>
                <a:lnTo>
                  <a:pt x="22" y="9"/>
                </a:lnTo>
                <a:lnTo>
                  <a:pt x="3" y="2"/>
                </a:lnTo>
                <a:lnTo>
                  <a:pt x="3" y="2"/>
                </a:lnTo>
                <a:lnTo>
                  <a:pt x="0" y="0"/>
                </a:lnTo>
                <a:lnTo>
                  <a:pt x="0" y="0"/>
                </a:lnTo>
                <a:lnTo>
                  <a:pt x="22"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9" name="Freeform 46"/>
          <p:cNvSpPr>
            <a:spLocks/>
          </p:cNvSpPr>
          <p:nvPr userDrawn="1"/>
        </p:nvSpPr>
        <p:spPr bwMode="auto">
          <a:xfrm>
            <a:off x="7429500" y="1261766"/>
            <a:ext cx="20638" cy="12700"/>
          </a:xfrm>
          <a:custGeom>
            <a:avLst/>
            <a:gdLst>
              <a:gd name="T0" fmla="*/ 166 w 166"/>
              <a:gd name="T1" fmla="*/ 69 h 96"/>
              <a:gd name="T2" fmla="*/ 166 w 166"/>
              <a:gd name="T3" fmla="*/ 69 h 96"/>
              <a:gd name="T4" fmla="*/ 166 w 166"/>
              <a:gd name="T5" fmla="*/ 70 h 96"/>
              <a:gd name="T6" fmla="*/ 165 w 166"/>
              <a:gd name="T7" fmla="*/ 72 h 96"/>
              <a:gd name="T8" fmla="*/ 161 w 166"/>
              <a:gd name="T9" fmla="*/ 74 h 96"/>
              <a:gd name="T10" fmla="*/ 155 w 166"/>
              <a:gd name="T11" fmla="*/ 77 h 96"/>
              <a:gd name="T12" fmla="*/ 145 w 166"/>
              <a:gd name="T13" fmla="*/ 79 h 96"/>
              <a:gd name="T14" fmla="*/ 123 w 166"/>
              <a:gd name="T15" fmla="*/ 85 h 96"/>
              <a:gd name="T16" fmla="*/ 95 w 166"/>
              <a:gd name="T17" fmla="*/ 90 h 96"/>
              <a:gd name="T18" fmla="*/ 68 w 166"/>
              <a:gd name="T19" fmla="*/ 94 h 96"/>
              <a:gd name="T20" fmla="*/ 42 w 166"/>
              <a:gd name="T21" fmla="*/ 96 h 96"/>
              <a:gd name="T22" fmla="*/ 24 w 166"/>
              <a:gd name="T23" fmla="*/ 96 h 96"/>
              <a:gd name="T24" fmla="*/ 17 w 166"/>
              <a:gd name="T25" fmla="*/ 95 h 96"/>
              <a:gd name="T26" fmla="*/ 13 w 166"/>
              <a:gd name="T27" fmla="*/ 94 h 96"/>
              <a:gd name="T28" fmla="*/ 13 w 166"/>
              <a:gd name="T29" fmla="*/ 94 h 96"/>
              <a:gd name="T30" fmla="*/ 10 w 166"/>
              <a:gd name="T31" fmla="*/ 92 h 96"/>
              <a:gd name="T32" fmla="*/ 8 w 166"/>
              <a:gd name="T33" fmla="*/ 88 h 96"/>
              <a:gd name="T34" fmla="*/ 5 w 166"/>
              <a:gd name="T35" fmla="*/ 77 h 96"/>
              <a:gd name="T36" fmla="*/ 2 w 166"/>
              <a:gd name="T37" fmla="*/ 65 h 96"/>
              <a:gd name="T38" fmla="*/ 0 w 166"/>
              <a:gd name="T39" fmla="*/ 51 h 96"/>
              <a:gd name="T40" fmla="*/ 0 w 166"/>
              <a:gd name="T41" fmla="*/ 36 h 96"/>
              <a:gd name="T42" fmla="*/ 0 w 166"/>
              <a:gd name="T43" fmla="*/ 23 h 96"/>
              <a:gd name="T44" fmla="*/ 1 w 166"/>
              <a:gd name="T45" fmla="*/ 13 h 96"/>
              <a:gd name="T46" fmla="*/ 2 w 166"/>
              <a:gd name="T47" fmla="*/ 8 h 96"/>
              <a:gd name="T48" fmla="*/ 4 w 166"/>
              <a:gd name="T49" fmla="*/ 5 h 96"/>
              <a:gd name="T50" fmla="*/ 4 w 166"/>
              <a:gd name="T51" fmla="*/ 5 h 96"/>
              <a:gd name="T52" fmla="*/ 5 w 166"/>
              <a:gd name="T53" fmla="*/ 4 h 96"/>
              <a:gd name="T54" fmla="*/ 7 w 166"/>
              <a:gd name="T55" fmla="*/ 2 h 96"/>
              <a:gd name="T56" fmla="*/ 13 w 166"/>
              <a:gd name="T57" fmla="*/ 1 h 96"/>
              <a:gd name="T58" fmla="*/ 22 w 166"/>
              <a:gd name="T59" fmla="*/ 0 h 96"/>
              <a:gd name="T60" fmla="*/ 32 w 166"/>
              <a:gd name="T61" fmla="*/ 0 h 96"/>
              <a:gd name="T62" fmla="*/ 43 w 166"/>
              <a:gd name="T63" fmla="*/ 1 h 96"/>
              <a:gd name="T64" fmla="*/ 55 w 166"/>
              <a:gd name="T65" fmla="*/ 3 h 96"/>
              <a:gd name="T66" fmla="*/ 69 w 166"/>
              <a:gd name="T67" fmla="*/ 6 h 96"/>
              <a:gd name="T68" fmla="*/ 83 w 166"/>
              <a:gd name="T69" fmla="*/ 10 h 96"/>
              <a:gd name="T70" fmla="*/ 96 w 166"/>
              <a:gd name="T71" fmla="*/ 15 h 96"/>
              <a:gd name="T72" fmla="*/ 110 w 166"/>
              <a:gd name="T73" fmla="*/ 20 h 96"/>
              <a:gd name="T74" fmla="*/ 123 w 166"/>
              <a:gd name="T75" fmla="*/ 27 h 96"/>
              <a:gd name="T76" fmla="*/ 135 w 166"/>
              <a:gd name="T77" fmla="*/ 34 h 96"/>
              <a:gd name="T78" fmla="*/ 145 w 166"/>
              <a:gd name="T79" fmla="*/ 42 h 96"/>
              <a:gd name="T80" fmla="*/ 155 w 166"/>
              <a:gd name="T81" fmla="*/ 51 h 96"/>
              <a:gd name="T82" fmla="*/ 162 w 166"/>
              <a:gd name="T83" fmla="*/ 60 h 96"/>
              <a:gd name="T84" fmla="*/ 164 w 166"/>
              <a:gd name="T85" fmla="*/ 64 h 96"/>
              <a:gd name="T86" fmla="*/ 166 w 166"/>
              <a:gd name="T87" fmla="*/ 6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6" h="96">
                <a:moveTo>
                  <a:pt x="166" y="69"/>
                </a:moveTo>
                <a:lnTo>
                  <a:pt x="166" y="69"/>
                </a:lnTo>
                <a:lnTo>
                  <a:pt x="166" y="70"/>
                </a:lnTo>
                <a:lnTo>
                  <a:pt x="165" y="72"/>
                </a:lnTo>
                <a:lnTo>
                  <a:pt x="161" y="74"/>
                </a:lnTo>
                <a:lnTo>
                  <a:pt x="155" y="77"/>
                </a:lnTo>
                <a:lnTo>
                  <a:pt x="145" y="79"/>
                </a:lnTo>
                <a:lnTo>
                  <a:pt x="123" y="85"/>
                </a:lnTo>
                <a:lnTo>
                  <a:pt x="95" y="90"/>
                </a:lnTo>
                <a:lnTo>
                  <a:pt x="68" y="94"/>
                </a:lnTo>
                <a:lnTo>
                  <a:pt x="42" y="96"/>
                </a:lnTo>
                <a:lnTo>
                  <a:pt x="24" y="96"/>
                </a:lnTo>
                <a:lnTo>
                  <a:pt x="17" y="95"/>
                </a:lnTo>
                <a:lnTo>
                  <a:pt x="13" y="94"/>
                </a:lnTo>
                <a:lnTo>
                  <a:pt x="13" y="94"/>
                </a:lnTo>
                <a:lnTo>
                  <a:pt x="10" y="92"/>
                </a:lnTo>
                <a:lnTo>
                  <a:pt x="8" y="88"/>
                </a:lnTo>
                <a:lnTo>
                  <a:pt x="5" y="77"/>
                </a:lnTo>
                <a:lnTo>
                  <a:pt x="2" y="65"/>
                </a:lnTo>
                <a:lnTo>
                  <a:pt x="0" y="51"/>
                </a:lnTo>
                <a:lnTo>
                  <a:pt x="0" y="36"/>
                </a:lnTo>
                <a:lnTo>
                  <a:pt x="0" y="23"/>
                </a:lnTo>
                <a:lnTo>
                  <a:pt x="1" y="13"/>
                </a:lnTo>
                <a:lnTo>
                  <a:pt x="2" y="8"/>
                </a:lnTo>
                <a:lnTo>
                  <a:pt x="4" y="5"/>
                </a:lnTo>
                <a:lnTo>
                  <a:pt x="4" y="5"/>
                </a:lnTo>
                <a:lnTo>
                  <a:pt x="5" y="4"/>
                </a:lnTo>
                <a:lnTo>
                  <a:pt x="7" y="2"/>
                </a:lnTo>
                <a:lnTo>
                  <a:pt x="13" y="1"/>
                </a:lnTo>
                <a:lnTo>
                  <a:pt x="22" y="0"/>
                </a:lnTo>
                <a:lnTo>
                  <a:pt x="32" y="0"/>
                </a:lnTo>
                <a:lnTo>
                  <a:pt x="43" y="1"/>
                </a:lnTo>
                <a:lnTo>
                  <a:pt x="55" y="3"/>
                </a:lnTo>
                <a:lnTo>
                  <a:pt x="69" y="6"/>
                </a:lnTo>
                <a:lnTo>
                  <a:pt x="83" y="10"/>
                </a:lnTo>
                <a:lnTo>
                  <a:pt x="96" y="15"/>
                </a:lnTo>
                <a:lnTo>
                  <a:pt x="110" y="20"/>
                </a:lnTo>
                <a:lnTo>
                  <a:pt x="123" y="27"/>
                </a:lnTo>
                <a:lnTo>
                  <a:pt x="135" y="34"/>
                </a:lnTo>
                <a:lnTo>
                  <a:pt x="145" y="42"/>
                </a:lnTo>
                <a:lnTo>
                  <a:pt x="155" y="51"/>
                </a:lnTo>
                <a:lnTo>
                  <a:pt x="162" y="60"/>
                </a:lnTo>
                <a:lnTo>
                  <a:pt x="164" y="64"/>
                </a:lnTo>
                <a:lnTo>
                  <a:pt x="166" y="6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50" name="Freeform 47"/>
          <p:cNvSpPr>
            <a:spLocks/>
          </p:cNvSpPr>
          <p:nvPr userDrawn="1"/>
        </p:nvSpPr>
        <p:spPr bwMode="auto">
          <a:xfrm>
            <a:off x="7151687" y="1218904"/>
            <a:ext cx="657225" cy="776288"/>
          </a:xfrm>
          <a:custGeom>
            <a:avLst/>
            <a:gdLst>
              <a:gd name="T0" fmla="*/ 4703 w 4973"/>
              <a:gd name="T1" fmla="*/ 1877 h 5865"/>
              <a:gd name="T2" fmla="*/ 4733 w 4973"/>
              <a:gd name="T3" fmla="*/ 1183 h 5865"/>
              <a:gd name="T4" fmla="*/ 4302 w 4973"/>
              <a:gd name="T5" fmla="*/ 476 h 5865"/>
              <a:gd name="T6" fmla="*/ 3581 w 4973"/>
              <a:gd name="T7" fmla="*/ 813 h 5865"/>
              <a:gd name="T8" fmla="*/ 3899 w 4973"/>
              <a:gd name="T9" fmla="*/ 1529 h 5865"/>
              <a:gd name="T10" fmla="*/ 3757 w 4973"/>
              <a:gd name="T11" fmla="*/ 2227 h 5865"/>
              <a:gd name="T12" fmla="*/ 3939 w 4973"/>
              <a:gd name="T13" fmla="*/ 2068 h 5865"/>
              <a:gd name="T14" fmla="*/ 4069 w 4973"/>
              <a:gd name="T15" fmla="*/ 1928 h 5865"/>
              <a:gd name="T16" fmla="*/ 4545 w 4973"/>
              <a:gd name="T17" fmla="*/ 1985 h 5865"/>
              <a:gd name="T18" fmla="*/ 4487 w 4973"/>
              <a:gd name="T19" fmla="*/ 2697 h 5865"/>
              <a:gd name="T20" fmla="*/ 3601 w 4973"/>
              <a:gd name="T21" fmla="*/ 2477 h 5865"/>
              <a:gd name="T22" fmla="*/ 3285 w 4973"/>
              <a:gd name="T23" fmla="*/ 1581 h 5865"/>
              <a:gd name="T24" fmla="*/ 3364 w 4973"/>
              <a:gd name="T25" fmla="*/ 1421 h 5865"/>
              <a:gd name="T26" fmla="*/ 3101 w 4973"/>
              <a:gd name="T27" fmla="*/ 996 h 5865"/>
              <a:gd name="T28" fmla="*/ 3251 w 4973"/>
              <a:gd name="T29" fmla="*/ 599 h 5865"/>
              <a:gd name="T30" fmla="*/ 2863 w 4973"/>
              <a:gd name="T31" fmla="*/ 144 h 5865"/>
              <a:gd name="T32" fmla="*/ 1960 w 4973"/>
              <a:gd name="T33" fmla="*/ 304 h 5865"/>
              <a:gd name="T34" fmla="*/ 1819 w 4973"/>
              <a:gd name="T35" fmla="*/ 748 h 5865"/>
              <a:gd name="T36" fmla="*/ 2202 w 4973"/>
              <a:gd name="T37" fmla="*/ 626 h 5865"/>
              <a:gd name="T38" fmla="*/ 2215 w 4973"/>
              <a:gd name="T39" fmla="*/ 803 h 5865"/>
              <a:gd name="T40" fmla="*/ 1623 w 4973"/>
              <a:gd name="T41" fmla="*/ 851 h 5865"/>
              <a:gd name="T42" fmla="*/ 1602 w 4973"/>
              <a:gd name="T43" fmla="*/ 1055 h 5865"/>
              <a:gd name="T44" fmla="*/ 2246 w 4973"/>
              <a:gd name="T45" fmla="*/ 924 h 5865"/>
              <a:gd name="T46" fmla="*/ 2036 w 4973"/>
              <a:gd name="T47" fmla="*/ 981 h 5865"/>
              <a:gd name="T48" fmla="*/ 1754 w 4973"/>
              <a:gd name="T49" fmla="*/ 1278 h 5865"/>
              <a:gd name="T50" fmla="*/ 2105 w 4973"/>
              <a:gd name="T51" fmla="*/ 1619 h 5865"/>
              <a:gd name="T52" fmla="*/ 863 w 4973"/>
              <a:gd name="T53" fmla="*/ 2239 h 5865"/>
              <a:gd name="T54" fmla="*/ 310 w 4973"/>
              <a:gd name="T55" fmla="*/ 2027 h 5865"/>
              <a:gd name="T56" fmla="*/ 319 w 4973"/>
              <a:gd name="T57" fmla="*/ 2172 h 5865"/>
              <a:gd name="T58" fmla="*/ 380 w 4973"/>
              <a:gd name="T59" fmla="*/ 2295 h 5865"/>
              <a:gd name="T60" fmla="*/ 39 w 4973"/>
              <a:gd name="T61" fmla="*/ 2396 h 5865"/>
              <a:gd name="T62" fmla="*/ 189 w 4973"/>
              <a:gd name="T63" fmla="*/ 2511 h 5865"/>
              <a:gd name="T64" fmla="*/ 322 w 4973"/>
              <a:gd name="T65" fmla="*/ 2588 h 5865"/>
              <a:gd name="T66" fmla="*/ 272 w 4973"/>
              <a:gd name="T67" fmla="*/ 2893 h 5865"/>
              <a:gd name="T68" fmla="*/ 630 w 4973"/>
              <a:gd name="T69" fmla="*/ 2730 h 5865"/>
              <a:gd name="T70" fmla="*/ 811 w 4973"/>
              <a:gd name="T71" fmla="*/ 2843 h 5865"/>
              <a:gd name="T72" fmla="*/ 1024 w 4973"/>
              <a:gd name="T73" fmla="*/ 2773 h 5865"/>
              <a:gd name="T74" fmla="*/ 1290 w 4973"/>
              <a:gd name="T75" fmla="*/ 2556 h 5865"/>
              <a:gd name="T76" fmla="*/ 1713 w 4973"/>
              <a:gd name="T77" fmla="*/ 2519 h 5865"/>
              <a:gd name="T78" fmla="*/ 2306 w 4973"/>
              <a:gd name="T79" fmla="*/ 2641 h 5865"/>
              <a:gd name="T80" fmla="*/ 3357 w 4973"/>
              <a:gd name="T81" fmla="*/ 3092 h 5865"/>
              <a:gd name="T82" fmla="*/ 3742 w 4973"/>
              <a:gd name="T83" fmla="*/ 3928 h 5865"/>
              <a:gd name="T84" fmla="*/ 3685 w 4973"/>
              <a:gd name="T85" fmla="*/ 4224 h 5865"/>
              <a:gd name="T86" fmla="*/ 4224 w 4973"/>
              <a:gd name="T87" fmla="*/ 4337 h 5865"/>
              <a:gd name="T88" fmla="*/ 4264 w 4973"/>
              <a:gd name="T89" fmla="*/ 5017 h 5865"/>
              <a:gd name="T90" fmla="*/ 3761 w 4973"/>
              <a:gd name="T91" fmla="*/ 5058 h 5865"/>
              <a:gd name="T92" fmla="*/ 3894 w 4973"/>
              <a:gd name="T93" fmla="*/ 5210 h 5865"/>
              <a:gd name="T94" fmla="*/ 3894 w 4973"/>
              <a:gd name="T95" fmla="*/ 5294 h 5865"/>
              <a:gd name="T96" fmla="*/ 3751 w 4973"/>
              <a:gd name="T97" fmla="*/ 5644 h 5865"/>
              <a:gd name="T98" fmla="*/ 3926 w 4973"/>
              <a:gd name="T99" fmla="*/ 5586 h 5865"/>
              <a:gd name="T100" fmla="*/ 4212 w 4973"/>
              <a:gd name="T101" fmla="*/ 5447 h 5865"/>
              <a:gd name="T102" fmla="*/ 4257 w 4973"/>
              <a:gd name="T103" fmla="*/ 5812 h 5865"/>
              <a:gd name="T104" fmla="*/ 4352 w 4973"/>
              <a:gd name="T105" fmla="*/ 5675 h 5865"/>
              <a:gd name="T106" fmla="*/ 4557 w 4973"/>
              <a:gd name="T107" fmla="*/ 5328 h 5865"/>
              <a:gd name="T108" fmla="*/ 4736 w 4973"/>
              <a:gd name="T109" fmla="*/ 5505 h 5865"/>
              <a:gd name="T110" fmla="*/ 4753 w 4973"/>
              <a:gd name="T111" fmla="*/ 5108 h 5865"/>
              <a:gd name="T112" fmla="*/ 4693 w 4973"/>
              <a:gd name="T113" fmla="*/ 4810 h 5865"/>
              <a:gd name="T114" fmla="*/ 4677 w 4973"/>
              <a:gd name="T115" fmla="*/ 4437 h 5865"/>
              <a:gd name="T116" fmla="*/ 4640 w 4973"/>
              <a:gd name="T117" fmla="*/ 4108 h 5865"/>
              <a:gd name="T118" fmla="*/ 4297 w 4973"/>
              <a:gd name="T119" fmla="*/ 3793 h 5865"/>
              <a:gd name="T120" fmla="*/ 4267 w 4973"/>
              <a:gd name="T121" fmla="*/ 3366 h 5865"/>
              <a:gd name="T122" fmla="*/ 4428 w 4973"/>
              <a:gd name="T123" fmla="*/ 2994 h 5865"/>
              <a:gd name="T124" fmla="*/ 4923 w 4973"/>
              <a:gd name="T125" fmla="*/ 2543 h 5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973" h="5865">
                <a:moveTo>
                  <a:pt x="4842" y="2253"/>
                </a:moveTo>
                <a:lnTo>
                  <a:pt x="4842" y="2253"/>
                </a:lnTo>
                <a:lnTo>
                  <a:pt x="4862" y="2257"/>
                </a:lnTo>
                <a:lnTo>
                  <a:pt x="4881" y="2259"/>
                </a:lnTo>
                <a:lnTo>
                  <a:pt x="4900" y="2260"/>
                </a:lnTo>
                <a:lnTo>
                  <a:pt x="4916" y="2259"/>
                </a:lnTo>
                <a:lnTo>
                  <a:pt x="4932" y="2257"/>
                </a:lnTo>
                <a:lnTo>
                  <a:pt x="4946" y="2254"/>
                </a:lnTo>
                <a:lnTo>
                  <a:pt x="4958" y="2249"/>
                </a:lnTo>
                <a:lnTo>
                  <a:pt x="4969" y="2243"/>
                </a:lnTo>
                <a:lnTo>
                  <a:pt x="4969" y="2243"/>
                </a:lnTo>
                <a:lnTo>
                  <a:pt x="4967" y="2217"/>
                </a:lnTo>
                <a:lnTo>
                  <a:pt x="4960" y="2157"/>
                </a:lnTo>
                <a:lnTo>
                  <a:pt x="4951" y="2084"/>
                </a:lnTo>
                <a:lnTo>
                  <a:pt x="4946" y="2052"/>
                </a:lnTo>
                <a:lnTo>
                  <a:pt x="4940" y="2024"/>
                </a:lnTo>
                <a:lnTo>
                  <a:pt x="4940" y="2024"/>
                </a:lnTo>
                <a:lnTo>
                  <a:pt x="4922" y="2027"/>
                </a:lnTo>
                <a:lnTo>
                  <a:pt x="4902" y="2030"/>
                </a:lnTo>
                <a:lnTo>
                  <a:pt x="4891" y="2030"/>
                </a:lnTo>
                <a:lnTo>
                  <a:pt x="4879" y="2030"/>
                </a:lnTo>
                <a:lnTo>
                  <a:pt x="4867" y="2029"/>
                </a:lnTo>
                <a:lnTo>
                  <a:pt x="4855" y="2027"/>
                </a:lnTo>
                <a:lnTo>
                  <a:pt x="4843" y="2024"/>
                </a:lnTo>
                <a:lnTo>
                  <a:pt x="4830" y="2020"/>
                </a:lnTo>
                <a:lnTo>
                  <a:pt x="4818" y="2015"/>
                </a:lnTo>
                <a:lnTo>
                  <a:pt x="4806" y="2008"/>
                </a:lnTo>
                <a:lnTo>
                  <a:pt x="4794" y="1998"/>
                </a:lnTo>
                <a:lnTo>
                  <a:pt x="4782" y="1988"/>
                </a:lnTo>
                <a:lnTo>
                  <a:pt x="4771" y="1976"/>
                </a:lnTo>
                <a:lnTo>
                  <a:pt x="4761" y="1962"/>
                </a:lnTo>
                <a:lnTo>
                  <a:pt x="4761" y="1962"/>
                </a:lnTo>
                <a:lnTo>
                  <a:pt x="4743" y="1933"/>
                </a:lnTo>
                <a:lnTo>
                  <a:pt x="4724" y="1905"/>
                </a:lnTo>
                <a:lnTo>
                  <a:pt x="4724" y="1905"/>
                </a:lnTo>
                <a:lnTo>
                  <a:pt x="4703" y="1877"/>
                </a:lnTo>
                <a:lnTo>
                  <a:pt x="4680" y="1849"/>
                </a:lnTo>
                <a:lnTo>
                  <a:pt x="4658" y="1823"/>
                </a:lnTo>
                <a:lnTo>
                  <a:pt x="4634" y="1797"/>
                </a:lnTo>
                <a:lnTo>
                  <a:pt x="4611" y="1773"/>
                </a:lnTo>
                <a:lnTo>
                  <a:pt x="4586" y="1750"/>
                </a:lnTo>
                <a:lnTo>
                  <a:pt x="4562" y="1727"/>
                </a:lnTo>
                <a:lnTo>
                  <a:pt x="4538" y="1707"/>
                </a:lnTo>
                <a:lnTo>
                  <a:pt x="4513" y="1687"/>
                </a:lnTo>
                <a:lnTo>
                  <a:pt x="4489" y="1667"/>
                </a:lnTo>
                <a:lnTo>
                  <a:pt x="4463" y="1649"/>
                </a:lnTo>
                <a:lnTo>
                  <a:pt x="4439" y="1630"/>
                </a:lnTo>
                <a:lnTo>
                  <a:pt x="4413" y="1614"/>
                </a:lnTo>
                <a:lnTo>
                  <a:pt x="4389" y="1598"/>
                </a:lnTo>
                <a:lnTo>
                  <a:pt x="4337" y="1566"/>
                </a:lnTo>
                <a:lnTo>
                  <a:pt x="4337" y="1566"/>
                </a:lnTo>
                <a:lnTo>
                  <a:pt x="4381" y="1543"/>
                </a:lnTo>
                <a:lnTo>
                  <a:pt x="4422" y="1521"/>
                </a:lnTo>
                <a:lnTo>
                  <a:pt x="4459" y="1498"/>
                </a:lnTo>
                <a:lnTo>
                  <a:pt x="4492" y="1477"/>
                </a:lnTo>
                <a:lnTo>
                  <a:pt x="4523" y="1455"/>
                </a:lnTo>
                <a:lnTo>
                  <a:pt x="4549" y="1434"/>
                </a:lnTo>
                <a:lnTo>
                  <a:pt x="4574" y="1414"/>
                </a:lnTo>
                <a:lnTo>
                  <a:pt x="4595" y="1393"/>
                </a:lnTo>
                <a:lnTo>
                  <a:pt x="4615" y="1374"/>
                </a:lnTo>
                <a:lnTo>
                  <a:pt x="4632" y="1355"/>
                </a:lnTo>
                <a:lnTo>
                  <a:pt x="4647" y="1337"/>
                </a:lnTo>
                <a:lnTo>
                  <a:pt x="4661" y="1319"/>
                </a:lnTo>
                <a:lnTo>
                  <a:pt x="4673" y="1303"/>
                </a:lnTo>
                <a:lnTo>
                  <a:pt x="4683" y="1288"/>
                </a:lnTo>
                <a:lnTo>
                  <a:pt x="4700" y="1260"/>
                </a:lnTo>
                <a:lnTo>
                  <a:pt x="4700" y="1260"/>
                </a:lnTo>
                <a:lnTo>
                  <a:pt x="4708" y="1248"/>
                </a:lnTo>
                <a:lnTo>
                  <a:pt x="4714" y="1234"/>
                </a:lnTo>
                <a:lnTo>
                  <a:pt x="4721" y="1218"/>
                </a:lnTo>
                <a:lnTo>
                  <a:pt x="4727" y="1202"/>
                </a:lnTo>
                <a:lnTo>
                  <a:pt x="4733" y="1183"/>
                </a:lnTo>
                <a:lnTo>
                  <a:pt x="4739" y="1164"/>
                </a:lnTo>
                <a:lnTo>
                  <a:pt x="4743" y="1144"/>
                </a:lnTo>
                <a:lnTo>
                  <a:pt x="4749" y="1123"/>
                </a:lnTo>
                <a:lnTo>
                  <a:pt x="4753" y="1101"/>
                </a:lnTo>
                <a:lnTo>
                  <a:pt x="4756" y="1078"/>
                </a:lnTo>
                <a:lnTo>
                  <a:pt x="4758" y="1054"/>
                </a:lnTo>
                <a:lnTo>
                  <a:pt x="4759" y="1030"/>
                </a:lnTo>
                <a:lnTo>
                  <a:pt x="4760" y="1005"/>
                </a:lnTo>
                <a:lnTo>
                  <a:pt x="4759" y="980"/>
                </a:lnTo>
                <a:lnTo>
                  <a:pt x="4758" y="954"/>
                </a:lnTo>
                <a:lnTo>
                  <a:pt x="4755" y="928"/>
                </a:lnTo>
                <a:lnTo>
                  <a:pt x="4751" y="902"/>
                </a:lnTo>
                <a:lnTo>
                  <a:pt x="4745" y="876"/>
                </a:lnTo>
                <a:lnTo>
                  <a:pt x="4738" y="849"/>
                </a:lnTo>
                <a:lnTo>
                  <a:pt x="4730" y="824"/>
                </a:lnTo>
                <a:lnTo>
                  <a:pt x="4720" y="797"/>
                </a:lnTo>
                <a:lnTo>
                  <a:pt x="4709" y="771"/>
                </a:lnTo>
                <a:lnTo>
                  <a:pt x="4695" y="746"/>
                </a:lnTo>
                <a:lnTo>
                  <a:pt x="4681" y="721"/>
                </a:lnTo>
                <a:lnTo>
                  <a:pt x="4665" y="697"/>
                </a:lnTo>
                <a:lnTo>
                  <a:pt x="4646" y="672"/>
                </a:lnTo>
                <a:lnTo>
                  <a:pt x="4625" y="649"/>
                </a:lnTo>
                <a:lnTo>
                  <a:pt x="4602" y="626"/>
                </a:lnTo>
                <a:lnTo>
                  <a:pt x="4578" y="605"/>
                </a:lnTo>
                <a:lnTo>
                  <a:pt x="4551" y="584"/>
                </a:lnTo>
                <a:lnTo>
                  <a:pt x="4522" y="565"/>
                </a:lnTo>
                <a:lnTo>
                  <a:pt x="4490" y="545"/>
                </a:lnTo>
                <a:lnTo>
                  <a:pt x="4490" y="545"/>
                </a:lnTo>
                <a:lnTo>
                  <a:pt x="4466" y="533"/>
                </a:lnTo>
                <a:lnTo>
                  <a:pt x="4443" y="522"/>
                </a:lnTo>
                <a:lnTo>
                  <a:pt x="4419" y="512"/>
                </a:lnTo>
                <a:lnTo>
                  <a:pt x="4396" y="503"/>
                </a:lnTo>
                <a:lnTo>
                  <a:pt x="4372" y="494"/>
                </a:lnTo>
                <a:lnTo>
                  <a:pt x="4348" y="487"/>
                </a:lnTo>
                <a:lnTo>
                  <a:pt x="4325" y="481"/>
                </a:lnTo>
                <a:lnTo>
                  <a:pt x="4302" y="476"/>
                </a:lnTo>
                <a:lnTo>
                  <a:pt x="4278" y="471"/>
                </a:lnTo>
                <a:lnTo>
                  <a:pt x="4256" y="468"/>
                </a:lnTo>
                <a:lnTo>
                  <a:pt x="4233" y="465"/>
                </a:lnTo>
                <a:lnTo>
                  <a:pt x="4211" y="463"/>
                </a:lnTo>
                <a:lnTo>
                  <a:pt x="4188" y="461"/>
                </a:lnTo>
                <a:lnTo>
                  <a:pt x="4167" y="461"/>
                </a:lnTo>
                <a:lnTo>
                  <a:pt x="4145" y="461"/>
                </a:lnTo>
                <a:lnTo>
                  <a:pt x="4124" y="461"/>
                </a:lnTo>
                <a:lnTo>
                  <a:pt x="4083" y="464"/>
                </a:lnTo>
                <a:lnTo>
                  <a:pt x="4044" y="468"/>
                </a:lnTo>
                <a:lnTo>
                  <a:pt x="4007" y="474"/>
                </a:lnTo>
                <a:lnTo>
                  <a:pt x="3973" y="482"/>
                </a:lnTo>
                <a:lnTo>
                  <a:pt x="3941" y="490"/>
                </a:lnTo>
                <a:lnTo>
                  <a:pt x="3912" y="499"/>
                </a:lnTo>
                <a:lnTo>
                  <a:pt x="3887" y="510"/>
                </a:lnTo>
                <a:lnTo>
                  <a:pt x="3864" y="519"/>
                </a:lnTo>
                <a:lnTo>
                  <a:pt x="3864" y="519"/>
                </a:lnTo>
                <a:lnTo>
                  <a:pt x="3844" y="529"/>
                </a:lnTo>
                <a:lnTo>
                  <a:pt x="3824" y="539"/>
                </a:lnTo>
                <a:lnTo>
                  <a:pt x="3806" y="551"/>
                </a:lnTo>
                <a:lnTo>
                  <a:pt x="3787" y="562"/>
                </a:lnTo>
                <a:lnTo>
                  <a:pt x="3769" y="575"/>
                </a:lnTo>
                <a:lnTo>
                  <a:pt x="3752" y="587"/>
                </a:lnTo>
                <a:lnTo>
                  <a:pt x="3735" y="602"/>
                </a:lnTo>
                <a:lnTo>
                  <a:pt x="3719" y="616"/>
                </a:lnTo>
                <a:lnTo>
                  <a:pt x="3703" y="631"/>
                </a:lnTo>
                <a:lnTo>
                  <a:pt x="3687" y="647"/>
                </a:lnTo>
                <a:lnTo>
                  <a:pt x="3673" y="663"/>
                </a:lnTo>
                <a:lnTo>
                  <a:pt x="3659" y="679"/>
                </a:lnTo>
                <a:lnTo>
                  <a:pt x="3645" y="697"/>
                </a:lnTo>
                <a:lnTo>
                  <a:pt x="3633" y="715"/>
                </a:lnTo>
                <a:lnTo>
                  <a:pt x="3621" y="734"/>
                </a:lnTo>
                <a:lnTo>
                  <a:pt x="3609" y="753"/>
                </a:lnTo>
                <a:lnTo>
                  <a:pt x="3599" y="772"/>
                </a:lnTo>
                <a:lnTo>
                  <a:pt x="3589" y="793"/>
                </a:lnTo>
                <a:lnTo>
                  <a:pt x="3581" y="813"/>
                </a:lnTo>
                <a:lnTo>
                  <a:pt x="3573" y="835"/>
                </a:lnTo>
                <a:lnTo>
                  <a:pt x="3565" y="856"/>
                </a:lnTo>
                <a:lnTo>
                  <a:pt x="3559" y="879"/>
                </a:lnTo>
                <a:lnTo>
                  <a:pt x="3554" y="901"/>
                </a:lnTo>
                <a:lnTo>
                  <a:pt x="3550" y="924"/>
                </a:lnTo>
                <a:lnTo>
                  <a:pt x="3547" y="947"/>
                </a:lnTo>
                <a:lnTo>
                  <a:pt x="3545" y="972"/>
                </a:lnTo>
                <a:lnTo>
                  <a:pt x="3544" y="996"/>
                </a:lnTo>
                <a:lnTo>
                  <a:pt x="3543" y="1021"/>
                </a:lnTo>
                <a:lnTo>
                  <a:pt x="3544" y="1046"/>
                </a:lnTo>
                <a:lnTo>
                  <a:pt x="3546" y="1072"/>
                </a:lnTo>
                <a:lnTo>
                  <a:pt x="3550" y="1098"/>
                </a:lnTo>
                <a:lnTo>
                  <a:pt x="3554" y="1124"/>
                </a:lnTo>
                <a:lnTo>
                  <a:pt x="3554" y="1124"/>
                </a:lnTo>
                <a:lnTo>
                  <a:pt x="3559" y="1148"/>
                </a:lnTo>
                <a:lnTo>
                  <a:pt x="3564" y="1169"/>
                </a:lnTo>
                <a:lnTo>
                  <a:pt x="3571" y="1191"/>
                </a:lnTo>
                <a:lnTo>
                  <a:pt x="3577" y="1211"/>
                </a:lnTo>
                <a:lnTo>
                  <a:pt x="3585" y="1231"/>
                </a:lnTo>
                <a:lnTo>
                  <a:pt x="3592" y="1249"/>
                </a:lnTo>
                <a:lnTo>
                  <a:pt x="3601" y="1267"/>
                </a:lnTo>
                <a:lnTo>
                  <a:pt x="3610" y="1285"/>
                </a:lnTo>
                <a:lnTo>
                  <a:pt x="3620" y="1301"/>
                </a:lnTo>
                <a:lnTo>
                  <a:pt x="3631" y="1316"/>
                </a:lnTo>
                <a:lnTo>
                  <a:pt x="3641" y="1332"/>
                </a:lnTo>
                <a:lnTo>
                  <a:pt x="3652" y="1347"/>
                </a:lnTo>
                <a:lnTo>
                  <a:pt x="3665" y="1361"/>
                </a:lnTo>
                <a:lnTo>
                  <a:pt x="3677" y="1375"/>
                </a:lnTo>
                <a:lnTo>
                  <a:pt x="3690" y="1388"/>
                </a:lnTo>
                <a:lnTo>
                  <a:pt x="3704" y="1400"/>
                </a:lnTo>
                <a:lnTo>
                  <a:pt x="3732" y="1425"/>
                </a:lnTo>
                <a:lnTo>
                  <a:pt x="3763" y="1447"/>
                </a:lnTo>
                <a:lnTo>
                  <a:pt x="3795" y="1469"/>
                </a:lnTo>
                <a:lnTo>
                  <a:pt x="3828" y="1489"/>
                </a:lnTo>
                <a:lnTo>
                  <a:pt x="3863" y="1510"/>
                </a:lnTo>
                <a:lnTo>
                  <a:pt x="3899" y="1529"/>
                </a:lnTo>
                <a:lnTo>
                  <a:pt x="3976" y="1567"/>
                </a:lnTo>
                <a:lnTo>
                  <a:pt x="3976" y="1567"/>
                </a:lnTo>
                <a:lnTo>
                  <a:pt x="3945" y="1584"/>
                </a:lnTo>
                <a:lnTo>
                  <a:pt x="3916" y="1601"/>
                </a:lnTo>
                <a:lnTo>
                  <a:pt x="3890" y="1618"/>
                </a:lnTo>
                <a:lnTo>
                  <a:pt x="3864" y="1636"/>
                </a:lnTo>
                <a:lnTo>
                  <a:pt x="3840" y="1656"/>
                </a:lnTo>
                <a:lnTo>
                  <a:pt x="3817" y="1675"/>
                </a:lnTo>
                <a:lnTo>
                  <a:pt x="3797" y="1696"/>
                </a:lnTo>
                <a:lnTo>
                  <a:pt x="3778" y="1717"/>
                </a:lnTo>
                <a:lnTo>
                  <a:pt x="3761" y="1741"/>
                </a:lnTo>
                <a:lnTo>
                  <a:pt x="3754" y="1753"/>
                </a:lnTo>
                <a:lnTo>
                  <a:pt x="3746" y="1765"/>
                </a:lnTo>
                <a:lnTo>
                  <a:pt x="3739" y="1778"/>
                </a:lnTo>
                <a:lnTo>
                  <a:pt x="3733" y="1791"/>
                </a:lnTo>
                <a:lnTo>
                  <a:pt x="3728" y="1804"/>
                </a:lnTo>
                <a:lnTo>
                  <a:pt x="3723" y="1818"/>
                </a:lnTo>
                <a:lnTo>
                  <a:pt x="3718" y="1833"/>
                </a:lnTo>
                <a:lnTo>
                  <a:pt x="3714" y="1848"/>
                </a:lnTo>
                <a:lnTo>
                  <a:pt x="3711" y="1863"/>
                </a:lnTo>
                <a:lnTo>
                  <a:pt x="3708" y="1879"/>
                </a:lnTo>
                <a:lnTo>
                  <a:pt x="3706" y="1895"/>
                </a:lnTo>
                <a:lnTo>
                  <a:pt x="3705" y="1912"/>
                </a:lnTo>
                <a:lnTo>
                  <a:pt x="3704" y="1930"/>
                </a:lnTo>
                <a:lnTo>
                  <a:pt x="3703" y="1947"/>
                </a:lnTo>
                <a:lnTo>
                  <a:pt x="3703" y="1947"/>
                </a:lnTo>
                <a:lnTo>
                  <a:pt x="3704" y="1970"/>
                </a:lnTo>
                <a:lnTo>
                  <a:pt x="3707" y="1993"/>
                </a:lnTo>
                <a:lnTo>
                  <a:pt x="3711" y="2016"/>
                </a:lnTo>
                <a:lnTo>
                  <a:pt x="3716" y="2039"/>
                </a:lnTo>
                <a:lnTo>
                  <a:pt x="3729" y="2087"/>
                </a:lnTo>
                <a:lnTo>
                  <a:pt x="3736" y="2113"/>
                </a:lnTo>
                <a:lnTo>
                  <a:pt x="3742" y="2139"/>
                </a:lnTo>
                <a:lnTo>
                  <a:pt x="3749" y="2168"/>
                </a:lnTo>
                <a:lnTo>
                  <a:pt x="3753" y="2197"/>
                </a:lnTo>
                <a:lnTo>
                  <a:pt x="3757" y="2227"/>
                </a:lnTo>
                <a:lnTo>
                  <a:pt x="3758" y="2260"/>
                </a:lnTo>
                <a:lnTo>
                  <a:pt x="3758" y="2295"/>
                </a:lnTo>
                <a:lnTo>
                  <a:pt x="3757" y="2313"/>
                </a:lnTo>
                <a:lnTo>
                  <a:pt x="3755" y="2332"/>
                </a:lnTo>
                <a:lnTo>
                  <a:pt x="3753" y="2350"/>
                </a:lnTo>
                <a:lnTo>
                  <a:pt x="3750" y="2371"/>
                </a:lnTo>
                <a:lnTo>
                  <a:pt x="3745" y="2391"/>
                </a:lnTo>
                <a:lnTo>
                  <a:pt x="3741" y="2411"/>
                </a:lnTo>
                <a:lnTo>
                  <a:pt x="3741" y="2411"/>
                </a:lnTo>
                <a:lnTo>
                  <a:pt x="3741" y="2413"/>
                </a:lnTo>
                <a:lnTo>
                  <a:pt x="3741" y="2414"/>
                </a:lnTo>
                <a:lnTo>
                  <a:pt x="3743" y="2414"/>
                </a:lnTo>
                <a:lnTo>
                  <a:pt x="3745" y="2416"/>
                </a:lnTo>
                <a:lnTo>
                  <a:pt x="3753" y="2413"/>
                </a:lnTo>
                <a:lnTo>
                  <a:pt x="3762" y="2411"/>
                </a:lnTo>
                <a:lnTo>
                  <a:pt x="3785" y="2401"/>
                </a:lnTo>
                <a:lnTo>
                  <a:pt x="3814" y="2389"/>
                </a:lnTo>
                <a:lnTo>
                  <a:pt x="3842" y="2374"/>
                </a:lnTo>
                <a:lnTo>
                  <a:pt x="3867" y="2360"/>
                </a:lnTo>
                <a:lnTo>
                  <a:pt x="3886" y="2349"/>
                </a:lnTo>
                <a:lnTo>
                  <a:pt x="3891" y="2345"/>
                </a:lnTo>
                <a:lnTo>
                  <a:pt x="3894" y="2343"/>
                </a:lnTo>
                <a:lnTo>
                  <a:pt x="3894" y="2343"/>
                </a:lnTo>
                <a:lnTo>
                  <a:pt x="3903" y="2319"/>
                </a:lnTo>
                <a:lnTo>
                  <a:pt x="3910" y="2296"/>
                </a:lnTo>
                <a:lnTo>
                  <a:pt x="3916" y="2272"/>
                </a:lnTo>
                <a:lnTo>
                  <a:pt x="3921" y="2248"/>
                </a:lnTo>
                <a:lnTo>
                  <a:pt x="3925" y="2224"/>
                </a:lnTo>
                <a:lnTo>
                  <a:pt x="3928" y="2201"/>
                </a:lnTo>
                <a:lnTo>
                  <a:pt x="3930" y="2178"/>
                </a:lnTo>
                <a:lnTo>
                  <a:pt x="3932" y="2156"/>
                </a:lnTo>
                <a:lnTo>
                  <a:pt x="3932" y="2117"/>
                </a:lnTo>
                <a:lnTo>
                  <a:pt x="3931" y="2086"/>
                </a:lnTo>
                <a:lnTo>
                  <a:pt x="3928" y="2059"/>
                </a:lnTo>
                <a:lnTo>
                  <a:pt x="3928" y="2059"/>
                </a:lnTo>
                <a:lnTo>
                  <a:pt x="3939" y="2068"/>
                </a:lnTo>
                <a:lnTo>
                  <a:pt x="3947" y="2079"/>
                </a:lnTo>
                <a:lnTo>
                  <a:pt x="3954" y="2091"/>
                </a:lnTo>
                <a:lnTo>
                  <a:pt x="3960" y="2105"/>
                </a:lnTo>
                <a:lnTo>
                  <a:pt x="3964" y="2120"/>
                </a:lnTo>
                <a:lnTo>
                  <a:pt x="3968" y="2135"/>
                </a:lnTo>
                <a:lnTo>
                  <a:pt x="3971" y="2152"/>
                </a:lnTo>
                <a:lnTo>
                  <a:pt x="3973" y="2168"/>
                </a:lnTo>
                <a:lnTo>
                  <a:pt x="3975" y="2185"/>
                </a:lnTo>
                <a:lnTo>
                  <a:pt x="3976" y="2203"/>
                </a:lnTo>
                <a:lnTo>
                  <a:pt x="3976" y="2219"/>
                </a:lnTo>
                <a:lnTo>
                  <a:pt x="3975" y="2237"/>
                </a:lnTo>
                <a:lnTo>
                  <a:pt x="3971" y="2268"/>
                </a:lnTo>
                <a:lnTo>
                  <a:pt x="3965" y="2297"/>
                </a:lnTo>
                <a:lnTo>
                  <a:pt x="3965" y="2297"/>
                </a:lnTo>
                <a:lnTo>
                  <a:pt x="3982" y="2288"/>
                </a:lnTo>
                <a:lnTo>
                  <a:pt x="3998" y="2276"/>
                </a:lnTo>
                <a:lnTo>
                  <a:pt x="4016" y="2263"/>
                </a:lnTo>
                <a:lnTo>
                  <a:pt x="4036" y="2249"/>
                </a:lnTo>
                <a:lnTo>
                  <a:pt x="4053" y="2234"/>
                </a:lnTo>
                <a:lnTo>
                  <a:pt x="4061" y="2226"/>
                </a:lnTo>
                <a:lnTo>
                  <a:pt x="4068" y="2219"/>
                </a:lnTo>
                <a:lnTo>
                  <a:pt x="4072" y="2212"/>
                </a:lnTo>
                <a:lnTo>
                  <a:pt x="4075" y="2206"/>
                </a:lnTo>
                <a:lnTo>
                  <a:pt x="4075" y="2206"/>
                </a:lnTo>
                <a:lnTo>
                  <a:pt x="4083" y="2176"/>
                </a:lnTo>
                <a:lnTo>
                  <a:pt x="4090" y="2148"/>
                </a:lnTo>
                <a:lnTo>
                  <a:pt x="4094" y="2121"/>
                </a:lnTo>
                <a:lnTo>
                  <a:pt x="4096" y="2095"/>
                </a:lnTo>
                <a:lnTo>
                  <a:pt x="4096" y="2071"/>
                </a:lnTo>
                <a:lnTo>
                  <a:pt x="4095" y="2047"/>
                </a:lnTo>
                <a:lnTo>
                  <a:pt x="4093" y="2025"/>
                </a:lnTo>
                <a:lnTo>
                  <a:pt x="4090" y="2003"/>
                </a:lnTo>
                <a:lnTo>
                  <a:pt x="4085" y="1983"/>
                </a:lnTo>
                <a:lnTo>
                  <a:pt x="4080" y="1964"/>
                </a:lnTo>
                <a:lnTo>
                  <a:pt x="4075" y="1945"/>
                </a:lnTo>
                <a:lnTo>
                  <a:pt x="4069" y="1928"/>
                </a:lnTo>
                <a:lnTo>
                  <a:pt x="4055" y="1894"/>
                </a:lnTo>
                <a:lnTo>
                  <a:pt x="4043" y="1862"/>
                </a:lnTo>
                <a:lnTo>
                  <a:pt x="4043" y="1862"/>
                </a:lnTo>
                <a:lnTo>
                  <a:pt x="4038" y="1847"/>
                </a:lnTo>
                <a:lnTo>
                  <a:pt x="4035" y="1832"/>
                </a:lnTo>
                <a:lnTo>
                  <a:pt x="4034" y="1817"/>
                </a:lnTo>
                <a:lnTo>
                  <a:pt x="4035" y="1802"/>
                </a:lnTo>
                <a:lnTo>
                  <a:pt x="4037" y="1788"/>
                </a:lnTo>
                <a:lnTo>
                  <a:pt x="4041" y="1773"/>
                </a:lnTo>
                <a:lnTo>
                  <a:pt x="4046" y="1759"/>
                </a:lnTo>
                <a:lnTo>
                  <a:pt x="4053" y="1746"/>
                </a:lnTo>
                <a:lnTo>
                  <a:pt x="4061" y="1733"/>
                </a:lnTo>
                <a:lnTo>
                  <a:pt x="4071" y="1719"/>
                </a:lnTo>
                <a:lnTo>
                  <a:pt x="4081" y="1707"/>
                </a:lnTo>
                <a:lnTo>
                  <a:pt x="4092" y="1696"/>
                </a:lnTo>
                <a:lnTo>
                  <a:pt x="4103" y="1684"/>
                </a:lnTo>
                <a:lnTo>
                  <a:pt x="4117" y="1673"/>
                </a:lnTo>
                <a:lnTo>
                  <a:pt x="4130" y="1664"/>
                </a:lnTo>
                <a:lnTo>
                  <a:pt x="4145" y="1655"/>
                </a:lnTo>
                <a:lnTo>
                  <a:pt x="4145" y="1655"/>
                </a:lnTo>
                <a:lnTo>
                  <a:pt x="4180" y="1674"/>
                </a:lnTo>
                <a:lnTo>
                  <a:pt x="4215" y="1695"/>
                </a:lnTo>
                <a:lnTo>
                  <a:pt x="4251" y="1716"/>
                </a:lnTo>
                <a:lnTo>
                  <a:pt x="4286" y="1740"/>
                </a:lnTo>
                <a:lnTo>
                  <a:pt x="4286" y="1740"/>
                </a:lnTo>
                <a:lnTo>
                  <a:pt x="4307" y="1754"/>
                </a:lnTo>
                <a:lnTo>
                  <a:pt x="4341" y="1779"/>
                </a:lnTo>
                <a:lnTo>
                  <a:pt x="4361" y="1794"/>
                </a:lnTo>
                <a:lnTo>
                  <a:pt x="4382" y="1812"/>
                </a:lnTo>
                <a:lnTo>
                  <a:pt x="4405" y="1832"/>
                </a:lnTo>
                <a:lnTo>
                  <a:pt x="4430" y="1853"/>
                </a:lnTo>
                <a:lnTo>
                  <a:pt x="4453" y="1877"/>
                </a:lnTo>
                <a:lnTo>
                  <a:pt x="4478" y="1901"/>
                </a:lnTo>
                <a:lnTo>
                  <a:pt x="4501" y="1928"/>
                </a:lnTo>
                <a:lnTo>
                  <a:pt x="4524" y="1956"/>
                </a:lnTo>
                <a:lnTo>
                  <a:pt x="4545" y="1985"/>
                </a:lnTo>
                <a:lnTo>
                  <a:pt x="4564" y="2016"/>
                </a:lnTo>
                <a:lnTo>
                  <a:pt x="4574" y="2031"/>
                </a:lnTo>
                <a:lnTo>
                  <a:pt x="4582" y="2047"/>
                </a:lnTo>
                <a:lnTo>
                  <a:pt x="4590" y="2064"/>
                </a:lnTo>
                <a:lnTo>
                  <a:pt x="4596" y="2080"/>
                </a:lnTo>
                <a:lnTo>
                  <a:pt x="4596" y="2080"/>
                </a:lnTo>
                <a:lnTo>
                  <a:pt x="4606" y="2106"/>
                </a:lnTo>
                <a:lnTo>
                  <a:pt x="4616" y="2130"/>
                </a:lnTo>
                <a:lnTo>
                  <a:pt x="4624" y="2155"/>
                </a:lnTo>
                <a:lnTo>
                  <a:pt x="4630" y="2178"/>
                </a:lnTo>
                <a:lnTo>
                  <a:pt x="4636" y="2202"/>
                </a:lnTo>
                <a:lnTo>
                  <a:pt x="4641" y="2224"/>
                </a:lnTo>
                <a:lnTo>
                  <a:pt x="4645" y="2246"/>
                </a:lnTo>
                <a:lnTo>
                  <a:pt x="4649" y="2266"/>
                </a:lnTo>
                <a:lnTo>
                  <a:pt x="4651" y="2287"/>
                </a:lnTo>
                <a:lnTo>
                  <a:pt x="4653" y="2306"/>
                </a:lnTo>
                <a:lnTo>
                  <a:pt x="4654" y="2325"/>
                </a:lnTo>
                <a:lnTo>
                  <a:pt x="4655" y="2343"/>
                </a:lnTo>
                <a:lnTo>
                  <a:pt x="4654" y="2377"/>
                </a:lnTo>
                <a:lnTo>
                  <a:pt x="4652" y="2408"/>
                </a:lnTo>
                <a:lnTo>
                  <a:pt x="4648" y="2437"/>
                </a:lnTo>
                <a:lnTo>
                  <a:pt x="4642" y="2464"/>
                </a:lnTo>
                <a:lnTo>
                  <a:pt x="4635" y="2487"/>
                </a:lnTo>
                <a:lnTo>
                  <a:pt x="4628" y="2509"/>
                </a:lnTo>
                <a:lnTo>
                  <a:pt x="4620" y="2527"/>
                </a:lnTo>
                <a:lnTo>
                  <a:pt x="4612" y="2544"/>
                </a:lnTo>
                <a:lnTo>
                  <a:pt x="4603" y="2559"/>
                </a:lnTo>
                <a:lnTo>
                  <a:pt x="4596" y="2570"/>
                </a:lnTo>
                <a:lnTo>
                  <a:pt x="4596" y="2570"/>
                </a:lnTo>
                <a:lnTo>
                  <a:pt x="4582" y="2590"/>
                </a:lnTo>
                <a:lnTo>
                  <a:pt x="4568" y="2611"/>
                </a:lnTo>
                <a:lnTo>
                  <a:pt x="4553" y="2629"/>
                </a:lnTo>
                <a:lnTo>
                  <a:pt x="4538" y="2648"/>
                </a:lnTo>
                <a:lnTo>
                  <a:pt x="4522" y="2665"/>
                </a:lnTo>
                <a:lnTo>
                  <a:pt x="4505" y="2681"/>
                </a:lnTo>
                <a:lnTo>
                  <a:pt x="4487" y="2697"/>
                </a:lnTo>
                <a:lnTo>
                  <a:pt x="4469" y="2711"/>
                </a:lnTo>
                <a:lnTo>
                  <a:pt x="4450" y="2724"/>
                </a:lnTo>
                <a:lnTo>
                  <a:pt x="4430" y="2736"/>
                </a:lnTo>
                <a:lnTo>
                  <a:pt x="4409" y="2747"/>
                </a:lnTo>
                <a:lnTo>
                  <a:pt x="4388" y="2756"/>
                </a:lnTo>
                <a:lnTo>
                  <a:pt x="4364" y="2764"/>
                </a:lnTo>
                <a:lnTo>
                  <a:pt x="4341" y="2771"/>
                </a:lnTo>
                <a:lnTo>
                  <a:pt x="4316" y="2776"/>
                </a:lnTo>
                <a:lnTo>
                  <a:pt x="4290" y="2779"/>
                </a:lnTo>
                <a:lnTo>
                  <a:pt x="4290" y="2779"/>
                </a:lnTo>
                <a:lnTo>
                  <a:pt x="4283" y="2778"/>
                </a:lnTo>
                <a:lnTo>
                  <a:pt x="4275" y="2778"/>
                </a:lnTo>
                <a:lnTo>
                  <a:pt x="4275" y="2778"/>
                </a:lnTo>
                <a:lnTo>
                  <a:pt x="4242" y="2779"/>
                </a:lnTo>
                <a:lnTo>
                  <a:pt x="4213" y="2779"/>
                </a:lnTo>
                <a:lnTo>
                  <a:pt x="4185" y="2778"/>
                </a:lnTo>
                <a:lnTo>
                  <a:pt x="4159" y="2775"/>
                </a:lnTo>
                <a:lnTo>
                  <a:pt x="4159" y="2775"/>
                </a:lnTo>
                <a:lnTo>
                  <a:pt x="4131" y="2770"/>
                </a:lnTo>
                <a:lnTo>
                  <a:pt x="4103" y="2765"/>
                </a:lnTo>
                <a:lnTo>
                  <a:pt x="4077" y="2758"/>
                </a:lnTo>
                <a:lnTo>
                  <a:pt x="4052" y="2751"/>
                </a:lnTo>
                <a:lnTo>
                  <a:pt x="4052" y="2751"/>
                </a:lnTo>
                <a:lnTo>
                  <a:pt x="4009" y="2736"/>
                </a:lnTo>
                <a:lnTo>
                  <a:pt x="3965" y="2717"/>
                </a:lnTo>
                <a:lnTo>
                  <a:pt x="3965" y="2717"/>
                </a:lnTo>
                <a:lnTo>
                  <a:pt x="3925" y="2697"/>
                </a:lnTo>
                <a:lnTo>
                  <a:pt x="3874" y="2669"/>
                </a:lnTo>
                <a:lnTo>
                  <a:pt x="3846" y="2652"/>
                </a:lnTo>
                <a:lnTo>
                  <a:pt x="3815" y="2632"/>
                </a:lnTo>
                <a:lnTo>
                  <a:pt x="3782" y="2612"/>
                </a:lnTo>
                <a:lnTo>
                  <a:pt x="3748" y="2588"/>
                </a:lnTo>
                <a:lnTo>
                  <a:pt x="3712" y="2564"/>
                </a:lnTo>
                <a:lnTo>
                  <a:pt x="3676" y="2536"/>
                </a:lnTo>
                <a:lnTo>
                  <a:pt x="3638" y="2508"/>
                </a:lnTo>
                <a:lnTo>
                  <a:pt x="3601" y="2477"/>
                </a:lnTo>
                <a:lnTo>
                  <a:pt x="3563" y="2444"/>
                </a:lnTo>
                <a:lnTo>
                  <a:pt x="3526" y="2409"/>
                </a:lnTo>
                <a:lnTo>
                  <a:pt x="3488" y="2373"/>
                </a:lnTo>
                <a:lnTo>
                  <a:pt x="3451" y="2335"/>
                </a:lnTo>
                <a:lnTo>
                  <a:pt x="3451" y="2335"/>
                </a:lnTo>
                <a:lnTo>
                  <a:pt x="3394" y="2271"/>
                </a:lnTo>
                <a:lnTo>
                  <a:pt x="3342" y="2212"/>
                </a:lnTo>
                <a:lnTo>
                  <a:pt x="3295" y="2157"/>
                </a:lnTo>
                <a:lnTo>
                  <a:pt x="3253" y="2107"/>
                </a:lnTo>
                <a:lnTo>
                  <a:pt x="3215" y="2060"/>
                </a:lnTo>
                <a:lnTo>
                  <a:pt x="3180" y="2017"/>
                </a:lnTo>
                <a:lnTo>
                  <a:pt x="3120" y="1940"/>
                </a:lnTo>
                <a:lnTo>
                  <a:pt x="3120" y="1940"/>
                </a:lnTo>
                <a:lnTo>
                  <a:pt x="3138" y="1947"/>
                </a:lnTo>
                <a:lnTo>
                  <a:pt x="3156" y="1953"/>
                </a:lnTo>
                <a:lnTo>
                  <a:pt x="3175" y="1958"/>
                </a:lnTo>
                <a:lnTo>
                  <a:pt x="3193" y="1963"/>
                </a:lnTo>
                <a:lnTo>
                  <a:pt x="3211" y="1966"/>
                </a:lnTo>
                <a:lnTo>
                  <a:pt x="3229" y="1968"/>
                </a:lnTo>
                <a:lnTo>
                  <a:pt x="3262" y="1971"/>
                </a:lnTo>
                <a:lnTo>
                  <a:pt x="3289" y="1971"/>
                </a:lnTo>
                <a:lnTo>
                  <a:pt x="3312" y="1970"/>
                </a:lnTo>
                <a:lnTo>
                  <a:pt x="3332" y="1968"/>
                </a:lnTo>
                <a:lnTo>
                  <a:pt x="3332" y="1968"/>
                </a:lnTo>
                <a:lnTo>
                  <a:pt x="3336" y="1918"/>
                </a:lnTo>
                <a:lnTo>
                  <a:pt x="3338" y="1873"/>
                </a:lnTo>
                <a:lnTo>
                  <a:pt x="3340" y="1833"/>
                </a:lnTo>
                <a:lnTo>
                  <a:pt x="3346" y="1698"/>
                </a:lnTo>
                <a:lnTo>
                  <a:pt x="3346" y="1698"/>
                </a:lnTo>
                <a:lnTo>
                  <a:pt x="3349" y="1661"/>
                </a:lnTo>
                <a:lnTo>
                  <a:pt x="3351" y="1626"/>
                </a:lnTo>
                <a:lnTo>
                  <a:pt x="3352" y="1589"/>
                </a:lnTo>
                <a:lnTo>
                  <a:pt x="3352" y="1589"/>
                </a:lnTo>
                <a:lnTo>
                  <a:pt x="3340" y="1588"/>
                </a:lnTo>
                <a:lnTo>
                  <a:pt x="3307" y="1584"/>
                </a:lnTo>
                <a:lnTo>
                  <a:pt x="3285" y="1581"/>
                </a:lnTo>
                <a:lnTo>
                  <a:pt x="3260" y="1576"/>
                </a:lnTo>
                <a:lnTo>
                  <a:pt x="3233" y="1571"/>
                </a:lnTo>
                <a:lnTo>
                  <a:pt x="3206" y="1564"/>
                </a:lnTo>
                <a:lnTo>
                  <a:pt x="3176" y="1555"/>
                </a:lnTo>
                <a:lnTo>
                  <a:pt x="3147" y="1544"/>
                </a:lnTo>
                <a:lnTo>
                  <a:pt x="3120" y="1532"/>
                </a:lnTo>
                <a:lnTo>
                  <a:pt x="3106" y="1526"/>
                </a:lnTo>
                <a:lnTo>
                  <a:pt x="3093" y="1519"/>
                </a:lnTo>
                <a:lnTo>
                  <a:pt x="3081" y="1511"/>
                </a:lnTo>
                <a:lnTo>
                  <a:pt x="3070" y="1502"/>
                </a:lnTo>
                <a:lnTo>
                  <a:pt x="3058" y="1493"/>
                </a:lnTo>
                <a:lnTo>
                  <a:pt x="3049" y="1484"/>
                </a:lnTo>
                <a:lnTo>
                  <a:pt x="3040" y="1474"/>
                </a:lnTo>
                <a:lnTo>
                  <a:pt x="3032" y="1463"/>
                </a:lnTo>
                <a:lnTo>
                  <a:pt x="3025" y="1451"/>
                </a:lnTo>
                <a:lnTo>
                  <a:pt x="3019" y="1439"/>
                </a:lnTo>
                <a:lnTo>
                  <a:pt x="3019" y="1439"/>
                </a:lnTo>
                <a:lnTo>
                  <a:pt x="3030" y="1445"/>
                </a:lnTo>
                <a:lnTo>
                  <a:pt x="3042" y="1450"/>
                </a:lnTo>
                <a:lnTo>
                  <a:pt x="3059" y="1457"/>
                </a:lnTo>
                <a:lnTo>
                  <a:pt x="3081" y="1465"/>
                </a:lnTo>
                <a:lnTo>
                  <a:pt x="3106" y="1472"/>
                </a:lnTo>
                <a:lnTo>
                  <a:pt x="3136" y="1477"/>
                </a:lnTo>
                <a:lnTo>
                  <a:pt x="3152" y="1479"/>
                </a:lnTo>
                <a:lnTo>
                  <a:pt x="3169" y="1480"/>
                </a:lnTo>
                <a:lnTo>
                  <a:pt x="3169" y="1480"/>
                </a:lnTo>
                <a:lnTo>
                  <a:pt x="3201" y="1481"/>
                </a:lnTo>
                <a:lnTo>
                  <a:pt x="3234" y="1481"/>
                </a:lnTo>
                <a:lnTo>
                  <a:pt x="3266" y="1479"/>
                </a:lnTo>
                <a:lnTo>
                  <a:pt x="3295" y="1477"/>
                </a:lnTo>
                <a:lnTo>
                  <a:pt x="3340" y="1471"/>
                </a:lnTo>
                <a:lnTo>
                  <a:pt x="3357" y="1469"/>
                </a:lnTo>
                <a:lnTo>
                  <a:pt x="3357" y="1469"/>
                </a:lnTo>
                <a:lnTo>
                  <a:pt x="3359" y="1463"/>
                </a:lnTo>
                <a:lnTo>
                  <a:pt x="3361" y="1451"/>
                </a:lnTo>
                <a:lnTo>
                  <a:pt x="3364" y="1421"/>
                </a:lnTo>
                <a:lnTo>
                  <a:pt x="3367" y="1381"/>
                </a:lnTo>
                <a:lnTo>
                  <a:pt x="3369" y="1337"/>
                </a:lnTo>
                <a:lnTo>
                  <a:pt x="3373" y="1257"/>
                </a:lnTo>
                <a:lnTo>
                  <a:pt x="3375" y="1222"/>
                </a:lnTo>
                <a:lnTo>
                  <a:pt x="3375" y="1222"/>
                </a:lnTo>
                <a:lnTo>
                  <a:pt x="3376" y="1194"/>
                </a:lnTo>
                <a:lnTo>
                  <a:pt x="3377" y="1154"/>
                </a:lnTo>
                <a:lnTo>
                  <a:pt x="3377" y="1105"/>
                </a:lnTo>
                <a:lnTo>
                  <a:pt x="3377" y="1105"/>
                </a:lnTo>
                <a:lnTo>
                  <a:pt x="3369" y="1107"/>
                </a:lnTo>
                <a:lnTo>
                  <a:pt x="3359" y="1108"/>
                </a:lnTo>
                <a:lnTo>
                  <a:pt x="3338" y="1110"/>
                </a:lnTo>
                <a:lnTo>
                  <a:pt x="3315" y="1109"/>
                </a:lnTo>
                <a:lnTo>
                  <a:pt x="3290" y="1107"/>
                </a:lnTo>
                <a:lnTo>
                  <a:pt x="3264" y="1104"/>
                </a:lnTo>
                <a:lnTo>
                  <a:pt x="3236" y="1100"/>
                </a:lnTo>
                <a:lnTo>
                  <a:pt x="3208" y="1094"/>
                </a:lnTo>
                <a:lnTo>
                  <a:pt x="3178" y="1086"/>
                </a:lnTo>
                <a:lnTo>
                  <a:pt x="3178" y="1086"/>
                </a:lnTo>
                <a:lnTo>
                  <a:pt x="3158" y="1080"/>
                </a:lnTo>
                <a:lnTo>
                  <a:pt x="3135" y="1071"/>
                </a:lnTo>
                <a:lnTo>
                  <a:pt x="3112" y="1059"/>
                </a:lnTo>
                <a:lnTo>
                  <a:pt x="3088" y="1044"/>
                </a:lnTo>
                <a:lnTo>
                  <a:pt x="3064" y="1028"/>
                </a:lnTo>
                <a:lnTo>
                  <a:pt x="3053" y="1019"/>
                </a:lnTo>
                <a:lnTo>
                  <a:pt x="3043" y="1010"/>
                </a:lnTo>
                <a:lnTo>
                  <a:pt x="3034" y="999"/>
                </a:lnTo>
                <a:lnTo>
                  <a:pt x="3025" y="990"/>
                </a:lnTo>
                <a:lnTo>
                  <a:pt x="3017" y="980"/>
                </a:lnTo>
                <a:lnTo>
                  <a:pt x="3010" y="969"/>
                </a:lnTo>
                <a:lnTo>
                  <a:pt x="3010" y="969"/>
                </a:lnTo>
                <a:lnTo>
                  <a:pt x="3022" y="974"/>
                </a:lnTo>
                <a:lnTo>
                  <a:pt x="3035" y="978"/>
                </a:lnTo>
                <a:lnTo>
                  <a:pt x="3052" y="984"/>
                </a:lnTo>
                <a:lnTo>
                  <a:pt x="3075" y="990"/>
                </a:lnTo>
                <a:lnTo>
                  <a:pt x="3101" y="996"/>
                </a:lnTo>
                <a:lnTo>
                  <a:pt x="3132" y="1003"/>
                </a:lnTo>
                <a:lnTo>
                  <a:pt x="3167" y="1008"/>
                </a:lnTo>
                <a:lnTo>
                  <a:pt x="3167" y="1008"/>
                </a:lnTo>
                <a:lnTo>
                  <a:pt x="3187" y="1010"/>
                </a:lnTo>
                <a:lnTo>
                  <a:pt x="3207" y="1011"/>
                </a:lnTo>
                <a:lnTo>
                  <a:pt x="3226" y="1012"/>
                </a:lnTo>
                <a:lnTo>
                  <a:pt x="3245" y="1012"/>
                </a:lnTo>
                <a:lnTo>
                  <a:pt x="3283" y="1010"/>
                </a:lnTo>
                <a:lnTo>
                  <a:pt x="3317" y="1007"/>
                </a:lnTo>
                <a:lnTo>
                  <a:pt x="3346" y="1001"/>
                </a:lnTo>
                <a:lnTo>
                  <a:pt x="3369" y="996"/>
                </a:lnTo>
                <a:lnTo>
                  <a:pt x="3377" y="993"/>
                </a:lnTo>
                <a:lnTo>
                  <a:pt x="3383" y="991"/>
                </a:lnTo>
                <a:lnTo>
                  <a:pt x="3388" y="988"/>
                </a:lnTo>
                <a:lnTo>
                  <a:pt x="3390" y="985"/>
                </a:lnTo>
                <a:lnTo>
                  <a:pt x="3390" y="985"/>
                </a:lnTo>
                <a:lnTo>
                  <a:pt x="3392" y="959"/>
                </a:lnTo>
                <a:lnTo>
                  <a:pt x="3393" y="925"/>
                </a:lnTo>
                <a:lnTo>
                  <a:pt x="3394" y="848"/>
                </a:lnTo>
                <a:lnTo>
                  <a:pt x="3394" y="750"/>
                </a:lnTo>
                <a:lnTo>
                  <a:pt x="3394" y="750"/>
                </a:lnTo>
                <a:lnTo>
                  <a:pt x="3399" y="686"/>
                </a:lnTo>
                <a:lnTo>
                  <a:pt x="3400" y="642"/>
                </a:lnTo>
                <a:lnTo>
                  <a:pt x="3400" y="627"/>
                </a:lnTo>
                <a:lnTo>
                  <a:pt x="3399" y="623"/>
                </a:lnTo>
                <a:lnTo>
                  <a:pt x="3398" y="622"/>
                </a:lnTo>
                <a:lnTo>
                  <a:pt x="3398" y="622"/>
                </a:lnTo>
                <a:lnTo>
                  <a:pt x="3392" y="622"/>
                </a:lnTo>
                <a:lnTo>
                  <a:pt x="3381" y="623"/>
                </a:lnTo>
                <a:lnTo>
                  <a:pt x="3368" y="623"/>
                </a:lnTo>
                <a:lnTo>
                  <a:pt x="3354" y="622"/>
                </a:lnTo>
                <a:lnTo>
                  <a:pt x="3336" y="620"/>
                </a:lnTo>
                <a:lnTo>
                  <a:pt x="3317" y="617"/>
                </a:lnTo>
                <a:lnTo>
                  <a:pt x="3297" y="612"/>
                </a:lnTo>
                <a:lnTo>
                  <a:pt x="3274" y="607"/>
                </a:lnTo>
                <a:lnTo>
                  <a:pt x="3251" y="599"/>
                </a:lnTo>
                <a:lnTo>
                  <a:pt x="3226" y="589"/>
                </a:lnTo>
                <a:lnTo>
                  <a:pt x="3200" y="578"/>
                </a:lnTo>
                <a:lnTo>
                  <a:pt x="3175" y="564"/>
                </a:lnTo>
                <a:lnTo>
                  <a:pt x="3149" y="548"/>
                </a:lnTo>
                <a:lnTo>
                  <a:pt x="3123" y="529"/>
                </a:lnTo>
                <a:lnTo>
                  <a:pt x="3110" y="519"/>
                </a:lnTo>
                <a:lnTo>
                  <a:pt x="3097" y="508"/>
                </a:lnTo>
                <a:lnTo>
                  <a:pt x="3085" y="495"/>
                </a:lnTo>
                <a:lnTo>
                  <a:pt x="3073" y="483"/>
                </a:lnTo>
                <a:lnTo>
                  <a:pt x="3073" y="483"/>
                </a:lnTo>
                <a:lnTo>
                  <a:pt x="3071" y="481"/>
                </a:lnTo>
                <a:lnTo>
                  <a:pt x="3065" y="476"/>
                </a:lnTo>
                <a:lnTo>
                  <a:pt x="3059" y="467"/>
                </a:lnTo>
                <a:lnTo>
                  <a:pt x="3056" y="461"/>
                </a:lnTo>
                <a:lnTo>
                  <a:pt x="3053" y="454"/>
                </a:lnTo>
                <a:lnTo>
                  <a:pt x="3051" y="447"/>
                </a:lnTo>
                <a:lnTo>
                  <a:pt x="3050" y="439"/>
                </a:lnTo>
                <a:lnTo>
                  <a:pt x="3049" y="430"/>
                </a:lnTo>
                <a:lnTo>
                  <a:pt x="3050" y="420"/>
                </a:lnTo>
                <a:lnTo>
                  <a:pt x="3053" y="410"/>
                </a:lnTo>
                <a:lnTo>
                  <a:pt x="3056" y="398"/>
                </a:lnTo>
                <a:lnTo>
                  <a:pt x="3062" y="386"/>
                </a:lnTo>
                <a:lnTo>
                  <a:pt x="3071" y="373"/>
                </a:lnTo>
                <a:lnTo>
                  <a:pt x="3071" y="373"/>
                </a:lnTo>
                <a:lnTo>
                  <a:pt x="2806" y="254"/>
                </a:lnTo>
                <a:lnTo>
                  <a:pt x="2806" y="254"/>
                </a:lnTo>
                <a:lnTo>
                  <a:pt x="2815" y="245"/>
                </a:lnTo>
                <a:lnTo>
                  <a:pt x="2824" y="234"/>
                </a:lnTo>
                <a:lnTo>
                  <a:pt x="2834" y="219"/>
                </a:lnTo>
                <a:lnTo>
                  <a:pt x="2845" y="203"/>
                </a:lnTo>
                <a:lnTo>
                  <a:pt x="2850" y="194"/>
                </a:lnTo>
                <a:lnTo>
                  <a:pt x="2854" y="185"/>
                </a:lnTo>
                <a:lnTo>
                  <a:pt x="2858" y="174"/>
                </a:lnTo>
                <a:lnTo>
                  <a:pt x="2861" y="164"/>
                </a:lnTo>
                <a:lnTo>
                  <a:pt x="2863" y="154"/>
                </a:lnTo>
                <a:lnTo>
                  <a:pt x="2863" y="144"/>
                </a:lnTo>
                <a:lnTo>
                  <a:pt x="2863" y="144"/>
                </a:lnTo>
                <a:lnTo>
                  <a:pt x="2863" y="132"/>
                </a:lnTo>
                <a:lnTo>
                  <a:pt x="2860" y="122"/>
                </a:lnTo>
                <a:lnTo>
                  <a:pt x="2855" y="112"/>
                </a:lnTo>
                <a:lnTo>
                  <a:pt x="2849" y="103"/>
                </a:lnTo>
                <a:lnTo>
                  <a:pt x="2841" y="94"/>
                </a:lnTo>
                <a:lnTo>
                  <a:pt x="2830" y="86"/>
                </a:lnTo>
                <a:lnTo>
                  <a:pt x="2820" y="79"/>
                </a:lnTo>
                <a:lnTo>
                  <a:pt x="2808" y="73"/>
                </a:lnTo>
                <a:lnTo>
                  <a:pt x="2795" y="68"/>
                </a:lnTo>
                <a:lnTo>
                  <a:pt x="2781" y="64"/>
                </a:lnTo>
                <a:lnTo>
                  <a:pt x="2767" y="60"/>
                </a:lnTo>
                <a:lnTo>
                  <a:pt x="2753" y="58"/>
                </a:lnTo>
                <a:lnTo>
                  <a:pt x="2738" y="56"/>
                </a:lnTo>
                <a:lnTo>
                  <a:pt x="2723" y="56"/>
                </a:lnTo>
                <a:lnTo>
                  <a:pt x="2709" y="57"/>
                </a:lnTo>
                <a:lnTo>
                  <a:pt x="2694" y="59"/>
                </a:lnTo>
                <a:lnTo>
                  <a:pt x="2694" y="59"/>
                </a:lnTo>
                <a:lnTo>
                  <a:pt x="2681" y="62"/>
                </a:lnTo>
                <a:lnTo>
                  <a:pt x="2669" y="66"/>
                </a:lnTo>
                <a:lnTo>
                  <a:pt x="2656" y="71"/>
                </a:lnTo>
                <a:lnTo>
                  <a:pt x="2644" y="77"/>
                </a:lnTo>
                <a:lnTo>
                  <a:pt x="2634" y="84"/>
                </a:lnTo>
                <a:lnTo>
                  <a:pt x="2623" y="92"/>
                </a:lnTo>
                <a:lnTo>
                  <a:pt x="2604" y="107"/>
                </a:lnTo>
                <a:lnTo>
                  <a:pt x="2589" y="122"/>
                </a:lnTo>
                <a:lnTo>
                  <a:pt x="2578" y="134"/>
                </a:lnTo>
                <a:lnTo>
                  <a:pt x="2569" y="147"/>
                </a:lnTo>
                <a:lnTo>
                  <a:pt x="2238" y="0"/>
                </a:lnTo>
                <a:lnTo>
                  <a:pt x="1977" y="263"/>
                </a:lnTo>
                <a:lnTo>
                  <a:pt x="1977" y="263"/>
                </a:lnTo>
                <a:lnTo>
                  <a:pt x="1972" y="268"/>
                </a:lnTo>
                <a:lnTo>
                  <a:pt x="1966" y="280"/>
                </a:lnTo>
                <a:lnTo>
                  <a:pt x="1963" y="287"/>
                </a:lnTo>
                <a:lnTo>
                  <a:pt x="1961" y="295"/>
                </a:lnTo>
                <a:lnTo>
                  <a:pt x="1960" y="304"/>
                </a:lnTo>
                <a:lnTo>
                  <a:pt x="1960" y="313"/>
                </a:lnTo>
                <a:lnTo>
                  <a:pt x="1964" y="337"/>
                </a:lnTo>
                <a:lnTo>
                  <a:pt x="1964" y="337"/>
                </a:lnTo>
                <a:lnTo>
                  <a:pt x="1964" y="343"/>
                </a:lnTo>
                <a:lnTo>
                  <a:pt x="1963" y="349"/>
                </a:lnTo>
                <a:lnTo>
                  <a:pt x="1962" y="354"/>
                </a:lnTo>
                <a:lnTo>
                  <a:pt x="1961" y="358"/>
                </a:lnTo>
                <a:lnTo>
                  <a:pt x="1957" y="366"/>
                </a:lnTo>
                <a:lnTo>
                  <a:pt x="1955" y="370"/>
                </a:lnTo>
                <a:lnTo>
                  <a:pt x="1955" y="370"/>
                </a:lnTo>
                <a:lnTo>
                  <a:pt x="1936" y="392"/>
                </a:lnTo>
                <a:lnTo>
                  <a:pt x="1916" y="416"/>
                </a:lnTo>
                <a:lnTo>
                  <a:pt x="1896" y="438"/>
                </a:lnTo>
                <a:lnTo>
                  <a:pt x="1876" y="461"/>
                </a:lnTo>
                <a:lnTo>
                  <a:pt x="1876" y="461"/>
                </a:lnTo>
                <a:lnTo>
                  <a:pt x="1847" y="499"/>
                </a:lnTo>
                <a:lnTo>
                  <a:pt x="1836" y="515"/>
                </a:lnTo>
                <a:lnTo>
                  <a:pt x="1828" y="527"/>
                </a:lnTo>
                <a:lnTo>
                  <a:pt x="1828" y="527"/>
                </a:lnTo>
                <a:lnTo>
                  <a:pt x="1819" y="542"/>
                </a:lnTo>
                <a:lnTo>
                  <a:pt x="1811" y="558"/>
                </a:lnTo>
                <a:lnTo>
                  <a:pt x="1799" y="583"/>
                </a:lnTo>
                <a:lnTo>
                  <a:pt x="1789" y="607"/>
                </a:lnTo>
                <a:lnTo>
                  <a:pt x="1781" y="628"/>
                </a:lnTo>
                <a:lnTo>
                  <a:pt x="1781" y="628"/>
                </a:lnTo>
                <a:lnTo>
                  <a:pt x="1780" y="631"/>
                </a:lnTo>
                <a:lnTo>
                  <a:pt x="1778" y="642"/>
                </a:lnTo>
                <a:lnTo>
                  <a:pt x="1778" y="649"/>
                </a:lnTo>
                <a:lnTo>
                  <a:pt x="1777" y="657"/>
                </a:lnTo>
                <a:lnTo>
                  <a:pt x="1778" y="666"/>
                </a:lnTo>
                <a:lnTo>
                  <a:pt x="1780" y="677"/>
                </a:lnTo>
                <a:lnTo>
                  <a:pt x="1784" y="690"/>
                </a:lnTo>
                <a:lnTo>
                  <a:pt x="1789" y="703"/>
                </a:lnTo>
                <a:lnTo>
                  <a:pt x="1797" y="716"/>
                </a:lnTo>
                <a:lnTo>
                  <a:pt x="1807" y="732"/>
                </a:lnTo>
                <a:lnTo>
                  <a:pt x="1819" y="748"/>
                </a:lnTo>
                <a:lnTo>
                  <a:pt x="1833" y="764"/>
                </a:lnTo>
                <a:lnTo>
                  <a:pt x="1852" y="782"/>
                </a:lnTo>
                <a:lnTo>
                  <a:pt x="1874" y="800"/>
                </a:lnTo>
                <a:lnTo>
                  <a:pt x="1881" y="806"/>
                </a:lnTo>
                <a:lnTo>
                  <a:pt x="1881" y="806"/>
                </a:lnTo>
                <a:lnTo>
                  <a:pt x="1894" y="789"/>
                </a:lnTo>
                <a:lnTo>
                  <a:pt x="1905" y="800"/>
                </a:lnTo>
                <a:lnTo>
                  <a:pt x="1905" y="800"/>
                </a:lnTo>
                <a:lnTo>
                  <a:pt x="1914" y="809"/>
                </a:lnTo>
                <a:lnTo>
                  <a:pt x="1926" y="820"/>
                </a:lnTo>
                <a:lnTo>
                  <a:pt x="1941" y="832"/>
                </a:lnTo>
                <a:lnTo>
                  <a:pt x="1957" y="842"/>
                </a:lnTo>
                <a:lnTo>
                  <a:pt x="1957" y="842"/>
                </a:lnTo>
                <a:lnTo>
                  <a:pt x="1959" y="835"/>
                </a:lnTo>
                <a:lnTo>
                  <a:pt x="1964" y="815"/>
                </a:lnTo>
                <a:lnTo>
                  <a:pt x="1969" y="802"/>
                </a:lnTo>
                <a:lnTo>
                  <a:pt x="1975" y="789"/>
                </a:lnTo>
                <a:lnTo>
                  <a:pt x="1983" y="775"/>
                </a:lnTo>
                <a:lnTo>
                  <a:pt x="1991" y="760"/>
                </a:lnTo>
                <a:lnTo>
                  <a:pt x="1991" y="760"/>
                </a:lnTo>
                <a:lnTo>
                  <a:pt x="2000" y="748"/>
                </a:lnTo>
                <a:lnTo>
                  <a:pt x="2011" y="736"/>
                </a:lnTo>
                <a:lnTo>
                  <a:pt x="2025" y="722"/>
                </a:lnTo>
                <a:lnTo>
                  <a:pt x="2038" y="709"/>
                </a:lnTo>
                <a:lnTo>
                  <a:pt x="2052" y="697"/>
                </a:lnTo>
                <a:lnTo>
                  <a:pt x="2065" y="686"/>
                </a:lnTo>
                <a:lnTo>
                  <a:pt x="2080" y="675"/>
                </a:lnTo>
                <a:lnTo>
                  <a:pt x="2092" y="667"/>
                </a:lnTo>
                <a:lnTo>
                  <a:pt x="2092" y="667"/>
                </a:lnTo>
                <a:lnTo>
                  <a:pt x="2107" y="658"/>
                </a:lnTo>
                <a:lnTo>
                  <a:pt x="2123" y="650"/>
                </a:lnTo>
                <a:lnTo>
                  <a:pt x="2138" y="643"/>
                </a:lnTo>
                <a:lnTo>
                  <a:pt x="2154" y="636"/>
                </a:lnTo>
                <a:lnTo>
                  <a:pt x="2170" y="632"/>
                </a:lnTo>
                <a:lnTo>
                  <a:pt x="2186" y="629"/>
                </a:lnTo>
                <a:lnTo>
                  <a:pt x="2202" y="626"/>
                </a:lnTo>
                <a:lnTo>
                  <a:pt x="2220" y="625"/>
                </a:lnTo>
                <a:lnTo>
                  <a:pt x="2220" y="625"/>
                </a:lnTo>
                <a:lnTo>
                  <a:pt x="2234" y="626"/>
                </a:lnTo>
                <a:lnTo>
                  <a:pt x="2247" y="627"/>
                </a:lnTo>
                <a:lnTo>
                  <a:pt x="2261" y="630"/>
                </a:lnTo>
                <a:lnTo>
                  <a:pt x="2272" y="635"/>
                </a:lnTo>
                <a:lnTo>
                  <a:pt x="2283" y="642"/>
                </a:lnTo>
                <a:lnTo>
                  <a:pt x="2295" y="649"/>
                </a:lnTo>
                <a:lnTo>
                  <a:pt x="2305" y="658"/>
                </a:lnTo>
                <a:lnTo>
                  <a:pt x="2316" y="668"/>
                </a:lnTo>
                <a:lnTo>
                  <a:pt x="2316" y="668"/>
                </a:lnTo>
                <a:lnTo>
                  <a:pt x="2323" y="676"/>
                </a:lnTo>
                <a:lnTo>
                  <a:pt x="2330" y="687"/>
                </a:lnTo>
                <a:lnTo>
                  <a:pt x="2336" y="698"/>
                </a:lnTo>
                <a:lnTo>
                  <a:pt x="2342" y="710"/>
                </a:lnTo>
                <a:lnTo>
                  <a:pt x="2347" y="722"/>
                </a:lnTo>
                <a:lnTo>
                  <a:pt x="2351" y="736"/>
                </a:lnTo>
                <a:lnTo>
                  <a:pt x="2355" y="750"/>
                </a:lnTo>
                <a:lnTo>
                  <a:pt x="2358" y="764"/>
                </a:lnTo>
                <a:lnTo>
                  <a:pt x="2360" y="778"/>
                </a:lnTo>
                <a:lnTo>
                  <a:pt x="2362" y="792"/>
                </a:lnTo>
                <a:lnTo>
                  <a:pt x="2363" y="805"/>
                </a:lnTo>
                <a:lnTo>
                  <a:pt x="2364" y="818"/>
                </a:lnTo>
                <a:lnTo>
                  <a:pt x="2364" y="831"/>
                </a:lnTo>
                <a:lnTo>
                  <a:pt x="2363" y="842"/>
                </a:lnTo>
                <a:lnTo>
                  <a:pt x="2361" y="852"/>
                </a:lnTo>
                <a:lnTo>
                  <a:pt x="2359" y="861"/>
                </a:lnTo>
                <a:lnTo>
                  <a:pt x="2359" y="861"/>
                </a:lnTo>
                <a:lnTo>
                  <a:pt x="2330" y="843"/>
                </a:lnTo>
                <a:lnTo>
                  <a:pt x="2330" y="843"/>
                </a:lnTo>
                <a:lnTo>
                  <a:pt x="2309" y="832"/>
                </a:lnTo>
                <a:lnTo>
                  <a:pt x="2281" y="822"/>
                </a:lnTo>
                <a:lnTo>
                  <a:pt x="2266" y="815"/>
                </a:lnTo>
                <a:lnTo>
                  <a:pt x="2251" y="811"/>
                </a:lnTo>
                <a:lnTo>
                  <a:pt x="2233" y="807"/>
                </a:lnTo>
                <a:lnTo>
                  <a:pt x="2215" y="803"/>
                </a:lnTo>
                <a:lnTo>
                  <a:pt x="2195" y="801"/>
                </a:lnTo>
                <a:lnTo>
                  <a:pt x="2175" y="800"/>
                </a:lnTo>
                <a:lnTo>
                  <a:pt x="2154" y="800"/>
                </a:lnTo>
                <a:lnTo>
                  <a:pt x="2132" y="802"/>
                </a:lnTo>
                <a:lnTo>
                  <a:pt x="2109" y="805"/>
                </a:lnTo>
                <a:lnTo>
                  <a:pt x="2086" y="810"/>
                </a:lnTo>
                <a:lnTo>
                  <a:pt x="2062" y="818"/>
                </a:lnTo>
                <a:lnTo>
                  <a:pt x="2037" y="829"/>
                </a:lnTo>
                <a:lnTo>
                  <a:pt x="2037" y="829"/>
                </a:lnTo>
                <a:lnTo>
                  <a:pt x="1995" y="847"/>
                </a:lnTo>
                <a:lnTo>
                  <a:pt x="1967" y="859"/>
                </a:lnTo>
                <a:lnTo>
                  <a:pt x="1936" y="872"/>
                </a:lnTo>
                <a:lnTo>
                  <a:pt x="1900" y="886"/>
                </a:lnTo>
                <a:lnTo>
                  <a:pt x="1860" y="900"/>
                </a:lnTo>
                <a:lnTo>
                  <a:pt x="1814" y="916"/>
                </a:lnTo>
                <a:lnTo>
                  <a:pt x="1764" y="931"/>
                </a:lnTo>
                <a:lnTo>
                  <a:pt x="1764" y="931"/>
                </a:lnTo>
                <a:lnTo>
                  <a:pt x="1737" y="938"/>
                </a:lnTo>
                <a:lnTo>
                  <a:pt x="1725" y="940"/>
                </a:lnTo>
                <a:lnTo>
                  <a:pt x="1713" y="941"/>
                </a:lnTo>
                <a:lnTo>
                  <a:pt x="1701" y="941"/>
                </a:lnTo>
                <a:lnTo>
                  <a:pt x="1691" y="941"/>
                </a:lnTo>
                <a:lnTo>
                  <a:pt x="1681" y="940"/>
                </a:lnTo>
                <a:lnTo>
                  <a:pt x="1672" y="938"/>
                </a:lnTo>
                <a:lnTo>
                  <a:pt x="1664" y="935"/>
                </a:lnTo>
                <a:lnTo>
                  <a:pt x="1655" y="930"/>
                </a:lnTo>
                <a:lnTo>
                  <a:pt x="1649" y="925"/>
                </a:lnTo>
                <a:lnTo>
                  <a:pt x="1642" y="919"/>
                </a:lnTo>
                <a:lnTo>
                  <a:pt x="1637" y="912"/>
                </a:lnTo>
                <a:lnTo>
                  <a:pt x="1633" y="902"/>
                </a:lnTo>
                <a:lnTo>
                  <a:pt x="1629" y="892"/>
                </a:lnTo>
                <a:lnTo>
                  <a:pt x="1626" y="881"/>
                </a:lnTo>
                <a:lnTo>
                  <a:pt x="1626" y="881"/>
                </a:lnTo>
                <a:lnTo>
                  <a:pt x="1624" y="871"/>
                </a:lnTo>
                <a:lnTo>
                  <a:pt x="1623" y="860"/>
                </a:lnTo>
                <a:lnTo>
                  <a:pt x="1623" y="851"/>
                </a:lnTo>
                <a:lnTo>
                  <a:pt x="1623" y="842"/>
                </a:lnTo>
                <a:lnTo>
                  <a:pt x="1625" y="826"/>
                </a:lnTo>
                <a:lnTo>
                  <a:pt x="1629" y="811"/>
                </a:lnTo>
                <a:lnTo>
                  <a:pt x="1633" y="800"/>
                </a:lnTo>
                <a:lnTo>
                  <a:pt x="1636" y="792"/>
                </a:lnTo>
                <a:lnTo>
                  <a:pt x="1640" y="784"/>
                </a:lnTo>
                <a:lnTo>
                  <a:pt x="1640" y="784"/>
                </a:lnTo>
                <a:lnTo>
                  <a:pt x="1636" y="785"/>
                </a:lnTo>
                <a:lnTo>
                  <a:pt x="1626" y="788"/>
                </a:lnTo>
                <a:lnTo>
                  <a:pt x="1610" y="794"/>
                </a:lnTo>
                <a:lnTo>
                  <a:pt x="1601" y="797"/>
                </a:lnTo>
                <a:lnTo>
                  <a:pt x="1592" y="802"/>
                </a:lnTo>
                <a:lnTo>
                  <a:pt x="1582" y="808"/>
                </a:lnTo>
                <a:lnTo>
                  <a:pt x="1573" y="814"/>
                </a:lnTo>
                <a:lnTo>
                  <a:pt x="1563" y="823"/>
                </a:lnTo>
                <a:lnTo>
                  <a:pt x="1554" y="832"/>
                </a:lnTo>
                <a:lnTo>
                  <a:pt x="1546" y="842"/>
                </a:lnTo>
                <a:lnTo>
                  <a:pt x="1539" y="853"/>
                </a:lnTo>
                <a:lnTo>
                  <a:pt x="1533" y="867"/>
                </a:lnTo>
                <a:lnTo>
                  <a:pt x="1528" y="881"/>
                </a:lnTo>
                <a:lnTo>
                  <a:pt x="1528" y="881"/>
                </a:lnTo>
                <a:lnTo>
                  <a:pt x="1525" y="896"/>
                </a:lnTo>
                <a:lnTo>
                  <a:pt x="1523" y="912"/>
                </a:lnTo>
                <a:lnTo>
                  <a:pt x="1523" y="927"/>
                </a:lnTo>
                <a:lnTo>
                  <a:pt x="1523" y="941"/>
                </a:lnTo>
                <a:lnTo>
                  <a:pt x="1524" y="954"/>
                </a:lnTo>
                <a:lnTo>
                  <a:pt x="1527" y="969"/>
                </a:lnTo>
                <a:lnTo>
                  <a:pt x="1531" y="981"/>
                </a:lnTo>
                <a:lnTo>
                  <a:pt x="1536" y="993"/>
                </a:lnTo>
                <a:lnTo>
                  <a:pt x="1542" y="1006"/>
                </a:lnTo>
                <a:lnTo>
                  <a:pt x="1549" y="1016"/>
                </a:lnTo>
                <a:lnTo>
                  <a:pt x="1557" y="1026"/>
                </a:lnTo>
                <a:lnTo>
                  <a:pt x="1568" y="1034"/>
                </a:lnTo>
                <a:lnTo>
                  <a:pt x="1578" y="1042"/>
                </a:lnTo>
                <a:lnTo>
                  <a:pt x="1590" y="1049"/>
                </a:lnTo>
                <a:lnTo>
                  <a:pt x="1602" y="1055"/>
                </a:lnTo>
                <a:lnTo>
                  <a:pt x="1617" y="1059"/>
                </a:lnTo>
                <a:lnTo>
                  <a:pt x="1617" y="1059"/>
                </a:lnTo>
                <a:lnTo>
                  <a:pt x="1630" y="1062"/>
                </a:lnTo>
                <a:lnTo>
                  <a:pt x="1644" y="1063"/>
                </a:lnTo>
                <a:lnTo>
                  <a:pt x="1660" y="1062"/>
                </a:lnTo>
                <a:lnTo>
                  <a:pt x="1676" y="1060"/>
                </a:lnTo>
                <a:lnTo>
                  <a:pt x="1692" y="1058"/>
                </a:lnTo>
                <a:lnTo>
                  <a:pt x="1710" y="1054"/>
                </a:lnTo>
                <a:lnTo>
                  <a:pt x="1727" y="1049"/>
                </a:lnTo>
                <a:lnTo>
                  <a:pt x="1744" y="1043"/>
                </a:lnTo>
                <a:lnTo>
                  <a:pt x="1779" y="1029"/>
                </a:lnTo>
                <a:lnTo>
                  <a:pt x="1815" y="1014"/>
                </a:lnTo>
                <a:lnTo>
                  <a:pt x="1849" y="997"/>
                </a:lnTo>
                <a:lnTo>
                  <a:pt x="1880" y="981"/>
                </a:lnTo>
                <a:lnTo>
                  <a:pt x="1880" y="981"/>
                </a:lnTo>
                <a:lnTo>
                  <a:pt x="1942" y="949"/>
                </a:lnTo>
                <a:lnTo>
                  <a:pt x="1979" y="931"/>
                </a:lnTo>
                <a:lnTo>
                  <a:pt x="2013" y="915"/>
                </a:lnTo>
                <a:lnTo>
                  <a:pt x="2013" y="915"/>
                </a:lnTo>
                <a:lnTo>
                  <a:pt x="2041" y="903"/>
                </a:lnTo>
                <a:lnTo>
                  <a:pt x="2054" y="899"/>
                </a:lnTo>
                <a:lnTo>
                  <a:pt x="2068" y="895"/>
                </a:lnTo>
                <a:lnTo>
                  <a:pt x="2081" y="892"/>
                </a:lnTo>
                <a:lnTo>
                  <a:pt x="2093" y="890"/>
                </a:lnTo>
                <a:lnTo>
                  <a:pt x="2105" y="888"/>
                </a:lnTo>
                <a:lnTo>
                  <a:pt x="2119" y="888"/>
                </a:lnTo>
                <a:lnTo>
                  <a:pt x="2131" y="888"/>
                </a:lnTo>
                <a:lnTo>
                  <a:pt x="2143" y="889"/>
                </a:lnTo>
                <a:lnTo>
                  <a:pt x="2156" y="891"/>
                </a:lnTo>
                <a:lnTo>
                  <a:pt x="2170" y="893"/>
                </a:lnTo>
                <a:lnTo>
                  <a:pt x="2183" y="897"/>
                </a:lnTo>
                <a:lnTo>
                  <a:pt x="2196" y="901"/>
                </a:lnTo>
                <a:lnTo>
                  <a:pt x="2211" y="907"/>
                </a:lnTo>
                <a:lnTo>
                  <a:pt x="2226" y="914"/>
                </a:lnTo>
                <a:lnTo>
                  <a:pt x="2226" y="914"/>
                </a:lnTo>
                <a:lnTo>
                  <a:pt x="2246" y="924"/>
                </a:lnTo>
                <a:lnTo>
                  <a:pt x="2265" y="934"/>
                </a:lnTo>
                <a:lnTo>
                  <a:pt x="2281" y="945"/>
                </a:lnTo>
                <a:lnTo>
                  <a:pt x="2295" y="954"/>
                </a:lnTo>
                <a:lnTo>
                  <a:pt x="2305" y="964"/>
                </a:lnTo>
                <a:lnTo>
                  <a:pt x="2312" y="971"/>
                </a:lnTo>
                <a:lnTo>
                  <a:pt x="2319" y="977"/>
                </a:lnTo>
                <a:lnTo>
                  <a:pt x="2319" y="977"/>
                </a:lnTo>
                <a:lnTo>
                  <a:pt x="2317" y="980"/>
                </a:lnTo>
                <a:lnTo>
                  <a:pt x="2313" y="987"/>
                </a:lnTo>
                <a:lnTo>
                  <a:pt x="2305" y="998"/>
                </a:lnTo>
                <a:lnTo>
                  <a:pt x="2300" y="1005"/>
                </a:lnTo>
                <a:lnTo>
                  <a:pt x="2293" y="1012"/>
                </a:lnTo>
                <a:lnTo>
                  <a:pt x="2285" y="1018"/>
                </a:lnTo>
                <a:lnTo>
                  <a:pt x="2276" y="1025"/>
                </a:lnTo>
                <a:lnTo>
                  <a:pt x="2267" y="1031"/>
                </a:lnTo>
                <a:lnTo>
                  <a:pt x="2255" y="1036"/>
                </a:lnTo>
                <a:lnTo>
                  <a:pt x="2242" y="1041"/>
                </a:lnTo>
                <a:lnTo>
                  <a:pt x="2228" y="1045"/>
                </a:lnTo>
                <a:lnTo>
                  <a:pt x="2212" y="1049"/>
                </a:lnTo>
                <a:lnTo>
                  <a:pt x="2194" y="1050"/>
                </a:lnTo>
                <a:lnTo>
                  <a:pt x="2194" y="1050"/>
                </a:lnTo>
                <a:lnTo>
                  <a:pt x="2180" y="1051"/>
                </a:lnTo>
                <a:lnTo>
                  <a:pt x="2166" y="1050"/>
                </a:lnTo>
                <a:lnTo>
                  <a:pt x="2152" y="1048"/>
                </a:lnTo>
                <a:lnTo>
                  <a:pt x="2139" y="1044"/>
                </a:lnTo>
                <a:lnTo>
                  <a:pt x="2127" y="1041"/>
                </a:lnTo>
                <a:lnTo>
                  <a:pt x="2115" y="1037"/>
                </a:lnTo>
                <a:lnTo>
                  <a:pt x="2103" y="1033"/>
                </a:lnTo>
                <a:lnTo>
                  <a:pt x="2092" y="1027"/>
                </a:lnTo>
                <a:lnTo>
                  <a:pt x="2082" y="1022"/>
                </a:lnTo>
                <a:lnTo>
                  <a:pt x="2073" y="1016"/>
                </a:lnTo>
                <a:lnTo>
                  <a:pt x="2064" y="1010"/>
                </a:lnTo>
                <a:lnTo>
                  <a:pt x="2056" y="1003"/>
                </a:lnTo>
                <a:lnTo>
                  <a:pt x="2048" y="995"/>
                </a:lnTo>
                <a:lnTo>
                  <a:pt x="2042" y="988"/>
                </a:lnTo>
                <a:lnTo>
                  <a:pt x="2036" y="981"/>
                </a:lnTo>
                <a:lnTo>
                  <a:pt x="2031" y="974"/>
                </a:lnTo>
                <a:lnTo>
                  <a:pt x="2031" y="974"/>
                </a:lnTo>
                <a:lnTo>
                  <a:pt x="2022" y="996"/>
                </a:lnTo>
                <a:lnTo>
                  <a:pt x="2013" y="1014"/>
                </a:lnTo>
                <a:lnTo>
                  <a:pt x="2007" y="1027"/>
                </a:lnTo>
                <a:lnTo>
                  <a:pt x="2007" y="1027"/>
                </a:lnTo>
                <a:lnTo>
                  <a:pt x="2003" y="1035"/>
                </a:lnTo>
                <a:lnTo>
                  <a:pt x="2000" y="1042"/>
                </a:lnTo>
                <a:lnTo>
                  <a:pt x="1998" y="1051"/>
                </a:lnTo>
                <a:lnTo>
                  <a:pt x="1997" y="1057"/>
                </a:lnTo>
                <a:lnTo>
                  <a:pt x="1997" y="1064"/>
                </a:lnTo>
                <a:lnTo>
                  <a:pt x="1997" y="1070"/>
                </a:lnTo>
                <a:lnTo>
                  <a:pt x="1999" y="1082"/>
                </a:lnTo>
                <a:lnTo>
                  <a:pt x="2001" y="1094"/>
                </a:lnTo>
                <a:lnTo>
                  <a:pt x="2003" y="1104"/>
                </a:lnTo>
                <a:lnTo>
                  <a:pt x="2004" y="1115"/>
                </a:lnTo>
                <a:lnTo>
                  <a:pt x="2003" y="1121"/>
                </a:lnTo>
                <a:lnTo>
                  <a:pt x="2001" y="1126"/>
                </a:lnTo>
                <a:lnTo>
                  <a:pt x="2001" y="1126"/>
                </a:lnTo>
                <a:lnTo>
                  <a:pt x="1999" y="1132"/>
                </a:lnTo>
                <a:lnTo>
                  <a:pt x="1995" y="1138"/>
                </a:lnTo>
                <a:lnTo>
                  <a:pt x="1986" y="1151"/>
                </a:lnTo>
                <a:lnTo>
                  <a:pt x="1973" y="1163"/>
                </a:lnTo>
                <a:lnTo>
                  <a:pt x="1960" y="1175"/>
                </a:lnTo>
                <a:lnTo>
                  <a:pt x="1945" y="1187"/>
                </a:lnTo>
                <a:lnTo>
                  <a:pt x="1931" y="1198"/>
                </a:lnTo>
                <a:lnTo>
                  <a:pt x="1904" y="1216"/>
                </a:lnTo>
                <a:lnTo>
                  <a:pt x="1904" y="1216"/>
                </a:lnTo>
                <a:lnTo>
                  <a:pt x="1886" y="1227"/>
                </a:lnTo>
                <a:lnTo>
                  <a:pt x="1864" y="1239"/>
                </a:lnTo>
                <a:lnTo>
                  <a:pt x="1842" y="1249"/>
                </a:lnTo>
                <a:lnTo>
                  <a:pt x="1819" y="1257"/>
                </a:lnTo>
                <a:lnTo>
                  <a:pt x="1798" y="1264"/>
                </a:lnTo>
                <a:lnTo>
                  <a:pt x="1779" y="1270"/>
                </a:lnTo>
                <a:lnTo>
                  <a:pt x="1754" y="1278"/>
                </a:lnTo>
                <a:lnTo>
                  <a:pt x="1754" y="1278"/>
                </a:lnTo>
                <a:lnTo>
                  <a:pt x="1779" y="1336"/>
                </a:lnTo>
                <a:lnTo>
                  <a:pt x="1811" y="1404"/>
                </a:lnTo>
                <a:lnTo>
                  <a:pt x="1811" y="1404"/>
                </a:lnTo>
                <a:lnTo>
                  <a:pt x="1833" y="1449"/>
                </a:lnTo>
                <a:lnTo>
                  <a:pt x="1862" y="1504"/>
                </a:lnTo>
                <a:lnTo>
                  <a:pt x="1877" y="1531"/>
                </a:lnTo>
                <a:lnTo>
                  <a:pt x="1893" y="1557"/>
                </a:lnTo>
                <a:lnTo>
                  <a:pt x="1909" y="1578"/>
                </a:lnTo>
                <a:lnTo>
                  <a:pt x="1916" y="1588"/>
                </a:lnTo>
                <a:lnTo>
                  <a:pt x="1924" y="1597"/>
                </a:lnTo>
                <a:lnTo>
                  <a:pt x="1924" y="1597"/>
                </a:lnTo>
                <a:lnTo>
                  <a:pt x="1940" y="1592"/>
                </a:lnTo>
                <a:lnTo>
                  <a:pt x="1957" y="1587"/>
                </a:lnTo>
                <a:lnTo>
                  <a:pt x="1980" y="1581"/>
                </a:lnTo>
                <a:lnTo>
                  <a:pt x="2004" y="1573"/>
                </a:lnTo>
                <a:lnTo>
                  <a:pt x="2031" y="1563"/>
                </a:lnTo>
                <a:lnTo>
                  <a:pt x="2057" y="1551"/>
                </a:lnTo>
                <a:lnTo>
                  <a:pt x="2071" y="1544"/>
                </a:lnTo>
                <a:lnTo>
                  <a:pt x="2083" y="1537"/>
                </a:lnTo>
                <a:lnTo>
                  <a:pt x="2083" y="1537"/>
                </a:lnTo>
                <a:lnTo>
                  <a:pt x="2105" y="1524"/>
                </a:lnTo>
                <a:lnTo>
                  <a:pt x="2126" y="1510"/>
                </a:lnTo>
                <a:lnTo>
                  <a:pt x="2145" y="1495"/>
                </a:lnTo>
                <a:lnTo>
                  <a:pt x="2162" y="1480"/>
                </a:lnTo>
                <a:lnTo>
                  <a:pt x="2177" y="1466"/>
                </a:lnTo>
                <a:lnTo>
                  <a:pt x="2189" y="1451"/>
                </a:lnTo>
                <a:lnTo>
                  <a:pt x="2199" y="1437"/>
                </a:lnTo>
                <a:lnTo>
                  <a:pt x="2207" y="1424"/>
                </a:lnTo>
                <a:lnTo>
                  <a:pt x="2207" y="1424"/>
                </a:lnTo>
                <a:lnTo>
                  <a:pt x="2190" y="1460"/>
                </a:lnTo>
                <a:lnTo>
                  <a:pt x="2175" y="1493"/>
                </a:lnTo>
                <a:lnTo>
                  <a:pt x="2161" y="1523"/>
                </a:lnTo>
                <a:lnTo>
                  <a:pt x="2146" y="1551"/>
                </a:lnTo>
                <a:lnTo>
                  <a:pt x="2132" y="1576"/>
                </a:lnTo>
                <a:lnTo>
                  <a:pt x="2119" y="1599"/>
                </a:lnTo>
                <a:lnTo>
                  <a:pt x="2105" y="1619"/>
                </a:lnTo>
                <a:lnTo>
                  <a:pt x="2092" y="1637"/>
                </a:lnTo>
                <a:lnTo>
                  <a:pt x="2080" y="1655"/>
                </a:lnTo>
                <a:lnTo>
                  <a:pt x="2068" y="1669"/>
                </a:lnTo>
                <a:lnTo>
                  <a:pt x="2055" y="1682"/>
                </a:lnTo>
                <a:lnTo>
                  <a:pt x="2044" y="1694"/>
                </a:lnTo>
                <a:lnTo>
                  <a:pt x="2033" y="1705"/>
                </a:lnTo>
                <a:lnTo>
                  <a:pt x="2022" y="1714"/>
                </a:lnTo>
                <a:lnTo>
                  <a:pt x="2011" y="1721"/>
                </a:lnTo>
                <a:lnTo>
                  <a:pt x="2000" y="1729"/>
                </a:lnTo>
                <a:lnTo>
                  <a:pt x="2000" y="1729"/>
                </a:lnTo>
                <a:lnTo>
                  <a:pt x="1907" y="1790"/>
                </a:lnTo>
                <a:lnTo>
                  <a:pt x="1797" y="1862"/>
                </a:lnTo>
                <a:lnTo>
                  <a:pt x="1735" y="1901"/>
                </a:lnTo>
                <a:lnTo>
                  <a:pt x="1671" y="1940"/>
                </a:lnTo>
                <a:lnTo>
                  <a:pt x="1602" y="1980"/>
                </a:lnTo>
                <a:lnTo>
                  <a:pt x="1532" y="2020"/>
                </a:lnTo>
                <a:lnTo>
                  <a:pt x="1459" y="2058"/>
                </a:lnTo>
                <a:lnTo>
                  <a:pt x="1422" y="2077"/>
                </a:lnTo>
                <a:lnTo>
                  <a:pt x="1384" y="2094"/>
                </a:lnTo>
                <a:lnTo>
                  <a:pt x="1347" y="2112"/>
                </a:lnTo>
                <a:lnTo>
                  <a:pt x="1308" y="2129"/>
                </a:lnTo>
                <a:lnTo>
                  <a:pt x="1269" y="2146"/>
                </a:lnTo>
                <a:lnTo>
                  <a:pt x="1230" y="2161"/>
                </a:lnTo>
                <a:lnTo>
                  <a:pt x="1190" y="2175"/>
                </a:lnTo>
                <a:lnTo>
                  <a:pt x="1151" y="2189"/>
                </a:lnTo>
                <a:lnTo>
                  <a:pt x="1111" y="2202"/>
                </a:lnTo>
                <a:lnTo>
                  <a:pt x="1072" y="2213"/>
                </a:lnTo>
                <a:lnTo>
                  <a:pt x="1032" y="2223"/>
                </a:lnTo>
                <a:lnTo>
                  <a:pt x="992" y="2231"/>
                </a:lnTo>
                <a:lnTo>
                  <a:pt x="952" y="2240"/>
                </a:lnTo>
                <a:lnTo>
                  <a:pt x="913" y="2246"/>
                </a:lnTo>
                <a:lnTo>
                  <a:pt x="913" y="2246"/>
                </a:lnTo>
                <a:lnTo>
                  <a:pt x="901" y="2246"/>
                </a:lnTo>
                <a:lnTo>
                  <a:pt x="889" y="2245"/>
                </a:lnTo>
                <a:lnTo>
                  <a:pt x="876" y="2242"/>
                </a:lnTo>
                <a:lnTo>
                  <a:pt x="863" y="2239"/>
                </a:lnTo>
                <a:lnTo>
                  <a:pt x="850" y="2236"/>
                </a:lnTo>
                <a:lnTo>
                  <a:pt x="836" y="2230"/>
                </a:lnTo>
                <a:lnTo>
                  <a:pt x="809" y="2218"/>
                </a:lnTo>
                <a:lnTo>
                  <a:pt x="781" y="2204"/>
                </a:lnTo>
                <a:lnTo>
                  <a:pt x="754" y="2188"/>
                </a:lnTo>
                <a:lnTo>
                  <a:pt x="726" y="2170"/>
                </a:lnTo>
                <a:lnTo>
                  <a:pt x="698" y="2151"/>
                </a:lnTo>
                <a:lnTo>
                  <a:pt x="672" y="2130"/>
                </a:lnTo>
                <a:lnTo>
                  <a:pt x="646" y="2110"/>
                </a:lnTo>
                <a:lnTo>
                  <a:pt x="623" y="2089"/>
                </a:lnTo>
                <a:lnTo>
                  <a:pt x="600" y="2069"/>
                </a:lnTo>
                <a:lnTo>
                  <a:pt x="581" y="2049"/>
                </a:lnTo>
                <a:lnTo>
                  <a:pt x="563" y="2032"/>
                </a:lnTo>
                <a:lnTo>
                  <a:pt x="548" y="2017"/>
                </a:lnTo>
                <a:lnTo>
                  <a:pt x="537" y="2003"/>
                </a:lnTo>
                <a:lnTo>
                  <a:pt x="537" y="2003"/>
                </a:lnTo>
                <a:lnTo>
                  <a:pt x="533" y="1999"/>
                </a:lnTo>
                <a:lnTo>
                  <a:pt x="530" y="1995"/>
                </a:lnTo>
                <a:lnTo>
                  <a:pt x="520" y="1990"/>
                </a:lnTo>
                <a:lnTo>
                  <a:pt x="512" y="1988"/>
                </a:lnTo>
                <a:lnTo>
                  <a:pt x="502" y="1987"/>
                </a:lnTo>
                <a:lnTo>
                  <a:pt x="493" y="1987"/>
                </a:lnTo>
                <a:lnTo>
                  <a:pt x="483" y="1989"/>
                </a:lnTo>
                <a:lnTo>
                  <a:pt x="473" y="1992"/>
                </a:lnTo>
                <a:lnTo>
                  <a:pt x="464" y="1996"/>
                </a:lnTo>
                <a:lnTo>
                  <a:pt x="447" y="2004"/>
                </a:lnTo>
                <a:lnTo>
                  <a:pt x="433" y="2014"/>
                </a:lnTo>
                <a:lnTo>
                  <a:pt x="419" y="2024"/>
                </a:lnTo>
                <a:lnTo>
                  <a:pt x="419" y="2024"/>
                </a:lnTo>
                <a:lnTo>
                  <a:pt x="412" y="2023"/>
                </a:lnTo>
                <a:lnTo>
                  <a:pt x="393" y="2021"/>
                </a:lnTo>
                <a:lnTo>
                  <a:pt x="379" y="2021"/>
                </a:lnTo>
                <a:lnTo>
                  <a:pt x="364" y="2021"/>
                </a:lnTo>
                <a:lnTo>
                  <a:pt x="348" y="2022"/>
                </a:lnTo>
                <a:lnTo>
                  <a:pt x="329" y="2024"/>
                </a:lnTo>
                <a:lnTo>
                  <a:pt x="310" y="2027"/>
                </a:lnTo>
                <a:lnTo>
                  <a:pt x="290" y="2032"/>
                </a:lnTo>
                <a:lnTo>
                  <a:pt x="271" y="2038"/>
                </a:lnTo>
                <a:lnTo>
                  <a:pt x="252" y="2047"/>
                </a:lnTo>
                <a:lnTo>
                  <a:pt x="242" y="2053"/>
                </a:lnTo>
                <a:lnTo>
                  <a:pt x="233" y="2058"/>
                </a:lnTo>
                <a:lnTo>
                  <a:pt x="224" y="2064"/>
                </a:lnTo>
                <a:lnTo>
                  <a:pt x="216" y="2071"/>
                </a:lnTo>
                <a:lnTo>
                  <a:pt x="207" y="2079"/>
                </a:lnTo>
                <a:lnTo>
                  <a:pt x="199" y="2087"/>
                </a:lnTo>
                <a:lnTo>
                  <a:pt x="191" y="2097"/>
                </a:lnTo>
                <a:lnTo>
                  <a:pt x="184" y="2106"/>
                </a:lnTo>
                <a:lnTo>
                  <a:pt x="184" y="2106"/>
                </a:lnTo>
                <a:lnTo>
                  <a:pt x="183" y="2109"/>
                </a:lnTo>
                <a:lnTo>
                  <a:pt x="185" y="2111"/>
                </a:lnTo>
                <a:lnTo>
                  <a:pt x="188" y="2112"/>
                </a:lnTo>
                <a:lnTo>
                  <a:pt x="193" y="2112"/>
                </a:lnTo>
                <a:lnTo>
                  <a:pt x="210" y="2110"/>
                </a:lnTo>
                <a:lnTo>
                  <a:pt x="230" y="2108"/>
                </a:lnTo>
                <a:lnTo>
                  <a:pt x="255" y="2106"/>
                </a:lnTo>
                <a:lnTo>
                  <a:pt x="280" y="2105"/>
                </a:lnTo>
                <a:lnTo>
                  <a:pt x="293" y="2106"/>
                </a:lnTo>
                <a:lnTo>
                  <a:pt x="307" y="2107"/>
                </a:lnTo>
                <a:lnTo>
                  <a:pt x="319" y="2109"/>
                </a:lnTo>
                <a:lnTo>
                  <a:pt x="331" y="2112"/>
                </a:lnTo>
                <a:lnTo>
                  <a:pt x="331" y="2112"/>
                </a:lnTo>
                <a:lnTo>
                  <a:pt x="338" y="2115"/>
                </a:lnTo>
                <a:lnTo>
                  <a:pt x="343" y="2118"/>
                </a:lnTo>
                <a:lnTo>
                  <a:pt x="346" y="2121"/>
                </a:lnTo>
                <a:lnTo>
                  <a:pt x="347" y="2124"/>
                </a:lnTo>
                <a:lnTo>
                  <a:pt x="347" y="2127"/>
                </a:lnTo>
                <a:lnTo>
                  <a:pt x="345" y="2131"/>
                </a:lnTo>
                <a:lnTo>
                  <a:pt x="339" y="2139"/>
                </a:lnTo>
                <a:lnTo>
                  <a:pt x="332" y="2149"/>
                </a:lnTo>
                <a:lnTo>
                  <a:pt x="325" y="2160"/>
                </a:lnTo>
                <a:lnTo>
                  <a:pt x="321" y="2166"/>
                </a:lnTo>
                <a:lnTo>
                  <a:pt x="319" y="2172"/>
                </a:lnTo>
                <a:lnTo>
                  <a:pt x="317" y="2178"/>
                </a:lnTo>
                <a:lnTo>
                  <a:pt x="317" y="2185"/>
                </a:lnTo>
                <a:lnTo>
                  <a:pt x="317" y="2185"/>
                </a:lnTo>
                <a:lnTo>
                  <a:pt x="317" y="2191"/>
                </a:lnTo>
                <a:lnTo>
                  <a:pt x="319" y="2197"/>
                </a:lnTo>
                <a:lnTo>
                  <a:pt x="321" y="2202"/>
                </a:lnTo>
                <a:lnTo>
                  <a:pt x="324" y="2207"/>
                </a:lnTo>
                <a:lnTo>
                  <a:pt x="328" y="2212"/>
                </a:lnTo>
                <a:lnTo>
                  <a:pt x="333" y="2217"/>
                </a:lnTo>
                <a:lnTo>
                  <a:pt x="346" y="2227"/>
                </a:lnTo>
                <a:lnTo>
                  <a:pt x="361" y="2237"/>
                </a:lnTo>
                <a:lnTo>
                  <a:pt x="377" y="2246"/>
                </a:lnTo>
                <a:lnTo>
                  <a:pt x="397" y="2255"/>
                </a:lnTo>
                <a:lnTo>
                  <a:pt x="416" y="2263"/>
                </a:lnTo>
                <a:lnTo>
                  <a:pt x="458" y="2279"/>
                </a:lnTo>
                <a:lnTo>
                  <a:pt x="500" y="2293"/>
                </a:lnTo>
                <a:lnTo>
                  <a:pt x="571" y="2314"/>
                </a:lnTo>
                <a:lnTo>
                  <a:pt x="571" y="2314"/>
                </a:lnTo>
                <a:lnTo>
                  <a:pt x="579" y="2318"/>
                </a:lnTo>
                <a:lnTo>
                  <a:pt x="585" y="2322"/>
                </a:lnTo>
                <a:lnTo>
                  <a:pt x="588" y="2328"/>
                </a:lnTo>
                <a:lnTo>
                  <a:pt x="590" y="2333"/>
                </a:lnTo>
                <a:lnTo>
                  <a:pt x="590" y="2337"/>
                </a:lnTo>
                <a:lnTo>
                  <a:pt x="588" y="2341"/>
                </a:lnTo>
                <a:lnTo>
                  <a:pt x="585" y="2343"/>
                </a:lnTo>
                <a:lnTo>
                  <a:pt x="581" y="2344"/>
                </a:lnTo>
                <a:lnTo>
                  <a:pt x="581" y="2344"/>
                </a:lnTo>
                <a:lnTo>
                  <a:pt x="556" y="2343"/>
                </a:lnTo>
                <a:lnTo>
                  <a:pt x="532" y="2340"/>
                </a:lnTo>
                <a:lnTo>
                  <a:pt x="509" y="2337"/>
                </a:lnTo>
                <a:lnTo>
                  <a:pt x="488" y="2332"/>
                </a:lnTo>
                <a:lnTo>
                  <a:pt x="467" y="2327"/>
                </a:lnTo>
                <a:lnTo>
                  <a:pt x="448" y="2320"/>
                </a:lnTo>
                <a:lnTo>
                  <a:pt x="429" y="2314"/>
                </a:lnTo>
                <a:lnTo>
                  <a:pt x="412" y="2308"/>
                </a:lnTo>
                <a:lnTo>
                  <a:pt x="380" y="2295"/>
                </a:lnTo>
                <a:lnTo>
                  <a:pt x="352" y="2283"/>
                </a:lnTo>
                <a:lnTo>
                  <a:pt x="327" y="2271"/>
                </a:lnTo>
                <a:lnTo>
                  <a:pt x="316" y="2267"/>
                </a:lnTo>
                <a:lnTo>
                  <a:pt x="305" y="2263"/>
                </a:lnTo>
                <a:lnTo>
                  <a:pt x="305" y="2263"/>
                </a:lnTo>
                <a:lnTo>
                  <a:pt x="286" y="2258"/>
                </a:lnTo>
                <a:lnTo>
                  <a:pt x="268" y="2254"/>
                </a:lnTo>
                <a:lnTo>
                  <a:pt x="253" y="2251"/>
                </a:lnTo>
                <a:lnTo>
                  <a:pt x="237" y="2249"/>
                </a:lnTo>
                <a:lnTo>
                  <a:pt x="224" y="2248"/>
                </a:lnTo>
                <a:lnTo>
                  <a:pt x="213" y="2249"/>
                </a:lnTo>
                <a:lnTo>
                  <a:pt x="202" y="2250"/>
                </a:lnTo>
                <a:lnTo>
                  <a:pt x="192" y="2252"/>
                </a:lnTo>
                <a:lnTo>
                  <a:pt x="185" y="2256"/>
                </a:lnTo>
                <a:lnTo>
                  <a:pt x="178" y="2260"/>
                </a:lnTo>
                <a:lnTo>
                  <a:pt x="172" y="2265"/>
                </a:lnTo>
                <a:lnTo>
                  <a:pt x="167" y="2271"/>
                </a:lnTo>
                <a:lnTo>
                  <a:pt x="163" y="2277"/>
                </a:lnTo>
                <a:lnTo>
                  <a:pt x="160" y="2286"/>
                </a:lnTo>
                <a:lnTo>
                  <a:pt x="156" y="2294"/>
                </a:lnTo>
                <a:lnTo>
                  <a:pt x="155" y="2303"/>
                </a:lnTo>
                <a:lnTo>
                  <a:pt x="155" y="2303"/>
                </a:lnTo>
                <a:lnTo>
                  <a:pt x="154" y="2306"/>
                </a:lnTo>
                <a:lnTo>
                  <a:pt x="152" y="2309"/>
                </a:lnTo>
                <a:lnTo>
                  <a:pt x="150" y="2312"/>
                </a:lnTo>
                <a:lnTo>
                  <a:pt x="147" y="2314"/>
                </a:lnTo>
                <a:lnTo>
                  <a:pt x="140" y="2318"/>
                </a:lnTo>
                <a:lnTo>
                  <a:pt x="132" y="2323"/>
                </a:lnTo>
                <a:lnTo>
                  <a:pt x="109" y="2333"/>
                </a:lnTo>
                <a:lnTo>
                  <a:pt x="97" y="2339"/>
                </a:lnTo>
                <a:lnTo>
                  <a:pt x="84" y="2347"/>
                </a:lnTo>
                <a:lnTo>
                  <a:pt x="71" y="2357"/>
                </a:lnTo>
                <a:lnTo>
                  <a:pt x="57" y="2371"/>
                </a:lnTo>
                <a:lnTo>
                  <a:pt x="51" y="2378"/>
                </a:lnTo>
                <a:lnTo>
                  <a:pt x="45" y="2386"/>
                </a:lnTo>
                <a:lnTo>
                  <a:pt x="39" y="2396"/>
                </a:lnTo>
                <a:lnTo>
                  <a:pt x="33" y="2406"/>
                </a:lnTo>
                <a:lnTo>
                  <a:pt x="28" y="2418"/>
                </a:lnTo>
                <a:lnTo>
                  <a:pt x="22" y="2430"/>
                </a:lnTo>
                <a:lnTo>
                  <a:pt x="17" y="2444"/>
                </a:lnTo>
                <a:lnTo>
                  <a:pt x="13" y="2458"/>
                </a:lnTo>
                <a:lnTo>
                  <a:pt x="9" y="2475"/>
                </a:lnTo>
                <a:lnTo>
                  <a:pt x="6" y="2492"/>
                </a:lnTo>
                <a:lnTo>
                  <a:pt x="3" y="2512"/>
                </a:lnTo>
                <a:lnTo>
                  <a:pt x="0" y="2532"/>
                </a:lnTo>
                <a:lnTo>
                  <a:pt x="0" y="2532"/>
                </a:lnTo>
                <a:lnTo>
                  <a:pt x="1" y="2533"/>
                </a:lnTo>
                <a:lnTo>
                  <a:pt x="2" y="2534"/>
                </a:lnTo>
                <a:lnTo>
                  <a:pt x="6" y="2532"/>
                </a:lnTo>
                <a:lnTo>
                  <a:pt x="12" y="2527"/>
                </a:lnTo>
                <a:lnTo>
                  <a:pt x="20" y="2519"/>
                </a:lnTo>
                <a:lnTo>
                  <a:pt x="43" y="2496"/>
                </a:lnTo>
                <a:lnTo>
                  <a:pt x="69" y="2472"/>
                </a:lnTo>
                <a:lnTo>
                  <a:pt x="82" y="2459"/>
                </a:lnTo>
                <a:lnTo>
                  <a:pt x="95" y="2448"/>
                </a:lnTo>
                <a:lnTo>
                  <a:pt x="107" y="2439"/>
                </a:lnTo>
                <a:lnTo>
                  <a:pt x="119" y="2432"/>
                </a:lnTo>
                <a:lnTo>
                  <a:pt x="124" y="2429"/>
                </a:lnTo>
                <a:lnTo>
                  <a:pt x="129" y="2428"/>
                </a:lnTo>
                <a:lnTo>
                  <a:pt x="133" y="2427"/>
                </a:lnTo>
                <a:lnTo>
                  <a:pt x="137" y="2427"/>
                </a:lnTo>
                <a:lnTo>
                  <a:pt x="140" y="2429"/>
                </a:lnTo>
                <a:lnTo>
                  <a:pt x="143" y="2431"/>
                </a:lnTo>
                <a:lnTo>
                  <a:pt x="144" y="2435"/>
                </a:lnTo>
                <a:lnTo>
                  <a:pt x="146" y="2439"/>
                </a:lnTo>
                <a:lnTo>
                  <a:pt x="146" y="2439"/>
                </a:lnTo>
                <a:lnTo>
                  <a:pt x="149" y="2455"/>
                </a:lnTo>
                <a:lnTo>
                  <a:pt x="154" y="2470"/>
                </a:lnTo>
                <a:lnTo>
                  <a:pt x="162" y="2483"/>
                </a:lnTo>
                <a:lnTo>
                  <a:pt x="170" y="2493"/>
                </a:lnTo>
                <a:lnTo>
                  <a:pt x="179" y="2503"/>
                </a:lnTo>
                <a:lnTo>
                  <a:pt x="189" y="2511"/>
                </a:lnTo>
                <a:lnTo>
                  <a:pt x="200" y="2518"/>
                </a:lnTo>
                <a:lnTo>
                  <a:pt x="214" y="2523"/>
                </a:lnTo>
                <a:lnTo>
                  <a:pt x="227" y="2527"/>
                </a:lnTo>
                <a:lnTo>
                  <a:pt x="241" y="2529"/>
                </a:lnTo>
                <a:lnTo>
                  <a:pt x="256" y="2531"/>
                </a:lnTo>
                <a:lnTo>
                  <a:pt x="271" y="2532"/>
                </a:lnTo>
                <a:lnTo>
                  <a:pt x="287" y="2533"/>
                </a:lnTo>
                <a:lnTo>
                  <a:pt x="304" y="2532"/>
                </a:lnTo>
                <a:lnTo>
                  <a:pt x="337" y="2530"/>
                </a:lnTo>
                <a:lnTo>
                  <a:pt x="371" y="2526"/>
                </a:lnTo>
                <a:lnTo>
                  <a:pt x="405" y="2521"/>
                </a:lnTo>
                <a:lnTo>
                  <a:pt x="438" y="2516"/>
                </a:lnTo>
                <a:lnTo>
                  <a:pt x="468" y="2512"/>
                </a:lnTo>
                <a:lnTo>
                  <a:pt x="496" y="2510"/>
                </a:lnTo>
                <a:lnTo>
                  <a:pt x="509" y="2509"/>
                </a:lnTo>
                <a:lnTo>
                  <a:pt x="520" y="2509"/>
                </a:lnTo>
                <a:lnTo>
                  <a:pt x="531" y="2510"/>
                </a:lnTo>
                <a:lnTo>
                  <a:pt x="541" y="2512"/>
                </a:lnTo>
                <a:lnTo>
                  <a:pt x="549" y="2515"/>
                </a:lnTo>
                <a:lnTo>
                  <a:pt x="555" y="2519"/>
                </a:lnTo>
                <a:lnTo>
                  <a:pt x="555" y="2519"/>
                </a:lnTo>
                <a:lnTo>
                  <a:pt x="558" y="2522"/>
                </a:lnTo>
                <a:lnTo>
                  <a:pt x="559" y="2524"/>
                </a:lnTo>
                <a:lnTo>
                  <a:pt x="557" y="2527"/>
                </a:lnTo>
                <a:lnTo>
                  <a:pt x="554" y="2529"/>
                </a:lnTo>
                <a:lnTo>
                  <a:pt x="549" y="2532"/>
                </a:lnTo>
                <a:lnTo>
                  <a:pt x="542" y="2534"/>
                </a:lnTo>
                <a:lnTo>
                  <a:pt x="525" y="2538"/>
                </a:lnTo>
                <a:lnTo>
                  <a:pt x="475" y="2547"/>
                </a:lnTo>
                <a:lnTo>
                  <a:pt x="447" y="2553"/>
                </a:lnTo>
                <a:lnTo>
                  <a:pt x="417" y="2559"/>
                </a:lnTo>
                <a:lnTo>
                  <a:pt x="388" y="2566"/>
                </a:lnTo>
                <a:lnTo>
                  <a:pt x="359" y="2574"/>
                </a:lnTo>
                <a:lnTo>
                  <a:pt x="346" y="2578"/>
                </a:lnTo>
                <a:lnTo>
                  <a:pt x="333" y="2583"/>
                </a:lnTo>
                <a:lnTo>
                  <a:pt x="322" y="2588"/>
                </a:lnTo>
                <a:lnTo>
                  <a:pt x="312" y="2594"/>
                </a:lnTo>
                <a:lnTo>
                  <a:pt x="303" y="2601"/>
                </a:lnTo>
                <a:lnTo>
                  <a:pt x="294" y="2607"/>
                </a:lnTo>
                <a:lnTo>
                  <a:pt x="288" y="2614"/>
                </a:lnTo>
                <a:lnTo>
                  <a:pt x="284" y="2622"/>
                </a:lnTo>
                <a:lnTo>
                  <a:pt x="282" y="2630"/>
                </a:lnTo>
                <a:lnTo>
                  <a:pt x="281" y="2638"/>
                </a:lnTo>
                <a:lnTo>
                  <a:pt x="283" y="2649"/>
                </a:lnTo>
                <a:lnTo>
                  <a:pt x="287" y="2659"/>
                </a:lnTo>
                <a:lnTo>
                  <a:pt x="287" y="2659"/>
                </a:lnTo>
                <a:lnTo>
                  <a:pt x="287" y="2660"/>
                </a:lnTo>
                <a:lnTo>
                  <a:pt x="286" y="2663"/>
                </a:lnTo>
                <a:lnTo>
                  <a:pt x="283" y="2669"/>
                </a:lnTo>
                <a:lnTo>
                  <a:pt x="268" y="2686"/>
                </a:lnTo>
                <a:lnTo>
                  <a:pt x="258" y="2699"/>
                </a:lnTo>
                <a:lnTo>
                  <a:pt x="247" y="2712"/>
                </a:lnTo>
                <a:lnTo>
                  <a:pt x="237" y="2727"/>
                </a:lnTo>
                <a:lnTo>
                  <a:pt x="228" y="2744"/>
                </a:lnTo>
                <a:lnTo>
                  <a:pt x="220" y="2761"/>
                </a:lnTo>
                <a:lnTo>
                  <a:pt x="217" y="2770"/>
                </a:lnTo>
                <a:lnTo>
                  <a:pt x="214" y="2781"/>
                </a:lnTo>
                <a:lnTo>
                  <a:pt x="213" y="2790"/>
                </a:lnTo>
                <a:lnTo>
                  <a:pt x="212" y="2801"/>
                </a:lnTo>
                <a:lnTo>
                  <a:pt x="212" y="2811"/>
                </a:lnTo>
                <a:lnTo>
                  <a:pt x="213" y="2821"/>
                </a:lnTo>
                <a:lnTo>
                  <a:pt x="215" y="2833"/>
                </a:lnTo>
                <a:lnTo>
                  <a:pt x="219" y="2844"/>
                </a:lnTo>
                <a:lnTo>
                  <a:pt x="223" y="2856"/>
                </a:lnTo>
                <a:lnTo>
                  <a:pt x="229" y="2867"/>
                </a:lnTo>
                <a:lnTo>
                  <a:pt x="237" y="2880"/>
                </a:lnTo>
                <a:lnTo>
                  <a:pt x="246" y="2892"/>
                </a:lnTo>
                <a:lnTo>
                  <a:pt x="257" y="2904"/>
                </a:lnTo>
                <a:lnTo>
                  <a:pt x="270" y="2917"/>
                </a:lnTo>
                <a:lnTo>
                  <a:pt x="270" y="2917"/>
                </a:lnTo>
                <a:lnTo>
                  <a:pt x="270" y="2910"/>
                </a:lnTo>
                <a:lnTo>
                  <a:pt x="272" y="2893"/>
                </a:lnTo>
                <a:lnTo>
                  <a:pt x="277" y="2868"/>
                </a:lnTo>
                <a:lnTo>
                  <a:pt x="281" y="2855"/>
                </a:lnTo>
                <a:lnTo>
                  <a:pt x="285" y="2841"/>
                </a:lnTo>
                <a:lnTo>
                  <a:pt x="291" y="2828"/>
                </a:lnTo>
                <a:lnTo>
                  <a:pt x="298" y="2814"/>
                </a:lnTo>
                <a:lnTo>
                  <a:pt x="306" y="2801"/>
                </a:lnTo>
                <a:lnTo>
                  <a:pt x="315" y="2791"/>
                </a:lnTo>
                <a:lnTo>
                  <a:pt x="321" y="2786"/>
                </a:lnTo>
                <a:lnTo>
                  <a:pt x="326" y="2782"/>
                </a:lnTo>
                <a:lnTo>
                  <a:pt x="332" y="2777"/>
                </a:lnTo>
                <a:lnTo>
                  <a:pt x="339" y="2774"/>
                </a:lnTo>
                <a:lnTo>
                  <a:pt x="346" y="2772"/>
                </a:lnTo>
                <a:lnTo>
                  <a:pt x="354" y="2770"/>
                </a:lnTo>
                <a:lnTo>
                  <a:pt x="361" y="2770"/>
                </a:lnTo>
                <a:lnTo>
                  <a:pt x="369" y="2770"/>
                </a:lnTo>
                <a:lnTo>
                  <a:pt x="369" y="2770"/>
                </a:lnTo>
                <a:lnTo>
                  <a:pt x="383" y="2771"/>
                </a:lnTo>
                <a:lnTo>
                  <a:pt x="396" y="2774"/>
                </a:lnTo>
                <a:lnTo>
                  <a:pt x="408" y="2778"/>
                </a:lnTo>
                <a:lnTo>
                  <a:pt x="420" y="2783"/>
                </a:lnTo>
                <a:lnTo>
                  <a:pt x="443" y="2793"/>
                </a:lnTo>
                <a:lnTo>
                  <a:pt x="454" y="2797"/>
                </a:lnTo>
                <a:lnTo>
                  <a:pt x="465" y="2801"/>
                </a:lnTo>
                <a:lnTo>
                  <a:pt x="476" y="2804"/>
                </a:lnTo>
                <a:lnTo>
                  <a:pt x="489" y="2806"/>
                </a:lnTo>
                <a:lnTo>
                  <a:pt x="501" y="2807"/>
                </a:lnTo>
                <a:lnTo>
                  <a:pt x="514" y="2805"/>
                </a:lnTo>
                <a:lnTo>
                  <a:pt x="528" y="2802"/>
                </a:lnTo>
                <a:lnTo>
                  <a:pt x="542" y="2796"/>
                </a:lnTo>
                <a:lnTo>
                  <a:pt x="558" y="2788"/>
                </a:lnTo>
                <a:lnTo>
                  <a:pt x="575" y="2775"/>
                </a:lnTo>
                <a:lnTo>
                  <a:pt x="575" y="2775"/>
                </a:lnTo>
                <a:lnTo>
                  <a:pt x="588" y="2766"/>
                </a:lnTo>
                <a:lnTo>
                  <a:pt x="600" y="2755"/>
                </a:lnTo>
                <a:lnTo>
                  <a:pt x="614" y="2743"/>
                </a:lnTo>
                <a:lnTo>
                  <a:pt x="630" y="2730"/>
                </a:lnTo>
                <a:lnTo>
                  <a:pt x="651" y="2718"/>
                </a:lnTo>
                <a:lnTo>
                  <a:pt x="664" y="2711"/>
                </a:lnTo>
                <a:lnTo>
                  <a:pt x="678" y="2705"/>
                </a:lnTo>
                <a:lnTo>
                  <a:pt x="693" y="2698"/>
                </a:lnTo>
                <a:lnTo>
                  <a:pt x="712" y="2692"/>
                </a:lnTo>
                <a:lnTo>
                  <a:pt x="732" y="2684"/>
                </a:lnTo>
                <a:lnTo>
                  <a:pt x="754" y="2677"/>
                </a:lnTo>
                <a:lnTo>
                  <a:pt x="754" y="2677"/>
                </a:lnTo>
                <a:lnTo>
                  <a:pt x="756" y="2677"/>
                </a:lnTo>
                <a:lnTo>
                  <a:pt x="757" y="2678"/>
                </a:lnTo>
                <a:lnTo>
                  <a:pt x="760" y="2683"/>
                </a:lnTo>
                <a:lnTo>
                  <a:pt x="762" y="2692"/>
                </a:lnTo>
                <a:lnTo>
                  <a:pt x="765" y="2701"/>
                </a:lnTo>
                <a:lnTo>
                  <a:pt x="768" y="2713"/>
                </a:lnTo>
                <a:lnTo>
                  <a:pt x="772" y="2725"/>
                </a:lnTo>
                <a:lnTo>
                  <a:pt x="777" y="2738"/>
                </a:lnTo>
                <a:lnTo>
                  <a:pt x="783" y="2750"/>
                </a:lnTo>
                <a:lnTo>
                  <a:pt x="783" y="2750"/>
                </a:lnTo>
                <a:lnTo>
                  <a:pt x="786" y="2753"/>
                </a:lnTo>
                <a:lnTo>
                  <a:pt x="789" y="2755"/>
                </a:lnTo>
                <a:lnTo>
                  <a:pt x="797" y="2760"/>
                </a:lnTo>
                <a:lnTo>
                  <a:pt x="805" y="2763"/>
                </a:lnTo>
                <a:lnTo>
                  <a:pt x="813" y="2767"/>
                </a:lnTo>
                <a:lnTo>
                  <a:pt x="821" y="2770"/>
                </a:lnTo>
                <a:lnTo>
                  <a:pt x="827" y="2773"/>
                </a:lnTo>
                <a:lnTo>
                  <a:pt x="830" y="2775"/>
                </a:lnTo>
                <a:lnTo>
                  <a:pt x="831" y="2777"/>
                </a:lnTo>
                <a:lnTo>
                  <a:pt x="833" y="2781"/>
                </a:lnTo>
                <a:lnTo>
                  <a:pt x="833" y="2784"/>
                </a:lnTo>
                <a:lnTo>
                  <a:pt x="833" y="2784"/>
                </a:lnTo>
                <a:lnTo>
                  <a:pt x="832" y="2794"/>
                </a:lnTo>
                <a:lnTo>
                  <a:pt x="830" y="2805"/>
                </a:lnTo>
                <a:lnTo>
                  <a:pt x="826" y="2815"/>
                </a:lnTo>
                <a:lnTo>
                  <a:pt x="822" y="2824"/>
                </a:lnTo>
                <a:lnTo>
                  <a:pt x="817" y="2834"/>
                </a:lnTo>
                <a:lnTo>
                  <a:pt x="811" y="2843"/>
                </a:lnTo>
                <a:lnTo>
                  <a:pt x="798" y="2859"/>
                </a:lnTo>
                <a:lnTo>
                  <a:pt x="784" y="2873"/>
                </a:lnTo>
                <a:lnTo>
                  <a:pt x="773" y="2884"/>
                </a:lnTo>
                <a:lnTo>
                  <a:pt x="765" y="2890"/>
                </a:lnTo>
                <a:lnTo>
                  <a:pt x="763" y="2893"/>
                </a:lnTo>
                <a:lnTo>
                  <a:pt x="763" y="2893"/>
                </a:lnTo>
                <a:lnTo>
                  <a:pt x="767" y="2896"/>
                </a:lnTo>
                <a:lnTo>
                  <a:pt x="778" y="2899"/>
                </a:lnTo>
                <a:lnTo>
                  <a:pt x="785" y="2900"/>
                </a:lnTo>
                <a:lnTo>
                  <a:pt x="794" y="2901"/>
                </a:lnTo>
                <a:lnTo>
                  <a:pt x="804" y="2901"/>
                </a:lnTo>
                <a:lnTo>
                  <a:pt x="815" y="2899"/>
                </a:lnTo>
                <a:lnTo>
                  <a:pt x="826" y="2896"/>
                </a:lnTo>
                <a:lnTo>
                  <a:pt x="839" y="2891"/>
                </a:lnTo>
                <a:lnTo>
                  <a:pt x="852" y="2884"/>
                </a:lnTo>
                <a:lnTo>
                  <a:pt x="865" y="2874"/>
                </a:lnTo>
                <a:lnTo>
                  <a:pt x="879" y="2860"/>
                </a:lnTo>
                <a:lnTo>
                  <a:pt x="894" y="2844"/>
                </a:lnTo>
                <a:lnTo>
                  <a:pt x="907" y="2824"/>
                </a:lnTo>
                <a:lnTo>
                  <a:pt x="921" y="2801"/>
                </a:lnTo>
                <a:lnTo>
                  <a:pt x="921" y="2801"/>
                </a:lnTo>
                <a:lnTo>
                  <a:pt x="924" y="2797"/>
                </a:lnTo>
                <a:lnTo>
                  <a:pt x="927" y="2793"/>
                </a:lnTo>
                <a:lnTo>
                  <a:pt x="930" y="2791"/>
                </a:lnTo>
                <a:lnTo>
                  <a:pt x="935" y="2789"/>
                </a:lnTo>
                <a:lnTo>
                  <a:pt x="939" y="2788"/>
                </a:lnTo>
                <a:lnTo>
                  <a:pt x="943" y="2788"/>
                </a:lnTo>
                <a:lnTo>
                  <a:pt x="951" y="2788"/>
                </a:lnTo>
                <a:lnTo>
                  <a:pt x="970" y="2790"/>
                </a:lnTo>
                <a:lnTo>
                  <a:pt x="982" y="2790"/>
                </a:lnTo>
                <a:lnTo>
                  <a:pt x="987" y="2789"/>
                </a:lnTo>
                <a:lnTo>
                  <a:pt x="992" y="2788"/>
                </a:lnTo>
                <a:lnTo>
                  <a:pt x="992" y="2788"/>
                </a:lnTo>
                <a:lnTo>
                  <a:pt x="1010" y="2782"/>
                </a:lnTo>
                <a:lnTo>
                  <a:pt x="1017" y="2777"/>
                </a:lnTo>
                <a:lnTo>
                  <a:pt x="1024" y="2773"/>
                </a:lnTo>
                <a:lnTo>
                  <a:pt x="1029" y="2770"/>
                </a:lnTo>
                <a:lnTo>
                  <a:pt x="1033" y="2766"/>
                </a:lnTo>
                <a:lnTo>
                  <a:pt x="1036" y="2762"/>
                </a:lnTo>
                <a:lnTo>
                  <a:pt x="1039" y="2757"/>
                </a:lnTo>
                <a:lnTo>
                  <a:pt x="1041" y="2753"/>
                </a:lnTo>
                <a:lnTo>
                  <a:pt x="1042" y="2748"/>
                </a:lnTo>
                <a:lnTo>
                  <a:pt x="1043" y="2739"/>
                </a:lnTo>
                <a:lnTo>
                  <a:pt x="1042" y="2728"/>
                </a:lnTo>
                <a:lnTo>
                  <a:pt x="1040" y="2718"/>
                </a:lnTo>
                <a:lnTo>
                  <a:pt x="1035" y="2696"/>
                </a:lnTo>
                <a:lnTo>
                  <a:pt x="1034" y="2685"/>
                </a:lnTo>
                <a:lnTo>
                  <a:pt x="1033" y="2673"/>
                </a:lnTo>
                <a:lnTo>
                  <a:pt x="1034" y="2662"/>
                </a:lnTo>
                <a:lnTo>
                  <a:pt x="1036" y="2657"/>
                </a:lnTo>
                <a:lnTo>
                  <a:pt x="1038" y="2651"/>
                </a:lnTo>
                <a:lnTo>
                  <a:pt x="1040" y="2646"/>
                </a:lnTo>
                <a:lnTo>
                  <a:pt x="1044" y="2640"/>
                </a:lnTo>
                <a:lnTo>
                  <a:pt x="1048" y="2634"/>
                </a:lnTo>
                <a:lnTo>
                  <a:pt x="1054" y="2629"/>
                </a:lnTo>
                <a:lnTo>
                  <a:pt x="1054" y="2629"/>
                </a:lnTo>
                <a:lnTo>
                  <a:pt x="1069" y="2616"/>
                </a:lnTo>
                <a:lnTo>
                  <a:pt x="1084" y="2603"/>
                </a:lnTo>
                <a:lnTo>
                  <a:pt x="1099" y="2591"/>
                </a:lnTo>
                <a:lnTo>
                  <a:pt x="1115" y="2579"/>
                </a:lnTo>
                <a:lnTo>
                  <a:pt x="1146" y="2559"/>
                </a:lnTo>
                <a:lnTo>
                  <a:pt x="1178" y="2540"/>
                </a:lnTo>
                <a:lnTo>
                  <a:pt x="1210" y="2524"/>
                </a:lnTo>
                <a:lnTo>
                  <a:pt x="1241" y="2509"/>
                </a:lnTo>
                <a:lnTo>
                  <a:pt x="1273" y="2494"/>
                </a:lnTo>
                <a:lnTo>
                  <a:pt x="1304" y="2482"/>
                </a:lnTo>
                <a:lnTo>
                  <a:pt x="1304" y="2482"/>
                </a:lnTo>
                <a:lnTo>
                  <a:pt x="1303" y="2486"/>
                </a:lnTo>
                <a:lnTo>
                  <a:pt x="1299" y="2498"/>
                </a:lnTo>
                <a:lnTo>
                  <a:pt x="1294" y="2518"/>
                </a:lnTo>
                <a:lnTo>
                  <a:pt x="1291" y="2541"/>
                </a:lnTo>
                <a:lnTo>
                  <a:pt x="1290" y="2556"/>
                </a:lnTo>
                <a:lnTo>
                  <a:pt x="1290" y="2570"/>
                </a:lnTo>
                <a:lnTo>
                  <a:pt x="1291" y="2585"/>
                </a:lnTo>
                <a:lnTo>
                  <a:pt x="1292" y="2602"/>
                </a:lnTo>
                <a:lnTo>
                  <a:pt x="1296" y="2618"/>
                </a:lnTo>
                <a:lnTo>
                  <a:pt x="1301" y="2634"/>
                </a:lnTo>
                <a:lnTo>
                  <a:pt x="1306" y="2652"/>
                </a:lnTo>
                <a:lnTo>
                  <a:pt x="1314" y="2669"/>
                </a:lnTo>
                <a:lnTo>
                  <a:pt x="1640" y="2585"/>
                </a:lnTo>
                <a:lnTo>
                  <a:pt x="1640" y="2585"/>
                </a:lnTo>
                <a:lnTo>
                  <a:pt x="1634" y="2569"/>
                </a:lnTo>
                <a:lnTo>
                  <a:pt x="1631" y="2553"/>
                </a:lnTo>
                <a:lnTo>
                  <a:pt x="1629" y="2535"/>
                </a:lnTo>
                <a:lnTo>
                  <a:pt x="1629" y="2518"/>
                </a:lnTo>
                <a:lnTo>
                  <a:pt x="1631" y="2500"/>
                </a:lnTo>
                <a:lnTo>
                  <a:pt x="1634" y="2483"/>
                </a:lnTo>
                <a:lnTo>
                  <a:pt x="1638" y="2466"/>
                </a:lnTo>
                <a:lnTo>
                  <a:pt x="1644" y="2447"/>
                </a:lnTo>
                <a:lnTo>
                  <a:pt x="1651" y="2430"/>
                </a:lnTo>
                <a:lnTo>
                  <a:pt x="1660" y="2411"/>
                </a:lnTo>
                <a:lnTo>
                  <a:pt x="1669" y="2394"/>
                </a:lnTo>
                <a:lnTo>
                  <a:pt x="1679" y="2377"/>
                </a:lnTo>
                <a:lnTo>
                  <a:pt x="1689" y="2359"/>
                </a:lnTo>
                <a:lnTo>
                  <a:pt x="1701" y="2342"/>
                </a:lnTo>
                <a:lnTo>
                  <a:pt x="1725" y="2310"/>
                </a:lnTo>
                <a:lnTo>
                  <a:pt x="1725" y="2310"/>
                </a:lnTo>
                <a:lnTo>
                  <a:pt x="1726" y="2309"/>
                </a:lnTo>
                <a:lnTo>
                  <a:pt x="1727" y="2309"/>
                </a:lnTo>
                <a:lnTo>
                  <a:pt x="1728" y="2313"/>
                </a:lnTo>
                <a:lnTo>
                  <a:pt x="1725" y="2335"/>
                </a:lnTo>
                <a:lnTo>
                  <a:pt x="1721" y="2368"/>
                </a:lnTo>
                <a:lnTo>
                  <a:pt x="1715" y="2410"/>
                </a:lnTo>
                <a:lnTo>
                  <a:pt x="1713" y="2433"/>
                </a:lnTo>
                <a:lnTo>
                  <a:pt x="1711" y="2456"/>
                </a:lnTo>
                <a:lnTo>
                  <a:pt x="1711" y="2478"/>
                </a:lnTo>
                <a:lnTo>
                  <a:pt x="1711" y="2499"/>
                </a:lnTo>
                <a:lnTo>
                  <a:pt x="1713" y="2519"/>
                </a:lnTo>
                <a:lnTo>
                  <a:pt x="1716" y="2536"/>
                </a:lnTo>
                <a:lnTo>
                  <a:pt x="1719" y="2544"/>
                </a:lnTo>
                <a:lnTo>
                  <a:pt x="1722" y="2551"/>
                </a:lnTo>
                <a:lnTo>
                  <a:pt x="1726" y="2557"/>
                </a:lnTo>
                <a:lnTo>
                  <a:pt x="1730" y="2562"/>
                </a:lnTo>
                <a:lnTo>
                  <a:pt x="2050" y="2479"/>
                </a:lnTo>
                <a:lnTo>
                  <a:pt x="2050" y="2479"/>
                </a:lnTo>
                <a:lnTo>
                  <a:pt x="2046" y="2469"/>
                </a:lnTo>
                <a:lnTo>
                  <a:pt x="2043" y="2457"/>
                </a:lnTo>
                <a:lnTo>
                  <a:pt x="2041" y="2446"/>
                </a:lnTo>
                <a:lnTo>
                  <a:pt x="2039" y="2434"/>
                </a:lnTo>
                <a:lnTo>
                  <a:pt x="2038" y="2422"/>
                </a:lnTo>
                <a:lnTo>
                  <a:pt x="2038" y="2409"/>
                </a:lnTo>
                <a:lnTo>
                  <a:pt x="2039" y="2383"/>
                </a:lnTo>
                <a:lnTo>
                  <a:pt x="2043" y="2356"/>
                </a:lnTo>
                <a:lnTo>
                  <a:pt x="2048" y="2330"/>
                </a:lnTo>
                <a:lnTo>
                  <a:pt x="2055" y="2303"/>
                </a:lnTo>
                <a:lnTo>
                  <a:pt x="2064" y="2279"/>
                </a:lnTo>
                <a:lnTo>
                  <a:pt x="2064" y="2279"/>
                </a:lnTo>
                <a:lnTo>
                  <a:pt x="2072" y="2306"/>
                </a:lnTo>
                <a:lnTo>
                  <a:pt x="2079" y="2335"/>
                </a:lnTo>
                <a:lnTo>
                  <a:pt x="2088" y="2362"/>
                </a:lnTo>
                <a:lnTo>
                  <a:pt x="2098" y="2390"/>
                </a:lnTo>
                <a:lnTo>
                  <a:pt x="2108" y="2417"/>
                </a:lnTo>
                <a:lnTo>
                  <a:pt x="2121" y="2443"/>
                </a:lnTo>
                <a:lnTo>
                  <a:pt x="2135" y="2469"/>
                </a:lnTo>
                <a:lnTo>
                  <a:pt x="2149" y="2494"/>
                </a:lnTo>
                <a:lnTo>
                  <a:pt x="2166" y="2519"/>
                </a:lnTo>
                <a:lnTo>
                  <a:pt x="2183" y="2541"/>
                </a:lnTo>
                <a:lnTo>
                  <a:pt x="2201" y="2563"/>
                </a:lnTo>
                <a:lnTo>
                  <a:pt x="2222" y="2583"/>
                </a:lnTo>
                <a:lnTo>
                  <a:pt x="2244" y="2603"/>
                </a:lnTo>
                <a:lnTo>
                  <a:pt x="2268" y="2619"/>
                </a:lnTo>
                <a:lnTo>
                  <a:pt x="2280" y="2627"/>
                </a:lnTo>
                <a:lnTo>
                  <a:pt x="2292" y="2634"/>
                </a:lnTo>
                <a:lnTo>
                  <a:pt x="2306" y="2641"/>
                </a:lnTo>
                <a:lnTo>
                  <a:pt x="2320" y="2648"/>
                </a:lnTo>
                <a:lnTo>
                  <a:pt x="2320" y="2648"/>
                </a:lnTo>
                <a:lnTo>
                  <a:pt x="2365" y="2667"/>
                </a:lnTo>
                <a:lnTo>
                  <a:pt x="2410" y="2685"/>
                </a:lnTo>
                <a:lnTo>
                  <a:pt x="2454" y="2702"/>
                </a:lnTo>
                <a:lnTo>
                  <a:pt x="2499" y="2718"/>
                </a:lnTo>
                <a:lnTo>
                  <a:pt x="2544" y="2733"/>
                </a:lnTo>
                <a:lnTo>
                  <a:pt x="2589" y="2749"/>
                </a:lnTo>
                <a:lnTo>
                  <a:pt x="2683" y="2778"/>
                </a:lnTo>
                <a:lnTo>
                  <a:pt x="2782" y="2807"/>
                </a:lnTo>
                <a:lnTo>
                  <a:pt x="2889" y="2838"/>
                </a:lnTo>
                <a:lnTo>
                  <a:pt x="3005" y="2872"/>
                </a:lnTo>
                <a:lnTo>
                  <a:pt x="3133" y="2908"/>
                </a:lnTo>
                <a:lnTo>
                  <a:pt x="3133" y="2908"/>
                </a:lnTo>
                <a:lnTo>
                  <a:pt x="3205" y="2931"/>
                </a:lnTo>
                <a:lnTo>
                  <a:pt x="3273" y="2954"/>
                </a:lnTo>
                <a:lnTo>
                  <a:pt x="3305" y="2966"/>
                </a:lnTo>
                <a:lnTo>
                  <a:pt x="3333" y="2977"/>
                </a:lnTo>
                <a:lnTo>
                  <a:pt x="3358" y="2987"/>
                </a:lnTo>
                <a:lnTo>
                  <a:pt x="3377" y="2996"/>
                </a:lnTo>
                <a:lnTo>
                  <a:pt x="3377" y="2996"/>
                </a:lnTo>
                <a:lnTo>
                  <a:pt x="3383" y="2999"/>
                </a:lnTo>
                <a:lnTo>
                  <a:pt x="3389" y="3003"/>
                </a:lnTo>
                <a:lnTo>
                  <a:pt x="3393" y="3006"/>
                </a:lnTo>
                <a:lnTo>
                  <a:pt x="3397" y="3011"/>
                </a:lnTo>
                <a:lnTo>
                  <a:pt x="3399" y="3015"/>
                </a:lnTo>
                <a:lnTo>
                  <a:pt x="3401" y="3020"/>
                </a:lnTo>
                <a:lnTo>
                  <a:pt x="3402" y="3024"/>
                </a:lnTo>
                <a:lnTo>
                  <a:pt x="3402" y="3028"/>
                </a:lnTo>
                <a:lnTo>
                  <a:pt x="3401" y="3037"/>
                </a:lnTo>
                <a:lnTo>
                  <a:pt x="3397" y="3046"/>
                </a:lnTo>
                <a:lnTo>
                  <a:pt x="3392" y="3055"/>
                </a:lnTo>
                <a:lnTo>
                  <a:pt x="3386" y="3064"/>
                </a:lnTo>
                <a:lnTo>
                  <a:pt x="3378" y="3072"/>
                </a:lnTo>
                <a:lnTo>
                  <a:pt x="3371" y="3080"/>
                </a:lnTo>
                <a:lnTo>
                  <a:pt x="3357" y="3092"/>
                </a:lnTo>
                <a:lnTo>
                  <a:pt x="3346" y="3102"/>
                </a:lnTo>
                <a:lnTo>
                  <a:pt x="3341" y="3105"/>
                </a:lnTo>
                <a:lnTo>
                  <a:pt x="3341" y="3105"/>
                </a:lnTo>
                <a:lnTo>
                  <a:pt x="3355" y="3113"/>
                </a:lnTo>
                <a:lnTo>
                  <a:pt x="3371" y="3121"/>
                </a:lnTo>
                <a:lnTo>
                  <a:pt x="3411" y="3139"/>
                </a:lnTo>
                <a:lnTo>
                  <a:pt x="3435" y="3152"/>
                </a:lnTo>
                <a:lnTo>
                  <a:pt x="3461" y="3167"/>
                </a:lnTo>
                <a:lnTo>
                  <a:pt x="3492" y="3186"/>
                </a:lnTo>
                <a:lnTo>
                  <a:pt x="3527" y="3211"/>
                </a:lnTo>
                <a:lnTo>
                  <a:pt x="3527" y="3211"/>
                </a:lnTo>
                <a:lnTo>
                  <a:pt x="3545" y="3226"/>
                </a:lnTo>
                <a:lnTo>
                  <a:pt x="3563" y="3244"/>
                </a:lnTo>
                <a:lnTo>
                  <a:pt x="3580" y="3263"/>
                </a:lnTo>
                <a:lnTo>
                  <a:pt x="3595" y="3284"/>
                </a:lnTo>
                <a:lnTo>
                  <a:pt x="3608" y="3305"/>
                </a:lnTo>
                <a:lnTo>
                  <a:pt x="3622" y="3329"/>
                </a:lnTo>
                <a:lnTo>
                  <a:pt x="3634" y="3352"/>
                </a:lnTo>
                <a:lnTo>
                  <a:pt x="3645" y="3378"/>
                </a:lnTo>
                <a:lnTo>
                  <a:pt x="3655" y="3404"/>
                </a:lnTo>
                <a:lnTo>
                  <a:pt x="3665" y="3432"/>
                </a:lnTo>
                <a:lnTo>
                  <a:pt x="3674" y="3460"/>
                </a:lnTo>
                <a:lnTo>
                  <a:pt x="3682" y="3489"/>
                </a:lnTo>
                <a:lnTo>
                  <a:pt x="3698" y="3549"/>
                </a:lnTo>
                <a:lnTo>
                  <a:pt x="3714" y="3612"/>
                </a:lnTo>
                <a:lnTo>
                  <a:pt x="3714" y="3612"/>
                </a:lnTo>
                <a:lnTo>
                  <a:pt x="3725" y="3662"/>
                </a:lnTo>
                <a:lnTo>
                  <a:pt x="3734" y="3715"/>
                </a:lnTo>
                <a:lnTo>
                  <a:pt x="3742" y="3768"/>
                </a:lnTo>
                <a:lnTo>
                  <a:pt x="3744" y="3795"/>
                </a:lnTo>
                <a:lnTo>
                  <a:pt x="3746" y="3819"/>
                </a:lnTo>
                <a:lnTo>
                  <a:pt x="3748" y="3844"/>
                </a:lnTo>
                <a:lnTo>
                  <a:pt x="3749" y="3867"/>
                </a:lnTo>
                <a:lnTo>
                  <a:pt x="3748" y="3889"/>
                </a:lnTo>
                <a:lnTo>
                  <a:pt x="3745" y="3909"/>
                </a:lnTo>
                <a:lnTo>
                  <a:pt x="3742" y="3928"/>
                </a:lnTo>
                <a:lnTo>
                  <a:pt x="3737" y="3944"/>
                </a:lnTo>
                <a:lnTo>
                  <a:pt x="3731" y="3957"/>
                </a:lnTo>
                <a:lnTo>
                  <a:pt x="3728" y="3963"/>
                </a:lnTo>
                <a:lnTo>
                  <a:pt x="3724" y="3969"/>
                </a:lnTo>
                <a:lnTo>
                  <a:pt x="3724" y="3969"/>
                </a:lnTo>
                <a:lnTo>
                  <a:pt x="3715" y="3979"/>
                </a:lnTo>
                <a:lnTo>
                  <a:pt x="3705" y="3989"/>
                </a:lnTo>
                <a:lnTo>
                  <a:pt x="3691" y="3998"/>
                </a:lnTo>
                <a:lnTo>
                  <a:pt x="3683" y="4003"/>
                </a:lnTo>
                <a:lnTo>
                  <a:pt x="3673" y="4008"/>
                </a:lnTo>
                <a:lnTo>
                  <a:pt x="3663" y="4014"/>
                </a:lnTo>
                <a:lnTo>
                  <a:pt x="3650" y="4019"/>
                </a:lnTo>
                <a:lnTo>
                  <a:pt x="3621" y="4028"/>
                </a:lnTo>
                <a:lnTo>
                  <a:pt x="3582" y="4038"/>
                </a:lnTo>
                <a:lnTo>
                  <a:pt x="3535" y="4048"/>
                </a:lnTo>
                <a:lnTo>
                  <a:pt x="3560" y="4171"/>
                </a:lnTo>
                <a:lnTo>
                  <a:pt x="3560" y="4171"/>
                </a:lnTo>
                <a:lnTo>
                  <a:pt x="3579" y="4172"/>
                </a:lnTo>
                <a:lnTo>
                  <a:pt x="3597" y="4172"/>
                </a:lnTo>
                <a:lnTo>
                  <a:pt x="3615" y="4171"/>
                </a:lnTo>
                <a:lnTo>
                  <a:pt x="3631" y="4169"/>
                </a:lnTo>
                <a:lnTo>
                  <a:pt x="3646" y="4167"/>
                </a:lnTo>
                <a:lnTo>
                  <a:pt x="3662" y="4164"/>
                </a:lnTo>
                <a:lnTo>
                  <a:pt x="3688" y="4157"/>
                </a:lnTo>
                <a:lnTo>
                  <a:pt x="3711" y="4150"/>
                </a:lnTo>
                <a:lnTo>
                  <a:pt x="3728" y="4143"/>
                </a:lnTo>
                <a:lnTo>
                  <a:pt x="3742" y="4137"/>
                </a:lnTo>
                <a:lnTo>
                  <a:pt x="3742" y="4137"/>
                </a:lnTo>
                <a:lnTo>
                  <a:pt x="3736" y="4143"/>
                </a:lnTo>
                <a:lnTo>
                  <a:pt x="3730" y="4151"/>
                </a:lnTo>
                <a:lnTo>
                  <a:pt x="3722" y="4161"/>
                </a:lnTo>
                <a:lnTo>
                  <a:pt x="3722" y="4161"/>
                </a:lnTo>
                <a:lnTo>
                  <a:pt x="3711" y="4177"/>
                </a:lnTo>
                <a:lnTo>
                  <a:pt x="3700" y="4194"/>
                </a:lnTo>
                <a:lnTo>
                  <a:pt x="3692" y="4209"/>
                </a:lnTo>
                <a:lnTo>
                  <a:pt x="3685" y="4224"/>
                </a:lnTo>
                <a:lnTo>
                  <a:pt x="3680" y="4240"/>
                </a:lnTo>
                <a:lnTo>
                  <a:pt x="3675" y="4257"/>
                </a:lnTo>
                <a:lnTo>
                  <a:pt x="3672" y="4274"/>
                </a:lnTo>
                <a:lnTo>
                  <a:pt x="3669" y="4295"/>
                </a:lnTo>
                <a:lnTo>
                  <a:pt x="3799" y="4379"/>
                </a:lnTo>
                <a:lnTo>
                  <a:pt x="3799" y="4379"/>
                </a:lnTo>
                <a:lnTo>
                  <a:pt x="3812" y="4338"/>
                </a:lnTo>
                <a:lnTo>
                  <a:pt x="3826" y="4298"/>
                </a:lnTo>
                <a:lnTo>
                  <a:pt x="3841" y="4262"/>
                </a:lnTo>
                <a:lnTo>
                  <a:pt x="3855" y="4229"/>
                </a:lnTo>
                <a:lnTo>
                  <a:pt x="3870" y="4202"/>
                </a:lnTo>
                <a:lnTo>
                  <a:pt x="3877" y="4189"/>
                </a:lnTo>
                <a:lnTo>
                  <a:pt x="3885" y="4179"/>
                </a:lnTo>
                <a:lnTo>
                  <a:pt x="3892" y="4170"/>
                </a:lnTo>
                <a:lnTo>
                  <a:pt x="3899" y="4163"/>
                </a:lnTo>
                <a:lnTo>
                  <a:pt x="3906" y="4158"/>
                </a:lnTo>
                <a:lnTo>
                  <a:pt x="3913" y="4154"/>
                </a:lnTo>
                <a:lnTo>
                  <a:pt x="3913" y="4154"/>
                </a:lnTo>
                <a:lnTo>
                  <a:pt x="3919" y="4152"/>
                </a:lnTo>
                <a:lnTo>
                  <a:pt x="3926" y="4152"/>
                </a:lnTo>
                <a:lnTo>
                  <a:pt x="3935" y="4152"/>
                </a:lnTo>
                <a:lnTo>
                  <a:pt x="3944" y="4153"/>
                </a:lnTo>
                <a:lnTo>
                  <a:pt x="3954" y="4155"/>
                </a:lnTo>
                <a:lnTo>
                  <a:pt x="3965" y="4157"/>
                </a:lnTo>
                <a:lnTo>
                  <a:pt x="3990" y="4166"/>
                </a:lnTo>
                <a:lnTo>
                  <a:pt x="4017" y="4177"/>
                </a:lnTo>
                <a:lnTo>
                  <a:pt x="4047" y="4192"/>
                </a:lnTo>
                <a:lnTo>
                  <a:pt x="4078" y="4212"/>
                </a:lnTo>
                <a:lnTo>
                  <a:pt x="4110" y="4233"/>
                </a:lnTo>
                <a:lnTo>
                  <a:pt x="4127" y="4246"/>
                </a:lnTo>
                <a:lnTo>
                  <a:pt x="4143" y="4259"/>
                </a:lnTo>
                <a:lnTo>
                  <a:pt x="4160" y="4273"/>
                </a:lnTo>
                <a:lnTo>
                  <a:pt x="4176" y="4288"/>
                </a:lnTo>
                <a:lnTo>
                  <a:pt x="4192" y="4303"/>
                </a:lnTo>
                <a:lnTo>
                  <a:pt x="4208" y="4319"/>
                </a:lnTo>
                <a:lnTo>
                  <a:pt x="4224" y="4337"/>
                </a:lnTo>
                <a:lnTo>
                  <a:pt x="4239" y="4355"/>
                </a:lnTo>
                <a:lnTo>
                  <a:pt x="4254" y="4373"/>
                </a:lnTo>
                <a:lnTo>
                  <a:pt x="4268" y="4393"/>
                </a:lnTo>
                <a:lnTo>
                  <a:pt x="4282" y="4413"/>
                </a:lnTo>
                <a:lnTo>
                  <a:pt x="4296" y="4435"/>
                </a:lnTo>
                <a:lnTo>
                  <a:pt x="4308" y="4456"/>
                </a:lnTo>
                <a:lnTo>
                  <a:pt x="4320" y="4479"/>
                </a:lnTo>
                <a:lnTo>
                  <a:pt x="4331" y="4502"/>
                </a:lnTo>
                <a:lnTo>
                  <a:pt x="4342" y="4527"/>
                </a:lnTo>
                <a:lnTo>
                  <a:pt x="4342" y="4527"/>
                </a:lnTo>
                <a:lnTo>
                  <a:pt x="4347" y="4541"/>
                </a:lnTo>
                <a:lnTo>
                  <a:pt x="4352" y="4558"/>
                </a:lnTo>
                <a:lnTo>
                  <a:pt x="4356" y="4574"/>
                </a:lnTo>
                <a:lnTo>
                  <a:pt x="4360" y="4591"/>
                </a:lnTo>
                <a:lnTo>
                  <a:pt x="4363" y="4610"/>
                </a:lnTo>
                <a:lnTo>
                  <a:pt x="4366" y="4628"/>
                </a:lnTo>
                <a:lnTo>
                  <a:pt x="4370" y="4667"/>
                </a:lnTo>
                <a:lnTo>
                  <a:pt x="4372" y="4706"/>
                </a:lnTo>
                <a:lnTo>
                  <a:pt x="4371" y="4747"/>
                </a:lnTo>
                <a:lnTo>
                  <a:pt x="4370" y="4767"/>
                </a:lnTo>
                <a:lnTo>
                  <a:pt x="4369" y="4787"/>
                </a:lnTo>
                <a:lnTo>
                  <a:pt x="4366" y="4807"/>
                </a:lnTo>
                <a:lnTo>
                  <a:pt x="4363" y="4826"/>
                </a:lnTo>
                <a:lnTo>
                  <a:pt x="4360" y="4846"/>
                </a:lnTo>
                <a:lnTo>
                  <a:pt x="4356" y="4864"/>
                </a:lnTo>
                <a:lnTo>
                  <a:pt x="4351" y="4883"/>
                </a:lnTo>
                <a:lnTo>
                  <a:pt x="4345" y="4900"/>
                </a:lnTo>
                <a:lnTo>
                  <a:pt x="4339" y="4917"/>
                </a:lnTo>
                <a:lnTo>
                  <a:pt x="4332" y="4933"/>
                </a:lnTo>
                <a:lnTo>
                  <a:pt x="4324" y="4948"/>
                </a:lnTo>
                <a:lnTo>
                  <a:pt x="4316" y="4962"/>
                </a:lnTo>
                <a:lnTo>
                  <a:pt x="4307" y="4976"/>
                </a:lnTo>
                <a:lnTo>
                  <a:pt x="4298" y="4988"/>
                </a:lnTo>
                <a:lnTo>
                  <a:pt x="4287" y="4999"/>
                </a:lnTo>
                <a:lnTo>
                  <a:pt x="4276" y="5008"/>
                </a:lnTo>
                <a:lnTo>
                  <a:pt x="4264" y="5017"/>
                </a:lnTo>
                <a:lnTo>
                  <a:pt x="4252" y="5024"/>
                </a:lnTo>
                <a:lnTo>
                  <a:pt x="4238" y="5029"/>
                </a:lnTo>
                <a:lnTo>
                  <a:pt x="4224" y="5032"/>
                </a:lnTo>
                <a:lnTo>
                  <a:pt x="4224" y="5032"/>
                </a:lnTo>
                <a:lnTo>
                  <a:pt x="4216" y="5033"/>
                </a:lnTo>
                <a:lnTo>
                  <a:pt x="4208" y="5033"/>
                </a:lnTo>
                <a:lnTo>
                  <a:pt x="4198" y="5032"/>
                </a:lnTo>
                <a:lnTo>
                  <a:pt x="4188" y="5030"/>
                </a:lnTo>
                <a:lnTo>
                  <a:pt x="4168" y="5025"/>
                </a:lnTo>
                <a:lnTo>
                  <a:pt x="4145" y="5017"/>
                </a:lnTo>
                <a:lnTo>
                  <a:pt x="4123" y="5006"/>
                </a:lnTo>
                <a:lnTo>
                  <a:pt x="4099" y="4995"/>
                </a:lnTo>
                <a:lnTo>
                  <a:pt x="4051" y="4973"/>
                </a:lnTo>
                <a:lnTo>
                  <a:pt x="4028" y="4961"/>
                </a:lnTo>
                <a:lnTo>
                  <a:pt x="4005" y="4952"/>
                </a:lnTo>
                <a:lnTo>
                  <a:pt x="3984" y="4945"/>
                </a:lnTo>
                <a:lnTo>
                  <a:pt x="3964" y="4940"/>
                </a:lnTo>
                <a:lnTo>
                  <a:pt x="3955" y="4939"/>
                </a:lnTo>
                <a:lnTo>
                  <a:pt x="3947" y="4938"/>
                </a:lnTo>
                <a:lnTo>
                  <a:pt x="3939" y="4939"/>
                </a:lnTo>
                <a:lnTo>
                  <a:pt x="3932" y="4940"/>
                </a:lnTo>
                <a:lnTo>
                  <a:pt x="3924" y="4943"/>
                </a:lnTo>
                <a:lnTo>
                  <a:pt x="3919" y="4947"/>
                </a:lnTo>
                <a:lnTo>
                  <a:pt x="3914" y="4952"/>
                </a:lnTo>
                <a:lnTo>
                  <a:pt x="3909" y="4958"/>
                </a:lnTo>
                <a:lnTo>
                  <a:pt x="3909" y="4958"/>
                </a:lnTo>
                <a:lnTo>
                  <a:pt x="3905" y="4965"/>
                </a:lnTo>
                <a:lnTo>
                  <a:pt x="3900" y="4973"/>
                </a:lnTo>
                <a:lnTo>
                  <a:pt x="3893" y="4979"/>
                </a:lnTo>
                <a:lnTo>
                  <a:pt x="3886" y="4985"/>
                </a:lnTo>
                <a:lnTo>
                  <a:pt x="3869" y="4996"/>
                </a:lnTo>
                <a:lnTo>
                  <a:pt x="3851" y="5006"/>
                </a:lnTo>
                <a:lnTo>
                  <a:pt x="3810" y="5028"/>
                </a:lnTo>
                <a:lnTo>
                  <a:pt x="3789" y="5039"/>
                </a:lnTo>
                <a:lnTo>
                  <a:pt x="3770" y="5052"/>
                </a:lnTo>
                <a:lnTo>
                  <a:pt x="3761" y="5058"/>
                </a:lnTo>
                <a:lnTo>
                  <a:pt x="3752" y="5067"/>
                </a:lnTo>
                <a:lnTo>
                  <a:pt x="3743" y="5074"/>
                </a:lnTo>
                <a:lnTo>
                  <a:pt x="3735" y="5083"/>
                </a:lnTo>
                <a:lnTo>
                  <a:pt x="3728" y="5092"/>
                </a:lnTo>
                <a:lnTo>
                  <a:pt x="3722" y="5102"/>
                </a:lnTo>
                <a:lnTo>
                  <a:pt x="3717" y="5113"/>
                </a:lnTo>
                <a:lnTo>
                  <a:pt x="3713" y="5125"/>
                </a:lnTo>
                <a:lnTo>
                  <a:pt x="3710" y="5137"/>
                </a:lnTo>
                <a:lnTo>
                  <a:pt x="3708" y="5151"/>
                </a:lnTo>
                <a:lnTo>
                  <a:pt x="3707" y="5165"/>
                </a:lnTo>
                <a:lnTo>
                  <a:pt x="3707" y="5181"/>
                </a:lnTo>
                <a:lnTo>
                  <a:pt x="3709" y="5198"/>
                </a:lnTo>
                <a:lnTo>
                  <a:pt x="3713" y="5215"/>
                </a:lnTo>
                <a:lnTo>
                  <a:pt x="3718" y="5234"/>
                </a:lnTo>
                <a:lnTo>
                  <a:pt x="3724" y="5255"/>
                </a:lnTo>
                <a:lnTo>
                  <a:pt x="3724" y="5255"/>
                </a:lnTo>
                <a:lnTo>
                  <a:pt x="3741" y="5234"/>
                </a:lnTo>
                <a:lnTo>
                  <a:pt x="3759" y="5213"/>
                </a:lnTo>
                <a:lnTo>
                  <a:pt x="3776" y="5194"/>
                </a:lnTo>
                <a:lnTo>
                  <a:pt x="3794" y="5178"/>
                </a:lnTo>
                <a:lnTo>
                  <a:pt x="3802" y="5171"/>
                </a:lnTo>
                <a:lnTo>
                  <a:pt x="3811" y="5165"/>
                </a:lnTo>
                <a:lnTo>
                  <a:pt x="3819" y="5159"/>
                </a:lnTo>
                <a:lnTo>
                  <a:pt x="3827" y="5155"/>
                </a:lnTo>
                <a:lnTo>
                  <a:pt x="3835" y="5153"/>
                </a:lnTo>
                <a:lnTo>
                  <a:pt x="3843" y="5151"/>
                </a:lnTo>
                <a:lnTo>
                  <a:pt x="3850" y="5151"/>
                </a:lnTo>
                <a:lnTo>
                  <a:pt x="3857" y="5153"/>
                </a:lnTo>
                <a:lnTo>
                  <a:pt x="3857" y="5153"/>
                </a:lnTo>
                <a:lnTo>
                  <a:pt x="3861" y="5155"/>
                </a:lnTo>
                <a:lnTo>
                  <a:pt x="3864" y="5157"/>
                </a:lnTo>
                <a:lnTo>
                  <a:pt x="3870" y="5163"/>
                </a:lnTo>
                <a:lnTo>
                  <a:pt x="3875" y="5171"/>
                </a:lnTo>
                <a:lnTo>
                  <a:pt x="3879" y="5179"/>
                </a:lnTo>
                <a:lnTo>
                  <a:pt x="3888" y="5200"/>
                </a:lnTo>
                <a:lnTo>
                  <a:pt x="3894" y="5210"/>
                </a:lnTo>
                <a:lnTo>
                  <a:pt x="3901" y="5220"/>
                </a:lnTo>
                <a:lnTo>
                  <a:pt x="3901" y="5220"/>
                </a:lnTo>
                <a:lnTo>
                  <a:pt x="3904" y="5223"/>
                </a:lnTo>
                <a:lnTo>
                  <a:pt x="3908" y="5225"/>
                </a:lnTo>
                <a:lnTo>
                  <a:pt x="3913" y="5227"/>
                </a:lnTo>
                <a:lnTo>
                  <a:pt x="3919" y="5228"/>
                </a:lnTo>
                <a:lnTo>
                  <a:pt x="3934" y="5230"/>
                </a:lnTo>
                <a:lnTo>
                  <a:pt x="3950" y="5230"/>
                </a:lnTo>
                <a:lnTo>
                  <a:pt x="3968" y="5229"/>
                </a:lnTo>
                <a:lnTo>
                  <a:pt x="3989" y="5227"/>
                </a:lnTo>
                <a:lnTo>
                  <a:pt x="4032" y="5223"/>
                </a:lnTo>
                <a:lnTo>
                  <a:pt x="4074" y="5219"/>
                </a:lnTo>
                <a:lnTo>
                  <a:pt x="4093" y="5217"/>
                </a:lnTo>
                <a:lnTo>
                  <a:pt x="4110" y="5217"/>
                </a:lnTo>
                <a:lnTo>
                  <a:pt x="4126" y="5217"/>
                </a:lnTo>
                <a:lnTo>
                  <a:pt x="4137" y="5219"/>
                </a:lnTo>
                <a:lnTo>
                  <a:pt x="4142" y="5221"/>
                </a:lnTo>
                <a:lnTo>
                  <a:pt x="4146" y="5223"/>
                </a:lnTo>
                <a:lnTo>
                  <a:pt x="4148" y="5225"/>
                </a:lnTo>
                <a:lnTo>
                  <a:pt x="4150" y="5228"/>
                </a:lnTo>
                <a:lnTo>
                  <a:pt x="4150" y="5228"/>
                </a:lnTo>
                <a:lnTo>
                  <a:pt x="4151" y="5231"/>
                </a:lnTo>
                <a:lnTo>
                  <a:pt x="4150" y="5234"/>
                </a:lnTo>
                <a:lnTo>
                  <a:pt x="4149" y="5236"/>
                </a:lnTo>
                <a:lnTo>
                  <a:pt x="4148" y="5238"/>
                </a:lnTo>
                <a:lnTo>
                  <a:pt x="4143" y="5242"/>
                </a:lnTo>
                <a:lnTo>
                  <a:pt x="4136" y="5243"/>
                </a:lnTo>
                <a:lnTo>
                  <a:pt x="4118" y="5246"/>
                </a:lnTo>
                <a:lnTo>
                  <a:pt x="4100" y="5248"/>
                </a:lnTo>
                <a:lnTo>
                  <a:pt x="4100" y="5248"/>
                </a:lnTo>
                <a:lnTo>
                  <a:pt x="4021" y="5262"/>
                </a:lnTo>
                <a:lnTo>
                  <a:pt x="3981" y="5269"/>
                </a:lnTo>
                <a:lnTo>
                  <a:pt x="3943" y="5277"/>
                </a:lnTo>
                <a:lnTo>
                  <a:pt x="3925" y="5282"/>
                </a:lnTo>
                <a:lnTo>
                  <a:pt x="3909" y="5288"/>
                </a:lnTo>
                <a:lnTo>
                  <a:pt x="3894" y="5294"/>
                </a:lnTo>
                <a:lnTo>
                  <a:pt x="3881" y="5300"/>
                </a:lnTo>
                <a:lnTo>
                  <a:pt x="3869" y="5306"/>
                </a:lnTo>
                <a:lnTo>
                  <a:pt x="3860" y="5314"/>
                </a:lnTo>
                <a:lnTo>
                  <a:pt x="3853" y="5322"/>
                </a:lnTo>
                <a:lnTo>
                  <a:pt x="3850" y="5326"/>
                </a:lnTo>
                <a:lnTo>
                  <a:pt x="3848" y="5331"/>
                </a:lnTo>
                <a:lnTo>
                  <a:pt x="3848" y="5331"/>
                </a:lnTo>
                <a:lnTo>
                  <a:pt x="3846" y="5338"/>
                </a:lnTo>
                <a:lnTo>
                  <a:pt x="3846" y="5342"/>
                </a:lnTo>
                <a:lnTo>
                  <a:pt x="3847" y="5352"/>
                </a:lnTo>
                <a:lnTo>
                  <a:pt x="3847" y="5357"/>
                </a:lnTo>
                <a:lnTo>
                  <a:pt x="3846" y="5363"/>
                </a:lnTo>
                <a:lnTo>
                  <a:pt x="3845" y="5371"/>
                </a:lnTo>
                <a:lnTo>
                  <a:pt x="3842" y="5382"/>
                </a:lnTo>
                <a:lnTo>
                  <a:pt x="3842" y="5382"/>
                </a:lnTo>
                <a:lnTo>
                  <a:pt x="3837" y="5393"/>
                </a:lnTo>
                <a:lnTo>
                  <a:pt x="3831" y="5402"/>
                </a:lnTo>
                <a:lnTo>
                  <a:pt x="3823" y="5410"/>
                </a:lnTo>
                <a:lnTo>
                  <a:pt x="3815" y="5418"/>
                </a:lnTo>
                <a:lnTo>
                  <a:pt x="3796" y="5434"/>
                </a:lnTo>
                <a:lnTo>
                  <a:pt x="3786" y="5442"/>
                </a:lnTo>
                <a:lnTo>
                  <a:pt x="3776" y="5451"/>
                </a:lnTo>
                <a:lnTo>
                  <a:pt x="3767" y="5460"/>
                </a:lnTo>
                <a:lnTo>
                  <a:pt x="3758" y="5472"/>
                </a:lnTo>
                <a:lnTo>
                  <a:pt x="3750" y="5485"/>
                </a:lnTo>
                <a:lnTo>
                  <a:pt x="3742" y="5499"/>
                </a:lnTo>
                <a:lnTo>
                  <a:pt x="3736" y="5517"/>
                </a:lnTo>
                <a:lnTo>
                  <a:pt x="3732" y="5536"/>
                </a:lnTo>
                <a:lnTo>
                  <a:pt x="3730" y="5558"/>
                </a:lnTo>
                <a:lnTo>
                  <a:pt x="3730" y="5584"/>
                </a:lnTo>
                <a:lnTo>
                  <a:pt x="3730" y="5584"/>
                </a:lnTo>
                <a:lnTo>
                  <a:pt x="3732" y="5597"/>
                </a:lnTo>
                <a:lnTo>
                  <a:pt x="3735" y="5610"/>
                </a:lnTo>
                <a:lnTo>
                  <a:pt x="3739" y="5622"/>
                </a:lnTo>
                <a:lnTo>
                  <a:pt x="3744" y="5634"/>
                </a:lnTo>
                <a:lnTo>
                  <a:pt x="3751" y="5644"/>
                </a:lnTo>
                <a:lnTo>
                  <a:pt x="3757" y="5656"/>
                </a:lnTo>
                <a:lnTo>
                  <a:pt x="3763" y="5665"/>
                </a:lnTo>
                <a:lnTo>
                  <a:pt x="3770" y="5674"/>
                </a:lnTo>
                <a:lnTo>
                  <a:pt x="3784" y="5689"/>
                </a:lnTo>
                <a:lnTo>
                  <a:pt x="3797" y="5701"/>
                </a:lnTo>
                <a:lnTo>
                  <a:pt x="3807" y="5708"/>
                </a:lnTo>
                <a:lnTo>
                  <a:pt x="3810" y="5710"/>
                </a:lnTo>
                <a:lnTo>
                  <a:pt x="3813" y="5711"/>
                </a:lnTo>
                <a:lnTo>
                  <a:pt x="3813" y="5711"/>
                </a:lnTo>
                <a:lnTo>
                  <a:pt x="3814" y="5710"/>
                </a:lnTo>
                <a:lnTo>
                  <a:pt x="3815" y="5709"/>
                </a:lnTo>
                <a:lnTo>
                  <a:pt x="3816" y="5704"/>
                </a:lnTo>
                <a:lnTo>
                  <a:pt x="3818" y="5696"/>
                </a:lnTo>
                <a:lnTo>
                  <a:pt x="3818" y="5686"/>
                </a:lnTo>
                <a:lnTo>
                  <a:pt x="3820" y="5662"/>
                </a:lnTo>
                <a:lnTo>
                  <a:pt x="3823" y="5633"/>
                </a:lnTo>
                <a:lnTo>
                  <a:pt x="3825" y="5619"/>
                </a:lnTo>
                <a:lnTo>
                  <a:pt x="3828" y="5603"/>
                </a:lnTo>
                <a:lnTo>
                  <a:pt x="3831" y="5590"/>
                </a:lnTo>
                <a:lnTo>
                  <a:pt x="3836" y="5577"/>
                </a:lnTo>
                <a:lnTo>
                  <a:pt x="3843" y="5566"/>
                </a:lnTo>
                <a:lnTo>
                  <a:pt x="3847" y="5562"/>
                </a:lnTo>
                <a:lnTo>
                  <a:pt x="3851" y="5556"/>
                </a:lnTo>
                <a:lnTo>
                  <a:pt x="3855" y="5553"/>
                </a:lnTo>
                <a:lnTo>
                  <a:pt x="3860" y="5550"/>
                </a:lnTo>
                <a:lnTo>
                  <a:pt x="3865" y="5547"/>
                </a:lnTo>
                <a:lnTo>
                  <a:pt x="3871" y="5546"/>
                </a:lnTo>
                <a:lnTo>
                  <a:pt x="3871" y="5546"/>
                </a:lnTo>
                <a:lnTo>
                  <a:pt x="3877" y="5545"/>
                </a:lnTo>
                <a:lnTo>
                  <a:pt x="3882" y="5546"/>
                </a:lnTo>
                <a:lnTo>
                  <a:pt x="3888" y="5548"/>
                </a:lnTo>
                <a:lnTo>
                  <a:pt x="3892" y="5552"/>
                </a:lnTo>
                <a:lnTo>
                  <a:pt x="3902" y="5561"/>
                </a:lnTo>
                <a:lnTo>
                  <a:pt x="3911" y="5571"/>
                </a:lnTo>
                <a:lnTo>
                  <a:pt x="3921" y="5581"/>
                </a:lnTo>
                <a:lnTo>
                  <a:pt x="3926" y="5586"/>
                </a:lnTo>
                <a:lnTo>
                  <a:pt x="3933" y="5590"/>
                </a:lnTo>
                <a:lnTo>
                  <a:pt x="3940" y="5594"/>
                </a:lnTo>
                <a:lnTo>
                  <a:pt x="3946" y="5597"/>
                </a:lnTo>
                <a:lnTo>
                  <a:pt x="3954" y="5598"/>
                </a:lnTo>
                <a:lnTo>
                  <a:pt x="3962" y="5599"/>
                </a:lnTo>
                <a:lnTo>
                  <a:pt x="3962" y="5599"/>
                </a:lnTo>
                <a:lnTo>
                  <a:pt x="3970" y="5598"/>
                </a:lnTo>
                <a:lnTo>
                  <a:pt x="3979" y="5595"/>
                </a:lnTo>
                <a:lnTo>
                  <a:pt x="3987" y="5592"/>
                </a:lnTo>
                <a:lnTo>
                  <a:pt x="3996" y="5588"/>
                </a:lnTo>
                <a:lnTo>
                  <a:pt x="4005" y="5582"/>
                </a:lnTo>
                <a:lnTo>
                  <a:pt x="4014" y="5576"/>
                </a:lnTo>
                <a:lnTo>
                  <a:pt x="4035" y="5559"/>
                </a:lnTo>
                <a:lnTo>
                  <a:pt x="4055" y="5542"/>
                </a:lnTo>
                <a:lnTo>
                  <a:pt x="4077" y="5522"/>
                </a:lnTo>
                <a:lnTo>
                  <a:pt x="4122" y="5479"/>
                </a:lnTo>
                <a:lnTo>
                  <a:pt x="4144" y="5457"/>
                </a:lnTo>
                <a:lnTo>
                  <a:pt x="4166" y="5437"/>
                </a:lnTo>
                <a:lnTo>
                  <a:pt x="4187" y="5417"/>
                </a:lnTo>
                <a:lnTo>
                  <a:pt x="4208" y="5402"/>
                </a:lnTo>
                <a:lnTo>
                  <a:pt x="4227" y="5389"/>
                </a:lnTo>
                <a:lnTo>
                  <a:pt x="4236" y="5384"/>
                </a:lnTo>
                <a:lnTo>
                  <a:pt x="4245" y="5380"/>
                </a:lnTo>
                <a:lnTo>
                  <a:pt x="4254" y="5376"/>
                </a:lnTo>
                <a:lnTo>
                  <a:pt x="4262" y="5374"/>
                </a:lnTo>
                <a:lnTo>
                  <a:pt x="4270" y="5374"/>
                </a:lnTo>
                <a:lnTo>
                  <a:pt x="4277" y="5375"/>
                </a:lnTo>
                <a:lnTo>
                  <a:pt x="4277" y="5375"/>
                </a:lnTo>
                <a:lnTo>
                  <a:pt x="4278" y="5376"/>
                </a:lnTo>
                <a:lnTo>
                  <a:pt x="4279" y="5379"/>
                </a:lnTo>
                <a:lnTo>
                  <a:pt x="4278" y="5382"/>
                </a:lnTo>
                <a:lnTo>
                  <a:pt x="4277" y="5384"/>
                </a:lnTo>
                <a:lnTo>
                  <a:pt x="4272" y="5391"/>
                </a:lnTo>
                <a:lnTo>
                  <a:pt x="4264" y="5399"/>
                </a:lnTo>
                <a:lnTo>
                  <a:pt x="4241" y="5420"/>
                </a:lnTo>
                <a:lnTo>
                  <a:pt x="4212" y="5447"/>
                </a:lnTo>
                <a:lnTo>
                  <a:pt x="4181" y="5477"/>
                </a:lnTo>
                <a:lnTo>
                  <a:pt x="4167" y="5492"/>
                </a:lnTo>
                <a:lnTo>
                  <a:pt x="4152" y="5508"/>
                </a:lnTo>
                <a:lnTo>
                  <a:pt x="4140" y="5525"/>
                </a:lnTo>
                <a:lnTo>
                  <a:pt x="4129" y="5542"/>
                </a:lnTo>
                <a:lnTo>
                  <a:pt x="4121" y="5558"/>
                </a:lnTo>
                <a:lnTo>
                  <a:pt x="4118" y="5567"/>
                </a:lnTo>
                <a:lnTo>
                  <a:pt x="4116" y="5576"/>
                </a:lnTo>
                <a:lnTo>
                  <a:pt x="4116" y="5576"/>
                </a:lnTo>
                <a:lnTo>
                  <a:pt x="4114" y="5588"/>
                </a:lnTo>
                <a:lnTo>
                  <a:pt x="4114" y="5599"/>
                </a:lnTo>
                <a:lnTo>
                  <a:pt x="4115" y="5611"/>
                </a:lnTo>
                <a:lnTo>
                  <a:pt x="4119" y="5620"/>
                </a:lnTo>
                <a:lnTo>
                  <a:pt x="4123" y="5628"/>
                </a:lnTo>
                <a:lnTo>
                  <a:pt x="4129" y="5636"/>
                </a:lnTo>
                <a:lnTo>
                  <a:pt x="4135" y="5643"/>
                </a:lnTo>
                <a:lnTo>
                  <a:pt x="4142" y="5649"/>
                </a:lnTo>
                <a:lnTo>
                  <a:pt x="4157" y="5663"/>
                </a:lnTo>
                <a:lnTo>
                  <a:pt x="4163" y="5669"/>
                </a:lnTo>
                <a:lnTo>
                  <a:pt x="4169" y="5676"/>
                </a:lnTo>
                <a:lnTo>
                  <a:pt x="4175" y="5683"/>
                </a:lnTo>
                <a:lnTo>
                  <a:pt x="4179" y="5690"/>
                </a:lnTo>
                <a:lnTo>
                  <a:pt x="4182" y="5699"/>
                </a:lnTo>
                <a:lnTo>
                  <a:pt x="4183" y="5708"/>
                </a:lnTo>
                <a:lnTo>
                  <a:pt x="4183" y="5708"/>
                </a:lnTo>
                <a:lnTo>
                  <a:pt x="4184" y="5718"/>
                </a:lnTo>
                <a:lnTo>
                  <a:pt x="4186" y="5729"/>
                </a:lnTo>
                <a:lnTo>
                  <a:pt x="4189" y="5738"/>
                </a:lnTo>
                <a:lnTo>
                  <a:pt x="4193" y="5749"/>
                </a:lnTo>
                <a:lnTo>
                  <a:pt x="4198" y="5758"/>
                </a:lnTo>
                <a:lnTo>
                  <a:pt x="4205" y="5767"/>
                </a:lnTo>
                <a:lnTo>
                  <a:pt x="4212" y="5775"/>
                </a:lnTo>
                <a:lnTo>
                  <a:pt x="4220" y="5783"/>
                </a:lnTo>
                <a:lnTo>
                  <a:pt x="4228" y="5792"/>
                </a:lnTo>
                <a:lnTo>
                  <a:pt x="4237" y="5799"/>
                </a:lnTo>
                <a:lnTo>
                  <a:pt x="4257" y="5812"/>
                </a:lnTo>
                <a:lnTo>
                  <a:pt x="4278" y="5824"/>
                </a:lnTo>
                <a:lnTo>
                  <a:pt x="4300" y="5835"/>
                </a:lnTo>
                <a:lnTo>
                  <a:pt x="4322" y="5844"/>
                </a:lnTo>
                <a:lnTo>
                  <a:pt x="4344" y="5852"/>
                </a:lnTo>
                <a:lnTo>
                  <a:pt x="4364" y="5857"/>
                </a:lnTo>
                <a:lnTo>
                  <a:pt x="4382" y="5862"/>
                </a:lnTo>
                <a:lnTo>
                  <a:pt x="4399" y="5864"/>
                </a:lnTo>
                <a:lnTo>
                  <a:pt x="4412" y="5865"/>
                </a:lnTo>
                <a:lnTo>
                  <a:pt x="4421" y="5865"/>
                </a:lnTo>
                <a:lnTo>
                  <a:pt x="4424" y="5864"/>
                </a:lnTo>
                <a:lnTo>
                  <a:pt x="4426" y="5863"/>
                </a:lnTo>
                <a:lnTo>
                  <a:pt x="4426" y="5863"/>
                </a:lnTo>
                <a:lnTo>
                  <a:pt x="4427" y="5861"/>
                </a:lnTo>
                <a:lnTo>
                  <a:pt x="4427" y="5859"/>
                </a:lnTo>
                <a:lnTo>
                  <a:pt x="4425" y="5853"/>
                </a:lnTo>
                <a:lnTo>
                  <a:pt x="4420" y="5846"/>
                </a:lnTo>
                <a:lnTo>
                  <a:pt x="4412" y="5836"/>
                </a:lnTo>
                <a:lnTo>
                  <a:pt x="4393" y="5813"/>
                </a:lnTo>
                <a:lnTo>
                  <a:pt x="4369" y="5786"/>
                </a:lnTo>
                <a:lnTo>
                  <a:pt x="4358" y="5773"/>
                </a:lnTo>
                <a:lnTo>
                  <a:pt x="4348" y="5759"/>
                </a:lnTo>
                <a:lnTo>
                  <a:pt x="4339" y="5745"/>
                </a:lnTo>
                <a:lnTo>
                  <a:pt x="4330" y="5731"/>
                </a:lnTo>
                <a:lnTo>
                  <a:pt x="4325" y="5718"/>
                </a:lnTo>
                <a:lnTo>
                  <a:pt x="4324" y="5712"/>
                </a:lnTo>
                <a:lnTo>
                  <a:pt x="4323" y="5706"/>
                </a:lnTo>
                <a:lnTo>
                  <a:pt x="4323" y="5700"/>
                </a:lnTo>
                <a:lnTo>
                  <a:pt x="4324" y="5694"/>
                </a:lnTo>
                <a:lnTo>
                  <a:pt x="4326" y="5689"/>
                </a:lnTo>
                <a:lnTo>
                  <a:pt x="4329" y="5684"/>
                </a:lnTo>
                <a:lnTo>
                  <a:pt x="4329" y="5684"/>
                </a:lnTo>
                <a:lnTo>
                  <a:pt x="4333" y="5680"/>
                </a:lnTo>
                <a:lnTo>
                  <a:pt x="4337" y="5677"/>
                </a:lnTo>
                <a:lnTo>
                  <a:pt x="4343" y="5676"/>
                </a:lnTo>
                <a:lnTo>
                  <a:pt x="4347" y="5675"/>
                </a:lnTo>
                <a:lnTo>
                  <a:pt x="4352" y="5675"/>
                </a:lnTo>
                <a:lnTo>
                  <a:pt x="4358" y="5676"/>
                </a:lnTo>
                <a:lnTo>
                  <a:pt x="4370" y="5678"/>
                </a:lnTo>
                <a:lnTo>
                  <a:pt x="4384" y="5681"/>
                </a:lnTo>
                <a:lnTo>
                  <a:pt x="4392" y="5682"/>
                </a:lnTo>
                <a:lnTo>
                  <a:pt x="4399" y="5682"/>
                </a:lnTo>
                <a:lnTo>
                  <a:pt x="4408" y="5682"/>
                </a:lnTo>
                <a:lnTo>
                  <a:pt x="4416" y="5681"/>
                </a:lnTo>
                <a:lnTo>
                  <a:pt x="4425" y="5679"/>
                </a:lnTo>
                <a:lnTo>
                  <a:pt x="4436" y="5675"/>
                </a:lnTo>
                <a:lnTo>
                  <a:pt x="4436" y="5675"/>
                </a:lnTo>
                <a:lnTo>
                  <a:pt x="4437" y="5673"/>
                </a:lnTo>
                <a:lnTo>
                  <a:pt x="4438" y="5670"/>
                </a:lnTo>
                <a:lnTo>
                  <a:pt x="4438" y="5663"/>
                </a:lnTo>
                <a:lnTo>
                  <a:pt x="4436" y="5652"/>
                </a:lnTo>
                <a:lnTo>
                  <a:pt x="4434" y="5637"/>
                </a:lnTo>
                <a:lnTo>
                  <a:pt x="4431" y="5621"/>
                </a:lnTo>
                <a:lnTo>
                  <a:pt x="4428" y="5602"/>
                </a:lnTo>
                <a:lnTo>
                  <a:pt x="4426" y="5581"/>
                </a:lnTo>
                <a:lnTo>
                  <a:pt x="4426" y="5557"/>
                </a:lnTo>
                <a:lnTo>
                  <a:pt x="4428" y="5533"/>
                </a:lnTo>
                <a:lnTo>
                  <a:pt x="4431" y="5520"/>
                </a:lnTo>
                <a:lnTo>
                  <a:pt x="4434" y="5505"/>
                </a:lnTo>
                <a:lnTo>
                  <a:pt x="4437" y="5492"/>
                </a:lnTo>
                <a:lnTo>
                  <a:pt x="4441" y="5477"/>
                </a:lnTo>
                <a:lnTo>
                  <a:pt x="4446" y="5462"/>
                </a:lnTo>
                <a:lnTo>
                  <a:pt x="4453" y="5447"/>
                </a:lnTo>
                <a:lnTo>
                  <a:pt x="4460" y="5432"/>
                </a:lnTo>
                <a:lnTo>
                  <a:pt x="4469" y="5416"/>
                </a:lnTo>
                <a:lnTo>
                  <a:pt x="4479" y="5400"/>
                </a:lnTo>
                <a:lnTo>
                  <a:pt x="4490" y="5384"/>
                </a:lnTo>
                <a:lnTo>
                  <a:pt x="4503" y="5367"/>
                </a:lnTo>
                <a:lnTo>
                  <a:pt x="4516" y="5351"/>
                </a:lnTo>
                <a:lnTo>
                  <a:pt x="4533" y="5334"/>
                </a:lnTo>
                <a:lnTo>
                  <a:pt x="4550" y="5317"/>
                </a:lnTo>
                <a:lnTo>
                  <a:pt x="4550" y="5317"/>
                </a:lnTo>
                <a:lnTo>
                  <a:pt x="4557" y="5328"/>
                </a:lnTo>
                <a:lnTo>
                  <a:pt x="4566" y="5340"/>
                </a:lnTo>
                <a:lnTo>
                  <a:pt x="4578" y="5353"/>
                </a:lnTo>
                <a:lnTo>
                  <a:pt x="4586" y="5360"/>
                </a:lnTo>
                <a:lnTo>
                  <a:pt x="4594" y="5367"/>
                </a:lnTo>
                <a:lnTo>
                  <a:pt x="4603" y="5373"/>
                </a:lnTo>
                <a:lnTo>
                  <a:pt x="4614" y="5381"/>
                </a:lnTo>
                <a:lnTo>
                  <a:pt x="4624" y="5386"/>
                </a:lnTo>
                <a:lnTo>
                  <a:pt x="4636" y="5390"/>
                </a:lnTo>
                <a:lnTo>
                  <a:pt x="4648" y="5394"/>
                </a:lnTo>
                <a:lnTo>
                  <a:pt x="4662" y="5396"/>
                </a:lnTo>
                <a:lnTo>
                  <a:pt x="4662" y="5396"/>
                </a:lnTo>
                <a:lnTo>
                  <a:pt x="4668" y="5397"/>
                </a:lnTo>
                <a:lnTo>
                  <a:pt x="4673" y="5399"/>
                </a:lnTo>
                <a:lnTo>
                  <a:pt x="4677" y="5402"/>
                </a:lnTo>
                <a:lnTo>
                  <a:pt x="4681" y="5405"/>
                </a:lnTo>
                <a:lnTo>
                  <a:pt x="4685" y="5409"/>
                </a:lnTo>
                <a:lnTo>
                  <a:pt x="4688" y="5413"/>
                </a:lnTo>
                <a:lnTo>
                  <a:pt x="4692" y="5425"/>
                </a:lnTo>
                <a:lnTo>
                  <a:pt x="4696" y="5437"/>
                </a:lnTo>
                <a:lnTo>
                  <a:pt x="4698" y="5450"/>
                </a:lnTo>
                <a:lnTo>
                  <a:pt x="4698" y="5463"/>
                </a:lnTo>
                <a:lnTo>
                  <a:pt x="4698" y="5478"/>
                </a:lnTo>
                <a:lnTo>
                  <a:pt x="4696" y="5506"/>
                </a:lnTo>
                <a:lnTo>
                  <a:pt x="4694" y="5531"/>
                </a:lnTo>
                <a:lnTo>
                  <a:pt x="4692" y="5548"/>
                </a:lnTo>
                <a:lnTo>
                  <a:pt x="4692" y="5553"/>
                </a:lnTo>
                <a:lnTo>
                  <a:pt x="4693" y="5554"/>
                </a:lnTo>
                <a:lnTo>
                  <a:pt x="4694" y="5554"/>
                </a:lnTo>
                <a:lnTo>
                  <a:pt x="4694" y="5554"/>
                </a:lnTo>
                <a:lnTo>
                  <a:pt x="4697" y="5553"/>
                </a:lnTo>
                <a:lnTo>
                  <a:pt x="4702" y="5550"/>
                </a:lnTo>
                <a:lnTo>
                  <a:pt x="4708" y="5545"/>
                </a:lnTo>
                <a:lnTo>
                  <a:pt x="4714" y="5538"/>
                </a:lnTo>
                <a:lnTo>
                  <a:pt x="4721" y="5529"/>
                </a:lnTo>
                <a:lnTo>
                  <a:pt x="4729" y="5519"/>
                </a:lnTo>
                <a:lnTo>
                  <a:pt x="4736" y="5505"/>
                </a:lnTo>
                <a:lnTo>
                  <a:pt x="4743" y="5492"/>
                </a:lnTo>
                <a:lnTo>
                  <a:pt x="4751" y="5477"/>
                </a:lnTo>
                <a:lnTo>
                  <a:pt x="4758" y="5459"/>
                </a:lnTo>
                <a:lnTo>
                  <a:pt x="4763" y="5442"/>
                </a:lnTo>
                <a:lnTo>
                  <a:pt x="4768" y="5422"/>
                </a:lnTo>
                <a:lnTo>
                  <a:pt x="4771" y="5402"/>
                </a:lnTo>
                <a:lnTo>
                  <a:pt x="4773" y="5382"/>
                </a:lnTo>
                <a:lnTo>
                  <a:pt x="4772" y="5360"/>
                </a:lnTo>
                <a:lnTo>
                  <a:pt x="4770" y="5338"/>
                </a:lnTo>
                <a:lnTo>
                  <a:pt x="4770" y="5338"/>
                </a:lnTo>
                <a:lnTo>
                  <a:pt x="4778" y="5330"/>
                </a:lnTo>
                <a:lnTo>
                  <a:pt x="4798" y="5313"/>
                </a:lnTo>
                <a:lnTo>
                  <a:pt x="4809" y="5302"/>
                </a:lnTo>
                <a:lnTo>
                  <a:pt x="4819" y="5290"/>
                </a:lnTo>
                <a:lnTo>
                  <a:pt x="4827" y="5276"/>
                </a:lnTo>
                <a:lnTo>
                  <a:pt x="4830" y="5270"/>
                </a:lnTo>
                <a:lnTo>
                  <a:pt x="4832" y="5264"/>
                </a:lnTo>
                <a:lnTo>
                  <a:pt x="4832" y="5264"/>
                </a:lnTo>
                <a:lnTo>
                  <a:pt x="4834" y="5255"/>
                </a:lnTo>
                <a:lnTo>
                  <a:pt x="4835" y="5246"/>
                </a:lnTo>
                <a:lnTo>
                  <a:pt x="4836" y="5237"/>
                </a:lnTo>
                <a:lnTo>
                  <a:pt x="4835" y="5230"/>
                </a:lnTo>
                <a:lnTo>
                  <a:pt x="4834" y="5224"/>
                </a:lnTo>
                <a:lnTo>
                  <a:pt x="4832" y="5218"/>
                </a:lnTo>
                <a:lnTo>
                  <a:pt x="4830" y="5213"/>
                </a:lnTo>
                <a:lnTo>
                  <a:pt x="4827" y="5208"/>
                </a:lnTo>
                <a:lnTo>
                  <a:pt x="4819" y="5199"/>
                </a:lnTo>
                <a:lnTo>
                  <a:pt x="4810" y="5189"/>
                </a:lnTo>
                <a:lnTo>
                  <a:pt x="4800" y="5180"/>
                </a:lnTo>
                <a:lnTo>
                  <a:pt x="4789" y="5169"/>
                </a:lnTo>
                <a:lnTo>
                  <a:pt x="4778" y="5156"/>
                </a:lnTo>
                <a:lnTo>
                  <a:pt x="4772" y="5148"/>
                </a:lnTo>
                <a:lnTo>
                  <a:pt x="4767" y="5139"/>
                </a:lnTo>
                <a:lnTo>
                  <a:pt x="4762" y="5130"/>
                </a:lnTo>
                <a:lnTo>
                  <a:pt x="4757" y="5120"/>
                </a:lnTo>
                <a:lnTo>
                  <a:pt x="4753" y="5108"/>
                </a:lnTo>
                <a:lnTo>
                  <a:pt x="4749" y="5095"/>
                </a:lnTo>
                <a:lnTo>
                  <a:pt x="4744" y="5081"/>
                </a:lnTo>
                <a:lnTo>
                  <a:pt x="4741" y="5065"/>
                </a:lnTo>
                <a:lnTo>
                  <a:pt x="4738" y="5048"/>
                </a:lnTo>
                <a:lnTo>
                  <a:pt x="4736" y="5029"/>
                </a:lnTo>
                <a:lnTo>
                  <a:pt x="4735" y="5008"/>
                </a:lnTo>
                <a:lnTo>
                  <a:pt x="4734" y="4986"/>
                </a:lnTo>
                <a:lnTo>
                  <a:pt x="4734" y="4961"/>
                </a:lnTo>
                <a:lnTo>
                  <a:pt x="4735" y="4935"/>
                </a:lnTo>
                <a:lnTo>
                  <a:pt x="4735" y="4935"/>
                </a:lnTo>
                <a:lnTo>
                  <a:pt x="4735" y="4917"/>
                </a:lnTo>
                <a:lnTo>
                  <a:pt x="4734" y="4911"/>
                </a:lnTo>
                <a:lnTo>
                  <a:pt x="4733" y="4906"/>
                </a:lnTo>
                <a:lnTo>
                  <a:pt x="4731" y="4901"/>
                </a:lnTo>
                <a:lnTo>
                  <a:pt x="4729" y="4897"/>
                </a:lnTo>
                <a:lnTo>
                  <a:pt x="4727" y="4894"/>
                </a:lnTo>
                <a:lnTo>
                  <a:pt x="4724" y="4891"/>
                </a:lnTo>
                <a:lnTo>
                  <a:pt x="4716" y="4885"/>
                </a:lnTo>
                <a:lnTo>
                  <a:pt x="4706" y="4878"/>
                </a:lnTo>
                <a:lnTo>
                  <a:pt x="4693" y="4868"/>
                </a:lnTo>
                <a:lnTo>
                  <a:pt x="4679" y="4856"/>
                </a:lnTo>
                <a:lnTo>
                  <a:pt x="4679" y="4856"/>
                </a:lnTo>
                <a:lnTo>
                  <a:pt x="4671" y="4846"/>
                </a:lnTo>
                <a:lnTo>
                  <a:pt x="4664" y="4836"/>
                </a:lnTo>
                <a:lnTo>
                  <a:pt x="4659" y="4825"/>
                </a:lnTo>
                <a:lnTo>
                  <a:pt x="4655" y="4815"/>
                </a:lnTo>
                <a:lnTo>
                  <a:pt x="4654" y="4807"/>
                </a:lnTo>
                <a:lnTo>
                  <a:pt x="4654" y="4804"/>
                </a:lnTo>
                <a:lnTo>
                  <a:pt x="4654" y="4802"/>
                </a:lnTo>
                <a:lnTo>
                  <a:pt x="4657" y="4800"/>
                </a:lnTo>
                <a:lnTo>
                  <a:pt x="4659" y="4799"/>
                </a:lnTo>
                <a:lnTo>
                  <a:pt x="4661" y="4799"/>
                </a:lnTo>
                <a:lnTo>
                  <a:pt x="4665" y="4800"/>
                </a:lnTo>
                <a:lnTo>
                  <a:pt x="4665" y="4800"/>
                </a:lnTo>
                <a:lnTo>
                  <a:pt x="4679" y="4806"/>
                </a:lnTo>
                <a:lnTo>
                  <a:pt x="4693" y="4810"/>
                </a:lnTo>
                <a:lnTo>
                  <a:pt x="4708" y="4813"/>
                </a:lnTo>
                <a:lnTo>
                  <a:pt x="4723" y="4814"/>
                </a:lnTo>
                <a:lnTo>
                  <a:pt x="4737" y="4815"/>
                </a:lnTo>
                <a:lnTo>
                  <a:pt x="4752" y="4816"/>
                </a:lnTo>
                <a:lnTo>
                  <a:pt x="4765" y="4815"/>
                </a:lnTo>
                <a:lnTo>
                  <a:pt x="4778" y="4814"/>
                </a:lnTo>
                <a:lnTo>
                  <a:pt x="4802" y="4811"/>
                </a:lnTo>
                <a:lnTo>
                  <a:pt x="4819" y="4807"/>
                </a:lnTo>
                <a:lnTo>
                  <a:pt x="4835" y="4803"/>
                </a:lnTo>
                <a:lnTo>
                  <a:pt x="4835" y="4803"/>
                </a:lnTo>
                <a:lnTo>
                  <a:pt x="4844" y="4707"/>
                </a:lnTo>
                <a:lnTo>
                  <a:pt x="4849" y="4632"/>
                </a:lnTo>
                <a:lnTo>
                  <a:pt x="4851" y="4577"/>
                </a:lnTo>
                <a:lnTo>
                  <a:pt x="4851" y="4539"/>
                </a:lnTo>
                <a:lnTo>
                  <a:pt x="4849" y="4514"/>
                </a:lnTo>
                <a:lnTo>
                  <a:pt x="4847" y="4499"/>
                </a:lnTo>
                <a:lnTo>
                  <a:pt x="4845" y="4493"/>
                </a:lnTo>
                <a:lnTo>
                  <a:pt x="4844" y="4491"/>
                </a:lnTo>
                <a:lnTo>
                  <a:pt x="4844" y="4491"/>
                </a:lnTo>
                <a:lnTo>
                  <a:pt x="4825" y="4492"/>
                </a:lnTo>
                <a:lnTo>
                  <a:pt x="4808" y="4491"/>
                </a:lnTo>
                <a:lnTo>
                  <a:pt x="4791" y="4490"/>
                </a:lnTo>
                <a:lnTo>
                  <a:pt x="4776" y="4489"/>
                </a:lnTo>
                <a:lnTo>
                  <a:pt x="4763" y="4487"/>
                </a:lnTo>
                <a:lnTo>
                  <a:pt x="4750" y="4484"/>
                </a:lnTo>
                <a:lnTo>
                  <a:pt x="4737" y="4481"/>
                </a:lnTo>
                <a:lnTo>
                  <a:pt x="4726" y="4477"/>
                </a:lnTo>
                <a:lnTo>
                  <a:pt x="4716" y="4473"/>
                </a:lnTo>
                <a:lnTo>
                  <a:pt x="4707" y="4469"/>
                </a:lnTo>
                <a:lnTo>
                  <a:pt x="4698" y="4463"/>
                </a:lnTo>
                <a:lnTo>
                  <a:pt x="4690" y="4458"/>
                </a:lnTo>
                <a:lnTo>
                  <a:pt x="4683" y="4452"/>
                </a:lnTo>
                <a:lnTo>
                  <a:pt x="4676" y="4447"/>
                </a:lnTo>
                <a:lnTo>
                  <a:pt x="4665" y="4434"/>
                </a:lnTo>
                <a:lnTo>
                  <a:pt x="4665" y="4434"/>
                </a:lnTo>
                <a:lnTo>
                  <a:pt x="4677" y="4437"/>
                </a:lnTo>
                <a:lnTo>
                  <a:pt x="4690" y="4439"/>
                </a:lnTo>
                <a:lnTo>
                  <a:pt x="4717" y="4441"/>
                </a:lnTo>
                <a:lnTo>
                  <a:pt x="4742" y="4441"/>
                </a:lnTo>
                <a:lnTo>
                  <a:pt x="4768" y="4439"/>
                </a:lnTo>
                <a:lnTo>
                  <a:pt x="4790" y="4435"/>
                </a:lnTo>
                <a:lnTo>
                  <a:pt x="4812" y="4429"/>
                </a:lnTo>
                <a:lnTo>
                  <a:pt x="4821" y="4426"/>
                </a:lnTo>
                <a:lnTo>
                  <a:pt x="4829" y="4422"/>
                </a:lnTo>
                <a:lnTo>
                  <a:pt x="4838" y="4416"/>
                </a:lnTo>
                <a:lnTo>
                  <a:pt x="4844" y="4412"/>
                </a:lnTo>
                <a:lnTo>
                  <a:pt x="4844" y="4412"/>
                </a:lnTo>
                <a:lnTo>
                  <a:pt x="4843" y="4364"/>
                </a:lnTo>
                <a:lnTo>
                  <a:pt x="4841" y="4316"/>
                </a:lnTo>
                <a:lnTo>
                  <a:pt x="4838" y="4261"/>
                </a:lnTo>
                <a:lnTo>
                  <a:pt x="4833" y="4206"/>
                </a:lnTo>
                <a:lnTo>
                  <a:pt x="4831" y="4181"/>
                </a:lnTo>
                <a:lnTo>
                  <a:pt x="4828" y="4159"/>
                </a:lnTo>
                <a:lnTo>
                  <a:pt x="4825" y="4140"/>
                </a:lnTo>
                <a:lnTo>
                  <a:pt x="4822" y="4126"/>
                </a:lnTo>
                <a:lnTo>
                  <a:pt x="4820" y="4121"/>
                </a:lnTo>
                <a:lnTo>
                  <a:pt x="4818" y="4118"/>
                </a:lnTo>
                <a:lnTo>
                  <a:pt x="4816" y="4116"/>
                </a:lnTo>
                <a:lnTo>
                  <a:pt x="4814" y="4116"/>
                </a:lnTo>
                <a:lnTo>
                  <a:pt x="4814" y="4116"/>
                </a:lnTo>
                <a:lnTo>
                  <a:pt x="4786" y="4123"/>
                </a:lnTo>
                <a:lnTo>
                  <a:pt x="4760" y="4128"/>
                </a:lnTo>
                <a:lnTo>
                  <a:pt x="4746" y="4129"/>
                </a:lnTo>
                <a:lnTo>
                  <a:pt x="4734" y="4130"/>
                </a:lnTo>
                <a:lnTo>
                  <a:pt x="4722" y="4130"/>
                </a:lnTo>
                <a:lnTo>
                  <a:pt x="4711" y="4129"/>
                </a:lnTo>
                <a:lnTo>
                  <a:pt x="4698" y="4127"/>
                </a:lnTo>
                <a:lnTo>
                  <a:pt x="4687" y="4125"/>
                </a:lnTo>
                <a:lnTo>
                  <a:pt x="4675" y="4122"/>
                </a:lnTo>
                <a:lnTo>
                  <a:pt x="4664" y="4118"/>
                </a:lnTo>
                <a:lnTo>
                  <a:pt x="4652" y="4113"/>
                </a:lnTo>
                <a:lnTo>
                  <a:pt x="4640" y="4108"/>
                </a:lnTo>
                <a:lnTo>
                  <a:pt x="4629" y="4100"/>
                </a:lnTo>
                <a:lnTo>
                  <a:pt x="4618" y="4093"/>
                </a:lnTo>
                <a:lnTo>
                  <a:pt x="4618" y="4093"/>
                </a:lnTo>
                <a:lnTo>
                  <a:pt x="4613" y="4090"/>
                </a:lnTo>
                <a:lnTo>
                  <a:pt x="4608" y="4086"/>
                </a:lnTo>
                <a:lnTo>
                  <a:pt x="4602" y="4078"/>
                </a:lnTo>
                <a:lnTo>
                  <a:pt x="4597" y="4069"/>
                </a:lnTo>
                <a:lnTo>
                  <a:pt x="4594" y="4059"/>
                </a:lnTo>
                <a:lnTo>
                  <a:pt x="4592" y="4047"/>
                </a:lnTo>
                <a:lnTo>
                  <a:pt x="4591" y="4037"/>
                </a:lnTo>
                <a:lnTo>
                  <a:pt x="4590" y="4015"/>
                </a:lnTo>
                <a:lnTo>
                  <a:pt x="4589" y="3993"/>
                </a:lnTo>
                <a:lnTo>
                  <a:pt x="4587" y="3984"/>
                </a:lnTo>
                <a:lnTo>
                  <a:pt x="4585" y="3976"/>
                </a:lnTo>
                <a:lnTo>
                  <a:pt x="4581" y="3969"/>
                </a:lnTo>
                <a:lnTo>
                  <a:pt x="4575" y="3962"/>
                </a:lnTo>
                <a:lnTo>
                  <a:pt x="4571" y="3959"/>
                </a:lnTo>
                <a:lnTo>
                  <a:pt x="4567" y="3957"/>
                </a:lnTo>
                <a:lnTo>
                  <a:pt x="4561" y="3956"/>
                </a:lnTo>
                <a:lnTo>
                  <a:pt x="4556" y="3955"/>
                </a:lnTo>
                <a:lnTo>
                  <a:pt x="4556" y="3955"/>
                </a:lnTo>
                <a:lnTo>
                  <a:pt x="4534" y="3948"/>
                </a:lnTo>
                <a:lnTo>
                  <a:pt x="4511" y="3941"/>
                </a:lnTo>
                <a:lnTo>
                  <a:pt x="4489" y="3933"/>
                </a:lnTo>
                <a:lnTo>
                  <a:pt x="4468" y="3923"/>
                </a:lnTo>
                <a:lnTo>
                  <a:pt x="4448" y="3913"/>
                </a:lnTo>
                <a:lnTo>
                  <a:pt x="4428" y="3902"/>
                </a:lnTo>
                <a:lnTo>
                  <a:pt x="4410" y="3892"/>
                </a:lnTo>
                <a:lnTo>
                  <a:pt x="4394" y="3881"/>
                </a:lnTo>
                <a:lnTo>
                  <a:pt x="4377" y="3869"/>
                </a:lnTo>
                <a:lnTo>
                  <a:pt x="4363" y="3859"/>
                </a:lnTo>
                <a:lnTo>
                  <a:pt x="4337" y="3839"/>
                </a:lnTo>
                <a:lnTo>
                  <a:pt x="4318" y="3820"/>
                </a:lnTo>
                <a:lnTo>
                  <a:pt x="4306" y="3805"/>
                </a:lnTo>
                <a:lnTo>
                  <a:pt x="4306" y="3805"/>
                </a:lnTo>
                <a:lnTo>
                  <a:pt x="4297" y="3793"/>
                </a:lnTo>
                <a:lnTo>
                  <a:pt x="4288" y="3780"/>
                </a:lnTo>
                <a:lnTo>
                  <a:pt x="4282" y="3769"/>
                </a:lnTo>
                <a:lnTo>
                  <a:pt x="4277" y="3758"/>
                </a:lnTo>
                <a:lnTo>
                  <a:pt x="4273" y="3748"/>
                </a:lnTo>
                <a:lnTo>
                  <a:pt x="4270" y="3739"/>
                </a:lnTo>
                <a:lnTo>
                  <a:pt x="4266" y="3722"/>
                </a:lnTo>
                <a:lnTo>
                  <a:pt x="4265" y="3709"/>
                </a:lnTo>
                <a:lnTo>
                  <a:pt x="4265" y="3699"/>
                </a:lnTo>
                <a:lnTo>
                  <a:pt x="4266" y="3690"/>
                </a:lnTo>
                <a:lnTo>
                  <a:pt x="4266" y="3690"/>
                </a:lnTo>
                <a:lnTo>
                  <a:pt x="4284" y="3700"/>
                </a:lnTo>
                <a:lnTo>
                  <a:pt x="4302" y="3706"/>
                </a:lnTo>
                <a:lnTo>
                  <a:pt x="4321" y="3711"/>
                </a:lnTo>
                <a:lnTo>
                  <a:pt x="4340" y="3714"/>
                </a:lnTo>
                <a:lnTo>
                  <a:pt x="4358" y="3716"/>
                </a:lnTo>
                <a:lnTo>
                  <a:pt x="4377" y="3715"/>
                </a:lnTo>
                <a:lnTo>
                  <a:pt x="4396" y="3712"/>
                </a:lnTo>
                <a:lnTo>
                  <a:pt x="4414" y="3708"/>
                </a:lnTo>
                <a:lnTo>
                  <a:pt x="4434" y="3468"/>
                </a:lnTo>
                <a:lnTo>
                  <a:pt x="4434" y="3468"/>
                </a:lnTo>
                <a:lnTo>
                  <a:pt x="4425" y="3467"/>
                </a:lnTo>
                <a:lnTo>
                  <a:pt x="4405" y="3464"/>
                </a:lnTo>
                <a:lnTo>
                  <a:pt x="4392" y="3461"/>
                </a:lnTo>
                <a:lnTo>
                  <a:pt x="4377" y="3457"/>
                </a:lnTo>
                <a:lnTo>
                  <a:pt x="4362" y="3453"/>
                </a:lnTo>
                <a:lnTo>
                  <a:pt x="4348" y="3447"/>
                </a:lnTo>
                <a:lnTo>
                  <a:pt x="4348" y="3447"/>
                </a:lnTo>
                <a:lnTo>
                  <a:pt x="4339" y="3443"/>
                </a:lnTo>
                <a:lnTo>
                  <a:pt x="4331" y="3438"/>
                </a:lnTo>
                <a:lnTo>
                  <a:pt x="4323" y="3432"/>
                </a:lnTo>
                <a:lnTo>
                  <a:pt x="4316" y="3426"/>
                </a:lnTo>
                <a:lnTo>
                  <a:pt x="4302" y="3412"/>
                </a:lnTo>
                <a:lnTo>
                  <a:pt x="4289" y="3399"/>
                </a:lnTo>
                <a:lnTo>
                  <a:pt x="4280" y="3386"/>
                </a:lnTo>
                <a:lnTo>
                  <a:pt x="4273" y="3376"/>
                </a:lnTo>
                <a:lnTo>
                  <a:pt x="4267" y="3366"/>
                </a:lnTo>
                <a:lnTo>
                  <a:pt x="4267" y="3366"/>
                </a:lnTo>
                <a:lnTo>
                  <a:pt x="4274" y="3369"/>
                </a:lnTo>
                <a:lnTo>
                  <a:pt x="4293" y="3377"/>
                </a:lnTo>
                <a:lnTo>
                  <a:pt x="4321" y="3385"/>
                </a:lnTo>
                <a:lnTo>
                  <a:pt x="4339" y="3389"/>
                </a:lnTo>
                <a:lnTo>
                  <a:pt x="4356" y="3392"/>
                </a:lnTo>
                <a:lnTo>
                  <a:pt x="4356" y="3392"/>
                </a:lnTo>
                <a:lnTo>
                  <a:pt x="4375" y="3394"/>
                </a:lnTo>
                <a:lnTo>
                  <a:pt x="4392" y="3395"/>
                </a:lnTo>
                <a:lnTo>
                  <a:pt x="4407" y="3393"/>
                </a:lnTo>
                <a:lnTo>
                  <a:pt x="4419" y="3391"/>
                </a:lnTo>
                <a:lnTo>
                  <a:pt x="4430" y="3389"/>
                </a:lnTo>
                <a:lnTo>
                  <a:pt x="4438" y="3387"/>
                </a:lnTo>
                <a:lnTo>
                  <a:pt x="4444" y="3384"/>
                </a:lnTo>
                <a:lnTo>
                  <a:pt x="4477" y="3113"/>
                </a:lnTo>
                <a:lnTo>
                  <a:pt x="4477" y="3113"/>
                </a:lnTo>
                <a:lnTo>
                  <a:pt x="4451" y="3114"/>
                </a:lnTo>
                <a:lnTo>
                  <a:pt x="4427" y="3113"/>
                </a:lnTo>
                <a:lnTo>
                  <a:pt x="4408" y="3111"/>
                </a:lnTo>
                <a:lnTo>
                  <a:pt x="4392" y="3106"/>
                </a:lnTo>
                <a:lnTo>
                  <a:pt x="4377" y="3100"/>
                </a:lnTo>
                <a:lnTo>
                  <a:pt x="4365" y="3093"/>
                </a:lnTo>
                <a:lnTo>
                  <a:pt x="4356" y="3085"/>
                </a:lnTo>
                <a:lnTo>
                  <a:pt x="4348" y="3077"/>
                </a:lnTo>
                <a:lnTo>
                  <a:pt x="4343" y="3069"/>
                </a:lnTo>
                <a:lnTo>
                  <a:pt x="4337" y="3060"/>
                </a:lnTo>
                <a:lnTo>
                  <a:pt x="4335" y="3051"/>
                </a:lnTo>
                <a:lnTo>
                  <a:pt x="4333" y="3043"/>
                </a:lnTo>
                <a:lnTo>
                  <a:pt x="4332" y="3035"/>
                </a:lnTo>
                <a:lnTo>
                  <a:pt x="4331" y="3029"/>
                </a:lnTo>
                <a:lnTo>
                  <a:pt x="4332" y="3020"/>
                </a:lnTo>
                <a:lnTo>
                  <a:pt x="4332" y="3020"/>
                </a:lnTo>
                <a:lnTo>
                  <a:pt x="4357" y="3015"/>
                </a:lnTo>
                <a:lnTo>
                  <a:pt x="4381" y="3009"/>
                </a:lnTo>
                <a:lnTo>
                  <a:pt x="4405" y="3001"/>
                </a:lnTo>
                <a:lnTo>
                  <a:pt x="4428" y="2994"/>
                </a:lnTo>
                <a:lnTo>
                  <a:pt x="4451" y="2985"/>
                </a:lnTo>
                <a:lnTo>
                  <a:pt x="4473" y="2975"/>
                </a:lnTo>
                <a:lnTo>
                  <a:pt x="4495" y="2964"/>
                </a:lnTo>
                <a:lnTo>
                  <a:pt x="4515" y="2951"/>
                </a:lnTo>
                <a:lnTo>
                  <a:pt x="4536" y="2939"/>
                </a:lnTo>
                <a:lnTo>
                  <a:pt x="4555" y="2926"/>
                </a:lnTo>
                <a:lnTo>
                  <a:pt x="4574" y="2911"/>
                </a:lnTo>
                <a:lnTo>
                  <a:pt x="4592" y="2896"/>
                </a:lnTo>
                <a:lnTo>
                  <a:pt x="4609" y="2881"/>
                </a:lnTo>
                <a:lnTo>
                  <a:pt x="4627" y="2864"/>
                </a:lnTo>
                <a:lnTo>
                  <a:pt x="4642" y="2848"/>
                </a:lnTo>
                <a:lnTo>
                  <a:pt x="4659" y="2831"/>
                </a:lnTo>
                <a:lnTo>
                  <a:pt x="4673" y="2812"/>
                </a:lnTo>
                <a:lnTo>
                  <a:pt x="4688" y="2794"/>
                </a:lnTo>
                <a:lnTo>
                  <a:pt x="4702" y="2775"/>
                </a:lnTo>
                <a:lnTo>
                  <a:pt x="4715" y="2756"/>
                </a:lnTo>
                <a:lnTo>
                  <a:pt x="4727" y="2737"/>
                </a:lnTo>
                <a:lnTo>
                  <a:pt x="4738" y="2717"/>
                </a:lnTo>
                <a:lnTo>
                  <a:pt x="4750" y="2698"/>
                </a:lnTo>
                <a:lnTo>
                  <a:pt x="4760" y="2677"/>
                </a:lnTo>
                <a:lnTo>
                  <a:pt x="4770" y="2657"/>
                </a:lnTo>
                <a:lnTo>
                  <a:pt x="4779" y="2636"/>
                </a:lnTo>
                <a:lnTo>
                  <a:pt x="4787" y="2616"/>
                </a:lnTo>
                <a:lnTo>
                  <a:pt x="4796" y="2595"/>
                </a:lnTo>
                <a:lnTo>
                  <a:pt x="4803" y="2575"/>
                </a:lnTo>
                <a:lnTo>
                  <a:pt x="4809" y="2555"/>
                </a:lnTo>
                <a:lnTo>
                  <a:pt x="4815" y="2534"/>
                </a:lnTo>
                <a:lnTo>
                  <a:pt x="4820" y="2515"/>
                </a:lnTo>
                <a:lnTo>
                  <a:pt x="4820" y="2515"/>
                </a:lnTo>
                <a:lnTo>
                  <a:pt x="4831" y="2521"/>
                </a:lnTo>
                <a:lnTo>
                  <a:pt x="4847" y="2527"/>
                </a:lnTo>
                <a:lnTo>
                  <a:pt x="4864" y="2533"/>
                </a:lnTo>
                <a:lnTo>
                  <a:pt x="4882" y="2538"/>
                </a:lnTo>
                <a:lnTo>
                  <a:pt x="4903" y="2541"/>
                </a:lnTo>
                <a:lnTo>
                  <a:pt x="4913" y="2542"/>
                </a:lnTo>
                <a:lnTo>
                  <a:pt x="4923" y="2543"/>
                </a:lnTo>
                <a:lnTo>
                  <a:pt x="4935" y="2542"/>
                </a:lnTo>
                <a:lnTo>
                  <a:pt x="4945" y="2541"/>
                </a:lnTo>
                <a:lnTo>
                  <a:pt x="4955" y="2539"/>
                </a:lnTo>
                <a:lnTo>
                  <a:pt x="4965" y="2536"/>
                </a:lnTo>
                <a:lnTo>
                  <a:pt x="4965" y="2536"/>
                </a:lnTo>
                <a:lnTo>
                  <a:pt x="4967" y="2508"/>
                </a:lnTo>
                <a:lnTo>
                  <a:pt x="4970" y="2441"/>
                </a:lnTo>
                <a:lnTo>
                  <a:pt x="4972" y="2405"/>
                </a:lnTo>
                <a:lnTo>
                  <a:pt x="4973" y="2371"/>
                </a:lnTo>
                <a:lnTo>
                  <a:pt x="4972" y="2343"/>
                </a:lnTo>
                <a:lnTo>
                  <a:pt x="4972" y="2333"/>
                </a:lnTo>
                <a:lnTo>
                  <a:pt x="4970" y="2327"/>
                </a:lnTo>
                <a:lnTo>
                  <a:pt x="4970" y="2327"/>
                </a:lnTo>
                <a:lnTo>
                  <a:pt x="4955" y="2325"/>
                </a:lnTo>
                <a:lnTo>
                  <a:pt x="4938" y="2322"/>
                </a:lnTo>
                <a:lnTo>
                  <a:pt x="4919" y="2317"/>
                </a:lnTo>
                <a:lnTo>
                  <a:pt x="4911" y="2314"/>
                </a:lnTo>
                <a:lnTo>
                  <a:pt x="4902" y="2311"/>
                </a:lnTo>
                <a:lnTo>
                  <a:pt x="4893" y="2306"/>
                </a:lnTo>
                <a:lnTo>
                  <a:pt x="4885" y="2302"/>
                </a:lnTo>
                <a:lnTo>
                  <a:pt x="4876" y="2296"/>
                </a:lnTo>
                <a:lnTo>
                  <a:pt x="4868" y="2289"/>
                </a:lnTo>
                <a:lnTo>
                  <a:pt x="4861" y="2282"/>
                </a:lnTo>
                <a:lnTo>
                  <a:pt x="4854" y="2273"/>
                </a:lnTo>
                <a:lnTo>
                  <a:pt x="4848" y="2264"/>
                </a:lnTo>
                <a:lnTo>
                  <a:pt x="4842" y="225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86" name="Freeform 37"/>
          <p:cNvSpPr>
            <a:spLocks/>
          </p:cNvSpPr>
          <p:nvPr userDrawn="1"/>
        </p:nvSpPr>
        <p:spPr bwMode="auto">
          <a:xfrm>
            <a:off x="8332789" y="-385339"/>
            <a:ext cx="276225" cy="73025"/>
          </a:xfrm>
          <a:custGeom>
            <a:avLst/>
            <a:gdLst>
              <a:gd name="T0" fmla="*/ 0 w 349"/>
              <a:gd name="T1" fmla="*/ 34 h 91"/>
              <a:gd name="T2" fmla="*/ 0 w 349"/>
              <a:gd name="T3" fmla="*/ 34 h 91"/>
              <a:gd name="T4" fmla="*/ 20 w 349"/>
              <a:gd name="T5" fmla="*/ 49 h 91"/>
              <a:gd name="T6" fmla="*/ 38 w 349"/>
              <a:gd name="T7" fmla="*/ 60 h 91"/>
              <a:gd name="T8" fmla="*/ 38 w 349"/>
              <a:gd name="T9" fmla="*/ 60 h 91"/>
              <a:gd name="T10" fmla="*/ 69 w 349"/>
              <a:gd name="T11" fmla="*/ 71 h 91"/>
              <a:gd name="T12" fmla="*/ 89 w 349"/>
              <a:gd name="T13" fmla="*/ 78 h 91"/>
              <a:gd name="T14" fmla="*/ 111 w 349"/>
              <a:gd name="T15" fmla="*/ 84 h 91"/>
              <a:gd name="T16" fmla="*/ 137 w 349"/>
              <a:gd name="T17" fmla="*/ 87 h 91"/>
              <a:gd name="T18" fmla="*/ 164 w 349"/>
              <a:gd name="T19" fmla="*/ 91 h 91"/>
              <a:gd name="T20" fmla="*/ 194 w 349"/>
              <a:gd name="T21" fmla="*/ 91 h 91"/>
              <a:gd name="T22" fmla="*/ 226 w 349"/>
              <a:gd name="T23" fmla="*/ 89 h 91"/>
              <a:gd name="T24" fmla="*/ 226 w 349"/>
              <a:gd name="T25" fmla="*/ 89 h 91"/>
              <a:gd name="T26" fmla="*/ 256 w 349"/>
              <a:gd name="T27" fmla="*/ 86 h 91"/>
              <a:gd name="T28" fmla="*/ 279 w 349"/>
              <a:gd name="T29" fmla="*/ 80 h 91"/>
              <a:gd name="T30" fmla="*/ 301 w 349"/>
              <a:gd name="T31" fmla="*/ 75 h 91"/>
              <a:gd name="T32" fmla="*/ 318 w 349"/>
              <a:gd name="T33" fmla="*/ 69 h 91"/>
              <a:gd name="T34" fmla="*/ 342 w 349"/>
              <a:gd name="T35" fmla="*/ 56 h 91"/>
              <a:gd name="T36" fmla="*/ 349 w 349"/>
              <a:gd name="T37" fmla="*/ 53 h 91"/>
              <a:gd name="T38" fmla="*/ 349 w 349"/>
              <a:gd name="T39" fmla="*/ 53 h 91"/>
              <a:gd name="T40" fmla="*/ 338 w 349"/>
              <a:gd name="T41" fmla="*/ 49 h 91"/>
              <a:gd name="T42" fmla="*/ 329 w 349"/>
              <a:gd name="T43" fmla="*/ 44 h 91"/>
              <a:gd name="T44" fmla="*/ 314 w 349"/>
              <a:gd name="T45" fmla="*/ 31 h 91"/>
              <a:gd name="T46" fmla="*/ 314 w 349"/>
              <a:gd name="T47" fmla="*/ 31 h 91"/>
              <a:gd name="T48" fmla="*/ 312 w 349"/>
              <a:gd name="T49" fmla="*/ 38 h 91"/>
              <a:gd name="T50" fmla="*/ 312 w 349"/>
              <a:gd name="T51" fmla="*/ 38 h 91"/>
              <a:gd name="T52" fmla="*/ 311 w 349"/>
              <a:gd name="T53" fmla="*/ 51 h 91"/>
              <a:gd name="T54" fmla="*/ 311 w 349"/>
              <a:gd name="T55" fmla="*/ 51 h 91"/>
              <a:gd name="T56" fmla="*/ 303 w 349"/>
              <a:gd name="T57" fmla="*/ 49 h 91"/>
              <a:gd name="T58" fmla="*/ 303 w 349"/>
              <a:gd name="T59" fmla="*/ 49 h 91"/>
              <a:gd name="T60" fmla="*/ 298 w 349"/>
              <a:gd name="T61" fmla="*/ 45 h 91"/>
              <a:gd name="T62" fmla="*/ 292 w 349"/>
              <a:gd name="T63" fmla="*/ 40 h 91"/>
              <a:gd name="T64" fmla="*/ 289 w 349"/>
              <a:gd name="T65" fmla="*/ 33 h 91"/>
              <a:gd name="T66" fmla="*/ 287 w 349"/>
              <a:gd name="T67" fmla="*/ 23 h 91"/>
              <a:gd name="T68" fmla="*/ 287 w 349"/>
              <a:gd name="T69" fmla="*/ 23 h 91"/>
              <a:gd name="T70" fmla="*/ 287 w 349"/>
              <a:gd name="T71" fmla="*/ 22 h 91"/>
              <a:gd name="T72" fmla="*/ 287 w 349"/>
              <a:gd name="T73" fmla="*/ 22 h 91"/>
              <a:gd name="T74" fmla="*/ 272 w 349"/>
              <a:gd name="T75" fmla="*/ 27 h 91"/>
              <a:gd name="T76" fmla="*/ 252 w 349"/>
              <a:gd name="T77" fmla="*/ 33 h 91"/>
              <a:gd name="T78" fmla="*/ 228 w 349"/>
              <a:gd name="T79" fmla="*/ 38 h 91"/>
              <a:gd name="T80" fmla="*/ 205 w 349"/>
              <a:gd name="T81" fmla="*/ 40 h 91"/>
              <a:gd name="T82" fmla="*/ 205 w 349"/>
              <a:gd name="T83" fmla="*/ 40 h 91"/>
              <a:gd name="T84" fmla="*/ 161 w 349"/>
              <a:gd name="T85" fmla="*/ 38 h 91"/>
              <a:gd name="T86" fmla="*/ 139 w 349"/>
              <a:gd name="T87" fmla="*/ 36 h 91"/>
              <a:gd name="T88" fmla="*/ 117 w 349"/>
              <a:gd name="T89" fmla="*/ 33 h 91"/>
              <a:gd name="T90" fmla="*/ 95 w 349"/>
              <a:gd name="T91" fmla="*/ 29 h 91"/>
              <a:gd name="T92" fmla="*/ 73 w 349"/>
              <a:gd name="T93" fmla="*/ 22 h 91"/>
              <a:gd name="T94" fmla="*/ 51 w 349"/>
              <a:gd name="T95" fmla="*/ 14 h 91"/>
              <a:gd name="T96" fmla="*/ 31 w 349"/>
              <a:gd name="T97" fmla="*/ 7 h 91"/>
              <a:gd name="T98" fmla="*/ 31 w 349"/>
              <a:gd name="T99" fmla="*/ 7 h 91"/>
              <a:gd name="T100" fmla="*/ 15 w 349"/>
              <a:gd name="T101" fmla="*/ 0 h 91"/>
              <a:gd name="T102" fmla="*/ 15 w 349"/>
              <a:gd name="T103" fmla="*/ 0 h 91"/>
              <a:gd name="T104" fmla="*/ 15 w 349"/>
              <a:gd name="T105" fmla="*/ 1 h 91"/>
              <a:gd name="T106" fmla="*/ 15 w 349"/>
              <a:gd name="T107" fmla="*/ 5 h 91"/>
              <a:gd name="T108" fmla="*/ 18 w 349"/>
              <a:gd name="T109" fmla="*/ 14 h 91"/>
              <a:gd name="T110" fmla="*/ 25 w 349"/>
              <a:gd name="T111" fmla="*/ 25 h 91"/>
              <a:gd name="T112" fmla="*/ 25 w 349"/>
              <a:gd name="T113" fmla="*/ 25 h 91"/>
              <a:gd name="T114" fmla="*/ 16 w 349"/>
              <a:gd name="T115" fmla="*/ 23 h 91"/>
              <a:gd name="T116" fmla="*/ 7 w 349"/>
              <a:gd name="T117" fmla="*/ 27 h 91"/>
              <a:gd name="T118" fmla="*/ 7 w 349"/>
              <a:gd name="T119" fmla="*/ 27 h 91"/>
              <a:gd name="T120" fmla="*/ 2 w 349"/>
              <a:gd name="T121" fmla="*/ 31 h 91"/>
              <a:gd name="T122" fmla="*/ 0 w 349"/>
              <a:gd name="T123" fmla="*/ 3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9" h="91">
                <a:moveTo>
                  <a:pt x="0" y="34"/>
                </a:moveTo>
                <a:lnTo>
                  <a:pt x="0" y="34"/>
                </a:lnTo>
                <a:lnTo>
                  <a:pt x="20" y="49"/>
                </a:lnTo>
                <a:lnTo>
                  <a:pt x="38" y="60"/>
                </a:lnTo>
                <a:lnTo>
                  <a:pt x="38" y="60"/>
                </a:lnTo>
                <a:lnTo>
                  <a:pt x="69" y="71"/>
                </a:lnTo>
                <a:lnTo>
                  <a:pt x="89" y="78"/>
                </a:lnTo>
                <a:lnTo>
                  <a:pt x="111" y="84"/>
                </a:lnTo>
                <a:lnTo>
                  <a:pt x="137" y="87"/>
                </a:lnTo>
                <a:lnTo>
                  <a:pt x="164" y="91"/>
                </a:lnTo>
                <a:lnTo>
                  <a:pt x="194" y="91"/>
                </a:lnTo>
                <a:lnTo>
                  <a:pt x="226" y="89"/>
                </a:lnTo>
                <a:lnTo>
                  <a:pt x="226" y="89"/>
                </a:lnTo>
                <a:lnTo>
                  <a:pt x="256" y="86"/>
                </a:lnTo>
                <a:lnTo>
                  <a:pt x="279" y="80"/>
                </a:lnTo>
                <a:lnTo>
                  <a:pt x="301" y="75"/>
                </a:lnTo>
                <a:lnTo>
                  <a:pt x="318" y="69"/>
                </a:lnTo>
                <a:lnTo>
                  <a:pt x="342" y="56"/>
                </a:lnTo>
                <a:lnTo>
                  <a:pt x="349" y="53"/>
                </a:lnTo>
                <a:lnTo>
                  <a:pt x="349" y="53"/>
                </a:lnTo>
                <a:lnTo>
                  <a:pt x="338" y="49"/>
                </a:lnTo>
                <a:lnTo>
                  <a:pt x="329" y="44"/>
                </a:lnTo>
                <a:lnTo>
                  <a:pt x="314" y="31"/>
                </a:lnTo>
                <a:lnTo>
                  <a:pt x="314" y="31"/>
                </a:lnTo>
                <a:lnTo>
                  <a:pt x="312" y="38"/>
                </a:lnTo>
                <a:lnTo>
                  <a:pt x="312" y="38"/>
                </a:lnTo>
                <a:lnTo>
                  <a:pt x="311" y="51"/>
                </a:lnTo>
                <a:lnTo>
                  <a:pt x="311" y="51"/>
                </a:lnTo>
                <a:lnTo>
                  <a:pt x="303" y="49"/>
                </a:lnTo>
                <a:lnTo>
                  <a:pt x="303" y="49"/>
                </a:lnTo>
                <a:lnTo>
                  <a:pt x="298" y="45"/>
                </a:lnTo>
                <a:lnTo>
                  <a:pt x="292" y="40"/>
                </a:lnTo>
                <a:lnTo>
                  <a:pt x="289" y="33"/>
                </a:lnTo>
                <a:lnTo>
                  <a:pt x="287" y="23"/>
                </a:lnTo>
                <a:lnTo>
                  <a:pt x="287" y="23"/>
                </a:lnTo>
                <a:lnTo>
                  <a:pt x="287" y="22"/>
                </a:lnTo>
                <a:lnTo>
                  <a:pt x="287" y="22"/>
                </a:lnTo>
                <a:lnTo>
                  <a:pt x="272" y="27"/>
                </a:lnTo>
                <a:lnTo>
                  <a:pt x="252" y="33"/>
                </a:lnTo>
                <a:lnTo>
                  <a:pt x="228" y="38"/>
                </a:lnTo>
                <a:lnTo>
                  <a:pt x="205" y="40"/>
                </a:lnTo>
                <a:lnTo>
                  <a:pt x="205" y="40"/>
                </a:lnTo>
                <a:lnTo>
                  <a:pt x="161" y="38"/>
                </a:lnTo>
                <a:lnTo>
                  <a:pt x="139" y="36"/>
                </a:lnTo>
                <a:lnTo>
                  <a:pt x="117" y="33"/>
                </a:lnTo>
                <a:lnTo>
                  <a:pt x="95" y="29"/>
                </a:lnTo>
                <a:lnTo>
                  <a:pt x="73" y="22"/>
                </a:lnTo>
                <a:lnTo>
                  <a:pt x="51" y="14"/>
                </a:lnTo>
                <a:lnTo>
                  <a:pt x="31" y="7"/>
                </a:lnTo>
                <a:lnTo>
                  <a:pt x="31" y="7"/>
                </a:lnTo>
                <a:lnTo>
                  <a:pt x="15" y="0"/>
                </a:lnTo>
                <a:lnTo>
                  <a:pt x="15" y="0"/>
                </a:lnTo>
                <a:lnTo>
                  <a:pt x="15" y="1"/>
                </a:lnTo>
                <a:lnTo>
                  <a:pt x="15" y="5"/>
                </a:lnTo>
                <a:lnTo>
                  <a:pt x="18" y="14"/>
                </a:lnTo>
                <a:lnTo>
                  <a:pt x="25" y="25"/>
                </a:lnTo>
                <a:lnTo>
                  <a:pt x="25" y="25"/>
                </a:lnTo>
                <a:lnTo>
                  <a:pt x="16" y="23"/>
                </a:lnTo>
                <a:lnTo>
                  <a:pt x="7" y="27"/>
                </a:lnTo>
                <a:lnTo>
                  <a:pt x="7" y="27"/>
                </a:lnTo>
                <a:lnTo>
                  <a:pt x="2" y="31"/>
                </a:lnTo>
                <a:lnTo>
                  <a:pt x="0" y="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87" name="Freeform 38"/>
          <p:cNvSpPr>
            <a:spLocks/>
          </p:cNvSpPr>
          <p:nvPr userDrawn="1"/>
        </p:nvSpPr>
        <p:spPr bwMode="auto">
          <a:xfrm>
            <a:off x="8270876" y="-618703"/>
            <a:ext cx="282575" cy="201613"/>
          </a:xfrm>
          <a:custGeom>
            <a:avLst/>
            <a:gdLst>
              <a:gd name="T0" fmla="*/ 326 w 357"/>
              <a:gd name="T1" fmla="*/ 20 h 253"/>
              <a:gd name="T2" fmla="*/ 320 w 357"/>
              <a:gd name="T3" fmla="*/ 3 h 253"/>
              <a:gd name="T4" fmla="*/ 311 w 357"/>
              <a:gd name="T5" fmla="*/ 0 h 253"/>
              <a:gd name="T6" fmla="*/ 227 w 357"/>
              <a:gd name="T7" fmla="*/ 40 h 253"/>
              <a:gd name="T8" fmla="*/ 207 w 357"/>
              <a:gd name="T9" fmla="*/ 53 h 253"/>
              <a:gd name="T10" fmla="*/ 176 w 357"/>
              <a:gd name="T11" fmla="*/ 53 h 253"/>
              <a:gd name="T12" fmla="*/ 181 w 357"/>
              <a:gd name="T13" fmla="*/ 71 h 253"/>
              <a:gd name="T14" fmla="*/ 172 w 357"/>
              <a:gd name="T15" fmla="*/ 78 h 253"/>
              <a:gd name="T16" fmla="*/ 181 w 357"/>
              <a:gd name="T17" fmla="*/ 93 h 253"/>
              <a:gd name="T18" fmla="*/ 198 w 357"/>
              <a:gd name="T19" fmla="*/ 91 h 253"/>
              <a:gd name="T20" fmla="*/ 189 w 357"/>
              <a:gd name="T21" fmla="*/ 115 h 253"/>
              <a:gd name="T22" fmla="*/ 147 w 357"/>
              <a:gd name="T23" fmla="*/ 146 h 253"/>
              <a:gd name="T24" fmla="*/ 101 w 357"/>
              <a:gd name="T25" fmla="*/ 155 h 253"/>
              <a:gd name="T26" fmla="*/ 79 w 357"/>
              <a:gd name="T27" fmla="*/ 137 h 253"/>
              <a:gd name="T28" fmla="*/ 68 w 357"/>
              <a:gd name="T29" fmla="*/ 126 h 253"/>
              <a:gd name="T30" fmla="*/ 50 w 357"/>
              <a:gd name="T31" fmla="*/ 126 h 253"/>
              <a:gd name="T32" fmla="*/ 28 w 357"/>
              <a:gd name="T33" fmla="*/ 137 h 253"/>
              <a:gd name="T34" fmla="*/ 48 w 357"/>
              <a:gd name="T35" fmla="*/ 140 h 253"/>
              <a:gd name="T36" fmla="*/ 44 w 357"/>
              <a:gd name="T37" fmla="*/ 149 h 253"/>
              <a:gd name="T38" fmla="*/ 75 w 357"/>
              <a:gd name="T39" fmla="*/ 169 h 253"/>
              <a:gd name="T40" fmla="*/ 75 w 357"/>
              <a:gd name="T41" fmla="*/ 171 h 253"/>
              <a:gd name="T42" fmla="*/ 39 w 357"/>
              <a:gd name="T43" fmla="*/ 160 h 253"/>
              <a:gd name="T44" fmla="*/ 28 w 357"/>
              <a:gd name="T45" fmla="*/ 164 h 253"/>
              <a:gd name="T46" fmla="*/ 8 w 357"/>
              <a:gd name="T47" fmla="*/ 171 h 253"/>
              <a:gd name="T48" fmla="*/ 2 w 357"/>
              <a:gd name="T49" fmla="*/ 193 h 253"/>
              <a:gd name="T50" fmla="*/ 17 w 357"/>
              <a:gd name="T51" fmla="*/ 180 h 253"/>
              <a:gd name="T52" fmla="*/ 22 w 357"/>
              <a:gd name="T53" fmla="*/ 188 h 253"/>
              <a:gd name="T54" fmla="*/ 26 w 357"/>
              <a:gd name="T55" fmla="*/ 197 h 253"/>
              <a:gd name="T56" fmla="*/ 66 w 357"/>
              <a:gd name="T57" fmla="*/ 195 h 253"/>
              <a:gd name="T58" fmla="*/ 75 w 357"/>
              <a:gd name="T59" fmla="*/ 197 h 253"/>
              <a:gd name="T60" fmla="*/ 39 w 357"/>
              <a:gd name="T61" fmla="*/ 206 h 253"/>
              <a:gd name="T62" fmla="*/ 37 w 357"/>
              <a:gd name="T63" fmla="*/ 213 h 253"/>
              <a:gd name="T64" fmla="*/ 28 w 357"/>
              <a:gd name="T65" fmla="*/ 233 h 253"/>
              <a:gd name="T66" fmla="*/ 35 w 357"/>
              <a:gd name="T67" fmla="*/ 248 h 253"/>
              <a:gd name="T68" fmla="*/ 41 w 357"/>
              <a:gd name="T69" fmla="*/ 244 h 253"/>
              <a:gd name="T70" fmla="*/ 42 w 357"/>
              <a:gd name="T71" fmla="*/ 235 h 253"/>
              <a:gd name="T72" fmla="*/ 55 w 357"/>
              <a:gd name="T73" fmla="*/ 243 h 253"/>
              <a:gd name="T74" fmla="*/ 72 w 357"/>
              <a:gd name="T75" fmla="*/ 232 h 253"/>
              <a:gd name="T76" fmla="*/ 94 w 357"/>
              <a:gd name="T77" fmla="*/ 213 h 253"/>
              <a:gd name="T78" fmla="*/ 108 w 357"/>
              <a:gd name="T79" fmla="*/ 211 h 253"/>
              <a:gd name="T80" fmla="*/ 110 w 357"/>
              <a:gd name="T81" fmla="*/ 222 h 253"/>
              <a:gd name="T82" fmla="*/ 115 w 357"/>
              <a:gd name="T83" fmla="*/ 233 h 253"/>
              <a:gd name="T84" fmla="*/ 114 w 357"/>
              <a:gd name="T85" fmla="*/ 243 h 253"/>
              <a:gd name="T86" fmla="*/ 136 w 357"/>
              <a:gd name="T87" fmla="*/ 224 h 253"/>
              <a:gd name="T88" fmla="*/ 141 w 357"/>
              <a:gd name="T89" fmla="*/ 219 h 253"/>
              <a:gd name="T90" fmla="*/ 145 w 357"/>
              <a:gd name="T91" fmla="*/ 211 h 253"/>
              <a:gd name="T92" fmla="*/ 147 w 357"/>
              <a:gd name="T93" fmla="*/ 200 h 253"/>
              <a:gd name="T94" fmla="*/ 167 w 357"/>
              <a:gd name="T95" fmla="*/ 193 h 253"/>
              <a:gd name="T96" fmla="*/ 170 w 357"/>
              <a:gd name="T97" fmla="*/ 180 h 253"/>
              <a:gd name="T98" fmla="*/ 181 w 357"/>
              <a:gd name="T99" fmla="*/ 179 h 253"/>
              <a:gd name="T100" fmla="*/ 199 w 357"/>
              <a:gd name="T101" fmla="*/ 197 h 253"/>
              <a:gd name="T102" fmla="*/ 231 w 357"/>
              <a:gd name="T103" fmla="*/ 182 h 253"/>
              <a:gd name="T104" fmla="*/ 227 w 357"/>
              <a:gd name="T105" fmla="*/ 169 h 253"/>
              <a:gd name="T106" fmla="*/ 223 w 357"/>
              <a:gd name="T107" fmla="*/ 155 h 253"/>
              <a:gd name="T108" fmla="*/ 245 w 357"/>
              <a:gd name="T109" fmla="*/ 173 h 253"/>
              <a:gd name="T110" fmla="*/ 276 w 357"/>
              <a:gd name="T111" fmla="*/ 155 h 253"/>
              <a:gd name="T112" fmla="*/ 273 w 357"/>
              <a:gd name="T113" fmla="*/ 149 h 253"/>
              <a:gd name="T114" fmla="*/ 263 w 357"/>
              <a:gd name="T115" fmla="*/ 131 h 253"/>
              <a:gd name="T116" fmla="*/ 262 w 357"/>
              <a:gd name="T117" fmla="*/ 115 h 253"/>
              <a:gd name="T118" fmla="*/ 262 w 357"/>
              <a:gd name="T119" fmla="*/ 98 h 253"/>
              <a:gd name="T120" fmla="*/ 353 w 357"/>
              <a:gd name="T121" fmla="*/ 45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7" h="253">
                <a:moveTo>
                  <a:pt x="344" y="31"/>
                </a:moveTo>
                <a:lnTo>
                  <a:pt x="344" y="31"/>
                </a:lnTo>
                <a:lnTo>
                  <a:pt x="335" y="23"/>
                </a:lnTo>
                <a:lnTo>
                  <a:pt x="326" y="20"/>
                </a:lnTo>
                <a:lnTo>
                  <a:pt x="309" y="12"/>
                </a:lnTo>
                <a:lnTo>
                  <a:pt x="309" y="12"/>
                </a:lnTo>
                <a:lnTo>
                  <a:pt x="316" y="7"/>
                </a:lnTo>
                <a:lnTo>
                  <a:pt x="320" y="3"/>
                </a:lnTo>
                <a:lnTo>
                  <a:pt x="320" y="1"/>
                </a:lnTo>
                <a:lnTo>
                  <a:pt x="320" y="1"/>
                </a:lnTo>
                <a:lnTo>
                  <a:pt x="315" y="0"/>
                </a:lnTo>
                <a:lnTo>
                  <a:pt x="311" y="0"/>
                </a:lnTo>
                <a:lnTo>
                  <a:pt x="311" y="0"/>
                </a:lnTo>
                <a:lnTo>
                  <a:pt x="280" y="12"/>
                </a:lnTo>
                <a:lnTo>
                  <a:pt x="252" y="25"/>
                </a:lnTo>
                <a:lnTo>
                  <a:pt x="227" y="40"/>
                </a:lnTo>
                <a:lnTo>
                  <a:pt x="209" y="53"/>
                </a:lnTo>
                <a:lnTo>
                  <a:pt x="209" y="53"/>
                </a:lnTo>
                <a:lnTo>
                  <a:pt x="207" y="53"/>
                </a:lnTo>
                <a:lnTo>
                  <a:pt x="207" y="53"/>
                </a:lnTo>
                <a:lnTo>
                  <a:pt x="201" y="56"/>
                </a:lnTo>
                <a:lnTo>
                  <a:pt x="196" y="56"/>
                </a:lnTo>
                <a:lnTo>
                  <a:pt x="185" y="54"/>
                </a:lnTo>
                <a:lnTo>
                  <a:pt x="176" y="53"/>
                </a:lnTo>
                <a:lnTo>
                  <a:pt x="174" y="51"/>
                </a:lnTo>
                <a:lnTo>
                  <a:pt x="170" y="67"/>
                </a:lnTo>
                <a:lnTo>
                  <a:pt x="170" y="67"/>
                </a:lnTo>
                <a:lnTo>
                  <a:pt x="181" y="71"/>
                </a:lnTo>
                <a:lnTo>
                  <a:pt x="189" y="74"/>
                </a:lnTo>
                <a:lnTo>
                  <a:pt x="189" y="74"/>
                </a:lnTo>
                <a:lnTo>
                  <a:pt x="178" y="76"/>
                </a:lnTo>
                <a:lnTo>
                  <a:pt x="172" y="78"/>
                </a:lnTo>
                <a:lnTo>
                  <a:pt x="168" y="82"/>
                </a:lnTo>
                <a:lnTo>
                  <a:pt x="174" y="96"/>
                </a:lnTo>
                <a:lnTo>
                  <a:pt x="174" y="96"/>
                </a:lnTo>
                <a:lnTo>
                  <a:pt x="181" y="93"/>
                </a:lnTo>
                <a:lnTo>
                  <a:pt x="189" y="91"/>
                </a:lnTo>
                <a:lnTo>
                  <a:pt x="198" y="89"/>
                </a:lnTo>
                <a:lnTo>
                  <a:pt x="198" y="89"/>
                </a:lnTo>
                <a:lnTo>
                  <a:pt x="198" y="91"/>
                </a:lnTo>
                <a:lnTo>
                  <a:pt x="198" y="91"/>
                </a:lnTo>
                <a:lnTo>
                  <a:pt x="198" y="98"/>
                </a:lnTo>
                <a:lnTo>
                  <a:pt x="194" y="105"/>
                </a:lnTo>
                <a:lnTo>
                  <a:pt x="189" y="115"/>
                </a:lnTo>
                <a:lnTo>
                  <a:pt x="181" y="122"/>
                </a:lnTo>
                <a:lnTo>
                  <a:pt x="165" y="137"/>
                </a:lnTo>
                <a:lnTo>
                  <a:pt x="156" y="142"/>
                </a:lnTo>
                <a:lnTo>
                  <a:pt x="147" y="146"/>
                </a:lnTo>
                <a:lnTo>
                  <a:pt x="147" y="146"/>
                </a:lnTo>
                <a:lnTo>
                  <a:pt x="128" y="151"/>
                </a:lnTo>
                <a:lnTo>
                  <a:pt x="112" y="155"/>
                </a:lnTo>
                <a:lnTo>
                  <a:pt x="101" y="155"/>
                </a:lnTo>
                <a:lnTo>
                  <a:pt x="95" y="153"/>
                </a:lnTo>
                <a:lnTo>
                  <a:pt x="95" y="153"/>
                </a:lnTo>
                <a:lnTo>
                  <a:pt x="84" y="144"/>
                </a:lnTo>
                <a:lnTo>
                  <a:pt x="79" y="137"/>
                </a:lnTo>
                <a:lnTo>
                  <a:pt x="73" y="129"/>
                </a:lnTo>
                <a:lnTo>
                  <a:pt x="72" y="126"/>
                </a:lnTo>
                <a:lnTo>
                  <a:pt x="68" y="126"/>
                </a:lnTo>
                <a:lnTo>
                  <a:pt x="68" y="126"/>
                </a:lnTo>
                <a:lnTo>
                  <a:pt x="64" y="126"/>
                </a:lnTo>
                <a:lnTo>
                  <a:pt x="61" y="127"/>
                </a:lnTo>
                <a:lnTo>
                  <a:pt x="61" y="127"/>
                </a:lnTo>
                <a:lnTo>
                  <a:pt x="50" y="126"/>
                </a:lnTo>
                <a:lnTo>
                  <a:pt x="41" y="127"/>
                </a:lnTo>
                <a:lnTo>
                  <a:pt x="33" y="131"/>
                </a:lnTo>
                <a:lnTo>
                  <a:pt x="30" y="133"/>
                </a:lnTo>
                <a:lnTo>
                  <a:pt x="28" y="137"/>
                </a:lnTo>
                <a:lnTo>
                  <a:pt x="28" y="137"/>
                </a:lnTo>
                <a:lnTo>
                  <a:pt x="41" y="137"/>
                </a:lnTo>
                <a:lnTo>
                  <a:pt x="48" y="138"/>
                </a:lnTo>
                <a:lnTo>
                  <a:pt x="48" y="140"/>
                </a:lnTo>
                <a:lnTo>
                  <a:pt x="46" y="142"/>
                </a:lnTo>
                <a:lnTo>
                  <a:pt x="46" y="142"/>
                </a:lnTo>
                <a:lnTo>
                  <a:pt x="42" y="146"/>
                </a:lnTo>
                <a:lnTo>
                  <a:pt x="44" y="149"/>
                </a:lnTo>
                <a:lnTo>
                  <a:pt x="46" y="153"/>
                </a:lnTo>
                <a:lnTo>
                  <a:pt x="52" y="157"/>
                </a:lnTo>
                <a:lnTo>
                  <a:pt x="75" y="169"/>
                </a:lnTo>
                <a:lnTo>
                  <a:pt x="75" y="169"/>
                </a:lnTo>
                <a:lnTo>
                  <a:pt x="75" y="169"/>
                </a:lnTo>
                <a:lnTo>
                  <a:pt x="75" y="171"/>
                </a:lnTo>
                <a:lnTo>
                  <a:pt x="75" y="171"/>
                </a:lnTo>
                <a:lnTo>
                  <a:pt x="75" y="171"/>
                </a:lnTo>
                <a:lnTo>
                  <a:pt x="68" y="171"/>
                </a:lnTo>
                <a:lnTo>
                  <a:pt x="59" y="168"/>
                </a:lnTo>
                <a:lnTo>
                  <a:pt x="39" y="160"/>
                </a:lnTo>
                <a:lnTo>
                  <a:pt x="39" y="160"/>
                </a:lnTo>
                <a:lnTo>
                  <a:pt x="35" y="160"/>
                </a:lnTo>
                <a:lnTo>
                  <a:pt x="31" y="160"/>
                </a:lnTo>
                <a:lnTo>
                  <a:pt x="28" y="164"/>
                </a:lnTo>
                <a:lnTo>
                  <a:pt x="28" y="164"/>
                </a:lnTo>
                <a:lnTo>
                  <a:pt x="24" y="164"/>
                </a:lnTo>
                <a:lnTo>
                  <a:pt x="19" y="164"/>
                </a:lnTo>
                <a:lnTo>
                  <a:pt x="11" y="168"/>
                </a:lnTo>
                <a:lnTo>
                  <a:pt x="8" y="171"/>
                </a:lnTo>
                <a:lnTo>
                  <a:pt x="2" y="175"/>
                </a:lnTo>
                <a:lnTo>
                  <a:pt x="0" y="180"/>
                </a:lnTo>
                <a:lnTo>
                  <a:pt x="0" y="186"/>
                </a:lnTo>
                <a:lnTo>
                  <a:pt x="2" y="193"/>
                </a:lnTo>
                <a:lnTo>
                  <a:pt x="2" y="193"/>
                </a:lnTo>
                <a:lnTo>
                  <a:pt x="8" y="186"/>
                </a:lnTo>
                <a:lnTo>
                  <a:pt x="13" y="180"/>
                </a:lnTo>
                <a:lnTo>
                  <a:pt x="17" y="180"/>
                </a:lnTo>
                <a:lnTo>
                  <a:pt x="20" y="180"/>
                </a:lnTo>
                <a:lnTo>
                  <a:pt x="20" y="180"/>
                </a:lnTo>
                <a:lnTo>
                  <a:pt x="22" y="182"/>
                </a:lnTo>
                <a:lnTo>
                  <a:pt x="22" y="188"/>
                </a:lnTo>
                <a:lnTo>
                  <a:pt x="22" y="191"/>
                </a:lnTo>
                <a:lnTo>
                  <a:pt x="24" y="195"/>
                </a:lnTo>
                <a:lnTo>
                  <a:pt x="26" y="197"/>
                </a:lnTo>
                <a:lnTo>
                  <a:pt x="26" y="197"/>
                </a:lnTo>
                <a:lnTo>
                  <a:pt x="30" y="199"/>
                </a:lnTo>
                <a:lnTo>
                  <a:pt x="37" y="199"/>
                </a:lnTo>
                <a:lnTo>
                  <a:pt x="52" y="197"/>
                </a:lnTo>
                <a:lnTo>
                  <a:pt x="66" y="195"/>
                </a:lnTo>
                <a:lnTo>
                  <a:pt x="73" y="195"/>
                </a:lnTo>
                <a:lnTo>
                  <a:pt x="75" y="195"/>
                </a:lnTo>
                <a:lnTo>
                  <a:pt x="75" y="195"/>
                </a:lnTo>
                <a:lnTo>
                  <a:pt x="75" y="197"/>
                </a:lnTo>
                <a:lnTo>
                  <a:pt x="72" y="199"/>
                </a:lnTo>
                <a:lnTo>
                  <a:pt x="59" y="200"/>
                </a:lnTo>
                <a:lnTo>
                  <a:pt x="44" y="202"/>
                </a:lnTo>
                <a:lnTo>
                  <a:pt x="39" y="206"/>
                </a:lnTo>
                <a:lnTo>
                  <a:pt x="37" y="208"/>
                </a:lnTo>
                <a:lnTo>
                  <a:pt x="37" y="208"/>
                </a:lnTo>
                <a:lnTo>
                  <a:pt x="37" y="213"/>
                </a:lnTo>
                <a:lnTo>
                  <a:pt x="37" y="213"/>
                </a:lnTo>
                <a:lnTo>
                  <a:pt x="37" y="215"/>
                </a:lnTo>
                <a:lnTo>
                  <a:pt x="33" y="219"/>
                </a:lnTo>
                <a:lnTo>
                  <a:pt x="30" y="226"/>
                </a:lnTo>
                <a:lnTo>
                  <a:pt x="28" y="233"/>
                </a:lnTo>
                <a:lnTo>
                  <a:pt x="28" y="233"/>
                </a:lnTo>
                <a:lnTo>
                  <a:pt x="28" y="237"/>
                </a:lnTo>
                <a:lnTo>
                  <a:pt x="30" y="243"/>
                </a:lnTo>
                <a:lnTo>
                  <a:pt x="35" y="248"/>
                </a:lnTo>
                <a:lnTo>
                  <a:pt x="41" y="253"/>
                </a:lnTo>
                <a:lnTo>
                  <a:pt x="41" y="253"/>
                </a:lnTo>
                <a:lnTo>
                  <a:pt x="42" y="252"/>
                </a:lnTo>
                <a:lnTo>
                  <a:pt x="41" y="244"/>
                </a:lnTo>
                <a:lnTo>
                  <a:pt x="41" y="239"/>
                </a:lnTo>
                <a:lnTo>
                  <a:pt x="42" y="237"/>
                </a:lnTo>
                <a:lnTo>
                  <a:pt x="42" y="235"/>
                </a:lnTo>
                <a:lnTo>
                  <a:pt x="42" y="235"/>
                </a:lnTo>
                <a:lnTo>
                  <a:pt x="46" y="235"/>
                </a:lnTo>
                <a:lnTo>
                  <a:pt x="48" y="237"/>
                </a:lnTo>
                <a:lnTo>
                  <a:pt x="52" y="241"/>
                </a:lnTo>
                <a:lnTo>
                  <a:pt x="55" y="243"/>
                </a:lnTo>
                <a:lnTo>
                  <a:pt x="55" y="243"/>
                </a:lnTo>
                <a:lnTo>
                  <a:pt x="59" y="241"/>
                </a:lnTo>
                <a:lnTo>
                  <a:pt x="62" y="239"/>
                </a:lnTo>
                <a:lnTo>
                  <a:pt x="72" y="232"/>
                </a:lnTo>
                <a:lnTo>
                  <a:pt x="81" y="222"/>
                </a:lnTo>
                <a:lnTo>
                  <a:pt x="86" y="217"/>
                </a:lnTo>
                <a:lnTo>
                  <a:pt x="94" y="213"/>
                </a:lnTo>
                <a:lnTo>
                  <a:pt x="94" y="213"/>
                </a:lnTo>
                <a:lnTo>
                  <a:pt x="103" y="210"/>
                </a:lnTo>
                <a:lnTo>
                  <a:pt x="106" y="208"/>
                </a:lnTo>
                <a:lnTo>
                  <a:pt x="108" y="210"/>
                </a:lnTo>
                <a:lnTo>
                  <a:pt x="108" y="211"/>
                </a:lnTo>
                <a:lnTo>
                  <a:pt x="108" y="217"/>
                </a:lnTo>
                <a:lnTo>
                  <a:pt x="108" y="221"/>
                </a:lnTo>
                <a:lnTo>
                  <a:pt x="110" y="222"/>
                </a:lnTo>
                <a:lnTo>
                  <a:pt x="110" y="222"/>
                </a:lnTo>
                <a:lnTo>
                  <a:pt x="115" y="224"/>
                </a:lnTo>
                <a:lnTo>
                  <a:pt x="117" y="226"/>
                </a:lnTo>
                <a:lnTo>
                  <a:pt x="117" y="230"/>
                </a:lnTo>
                <a:lnTo>
                  <a:pt x="115" y="233"/>
                </a:lnTo>
                <a:lnTo>
                  <a:pt x="112" y="239"/>
                </a:lnTo>
                <a:lnTo>
                  <a:pt x="108" y="243"/>
                </a:lnTo>
                <a:lnTo>
                  <a:pt x="108" y="243"/>
                </a:lnTo>
                <a:lnTo>
                  <a:pt x="114" y="243"/>
                </a:lnTo>
                <a:lnTo>
                  <a:pt x="121" y="241"/>
                </a:lnTo>
                <a:lnTo>
                  <a:pt x="128" y="233"/>
                </a:lnTo>
                <a:lnTo>
                  <a:pt x="132" y="230"/>
                </a:lnTo>
                <a:lnTo>
                  <a:pt x="136" y="224"/>
                </a:lnTo>
                <a:lnTo>
                  <a:pt x="136" y="224"/>
                </a:lnTo>
                <a:lnTo>
                  <a:pt x="136" y="221"/>
                </a:lnTo>
                <a:lnTo>
                  <a:pt x="137" y="221"/>
                </a:lnTo>
                <a:lnTo>
                  <a:pt x="141" y="219"/>
                </a:lnTo>
                <a:lnTo>
                  <a:pt x="143" y="217"/>
                </a:lnTo>
                <a:lnTo>
                  <a:pt x="143" y="217"/>
                </a:lnTo>
                <a:lnTo>
                  <a:pt x="145" y="215"/>
                </a:lnTo>
                <a:lnTo>
                  <a:pt x="145" y="211"/>
                </a:lnTo>
                <a:lnTo>
                  <a:pt x="145" y="208"/>
                </a:lnTo>
                <a:lnTo>
                  <a:pt x="145" y="204"/>
                </a:lnTo>
                <a:lnTo>
                  <a:pt x="145" y="204"/>
                </a:lnTo>
                <a:lnTo>
                  <a:pt x="147" y="200"/>
                </a:lnTo>
                <a:lnTo>
                  <a:pt x="150" y="199"/>
                </a:lnTo>
                <a:lnTo>
                  <a:pt x="157" y="197"/>
                </a:lnTo>
                <a:lnTo>
                  <a:pt x="165" y="195"/>
                </a:lnTo>
                <a:lnTo>
                  <a:pt x="167" y="193"/>
                </a:lnTo>
                <a:lnTo>
                  <a:pt x="167" y="191"/>
                </a:lnTo>
                <a:lnTo>
                  <a:pt x="167" y="191"/>
                </a:lnTo>
                <a:lnTo>
                  <a:pt x="167" y="186"/>
                </a:lnTo>
                <a:lnTo>
                  <a:pt x="170" y="180"/>
                </a:lnTo>
                <a:lnTo>
                  <a:pt x="176" y="179"/>
                </a:lnTo>
                <a:lnTo>
                  <a:pt x="179" y="177"/>
                </a:lnTo>
                <a:lnTo>
                  <a:pt x="179" y="177"/>
                </a:lnTo>
                <a:lnTo>
                  <a:pt x="181" y="179"/>
                </a:lnTo>
                <a:lnTo>
                  <a:pt x="183" y="184"/>
                </a:lnTo>
                <a:lnTo>
                  <a:pt x="189" y="190"/>
                </a:lnTo>
                <a:lnTo>
                  <a:pt x="194" y="193"/>
                </a:lnTo>
                <a:lnTo>
                  <a:pt x="199" y="197"/>
                </a:lnTo>
                <a:lnTo>
                  <a:pt x="199" y="197"/>
                </a:lnTo>
                <a:lnTo>
                  <a:pt x="221" y="186"/>
                </a:lnTo>
                <a:lnTo>
                  <a:pt x="221" y="186"/>
                </a:lnTo>
                <a:lnTo>
                  <a:pt x="231" y="182"/>
                </a:lnTo>
                <a:lnTo>
                  <a:pt x="234" y="179"/>
                </a:lnTo>
                <a:lnTo>
                  <a:pt x="234" y="179"/>
                </a:lnTo>
                <a:lnTo>
                  <a:pt x="231" y="173"/>
                </a:lnTo>
                <a:lnTo>
                  <a:pt x="227" y="169"/>
                </a:lnTo>
                <a:lnTo>
                  <a:pt x="225" y="164"/>
                </a:lnTo>
                <a:lnTo>
                  <a:pt x="225" y="164"/>
                </a:lnTo>
                <a:lnTo>
                  <a:pt x="223" y="158"/>
                </a:lnTo>
                <a:lnTo>
                  <a:pt x="223" y="155"/>
                </a:lnTo>
                <a:lnTo>
                  <a:pt x="223" y="155"/>
                </a:lnTo>
                <a:lnTo>
                  <a:pt x="229" y="162"/>
                </a:lnTo>
                <a:lnTo>
                  <a:pt x="236" y="168"/>
                </a:lnTo>
                <a:lnTo>
                  <a:pt x="245" y="173"/>
                </a:lnTo>
                <a:lnTo>
                  <a:pt x="245" y="173"/>
                </a:lnTo>
                <a:lnTo>
                  <a:pt x="271" y="157"/>
                </a:lnTo>
                <a:lnTo>
                  <a:pt x="271" y="157"/>
                </a:lnTo>
                <a:lnTo>
                  <a:pt x="276" y="155"/>
                </a:lnTo>
                <a:lnTo>
                  <a:pt x="276" y="155"/>
                </a:lnTo>
                <a:lnTo>
                  <a:pt x="276" y="155"/>
                </a:lnTo>
                <a:lnTo>
                  <a:pt x="276" y="155"/>
                </a:lnTo>
                <a:lnTo>
                  <a:pt x="273" y="149"/>
                </a:lnTo>
                <a:lnTo>
                  <a:pt x="267" y="144"/>
                </a:lnTo>
                <a:lnTo>
                  <a:pt x="262" y="137"/>
                </a:lnTo>
                <a:lnTo>
                  <a:pt x="262" y="133"/>
                </a:lnTo>
                <a:lnTo>
                  <a:pt x="263" y="131"/>
                </a:lnTo>
                <a:lnTo>
                  <a:pt x="263" y="131"/>
                </a:lnTo>
                <a:lnTo>
                  <a:pt x="265" y="129"/>
                </a:lnTo>
                <a:lnTo>
                  <a:pt x="265" y="126"/>
                </a:lnTo>
                <a:lnTo>
                  <a:pt x="262" y="115"/>
                </a:lnTo>
                <a:lnTo>
                  <a:pt x="258" y="105"/>
                </a:lnTo>
                <a:lnTo>
                  <a:pt x="258" y="100"/>
                </a:lnTo>
                <a:lnTo>
                  <a:pt x="262" y="98"/>
                </a:lnTo>
                <a:lnTo>
                  <a:pt x="262" y="98"/>
                </a:lnTo>
                <a:lnTo>
                  <a:pt x="313" y="73"/>
                </a:lnTo>
                <a:lnTo>
                  <a:pt x="357" y="51"/>
                </a:lnTo>
                <a:lnTo>
                  <a:pt x="357" y="51"/>
                </a:lnTo>
                <a:lnTo>
                  <a:pt x="353" y="45"/>
                </a:lnTo>
                <a:lnTo>
                  <a:pt x="349" y="38"/>
                </a:lnTo>
                <a:lnTo>
                  <a:pt x="344" y="3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88" name="Freeform 39"/>
          <p:cNvSpPr>
            <a:spLocks/>
          </p:cNvSpPr>
          <p:nvPr userDrawn="1"/>
        </p:nvSpPr>
        <p:spPr bwMode="auto">
          <a:xfrm>
            <a:off x="8229601" y="-437728"/>
            <a:ext cx="120650" cy="115888"/>
          </a:xfrm>
          <a:custGeom>
            <a:avLst/>
            <a:gdLst>
              <a:gd name="T0" fmla="*/ 0 w 152"/>
              <a:gd name="T1" fmla="*/ 42 h 144"/>
              <a:gd name="T2" fmla="*/ 2 w 152"/>
              <a:gd name="T3" fmla="*/ 51 h 144"/>
              <a:gd name="T4" fmla="*/ 4 w 152"/>
              <a:gd name="T5" fmla="*/ 57 h 144"/>
              <a:gd name="T6" fmla="*/ 15 w 152"/>
              <a:gd name="T7" fmla="*/ 60 h 144"/>
              <a:gd name="T8" fmla="*/ 18 w 152"/>
              <a:gd name="T9" fmla="*/ 58 h 144"/>
              <a:gd name="T10" fmla="*/ 20 w 152"/>
              <a:gd name="T11" fmla="*/ 51 h 144"/>
              <a:gd name="T12" fmla="*/ 22 w 152"/>
              <a:gd name="T13" fmla="*/ 44 h 144"/>
              <a:gd name="T14" fmla="*/ 24 w 152"/>
              <a:gd name="T15" fmla="*/ 42 h 144"/>
              <a:gd name="T16" fmla="*/ 26 w 152"/>
              <a:gd name="T17" fmla="*/ 42 h 144"/>
              <a:gd name="T18" fmla="*/ 28 w 152"/>
              <a:gd name="T19" fmla="*/ 40 h 144"/>
              <a:gd name="T20" fmla="*/ 68 w 152"/>
              <a:gd name="T21" fmla="*/ 60 h 144"/>
              <a:gd name="T22" fmla="*/ 106 w 152"/>
              <a:gd name="T23" fmla="*/ 86 h 144"/>
              <a:gd name="T24" fmla="*/ 112 w 152"/>
              <a:gd name="T25" fmla="*/ 89 h 144"/>
              <a:gd name="T26" fmla="*/ 106 w 152"/>
              <a:gd name="T27" fmla="*/ 100 h 144"/>
              <a:gd name="T28" fmla="*/ 95 w 152"/>
              <a:gd name="T29" fmla="*/ 128 h 144"/>
              <a:gd name="T30" fmla="*/ 93 w 152"/>
              <a:gd name="T31" fmla="*/ 135 h 144"/>
              <a:gd name="T32" fmla="*/ 97 w 152"/>
              <a:gd name="T33" fmla="*/ 142 h 144"/>
              <a:gd name="T34" fmla="*/ 104 w 152"/>
              <a:gd name="T35" fmla="*/ 144 h 144"/>
              <a:gd name="T36" fmla="*/ 110 w 152"/>
              <a:gd name="T37" fmla="*/ 144 h 144"/>
              <a:gd name="T38" fmla="*/ 117 w 152"/>
              <a:gd name="T39" fmla="*/ 139 h 144"/>
              <a:gd name="T40" fmla="*/ 119 w 152"/>
              <a:gd name="T41" fmla="*/ 135 h 144"/>
              <a:gd name="T42" fmla="*/ 119 w 152"/>
              <a:gd name="T43" fmla="*/ 130 h 144"/>
              <a:gd name="T44" fmla="*/ 112 w 152"/>
              <a:gd name="T45" fmla="*/ 122 h 144"/>
              <a:gd name="T46" fmla="*/ 110 w 152"/>
              <a:gd name="T47" fmla="*/ 122 h 144"/>
              <a:gd name="T48" fmla="*/ 115 w 152"/>
              <a:gd name="T49" fmla="*/ 110 h 144"/>
              <a:gd name="T50" fmla="*/ 123 w 152"/>
              <a:gd name="T51" fmla="*/ 93 h 144"/>
              <a:gd name="T52" fmla="*/ 132 w 152"/>
              <a:gd name="T53" fmla="*/ 86 h 144"/>
              <a:gd name="T54" fmla="*/ 141 w 152"/>
              <a:gd name="T55" fmla="*/ 84 h 144"/>
              <a:gd name="T56" fmla="*/ 139 w 152"/>
              <a:gd name="T57" fmla="*/ 80 h 144"/>
              <a:gd name="T58" fmla="*/ 135 w 152"/>
              <a:gd name="T59" fmla="*/ 69 h 144"/>
              <a:gd name="T60" fmla="*/ 137 w 152"/>
              <a:gd name="T61" fmla="*/ 57 h 144"/>
              <a:gd name="T62" fmla="*/ 141 w 152"/>
              <a:gd name="T63" fmla="*/ 49 h 144"/>
              <a:gd name="T64" fmla="*/ 152 w 152"/>
              <a:gd name="T65" fmla="*/ 18 h 144"/>
              <a:gd name="T66" fmla="*/ 152 w 152"/>
              <a:gd name="T67" fmla="*/ 13 h 144"/>
              <a:gd name="T68" fmla="*/ 146 w 152"/>
              <a:gd name="T69" fmla="*/ 5 h 144"/>
              <a:gd name="T70" fmla="*/ 141 w 152"/>
              <a:gd name="T71" fmla="*/ 4 h 144"/>
              <a:gd name="T72" fmla="*/ 132 w 152"/>
              <a:gd name="T73" fmla="*/ 7 h 144"/>
              <a:gd name="T74" fmla="*/ 128 w 152"/>
              <a:gd name="T75" fmla="*/ 15 h 144"/>
              <a:gd name="T76" fmla="*/ 128 w 152"/>
              <a:gd name="T77" fmla="*/ 20 h 144"/>
              <a:gd name="T78" fmla="*/ 134 w 152"/>
              <a:gd name="T79" fmla="*/ 27 h 144"/>
              <a:gd name="T80" fmla="*/ 137 w 152"/>
              <a:gd name="T81" fmla="*/ 29 h 144"/>
              <a:gd name="T82" fmla="*/ 132 w 152"/>
              <a:gd name="T83" fmla="*/ 46 h 144"/>
              <a:gd name="T84" fmla="*/ 124 w 152"/>
              <a:gd name="T85" fmla="*/ 55 h 144"/>
              <a:gd name="T86" fmla="*/ 117 w 152"/>
              <a:gd name="T87" fmla="*/ 51 h 144"/>
              <a:gd name="T88" fmla="*/ 60 w 152"/>
              <a:gd name="T89" fmla="*/ 24 h 144"/>
              <a:gd name="T90" fmla="*/ 40 w 152"/>
              <a:gd name="T91" fmla="*/ 18 h 144"/>
              <a:gd name="T92" fmla="*/ 42 w 152"/>
              <a:gd name="T93" fmla="*/ 13 h 144"/>
              <a:gd name="T94" fmla="*/ 50 w 152"/>
              <a:gd name="T95" fmla="*/ 0 h 144"/>
              <a:gd name="T96" fmla="*/ 46 w 152"/>
              <a:gd name="T97" fmla="*/ 2 h 144"/>
              <a:gd name="T98" fmla="*/ 39 w 152"/>
              <a:gd name="T99" fmla="*/ 5 h 144"/>
              <a:gd name="T100" fmla="*/ 24 w 152"/>
              <a:gd name="T101" fmla="*/ 11 h 144"/>
              <a:gd name="T102" fmla="*/ 18 w 152"/>
              <a:gd name="T103" fmla="*/ 11 h 144"/>
              <a:gd name="T104" fmla="*/ 15 w 152"/>
              <a:gd name="T105" fmla="*/ 11 h 144"/>
              <a:gd name="T106" fmla="*/ 9 w 152"/>
              <a:gd name="T107" fmla="*/ 22 h 144"/>
              <a:gd name="T108" fmla="*/ 6 w 152"/>
              <a:gd name="T109" fmla="*/ 33 h 144"/>
              <a:gd name="T110" fmla="*/ 2 w 152"/>
              <a:gd name="T111" fmla="*/ 3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2" h="144">
                <a:moveTo>
                  <a:pt x="0" y="42"/>
                </a:moveTo>
                <a:lnTo>
                  <a:pt x="0" y="42"/>
                </a:lnTo>
                <a:lnTo>
                  <a:pt x="0" y="47"/>
                </a:lnTo>
                <a:lnTo>
                  <a:pt x="2" y="51"/>
                </a:lnTo>
                <a:lnTo>
                  <a:pt x="4" y="57"/>
                </a:lnTo>
                <a:lnTo>
                  <a:pt x="4" y="57"/>
                </a:lnTo>
                <a:lnTo>
                  <a:pt x="11" y="58"/>
                </a:lnTo>
                <a:lnTo>
                  <a:pt x="15" y="60"/>
                </a:lnTo>
                <a:lnTo>
                  <a:pt x="18" y="58"/>
                </a:lnTo>
                <a:lnTo>
                  <a:pt x="18" y="58"/>
                </a:lnTo>
                <a:lnTo>
                  <a:pt x="20" y="55"/>
                </a:lnTo>
                <a:lnTo>
                  <a:pt x="20" y="51"/>
                </a:lnTo>
                <a:lnTo>
                  <a:pt x="20" y="47"/>
                </a:lnTo>
                <a:lnTo>
                  <a:pt x="22" y="44"/>
                </a:lnTo>
                <a:lnTo>
                  <a:pt x="22" y="44"/>
                </a:lnTo>
                <a:lnTo>
                  <a:pt x="24" y="42"/>
                </a:lnTo>
                <a:lnTo>
                  <a:pt x="26" y="42"/>
                </a:lnTo>
                <a:lnTo>
                  <a:pt x="26" y="42"/>
                </a:lnTo>
                <a:lnTo>
                  <a:pt x="28" y="40"/>
                </a:lnTo>
                <a:lnTo>
                  <a:pt x="28" y="40"/>
                </a:lnTo>
                <a:lnTo>
                  <a:pt x="48" y="49"/>
                </a:lnTo>
                <a:lnTo>
                  <a:pt x="68" y="60"/>
                </a:lnTo>
                <a:lnTo>
                  <a:pt x="106" y="86"/>
                </a:lnTo>
                <a:lnTo>
                  <a:pt x="106" y="86"/>
                </a:lnTo>
                <a:lnTo>
                  <a:pt x="112" y="89"/>
                </a:lnTo>
                <a:lnTo>
                  <a:pt x="112" y="89"/>
                </a:lnTo>
                <a:lnTo>
                  <a:pt x="106" y="100"/>
                </a:lnTo>
                <a:lnTo>
                  <a:pt x="106" y="100"/>
                </a:lnTo>
                <a:lnTo>
                  <a:pt x="97" y="119"/>
                </a:lnTo>
                <a:lnTo>
                  <a:pt x="95" y="128"/>
                </a:lnTo>
                <a:lnTo>
                  <a:pt x="93" y="135"/>
                </a:lnTo>
                <a:lnTo>
                  <a:pt x="93" y="135"/>
                </a:lnTo>
                <a:lnTo>
                  <a:pt x="95" y="139"/>
                </a:lnTo>
                <a:lnTo>
                  <a:pt x="97" y="142"/>
                </a:lnTo>
                <a:lnTo>
                  <a:pt x="101" y="144"/>
                </a:lnTo>
                <a:lnTo>
                  <a:pt x="104" y="144"/>
                </a:lnTo>
                <a:lnTo>
                  <a:pt x="104" y="144"/>
                </a:lnTo>
                <a:lnTo>
                  <a:pt x="110" y="144"/>
                </a:lnTo>
                <a:lnTo>
                  <a:pt x="113" y="142"/>
                </a:lnTo>
                <a:lnTo>
                  <a:pt x="117" y="139"/>
                </a:lnTo>
                <a:lnTo>
                  <a:pt x="119" y="135"/>
                </a:lnTo>
                <a:lnTo>
                  <a:pt x="119" y="135"/>
                </a:lnTo>
                <a:lnTo>
                  <a:pt x="119" y="131"/>
                </a:lnTo>
                <a:lnTo>
                  <a:pt x="119" y="130"/>
                </a:lnTo>
                <a:lnTo>
                  <a:pt x="115" y="124"/>
                </a:lnTo>
                <a:lnTo>
                  <a:pt x="112" y="122"/>
                </a:lnTo>
                <a:lnTo>
                  <a:pt x="110" y="122"/>
                </a:lnTo>
                <a:lnTo>
                  <a:pt x="110" y="122"/>
                </a:lnTo>
                <a:lnTo>
                  <a:pt x="115" y="110"/>
                </a:lnTo>
                <a:lnTo>
                  <a:pt x="115" y="110"/>
                </a:lnTo>
                <a:lnTo>
                  <a:pt x="119" y="100"/>
                </a:lnTo>
                <a:lnTo>
                  <a:pt x="123" y="93"/>
                </a:lnTo>
                <a:lnTo>
                  <a:pt x="128" y="89"/>
                </a:lnTo>
                <a:lnTo>
                  <a:pt x="132" y="86"/>
                </a:lnTo>
                <a:lnTo>
                  <a:pt x="137" y="84"/>
                </a:lnTo>
                <a:lnTo>
                  <a:pt x="141" y="84"/>
                </a:lnTo>
                <a:lnTo>
                  <a:pt x="141" y="84"/>
                </a:lnTo>
                <a:lnTo>
                  <a:pt x="139" y="80"/>
                </a:lnTo>
                <a:lnTo>
                  <a:pt x="135" y="75"/>
                </a:lnTo>
                <a:lnTo>
                  <a:pt x="135" y="69"/>
                </a:lnTo>
                <a:lnTo>
                  <a:pt x="135" y="64"/>
                </a:lnTo>
                <a:lnTo>
                  <a:pt x="137" y="57"/>
                </a:lnTo>
                <a:lnTo>
                  <a:pt x="141" y="49"/>
                </a:lnTo>
                <a:lnTo>
                  <a:pt x="141" y="49"/>
                </a:lnTo>
                <a:lnTo>
                  <a:pt x="148" y="31"/>
                </a:lnTo>
                <a:lnTo>
                  <a:pt x="152" y="18"/>
                </a:lnTo>
                <a:lnTo>
                  <a:pt x="152" y="18"/>
                </a:lnTo>
                <a:lnTo>
                  <a:pt x="152" y="13"/>
                </a:lnTo>
                <a:lnTo>
                  <a:pt x="150" y="9"/>
                </a:lnTo>
                <a:lnTo>
                  <a:pt x="146" y="5"/>
                </a:lnTo>
                <a:lnTo>
                  <a:pt x="141" y="4"/>
                </a:lnTo>
                <a:lnTo>
                  <a:pt x="141" y="4"/>
                </a:lnTo>
                <a:lnTo>
                  <a:pt x="137" y="5"/>
                </a:lnTo>
                <a:lnTo>
                  <a:pt x="132" y="7"/>
                </a:lnTo>
                <a:lnTo>
                  <a:pt x="130" y="11"/>
                </a:lnTo>
                <a:lnTo>
                  <a:pt x="128" y="15"/>
                </a:lnTo>
                <a:lnTo>
                  <a:pt x="128" y="15"/>
                </a:lnTo>
                <a:lnTo>
                  <a:pt x="128" y="20"/>
                </a:lnTo>
                <a:lnTo>
                  <a:pt x="130" y="24"/>
                </a:lnTo>
                <a:lnTo>
                  <a:pt x="134" y="27"/>
                </a:lnTo>
                <a:lnTo>
                  <a:pt x="137" y="29"/>
                </a:lnTo>
                <a:lnTo>
                  <a:pt x="137" y="29"/>
                </a:lnTo>
                <a:lnTo>
                  <a:pt x="137" y="29"/>
                </a:lnTo>
                <a:lnTo>
                  <a:pt x="132" y="46"/>
                </a:lnTo>
                <a:lnTo>
                  <a:pt x="124" y="55"/>
                </a:lnTo>
                <a:lnTo>
                  <a:pt x="124" y="55"/>
                </a:lnTo>
                <a:lnTo>
                  <a:pt x="117" y="51"/>
                </a:lnTo>
                <a:lnTo>
                  <a:pt x="117" y="51"/>
                </a:lnTo>
                <a:lnTo>
                  <a:pt x="81" y="31"/>
                </a:lnTo>
                <a:lnTo>
                  <a:pt x="60" y="24"/>
                </a:lnTo>
                <a:lnTo>
                  <a:pt x="40" y="18"/>
                </a:lnTo>
                <a:lnTo>
                  <a:pt x="40" y="18"/>
                </a:lnTo>
                <a:lnTo>
                  <a:pt x="42" y="13"/>
                </a:lnTo>
                <a:lnTo>
                  <a:pt x="42" y="13"/>
                </a:lnTo>
                <a:lnTo>
                  <a:pt x="48" y="4"/>
                </a:lnTo>
                <a:lnTo>
                  <a:pt x="50" y="0"/>
                </a:lnTo>
                <a:lnTo>
                  <a:pt x="50" y="0"/>
                </a:lnTo>
                <a:lnTo>
                  <a:pt x="46" y="2"/>
                </a:lnTo>
                <a:lnTo>
                  <a:pt x="39" y="5"/>
                </a:lnTo>
                <a:lnTo>
                  <a:pt x="39" y="5"/>
                </a:lnTo>
                <a:lnTo>
                  <a:pt x="29" y="9"/>
                </a:lnTo>
                <a:lnTo>
                  <a:pt x="24" y="11"/>
                </a:lnTo>
                <a:lnTo>
                  <a:pt x="24" y="11"/>
                </a:lnTo>
                <a:lnTo>
                  <a:pt x="18" y="11"/>
                </a:lnTo>
                <a:lnTo>
                  <a:pt x="15" y="11"/>
                </a:lnTo>
                <a:lnTo>
                  <a:pt x="15" y="11"/>
                </a:lnTo>
                <a:lnTo>
                  <a:pt x="13" y="13"/>
                </a:lnTo>
                <a:lnTo>
                  <a:pt x="9" y="22"/>
                </a:lnTo>
                <a:lnTo>
                  <a:pt x="9" y="22"/>
                </a:lnTo>
                <a:lnTo>
                  <a:pt x="6" y="33"/>
                </a:lnTo>
                <a:lnTo>
                  <a:pt x="6" y="33"/>
                </a:lnTo>
                <a:lnTo>
                  <a:pt x="2" y="38"/>
                </a:lnTo>
                <a:lnTo>
                  <a:pt x="0" y="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89" name="Freeform 40"/>
          <p:cNvSpPr>
            <a:spLocks/>
          </p:cNvSpPr>
          <p:nvPr userDrawn="1"/>
        </p:nvSpPr>
        <p:spPr bwMode="auto">
          <a:xfrm>
            <a:off x="8226426" y="-921915"/>
            <a:ext cx="30163" cy="34925"/>
          </a:xfrm>
          <a:custGeom>
            <a:avLst/>
            <a:gdLst>
              <a:gd name="T0" fmla="*/ 12 w 36"/>
              <a:gd name="T1" fmla="*/ 44 h 44"/>
              <a:gd name="T2" fmla="*/ 12 w 36"/>
              <a:gd name="T3" fmla="*/ 44 h 44"/>
              <a:gd name="T4" fmla="*/ 27 w 36"/>
              <a:gd name="T5" fmla="*/ 42 h 44"/>
              <a:gd name="T6" fmla="*/ 36 w 36"/>
              <a:gd name="T7" fmla="*/ 40 h 44"/>
              <a:gd name="T8" fmla="*/ 36 w 36"/>
              <a:gd name="T9" fmla="*/ 3 h 44"/>
              <a:gd name="T10" fmla="*/ 36 w 36"/>
              <a:gd name="T11" fmla="*/ 3 h 44"/>
              <a:gd name="T12" fmla="*/ 16 w 36"/>
              <a:gd name="T13" fmla="*/ 0 h 44"/>
              <a:gd name="T14" fmla="*/ 16 w 36"/>
              <a:gd name="T15" fmla="*/ 0 h 44"/>
              <a:gd name="T16" fmla="*/ 11 w 36"/>
              <a:gd name="T17" fmla="*/ 0 h 44"/>
              <a:gd name="T18" fmla="*/ 7 w 36"/>
              <a:gd name="T19" fmla="*/ 2 h 44"/>
              <a:gd name="T20" fmla="*/ 3 w 36"/>
              <a:gd name="T21" fmla="*/ 3 h 44"/>
              <a:gd name="T22" fmla="*/ 1 w 36"/>
              <a:gd name="T23" fmla="*/ 7 h 44"/>
              <a:gd name="T24" fmla="*/ 0 w 36"/>
              <a:gd name="T25" fmla="*/ 13 h 44"/>
              <a:gd name="T26" fmla="*/ 0 w 36"/>
              <a:gd name="T27" fmla="*/ 16 h 44"/>
              <a:gd name="T28" fmla="*/ 0 w 36"/>
              <a:gd name="T29" fmla="*/ 27 h 44"/>
              <a:gd name="T30" fmla="*/ 0 w 36"/>
              <a:gd name="T31" fmla="*/ 27 h 44"/>
              <a:gd name="T32" fmla="*/ 1 w 36"/>
              <a:gd name="T33" fmla="*/ 34 h 44"/>
              <a:gd name="T34" fmla="*/ 5 w 36"/>
              <a:gd name="T35" fmla="*/ 40 h 44"/>
              <a:gd name="T36" fmla="*/ 9 w 36"/>
              <a:gd name="T37" fmla="*/ 42 h 44"/>
              <a:gd name="T38" fmla="*/ 12 w 36"/>
              <a:gd name="T3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 h="44">
                <a:moveTo>
                  <a:pt x="12" y="44"/>
                </a:moveTo>
                <a:lnTo>
                  <a:pt x="12" y="44"/>
                </a:lnTo>
                <a:lnTo>
                  <a:pt x="27" y="42"/>
                </a:lnTo>
                <a:lnTo>
                  <a:pt x="36" y="40"/>
                </a:lnTo>
                <a:lnTo>
                  <a:pt x="36" y="3"/>
                </a:lnTo>
                <a:lnTo>
                  <a:pt x="36" y="3"/>
                </a:lnTo>
                <a:lnTo>
                  <a:pt x="16" y="0"/>
                </a:lnTo>
                <a:lnTo>
                  <a:pt x="16" y="0"/>
                </a:lnTo>
                <a:lnTo>
                  <a:pt x="11" y="0"/>
                </a:lnTo>
                <a:lnTo>
                  <a:pt x="7" y="2"/>
                </a:lnTo>
                <a:lnTo>
                  <a:pt x="3" y="3"/>
                </a:lnTo>
                <a:lnTo>
                  <a:pt x="1" y="7"/>
                </a:lnTo>
                <a:lnTo>
                  <a:pt x="0" y="13"/>
                </a:lnTo>
                <a:lnTo>
                  <a:pt x="0" y="16"/>
                </a:lnTo>
                <a:lnTo>
                  <a:pt x="0" y="27"/>
                </a:lnTo>
                <a:lnTo>
                  <a:pt x="0" y="27"/>
                </a:lnTo>
                <a:lnTo>
                  <a:pt x="1" y="34"/>
                </a:lnTo>
                <a:lnTo>
                  <a:pt x="5" y="40"/>
                </a:lnTo>
                <a:lnTo>
                  <a:pt x="9" y="42"/>
                </a:lnTo>
                <a:lnTo>
                  <a:pt x="12" y="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0" name="Freeform 41"/>
          <p:cNvSpPr>
            <a:spLocks/>
          </p:cNvSpPr>
          <p:nvPr userDrawn="1"/>
        </p:nvSpPr>
        <p:spPr bwMode="auto">
          <a:xfrm>
            <a:off x="8262939" y="-928264"/>
            <a:ext cx="44450" cy="41275"/>
          </a:xfrm>
          <a:custGeom>
            <a:avLst/>
            <a:gdLst>
              <a:gd name="T0" fmla="*/ 55 w 55"/>
              <a:gd name="T1" fmla="*/ 38 h 53"/>
              <a:gd name="T2" fmla="*/ 55 w 55"/>
              <a:gd name="T3" fmla="*/ 27 h 53"/>
              <a:gd name="T4" fmla="*/ 55 w 55"/>
              <a:gd name="T5" fmla="*/ 7 h 53"/>
              <a:gd name="T6" fmla="*/ 55 w 55"/>
              <a:gd name="T7" fmla="*/ 1 h 53"/>
              <a:gd name="T8" fmla="*/ 53 w 55"/>
              <a:gd name="T9" fmla="*/ 0 h 53"/>
              <a:gd name="T10" fmla="*/ 46 w 55"/>
              <a:gd name="T11" fmla="*/ 0 h 53"/>
              <a:gd name="T12" fmla="*/ 40 w 55"/>
              <a:gd name="T13" fmla="*/ 0 h 53"/>
              <a:gd name="T14" fmla="*/ 29 w 55"/>
              <a:gd name="T15" fmla="*/ 0 h 53"/>
              <a:gd name="T16" fmla="*/ 28 w 55"/>
              <a:gd name="T17" fmla="*/ 7 h 53"/>
              <a:gd name="T18" fmla="*/ 26 w 55"/>
              <a:gd name="T19" fmla="*/ 0 h 53"/>
              <a:gd name="T20" fmla="*/ 17 w 55"/>
              <a:gd name="T21" fmla="*/ 0 h 53"/>
              <a:gd name="T22" fmla="*/ 11 w 55"/>
              <a:gd name="T23" fmla="*/ 0 h 53"/>
              <a:gd name="T24" fmla="*/ 4 w 55"/>
              <a:gd name="T25" fmla="*/ 0 h 53"/>
              <a:gd name="T26" fmla="*/ 2 w 55"/>
              <a:gd name="T27" fmla="*/ 1 h 53"/>
              <a:gd name="T28" fmla="*/ 0 w 55"/>
              <a:gd name="T29" fmla="*/ 7 h 53"/>
              <a:gd name="T30" fmla="*/ 0 w 55"/>
              <a:gd name="T31" fmla="*/ 27 h 53"/>
              <a:gd name="T32" fmla="*/ 0 w 55"/>
              <a:gd name="T33" fmla="*/ 49 h 53"/>
              <a:gd name="T34" fmla="*/ 6 w 55"/>
              <a:gd name="T35" fmla="*/ 49 h 53"/>
              <a:gd name="T36" fmla="*/ 9 w 55"/>
              <a:gd name="T37" fmla="*/ 47 h 53"/>
              <a:gd name="T38" fmla="*/ 13 w 55"/>
              <a:gd name="T39" fmla="*/ 40 h 53"/>
              <a:gd name="T40" fmla="*/ 13 w 55"/>
              <a:gd name="T41" fmla="*/ 53 h 53"/>
              <a:gd name="T42" fmla="*/ 17 w 55"/>
              <a:gd name="T43" fmla="*/ 53 h 53"/>
              <a:gd name="T44" fmla="*/ 24 w 55"/>
              <a:gd name="T45" fmla="*/ 49 h 53"/>
              <a:gd name="T46" fmla="*/ 26 w 55"/>
              <a:gd name="T47" fmla="*/ 43 h 53"/>
              <a:gd name="T48" fmla="*/ 28 w 55"/>
              <a:gd name="T49" fmla="*/ 40 h 53"/>
              <a:gd name="T50" fmla="*/ 28 w 55"/>
              <a:gd name="T51" fmla="*/ 53 h 53"/>
              <a:gd name="T52" fmla="*/ 39 w 55"/>
              <a:gd name="T53" fmla="*/ 49 h 53"/>
              <a:gd name="T54" fmla="*/ 42 w 55"/>
              <a:gd name="T55" fmla="*/ 43 h 53"/>
              <a:gd name="T56" fmla="*/ 42 w 55"/>
              <a:gd name="T57" fmla="*/ 40 h 53"/>
              <a:gd name="T58" fmla="*/ 42 w 55"/>
              <a:gd name="T59" fmla="*/ 49 h 53"/>
              <a:gd name="T60" fmla="*/ 46 w 55"/>
              <a:gd name="T61" fmla="*/ 47 h 53"/>
              <a:gd name="T62" fmla="*/ 51 w 55"/>
              <a:gd name="T63" fmla="*/ 45 h 53"/>
              <a:gd name="T64" fmla="*/ 55 w 55"/>
              <a:gd name="T65" fmla="*/ 38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5" h="53">
                <a:moveTo>
                  <a:pt x="55" y="38"/>
                </a:moveTo>
                <a:lnTo>
                  <a:pt x="55" y="38"/>
                </a:lnTo>
                <a:lnTo>
                  <a:pt x="55" y="27"/>
                </a:lnTo>
                <a:lnTo>
                  <a:pt x="55" y="27"/>
                </a:lnTo>
                <a:lnTo>
                  <a:pt x="55" y="7"/>
                </a:lnTo>
                <a:lnTo>
                  <a:pt x="55" y="7"/>
                </a:lnTo>
                <a:lnTo>
                  <a:pt x="55" y="3"/>
                </a:lnTo>
                <a:lnTo>
                  <a:pt x="55" y="1"/>
                </a:lnTo>
                <a:lnTo>
                  <a:pt x="53" y="0"/>
                </a:lnTo>
                <a:lnTo>
                  <a:pt x="53" y="0"/>
                </a:lnTo>
                <a:lnTo>
                  <a:pt x="46" y="0"/>
                </a:lnTo>
                <a:lnTo>
                  <a:pt x="46" y="0"/>
                </a:lnTo>
                <a:lnTo>
                  <a:pt x="42" y="7"/>
                </a:lnTo>
                <a:lnTo>
                  <a:pt x="40" y="0"/>
                </a:lnTo>
                <a:lnTo>
                  <a:pt x="40" y="0"/>
                </a:lnTo>
                <a:lnTo>
                  <a:pt x="29" y="0"/>
                </a:lnTo>
                <a:lnTo>
                  <a:pt x="29" y="0"/>
                </a:lnTo>
                <a:lnTo>
                  <a:pt x="28" y="7"/>
                </a:lnTo>
                <a:lnTo>
                  <a:pt x="26" y="0"/>
                </a:lnTo>
                <a:lnTo>
                  <a:pt x="26" y="0"/>
                </a:lnTo>
                <a:lnTo>
                  <a:pt x="17" y="0"/>
                </a:lnTo>
                <a:lnTo>
                  <a:pt x="17" y="0"/>
                </a:lnTo>
                <a:lnTo>
                  <a:pt x="13" y="7"/>
                </a:lnTo>
                <a:lnTo>
                  <a:pt x="11" y="0"/>
                </a:lnTo>
                <a:lnTo>
                  <a:pt x="11" y="0"/>
                </a:lnTo>
                <a:lnTo>
                  <a:pt x="4" y="0"/>
                </a:lnTo>
                <a:lnTo>
                  <a:pt x="4" y="0"/>
                </a:lnTo>
                <a:lnTo>
                  <a:pt x="2" y="1"/>
                </a:lnTo>
                <a:lnTo>
                  <a:pt x="0" y="3"/>
                </a:lnTo>
                <a:lnTo>
                  <a:pt x="0" y="7"/>
                </a:lnTo>
                <a:lnTo>
                  <a:pt x="0" y="7"/>
                </a:lnTo>
                <a:lnTo>
                  <a:pt x="0" y="27"/>
                </a:lnTo>
                <a:lnTo>
                  <a:pt x="0" y="27"/>
                </a:lnTo>
                <a:lnTo>
                  <a:pt x="0" y="49"/>
                </a:lnTo>
                <a:lnTo>
                  <a:pt x="0" y="49"/>
                </a:lnTo>
                <a:lnTo>
                  <a:pt x="6" y="49"/>
                </a:lnTo>
                <a:lnTo>
                  <a:pt x="9" y="47"/>
                </a:lnTo>
                <a:lnTo>
                  <a:pt x="9" y="47"/>
                </a:lnTo>
                <a:lnTo>
                  <a:pt x="11" y="42"/>
                </a:lnTo>
                <a:lnTo>
                  <a:pt x="13" y="40"/>
                </a:lnTo>
                <a:lnTo>
                  <a:pt x="13" y="40"/>
                </a:lnTo>
                <a:lnTo>
                  <a:pt x="13" y="53"/>
                </a:lnTo>
                <a:lnTo>
                  <a:pt x="13" y="53"/>
                </a:lnTo>
                <a:lnTo>
                  <a:pt x="17" y="53"/>
                </a:lnTo>
                <a:lnTo>
                  <a:pt x="20" y="51"/>
                </a:lnTo>
                <a:lnTo>
                  <a:pt x="24" y="49"/>
                </a:lnTo>
                <a:lnTo>
                  <a:pt x="24" y="49"/>
                </a:lnTo>
                <a:lnTo>
                  <a:pt x="26" y="43"/>
                </a:lnTo>
                <a:lnTo>
                  <a:pt x="28" y="40"/>
                </a:lnTo>
                <a:lnTo>
                  <a:pt x="28" y="40"/>
                </a:lnTo>
                <a:lnTo>
                  <a:pt x="28" y="53"/>
                </a:lnTo>
                <a:lnTo>
                  <a:pt x="28" y="53"/>
                </a:lnTo>
                <a:lnTo>
                  <a:pt x="33" y="51"/>
                </a:lnTo>
                <a:lnTo>
                  <a:pt x="39" y="49"/>
                </a:lnTo>
                <a:lnTo>
                  <a:pt x="39" y="49"/>
                </a:lnTo>
                <a:lnTo>
                  <a:pt x="42" y="43"/>
                </a:lnTo>
                <a:lnTo>
                  <a:pt x="42" y="40"/>
                </a:lnTo>
                <a:lnTo>
                  <a:pt x="42" y="40"/>
                </a:lnTo>
                <a:lnTo>
                  <a:pt x="42" y="49"/>
                </a:lnTo>
                <a:lnTo>
                  <a:pt x="42" y="49"/>
                </a:lnTo>
                <a:lnTo>
                  <a:pt x="46" y="47"/>
                </a:lnTo>
                <a:lnTo>
                  <a:pt x="46" y="47"/>
                </a:lnTo>
                <a:lnTo>
                  <a:pt x="51" y="45"/>
                </a:lnTo>
                <a:lnTo>
                  <a:pt x="51" y="45"/>
                </a:lnTo>
                <a:lnTo>
                  <a:pt x="53" y="43"/>
                </a:lnTo>
                <a:lnTo>
                  <a:pt x="55" y="3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1" name="Freeform 42"/>
          <p:cNvSpPr>
            <a:spLocks/>
          </p:cNvSpPr>
          <p:nvPr userDrawn="1"/>
        </p:nvSpPr>
        <p:spPr bwMode="auto">
          <a:xfrm>
            <a:off x="8269289" y="-926677"/>
            <a:ext cx="53975" cy="60325"/>
          </a:xfrm>
          <a:custGeom>
            <a:avLst/>
            <a:gdLst>
              <a:gd name="T0" fmla="*/ 67 w 67"/>
              <a:gd name="T1" fmla="*/ 57 h 77"/>
              <a:gd name="T2" fmla="*/ 67 w 67"/>
              <a:gd name="T3" fmla="*/ 44 h 77"/>
              <a:gd name="T4" fmla="*/ 67 w 67"/>
              <a:gd name="T5" fmla="*/ 44 h 77"/>
              <a:gd name="T6" fmla="*/ 65 w 67"/>
              <a:gd name="T7" fmla="*/ 42 h 77"/>
              <a:gd name="T8" fmla="*/ 63 w 67"/>
              <a:gd name="T9" fmla="*/ 37 h 77"/>
              <a:gd name="T10" fmla="*/ 63 w 67"/>
              <a:gd name="T11" fmla="*/ 30 h 77"/>
              <a:gd name="T12" fmla="*/ 63 w 67"/>
              <a:gd name="T13" fmla="*/ 30 h 77"/>
              <a:gd name="T14" fmla="*/ 63 w 67"/>
              <a:gd name="T15" fmla="*/ 26 h 77"/>
              <a:gd name="T16" fmla="*/ 65 w 67"/>
              <a:gd name="T17" fmla="*/ 21 h 77"/>
              <a:gd name="T18" fmla="*/ 67 w 67"/>
              <a:gd name="T19" fmla="*/ 17 h 77"/>
              <a:gd name="T20" fmla="*/ 67 w 67"/>
              <a:gd name="T21" fmla="*/ 6 h 77"/>
              <a:gd name="T22" fmla="*/ 67 w 67"/>
              <a:gd name="T23" fmla="*/ 6 h 77"/>
              <a:gd name="T24" fmla="*/ 63 w 67"/>
              <a:gd name="T25" fmla="*/ 2 h 77"/>
              <a:gd name="T26" fmla="*/ 60 w 67"/>
              <a:gd name="T27" fmla="*/ 0 h 77"/>
              <a:gd name="T28" fmla="*/ 56 w 67"/>
              <a:gd name="T29" fmla="*/ 0 h 77"/>
              <a:gd name="T30" fmla="*/ 56 w 67"/>
              <a:gd name="T31" fmla="*/ 41 h 77"/>
              <a:gd name="T32" fmla="*/ 56 w 67"/>
              <a:gd name="T33" fmla="*/ 41 h 77"/>
              <a:gd name="T34" fmla="*/ 54 w 67"/>
              <a:gd name="T35" fmla="*/ 46 h 77"/>
              <a:gd name="T36" fmla="*/ 51 w 67"/>
              <a:gd name="T37" fmla="*/ 52 h 77"/>
              <a:gd name="T38" fmla="*/ 45 w 67"/>
              <a:gd name="T39" fmla="*/ 55 h 77"/>
              <a:gd name="T40" fmla="*/ 38 w 67"/>
              <a:gd name="T41" fmla="*/ 57 h 77"/>
              <a:gd name="T42" fmla="*/ 38 w 67"/>
              <a:gd name="T43" fmla="*/ 57 h 77"/>
              <a:gd name="T44" fmla="*/ 23 w 67"/>
              <a:gd name="T45" fmla="*/ 59 h 77"/>
              <a:gd name="T46" fmla="*/ 10 w 67"/>
              <a:gd name="T47" fmla="*/ 61 h 77"/>
              <a:gd name="T48" fmla="*/ 0 w 67"/>
              <a:gd name="T49" fmla="*/ 61 h 77"/>
              <a:gd name="T50" fmla="*/ 0 w 67"/>
              <a:gd name="T51" fmla="*/ 61 h 77"/>
              <a:gd name="T52" fmla="*/ 1 w 67"/>
              <a:gd name="T53" fmla="*/ 70 h 77"/>
              <a:gd name="T54" fmla="*/ 1 w 67"/>
              <a:gd name="T55" fmla="*/ 70 h 77"/>
              <a:gd name="T56" fmla="*/ 5 w 67"/>
              <a:gd name="T57" fmla="*/ 75 h 77"/>
              <a:gd name="T58" fmla="*/ 7 w 67"/>
              <a:gd name="T59" fmla="*/ 77 h 77"/>
              <a:gd name="T60" fmla="*/ 54 w 67"/>
              <a:gd name="T61" fmla="*/ 77 h 77"/>
              <a:gd name="T62" fmla="*/ 67 w 67"/>
              <a:gd name="T63" fmla="*/ 5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7" h="77">
                <a:moveTo>
                  <a:pt x="67" y="57"/>
                </a:moveTo>
                <a:lnTo>
                  <a:pt x="67" y="44"/>
                </a:lnTo>
                <a:lnTo>
                  <a:pt x="67" y="44"/>
                </a:lnTo>
                <a:lnTo>
                  <a:pt x="65" y="42"/>
                </a:lnTo>
                <a:lnTo>
                  <a:pt x="63" y="37"/>
                </a:lnTo>
                <a:lnTo>
                  <a:pt x="63" y="30"/>
                </a:lnTo>
                <a:lnTo>
                  <a:pt x="63" y="30"/>
                </a:lnTo>
                <a:lnTo>
                  <a:pt x="63" y="26"/>
                </a:lnTo>
                <a:lnTo>
                  <a:pt x="65" y="21"/>
                </a:lnTo>
                <a:lnTo>
                  <a:pt x="67" y="17"/>
                </a:lnTo>
                <a:lnTo>
                  <a:pt x="67" y="6"/>
                </a:lnTo>
                <a:lnTo>
                  <a:pt x="67" y="6"/>
                </a:lnTo>
                <a:lnTo>
                  <a:pt x="63" y="2"/>
                </a:lnTo>
                <a:lnTo>
                  <a:pt x="60" y="0"/>
                </a:lnTo>
                <a:lnTo>
                  <a:pt x="56" y="0"/>
                </a:lnTo>
                <a:lnTo>
                  <a:pt x="56" y="41"/>
                </a:lnTo>
                <a:lnTo>
                  <a:pt x="56" y="41"/>
                </a:lnTo>
                <a:lnTo>
                  <a:pt x="54" y="46"/>
                </a:lnTo>
                <a:lnTo>
                  <a:pt x="51" y="52"/>
                </a:lnTo>
                <a:lnTo>
                  <a:pt x="45" y="55"/>
                </a:lnTo>
                <a:lnTo>
                  <a:pt x="38" y="57"/>
                </a:lnTo>
                <a:lnTo>
                  <a:pt x="38" y="57"/>
                </a:lnTo>
                <a:lnTo>
                  <a:pt x="23" y="59"/>
                </a:lnTo>
                <a:lnTo>
                  <a:pt x="10" y="61"/>
                </a:lnTo>
                <a:lnTo>
                  <a:pt x="0" y="61"/>
                </a:lnTo>
                <a:lnTo>
                  <a:pt x="0" y="61"/>
                </a:lnTo>
                <a:lnTo>
                  <a:pt x="1" y="70"/>
                </a:lnTo>
                <a:lnTo>
                  <a:pt x="1" y="70"/>
                </a:lnTo>
                <a:lnTo>
                  <a:pt x="5" y="75"/>
                </a:lnTo>
                <a:lnTo>
                  <a:pt x="7" y="77"/>
                </a:lnTo>
                <a:lnTo>
                  <a:pt x="54" y="77"/>
                </a:lnTo>
                <a:lnTo>
                  <a:pt x="67" y="5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2" name="Freeform 43"/>
          <p:cNvSpPr>
            <a:spLocks/>
          </p:cNvSpPr>
          <p:nvPr userDrawn="1"/>
        </p:nvSpPr>
        <p:spPr bwMode="auto">
          <a:xfrm>
            <a:off x="8272464" y="-858415"/>
            <a:ext cx="42863" cy="14288"/>
          </a:xfrm>
          <a:custGeom>
            <a:avLst/>
            <a:gdLst>
              <a:gd name="T0" fmla="*/ 4 w 55"/>
              <a:gd name="T1" fmla="*/ 19 h 19"/>
              <a:gd name="T2" fmla="*/ 51 w 55"/>
              <a:gd name="T3" fmla="*/ 19 h 19"/>
              <a:gd name="T4" fmla="*/ 51 w 55"/>
              <a:gd name="T5" fmla="*/ 19 h 19"/>
              <a:gd name="T6" fmla="*/ 55 w 55"/>
              <a:gd name="T7" fmla="*/ 9 h 19"/>
              <a:gd name="T8" fmla="*/ 53 w 55"/>
              <a:gd name="T9" fmla="*/ 0 h 19"/>
              <a:gd name="T10" fmla="*/ 4 w 55"/>
              <a:gd name="T11" fmla="*/ 0 h 19"/>
              <a:gd name="T12" fmla="*/ 0 w 55"/>
              <a:gd name="T13" fmla="*/ 9 h 19"/>
              <a:gd name="T14" fmla="*/ 4 w 55"/>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19">
                <a:moveTo>
                  <a:pt x="4" y="19"/>
                </a:moveTo>
                <a:lnTo>
                  <a:pt x="51" y="19"/>
                </a:lnTo>
                <a:lnTo>
                  <a:pt x="51" y="19"/>
                </a:lnTo>
                <a:lnTo>
                  <a:pt x="55" y="9"/>
                </a:lnTo>
                <a:lnTo>
                  <a:pt x="53" y="0"/>
                </a:lnTo>
                <a:lnTo>
                  <a:pt x="4" y="0"/>
                </a:lnTo>
                <a:lnTo>
                  <a:pt x="0" y="9"/>
                </a:lnTo>
                <a:lnTo>
                  <a:pt x="4" y="1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3" name="Freeform 44"/>
          <p:cNvSpPr>
            <a:spLocks/>
          </p:cNvSpPr>
          <p:nvPr userDrawn="1"/>
        </p:nvSpPr>
        <p:spPr bwMode="auto">
          <a:xfrm>
            <a:off x="8274051" y="-837778"/>
            <a:ext cx="44450" cy="50800"/>
          </a:xfrm>
          <a:custGeom>
            <a:avLst/>
            <a:gdLst>
              <a:gd name="T0" fmla="*/ 47 w 55"/>
              <a:gd name="T1" fmla="*/ 0 h 64"/>
              <a:gd name="T2" fmla="*/ 0 w 55"/>
              <a:gd name="T3" fmla="*/ 0 h 64"/>
              <a:gd name="T4" fmla="*/ 0 w 55"/>
              <a:gd name="T5" fmla="*/ 62 h 64"/>
              <a:gd name="T6" fmla="*/ 42 w 55"/>
              <a:gd name="T7" fmla="*/ 64 h 64"/>
              <a:gd name="T8" fmla="*/ 55 w 55"/>
              <a:gd name="T9" fmla="*/ 53 h 64"/>
              <a:gd name="T10" fmla="*/ 47 w 55"/>
              <a:gd name="T11" fmla="*/ 0 h 64"/>
            </a:gdLst>
            <a:ahLst/>
            <a:cxnLst>
              <a:cxn ang="0">
                <a:pos x="T0" y="T1"/>
              </a:cxn>
              <a:cxn ang="0">
                <a:pos x="T2" y="T3"/>
              </a:cxn>
              <a:cxn ang="0">
                <a:pos x="T4" y="T5"/>
              </a:cxn>
              <a:cxn ang="0">
                <a:pos x="T6" y="T7"/>
              </a:cxn>
              <a:cxn ang="0">
                <a:pos x="T8" y="T9"/>
              </a:cxn>
              <a:cxn ang="0">
                <a:pos x="T10" y="T11"/>
              </a:cxn>
            </a:cxnLst>
            <a:rect l="0" t="0" r="r" b="b"/>
            <a:pathLst>
              <a:path w="55" h="64">
                <a:moveTo>
                  <a:pt x="47" y="0"/>
                </a:moveTo>
                <a:lnTo>
                  <a:pt x="0" y="0"/>
                </a:lnTo>
                <a:lnTo>
                  <a:pt x="0" y="62"/>
                </a:lnTo>
                <a:lnTo>
                  <a:pt x="42" y="64"/>
                </a:lnTo>
                <a:lnTo>
                  <a:pt x="55" y="53"/>
                </a:lnTo>
                <a:lnTo>
                  <a:pt x="4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4" name="Freeform 45"/>
          <p:cNvSpPr>
            <a:spLocks/>
          </p:cNvSpPr>
          <p:nvPr userDrawn="1"/>
        </p:nvSpPr>
        <p:spPr bwMode="auto">
          <a:xfrm>
            <a:off x="8274050" y="-788565"/>
            <a:ext cx="57150" cy="50800"/>
          </a:xfrm>
          <a:custGeom>
            <a:avLst/>
            <a:gdLst>
              <a:gd name="T0" fmla="*/ 73 w 73"/>
              <a:gd name="T1" fmla="*/ 16 h 64"/>
              <a:gd name="T2" fmla="*/ 73 w 73"/>
              <a:gd name="T3" fmla="*/ 16 h 64"/>
              <a:gd name="T4" fmla="*/ 64 w 73"/>
              <a:gd name="T5" fmla="*/ 9 h 64"/>
              <a:gd name="T6" fmla="*/ 64 w 73"/>
              <a:gd name="T7" fmla="*/ 9 h 64"/>
              <a:gd name="T8" fmla="*/ 62 w 73"/>
              <a:gd name="T9" fmla="*/ 0 h 64"/>
              <a:gd name="T10" fmla="*/ 48 w 73"/>
              <a:gd name="T11" fmla="*/ 11 h 64"/>
              <a:gd name="T12" fmla="*/ 0 w 73"/>
              <a:gd name="T13" fmla="*/ 11 h 64"/>
              <a:gd name="T14" fmla="*/ 0 w 73"/>
              <a:gd name="T15" fmla="*/ 11 h 64"/>
              <a:gd name="T16" fmla="*/ 0 w 73"/>
              <a:gd name="T17" fmla="*/ 27 h 64"/>
              <a:gd name="T18" fmla="*/ 0 w 73"/>
              <a:gd name="T19" fmla="*/ 45 h 64"/>
              <a:gd name="T20" fmla="*/ 0 w 73"/>
              <a:gd name="T21" fmla="*/ 45 h 64"/>
              <a:gd name="T22" fmla="*/ 11 w 73"/>
              <a:gd name="T23" fmla="*/ 55 h 64"/>
              <a:gd name="T24" fmla="*/ 24 w 73"/>
              <a:gd name="T25" fmla="*/ 64 h 64"/>
              <a:gd name="T26" fmla="*/ 55 w 73"/>
              <a:gd name="T27" fmla="*/ 25 h 64"/>
              <a:gd name="T28" fmla="*/ 73 w 73"/>
              <a:gd name="T29"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64">
                <a:moveTo>
                  <a:pt x="73" y="16"/>
                </a:moveTo>
                <a:lnTo>
                  <a:pt x="73" y="16"/>
                </a:lnTo>
                <a:lnTo>
                  <a:pt x="64" y="9"/>
                </a:lnTo>
                <a:lnTo>
                  <a:pt x="64" y="9"/>
                </a:lnTo>
                <a:lnTo>
                  <a:pt x="62" y="0"/>
                </a:lnTo>
                <a:lnTo>
                  <a:pt x="48" y="11"/>
                </a:lnTo>
                <a:lnTo>
                  <a:pt x="0" y="11"/>
                </a:lnTo>
                <a:lnTo>
                  <a:pt x="0" y="11"/>
                </a:lnTo>
                <a:lnTo>
                  <a:pt x="0" y="27"/>
                </a:lnTo>
                <a:lnTo>
                  <a:pt x="0" y="45"/>
                </a:lnTo>
                <a:lnTo>
                  <a:pt x="0" y="45"/>
                </a:lnTo>
                <a:lnTo>
                  <a:pt x="11" y="55"/>
                </a:lnTo>
                <a:lnTo>
                  <a:pt x="24" y="64"/>
                </a:lnTo>
                <a:lnTo>
                  <a:pt x="55" y="25"/>
                </a:lnTo>
                <a:lnTo>
                  <a:pt x="73"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5" name="Freeform 46"/>
          <p:cNvSpPr>
            <a:spLocks/>
          </p:cNvSpPr>
          <p:nvPr userDrawn="1"/>
        </p:nvSpPr>
        <p:spPr bwMode="auto">
          <a:xfrm>
            <a:off x="8301038" y="-769515"/>
            <a:ext cx="85725" cy="50800"/>
          </a:xfrm>
          <a:custGeom>
            <a:avLst/>
            <a:gdLst>
              <a:gd name="T0" fmla="*/ 27 w 108"/>
              <a:gd name="T1" fmla="*/ 7 h 63"/>
              <a:gd name="T2" fmla="*/ 0 w 108"/>
              <a:gd name="T3" fmla="*/ 43 h 63"/>
              <a:gd name="T4" fmla="*/ 45 w 108"/>
              <a:gd name="T5" fmla="*/ 63 h 63"/>
              <a:gd name="T6" fmla="*/ 45 w 108"/>
              <a:gd name="T7" fmla="*/ 63 h 63"/>
              <a:gd name="T8" fmla="*/ 65 w 108"/>
              <a:gd name="T9" fmla="*/ 51 h 63"/>
              <a:gd name="T10" fmla="*/ 86 w 108"/>
              <a:gd name="T11" fmla="*/ 38 h 63"/>
              <a:gd name="T12" fmla="*/ 108 w 108"/>
              <a:gd name="T13" fmla="*/ 23 h 63"/>
              <a:gd name="T14" fmla="*/ 44 w 108"/>
              <a:gd name="T15" fmla="*/ 0 h 63"/>
              <a:gd name="T16" fmla="*/ 27 w 108"/>
              <a:gd name="T17" fmla="*/ 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63">
                <a:moveTo>
                  <a:pt x="27" y="7"/>
                </a:moveTo>
                <a:lnTo>
                  <a:pt x="0" y="43"/>
                </a:lnTo>
                <a:lnTo>
                  <a:pt x="45" y="63"/>
                </a:lnTo>
                <a:lnTo>
                  <a:pt x="45" y="63"/>
                </a:lnTo>
                <a:lnTo>
                  <a:pt x="65" y="51"/>
                </a:lnTo>
                <a:lnTo>
                  <a:pt x="86" y="38"/>
                </a:lnTo>
                <a:lnTo>
                  <a:pt x="108" y="23"/>
                </a:lnTo>
                <a:lnTo>
                  <a:pt x="44" y="0"/>
                </a:lnTo>
                <a:lnTo>
                  <a:pt x="2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6" name="Freeform 47"/>
          <p:cNvSpPr>
            <a:spLocks/>
          </p:cNvSpPr>
          <p:nvPr userDrawn="1"/>
        </p:nvSpPr>
        <p:spPr bwMode="auto">
          <a:xfrm>
            <a:off x="8324851" y="-952078"/>
            <a:ext cx="22225" cy="93663"/>
          </a:xfrm>
          <a:custGeom>
            <a:avLst/>
            <a:gdLst>
              <a:gd name="T0" fmla="*/ 22 w 27"/>
              <a:gd name="T1" fmla="*/ 50 h 117"/>
              <a:gd name="T2" fmla="*/ 22 w 27"/>
              <a:gd name="T3" fmla="*/ 50 h 117"/>
              <a:gd name="T4" fmla="*/ 22 w 27"/>
              <a:gd name="T5" fmla="*/ 11 h 117"/>
              <a:gd name="T6" fmla="*/ 22 w 27"/>
              <a:gd name="T7" fmla="*/ 11 h 117"/>
              <a:gd name="T8" fmla="*/ 24 w 27"/>
              <a:gd name="T9" fmla="*/ 8 h 117"/>
              <a:gd name="T10" fmla="*/ 24 w 27"/>
              <a:gd name="T11" fmla="*/ 8 h 117"/>
              <a:gd name="T12" fmla="*/ 24 w 27"/>
              <a:gd name="T13" fmla="*/ 4 h 117"/>
              <a:gd name="T14" fmla="*/ 24 w 27"/>
              <a:gd name="T15" fmla="*/ 0 h 117"/>
              <a:gd name="T16" fmla="*/ 2 w 27"/>
              <a:gd name="T17" fmla="*/ 0 h 117"/>
              <a:gd name="T18" fmla="*/ 2 w 27"/>
              <a:gd name="T19" fmla="*/ 0 h 117"/>
              <a:gd name="T20" fmla="*/ 2 w 27"/>
              <a:gd name="T21" fmla="*/ 6 h 117"/>
              <a:gd name="T22" fmla="*/ 2 w 27"/>
              <a:gd name="T23" fmla="*/ 6 h 117"/>
              <a:gd name="T24" fmla="*/ 2 w 27"/>
              <a:gd name="T25" fmla="*/ 9 h 117"/>
              <a:gd name="T26" fmla="*/ 3 w 27"/>
              <a:gd name="T27" fmla="*/ 11 h 117"/>
              <a:gd name="T28" fmla="*/ 3 w 27"/>
              <a:gd name="T29" fmla="*/ 50 h 117"/>
              <a:gd name="T30" fmla="*/ 3 w 27"/>
              <a:gd name="T31" fmla="*/ 50 h 117"/>
              <a:gd name="T32" fmla="*/ 2 w 27"/>
              <a:gd name="T33" fmla="*/ 52 h 117"/>
              <a:gd name="T34" fmla="*/ 0 w 27"/>
              <a:gd name="T35" fmla="*/ 61 h 117"/>
              <a:gd name="T36" fmla="*/ 0 w 27"/>
              <a:gd name="T37" fmla="*/ 61 h 117"/>
              <a:gd name="T38" fmla="*/ 0 w 27"/>
              <a:gd name="T39" fmla="*/ 66 h 117"/>
              <a:gd name="T40" fmla="*/ 2 w 27"/>
              <a:gd name="T41" fmla="*/ 72 h 117"/>
              <a:gd name="T42" fmla="*/ 5 w 27"/>
              <a:gd name="T43" fmla="*/ 75 h 117"/>
              <a:gd name="T44" fmla="*/ 3 w 27"/>
              <a:gd name="T45" fmla="*/ 106 h 117"/>
              <a:gd name="T46" fmla="*/ 3 w 27"/>
              <a:gd name="T47" fmla="*/ 106 h 117"/>
              <a:gd name="T48" fmla="*/ 3 w 27"/>
              <a:gd name="T49" fmla="*/ 108 h 117"/>
              <a:gd name="T50" fmla="*/ 2 w 27"/>
              <a:gd name="T51" fmla="*/ 112 h 117"/>
              <a:gd name="T52" fmla="*/ 2 w 27"/>
              <a:gd name="T53" fmla="*/ 112 h 117"/>
              <a:gd name="T54" fmla="*/ 2 w 27"/>
              <a:gd name="T55" fmla="*/ 117 h 117"/>
              <a:gd name="T56" fmla="*/ 24 w 27"/>
              <a:gd name="T57" fmla="*/ 117 h 117"/>
              <a:gd name="T58" fmla="*/ 24 w 27"/>
              <a:gd name="T59" fmla="*/ 117 h 117"/>
              <a:gd name="T60" fmla="*/ 24 w 27"/>
              <a:gd name="T61" fmla="*/ 110 h 117"/>
              <a:gd name="T62" fmla="*/ 24 w 27"/>
              <a:gd name="T63" fmla="*/ 110 h 117"/>
              <a:gd name="T64" fmla="*/ 22 w 27"/>
              <a:gd name="T65" fmla="*/ 106 h 117"/>
              <a:gd name="T66" fmla="*/ 22 w 27"/>
              <a:gd name="T67" fmla="*/ 75 h 117"/>
              <a:gd name="T68" fmla="*/ 22 w 27"/>
              <a:gd name="T69" fmla="*/ 75 h 117"/>
              <a:gd name="T70" fmla="*/ 25 w 27"/>
              <a:gd name="T71" fmla="*/ 70 h 117"/>
              <a:gd name="T72" fmla="*/ 25 w 27"/>
              <a:gd name="T73" fmla="*/ 66 h 117"/>
              <a:gd name="T74" fmla="*/ 27 w 27"/>
              <a:gd name="T75" fmla="*/ 62 h 117"/>
              <a:gd name="T76" fmla="*/ 27 w 27"/>
              <a:gd name="T77" fmla="*/ 62 h 117"/>
              <a:gd name="T78" fmla="*/ 24 w 27"/>
              <a:gd name="T79" fmla="*/ 53 h 117"/>
              <a:gd name="T80" fmla="*/ 22 w 27"/>
              <a:gd name="T81" fmla="*/ 5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7" h="117">
                <a:moveTo>
                  <a:pt x="22" y="50"/>
                </a:moveTo>
                <a:lnTo>
                  <a:pt x="22" y="50"/>
                </a:lnTo>
                <a:lnTo>
                  <a:pt x="22" y="11"/>
                </a:lnTo>
                <a:lnTo>
                  <a:pt x="22" y="11"/>
                </a:lnTo>
                <a:lnTo>
                  <a:pt x="24" y="8"/>
                </a:lnTo>
                <a:lnTo>
                  <a:pt x="24" y="8"/>
                </a:lnTo>
                <a:lnTo>
                  <a:pt x="24" y="4"/>
                </a:lnTo>
                <a:lnTo>
                  <a:pt x="24" y="0"/>
                </a:lnTo>
                <a:lnTo>
                  <a:pt x="2" y="0"/>
                </a:lnTo>
                <a:lnTo>
                  <a:pt x="2" y="0"/>
                </a:lnTo>
                <a:lnTo>
                  <a:pt x="2" y="6"/>
                </a:lnTo>
                <a:lnTo>
                  <a:pt x="2" y="6"/>
                </a:lnTo>
                <a:lnTo>
                  <a:pt x="2" y="9"/>
                </a:lnTo>
                <a:lnTo>
                  <a:pt x="3" y="11"/>
                </a:lnTo>
                <a:lnTo>
                  <a:pt x="3" y="50"/>
                </a:lnTo>
                <a:lnTo>
                  <a:pt x="3" y="50"/>
                </a:lnTo>
                <a:lnTo>
                  <a:pt x="2" y="52"/>
                </a:lnTo>
                <a:lnTo>
                  <a:pt x="0" y="61"/>
                </a:lnTo>
                <a:lnTo>
                  <a:pt x="0" y="61"/>
                </a:lnTo>
                <a:lnTo>
                  <a:pt x="0" y="66"/>
                </a:lnTo>
                <a:lnTo>
                  <a:pt x="2" y="72"/>
                </a:lnTo>
                <a:lnTo>
                  <a:pt x="5" y="75"/>
                </a:lnTo>
                <a:lnTo>
                  <a:pt x="3" y="106"/>
                </a:lnTo>
                <a:lnTo>
                  <a:pt x="3" y="106"/>
                </a:lnTo>
                <a:lnTo>
                  <a:pt x="3" y="108"/>
                </a:lnTo>
                <a:lnTo>
                  <a:pt x="2" y="112"/>
                </a:lnTo>
                <a:lnTo>
                  <a:pt x="2" y="112"/>
                </a:lnTo>
                <a:lnTo>
                  <a:pt x="2" y="117"/>
                </a:lnTo>
                <a:lnTo>
                  <a:pt x="24" y="117"/>
                </a:lnTo>
                <a:lnTo>
                  <a:pt x="24" y="117"/>
                </a:lnTo>
                <a:lnTo>
                  <a:pt x="24" y="110"/>
                </a:lnTo>
                <a:lnTo>
                  <a:pt x="24" y="110"/>
                </a:lnTo>
                <a:lnTo>
                  <a:pt x="22" y="106"/>
                </a:lnTo>
                <a:lnTo>
                  <a:pt x="22" y="75"/>
                </a:lnTo>
                <a:lnTo>
                  <a:pt x="22" y="75"/>
                </a:lnTo>
                <a:lnTo>
                  <a:pt x="25" y="70"/>
                </a:lnTo>
                <a:lnTo>
                  <a:pt x="25" y="66"/>
                </a:lnTo>
                <a:lnTo>
                  <a:pt x="27" y="62"/>
                </a:lnTo>
                <a:lnTo>
                  <a:pt x="27" y="62"/>
                </a:lnTo>
                <a:lnTo>
                  <a:pt x="24" y="53"/>
                </a:lnTo>
                <a:lnTo>
                  <a:pt x="22" y="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7" name="Freeform 48"/>
          <p:cNvSpPr>
            <a:spLocks/>
          </p:cNvSpPr>
          <p:nvPr userDrawn="1"/>
        </p:nvSpPr>
        <p:spPr bwMode="auto">
          <a:xfrm>
            <a:off x="8347076" y="-923502"/>
            <a:ext cx="60325" cy="42863"/>
          </a:xfrm>
          <a:custGeom>
            <a:avLst/>
            <a:gdLst>
              <a:gd name="T0" fmla="*/ 42 w 77"/>
              <a:gd name="T1" fmla="*/ 46 h 55"/>
              <a:gd name="T2" fmla="*/ 77 w 77"/>
              <a:gd name="T3" fmla="*/ 9 h 55"/>
              <a:gd name="T4" fmla="*/ 77 w 77"/>
              <a:gd name="T5" fmla="*/ 9 h 55"/>
              <a:gd name="T6" fmla="*/ 26 w 77"/>
              <a:gd name="T7" fmla="*/ 9 h 55"/>
              <a:gd name="T8" fmla="*/ 26 w 77"/>
              <a:gd name="T9" fmla="*/ 9 h 55"/>
              <a:gd name="T10" fmla="*/ 20 w 77"/>
              <a:gd name="T11" fmla="*/ 7 h 55"/>
              <a:gd name="T12" fmla="*/ 15 w 77"/>
              <a:gd name="T13" fmla="*/ 4 h 55"/>
              <a:gd name="T14" fmla="*/ 7 w 77"/>
              <a:gd name="T15" fmla="*/ 0 h 55"/>
              <a:gd name="T16" fmla="*/ 6 w 77"/>
              <a:gd name="T17" fmla="*/ 0 h 55"/>
              <a:gd name="T18" fmla="*/ 6 w 77"/>
              <a:gd name="T19" fmla="*/ 0 h 55"/>
              <a:gd name="T20" fmla="*/ 0 w 77"/>
              <a:gd name="T21" fmla="*/ 11 h 55"/>
              <a:gd name="T22" fmla="*/ 0 w 77"/>
              <a:gd name="T23" fmla="*/ 11 h 55"/>
              <a:gd name="T24" fmla="*/ 4 w 77"/>
              <a:gd name="T25" fmla="*/ 17 h 55"/>
              <a:gd name="T26" fmla="*/ 6 w 77"/>
              <a:gd name="T27" fmla="*/ 20 h 55"/>
              <a:gd name="T28" fmla="*/ 7 w 77"/>
              <a:gd name="T29" fmla="*/ 27 h 55"/>
              <a:gd name="T30" fmla="*/ 7 w 77"/>
              <a:gd name="T31" fmla="*/ 27 h 55"/>
              <a:gd name="T32" fmla="*/ 7 w 77"/>
              <a:gd name="T33" fmla="*/ 33 h 55"/>
              <a:gd name="T34" fmla="*/ 4 w 77"/>
              <a:gd name="T35" fmla="*/ 38 h 55"/>
              <a:gd name="T36" fmla="*/ 0 w 77"/>
              <a:gd name="T37" fmla="*/ 42 h 55"/>
              <a:gd name="T38" fmla="*/ 0 w 77"/>
              <a:gd name="T39" fmla="*/ 42 h 55"/>
              <a:gd name="T40" fmla="*/ 7 w 77"/>
              <a:gd name="T41" fmla="*/ 55 h 55"/>
              <a:gd name="T42" fmla="*/ 7 w 77"/>
              <a:gd name="T43" fmla="*/ 55 h 55"/>
              <a:gd name="T44" fmla="*/ 13 w 77"/>
              <a:gd name="T45" fmla="*/ 51 h 55"/>
              <a:gd name="T46" fmla="*/ 28 w 77"/>
              <a:gd name="T47" fmla="*/ 46 h 55"/>
              <a:gd name="T48" fmla="*/ 28 w 77"/>
              <a:gd name="T49" fmla="*/ 46 h 55"/>
              <a:gd name="T50" fmla="*/ 42 w 77"/>
              <a:gd name="T51" fmla="*/ 4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7" h="55">
                <a:moveTo>
                  <a:pt x="42" y="46"/>
                </a:moveTo>
                <a:lnTo>
                  <a:pt x="77" y="9"/>
                </a:lnTo>
                <a:lnTo>
                  <a:pt x="77" y="9"/>
                </a:lnTo>
                <a:lnTo>
                  <a:pt x="26" y="9"/>
                </a:lnTo>
                <a:lnTo>
                  <a:pt x="26" y="9"/>
                </a:lnTo>
                <a:lnTo>
                  <a:pt x="20" y="7"/>
                </a:lnTo>
                <a:lnTo>
                  <a:pt x="15" y="4"/>
                </a:lnTo>
                <a:lnTo>
                  <a:pt x="7" y="0"/>
                </a:lnTo>
                <a:lnTo>
                  <a:pt x="6" y="0"/>
                </a:lnTo>
                <a:lnTo>
                  <a:pt x="6" y="0"/>
                </a:lnTo>
                <a:lnTo>
                  <a:pt x="0" y="11"/>
                </a:lnTo>
                <a:lnTo>
                  <a:pt x="0" y="11"/>
                </a:lnTo>
                <a:lnTo>
                  <a:pt x="4" y="17"/>
                </a:lnTo>
                <a:lnTo>
                  <a:pt x="6" y="20"/>
                </a:lnTo>
                <a:lnTo>
                  <a:pt x="7" y="27"/>
                </a:lnTo>
                <a:lnTo>
                  <a:pt x="7" y="27"/>
                </a:lnTo>
                <a:lnTo>
                  <a:pt x="7" y="33"/>
                </a:lnTo>
                <a:lnTo>
                  <a:pt x="4" y="38"/>
                </a:lnTo>
                <a:lnTo>
                  <a:pt x="0" y="42"/>
                </a:lnTo>
                <a:lnTo>
                  <a:pt x="0" y="42"/>
                </a:lnTo>
                <a:lnTo>
                  <a:pt x="7" y="55"/>
                </a:lnTo>
                <a:lnTo>
                  <a:pt x="7" y="55"/>
                </a:lnTo>
                <a:lnTo>
                  <a:pt x="13" y="51"/>
                </a:lnTo>
                <a:lnTo>
                  <a:pt x="28" y="46"/>
                </a:lnTo>
                <a:lnTo>
                  <a:pt x="28" y="46"/>
                </a:lnTo>
                <a:lnTo>
                  <a:pt x="42" y="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8" name="Freeform 49"/>
          <p:cNvSpPr>
            <a:spLocks/>
          </p:cNvSpPr>
          <p:nvPr userDrawn="1"/>
        </p:nvSpPr>
        <p:spPr bwMode="auto">
          <a:xfrm>
            <a:off x="8423276" y="-982240"/>
            <a:ext cx="119063" cy="93663"/>
          </a:xfrm>
          <a:custGeom>
            <a:avLst/>
            <a:gdLst>
              <a:gd name="T0" fmla="*/ 152 w 152"/>
              <a:gd name="T1" fmla="*/ 60 h 119"/>
              <a:gd name="T2" fmla="*/ 148 w 152"/>
              <a:gd name="T3" fmla="*/ 58 h 119"/>
              <a:gd name="T4" fmla="*/ 139 w 152"/>
              <a:gd name="T5" fmla="*/ 62 h 119"/>
              <a:gd name="T6" fmla="*/ 135 w 152"/>
              <a:gd name="T7" fmla="*/ 64 h 119"/>
              <a:gd name="T8" fmla="*/ 134 w 152"/>
              <a:gd name="T9" fmla="*/ 75 h 119"/>
              <a:gd name="T10" fmla="*/ 130 w 152"/>
              <a:gd name="T11" fmla="*/ 71 h 119"/>
              <a:gd name="T12" fmla="*/ 121 w 152"/>
              <a:gd name="T13" fmla="*/ 69 h 119"/>
              <a:gd name="T14" fmla="*/ 113 w 152"/>
              <a:gd name="T15" fmla="*/ 71 h 119"/>
              <a:gd name="T16" fmla="*/ 117 w 152"/>
              <a:gd name="T17" fmla="*/ 80 h 119"/>
              <a:gd name="T18" fmla="*/ 113 w 152"/>
              <a:gd name="T19" fmla="*/ 90 h 119"/>
              <a:gd name="T20" fmla="*/ 110 w 152"/>
              <a:gd name="T21" fmla="*/ 90 h 119"/>
              <a:gd name="T22" fmla="*/ 103 w 152"/>
              <a:gd name="T23" fmla="*/ 84 h 119"/>
              <a:gd name="T24" fmla="*/ 103 w 152"/>
              <a:gd name="T25" fmla="*/ 79 h 119"/>
              <a:gd name="T26" fmla="*/ 93 w 152"/>
              <a:gd name="T27" fmla="*/ 82 h 119"/>
              <a:gd name="T28" fmla="*/ 88 w 152"/>
              <a:gd name="T29" fmla="*/ 79 h 119"/>
              <a:gd name="T30" fmla="*/ 90 w 152"/>
              <a:gd name="T31" fmla="*/ 69 h 119"/>
              <a:gd name="T32" fmla="*/ 104 w 152"/>
              <a:gd name="T33" fmla="*/ 66 h 119"/>
              <a:gd name="T34" fmla="*/ 103 w 152"/>
              <a:gd name="T35" fmla="*/ 60 h 119"/>
              <a:gd name="T36" fmla="*/ 97 w 152"/>
              <a:gd name="T37" fmla="*/ 53 h 119"/>
              <a:gd name="T38" fmla="*/ 92 w 152"/>
              <a:gd name="T39" fmla="*/ 51 h 119"/>
              <a:gd name="T40" fmla="*/ 82 w 152"/>
              <a:gd name="T41" fmla="*/ 53 h 119"/>
              <a:gd name="T42" fmla="*/ 86 w 152"/>
              <a:gd name="T43" fmla="*/ 51 h 119"/>
              <a:gd name="T44" fmla="*/ 90 w 152"/>
              <a:gd name="T45" fmla="*/ 44 h 119"/>
              <a:gd name="T46" fmla="*/ 90 w 152"/>
              <a:gd name="T47" fmla="*/ 35 h 119"/>
              <a:gd name="T48" fmla="*/ 84 w 152"/>
              <a:gd name="T49" fmla="*/ 26 h 119"/>
              <a:gd name="T50" fmla="*/ 84 w 152"/>
              <a:gd name="T51" fmla="*/ 26 h 119"/>
              <a:gd name="T52" fmla="*/ 79 w 152"/>
              <a:gd name="T53" fmla="*/ 27 h 119"/>
              <a:gd name="T54" fmla="*/ 68 w 152"/>
              <a:gd name="T55" fmla="*/ 33 h 119"/>
              <a:gd name="T56" fmla="*/ 66 w 152"/>
              <a:gd name="T57" fmla="*/ 38 h 119"/>
              <a:gd name="T58" fmla="*/ 66 w 152"/>
              <a:gd name="T59" fmla="*/ 46 h 119"/>
              <a:gd name="T60" fmla="*/ 62 w 152"/>
              <a:gd name="T61" fmla="*/ 40 h 119"/>
              <a:gd name="T62" fmla="*/ 55 w 152"/>
              <a:gd name="T63" fmla="*/ 35 h 119"/>
              <a:gd name="T64" fmla="*/ 50 w 152"/>
              <a:gd name="T65" fmla="*/ 35 h 119"/>
              <a:gd name="T66" fmla="*/ 42 w 152"/>
              <a:gd name="T67" fmla="*/ 38 h 119"/>
              <a:gd name="T68" fmla="*/ 48 w 152"/>
              <a:gd name="T69" fmla="*/ 46 h 119"/>
              <a:gd name="T70" fmla="*/ 48 w 152"/>
              <a:gd name="T71" fmla="*/ 57 h 119"/>
              <a:gd name="T72" fmla="*/ 42 w 152"/>
              <a:gd name="T73" fmla="*/ 58 h 119"/>
              <a:gd name="T74" fmla="*/ 35 w 152"/>
              <a:gd name="T75" fmla="*/ 53 h 119"/>
              <a:gd name="T76" fmla="*/ 33 w 152"/>
              <a:gd name="T77" fmla="*/ 47 h 119"/>
              <a:gd name="T78" fmla="*/ 26 w 152"/>
              <a:gd name="T79" fmla="*/ 53 h 119"/>
              <a:gd name="T80" fmla="*/ 20 w 152"/>
              <a:gd name="T81" fmla="*/ 51 h 119"/>
              <a:gd name="T82" fmla="*/ 17 w 152"/>
              <a:gd name="T83" fmla="*/ 42 h 119"/>
              <a:gd name="T84" fmla="*/ 31 w 152"/>
              <a:gd name="T85" fmla="*/ 35 h 119"/>
              <a:gd name="T86" fmla="*/ 29 w 152"/>
              <a:gd name="T87" fmla="*/ 33 h 119"/>
              <a:gd name="T88" fmla="*/ 22 w 152"/>
              <a:gd name="T89" fmla="*/ 24 h 119"/>
              <a:gd name="T90" fmla="*/ 15 w 152"/>
              <a:gd name="T91" fmla="*/ 24 h 119"/>
              <a:gd name="T92" fmla="*/ 18 w 152"/>
              <a:gd name="T93" fmla="*/ 18 h 119"/>
              <a:gd name="T94" fmla="*/ 20 w 152"/>
              <a:gd name="T95" fmla="*/ 9 h 119"/>
              <a:gd name="T96" fmla="*/ 18 w 152"/>
              <a:gd name="T97" fmla="*/ 5 h 119"/>
              <a:gd name="T98" fmla="*/ 13 w 152"/>
              <a:gd name="T99" fmla="*/ 0 h 119"/>
              <a:gd name="T100" fmla="*/ 35 w 152"/>
              <a:gd name="T101" fmla="*/ 88 h 119"/>
              <a:gd name="T102" fmla="*/ 46 w 152"/>
              <a:gd name="T103" fmla="*/ 82 h 119"/>
              <a:gd name="T104" fmla="*/ 51 w 152"/>
              <a:gd name="T105" fmla="*/ 79 h 119"/>
              <a:gd name="T106" fmla="*/ 66 w 152"/>
              <a:gd name="T107" fmla="*/ 80 h 119"/>
              <a:gd name="T108" fmla="*/ 71 w 152"/>
              <a:gd name="T109" fmla="*/ 82 h 119"/>
              <a:gd name="T110" fmla="*/ 82 w 152"/>
              <a:gd name="T111" fmla="*/ 90 h 119"/>
              <a:gd name="T112" fmla="*/ 84 w 152"/>
              <a:gd name="T113" fmla="*/ 99 h 119"/>
              <a:gd name="T114" fmla="*/ 84 w 152"/>
              <a:gd name="T115" fmla="*/ 104 h 119"/>
              <a:gd name="T116" fmla="*/ 106 w 152"/>
              <a:gd name="T117"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2" h="119">
                <a:moveTo>
                  <a:pt x="106" y="119"/>
                </a:moveTo>
                <a:lnTo>
                  <a:pt x="152" y="60"/>
                </a:lnTo>
                <a:lnTo>
                  <a:pt x="152" y="60"/>
                </a:lnTo>
                <a:lnTo>
                  <a:pt x="148" y="58"/>
                </a:lnTo>
                <a:lnTo>
                  <a:pt x="145" y="60"/>
                </a:lnTo>
                <a:lnTo>
                  <a:pt x="139" y="62"/>
                </a:lnTo>
                <a:lnTo>
                  <a:pt x="139" y="62"/>
                </a:lnTo>
                <a:lnTo>
                  <a:pt x="135" y="64"/>
                </a:lnTo>
                <a:lnTo>
                  <a:pt x="134" y="69"/>
                </a:lnTo>
                <a:lnTo>
                  <a:pt x="134" y="75"/>
                </a:lnTo>
                <a:lnTo>
                  <a:pt x="134" y="75"/>
                </a:lnTo>
                <a:lnTo>
                  <a:pt x="130" y="71"/>
                </a:lnTo>
                <a:lnTo>
                  <a:pt x="128" y="69"/>
                </a:lnTo>
                <a:lnTo>
                  <a:pt x="121" y="69"/>
                </a:lnTo>
                <a:lnTo>
                  <a:pt x="115" y="69"/>
                </a:lnTo>
                <a:lnTo>
                  <a:pt x="113" y="71"/>
                </a:lnTo>
                <a:lnTo>
                  <a:pt x="113" y="71"/>
                </a:lnTo>
                <a:lnTo>
                  <a:pt x="117" y="80"/>
                </a:lnTo>
                <a:lnTo>
                  <a:pt x="117" y="86"/>
                </a:lnTo>
                <a:lnTo>
                  <a:pt x="113" y="90"/>
                </a:lnTo>
                <a:lnTo>
                  <a:pt x="110" y="90"/>
                </a:lnTo>
                <a:lnTo>
                  <a:pt x="110" y="90"/>
                </a:lnTo>
                <a:lnTo>
                  <a:pt x="104" y="88"/>
                </a:lnTo>
                <a:lnTo>
                  <a:pt x="103" y="84"/>
                </a:lnTo>
                <a:lnTo>
                  <a:pt x="103" y="79"/>
                </a:lnTo>
                <a:lnTo>
                  <a:pt x="103" y="79"/>
                </a:lnTo>
                <a:lnTo>
                  <a:pt x="97" y="82"/>
                </a:lnTo>
                <a:lnTo>
                  <a:pt x="93" y="82"/>
                </a:lnTo>
                <a:lnTo>
                  <a:pt x="88" y="79"/>
                </a:lnTo>
                <a:lnTo>
                  <a:pt x="88" y="79"/>
                </a:lnTo>
                <a:lnTo>
                  <a:pt x="86" y="75"/>
                </a:lnTo>
                <a:lnTo>
                  <a:pt x="90" y="69"/>
                </a:lnTo>
                <a:lnTo>
                  <a:pt x="95" y="68"/>
                </a:lnTo>
                <a:lnTo>
                  <a:pt x="104" y="66"/>
                </a:lnTo>
                <a:lnTo>
                  <a:pt x="104" y="66"/>
                </a:lnTo>
                <a:lnTo>
                  <a:pt x="103" y="60"/>
                </a:lnTo>
                <a:lnTo>
                  <a:pt x="101" y="57"/>
                </a:lnTo>
                <a:lnTo>
                  <a:pt x="97" y="53"/>
                </a:lnTo>
                <a:lnTo>
                  <a:pt x="97" y="53"/>
                </a:lnTo>
                <a:lnTo>
                  <a:pt x="92" y="51"/>
                </a:lnTo>
                <a:lnTo>
                  <a:pt x="88" y="51"/>
                </a:lnTo>
                <a:lnTo>
                  <a:pt x="82" y="53"/>
                </a:lnTo>
                <a:lnTo>
                  <a:pt x="82" y="53"/>
                </a:lnTo>
                <a:lnTo>
                  <a:pt x="86" y="51"/>
                </a:lnTo>
                <a:lnTo>
                  <a:pt x="88" y="47"/>
                </a:lnTo>
                <a:lnTo>
                  <a:pt x="90" y="44"/>
                </a:lnTo>
                <a:lnTo>
                  <a:pt x="90" y="44"/>
                </a:lnTo>
                <a:lnTo>
                  <a:pt x="90" y="35"/>
                </a:lnTo>
                <a:lnTo>
                  <a:pt x="88" y="31"/>
                </a:lnTo>
                <a:lnTo>
                  <a:pt x="84" y="26"/>
                </a:lnTo>
                <a:lnTo>
                  <a:pt x="84" y="26"/>
                </a:lnTo>
                <a:lnTo>
                  <a:pt x="84" y="26"/>
                </a:lnTo>
                <a:lnTo>
                  <a:pt x="84" y="26"/>
                </a:lnTo>
                <a:lnTo>
                  <a:pt x="79" y="27"/>
                </a:lnTo>
                <a:lnTo>
                  <a:pt x="73" y="29"/>
                </a:lnTo>
                <a:lnTo>
                  <a:pt x="68" y="33"/>
                </a:lnTo>
                <a:lnTo>
                  <a:pt x="68" y="33"/>
                </a:lnTo>
                <a:lnTo>
                  <a:pt x="66" y="38"/>
                </a:lnTo>
                <a:lnTo>
                  <a:pt x="66" y="42"/>
                </a:lnTo>
                <a:lnTo>
                  <a:pt x="66" y="46"/>
                </a:lnTo>
                <a:lnTo>
                  <a:pt x="66" y="46"/>
                </a:lnTo>
                <a:lnTo>
                  <a:pt x="62" y="40"/>
                </a:lnTo>
                <a:lnTo>
                  <a:pt x="60" y="37"/>
                </a:lnTo>
                <a:lnTo>
                  <a:pt x="55" y="35"/>
                </a:lnTo>
                <a:lnTo>
                  <a:pt x="55" y="35"/>
                </a:lnTo>
                <a:lnTo>
                  <a:pt x="50" y="35"/>
                </a:lnTo>
                <a:lnTo>
                  <a:pt x="46" y="37"/>
                </a:lnTo>
                <a:lnTo>
                  <a:pt x="42" y="38"/>
                </a:lnTo>
                <a:lnTo>
                  <a:pt x="42" y="38"/>
                </a:lnTo>
                <a:lnTo>
                  <a:pt x="48" y="46"/>
                </a:lnTo>
                <a:lnTo>
                  <a:pt x="48" y="53"/>
                </a:lnTo>
                <a:lnTo>
                  <a:pt x="48" y="57"/>
                </a:lnTo>
                <a:lnTo>
                  <a:pt x="42" y="58"/>
                </a:lnTo>
                <a:lnTo>
                  <a:pt x="42" y="58"/>
                </a:lnTo>
                <a:lnTo>
                  <a:pt x="37" y="57"/>
                </a:lnTo>
                <a:lnTo>
                  <a:pt x="35" y="53"/>
                </a:lnTo>
                <a:lnTo>
                  <a:pt x="33" y="47"/>
                </a:lnTo>
                <a:lnTo>
                  <a:pt x="33" y="47"/>
                </a:lnTo>
                <a:lnTo>
                  <a:pt x="29" y="51"/>
                </a:lnTo>
                <a:lnTo>
                  <a:pt x="26" y="53"/>
                </a:lnTo>
                <a:lnTo>
                  <a:pt x="20" y="51"/>
                </a:lnTo>
                <a:lnTo>
                  <a:pt x="20" y="51"/>
                </a:lnTo>
                <a:lnTo>
                  <a:pt x="17" y="47"/>
                </a:lnTo>
                <a:lnTo>
                  <a:pt x="17" y="42"/>
                </a:lnTo>
                <a:lnTo>
                  <a:pt x="22" y="38"/>
                </a:lnTo>
                <a:lnTo>
                  <a:pt x="31" y="35"/>
                </a:lnTo>
                <a:lnTo>
                  <a:pt x="31" y="35"/>
                </a:lnTo>
                <a:lnTo>
                  <a:pt x="29" y="33"/>
                </a:lnTo>
                <a:lnTo>
                  <a:pt x="28" y="27"/>
                </a:lnTo>
                <a:lnTo>
                  <a:pt x="22" y="24"/>
                </a:lnTo>
                <a:lnTo>
                  <a:pt x="18" y="22"/>
                </a:lnTo>
                <a:lnTo>
                  <a:pt x="15" y="24"/>
                </a:lnTo>
                <a:lnTo>
                  <a:pt x="15" y="24"/>
                </a:lnTo>
                <a:lnTo>
                  <a:pt x="18" y="18"/>
                </a:lnTo>
                <a:lnTo>
                  <a:pt x="20" y="15"/>
                </a:lnTo>
                <a:lnTo>
                  <a:pt x="20" y="9"/>
                </a:lnTo>
                <a:lnTo>
                  <a:pt x="20" y="9"/>
                </a:lnTo>
                <a:lnTo>
                  <a:pt x="18" y="5"/>
                </a:lnTo>
                <a:lnTo>
                  <a:pt x="17" y="2"/>
                </a:lnTo>
                <a:lnTo>
                  <a:pt x="13" y="0"/>
                </a:lnTo>
                <a:lnTo>
                  <a:pt x="0" y="73"/>
                </a:lnTo>
                <a:lnTo>
                  <a:pt x="35" y="88"/>
                </a:lnTo>
                <a:lnTo>
                  <a:pt x="35" y="88"/>
                </a:lnTo>
                <a:lnTo>
                  <a:pt x="46" y="82"/>
                </a:lnTo>
                <a:lnTo>
                  <a:pt x="46" y="82"/>
                </a:lnTo>
                <a:lnTo>
                  <a:pt x="51" y="79"/>
                </a:lnTo>
                <a:lnTo>
                  <a:pt x="59" y="79"/>
                </a:lnTo>
                <a:lnTo>
                  <a:pt x="66" y="80"/>
                </a:lnTo>
                <a:lnTo>
                  <a:pt x="71" y="82"/>
                </a:lnTo>
                <a:lnTo>
                  <a:pt x="71" y="82"/>
                </a:lnTo>
                <a:lnTo>
                  <a:pt x="79" y="86"/>
                </a:lnTo>
                <a:lnTo>
                  <a:pt x="82" y="90"/>
                </a:lnTo>
                <a:lnTo>
                  <a:pt x="84" y="95"/>
                </a:lnTo>
                <a:lnTo>
                  <a:pt x="84" y="99"/>
                </a:lnTo>
                <a:lnTo>
                  <a:pt x="84" y="99"/>
                </a:lnTo>
                <a:lnTo>
                  <a:pt x="84" y="104"/>
                </a:lnTo>
                <a:lnTo>
                  <a:pt x="81" y="110"/>
                </a:lnTo>
                <a:lnTo>
                  <a:pt x="106" y="11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9" name="Freeform 50"/>
          <p:cNvSpPr>
            <a:spLocks/>
          </p:cNvSpPr>
          <p:nvPr userDrawn="1"/>
        </p:nvSpPr>
        <p:spPr bwMode="auto">
          <a:xfrm>
            <a:off x="8520113" y="-917153"/>
            <a:ext cx="142875" cy="25400"/>
          </a:xfrm>
          <a:custGeom>
            <a:avLst/>
            <a:gdLst>
              <a:gd name="T0" fmla="*/ 151 w 180"/>
              <a:gd name="T1" fmla="*/ 28 h 31"/>
              <a:gd name="T2" fmla="*/ 180 w 180"/>
              <a:gd name="T3" fmla="*/ 15 h 31"/>
              <a:gd name="T4" fmla="*/ 151 w 180"/>
              <a:gd name="T5" fmla="*/ 2 h 31"/>
              <a:gd name="T6" fmla="*/ 151 w 180"/>
              <a:gd name="T7" fmla="*/ 2 h 31"/>
              <a:gd name="T8" fmla="*/ 102 w 180"/>
              <a:gd name="T9" fmla="*/ 2 h 31"/>
              <a:gd name="T10" fmla="*/ 23 w 180"/>
              <a:gd name="T11" fmla="*/ 0 h 31"/>
              <a:gd name="T12" fmla="*/ 0 w 180"/>
              <a:gd name="T13" fmla="*/ 31 h 31"/>
              <a:gd name="T14" fmla="*/ 0 w 180"/>
              <a:gd name="T15" fmla="*/ 31 h 31"/>
              <a:gd name="T16" fmla="*/ 151 w 180"/>
              <a:gd name="T17"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31">
                <a:moveTo>
                  <a:pt x="151" y="28"/>
                </a:moveTo>
                <a:lnTo>
                  <a:pt x="180" y="15"/>
                </a:lnTo>
                <a:lnTo>
                  <a:pt x="151" y="2"/>
                </a:lnTo>
                <a:lnTo>
                  <a:pt x="151" y="2"/>
                </a:lnTo>
                <a:lnTo>
                  <a:pt x="102" y="2"/>
                </a:lnTo>
                <a:lnTo>
                  <a:pt x="23" y="0"/>
                </a:lnTo>
                <a:lnTo>
                  <a:pt x="0" y="31"/>
                </a:lnTo>
                <a:lnTo>
                  <a:pt x="0" y="31"/>
                </a:lnTo>
                <a:lnTo>
                  <a:pt x="151"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100" name="Freeform 51"/>
          <p:cNvSpPr>
            <a:spLocks/>
          </p:cNvSpPr>
          <p:nvPr userDrawn="1"/>
        </p:nvSpPr>
        <p:spPr bwMode="auto">
          <a:xfrm>
            <a:off x="8566151" y="-855240"/>
            <a:ext cx="85725" cy="84138"/>
          </a:xfrm>
          <a:custGeom>
            <a:avLst/>
            <a:gdLst>
              <a:gd name="T0" fmla="*/ 55 w 108"/>
              <a:gd name="T1" fmla="*/ 106 h 106"/>
              <a:gd name="T2" fmla="*/ 55 w 108"/>
              <a:gd name="T3" fmla="*/ 106 h 106"/>
              <a:gd name="T4" fmla="*/ 38 w 108"/>
              <a:gd name="T5" fmla="*/ 97 h 106"/>
              <a:gd name="T6" fmla="*/ 26 w 108"/>
              <a:gd name="T7" fmla="*/ 89 h 106"/>
              <a:gd name="T8" fmla="*/ 13 w 108"/>
              <a:gd name="T9" fmla="*/ 80 h 106"/>
              <a:gd name="T10" fmla="*/ 4 w 108"/>
              <a:gd name="T11" fmla="*/ 69 h 106"/>
              <a:gd name="T12" fmla="*/ 4 w 108"/>
              <a:gd name="T13" fmla="*/ 69 h 106"/>
              <a:gd name="T14" fmla="*/ 0 w 108"/>
              <a:gd name="T15" fmla="*/ 62 h 106"/>
              <a:gd name="T16" fmla="*/ 0 w 108"/>
              <a:gd name="T17" fmla="*/ 53 h 106"/>
              <a:gd name="T18" fmla="*/ 0 w 108"/>
              <a:gd name="T19" fmla="*/ 45 h 106"/>
              <a:gd name="T20" fmla="*/ 0 w 108"/>
              <a:gd name="T21" fmla="*/ 36 h 106"/>
              <a:gd name="T22" fmla="*/ 4 w 108"/>
              <a:gd name="T23" fmla="*/ 27 h 106"/>
              <a:gd name="T24" fmla="*/ 7 w 108"/>
              <a:gd name="T25" fmla="*/ 20 h 106"/>
              <a:gd name="T26" fmla="*/ 15 w 108"/>
              <a:gd name="T27" fmla="*/ 13 h 106"/>
              <a:gd name="T28" fmla="*/ 22 w 108"/>
              <a:gd name="T29" fmla="*/ 7 h 106"/>
              <a:gd name="T30" fmla="*/ 22 w 108"/>
              <a:gd name="T31" fmla="*/ 7 h 106"/>
              <a:gd name="T32" fmla="*/ 26 w 108"/>
              <a:gd name="T33" fmla="*/ 11 h 106"/>
              <a:gd name="T34" fmla="*/ 27 w 108"/>
              <a:gd name="T35" fmla="*/ 14 h 106"/>
              <a:gd name="T36" fmla="*/ 27 w 108"/>
              <a:gd name="T37" fmla="*/ 18 h 106"/>
              <a:gd name="T38" fmla="*/ 27 w 108"/>
              <a:gd name="T39" fmla="*/ 18 h 106"/>
              <a:gd name="T40" fmla="*/ 51 w 108"/>
              <a:gd name="T41" fmla="*/ 16 h 106"/>
              <a:gd name="T42" fmla="*/ 51 w 108"/>
              <a:gd name="T43" fmla="*/ 16 h 106"/>
              <a:gd name="T44" fmla="*/ 51 w 108"/>
              <a:gd name="T45" fmla="*/ 9 h 106"/>
              <a:gd name="T46" fmla="*/ 51 w 108"/>
              <a:gd name="T47" fmla="*/ 3 h 106"/>
              <a:gd name="T48" fmla="*/ 49 w 108"/>
              <a:gd name="T49" fmla="*/ 0 h 106"/>
              <a:gd name="T50" fmla="*/ 49 w 108"/>
              <a:gd name="T51" fmla="*/ 0 h 106"/>
              <a:gd name="T52" fmla="*/ 57 w 108"/>
              <a:gd name="T53" fmla="*/ 5 h 106"/>
              <a:gd name="T54" fmla="*/ 59 w 108"/>
              <a:gd name="T55" fmla="*/ 11 h 106"/>
              <a:gd name="T56" fmla="*/ 60 w 108"/>
              <a:gd name="T57" fmla="*/ 16 h 106"/>
              <a:gd name="T58" fmla="*/ 60 w 108"/>
              <a:gd name="T59" fmla="*/ 16 h 106"/>
              <a:gd name="T60" fmla="*/ 82 w 108"/>
              <a:gd name="T61" fmla="*/ 18 h 106"/>
              <a:gd name="T62" fmla="*/ 82 w 108"/>
              <a:gd name="T63" fmla="*/ 18 h 106"/>
              <a:gd name="T64" fmla="*/ 82 w 108"/>
              <a:gd name="T65" fmla="*/ 11 h 106"/>
              <a:gd name="T66" fmla="*/ 79 w 108"/>
              <a:gd name="T67" fmla="*/ 3 h 106"/>
              <a:gd name="T68" fmla="*/ 79 w 108"/>
              <a:gd name="T69" fmla="*/ 3 h 106"/>
              <a:gd name="T70" fmla="*/ 86 w 108"/>
              <a:gd name="T71" fmla="*/ 9 h 106"/>
              <a:gd name="T72" fmla="*/ 93 w 108"/>
              <a:gd name="T73" fmla="*/ 13 h 106"/>
              <a:gd name="T74" fmla="*/ 99 w 108"/>
              <a:gd name="T75" fmla="*/ 20 h 106"/>
              <a:gd name="T76" fmla="*/ 102 w 108"/>
              <a:gd name="T77" fmla="*/ 25 h 106"/>
              <a:gd name="T78" fmla="*/ 106 w 108"/>
              <a:gd name="T79" fmla="*/ 38 h 106"/>
              <a:gd name="T80" fmla="*/ 108 w 108"/>
              <a:gd name="T81" fmla="*/ 49 h 106"/>
              <a:gd name="T82" fmla="*/ 108 w 108"/>
              <a:gd name="T83" fmla="*/ 49 h 106"/>
              <a:gd name="T84" fmla="*/ 106 w 108"/>
              <a:gd name="T85" fmla="*/ 62 h 106"/>
              <a:gd name="T86" fmla="*/ 102 w 108"/>
              <a:gd name="T87" fmla="*/ 73 h 106"/>
              <a:gd name="T88" fmla="*/ 95 w 108"/>
              <a:gd name="T89" fmla="*/ 82 h 106"/>
              <a:gd name="T90" fmla="*/ 86 w 108"/>
              <a:gd name="T91" fmla="*/ 89 h 106"/>
              <a:gd name="T92" fmla="*/ 86 w 108"/>
              <a:gd name="T93" fmla="*/ 89 h 106"/>
              <a:gd name="T94" fmla="*/ 69 w 108"/>
              <a:gd name="T95" fmla="*/ 98 h 106"/>
              <a:gd name="T96" fmla="*/ 55 w 108"/>
              <a:gd name="T97"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 h="106">
                <a:moveTo>
                  <a:pt x="55" y="106"/>
                </a:moveTo>
                <a:lnTo>
                  <a:pt x="55" y="106"/>
                </a:lnTo>
                <a:lnTo>
                  <a:pt x="38" y="97"/>
                </a:lnTo>
                <a:lnTo>
                  <a:pt x="26" y="89"/>
                </a:lnTo>
                <a:lnTo>
                  <a:pt x="13" y="80"/>
                </a:lnTo>
                <a:lnTo>
                  <a:pt x="4" y="69"/>
                </a:lnTo>
                <a:lnTo>
                  <a:pt x="4" y="69"/>
                </a:lnTo>
                <a:lnTo>
                  <a:pt x="0" y="62"/>
                </a:lnTo>
                <a:lnTo>
                  <a:pt x="0" y="53"/>
                </a:lnTo>
                <a:lnTo>
                  <a:pt x="0" y="45"/>
                </a:lnTo>
                <a:lnTo>
                  <a:pt x="0" y="36"/>
                </a:lnTo>
                <a:lnTo>
                  <a:pt x="4" y="27"/>
                </a:lnTo>
                <a:lnTo>
                  <a:pt x="7" y="20"/>
                </a:lnTo>
                <a:lnTo>
                  <a:pt x="15" y="13"/>
                </a:lnTo>
                <a:lnTo>
                  <a:pt x="22" y="7"/>
                </a:lnTo>
                <a:lnTo>
                  <a:pt x="22" y="7"/>
                </a:lnTo>
                <a:lnTo>
                  <a:pt x="26" y="11"/>
                </a:lnTo>
                <a:lnTo>
                  <a:pt x="27" y="14"/>
                </a:lnTo>
                <a:lnTo>
                  <a:pt x="27" y="18"/>
                </a:lnTo>
                <a:lnTo>
                  <a:pt x="27" y="18"/>
                </a:lnTo>
                <a:lnTo>
                  <a:pt x="51" y="16"/>
                </a:lnTo>
                <a:lnTo>
                  <a:pt x="51" y="16"/>
                </a:lnTo>
                <a:lnTo>
                  <a:pt x="51" y="9"/>
                </a:lnTo>
                <a:lnTo>
                  <a:pt x="51" y="3"/>
                </a:lnTo>
                <a:lnTo>
                  <a:pt x="49" y="0"/>
                </a:lnTo>
                <a:lnTo>
                  <a:pt x="49" y="0"/>
                </a:lnTo>
                <a:lnTo>
                  <a:pt x="57" y="5"/>
                </a:lnTo>
                <a:lnTo>
                  <a:pt x="59" y="11"/>
                </a:lnTo>
                <a:lnTo>
                  <a:pt x="60" y="16"/>
                </a:lnTo>
                <a:lnTo>
                  <a:pt x="60" y="16"/>
                </a:lnTo>
                <a:lnTo>
                  <a:pt x="82" y="18"/>
                </a:lnTo>
                <a:lnTo>
                  <a:pt x="82" y="18"/>
                </a:lnTo>
                <a:lnTo>
                  <a:pt x="82" y="11"/>
                </a:lnTo>
                <a:lnTo>
                  <a:pt x="79" y="3"/>
                </a:lnTo>
                <a:lnTo>
                  <a:pt x="79" y="3"/>
                </a:lnTo>
                <a:lnTo>
                  <a:pt x="86" y="9"/>
                </a:lnTo>
                <a:lnTo>
                  <a:pt x="93" y="13"/>
                </a:lnTo>
                <a:lnTo>
                  <a:pt x="99" y="20"/>
                </a:lnTo>
                <a:lnTo>
                  <a:pt x="102" y="25"/>
                </a:lnTo>
                <a:lnTo>
                  <a:pt x="106" y="38"/>
                </a:lnTo>
                <a:lnTo>
                  <a:pt x="108" y="49"/>
                </a:lnTo>
                <a:lnTo>
                  <a:pt x="108" y="49"/>
                </a:lnTo>
                <a:lnTo>
                  <a:pt x="106" y="62"/>
                </a:lnTo>
                <a:lnTo>
                  <a:pt x="102" y="73"/>
                </a:lnTo>
                <a:lnTo>
                  <a:pt x="95" y="82"/>
                </a:lnTo>
                <a:lnTo>
                  <a:pt x="86" y="89"/>
                </a:lnTo>
                <a:lnTo>
                  <a:pt x="86" y="89"/>
                </a:lnTo>
                <a:lnTo>
                  <a:pt x="69" y="98"/>
                </a:lnTo>
                <a:lnTo>
                  <a:pt x="55" y="1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101" name="Freeform 52"/>
          <p:cNvSpPr>
            <a:spLocks/>
          </p:cNvSpPr>
          <p:nvPr userDrawn="1"/>
        </p:nvSpPr>
        <p:spPr bwMode="auto">
          <a:xfrm>
            <a:off x="8589963" y="-648865"/>
            <a:ext cx="1588" cy="1588"/>
          </a:xfrm>
          <a:custGeom>
            <a:avLst/>
            <a:gdLst>
              <a:gd name="T0" fmla="*/ 4 w 4"/>
              <a:gd name="T1" fmla="*/ 2 h 2"/>
              <a:gd name="T2" fmla="*/ 4 w 4"/>
              <a:gd name="T3" fmla="*/ 2 h 2"/>
              <a:gd name="T4" fmla="*/ 2 w 4"/>
              <a:gd name="T5" fmla="*/ 0 h 2"/>
              <a:gd name="T6" fmla="*/ 2 w 4"/>
              <a:gd name="T7" fmla="*/ 0 h 2"/>
              <a:gd name="T8" fmla="*/ 0 w 4"/>
              <a:gd name="T9" fmla="*/ 0 h 2"/>
              <a:gd name="T10" fmla="*/ 0 w 4"/>
              <a:gd name="T11" fmla="*/ 0 h 2"/>
              <a:gd name="T12" fmla="*/ 4 w 4"/>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2"/>
                </a:moveTo>
                <a:lnTo>
                  <a:pt x="4" y="2"/>
                </a:lnTo>
                <a:lnTo>
                  <a:pt x="2" y="0"/>
                </a:lnTo>
                <a:lnTo>
                  <a:pt x="2" y="0"/>
                </a:lnTo>
                <a:lnTo>
                  <a:pt x="0" y="0"/>
                </a:lnTo>
                <a:lnTo>
                  <a:pt x="0" y="0"/>
                </a:lnTo>
                <a:lnTo>
                  <a:pt x="4"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102" name="Freeform 53"/>
          <p:cNvSpPr>
            <a:spLocks/>
          </p:cNvSpPr>
          <p:nvPr userDrawn="1"/>
        </p:nvSpPr>
        <p:spPr bwMode="auto">
          <a:xfrm>
            <a:off x="8405814" y="-885403"/>
            <a:ext cx="15875" cy="9525"/>
          </a:xfrm>
          <a:custGeom>
            <a:avLst/>
            <a:gdLst>
              <a:gd name="T0" fmla="*/ 20 w 20"/>
              <a:gd name="T1" fmla="*/ 10 h 11"/>
              <a:gd name="T2" fmla="*/ 20 w 20"/>
              <a:gd name="T3" fmla="*/ 10 h 11"/>
              <a:gd name="T4" fmla="*/ 19 w 20"/>
              <a:gd name="T5" fmla="*/ 10 h 11"/>
              <a:gd name="T6" fmla="*/ 11 w 20"/>
              <a:gd name="T7" fmla="*/ 11 h 11"/>
              <a:gd name="T8" fmla="*/ 2 w 20"/>
              <a:gd name="T9" fmla="*/ 11 h 11"/>
              <a:gd name="T10" fmla="*/ 2 w 20"/>
              <a:gd name="T11" fmla="*/ 11 h 11"/>
              <a:gd name="T12" fmla="*/ 0 w 20"/>
              <a:gd name="T13" fmla="*/ 8 h 11"/>
              <a:gd name="T14" fmla="*/ 0 w 20"/>
              <a:gd name="T15" fmla="*/ 0 h 11"/>
              <a:gd name="T16" fmla="*/ 0 w 20"/>
              <a:gd name="T17" fmla="*/ 0 h 11"/>
              <a:gd name="T18" fmla="*/ 4 w 20"/>
              <a:gd name="T19" fmla="*/ 0 h 11"/>
              <a:gd name="T20" fmla="*/ 11 w 20"/>
              <a:gd name="T21" fmla="*/ 2 h 11"/>
              <a:gd name="T22" fmla="*/ 17 w 20"/>
              <a:gd name="T23" fmla="*/ 4 h 11"/>
              <a:gd name="T24" fmla="*/ 20 w 20"/>
              <a:gd name="T25"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1">
                <a:moveTo>
                  <a:pt x="20" y="10"/>
                </a:moveTo>
                <a:lnTo>
                  <a:pt x="20" y="10"/>
                </a:lnTo>
                <a:lnTo>
                  <a:pt x="19" y="10"/>
                </a:lnTo>
                <a:lnTo>
                  <a:pt x="11" y="11"/>
                </a:lnTo>
                <a:lnTo>
                  <a:pt x="2" y="11"/>
                </a:lnTo>
                <a:lnTo>
                  <a:pt x="2" y="11"/>
                </a:lnTo>
                <a:lnTo>
                  <a:pt x="0" y="8"/>
                </a:lnTo>
                <a:lnTo>
                  <a:pt x="0" y="0"/>
                </a:lnTo>
                <a:lnTo>
                  <a:pt x="0" y="0"/>
                </a:lnTo>
                <a:lnTo>
                  <a:pt x="4" y="0"/>
                </a:lnTo>
                <a:lnTo>
                  <a:pt x="11" y="2"/>
                </a:lnTo>
                <a:lnTo>
                  <a:pt x="17" y="4"/>
                </a:lnTo>
                <a:lnTo>
                  <a:pt x="20"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103" name="Freeform 54"/>
          <p:cNvSpPr>
            <a:spLocks/>
          </p:cNvSpPr>
          <p:nvPr userDrawn="1"/>
        </p:nvSpPr>
        <p:spPr bwMode="auto">
          <a:xfrm>
            <a:off x="8197851" y="-917153"/>
            <a:ext cx="492125" cy="579438"/>
          </a:xfrm>
          <a:custGeom>
            <a:avLst/>
            <a:gdLst>
              <a:gd name="T0" fmla="*/ 592 w 619"/>
              <a:gd name="T1" fmla="*/ 245 h 729"/>
              <a:gd name="T2" fmla="*/ 588 w 619"/>
              <a:gd name="T3" fmla="*/ 150 h 729"/>
              <a:gd name="T4" fmla="*/ 513 w 619"/>
              <a:gd name="T5" fmla="*/ 57 h 729"/>
              <a:gd name="T6" fmla="*/ 446 w 619"/>
              <a:gd name="T7" fmla="*/ 150 h 729"/>
              <a:gd name="T8" fmla="*/ 460 w 619"/>
              <a:gd name="T9" fmla="*/ 243 h 729"/>
              <a:gd name="T10" fmla="*/ 490 w 619"/>
              <a:gd name="T11" fmla="*/ 256 h 729"/>
              <a:gd name="T12" fmla="*/ 506 w 619"/>
              <a:gd name="T13" fmla="*/ 240 h 729"/>
              <a:gd name="T14" fmla="*/ 568 w 619"/>
              <a:gd name="T15" fmla="*/ 250 h 729"/>
              <a:gd name="T16" fmla="*/ 533 w 619"/>
              <a:gd name="T17" fmla="*/ 345 h 729"/>
              <a:gd name="T18" fmla="*/ 429 w 619"/>
              <a:gd name="T19" fmla="*/ 291 h 729"/>
              <a:gd name="T20" fmla="*/ 417 w 619"/>
              <a:gd name="T21" fmla="*/ 198 h 729"/>
              <a:gd name="T22" fmla="*/ 418 w 619"/>
              <a:gd name="T23" fmla="*/ 183 h 729"/>
              <a:gd name="T24" fmla="*/ 375 w 619"/>
              <a:gd name="T25" fmla="*/ 121 h 729"/>
              <a:gd name="T26" fmla="*/ 424 w 619"/>
              <a:gd name="T27" fmla="*/ 77 h 729"/>
              <a:gd name="T28" fmla="*/ 353 w 619"/>
              <a:gd name="T29" fmla="*/ 28 h 729"/>
              <a:gd name="T30" fmla="*/ 247 w 619"/>
              <a:gd name="T31" fmla="*/ 33 h 729"/>
              <a:gd name="T32" fmla="*/ 225 w 619"/>
              <a:gd name="T33" fmla="*/ 73 h 729"/>
              <a:gd name="T34" fmla="*/ 243 w 619"/>
              <a:gd name="T35" fmla="*/ 104 h 729"/>
              <a:gd name="T36" fmla="*/ 292 w 619"/>
              <a:gd name="T37" fmla="*/ 88 h 729"/>
              <a:gd name="T38" fmla="*/ 219 w 619"/>
              <a:gd name="T39" fmla="*/ 115 h 729"/>
              <a:gd name="T40" fmla="*/ 190 w 619"/>
              <a:gd name="T41" fmla="*/ 110 h 729"/>
              <a:gd name="T42" fmla="*/ 258 w 619"/>
              <a:gd name="T43" fmla="*/ 112 h 729"/>
              <a:gd name="T44" fmla="*/ 261 w 619"/>
              <a:gd name="T45" fmla="*/ 128 h 729"/>
              <a:gd name="T46" fmla="*/ 238 w 619"/>
              <a:gd name="T47" fmla="*/ 152 h 729"/>
              <a:gd name="T48" fmla="*/ 259 w 619"/>
              <a:gd name="T49" fmla="*/ 192 h 729"/>
              <a:gd name="T50" fmla="*/ 133 w 619"/>
              <a:gd name="T51" fmla="*/ 276 h 729"/>
              <a:gd name="T52" fmla="*/ 53 w 619"/>
              <a:gd name="T53" fmla="*/ 252 h 729"/>
              <a:gd name="T54" fmla="*/ 42 w 619"/>
              <a:gd name="T55" fmla="*/ 267 h 729"/>
              <a:gd name="T56" fmla="*/ 51 w 619"/>
              <a:gd name="T57" fmla="*/ 287 h 729"/>
              <a:gd name="T58" fmla="*/ 2 w 619"/>
              <a:gd name="T59" fmla="*/ 305 h 729"/>
              <a:gd name="T60" fmla="*/ 58 w 619"/>
              <a:gd name="T61" fmla="*/ 313 h 729"/>
              <a:gd name="T62" fmla="*/ 37 w 619"/>
              <a:gd name="T63" fmla="*/ 331 h 729"/>
              <a:gd name="T64" fmla="*/ 53 w 619"/>
              <a:gd name="T65" fmla="*/ 345 h 729"/>
              <a:gd name="T66" fmla="*/ 104 w 619"/>
              <a:gd name="T67" fmla="*/ 345 h 729"/>
              <a:gd name="T68" fmla="*/ 117 w 619"/>
              <a:gd name="T69" fmla="*/ 347 h 729"/>
              <a:gd name="T70" fmla="*/ 163 w 619"/>
              <a:gd name="T71" fmla="*/ 309 h 729"/>
              <a:gd name="T72" fmla="*/ 214 w 619"/>
              <a:gd name="T73" fmla="*/ 300 h 729"/>
              <a:gd name="T74" fmla="*/ 283 w 619"/>
              <a:gd name="T75" fmla="*/ 325 h 729"/>
              <a:gd name="T76" fmla="*/ 417 w 619"/>
              <a:gd name="T77" fmla="*/ 386 h 729"/>
              <a:gd name="T78" fmla="*/ 466 w 619"/>
              <a:gd name="T79" fmla="*/ 492 h 729"/>
              <a:gd name="T80" fmla="*/ 464 w 619"/>
              <a:gd name="T81" fmla="*/ 517 h 729"/>
              <a:gd name="T82" fmla="*/ 512 w 619"/>
              <a:gd name="T83" fmla="*/ 526 h 729"/>
              <a:gd name="T84" fmla="*/ 526 w 619"/>
              <a:gd name="T85" fmla="*/ 627 h 729"/>
              <a:gd name="T86" fmla="*/ 462 w 619"/>
              <a:gd name="T87" fmla="*/ 638 h 729"/>
              <a:gd name="T88" fmla="*/ 491 w 619"/>
              <a:gd name="T89" fmla="*/ 651 h 729"/>
              <a:gd name="T90" fmla="*/ 479 w 619"/>
              <a:gd name="T91" fmla="*/ 663 h 729"/>
              <a:gd name="T92" fmla="*/ 475 w 619"/>
              <a:gd name="T93" fmla="*/ 711 h 729"/>
              <a:gd name="T94" fmla="*/ 502 w 619"/>
              <a:gd name="T95" fmla="*/ 693 h 729"/>
              <a:gd name="T96" fmla="*/ 513 w 619"/>
              <a:gd name="T97" fmla="*/ 700 h 729"/>
              <a:gd name="T98" fmla="*/ 544 w 619"/>
              <a:gd name="T99" fmla="*/ 720 h 729"/>
              <a:gd name="T100" fmla="*/ 554 w 619"/>
              <a:gd name="T101" fmla="*/ 678 h 729"/>
              <a:gd name="T102" fmla="*/ 586 w 619"/>
              <a:gd name="T103" fmla="*/ 689 h 729"/>
              <a:gd name="T104" fmla="*/ 590 w 619"/>
              <a:gd name="T105" fmla="*/ 625 h 729"/>
              <a:gd name="T106" fmla="*/ 603 w 619"/>
              <a:gd name="T107" fmla="*/ 598 h 729"/>
              <a:gd name="T108" fmla="*/ 599 w 619"/>
              <a:gd name="T109" fmla="*/ 552 h 729"/>
              <a:gd name="T110" fmla="*/ 574 w 619"/>
              <a:gd name="T111" fmla="*/ 508 h 729"/>
              <a:gd name="T112" fmla="*/ 532 w 619"/>
              <a:gd name="T113" fmla="*/ 462 h 729"/>
              <a:gd name="T114" fmla="*/ 532 w 619"/>
              <a:gd name="T115" fmla="*/ 419 h 729"/>
              <a:gd name="T116" fmla="*/ 539 w 619"/>
              <a:gd name="T117" fmla="*/ 377 h 729"/>
              <a:gd name="T118" fmla="*/ 618 w 619"/>
              <a:gd name="T119" fmla="*/ 316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9" h="729">
                <a:moveTo>
                  <a:pt x="603" y="280"/>
                </a:moveTo>
                <a:lnTo>
                  <a:pt x="603" y="280"/>
                </a:lnTo>
                <a:lnTo>
                  <a:pt x="612" y="282"/>
                </a:lnTo>
                <a:lnTo>
                  <a:pt x="619" y="280"/>
                </a:lnTo>
                <a:lnTo>
                  <a:pt x="619" y="280"/>
                </a:lnTo>
                <a:lnTo>
                  <a:pt x="618" y="269"/>
                </a:lnTo>
                <a:lnTo>
                  <a:pt x="616" y="252"/>
                </a:lnTo>
                <a:lnTo>
                  <a:pt x="616" y="252"/>
                </a:lnTo>
                <a:lnTo>
                  <a:pt x="610" y="252"/>
                </a:lnTo>
                <a:lnTo>
                  <a:pt x="605" y="252"/>
                </a:lnTo>
                <a:lnTo>
                  <a:pt x="599" y="250"/>
                </a:lnTo>
                <a:lnTo>
                  <a:pt x="592" y="245"/>
                </a:lnTo>
                <a:lnTo>
                  <a:pt x="592" y="245"/>
                </a:lnTo>
                <a:lnTo>
                  <a:pt x="588" y="238"/>
                </a:lnTo>
                <a:lnTo>
                  <a:pt x="588" y="238"/>
                </a:lnTo>
                <a:lnTo>
                  <a:pt x="577" y="223"/>
                </a:lnTo>
                <a:lnTo>
                  <a:pt x="565" y="212"/>
                </a:lnTo>
                <a:lnTo>
                  <a:pt x="552" y="203"/>
                </a:lnTo>
                <a:lnTo>
                  <a:pt x="541" y="196"/>
                </a:lnTo>
                <a:lnTo>
                  <a:pt x="541" y="196"/>
                </a:lnTo>
                <a:lnTo>
                  <a:pt x="559" y="185"/>
                </a:lnTo>
                <a:lnTo>
                  <a:pt x="572" y="174"/>
                </a:lnTo>
                <a:lnTo>
                  <a:pt x="581" y="165"/>
                </a:lnTo>
                <a:lnTo>
                  <a:pt x="585" y="157"/>
                </a:lnTo>
                <a:lnTo>
                  <a:pt x="585" y="157"/>
                </a:lnTo>
                <a:lnTo>
                  <a:pt x="588" y="150"/>
                </a:lnTo>
                <a:lnTo>
                  <a:pt x="592" y="139"/>
                </a:lnTo>
                <a:lnTo>
                  <a:pt x="592" y="128"/>
                </a:lnTo>
                <a:lnTo>
                  <a:pt x="592" y="115"/>
                </a:lnTo>
                <a:lnTo>
                  <a:pt x="588" y="103"/>
                </a:lnTo>
                <a:lnTo>
                  <a:pt x="583" y="90"/>
                </a:lnTo>
                <a:lnTo>
                  <a:pt x="574" y="79"/>
                </a:lnTo>
                <a:lnTo>
                  <a:pt x="566" y="73"/>
                </a:lnTo>
                <a:lnTo>
                  <a:pt x="559" y="68"/>
                </a:lnTo>
                <a:lnTo>
                  <a:pt x="559" y="68"/>
                </a:lnTo>
                <a:lnTo>
                  <a:pt x="548" y="62"/>
                </a:lnTo>
                <a:lnTo>
                  <a:pt x="535" y="59"/>
                </a:lnTo>
                <a:lnTo>
                  <a:pt x="524" y="57"/>
                </a:lnTo>
                <a:lnTo>
                  <a:pt x="513" y="57"/>
                </a:lnTo>
                <a:lnTo>
                  <a:pt x="495" y="60"/>
                </a:lnTo>
                <a:lnTo>
                  <a:pt x="481" y="64"/>
                </a:lnTo>
                <a:lnTo>
                  <a:pt x="481" y="64"/>
                </a:lnTo>
                <a:lnTo>
                  <a:pt x="471" y="70"/>
                </a:lnTo>
                <a:lnTo>
                  <a:pt x="462" y="77"/>
                </a:lnTo>
                <a:lnTo>
                  <a:pt x="455" y="84"/>
                </a:lnTo>
                <a:lnTo>
                  <a:pt x="449" y="93"/>
                </a:lnTo>
                <a:lnTo>
                  <a:pt x="446" y="104"/>
                </a:lnTo>
                <a:lnTo>
                  <a:pt x="442" y="115"/>
                </a:lnTo>
                <a:lnTo>
                  <a:pt x="442" y="126"/>
                </a:lnTo>
                <a:lnTo>
                  <a:pt x="442" y="141"/>
                </a:lnTo>
                <a:lnTo>
                  <a:pt x="442" y="141"/>
                </a:lnTo>
                <a:lnTo>
                  <a:pt x="446" y="150"/>
                </a:lnTo>
                <a:lnTo>
                  <a:pt x="449" y="159"/>
                </a:lnTo>
                <a:lnTo>
                  <a:pt x="455" y="168"/>
                </a:lnTo>
                <a:lnTo>
                  <a:pt x="460" y="174"/>
                </a:lnTo>
                <a:lnTo>
                  <a:pt x="477" y="185"/>
                </a:lnTo>
                <a:lnTo>
                  <a:pt x="495" y="196"/>
                </a:lnTo>
                <a:lnTo>
                  <a:pt x="495" y="196"/>
                </a:lnTo>
                <a:lnTo>
                  <a:pt x="481" y="203"/>
                </a:lnTo>
                <a:lnTo>
                  <a:pt x="470" y="214"/>
                </a:lnTo>
                <a:lnTo>
                  <a:pt x="466" y="219"/>
                </a:lnTo>
                <a:lnTo>
                  <a:pt x="464" y="227"/>
                </a:lnTo>
                <a:lnTo>
                  <a:pt x="462" y="234"/>
                </a:lnTo>
                <a:lnTo>
                  <a:pt x="460" y="243"/>
                </a:lnTo>
                <a:lnTo>
                  <a:pt x="460" y="243"/>
                </a:lnTo>
                <a:lnTo>
                  <a:pt x="462" y="254"/>
                </a:lnTo>
                <a:lnTo>
                  <a:pt x="466" y="267"/>
                </a:lnTo>
                <a:lnTo>
                  <a:pt x="468" y="282"/>
                </a:lnTo>
                <a:lnTo>
                  <a:pt x="468" y="291"/>
                </a:lnTo>
                <a:lnTo>
                  <a:pt x="466" y="300"/>
                </a:lnTo>
                <a:lnTo>
                  <a:pt x="466" y="300"/>
                </a:lnTo>
                <a:lnTo>
                  <a:pt x="468" y="300"/>
                </a:lnTo>
                <a:lnTo>
                  <a:pt x="475" y="298"/>
                </a:lnTo>
                <a:lnTo>
                  <a:pt x="484" y="291"/>
                </a:lnTo>
                <a:lnTo>
                  <a:pt x="484" y="291"/>
                </a:lnTo>
                <a:lnTo>
                  <a:pt x="488" y="280"/>
                </a:lnTo>
                <a:lnTo>
                  <a:pt x="490" y="269"/>
                </a:lnTo>
                <a:lnTo>
                  <a:pt x="490" y="256"/>
                </a:lnTo>
                <a:lnTo>
                  <a:pt x="490" y="256"/>
                </a:lnTo>
                <a:lnTo>
                  <a:pt x="493" y="261"/>
                </a:lnTo>
                <a:lnTo>
                  <a:pt x="495" y="271"/>
                </a:lnTo>
                <a:lnTo>
                  <a:pt x="495" y="278"/>
                </a:lnTo>
                <a:lnTo>
                  <a:pt x="493" y="285"/>
                </a:lnTo>
                <a:lnTo>
                  <a:pt x="493" y="285"/>
                </a:lnTo>
                <a:lnTo>
                  <a:pt x="501" y="282"/>
                </a:lnTo>
                <a:lnTo>
                  <a:pt x="504" y="278"/>
                </a:lnTo>
                <a:lnTo>
                  <a:pt x="508" y="274"/>
                </a:lnTo>
                <a:lnTo>
                  <a:pt x="508" y="274"/>
                </a:lnTo>
                <a:lnTo>
                  <a:pt x="510" y="261"/>
                </a:lnTo>
                <a:lnTo>
                  <a:pt x="510" y="249"/>
                </a:lnTo>
                <a:lnTo>
                  <a:pt x="506" y="240"/>
                </a:lnTo>
                <a:lnTo>
                  <a:pt x="504" y="232"/>
                </a:lnTo>
                <a:lnTo>
                  <a:pt x="504" y="232"/>
                </a:lnTo>
                <a:lnTo>
                  <a:pt x="502" y="225"/>
                </a:lnTo>
                <a:lnTo>
                  <a:pt x="504" y="218"/>
                </a:lnTo>
                <a:lnTo>
                  <a:pt x="510" y="210"/>
                </a:lnTo>
                <a:lnTo>
                  <a:pt x="515" y="207"/>
                </a:lnTo>
                <a:lnTo>
                  <a:pt x="515" y="207"/>
                </a:lnTo>
                <a:lnTo>
                  <a:pt x="533" y="216"/>
                </a:lnTo>
                <a:lnTo>
                  <a:pt x="533" y="216"/>
                </a:lnTo>
                <a:lnTo>
                  <a:pt x="541" y="221"/>
                </a:lnTo>
                <a:lnTo>
                  <a:pt x="552" y="230"/>
                </a:lnTo>
                <a:lnTo>
                  <a:pt x="563" y="243"/>
                </a:lnTo>
                <a:lnTo>
                  <a:pt x="568" y="250"/>
                </a:lnTo>
                <a:lnTo>
                  <a:pt x="572" y="260"/>
                </a:lnTo>
                <a:lnTo>
                  <a:pt x="572" y="260"/>
                </a:lnTo>
                <a:lnTo>
                  <a:pt x="577" y="271"/>
                </a:lnTo>
                <a:lnTo>
                  <a:pt x="579" y="282"/>
                </a:lnTo>
                <a:lnTo>
                  <a:pt x="579" y="291"/>
                </a:lnTo>
                <a:lnTo>
                  <a:pt x="579" y="300"/>
                </a:lnTo>
                <a:lnTo>
                  <a:pt x="576" y="313"/>
                </a:lnTo>
                <a:lnTo>
                  <a:pt x="572" y="320"/>
                </a:lnTo>
                <a:lnTo>
                  <a:pt x="572" y="320"/>
                </a:lnTo>
                <a:lnTo>
                  <a:pt x="565" y="329"/>
                </a:lnTo>
                <a:lnTo>
                  <a:pt x="557" y="338"/>
                </a:lnTo>
                <a:lnTo>
                  <a:pt x="546" y="344"/>
                </a:lnTo>
                <a:lnTo>
                  <a:pt x="533" y="345"/>
                </a:lnTo>
                <a:lnTo>
                  <a:pt x="533" y="345"/>
                </a:lnTo>
                <a:lnTo>
                  <a:pt x="532" y="345"/>
                </a:lnTo>
                <a:lnTo>
                  <a:pt x="532" y="345"/>
                </a:lnTo>
                <a:lnTo>
                  <a:pt x="517" y="345"/>
                </a:lnTo>
                <a:lnTo>
                  <a:pt x="517" y="345"/>
                </a:lnTo>
                <a:lnTo>
                  <a:pt x="504" y="342"/>
                </a:lnTo>
                <a:lnTo>
                  <a:pt x="504" y="342"/>
                </a:lnTo>
                <a:lnTo>
                  <a:pt x="493" y="338"/>
                </a:lnTo>
                <a:lnTo>
                  <a:pt x="493" y="338"/>
                </a:lnTo>
                <a:lnTo>
                  <a:pt x="482" y="333"/>
                </a:lnTo>
                <a:lnTo>
                  <a:pt x="466" y="322"/>
                </a:lnTo>
                <a:lnTo>
                  <a:pt x="448" y="309"/>
                </a:lnTo>
                <a:lnTo>
                  <a:pt x="429" y="291"/>
                </a:lnTo>
                <a:lnTo>
                  <a:pt x="429" y="291"/>
                </a:lnTo>
                <a:lnTo>
                  <a:pt x="406" y="261"/>
                </a:lnTo>
                <a:lnTo>
                  <a:pt x="389" y="241"/>
                </a:lnTo>
                <a:lnTo>
                  <a:pt x="389" y="241"/>
                </a:lnTo>
                <a:lnTo>
                  <a:pt x="398" y="245"/>
                </a:lnTo>
                <a:lnTo>
                  <a:pt x="406" y="245"/>
                </a:lnTo>
                <a:lnTo>
                  <a:pt x="415" y="245"/>
                </a:lnTo>
                <a:lnTo>
                  <a:pt x="415" y="245"/>
                </a:lnTo>
                <a:lnTo>
                  <a:pt x="417" y="229"/>
                </a:lnTo>
                <a:lnTo>
                  <a:pt x="417" y="212"/>
                </a:lnTo>
                <a:lnTo>
                  <a:pt x="417" y="212"/>
                </a:lnTo>
                <a:lnTo>
                  <a:pt x="417" y="198"/>
                </a:lnTo>
                <a:lnTo>
                  <a:pt x="417" y="198"/>
                </a:lnTo>
                <a:lnTo>
                  <a:pt x="411" y="198"/>
                </a:lnTo>
                <a:lnTo>
                  <a:pt x="398" y="194"/>
                </a:lnTo>
                <a:lnTo>
                  <a:pt x="393" y="192"/>
                </a:lnTo>
                <a:lnTo>
                  <a:pt x="386" y="188"/>
                </a:lnTo>
                <a:lnTo>
                  <a:pt x="380" y="185"/>
                </a:lnTo>
                <a:lnTo>
                  <a:pt x="376" y="179"/>
                </a:lnTo>
                <a:lnTo>
                  <a:pt x="376" y="179"/>
                </a:lnTo>
                <a:lnTo>
                  <a:pt x="382" y="181"/>
                </a:lnTo>
                <a:lnTo>
                  <a:pt x="387" y="183"/>
                </a:lnTo>
                <a:lnTo>
                  <a:pt x="395" y="185"/>
                </a:lnTo>
                <a:lnTo>
                  <a:pt x="395" y="185"/>
                </a:lnTo>
                <a:lnTo>
                  <a:pt x="411" y="183"/>
                </a:lnTo>
                <a:lnTo>
                  <a:pt x="418" y="183"/>
                </a:lnTo>
                <a:lnTo>
                  <a:pt x="418" y="183"/>
                </a:lnTo>
                <a:lnTo>
                  <a:pt x="420" y="166"/>
                </a:lnTo>
                <a:lnTo>
                  <a:pt x="420" y="152"/>
                </a:lnTo>
                <a:lnTo>
                  <a:pt x="420" y="152"/>
                </a:lnTo>
                <a:lnTo>
                  <a:pt x="420" y="137"/>
                </a:lnTo>
                <a:lnTo>
                  <a:pt x="420" y="137"/>
                </a:lnTo>
                <a:lnTo>
                  <a:pt x="409" y="137"/>
                </a:lnTo>
                <a:lnTo>
                  <a:pt x="396" y="135"/>
                </a:lnTo>
                <a:lnTo>
                  <a:pt x="396" y="135"/>
                </a:lnTo>
                <a:lnTo>
                  <a:pt x="384" y="130"/>
                </a:lnTo>
                <a:lnTo>
                  <a:pt x="378" y="126"/>
                </a:lnTo>
                <a:lnTo>
                  <a:pt x="375" y="121"/>
                </a:lnTo>
                <a:lnTo>
                  <a:pt x="375" y="121"/>
                </a:lnTo>
                <a:lnTo>
                  <a:pt x="380" y="123"/>
                </a:lnTo>
                <a:lnTo>
                  <a:pt x="395" y="126"/>
                </a:lnTo>
                <a:lnTo>
                  <a:pt x="395" y="126"/>
                </a:lnTo>
                <a:lnTo>
                  <a:pt x="404" y="126"/>
                </a:lnTo>
                <a:lnTo>
                  <a:pt x="413" y="124"/>
                </a:lnTo>
                <a:lnTo>
                  <a:pt x="420" y="124"/>
                </a:lnTo>
                <a:lnTo>
                  <a:pt x="422" y="123"/>
                </a:lnTo>
                <a:lnTo>
                  <a:pt x="422" y="123"/>
                </a:lnTo>
                <a:lnTo>
                  <a:pt x="422" y="93"/>
                </a:lnTo>
                <a:lnTo>
                  <a:pt x="422" y="93"/>
                </a:lnTo>
                <a:lnTo>
                  <a:pt x="424" y="86"/>
                </a:lnTo>
                <a:lnTo>
                  <a:pt x="424" y="77"/>
                </a:lnTo>
                <a:lnTo>
                  <a:pt x="424" y="77"/>
                </a:lnTo>
                <a:lnTo>
                  <a:pt x="418" y="77"/>
                </a:lnTo>
                <a:lnTo>
                  <a:pt x="407" y="75"/>
                </a:lnTo>
                <a:lnTo>
                  <a:pt x="395" y="70"/>
                </a:lnTo>
                <a:lnTo>
                  <a:pt x="389" y="66"/>
                </a:lnTo>
                <a:lnTo>
                  <a:pt x="382" y="60"/>
                </a:lnTo>
                <a:lnTo>
                  <a:pt x="382" y="60"/>
                </a:lnTo>
                <a:lnTo>
                  <a:pt x="380" y="57"/>
                </a:lnTo>
                <a:lnTo>
                  <a:pt x="380" y="53"/>
                </a:lnTo>
                <a:lnTo>
                  <a:pt x="382" y="46"/>
                </a:lnTo>
                <a:lnTo>
                  <a:pt x="382" y="46"/>
                </a:lnTo>
                <a:lnTo>
                  <a:pt x="349" y="31"/>
                </a:lnTo>
                <a:lnTo>
                  <a:pt x="349" y="31"/>
                </a:lnTo>
                <a:lnTo>
                  <a:pt x="353" y="28"/>
                </a:lnTo>
                <a:lnTo>
                  <a:pt x="356" y="22"/>
                </a:lnTo>
                <a:lnTo>
                  <a:pt x="356" y="18"/>
                </a:lnTo>
                <a:lnTo>
                  <a:pt x="356" y="18"/>
                </a:lnTo>
                <a:lnTo>
                  <a:pt x="354" y="13"/>
                </a:lnTo>
                <a:lnTo>
                  <a:pt x="349" y="9"/>
                </a:lnTo>
                <a:lnTo>
                  <a:pt x="343" y="8"/>
                </a:lnTo>
                <a:lnTo>
                  <a:pt x="336" y="8"/>
                </a:lnTo>
                <a:lnTo>
                  <a:pt x="336" y="8"/>
                </a:lnTo>
                <a:lnTo>
                  <a:pt x="329" y="9"/>
                </a:lnTo>
                <a:lnTo>
                  <a:pt x="325" y="13"/>
                </a:lnTo>
                <a:lnTo>
                  <a:pt x="320" y="18"/>
                </a:lnTo>
                <a:lnTo>
                  <a:pt x="280" y="0"/>
                </a:lnTo>
                <a:lnTo>
                  <a:pt x="247" y="33"/>
                </a:lnTo>
                <a:lnTo>
                  <a:pt x="247" y="33"/>
                </a:lnTo>
                <a:lnTo>
                  <a:pt x="245" y="35"/>
                </a:lnTo>
                <a:lnTo>
                  <a:pt x="245" y="39"/>
                </a:lnTo>
                <a:lnTo>
                  <a:pt x="245" y="42"/>
                </a:lnTo>
                <a:lnTo>
                  <a:pt x="245" y="42"/>
                </a:lnTo>
                <a:lnTo>
                  <a:pt x="245" y="44"/>
                </a:lnTo>
                <a:lnTo>
                  <a:pt x="243" y="46"/>
                </a:lnTo>
                <a:lnTo>
                  <a:pt x="243" y="46"/>
                </a:lnTo>
                <a:lnTo>
                  <a:pt x="234" y="57"/>
                </a:lnTo>
                <a:lnTo>
                  <a:pt x="234" y="57"/>
                </a:lnTo>
                <a:lnTo>
                  <a:pt x="228" y="66"/>
                </a:lnTo>
                <a:lnTo>
                  <a:pt x="228" y="66"/>
                </a:lnTo>
                <a:lnTo>
                  <a:pt x="225" y="73"/>
                </a:lnTo>
                <a:lnTo>
                  <a:pt x="223" y="79"/>
                </a:lnTo>
                <a:lnTo>
                  <a:pt x="223" y="79"/>
                </a:lnTo>
                <a:lnTo>
                  <a:pt x="221" y="81"/>
                </a:lnTo>
                <a:lnTo>
                  <a:pt x="221" y="84"/>
                </a:lnTo>
                <a:lnTo>
                  <a:pt x="225" y="92"/>
                </a:lnTo>
                <a:lnTo>
                  <a:pt x="234" y="99"/>
                </a:lnTo>
                <a:lnTo>
                  <a:pt x="234" y="101"/>
                </a:lnTo>
                <a:lnTo>
                  <a:pt x="234" y="101"/>
                </a:lnTo>
                <a:lnTo>
                  <a:pt x="236" y="99"/>
                </a:lnTo>
                <a:lnTo>
                  <a:pt x="238" y="99"/>
                </a:lnTo>
                <a:lnTo>
                  <a:pt x="238" y="99"/>
                </a:lnTo>
                <a:lnTo>
                  <a:pt x="243" y="104"/>
                </a:lnTo>
                <a:lnTo>
                  <a:pt x="243" y="104"/>
                </a:lnTo>
                <a:lnTo>
                  <a:pt x="245" y="101"/>
                </a:lnTo>
                <a:lnTo>
                  <a:pt x="248" y="95"/>
                </a:lnTo>
                <a:lnTo>
                  <a:pt x="248" y="95"/>
                </a:lnTo>
                <a:lnTo>
                  <a:pt x="254" y="88"/>
                </a:lnTo>
                <a:lnTo>
                  <a:pt x="261" y="82"/>
                </a:lnTo>
                <a:lnTo>
                  <a:pt x="261" y="82"/>
                </a:lnTo>
                <a:lnTo>
                  <a:pt x="269" y="79"/>
                </a:lnTo>
                <a:lnTo>
                  <a:pt x="276" y="79"/>
                </a:lnTo>
                <a:lnTo>
                  <a:pt x="276" y="79"/>
                </a:lnTo>
                <a:lnTo>
                  <a:pt x="283" y="79"/>
                </a:lnTo>
                <a:lnTo>
                  <a:pt x="289" y="82"/>
                </a:lnTo>
                <a:lnTo>
                  <a:pt x="289" y="82"/>
                </a:lnTo>
                <a:lnTo>
                  <a:pt x="292" y="88"/>
                </a:lnTo>
                <a:lnTo>
                  <a:pt x="294" y="95"/>
                </a:lnTo>
                <a:lnTo>
                  <a:pt x="294" y="103"/>
                </a:lnTo>
                <a:lnTo>
                  <a:pt x="294" y="108"/>
                </a:lnTo>
                <a:lnTo>
                  <a:pt x="294" y="108"/>
                </a:lnTo>
                <a:lnTo>
                  <a:pt x="290" y="104"/>
                </a:lnTo>
                <a:lnTo>
                  <a:pt x="290" y="104"/>
                </a:lnTo>
                <a:lnTo>
                  <a:pt x="285" y="103"/>
                </a:lnTo>
                <a:lnTo>
                  <a:pt x="276" y="101"/>
                </a:lnTo>
                <a:lnTo>
                  <a:pt x="265" y="101"/>
                </a:lnTo>
                <a:lnTo>
                  <a:pt x="254" y="103"/>
                </a:lnTo>
                <a:lnTo>
                  <a:pt x="254" y="103"/>
                </a:lnTo>
                <a:lnTo>
                  <a:pt x="241" y="108"/>
                </a:lnTo>
                <a:lnTo>
                  <a:pt x="219" y="115"/>
                </a:lnTo>
                <a:lnTo>
                  <a:pt x="219" y="115"/>
                </a:lnTo>
                <a:lnTo>
                  <a:pt x="214" y="117"/>
                </a:lnTo>
                <a:lnTo>
                  <a:pt x="208" y="117"/>
                </a:lnTo>
                <a:lnTo>
                  <a:pt x="205" y="113"/>
                </a:lnTo>
                <a:lnTo>
                  <a:pt x="203" y="110"/>
                </a:lnTo>
                <a:lnTo>
                  <a:pt x="203" y="110"/>
                </a:lnTo>
                <a:lnTo>
                  <a:pt x="203" y="104"/>
                </a:lnTo>
                <a:lnTo>
                  <a:pt x="203" y="101"/>
                </a:lnTo>
                <a:lnTo>
                  <a:pt x="205" y="97"/>
                </a:lnTo>
                <a:lnTo>
                  <a:pt x="205" y="97"/>
                </a:lnTo>
                <a:lnTo>
                  <a:pt x="199" y="101"/>
                </a:lnTo>
                <a:lnTo>
                  <a:pt x="194" y="104"/>
                </a:lnTo>
                <a:lnTo>
                  <a:pt x="190" y="110"/>
                </a:lnTo>
                <a:lnTo>
                  <a:pt x="190" y="110"/>
                </a:lnTo>
                <a:lnTo>
                  <a:pt x="190" y="117"/>
                </a:lnTo>
                <a:lnTo>
                  <a:pt x="192" y="124"/>
                </a:lnTo>
                <a:lnTo>
                  <a:pt x="195" y="128"/>
                </a:lnTo>
                <a:lnTo>
                  <a:pt x="201" y="132"/>
                </a:lnTo>
                <a:lnTo>
                  <a:pt x="201" y="132"/>
                </a:lnTo>
                <a:lnTo>
                  <a:pt x="208" y="132"/>
                </a:lnTo>
                <a:lnTo>
                  <a:pt x="217" y="130"/>
                </a:lnTo>
                <a:lnTo>
                  <a:pt x="234" y="123"/>
                </a:lnTo>
                <a:lnTo>
                  <a:pt x="234" y="123"/>
                </a:lnTo>
                <a:lnTo>
                  <a:pt x="250" y="113"/>
                </a:lnTo>
                <a:lnTo>
                  <a:pt x="250" y="113"/>
                </a:lnTo>
                <a:lnTo>
                  <a:pt x="258" y="112"/>
                </a:lnTo>
                <a:lnTo>
                  <a:pt x="263" y="110"/>
                </a:lnTo>
                <a:lnTo>
                  <a:pt x="270" y="112"/>
                </a:lnTo>
                <a:lnTo>
                  <a:pt x="278" y="113"/>
                </a:lnTo>
                <a:lnTo>
                  <a:pt x="278" y="113"/>
                </a:lnTo>
                <a:lnTo>
                  <a:pt x="285" y="119"/>
                </a:lnTo>
                <a:lnTo>
                  <a:pt x="289" y="121"/>
                </a:lnTo>
                <a:lnTo>
                  <a:pt x="289" y="121"/>
                </a:lnTo>
                <a:lnTo>
                  <a:pt x="285" y="126"/>
                </a:lnTo>
                <a:lnTo>
                  <a:pt x="281" y="130"/>
                </a:lnTo>
                <a:lnTo>
                  <a:pt x="274" y="130"/>
                </a:lnTo>
                <a:lnTo>
                  <a:pt x="274" y="130"/>
                </a:lnTo>
                <a:lnTo>
                  <a:pt x="267" y="130"/>
                </a:lnTo>
                <a:lnTo>
                  <a:pt x="261" y="128"/>
                </a:lnTo>
                <a:lnTo>
                  <a:pt x="256" y="124"/>
                </a:lnTo>
                <a:lnTo>
                  <a:pt x="254" y="121"/>
                </a:lnTo>
                <a:lnTo>
                  <a:pt x="254" y="121"/>
                </a:lnTo>
                <a:lnTo>
                  <a:pt x="250" y="128"/>
                </a:lnTo>
                <a:lnTo>
                  <a:pt x="250" y="128"/>
                </a:lnTo>
                <a:lnTo>
                  <a:pt x="248" y="132"/>
                </a:lnTo>
                <a:lnTo>
                  <a:pt x="248" y="135"/>
                </a:lnTo>
                <a:lnTo>
                  <a:pt x="250" y="137"/>
                </a:lnTo>
                <a:lnTo>
                  <a:pt x="248" y="141"/>
                </a:lnTo>
                <a:lnTo>
                  <a:pt x="248" y="141"/>
                </a:lnTo>
                <a:lnTo>
                  <a:pt x="247" y="143"/>
                </a:lnTo>
                <a:lnTo>
                  <a:pt x="245" y="146"/>
                </a:lnTo>
                <a:lnTo>
                  <a:pt x="238" y="152"/>
                </a:lnTo>
                <a:lnTo>
                  <a:pt x="238" y="152"/>
                </a:lnTo>
                <a:lnTo>
                  <a:pt x="227" y="157"/>
                </a:lnTo>
                <a:lnTo>
                  <a:pt x="219" y="159"/>
                </a:lnTo>
                <a:lnTo>
                  <a:pt x="219" y="159"/>
                </a:lnTo>
                <a:lnTo>
                  <a:pt x="227" y="176"/>
                </a:lnTo>
                <a:lnTo>
                  <a:pt x="227" y="176"/>
                </a:lnTo>
                <a:lnTo>
                  <a:pt x="232" y="187"/>
                </a:lnTo>
                <a:lnTo>
                  <a:pt x="236" y="194"/>
                </a:lnTo>
                <a:lnTo>
                  <a:pt x="239" y="199"/>
                </a:lnTo>
                <a:lnTo>
                  <a:pt x="239" y="199"/>
                </a:lnTo>
                <a:lnTo>
                  <a:pt x="247" y="198"/>
                </a:lnTo>
                <a:lnTo>
                  <a:pt x="259" y="192"/>
                </a:lnTo>
                <a:lnTo>
                  <a:pt x="259" y="192"/>
                </a:lnTo>
                <a:lnTo>
                  <a:pt x="269" y="185"/>
                </a:lnTo>
                <a:lnTo>
                  <a:pt x="274" y="177"/>
                </a:lnTo>
                <a:lnTo>
                  <a:pt x="274" y="177"/>
                </a:lnTo>
                <a:lnTo>
                  <a:pt x="267" y="194"/>
                </a:lnTo>
                <a:lnTo>
                  <a:pt x="261" y="203"/>
                </a:lnTo>
                <a:lnTo>
                  <a:pt x="254" y="210"/>
                </a:lnTo>
                <a:lnTo>
                  <a:pt x="248" y="216"/>
                </a:lnTo>
                <a:lnTo>
                  <a:pt x="248" y="216"/>
                </a:lnTo>
                <a:lnTo>
                  <a:pt x="225" y="232"/>
                </a:lnTo>
                <a:lnTo>
                  <a:pt x="192" y="250"/>
                </a:lnTo>
                <a:lnTo>
                  <a:pt x="172" y="261"/>
                </a:lnTo>
                <a:lnTo>
                  <a:pt x="153" y="269"/>
                </a:lnTo>
                <a:lnTo>
                  <a:pt x="133" y="276"/>
                </a:lnTo>
                <a:lnTo>
                  <a:pt x="113" y="280"/>
                </a:lnTo>
                <a:lnTo>
                  <a:pt x="113" y="280"/>
                </a:lnTo>
                <a:lnTo>
                  <a:pt x="108" y="278"/>
                </a:lnTo>
                <a:lnTo>
                  <a:pt x="100" y="276"/>
                </a:lnTo>
                <a:lnTo>
                  <a:pt x="88" y="267"/>
                </a:lnTo>
                <a:lnTo>
                  <a:pt x="75" y="258"/>
                </a:lnTo>
                <a:lnTo>
                  <a:pt x="68" y="249"/>
                </a:lnTo>
                <a:lnTo>
                  <a:pt x="68" y="249"/>
                </a:lnTo>
                <a:lnTo>
                  <a:pt x="66" y="249"/>
                </a:lnTo>
                <a:lnTo>
                  <a:pt x="62" y="247"/>
                </a:lnTo>
                <a:lnTo>
                  <a:pt x="58" y="249"/>
                </a:lnTo>
                <a:lnTo>
                  <a:pt x="53" y="252"/>
                </a:lnTo>
                <a:lnTo>
                  <a:pt x="53" y="252"/>
                </a:lnTo>
                <a:lnTo>
                  <a:pt x="49" y="252"/>
                </a:lnTo>
                <a:lnTo>
                  <a:pt x="42" y="252"/>
                </a:lnTo>
                <a:lnTo>
                  <a:pt x="31" y="254"/>
                </a:lnTo>
                <a:lnTo>
                  <a:pt x="27" y="258"/>
                </a:lnTo>
                <a:lnTo>
                  <a:pt x="24" y="261"/>
                </a:lnTo>
                <a:lnTo>
                  <a:pt x="24" y="261"/>
                </a:lnTo>
                <a:lnTo>
                  <a:pt x="24" y="263"/>
                </a:lnTo>
                <a:lnTo>
                  <a:pt x="29" y="263"/>
                </a:lnTo>
                <a:lnTo>
                  <a:pt x="35" y="261"/>
                </a:lnTo>
                <a:lnTo>
                  <a:pt x="42" y="263"/>
                </a:lnTo>
                <a:lnTo>
                  <a:pt x="42" y="263"/>
                </a:lnTo>
                <a:lnTo>
                  <a:pt x="44" y="265"/>
                </a:lnTo>
                <a:lnTo>
                  <a:pt x="42" y="267"/>
                </a:lnTo>
                <a:lnTo>
                  <a:pt x="40" y="269"/>
                </a:lnTo>
                <a:lnTo>
                  <a:pt x="40" y="272"/>
                </a:lnTo>
                <a:lnTo>
                  <a:pt x="40" y="272"/>
                </a:lnTo>
                <a:lnTo>
                  <a:pt x="40" y="274"/>
                </a:lnTo>
                <a:lnTo>
                  <a:pt x="44" y="278"/>
                </a:lnTo>
                <a:lnTo>
                  <a:pt x="53" y="282"/>
                </a:lnTo>
                <a:lnTo>
                  <a:pt x="71" y="289"/>
                </a:lnTo>
                <a:lnTo>
                  <a:pt x="71" y="289"/>
                </a:lnTo>
                <a:lnTo>
                  <a:pt x="73" y="291"/>
                </a:lnTo>
                <a:lnTo>
                  <a:pt x="73" y="293"/>
                </a:lnTo>
                <a:lnTo>
                  <a:pt x="73" y="293"/>
                </a:lnTo>
                <a:lnTo>
                  <a:pt x="60" y="291"/>
                </a:lnTo>
                <a:lnTo>
                  <a:pt x="51" y="287"/>
                </a:lnTo>
                <a:lnTo>
                  <a:pt x="38" y="282"/>
                </a:lnTo>
                <a:lnTo>
                  <a:pt x="38" y="282"/>
                </a:lnTo>
                <a:lnTo>
                  <a:pt x="29" y="280"/>
                </a:lnTo>
                <a:lnTo>
                  <a:pt x="24" y="280"/>
                </a:lnTo>
                <a:lnTo>
                  <a:pt x="22" y="283"/>
                </a:lnTo>
                <a:lnTo>
                  <a:pt x="20" y="287"/>
                </a:lnTo>
                <a:lnTo>
                  <a:pt x="20" y="287"/>
                </a:lnTo>
                <a:lnTo>
                  <a:pt x="18" y="289"/>
                </a:lnTo>
                <a:lnTo>
                  <a:pt x="16" y="289"/>
                </a:lnTo>
                <a:lnTo>
                  <a:pt x="11" y="293"/>
                </a:lnTo>
                <a:lnTo>
                  <a:pt x="7" y="294"/>
                </a:lnTo>
                <a:lnTo>
                  <a:pt x="4" y="300"/>
                </a:lnTo>
                <a:lnTo>
                  <a:pt x="2" y="305"/>
                </a:lnTo>
                <a:lnTo>
                  <a:pt x="0" y="314"/>
                </a:lnTo>
                <a:lnTo>
                  <a:pt x="0" y="314"/>
                </a:lnTo>
                <a:lnTo>
                  <a:pt x="4" y="313"/>
                </a:lnTo>
                <a:lnTo>
                  <a:pt x="9" y="307"/>
                </a:lnTo>
                <a:lnTo>
                  <a:pt x="15" y="303"/>
                </a:lnTo>
                <a:lnTo>
                  <a:pt x="18" y="302"/>
                </a:lnTo>
                <a:lnTo>
                  <a:pt x="18" y="303"/>
                </a:lnTo>
                <a:lnTo>
                  <a:pt x="18" y="303"/>
                </a:lnTo>
                <a:lnTo>
                  <a:pt x="22" y="311"/>
                </a:lnTo>
                <a:lnTo>
                  <a:pt x="27" y="314"/>
                </a:lnTo>
                <a:lnTo>
                  <a:pt x="35" y="314"/>
                </a:lnTo>
                <a:lnTo>
                  <a:pt x="42" y="314"/>
                </a:lnTo>
                <a:lnTo>
                  <a:pt x="58" y="313"/>
                </a:lnTo>
                <a:lnTo>
                  <a:pt x="66" y="313"/>
                </a:lnTo>
                <a:lnTo>
                  <a:pt x="69" y="313"/>
                </a:lnTo>
                <a:lnTo>
                  <a:pt x="69" y="313"/>
                </a:lnTo>
                <a:lnTo>
                  <a:pt x="69" y="314"/>
                </a:lnTo>
                <a:lnTo>
                  <a:pt x="69" y="314"/>
                </a:lnTo>
                <a:lnTo>
                  <a:pt x="66" y="316"/>
                </a:lnTo>
                <a:lnTo>
                  <a:pt x="53" y="318"/>
                </a:lnTo>
                <a:lnTo>
                  <a:pt x="46" y="320"/>
                </a:lnTo>
                <a:lnTo>
                  <a:pt x="38" y="324"/>
                </a:lnTo>
                <a:lnTo>
                  <a:pt x="37" y="325"/>
                </a:lnTo>
                <a:lnTo>
                  <a:pt x="35" y="329"/>
                </a:lnTo>
                <a:lnTo>
                  <a:pt x="37" y="331"/>
                </a:lnTo>
                <a:lnTo>
                  <a:pt x="37" y="331"/>
                </a:lnTo>
                <a:lnTo>
                  <a:pt x="33" y="335"/>
                </a:lnTo>
                <a:lnTo>
                  <a:pt x="29" y="342"/>
                </a:lnTo>
                <a:lnTo>
                  <a:pt x="27" y="345"/>
                </a:lnTo>
                <a:lnTo>
                  <a:pt x="27" y="351"/>
                </a:lnTo>
                <a:lnTo>
                  <a:pt x="29" y="356"/>
                </a:lnTo>
                <a:lnTo>
                  <a:pt x="35" y="364"/>
                </a:lnTo>
                <a:lnTo>
                  <a:pt x="35" y="364"/>
                </a:lnTo>
                <a:lnTo>
                  <a:pt x="37" y="353"/>
                </a:lnTo>
                <a:lnTo>
                  <a:pt x="40" y="347"/>
                </a:lnTo>
                <a:lnTo>
                  <a:pt x="42" y="345"/>
                </a:lnTo>
                <a:lnTo>
                  <a:pt x="46" y="345"/>
                </a:lnTo>
                <a:lnTo>
                  <a:pt x="46" y="345"/>
                </a:lnTo>
                <a:lnTo>
                  <a:pt x="53" y="345"/>
                </a:lnTo>
                <a:lnTo>
                  <a:pt x="58" y="349"/>
                </a:lnTo>
                <a:lnTo>
                  <a:pt x="64" y="349"/>
                </a:lnTo>
                <a:lnTo>
                  <a:pt x="71" y="345"/>
                </a:lnTo>
                <a:lnTo>
                  <a:pt x="71" y="345"/>
                </a:lnTo>
                <a:lnTo>
                  <a:pt x="79" y="340"/>
                </a:lnTo>
                <a:lnTo>
                  <a:pt x="84" y="336"/>
                </a:lnTo>
                <a:lnTo>
                  <a:pt x="95" y="333"/>
                </a:lnTo>
                <a:lnTo>
                  <a:pt x="95" y="333"/>
                </a:lnTo>
                <a:lnTo>
                  <a:pt x="95" y="336"/>
                </a:lnTo>
                <a:lnTo>
                  <a:pt x="99" y="342"/>
                </a:lnTo>
                <a:lnTo>
                  <a:pt x="99" y="342"/>
                </a:lnTo>
                <a:lnTo>
                  <a:pt x="102" y="344"/>
                </a:lnTo>
                <a:lnTo>
                  <a:pt x="104" y="345"/>
                </a:lnTo>
                <a:lnTo>
                  <a:pt x="104" y="345"/>
                </a:lnTo>
                <a:lnTo>
                  <a:pt x="104" y="345"/>
                </a:lnTo>
                <a:lnTo>
                  <a:pt x="102" y="351"/>
                </a:lnTo>
                <a:lnTo>
                  <a:pt x="99" y="356"/>
                </a:lnTo>
                <a:lnTo>
                  <a:pt x="95" y="360"/>
                </a:lnTo>
                <a:lnTo>
                  <a:pt x="95" y="360"/>
                </a:lnTo>
                <a:lnTo>
                  <a:pt x="97" y="360"/>
                </a:lnTo>
                <a:lnTo>
                  <a:pt x="102" y="360"/>
                </a:lnTo>
                <a:lnTo>
                  <a:pt x="108" y="358"/>
                </a:lnTo>
                <a:lnTo>
                  <a:pt x="111" y="355"/>
                </a:lnTo>
                <a:lnTo>
                  <a:pt x="115" y="349"/>
                </a:lnTo>
                <a:lnTo>
                  <a:pt x="115" y="349"/>
                </a:lnTo>
                <a:lnTo>
                  <a:pt x="117" y="347"/>
                </a:lnTo>
                <a:lnTo>
                  <a:pt x="119" y="347"/>
                </a:lnTo>
                <a:lnTo>
                  <a:pt x="124" y="347"/>
                </a:lnTo>
                <a:lnTo>
                  <a:pt x="124" y="347"/>
                </a:lnTo>
                <a:lnTo>
                  <a:pt x="128" y="345"/>
                </a:lnTo>
                <a:lnTo>
                  <a:pt x="130" y="344"/>
                </a:lnTo>
                <a:lnTo>
                  <a:pt x="130" y="338"/>
                </a:lnTo>
                <a:lnTo>
                  <a:pt x="130" y="333"/>
                </a:lnTo>
                <a:lnTo>
                  <a:pt x="130" y="329"/>
                </a:lnTo>
                <a:lnTo>
                  <a:pt x="132" y="327"/>
                </a:lnTo>
                <a:lnTo>
                  <a:pt x="132" y="327"/>
                </a:lnTo>
                <a:lnTo>
                  <a:pt x="139" y="322"/>
                </a:lnTo>
                <a:lnTo>
                  <a:pt x="146" y="316"/>
                </a:lnTo>
                <a:lnTo>
                  <a:pt x="163" y="309"/>
                </a:lnTo>
                <a:lnTo>
                  <a:pt x="163" y="309"/>
                </a:lnTo>
                <a:lnTo>
                  <a:pt x="161" y="316"/>
                </a:lnTo>
                <a:lnTo>
                  <a:pt x="161" y="324"/>
                </a:lnTo>
                <a:lnTo>
                  <a:pt x="164" y="333"/>
                </a:lnTo>
                <a:lnTo>
                  <a:pt x="205" y="322"/>
                </a:lnTo>
                <a:lnTo>
                  <a:pt x="205" y="322"/>
                </a:lnTo>
                <a:lnTo>
                  <a:pt x="203" y="313"/>
                </a:lnTo>
                <a:lnTo>
                  <a:pt x="205" y="305"/>
                </a:lnTo>
                <a:lnTo>
                  <a:pt x="210" y="296"/>
                </a:lnTo>
                <a:lnTo>
                  <a:pt x="216" y="287"/>
                </a:lnTo>
                <a:lnTo>
                  <a:pt x="216" y="287"/>
                </a:lnTo>
                <a:lnTo>
                  <a:pt x="216" y="291"/>
                </a:lnTo>
                <a:lnTo>
                  <a:pt x="214" y="300"/>
                </a:lnTo>
                <a:lnTo>
                  <a:pt x="214" y="311"/>
                </a:lnTo>
                <a:lnTo>
                  <a:pt x="214" y="316"/>
                </a:lnTo>
                <a:lnTo>
                  <a:pt x="216" y="318"/>
                </a:lnTo>
                <a:lnTo>
                  <a:pt x="256" y="309"/>
                </a:lnTo>
                <a:lnTo>
                  <a:pt x="256" y="309"/>
                </a:lnTo>
                <a:lnTo>
                  <a:pt x="254" y="303"/>
                </a:lnTo>
                <a:lnTo>
                  <a:pt x="254" y="296"/>
                </a:lnTo>
                <a:lnTo>
                  <a:pt x="258" y="283"/>
                </a:lnTo>
                <a:lnTo>
                  <a:pt x="258" y="283"/>
                </a:lnTo>
                <a:lnTo>
                  <a:pt x="261" y="298"/>
                </a:lnTo>
                <a:lnTo>
                  <a:pt x="269" y="311"/>
                </a:lnTo>
                <a:lnTo>
                  <a:pt x="278" y="322"/>
                </a:lnTo>
                <a:lnTo>
                  <a:pt x="283" y="325"/>
                </a:lnTo>
                <a:lnTo>
                  <a:pt x="289" y="329"/>
                </a:lnTo>
                <a:lnTo>
                  <a:pt x="289" y="329"/>
                </a:lnTo>
                <a:lnTo>
                  <a:pt x="311" y="338"/>
                </a:lnTo>
                <a:lnTo>
                  <a:pt x="334" y="345"/>
                </a:lnTo>
                <a:lnTo>
                  <a:pt x="391" y="362"/>
                </a:lnTo>
                <a:lnTo>
                  <a:pt x="391" y="362"/>
                </a:lnTo>
                <a:lnTo>
                  <a:pt x="407" y="367"/>
                </a:lnTo>
                <a:lnTo>
                  <a:pt x="420" y="373"/>
                </a:lnTo>
                <a:lnTo>
                  <a:pt x="420" y="373"/>
                </a:lnTo>
                <a:lnTo>
                  <a:pt x="424" y="375"/>
                </a:lnTo>
                <a:lnTo>
                  <a:pt x="424" y="377"/>
                </a:lnTo>
                <a:lnTo>
                  <a:pt x="422" y="382"/>
                </a:lnTo>
                <a:lnTo>
                  <a:pt x="417" y="386"/>
                </a:lnTo>
                <a:lnTo>
                  <a:pt x="417" y="386"/>
                </a:lnTo>
                <a:lnTo>
                  <a:pt x="424" y="391"/>
                </a:lnTo>
                <a:lnTo>
                  <a:pt x="438" y="400"/>
                </a:lnTo>
                <a:lnTo>
                  <a:pt x="438" y="400"/>
                </a:lnTo>
                <a:lnTo>
                  <a:pt x="448" y="409"/>
                </a:lnTo>
                <a:lnTo>
                  <a:pt x="453" y="420"/>
                </a:lnTo>
                <a:lnTo>
                  <a:pt x="459" y="435"/>
                </a:lnTo>
                <a:lnTo>
                  <a:pt x="462" y="450"/>
                </a:lnTo>
                <a:lnTo>
                  <a:pt x="462" y="450"/>
                </a:lnTo>
                <a:lnTo>
                  <a:pt x="466" y="462"/>
                </a:lnTo>
                <a:lnTo>
                  <a:pt x="466" y="475"/>
                </a:lnTo>
                <a:lnTo>
                  <a:pt x="466" y="486"/>
                </a:lnTo>
                <a:lnTo>
                  <a:pt x="466" y="492"/>
                </a:lnTo>
                <a:lnTo>
                  <a:pt x="464" y="493"/>
                </a:lnTo>
                <a:lnTo>
                  <a:pt x="464" y="493"/>
                </a:lnTo>
                <a:lnTo>
                  <a:pt x="460" y="497"/>
                </a:lnTo>
                <a:lnTo>
                  <a:pt x="457" y="499"/>
                </a:lnTo>
                <a:lnTo>
                  <a:pt x="451" y="501"/>
                </a:lnTo>
                <a:lnTo>
                  <a:pt x="440" y="504"/>
                </a:lnTo>
                <a:lnTo>
                  <a:pt x="444" y="519"/>
                </a:lnTo>
                <a:lnTo>
                  <a:pt x="444" y="519"/>
                </a:lnTo>
                <a:lnTo>
                  <a:pt x="451" y="519"/>
                </a:lnTo>
                <a:lnTo>
                  <a:pt x="459" y="517"/>
                </a:lnTo>
                <a:lnTo>
                  <a:pt x="466" y="515"/>
                </a:lnTo>
                <a:lnTo>
                  <a:pt x="466" y="515"/>
                </a:lnTo>
                <a:lnTo>
                  <a:pt x="464" y="517"/>
                </a:lnTo>
                <a:lnTo>
                  <a:pt x="464" y="517"/>
                </a:lnTo>
                <a:lnTo>
                  <a:pt x="459" y="526"/>
                </a:lnTo>
                <a:lnTo>
                  <a:pt x="457" y="534"/>
                </a:lnTo>
                <a:lnTo>
                  <a:pt x="473" y="545"/>
                </a:lnTo>
                <a:lnTo>
                  <a:pt x="473" y="545"/>
                </a:lnTo>
                <a:lnTo>
                  <a:pt x="481" y="526"/>
                </a:lnTo>
                <a:lnTo>
                  <a:pt x="484" y="521"/>
                </a:lnTo>
                <a:lnTo>
                  <a:pt x="488" y="517"/>
                </a:lnTo>
                <a:lnTo>
                  <a:pt x="488" y="517"/>
                </a:lnTo>
                <a:lnTo>
                  <a:pt x="491" y="517"/>
                </a:lnTo>
                <a:lnTo>
                  <a:pt x="497" y="519"/>
                </a:lnTo>
                <a:lnTo>
                  <a:pt x="504" y="523"/>
                </a:lnTo>
                <a:lnTo>
                  <a:pt x="512" y="526"/>
                </a:lnTo>
                <a:lnTo>
                  <a:pt x="521" y="534"/>
                </a:lnTo>
                <a:lnTo>
                  <a:pt x="528" y="543"/>
                </a:lnTo>
                <a:lnTo>
                  <a:pt x="535" y="552"/>
                </a:lnTo>
                <a:lnTo>
                  <a:pt x="541" y="563"/>
                </a:lnTo>
                <a:lnTo>
                  <a:pt x="541" y="563"/>
                </a:lnTo>
                <a:lnTo>
                  <a:pt x="543" y="572"/>
                </a:lnTo>
                <a:lnTo>
                  <a:pt x="544" y="581"/>
                </a:lnTo>
                <a:lnTo>
                  <a:pt x="544" y="590"/>
                </a:lnTo>
                <a:lnTo>
                  <a:pt x="543" y="601"/>
                </a:lnTo>
                <a:lnTo>
                  <a:pt x="541" y="610"/>
                </a:lnTo>
                <a:lnTo>
                  <a:pt x="537" y="618"/>
                </a:lnTo>
                <a:lnTo>
                  <a:pt x="532" y="623"/>
                </a:lnTo>
                <a:lnTo>
                  <a:pt x="526" y="627"/>
                </a:lnTo>
                <a:lnTo>
                  <a:pt x="526" y="627"/>
                </a:lnTo>
                <a:lnTo>
                  <a:pt x="521" y="627"/>
                </a:lnTo>
                <a:lnTo>
                  <a:pt x="517" y="625"/>
                </a:lnTo>
                <a:lnTo>
                  <a:pt x="504" y="620"/>
                </a:lnTo>
                <a:lnTo>
                  <a:pt x="493" y="614"/>
                </a:lnTo>
                <a:lnTo>
                  <a:pt x="490" y="614"/>
                </a:lnTo>
                <a:lnTo>
                  <a:pt x="486" y="618"/>
                </a:lnTo>
                <a:lnTo>
                  <a:pt x="486" y="618"/>
                </a:lnTo>
                <a:lnTo>
                  <a:pt x="484" y="620"/>
                </a:lnTo>
                <a:lnTo>
                  <a:pt x="479" y="623"/>
                </a:lnTo>
                <a:lnTo>
                  <a:pt x="470" y="629"/>
                </a:lnTo>
                <a:lnTo>
                  <a:pt x="466" y="632"/>
                </a:lnTo>
                <a:lnTo>
                  <a:pt x="462" y="638"/>
                </a:lnTo>
                <a:lnTo>
                  <a:pt x="462" y="645"/>
                </a:lnTo>
                <a:lnTo>
                  <a:pt x="464" y="654"/>
                </a:lnTo>
                <a:lnTo>
                  <a:pt x="464" y="654"/>
                </a:lnTo>
                <a:lnTo>
                  <a:pt x="473" y="645"/>
                </a:lnTo>
                <a:lnTo>
                  <a:pt x="477" y="641"/>
                </a:lnTo>
                <a:lnTo>
                  <a:pt x="481" y="641"/>
                </a:lnTo>
                <a:lnTo>
                  <a:pt x="481" y="641"/>
                </a:lnTo>
                <a:lnTo>
                  <a:pt x="482" y="643"/>
                </a:lnTo>
                <a:lnTo>
                  <a:pt x="482" y="645"/>
                </a:lnTo>
                <a:lnTo>
                  <a:pt x="486" y="649"/>
                </a:lnTo>
                <a:lnTo>
                  <a:pt x="486" y="649"/>
                </a:lnTo>
                <a:lnTo>
                  <a:pt x="488" y="651"/>
                </a:lnTo>
                <a:lnTo>
                  <a:pt x="491" y="651"/>
                </a:lnTo>
                <a:lnTo>
                  <a:pt x="502" y="651"/>
                </a:lnTo>
                <a:lnTo>
                  <a:pt x="512" y="649"/>
                </a:lnTo>
                <a:lnTo>
                  <a:pt x="515" y="649"/>
                </a:lnTo>
                <a:lnTo>
                  <a:pt x="517" y="651"/>
                </a:lnTo>
                <a:lnTo>
                  <a:pt x="517" y="651"/>
                </a:lnTo>
                <a:lnTo>
                  <a:pt x="517" y="652"/>
                </a:lnTo>
                <a:lnTo>
                  <a:pt x="515" y="652"/>
                </a:lnTo>
                <a:lnTo>
                  <a:pt x="510" y="652"/>
                </a:lnTo>
                <a:lnTo>
                  <a:pt x="510" y="652"/>
                </a:lnTo>
                <a:lnTo>
                  <a:pt x="491" y="656"/>
                </a:lnTo>
                <a:lnTo>
                  <a:pt x="484" y="660"/>
                </a:lnTo>
                <a:lnTo>
                  <a:pt x="479" y="663"/>
                </a:lnTo>
                <a:lnTo>
                  <a:pt x="479" y="663"/>
                </a:lnTo>
                <a:lnTo>
                  <a:pt x="479" y="665"/>
                </a:lnTo>
                <a:lnTo>
                  <a:pt x="479" y="669"/>
                </a:lnTo>
                <a:lnTo>
                  <a:pt x="479" y="669"/>
                </a:lnTo>
                <a:lnTo>
                  <a:pt x="475" y="674"/>
                </a:lnTo>
                <a:lnTo>
                  <a:pt x="470" y="678"/>
                </a:lnTo>
                <a:lnTo>
                  <a:pt x="466" y="683"/>
                </a:lnTo>
                <a:lnTo>
                  <a:pt x="464" y="689"/>
                </a:lnTo>
                <a:lnTo>
                  <a:pt x="464" y="694"/>
                </a:lnTo>
                <a:lnTo>
                  <a:pt x="464" y="694"/>
                </a:lnTo>
                <a:lnTo>
                  <a:pt x="466" y="702"/>
                </a:lnTo>
                <a:lnTo>
                  <a:pt x="470" y="705"/>
                </a:lnTo>
                <a:lnTo>
                  <a:pt x="475" y="711"/>
                </a:lnTo>
                <a:lnTo>
                  <a:pt x="475" y="711"/>
                </a:lnTo>
                <a:lnTo>
                  <a:pt x="475" y="707"/>
                </a:lnTo>
                <a:lnTo>
                  <a:pt x="477" y="702"/>
                </a:lnTo>
                <a:lnTo>
                  <a:pt x="479" y="694"/>
                </a:lnTo>
                <a:lnTo>
                  <a:pt x="479" y="691"/>
                </a:lnTo>
                <a:lnTo>
                  <a:pt x="482" y="691"/>
                </a:lnTo>
                <a:lnTo>
                  <a:pt x="482" y="691"/>
                </a:lnTo>
                <a:lnTo>
                  <a:pt x="484" y="691"/>
                </a:lnTo>
                <a:lnTo>
                  <a:pt x="488" y="693"/>
                </a:lnTo>
                <a:lnTo>
                  <a:pt x="490" y="696"/>
                </a:lnTo>
                <a:lnTo>
                  <a:pt x="493" y="696"/>
                </a:lnTo>
                <a:lnTo>
                  <a:pt x="493" y="696"/>
                </a:lnTo>
                <a:lnTo>
                  <a:pt x="497" y="696"/>
                </a:lnTo>
                <a:lnTo>
                  <a:pt x="502" y="693"/>
                </a:lnTo>
                <a:lnTo>
                  <a:pt x="513" y="682"/>
                </a:lnTo>
                <a:lnTo>
                  <a:pt x="524" y="672"/>
                </a:lnTo>
                <a:lnTo>
                  <a:pt x="528" y="669"/>
                </a:lnTo>
                <a:lnTo>
                  <a:pt x="532" y="669"/>
                </a:lnTo>
                <a:lnTo>
                  <a:pt x="532" y="669"/>
                </a:lnTo>
                <a:lnTo>
                  <a:pt x="533" y="671"/>
                </a:lnTo>
                <a:lnTo>
                  <a:pt x="532" y="672"/>
                </a:lnTo>
                <a:lnTo>
                  <a:pt x="524" y="678"/>
                </a:lnTo>
                <a:lnTo>
                  <a:pt x="517" y="685"/>
                </a:lnTo>
                <a:lnTo>
                  <a:pt x="513" y="689"/>
                </a:lnTo>
                <a:lnTo>
                  <a:pt x="512" y="694"/>
                </a:lnTo>
                <a:lnTo>
                  <a:pt x="512" y="694"/>
                </a:lnTo>
                <a:lnTo>
                  <a:pt x="513" y="700"/>
                </a:lnTo>
                <a:lnTo>
                  <a:pt x="515" y="704"/>
                </a:lnTo>
                <a:lnTo>
                  <a:pt x="519" y="707"/>
                </a:lnTo>
                <a:lnTo>
                  <a:pt x="521" y="711"/>
                </a:lnTo>
                <a:lnTo>
                  <a:pt x="521" y="711"/>
                </a:lnTo>
                <a:lnTo>
                  <a:pt x="523" y="715"/>
                </a:lnTo>
                <a:lnTo>
                  <a:pt x="526" y="720"/>
                </a:lnTo>
                <a:lnTo>
                  <a:pt x="530" y="724"/>
                </a:lnTo>
                <a:lnTo>
                  <a:pt x="535" y="725"/>
                </a:lnTo>
                <a:lnTo>
                  <a:pt x="546" y="729"/>
                </a:lnTo>
                <a:lnTo>
                  <a:pt x="552" y="729"/>
                </a:lnTo>
                <a:lnTo>
                  <a:pt x="552" y="729"/>
                </a:lnTo>
                <a:lnTo>
                  <a:pt x="550" y="725"/>
                </a:lnTo>
                <a:lnTo>
                  <a:pt x="544" y="720"/>
                </a:lnTo>
                <a:lnTo>
                  <a:pt x="539" y="713"/>
                </a:lnTo>
                <a:lnTo>
                  <a:pt x="539" y="711"/>
                </a:lnTo>
                <a:lnTo>
                  <a:pt x="539" y="707"/>
                </a:lnTo>
                <a:lnTo>
                  <a:pt x="539" y="707"/>
                </a:lnTo>
                <a:lnTo>
                  <a:pt x="541" y="705"/>
                </a:lnTo>
                <a:lnTo>
                  <a:pt x="544" y="707"/>
                </a:lnTo>
                <a:lnTo>
                  <a:pt x="548" y="707"/>
                </a:lnTo>
                <a:lnTo>
                  <a:pt x="552" y="705"/>
                </a:lnTo>
                <a:lnTo>
                  <a:pt x="552" y="705"/>
                </a:lnTo>
                <a:lnTo>
                  <a:pt x="552" y="702"/>
                </a:lnTo>
                <a:lnTo>
                  <a:pt x="552" y="691"/>
                </a:lnTo>
                <a:lnTo>
                  <a:pt x="552" y="685"/>
                </a:lnTo>
                <a:lnTo>
                  <a:pt x="554" y="678"/>
                </a:lnTo>
                <a:lnTo>
                  <a:pt x="559" y="671"/>
                </a:lnTo>
                <a:lnTo>
                  <a:pt x="566" y="662"/>
                </a:lnTo>
                <a:lnTo>
                  <a:pt x="566" y="662"/>
                </a:lnTo>
                <a:lnTo>
                  <a:pt x="570" y="667"/>
                </a:lnTo>
                <a:lnTo>
                  <a:pt x="574" y="669"/>
                </a:lnTo>
                <a:lnTo>
                  <a:pt x="581" y="671"/>
                </a:lnTo>
                <a:lnTo>
                  <a:pt x="581" y="671"/>
                </a:lnTo>
                <a:lnTo>
                  <a:pt x="583" y="672"/>
                </a:lnTo>
                <a:lnTo>
                  <a:pt x="585" y="674"/>
                </a:lnTo>
                <a:lnTo>
                  <a:pt x="585" y="682"/>
                </a:lnTo>
                <a:lnTo>
                  <a:pt x="585" y="691"/>
                </a:lnTo>
                <a:lnTo>
                  <a:pt x="585" y="691"/>
                </a:lnTo>
                <a:lnTo>
                  <a:pt x="586" y="689"/>
                </a:lnTo>
                <a:lnTo>
                  <a:pt x="590" y="683"/>
                </a:lnTo>
                <a:lnTo>
                  <a:pt x="594" y="674"/>
                </a:lnTo>
                <a:lnTo>
                  <a:pt x="594" y="663"/>
                </a:lnTo>
                <a:lnTo>
                  <a:pt x="594" y="663"/>
                </a:lnTo>
                <a:lnTo>
                  <a:pt x="597" y="662"/>
                </a:lnTo>
                <a:lnTo>
                  <a:pt x="601" y="654"/>
                </a:lnTo>
                <a:lnTo>
                  <a:pt x="601" y="654"/>
                </a:lnTo>
                <a:lnTo>
                  <a:pt x="603" y="651"/>
                </a:lnTo>
                <a:lnTo>
                  <a:pt x="601" y="649"/>
                </a:lnTo>
                <a:lnTo>
                  <a:pt x="596" y="643"/>
                </a:lnTo>
                <a:lnTo>
                  <a:pt x="594" y="640"/>
                </a:lnTo>
                <a:lnTo>
                  <a:pt x="592" y="634"/>
                </a:lnTo>
                <a:lnTo>
                  <a:pt x="590" y="625"/>
                </a:lnTo>
                <a:lnTo>
                  <a:pt x="590" y="614"/>
                </a:lnTo>
                <a:lnTo>
                  <a:pt x="590" y="614"/>
                </a:lnTo>
                <a:lnTo>
                  <a:pt x="590" y="610"/>
                </a:lnTo>
                <a:lnTo>
                  <a:pt x="588" y="609"/>
                </a:lnTo>
                <a:lnTo>
                  <a:pt x="583" y="605"/>
                </a:lnTo>
                <a:lnTo>
                  <a:pt x="583" y="605"/>
                </a:lnTo>
                <a:lnTo>
                  <a:pt x="579" y="599"/>
                </a:lnTo>
                <a:lnTo>
                  <a:pt x="579" y="598"/>
                </a:lnTo>
                <a:lnTo>
                  <a:pt x="581" y="598"/>
                </a:lnTo>
                <a:lnTo>
                  <a:pt x="581" y="598"/>
                </a:lnTo>
                <a:lnTo>
                  <a:pt x="588" y="599"/>
                </a:lnTo>
                <a:lnTo>
                  <a:pt x="596" y="599"/>
                </a:lnTo>
                <a:lnTo>
                  <a:pt x="603" y="598"/>
                </a:lnTo>
                <a:lnTo>
                  <a:pt x="603" y="598"/>
                </a:lnTo>
                <a:lnTo>
                  <a:pt x="603" y="576"/>
                </a:lnTo>
                <a:lnTo>
                  <a:pt x="605" y="565"/>
                </a:lnTo>
                <a:lnTo>
                  <a:pt x="603" y="559"/>
                </a:lnTo>
                <a:lnTo>
                  <a:pt x="603" y="559"/>
                </a:lnTo>
                <a:lnTo>
                  <a:pt x="596" y="559"/>
                </a:lnTo>
                <a:lnTo>
                  <a:pt x="588" y="557"/>
                </a:lnTo>
                <a:lnTo>
                  <a:pt x="585" y="556"/>
                </a:lnTo>
                <a:lnTo>
                  <a:pt x="581" y="552"/>
                </a:lnTo>
                <a:lnTo>
                  <a:pt x="581" y="552"/>
                </a:lnTo>
                <a:lnTo>
                  <a:pt x="586" y="552"/>
                </a:lnTo>
                <a:lnTo>
                  <a:pt x="594" y="552"/>
                </a:lnTo>
                <a:lnTo>
                  <a:pt x="599" y="552"/>
                </a:lnTo>
                <a:lnTo>
                  <a:pt x="603" y="548"/>
                </a:lnTo>
                <a:lnTo>
                  <a:pt x="603" y="548"/>
                </a:lnTo>
                <a:lnTo>
                  <a:pt x="603" y="530"/>
                </a:lnTo>
                <a:lnTo>
                  <a:pt x="601" y="517"/>
                </a:lnTo>
                <a:lnTo>
                  <a:pt x="601" y="514"/>
                </a:lnTo>
                <a:lnTo>
                  <a:pt x="599" y="512"/>
                </a:lnTo>
                <a:lnTo>
                  <a:pt x="599" y="512"/>
                </a:lnTo>
                <a:lnTo>
                  <a:pt x="592" y="514"/>
                </a:lnTo>
                <a:lnTo>
                  <a:pt x="586" y="514"/>
                </a:lnTo>
                <a:lnTo>
                  <a:pt x="581" y="512"/>
                </a:lnTo>
                <a:lnTo>
                  <a:pt x="576" y="510"/>
                </a:lnTo>
                <a:lnTo>
                  <a:pt x="576" y="510"/>
                </a:lnTo>
                <a:lnTo>
                  <a:pt x="574" y="508"/>
                </a:lnTo>
                <a:lnTo>
                  <a:pt x="572" y="504"/>
                </a:lnTo>
                <a:lnTo>
                  <a:pt x="572" y="499"/>
                </a:lnTo>
                <a:lnTo>
                  <a:pt x="570" y="495"/>
                </a:lnTo>
                <a:lnTo>
                  <a:pt x="570" y="493"/>
                </a:lnTo>
                <a:lnTo>
                  <a:pt x="568" y="492"/>
                </a:lnTo>
                <a:lnTo>
                  <a:pt x="568" y="492"/>
                </a:lnTo>
                <a:lnTo>
                  <a:pt x="557" y="488"/>
                </a:lnTo>
                <a:lnTo>
                  <a:pt x="546" y="482"/>
                </a:lnTo>
                <a:lnTo>
                  <a:pt x="541" y="477"/>
                </a:lnTo>
                <a:lnTo>
                  <a:pt x="535" y="473"/>
                </a:lnTo>
                <a:lnTo>
                  <a:pt x="535" y="473"/>
                </a:lnTo>
                <a:lnTo>
                  <a:pt x="532" y="468"/>
                </a:lnTo>
                <a:lnTo>
                  <a:pt x="532" y="462"/>
                </a:lnTo>
                <a:lnTo>
                  <a:pt x="532" y="459"/>
                </a:lnTo>
                <a:lnTo>
                  <a:pt x="532" y="459"/>
                </a:lnTo>
                <a:lnTo>
                  <a:pt x="541" y="462"/>
                </a:lnTo>
                <a:lnTo>
                  <a:pt x="544" y="462"/>
                </a:lnTo>
                <a:lnTo>
                  <a:pt x="550" y="461"/>
                </a:lnTo>
                <a:lnTo>
                  <a:pt x="552" y="431"/>
                </a:lnTo>
                <a:lnTo>
                  <a:pt x="552" y="431"/>
                </a:lnTo>
                <a:lnTo>
                  <a:pt x="548" y="431"/>
                </a:lnTo>
                <a:lnTo>
                  <a:pt x="541" y="430"/>
                </a:lnTo>
                <a:lnTo>
                  <a:pt x="541" y="430"/>
                </a:lnTo>
                <a:lnTo>
                  <a:pt x="537" y="426"/>
                </a:lnTo>
                <a:lnTo>
                  <a:pt x="533" y="422"/>
                </a:lnTo>
                <a:lnTo>
                  <a:pt x="532" y="419"/>
                </a:lnTo>
                <a:lnTo>
                  <a:pt x="532" y="419"/>
                </a:lnTo>
                <a:lnTo>
                  <a:pt x="535" y="420"/>
                </a:lnTo>
                <a:lnTo>
                  <a:pt x="543" y="422"/>
                </a:lnTo>
                <a:lnTo>
                  <a:pt x="543" y="422"/>
                </a:lnTo>
                <a:lnTo>
                  <a:pt x="550" y="422"/>
                </a:lnTo>
                <a:lnTo>
                  <a:pt x="554" y="420"/>
                </a:lnTo>
                <a:lnTo>
                  <a:pt x="557" y="387"/>
                </a:lnTo>
                <a:lnTo>
                  <a:pt x="557" y="387"/>
                </a:lnTo>
                <a:lnTo>
                  <a:pt x="552" y="387"/>
                </a:lnTo>
                <a:lnTo>
                  <a:pt x="546" y="386"/>
                </a:lnTo>
                <a:lnTo>
                  <a:pt x="541" y="384"/>
                </a:lnTo>
                <a:lnTo>
                  <a:pt x="539" y="378"/>
                </a:lnTo>
                <a:lnTo>
                  <a:pt x="539" y="377"/>
                </a:lnTo>
                <a:lnTo>
                  <a:pt x="539" y="377"/>
                </a:lnTo>
                <a:lnTo>
                  <a:pt x="552" y="373"/>
                </a:lnTo>
                <a:lnTo>
                  <a:pt x="563" y="367"/>
                </a:lnTo>
                <a:lnTo>
                  <a:pt x="572" y="360"/>
                </a:lnTo>
                <a:lnTo>
                  <a:pt x="579" y="353"/>
                </a:lnTo>
                <a:lnTo>
                  <a:pt x="586" y="344"/>
                </a:lnTo>
                <a:lnTo>
                  <a:pt x="592" y="333"/>
                </a:lnTo>
                <a:lnTo>
                  <a:pt x="597" y="324"/>
                </a:lnTo>
                <a:lnTo>
                  <a:pt x="599" y="313"/>
                </a:lnTo>
                <a:lnTo>
                  <a:pt x="599" y="313"/>
                </a:lnTo>
                <a:lnTo>
                  <a:pt x="608" y="316"/>
                </a:lnTo>
                <a:lnTo>
                  <a:pt x="614" y="316"/>
                </a:lnTo>
                <a:lnTo>
                  <a:pt x="618" y="316"/>
                </a:lnTo>
                <a:lnTo>
                  <a:pt x="618" y="316"/>
                </a:lnTo>
                <a:lnTo>
                  <a:pt x="619" y="303"/>
                </a:lnTo>
                <a:lnTo>
                  <a:pt x="619" y="289"/>
                </a:lnTo>
                <a:lnTo>
                  <a:pt x="619" y="289"/>
                </a:lnTo>
                <a:lnTo>
                  <a:pt x="610" y="287"/>
                </a:lnTo>
                <a:lnTo>
                  <a:pt x="607" y="285"/>
                </a:lnTo>
                <a:lnTo>
                  <a:pt x="603" y="28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pic>
        <p:nvPicPr>
          <p:cNvPr id="53" name="Picture 3">
            <a:extLst>
              <a:ext uri="{FF2B5EF4-FFF2-40B4-BE49-F238E27FC236}">
                <a16:creationId xmlns:a16="http://schemas.microsoft.com/office/drawing/2014/main" id="{F1689B57-8BAA-BF42-B648-10782572357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804249" y="4443959"/>
            <a:ext cx="2088034" cy="397877"/>
          </a:xfrm>
          <a:prstGeom prst="rect">
            <a:avLst/>
          </a:prstGeom>
        </p:spPr>
      </p:pic>
      <p:pic>
        <p:nvPicPr>
          <p:cNvPr id="55" name="Picture 5">
            <a:extLst>
              <a:ext uri="{FF2B5EF4-FFF2-40B4-BE49-F238E27FC236}">
                <a16:creationId xmlns:a16="http://schemas.microsoft.com/office/drawing/2014/main" id="{4F591584-9FCE-5A4F-A985-77C337C3AB8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04449" y="235341"/>
            <a:ext cx="305495" cy="419486"/>
          </a:xfrm>
          <a:prstGeom prst="rect">
            <a:avLst/>
          </a:prstGeom>
        </p:spPr>
      </p:pic>
    </p:spTree>
    <p:extLst>
      <p:ext uri="{BB962C8B-B14F-4D97-AF65-F5344CB8AC3E}">
        <p14:creationId xmlns:p14="http://schemas.microsoft.com/office/powerpoint/2010/main" val="168602186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13_Väliotsikko">
    <p:spTree>
      <p:nvGrpSpPr>
        <p:cNvPr id="1" name=""/>
        <p:cNvGrpSpPr/>
        <p:nvPr/>
      </p:nvGrpSpPr>
      <p:grpSpPr>
        <a:xfrm>
          <a:off x="0" y="0"/>
          <a:ext cx="0" cy="0"/>
          <a:chOff x="0" y="0"/>
          <a:chExt cx="0" cy="0"/>
        </a:xfrm>
      </p:grpSpPr>
      <p:pic>
        <p:nvPicPr>
          <p:cNvPr id="2" name="Kuva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458"/>
            <a:ext cx="9144000" cy="5142586"/>
          </a:xfrm>
          <a:prstGeom prst="rect">
            <a:avLst/>
          </a:prstGeom>
        </p:spPr>
      </p:pic>
      <p:sp>
        <p:nvSpPr>
          <p:cNvPr id="51" name="Rectangle 50"/>
          <p:cNvSpPr/>
          <p:nvPr userDrawn="1"/>
        </p:nvSpPr>
        <p:spPr>
          <a:xfrm rot="10800000" flipV="1">
            <a:off x="-10666" y="-21804"/>
            <a:ext cx="4582667" cy="5165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a:p>
        </p:txBody>
      </p:sp>
      <p:sp>
        <p:nvSpPr>
          <p:cNvPr id="10" name="Otsikko 1"/>
          <p:cNvSpPr>
            <a:spLocks noGrp="1"/>
          </p:cNvSpPr>
          <p:nvPr userDrawn="1">
            <p:ph type="ctrTitle"/>
          </p:nvPr>
        </p:nvSpPr>
        <p:spPr>
          <a:xfrm>
            <a:off x="366652" y="411510"/>
            <a:ext cx="3485269" cy="2967062"/>
          </a:xfrm>
        </p:spPr>
        <p:txBody>
          <a:bodyPr anchor="b" anchorCtr="0">
            <a:noAutofit/>
          </a:bodyPr>
          <a:lstStyle>
            <a:lvl1pPr algn="l">
              <a:defRPr sz="4000">
                <a:solidFill>
                  <a:schemeClr val="accent4"/>
                </a:solidFill>
              </a:defRPr>
            </a:lvl1pPr>
          </a:lstStyle>
          <a:p>
            <a:r>
              <a:rPr lang="en-US" dirty="0"/>
              <a:t>Click to edit Master title style</a:t>
            </a:r>
            <a:endParaRPr lang="fi-FI" dirty="0"/>
          </a:p>
        </p:txBody>
      </p:sp>
      <p:sp>
        <p:nvSpPr>
          <p:cNvPr id="11" name="Alaotsikko 2"/>
          <p:cNvSpPr>
            <a:spLocks noGrp="1"/>
          </p:cNvSpPr>
          <p:nvPr userDrawn="1">
            <p:ph type="subTitle" idx="1"/>
          </p:nvPr>
        </p:nvSpPr>
        <p:spPr>
          <a:xfrm>
            <a:off x="366652" y="3507854"/>
            <a:ext cx="3485270" cy="1512168"/>
          </a:xfrm>
        </p:spPr>
        <p:txBody>
          <a:bodyPr>
            <a:normAutofit/>
          </a:bodyPr>
          <a:lstStyle>
            <a:lvl1pPr marL="0" indent="0" algn="l">
              <a:spcBef>
                <a:spcPts val="0"/>
              </a:spcBef>
              <a:buNone/>
              <a:defRPr sz="1800">
                <a:solidFill>
                  <a:srgbClr val="595965"/>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endParaRPr lang="fi-FI" dirty="0"/>
          </a:p>
        </p:txBody>
      </p:sp>
      <p:sp>
        <p:nvSpPr>
          <p:cNvPr id="32" name="Freeform 30"/>
          <p:cNvSpPr>
            <a:spLocks/>
          </p:cNvSpPr>
          <p:nvPr userDrawn="1"/>
        </p:nvSpPr>
        <p:spPr bwMode="auto">
          <a:xfrm>
            <a:off x="7331075" y="1931691"/>
            <a:ext cx="371475" cy="98425"/>
          </a:xfrm>
          <a:custGeom>
            <a:avLst/>
            <a:gdLst>
              <a:gd name="T0" fmla="*/ 87 w 2807"/>
              <a:gd name="T1" fmla="*/ 343 h 743"/>
              <a:gd name="T2" fmla="*/ 203 w 2807"/>
              <a:gd name="T3" fmla="*/ 417 h 743"/>
              <a:gd name="T4" fmla="*/ 319 w 2807"/>
              <a:gd name="T5" fmla="*/ 479 h 743"/>
              <a:gd name="T6" fmla="*/ 430 w 2807"/>
              <a:gd name="T7" fmla="*/ 529 h 743"/>
              <a:gd name="T8" fmla="*/ 603 w 2807"/>
              <a:gd name="T9" fmla="*/ 595 h 743"/>
              <a:gd name="T10" fmla="*/ 724 w 2807"/>
              <a:gd name="T11" fmla="*/ 633 h 743"/>
              <a:gd name="T12" fmla="*/ 857 w 2807"/>
              <a:gd name="T13" fmla="*/ 666 h 743"/>
              <a:gd name="T14" fmla="*/ 1001 w 2807"/>
              <a:gd name="T15" fmla="*/ 696 h 743"/>
              <a:gd name="T16" fmla="*/ 1157 w 2807"/>
              <a:gd name="T17" fmla="*/ 719 h 743"/>
              <a:gd name="T18" fmla="*/ 1324 w 2807"/>
              <a:gd name="T19" fmla="*/ 736 h 743"/>
              <a:gd name="T20" fmla="*/ 1502 w 2807"/>
              <a:gd name="T21" fmla="*/ 743 h 743"/>
              <a:gd name="T22" fmla="*/ 1689 w 2807"/>
              <a:gd name="T23" fmla="*/ 738 h 743"/>
              <a:gd name="T24" fmla="*/ 1819 w 2807"/>
              <a:gd name="T25" fmla="*/ 729 h 743"/>
              <a:gd name="T26" fmla="*/ 1999 w 2807"/>
              <a:gd name="T27" fmla="*/ 706 h 743"/>
              <a:gd name="T28" fmla="*/ 2159 w 2807"/>
              <a:gd name="T29" fmla="*/ 678 h 743"/>
              <a:gd name="T30" fmla="*/ 2302 w 2807"/>
              <a:gd name="T31" fmla="*/ 643 h 743"/>
              <a:gd name="T32" fmla="*/ 2426 w 2807"/>
              <a:gd name="T33" fmla="*/ 605 h 743"/>
              <a:gd name="T34" fmla="*/ 2533 w 2807"/>
              <a:gd name="T35" fmla="*/ 566 h 743"/>
              <a:gd name="T36" fmla="*/ 2672 w 2807"/>
              <a:gd name="T37" fmla="*/ 505 h 743"/>
              <a:gd name="T38" fmla="*/ 2773 w 2807"/>
              <a:gd name="T39" fmla="*/ 449 h 743"/>
              <a:gd name="T40" fmla="*/ 2807 w 2807"/>
              <a:gd name="T41" fmla="*/ 426 h 743"/>
              <a:gd name="T42" fmla="*/ 2745 w 2807"/>
              <a:gd name="T43" fmla="*/ 402 h 743"/>
              <a:gd name="T44" fmla="*/ 2688 w 2807"/>
              <a:gd name="T45" fmla="*/ 372 h 743"/>
              <a:gd name="T46" fmla="*/ 2586 w 2807"/>
              <a:gd name="T47" fmla="*/ 303 h 743"/>
              <a:gd name="T48" fmla="*/ 2529 w 2807"/>
              <a:gd name="T49" fmla="*/ 256 h 743"/>
              <a:gd name="T50" fmla="*/ 2518 w 2807"/>
              <a:gd name="T51" fmla="*/ 294 h 743"/>
              <a:gd name="T52" fmla="*/ 2507 w 2807"/>
              <a:gd name="T53" fmla="*/ 381 h 743"/>
              <a:gd name="T54" fmla="*/ 2499 w 2807"/>
              <a:gd name="T55" fmla="*/ 413 h 743"/>
              <a:gd name="T56" fmla="*/ 2443 w 2807"/>
              <a:gd name="T57" fmla="*/ 391 h 743"/>
              <a:gd name="T58" fmla="*/ 2423 w 2807"/>
              <a:gd name="T59" fmla="*/ 381 h 743"/>
              <a:gd name="T60" fmla="*/ 2392 w 2807"/>
              <a:gd name="T61" fmla="*/ 357 h 743"/>
              <a:gd name="T62" fmla="*/ 2361 w 2807"/>
              <a:gd name="T63" fmla="*/ 324 h 743"/>
              <a:gd name="T64" fmla="*/ 2334 w 2807"/>
              <a:gd name="T65" fmla="*/ 283 h 743"/>
              <a:gd name="T66" fmla="*/ 2316 w 2807"/>
              <a:gd name="T67" fmla="*/ 235 h 743"/>
              <a:gd name="T68" fmla="*/ 2310 w 2807"/>
              <a:gd name="T69" fmla="*/ 199 h 743"/>
              <a:gd name="T70" fmla="*/ 2252 w 2807"/>
              <a:gd name="T71" fmla="*/ 195 h 743"/>
              <a:gd name="T72" fmla="*/ 2110 w 2807"/>
              <a:gd name="T73" fmla="*/ 243 h 743"/>
              <a:gd name="T74" fmla="*/ 1984 w 2807"/>
              <a:gd name="T75" fmla="*/ 277 h 743"/>
              <a:gd name="T76" fmla="*/ 1843 w 2807"/>
              <a:gd name="T77" fmla="*/ 303 h 743"/>
              <a:gd name="T78" fmla="*/ 1697 w 2807"/>
              <a:gd name="T79" fmla="*/ 319 h 743"/>
              <a:gd name="T80" fmla="*/ 1558 w 2807"/>
              <a:gd name="T81" fmla="*/ 322 h 743"/>
              <a:gd name="T82" fmla="*/ 1293 w 2807"/>
              <a:gd name="T83" fmla="*/ 312 h 743"/>
              <a:gd name="T84" fmla="*/ 1030 w 2807"/>
              <a:gd name="T85" fmla="*/ 282 h 743"/>
              <a:gd name="T86" fmla="*/ 855 w 2807"/>
              <a:gd name="T87" fmla="*/ 251 h 743"/>
              <a:gd name="T88" fmla="*/ 725 w 2807"/>
              <a:gd name="T89" fmla="*/ 221 h 743"/>
              <a:gd name="T90" fmla="*/ 594 w 2807"/>
              <a:gd name="T91" fmla="*/ 185 h 743"/>
              <a:gd name="T92" fmla="*/ 465 w 2807"/>
              <a:gd name="T93" fmla="*/ 143 h 743"/>
              <a:gd name="T94" fmla="*/ 336 w 2807"/>
              <a:gd name="T95" fmla="*/ 94 h 743"/>
              <a:gd name="T96" fmla="*/ 251 w 2807"/>
              <a:gd name="T97" fmla="*/ 58 h 743"/>
              <a:gd name="T98" fmla="*/ 122 w 2807"/>
              <a:gd name="T99" fmla="*/ 0 h 743"/>
              <a:gd name="T100" fmla="*/ 119 w 2807"/>
              <a:gd name="T101" fmla="*/ 19 h 743"/>
              <a:gd name="T102" fmla="*/ 121 w 2807"/>
              <a:gd name="T103" fmla="*/ 51 h 743"/>
              <a:gd name="T104" fmla="*/ 136 w 2807"/>
              <a:gd name="T105" fmla="*/ 96 h 743"/>
              <a:gd name="T106" fmla="*/ 171 w 2807"/>
              <a:gd name="T107" fmla="*/ 156 h 743"/>
              <a:gd name="T108" fmla="*/ 207 w 2807"/>
              <a:gd name="T109" fmla="*/ 204 h 743"/>
              <a:gd name="T110" fmla="*/ 151 w 2807"/>
              <a:gd name="T111" fmla="*/ 199 h 743"/>
              <a:gd name="T112" fmla="*/ 98 w 2807"/>
              <a:gd name="T113" fmla="*/ 204 h 743"/>
              <a:gd name="T114" fmla="*/ 69 w 2807"/>
              <a:gd name="T115" fmla="*/ 215 h 743"/>
              <a:gd name="T116" fmla="*/ 32 w 2807"/>
              <a:gd name="T117" fmla="*/ 244 h 743"/>
              <a:gd name="T118" fmla="*/ 7 w 2807"/>
              <a:gd name="T119" fmla="*/ 272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07" h="743">
                <a:moveTo>
                  <a:pt x="0" y="284"/>
                </a:moveTo>
                <a:lnTo>
                  <a:pt x="0" y="284"/>
                </a:lnTo>
                <a:lnTo>
                  <a:pt x="87" y="343"/>
                </a:lnTo>
                <a:lnTo>
                  <a:pt x="127" y="369"/>
                </a:lnTo>
                <a:lnTo>
                  <a:pt x="166" y="394"/>
                </a:lnTo>
                <a:lnTo>
                  <a:pt x="203" y="417"/>
                </a:lnTo>
                <a:lnTo>
                  <a:pt x="241" y="438"/>
                </a:lnTo>
                <a:lnTo>
                  <a:pt x="280" y="460"/>
                </a:lnTo>
                <a:lnTo>
                  <a:pt x="319" y="479"/>
                </a:lnTo>
                <a:lnTo>
                  <a:pt x="319" y="479"/>
                </a:lnTo>
                <a:lnTo>
                  <a:pt x="372" y="504"/>
                </a:lnTo>
                <a:lnTo>
                  <a:pt x="430" y="529"/>
                </a:lnTo>
                <a:lnTo>
                  <a:pt x="495" y="556"/>
                </a:lnTo>
                <a:lnTo>
                  <a:pt x="565" y="581"/>
                </a:lnTo>
                <a:lnTo>
                  <a:pt x="603" y="595"/>
                </a:lnTo>
                <a:lnTo>
                  <a:pt x="642" y="607"/>
                </a:lnTo>
                <a:lnTo>
                  <a:pt x="682" y="620"/>
                </a:lnTo>
                <a:lnTo>
                  <a:pt x="724" y="633"/>
                </a:lnTo>
                <a:lnTo>
                  <a:pt x="767" y="644"/>
                </a:lnTo>
                <a:lnTo>
                  <a:pt x="811" y="655"/>
                </a:lnTo>
                <a:lnTo>
                  <a:pt x="857" y="666"/>
                </a:lnTo>
                <a:lnTo>
                  <a:pt x="903" y="677"/>
                </a:lnTo>
                <a:lnTo>
                  <a:pt x="952" y="687"/>
                </a:lnTo>
                <a:lnTo>
                  <a:pt x="1001" y="696"/>
                </a:lnTo>
                <a:lnTo>
                  <a:pt x="1052" y="705"/>
                </a:lnTo>
                <a:lnTo>
                  <a:pt x="1104" y="713"/>
                </a:lnTo>
                <a:lnTo>
                  <a:pt x="1157" y="719"/>
                </a:lnTo>
                <a:lnTo>
                  <a:pt x="1212" y="727"/>
                </a:lnTo>
                <a:lnTo>
                  <a:pt x="1267" y="732"/>
                </a:lnTo>
                <a:lnTo>
                  <a:pt x="1324" y="736"/>
                </a:lnTo>
                <a:lnTo>
                  <a:pt x="1382" y="739"/>
                </a:lnTo>
                <a:lnTo>
                  <a:pt x="1442" y="741"/>
                </a:lnTo>
                <a:lnTo>
                  <a:pt x="1502" y="743"/>
                </a:lnTo>
                <a:lnTo>
                  <a:pt x="1563" y="742"/>
                </a:lnTo>
                <a:lnTo>
                  <a:pt x="1626" y="741"/>
                </a:lnTo>
                <a:lnTo>
                  <a:pt x="1689" y="738"/>
                </a:lnTo>
                <a:lnTo>
                  <a:pt x="1754" y="734"/>
                </a:lnTo>
                <a:lnTo>
                  <a:pt x="1819" y="729"/>
                </a:lnTo>
                <a:lnTo>
                  <a:pt x="1819" y="729"/>
                </a:lnTo>
                <a:lnTo>
                  <a:pt x="1881" y="723"/>
                </a:lnTo>
                <a:lnTo>
                  <a:pt x="1941" y="714"/>
                </a:lnTo>
                <a:lnTo>
                  <a:pt x="1999" y="706"/>
                </a:lnTo>
                <a:lnTo>
                  <a:pt x="2054" y="697"/>
                </a:lnTo>
                <a:lnTo>
                  <a:pt x="2108" y="688"/>
                </a:lnTo>
                <a:lnTo>
                  <a:pt x="2159" y="678"/>
                </a:lnTo>
                <a:lnTo>
                  <a:pt x="2209" y="666"/>
                </a:lnTo>
                <a:lnTo>
                  <a:pt x="2257" y="655"/>
                </a:lnTo>
                <a:lnTo>
                  <a:pt x="2302" y="643"/>
                </a:lnTo>
                <a:lnTo>
                  <a:pt x="2346" y="631"/>
                </a:lnTo>
                <a:lnTo>
                  <a:pt x="2387" y="618"/>
                </a:lnTo>
                <a:lnTo>
                  <a:pt x="2426" y="605"/>
                </a:lnTo>
                <a:lnTo>
                  <a:pt x="2464" y="593"/>
                </a:lnTo>
                <a:lnTo>
                  <a:pt x="2500" y="579"/>
                </a:lnTo>
                <a:lnTo>
                  <a:pt x="2533" y="566"/>
                </a:lnTo>
                <a:lnTo>
                  <a:pt x="2564" y="554"/>
                </a:lnTo>
                <a:lnTo>
                  <a:pt x="2622" y="528"/>
                </a:lnTo>
                <a:lnTo>
                  <a:pt x="2672" y="505"/>
                </a:lnTo>
                <a:lnTo>
                  <a:pt x="2713" y="483"/>
                </a:lnTo>
                <a:lnTo>
                  <a:pt x="2747" y="465"/>
                </a:lnTo>
                <a:lnTo>
                  <a:pt x="2773" y="449"/>
                </a:lnTo>
                <a:lnTo>
                  <a:pt x="2792" y="436"/>
                </a:lnTo>
                <a:lnTo>
                  <a:pt x="2807" y="426"/>
                </a:lnTo>
                <a:lnTo>
                  <a:pt x="2807" y="426"/>
                </a:lnTo>
                <a:lnTo>
                  <a:pt x="2786" y="419"/>
                </a:lnTo>
                <a:lnTo>
                  <a:pt x="2766" y="410"/>
                </a:lnTo>
                <a:lnTo>
                  <a:pt x="2745" y="402"/>
                </a:lnTo>
                <a:lnTo>
                  <a:pt x="2726" y="391"/>
                </a:lnTo>
                <a:lnTo>
                  <a:pt x="2706" y="382"/>
                </a:lnTo>
                <a:lnTo>
                  <a:pt x="2688" y="372"/>
                </a:lnTo>
                <a:lnTo>
                  <a:pt x="2651" y="349"/>
                </a:lnTo>
                <a:lnTo>
                  <a:pt x="2618" y="327"/>
                </a:lnTo>
                <a:lnTo>
                  <a:pt x="2586" y="303"/>
                </a:lnTo>
                <a:lnTo>
                  <a:pt x="2556" y="280"/>
                </a:lnTo>
                <a:lnTo>
                  <a:pt x="2529" y="256"/>
                </a:lnTo>
                <a:lnTo>
                  <a:pt x="2529" y="256"/>
                </a:lnTo>
                <a:lnTo>
                  <a:pt x="2524" y="266"/>
                </a:lnTo>
                <a:lnTo>
                  <a:pt x="2521" y="279"/>
                </a:lnTo>
                <a:lnTo>
                  <a:pt x="2518" y="294"/>
                </a:lnTo>
                <a:lnTo>
                  <a:pt x="2515" y="312"/>
                </a:lnTo>
                <a:lnTo>
                  <a:pt x="2515" y="312"/>
                </a:lnTo>
                <a:lnTo>
                  <a:pt x="2507" y="381"/>
                </a:lnTo>
                <a:lnTo>
                  <a:pt x="2503" y="414"/>
                </a:lnTo>
                <a:lnTo>
                  <a:pt x="2503" y="414"/>
                </a:lnTo>
                <a:lnTo>
                  <a:pt x="2499" y="413"/>
                </a:lnTo>
                <a:lnTo>
                  <a:pt x="2489" y="410"/>
                </a:lnTo>
                <a:lnTo>
                  <a:pt x="2470" y="403"/>
                </a:lnTo>
                <a:lnTo>
                  <a:pt x="2443" y="391"/>
                </a:lnTo>
                <a:lnTo>
                  <a:pt x="2443" y="391"/>
                </a:lnTo>
                <a:lnTo>
                  <a:pt x="2433" y="387"/>
                </a:lnTo>
                <a:lnTo>
                  <a:pt x="2423" y="381"/>
                </a:lnTo>
                <a:lnTo>
                  <a:pt x="2413" y="374"/>
                </a:lnTo>
                <a:lnTo>
                  <a:pt x="2403" y="366"/>
                </a:lnTo>
                <a:lnTo>
                  <a:pt x="2392" y="357"/>
                </a:lnTo>
                <a:lnTo>
                  <a:pt x="2381" y="347"/>
                </a:lnTo>
                <a:lnTo>
                  <a:pt x="2371" y="336"/>
                </a:lnTo>
                <a:lnTo>
                  <a:pt x="2361" y="324"/>
                </a:lnTo>
                <a:lnTo>
                  <a:pt x="2351" y="312"/>
                </a:lnTo>
                <a:lnTo>
                  <a:pt x="2342" y="297"/>
                </a:lnTo>
                <a:lnTo>
                  <a:pt x="2334" y="283"/>
                </a:lnTo>
                <a:lnTo>
                  <a:pt x="2326" y="268"/>
                </a:lnTo>
                <a:lnTo>
                  <a:pt x="2320" y="251"/>
                </a:lnTo>
                <a:lnTo>
                  <a:pt x="2316" y="235"/>
                </a:lnTo>
                <a:lnTo>
                  <a:pt x="2312" y="216"/>
                </a:lnTo>
                <a:lnTo>
                  <a:pt x="2310" y="199"/>
                </a:lnTo>
                <a:lnTo>
                  <a:pt x="2310" y="199"/>
                </a:lnTo>
                <a:lnTo>
                  <a:pt x="2309" y="174"/>
                </a:lnTo>
                <a:lnTo>
                  <a:pt x="2309" y="174"/>
                </a:lnTo>
                <a:lnTo>
                  <a:pt x="2252" y="195"/>
                </a:lnTo>
                <a:lnTo>
                  <a:pt x="2186" y="218"/>
                </a:lnTo>
                <a:lnTo>
                  <a:pt x="2149" y="231"/>
                </a:lnTo>
                <a:lnTo>
                  <a:pt x="2110" y="243"/>
                </a:lnTo>
                <a:lnTo>
                  <a:pt x="2069" y="254"/>
                </a:lnTo>
                <a:lnTo>
                  <a:pt x="2028" y="266"/>
                </a:lnTo>
                <a:lnTo>
                  <a:pt x="1984" y="277"/>
                </a:lnTo>
                <a:lnTo>
                  <a:pt x="1938" y="286"/>
                </a:lnTo>
                <a:lnTo>
                  <a:pt x="1892" y="295"/>
                </a:lnTo>
                <a:lnTo>
                  <a:pt x="1843" y="303"/>
                </a:lnTo>
                <a:lnTo>
                  <a:pt x="1795" y="311"/>
                </a:lnTo>
                <a:lnTo>
                  <a:pt x="1746" y="316"/>
                </a:lnTo>
                <a:lnTo>
                  <a:pt x="1697" y="319"/>
                </a:lnTo>
                <a:lnTo>
                  <a:pt x="1647" y="321"/>
                </a:lnTo>
                <a:lnTo>
                  <a:pt x="1647" y="321"/>
                </a:lnTo>
                <a:lnTo>
                  <a:pt x="1558" y="322"/>
                </a:lnTo>
                <a:lnTo>
                  <a:pt x="1470" y="321"/>
                </a:lnTo>
                <a:lnTo>
                  <a:pt x="1382" y="317"/>
                </a:lnTo>
                <a:lnTo>
                  <a:pt x="1293" y="312"/>
                </a:lnTo>
                <a:lnTo>
                  <a:pt x="1205" y="304"/>
                </a:lnTo>
                <a:lnTo>
                  <a:pt x="1118" y="294"/>
                </a:lnTo>
                <a:lnTo>
                  <a:pt x="1030" y="282"/>
                </a:lnTo>
                <a:lnTo>
                  <a:pt x="943" y="268"/>
                </a:lnTo>
                <a:lnTo>
                  <a:pt x="899" y="259"/>
                </a:lnTo>
                <a:lnTo>
                  <a:pt x="855" y="251"/>
                </a:lnTo>
                <a:lnTo>
                  <a:pt x="812" y="241"/>
                </a:lnTo>
                <a:lnTo>
                  <a:pt x="768" y="231"/>
                </a:lnTo>
                <a:lnTo>
                  <a:pt x="725" y="221"/>
                </a:lnTo>
                <a:lnTo>
                  <a:pt x="681" y="209"/>
                </a:lnTo>
                <a:lnTo>
                  <a:pt x="638" y="197"/>
                </a:lnTo>
                <a:lnTo>
                  <a:pt x="594" y="185"/>
                </a:lnTo>
                <a:lnTo>
                  <a:pt x="551" y="171"/>
                </a:lnTo>
                <a:lnTo>
                  <a:pt x="508" y="157"/>
                </a:lnTo>
                <a:lnTo>
                  <a:pt x="465" y="143"/>
                </a:lnTo>
                <a:lnTo>
                  <a:pt x="422" y="127"/>
                </a:lnTo>
                <a:lnTo>
                  <a:pt x="379" y="111"/>
                </a:lnTo>
                <a:lnTo>
                  <a:pt x="336" y="94"/>
                </a:lnTo>
                <a:lnTo>
                  <a:pt x="294" y="76"/>
                </a:lnTo>
                <a:lnTo>
                  <a:pt x="251" y="58"/>
                </a:lnTo>
                <a:lnTo>
                  <a:pt x="251" y="58"/>
                </a:lnTo>
                <a:lnTo>
                  <a:pt x="165" y="19"/>
                </a:lnTo>
                <a:lnTo>
                  <a:pt x="122" y="0"/>
                </a:lnTo>
                <a:lnTo>
                  <a:pt x="122" y="0"/>
                </a:lnTo>
                <a:lnTo>
                  <a:pt x="121" y="3"/>
                </a:lnTo>
                <a:lnTo>
                  <a:pt x="119" y="12"/>
                </a:lnTo>
                <a:lnTo>
                  <a:pt x="119" y="19"/>
                </a:lnTo>
                <a:lnTo>
                  <a:pt x="119" y="28"/>
                </a:lnTo>
                <a:lnTo>
                  <a:pt x="119" y="39"/>
                </a:lnTo>
                <a:lnTo>
                  <a:pt x="121" y="51"/>
                </a:lnTo>
                <a:lnTo>
                  <a:pt x="125" y="64"/>
                </a:lnTo>
                <a:lnTo>
                  <a:pt x="129" y="79"/>
                </a:lnTo>
                <a:lnTo>
                  <a:pt x="136" y="96"/>
                </a:lnTo>
                <a:lnTo>
                  <a:pt x="145" y="114"/>
                </a:lnTo>
                <a:lnTo>
                  <a:pt x="156" y="135"/>
                </a:lnTo>
                <a:lnTo>
                  <a:pt x="171" y="156"/>
                </a:lnTo>
                <a:lnTo>
                  <a:pt x="187" y="180"/>
                </a:lnTo>
                <a:lnTo>
                  <a:pt x="207" y="204"/>
                </a:lnTo>
                <a:lnTo>
                  <a:pt x="207" y="204"/>
                </a:lnTo>
                <a:lnTo>
                  <a:pt x="189" y="201"/>
                </a:lnTo>
                <a:lnTo>
                  <a:pt x="170" y="199"/>
                </a:lnTo>
                <a:lnTo>
                  <a:pt x="151" y="199"/>
                </a:lnTo>
                <a:lnTo>
                  <a:pt x="132" y="199"/>
                </a:lnTo>
                <a:lnTo>
                  <a:pt x="114" y="201"/>
                </a:lnTo>
                <a:lnTo>
                  <a:pt x="98" y="204"/>
                </a:lnTo>
                <a:lnTo>
                  <a:pt x="83" y="209"/>
                </a:lnTo>
                <a:lnTo>
                  <a:pt x="69" y="215"/>
                </a:lnTo>
                <a:lnTo>
                  <a:pt x="69" y="215"/>
                </a:lnTo>
                <a:lnTo>
                  <a:pt x="55" y="224"/>
                </a:lnTo>
                <a:lnTo>
                  <a:pt x="42" y="234"/>
                </a:lnTo>
                <a:lnTo>
                  <a:pt x="32" y="244"/>
                </a:lnTo>
                <a:lnTo>
                  <a:pt x="21" y="253"/>
                </a:lnTo>
                <a:lnTo>
                  <a:pt x="13" y="262"/>
                </a:lnTo>
                <a:lnTo>
                  <a:pt x="7" y="272"/>
                </a:lnTo>
                <a:lnTo>
                  <a:pt x="0" y="28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3" name="Freeform 31"/>
          <p:cNvSpPr>
            <a:spLocks/>
          </p:cNvSpPr>
          <p:nvPr userDrawn="1"/>
        </p:nvSpPr>
        <p:spPr bwMode="auto">
          <a:xfrm>
            <a:off x="7248526" y="1618954"/>
            <a:ext cx="377825" cy="271463"/>
          </a:xfrm>
          <a:custGeom>
            <a:avLst/>
            <a:gdLst>
              <a:gd name="T0" fmla="*/ 2491 w 2863"/>
              <a:gd name="T1" fmla="*/ 103 h 2054"/>
              <a:gd name="T2" fmla="*/ 2575 w 2863"/>
              <a:gd name="T3" fmla="*/ 23 h 2054"/>
              <a:gd name="T4" fmla="*/ 2196 w 2863"/>
              <a:gd name="T5" fmla="*/ 132 h 2054"/>
              <a:gd name="T6" fmla="*/ 1671 w 2863"/>
              <a:gd name="T7" fmla="*/ 429 h 2054"/>
              <a:gd name="T8" fmla="*/ 1528 w 2863"/>
              <a:gd name="T9" fmla="*/ 462 h 2054"/>
              <a:gd name="T10" fmla="*/ 1416 w 2863"/>
              <a:gd name="T11" fmla="*/ 568 h 2054"/>
              <a:gd name="T12" fmla="*/ 1409 w 2863"/>
              <a:gd name="T13" fmla="*/ 634 h 2054"/>
              <a:gd name="T14" fmla="*/ 1479 w 2863"/>
              <a:gd name="T15" fmla="*/ 748 h 2054"/>
              <a:gd name="T16" fmla="*/ 1586 w 2863"/>
              <a:gd name="T17" fmla="*/ 787 h 2054"/>
              <a:gd name="T18" fmla="*/ 1476 w 2863"/>
              <a:gd name="T19" fmla="*/ 974 h 2054"/>
              <a:gd name="T20" fmla="*/ 1133 w 2863"/>
              <a:gd name="T21" fmla="*/ 1199 h 2054"/>
              <a:gd name="T22" fmla="*/ 799 w 2863"/>
              <a:gd name="T23" fmla="*/ 1254 h 2054"/>
              <a:gd name="T24" fmla="*/ 634 w 2863"/>
              <a:gd name="T25" fmla="*/ 1102 h 2054"/>
              <a:gd name="T26" fmla="*/ 539 w 2863"/>
              <a:gd name="T27" fmla="*/ 1015 h 2054"/>
              <a:gd name="T28" fmla="*/ 406 w 2863"/>
              <a:gd name="T29" fmla="*/ 1023 h 2054"/>
              <a:gd name="T30" fmla="*/ 231 w 2863"/>
              <a:gd name="T31" fmla="*/ 1090 h 2054"/>
              <a:gd name="T32" fmla="*/ 382 w 2863"/>
              <a:gd name="T33" fmla="*/ 1121 h 2054"/>
              <a:gd name="T34" fmla="*/ 351 w 2863"/>
              <a:gd name="T35" fmla="*/ 1168 h 2054"/>
              <a:gd name="T36" fmla="*/ 418 w 2863"/>
              <a:gd name="T37" fmla="*/ 1270 h 2054"/>
              <a:gd name="T38" fmla="*/ 608 w 2863"/>
              <a:gd name="T39" fmla="*/ 1387 h 2054"/>
              <a:gd name="T40" fmla="*/ 314 w 2863"/>
              <a:gd name="T41" fmla="*/ 1296 h 2054"/>
              <a:gd name="T42" fmla="*/ 234 w 2863"/>
              <a:gd name="T43" fmla="*/ 1324 h 2054"/>
              <a:gd name="T44" fmla="*/ 77 w 2863"/>
              <a:gd name="T45" fmla="*/ 1367 h 2054"/>
              <a:gd name="T46" fmla="*/ 0 w 2863"/>
              <a:gd name="T47" fmla="*/ 1480 h 2054"/>
              <a:gd name="T48" fmla="*/ 63 w 2863"/>
              <a:gd name="T49" fmla="*/ 1501 h 2054"/>
              <a:gd name="T50" fmla="*/ 166 w 2863"/>
              <a:gd name="T51" fmla="*/ 1461 h 2054"/>
              <a:gd name="T52" fmla="*/ 187 w 2863"/>
              <a:gd name="T53" fmla="*/ 1573 h 2054"/>
              <a:gd name="T54" fmla="*/ 354 w 2863"/>
              <a:gd name="T55" fmla="*/ 1597 h 2054"/>
              <a:gd name="T56" fmla="*/ 616 w 2863"/>
              <a:gd name="T57" fmla="*/ 1588 h 2054"/>
              <a:gd name="T58" fmla="*/ 382 w 2863"/>
              <a:gd name="T59" fmla="*/ 1636 h 2054"/>
              <a:gd name="T60" fmla="*/ 295 w 2863"/>
              <a:gd name="T61" fmla="*/ 1696 h 2054"/>
              <a:gd name="T62" fmla="*/ 254 w 2863"/>
              <a:gd name="T63" fmla="*/ 1795 h 2054"/>
              <a:gd name="T64" fmla="*/ 239 w 2863"/>
              <a:gd name="T65" fmla="*/ 1953 h 2054"/>
              <a:gd name="T66" fmla="*/ 335 w 2863"/>
              <a:gd name="T67" fmla="*/ 2045 h 2054"/>
              <a:gd name="T68" fmla="*/ 341 w 2863"/>
              <a:gd name="T69" fmla="*/ 1906 h 2054"/>
              <a:gd name="T70" fmla="*/ 417 w 2863"/>
              <a:gd name="T71" fmla="*/ 1946 h 2054"/>
              <a:gd name="T72" fmla="*/ 509 w 2863"/>
              <a:gd name="T73" fmla="*/ 1935 h 2054"/>
              <a:gd name="T74" fmla="*/ 732 w 2863"/>
              <a:gd name="T75" fmla="*/ 1733 h 2054"/>
              <a:gd name="T76" fmla="*/ 874 w 2863"/>
              <a:gd name="T77" fmla="*/ 1691 h 2054"/>
              <a:gd name="T78" fmla="*/ 870 w 2863"/>
              <a:gd name="T79" fmla="*/ 1786 h 2054"/>
              <a:gd name="T80" fmla="*/ 945 w 2863"/>
              <a:gd name="T81" fmla="*/ 1834 h 2054"/>
              <a:gd name="T82" fmla="*/ 875 w 2863"/>
              <a:gd name="T83" fmla="*/ 1948 h 2054"/>
              <a:gd name="T84" fmla="*/ 1004 w 2863"/>
              <a:gd name="T85" fmla="*/ 1919 h 2054"/>
              <a:gd name="T86" fmla="*/ 1100 w 2863"/>
              <a:gd name="T87" fmla="*/ 1787 h 2054"/>
              <a:gd name="T88" fmla="*/ 1159 w 2863"/>
              <a:gd name="T89" fmla="*/ 1734 h 2054"/>
              <a:gd name="T90" fmla="*/ 1183 w 2863"/>
              <a:gd name="T91" fmla="*/ 1628 h 2054"/>
              <a:gd name="T92" fmla="*/ 1338 w 2863"/>
              <a:gd name="T93" fmla="*/ 1564 h 2054"/>
              <a:gd name="T94" fmla="*/ 1370 w 2863"/>
              <a:gd name="T95" fmla="*/ 1465 h 2054"/>
              <a:gd name="T96" fmla="*/ 1461 w 2863"/>
              <a:gd name="T97" fmla="*/ 1462 h 2054"/>
              <a:gd name="T98" fmla="*/ 1684 w 2863"/>
              <a:gd name="T99" fmla="*/ 1556 h 2054"/>
              <a:gd name="T100" fmla="*/ 1888 w 2863"/>
              <a:gd name="T101" fmla="*/ 1440 h 2054"/>
              <a:gd name="T102" fmla="*/ 1799 w 2863"/>
              <a:gd name="T103" fmla="*/ 1308 h 2054"/>
              <a:gd name="T104" fmla="*/ 1857 w 2863"/>
              <a:gd name="T105" fmla="*/ 1327 h 2054"/>
              <a:gd name="T106" fmla="*/ 2183 w 2863"/>
              <a:gd name="T107" fmla="*/ 1273 h 2054"/>
              <a:gd name="T108" fmla="*/ 2142 w 2863"/>
              <a:gd name="T109" fmla="*/ 1164 h 2054"/>
              <a:gd name="T110" fmla="*/ 2112 w 2863"/>
              <a:gd name="T111" fmla="*/ 1069 h 2054"/>
              <a:gd name="T112" fmla="*/ 2121 w 2863"/>
              <a:gd name="T113" fmla="*/ 977 h 2054"/>
              <a:gd name="T114" fmla="*/ 2085 w 2863"/>
              <a:gd name="T115" fmla="*/ 807 h 2054"/>
              <a:gd name="T116" fmla="*/ 2859 w 2863"/>
              <a:gd name="T117" fmla="*/ 408 h 2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63" h="2054">
                <a:moveTo>
                  <a:pt x="2759" y="252"/>
                </a:moveTo>
                <a:lnTo>
                  <a:pt x="2759" y="252"/>
                </a:lnTo>
                <a:lnTo>
                  <a:pt x="2742" y="239"/>
                </a:lnTo>
                <a:lnTo>
                  <a:pt x="2725" y="227"/>
                </a:lnTo>
                <a:lnTo>
                  <a:pt x="2708" y="214"/>
                </a:lnTo>
                <a:lnTo>
                  <a:pt x="2690" y="203"/>
                </a:lnTo>
                <a:lnTo>
                  <a:pt x="2655" y="184"/>
                </a:lnTo>
                <a:lnTo>
                  <a:pt x="2621" y="165"/>
                </a:lnTo>
                <a:lnTo>
                  <a:pt x="2586" y="148"/>
                </a:lnTo>
                <a:lnTo>
                  <a:pt x="2553" y="133"/>
                </a:lnTo>
                <a:lnTo>
                  <a:pt x="2522" y="118"/>
                </a:lnTo>
                <a:lnTo>
                  <a:pt x="2491" y="103"/>
                </a:lnTo>
                <a:lnTo>
                  <a:pt x="2491" y="103"/>
                </a:lnTo>
                <a:lnTo>
                  <a:pt x="2507" y="93"/>
                </a:lnTo>
                <a:lnTo>
                  <a:pt x="2523" y="82"/>
                </a:lnTo>
                <a:lnTo>
                  <a:pt x="2540" y="68"/>
                </a:lnTo>
                <a:lnTo>
                  <a:pt x="2556" y="54"/>
                </a:lnTo>
                <a:lnTo>
                  <a:pt x="2570" y="41"/>
                </a:lnTo>
                <a:lnTo>
                  <a:pt x="2574" y="35"/>
                </a:lnTo>
                <a:lnTo>
                  <a:pt x="2577" y="30"/>
                </a:lnTo>
                <a:lnTo>
                  <a:pt x="2577" y="26"/>
                </a:lnTo>
                <a:lnTo>
                  <a:pt x="2577" y="24"/>
                </a:lnTo>
                <a:lnTo>
                  <a:pt x="2575" y="23"/>
                </a:lnTo>
                <a:lnTo>
                  <a:pt x="2575" y="23"/>
                </a:lnTo>
                <a:lnTo>
                  <a:pt x="2562" y="16"/>
                </a:lnTo>
                <a:lnTo>
                  <a:pt x="2550" y="10"/>
                </a:lnTo>
                <a:lnTo>
                  <a:pt x="2538" y="6"/>
                </a:lnTo>
                <a:lnTo>
                  <a:pt x="2527" y="4"/>
                </a:lnTo>
                <a:lnTo>
                  <a:pt x="2508" y="1"/>
                </a:lnTo>
                <a:lnTo>
                  <a:pt x="2501" y="0"/>
                </a:lnTo>
                <a:lnTo>
                  <a:pt x="2501" y="0"/>
                </a:lnTo>
                <a:lnTo>
                  <a:pt x="2440" y="24"/>
                </a:lnTo>
                <a:lnTo>
                  <a:pt x="2377" y="50"/>
                </a:lnTo>
                <a:lnTo>
                  <a:pt x="2317" y="76"/>
                </a:lnTo>
                <a:lnTo>
                  <a:pt x="2256" y="103"/>
                </a:lnTo>
                <a:lnTo>
                  <a:pt x="2196" y="132"/>
                </a:lnTo>
                <a:lnTo>
                  <a:pt x="2138" y="160"/>
                </a:lnTo>
                <a:lnTo>
                  <a:pt x="2081" y="189"/>
                </a:lnTo>
                <a:lnTo>
                  <a:pt x="2026" y="219"/>
                </a:lnTo>
                <a:lnTo>
                  <a:pt x="1972" y="247"/>
                </a:lnTo>
                <a:lnTo>
                  <a:pt x="1921" y="276"/>
                </a:lnTo>
                <a:lnTo>
                  <a:pt x="1872" y="303"/>
                </a:lnTo>
                <a:lnTo>
                  <a:pt x="1825" y="331"/>
                </a:lnTo>
                <a:lnTo>
                  <a:pt x="1782" y="358"/>
                </a:lnTo>
                <a:lnTo>
                  <a:pt x="1741" y="383"/>
                </a:lnTo>
                <a:lnTo>
                  <a:pt x="1705" y="407"/>
                </a:lnTo>
                <a:lnTo>
                  <a:pt x="1671" y="429"/>
                </a:lnTo>
                <a:lnTo>
                  <a:pt x="1671" y="429"/>
                </a:lnTo>
                <a:lnTo>
                  <a:pt x="1666" y="432"/>
                </a:lnTo>
                <a:lnTo>
                  <a:pt x="1666" y="432"/>
                </a:lnTo>
                <a:lnTo>
                  <a:pt x="1654" y="439"/>
                </a:lnTo>
                <a:lnTo>
                  <a:pt x="1643" y="446"/>
                </a:lnTo>
                <a:lnTo>
                  <a:pt x="1632" y="451"/>
                </a:lnTo>
                <a:lnTo>
                  <a:pt x="1620" y="455"/>
                </a:lnTo>
                <a:lnTo>
                  <a:pt x="1608" y="458"/>
                </a:lnTo>
                <a:lnTo>
                  <a:pt x="1597" y="461"/>
                </a:lnTo>
                <a:lnTo>
                  <a:pt x="1585" y="462"/>
                </a:lnTo>
                <a:lnTo>
                  <a:pt x="1574" y="463"/>
                </a:lnTo>
                <a:lnTo>
                  <a:pt x="1550" y="464"/>
                </a:lnTo>
                <a:lnTo>
                  <a:pt x="1528" y="462"/>
                </a:lnTo>
                <a:lnTo>
                  <a:pt x="1505" y="459"/>
                </a:lnTo>
                <a:lnTo>
                  <a:pt x="1485" y="454"/>
                </a:lnTo>
                <a:lnTo>
                  <a:pt x="1465" y="449"/>
                </a:lnTo>
                <a:lnTo>
                  <a:pt x="1448" y="442"/>
                </a:lnTo>
                <a:lnTo>
                  <a:pt x="1433" y="436"/>
                </a:lnTo>
                <a:lnTo>
                  <a:pt x="1418" y="430"/>
                </a:lnTo>
                <a:lnTo>
                  <a:pt x="1399" y="420"/>
                </a:lnTo>
                <a:lnTo>
                  <a:pt x="1393" y="416"/>
                </a:lnTo>
                <a:lnTo>
                  <a:pt x="1372" y="544"/>
                </a:lnTo>
                <a:lnTo>
                  <a:pt x="1372" y="544"/>
                </a:lnTo>
                <a:lnTo>
                  <a:pt x="1395" y="557"/>
                </a:lnTo>
                <a:lnTo>
                  <a:pt x="1416" y="568"/>
                </a:lnTo>
                <a:lnTo>
                  <a:pt x="1437" y="577"/>
                </a:lnTo>
                <a:lnTo>
                  <a:pt x="1454" y="586"/>
                </a:lnTo>
                <a:lnTo>
                  <a:pt x="1470" y="592"/>
                </a:lnTo>
                <a:lnTo>
                  <a:pt x="1486" y="596"/>
                </a:lnTo>
                <a:lnTo>
                  <a:pt x="1499" y="600"/>
                </a:lnTo>
                <a:lnTo>
                  <a:pt x="1510" y="602"/>
                </a:lnTo>
                <a:lnTo>
                  <a:pt x="1510" y="602"/>
                </a:lnTo>
                <a:lnTo>
                  <a:pt x="1491" y="606"/>
                </a:lnTo>
                <a:lnTo>
                  <a:pt x="1470" y="611"/>
                </a:lnTo>
                <a:lnTo>
                  <a:pt x="1450" y="617"/>
                </a:lnTo>
                <a:lnTo>
                  <a:pt x="1428" y="625"/>
                </a:lnTo>
                <a:lnTo>
                  <a:pt x="1409" y="634"/>
                </a:lnTo>
                <a:lnTo>
                  <a:pt x="1391" y="645"/>
                </a:lnTo>
                <a:lnTo>
                  <a:pt x="1381" y="650"/>
                </a:lnTo>
                <a:lnTo>
                  <a:pt x="1373" y="656"/>
                </a:lnTo>
                <a:lnTo>
                  <a:pt x="1366" y="663"/>
                </a:lnTo>
                <a:lnTo>
                  <a:pt x="1360" y="670"/>
                </a:lnTo>
                <a:lnTo>
                  <a:pt x="1404" y="788"/>
                </a:lnTo>
                <a:lnTo>
                  <a:pt x="1404" y="788"/>
                </a:lnTo>
                <a:lnTo>
                  <a:pt x="1416" y="779"/>
                </a:lnTo>
                <a:lnTo>
                  <a:pt x="1432" y="770"/>
                </a:lnTo>
                <a:lnTo>
                  <a:pt x="1453" y="758"/>
                </a:lnTo>
                <a:lnTo>
                  <a:pt x="1465" y="753"/>
                </a:lnTo>
                <a:lnTo>
                  <a:pt x="1479" y="748"/>
                </a:lnTo>
                <a:lnTo>
                  <a:pt x="1494" y="743"/>
                </a:lnTo>
                <a:lnTo>
                  <a:pt x="1509" y="738"/>
                </a:lnTo>
                <a:lnTo>
                  <a:pt x="1527" y="734"/>
                </a:lnTo>
                <a:lnTo>
                  <a:pt x="1545" y="731"/>
                </a:lnTo>
                <a:lnTo>
                  <a:pt x="1564" y="729"/>
                </a:lnTo>
                <a:lnTo>
                  <a:pt x="1585" y="728"/>
                </a:lnTo>
                <a:lnTo>
                  <a:pt x="1585" y="728"/>
                </a:lnTo>
                <a:lnTo>
                  <a:pt x="1588" y="744"/>
                </a:lnTo>
                <a:lnTo>
                  <a:pt x="1588" y="744"/>
                </a:lnTo>
                <a:lnTo>
                  <a:pt x="1588" y="758"/>
                </a:lnTo>
                <a:lnTo>
                  <a:pt x="1588" y="773"/>
                </a:lnTo>
                <a:lnTo>
                  <a:pt x="1586" y="787"/>
                </a:lnTo>
                <a:lnTo>
                  <a:pt x="1583" y="802"/>
                </a:lnTo>
                <a:lnTo>
                  <a:pt x="1578" y="818"/>
                </a:lnTo>
                <a:lnTo>
                  <a:pt x="1573" y="833"/>
                </a:lnTo>
                <a:lnTo>
                  <a:pt x="1565" y="848"/>
                </a:lnTo>
                <a:lnTo>
                  <a:pt x="1557" y="864"/>
                </a:lnTo>
                <a:lnTo>
                  <a:pt x="1549" y="880"/>
                </a:lnTo>
                <a:lnTo>
                  <a:pt x="1539" y="895"/>
                </a:lnTo>
                <a:lnTo>
                  <a:pt x="1528" y="912"/>
                </a:lnTo>
                <a:lnTo>
                  <a:pt x="1516" y="927"/>
                </a:lnTo>
                <a:lnTo>
                  <a:pt x="1503" y="943"/>
                </a:lnTo>
                <a:lnTo>
                  <a:pt x="1490" y="959"/>
                </a:lnTo>
                <a:lnTo>
                  <a:pt x="1476" y="974"/>
                </a:lnTo>
                <a:lnTo>
                  <a:pt x="1461" y="989"/>
                </a:lnTo>
                <a:lnTo>
                  <a:pt x="1429" y="1020"/>
                </a:lnTo>
                <a:lnTo>
                  <a:pt x="1396" y="1049"/>
                </a:lnTo>
                <a:lnTo>
                  <a:pt x="1360" y="1076"/>
                </a:lnTo>
                <a:lnTo>
                  <a:pt x="1323" y="1102"/>
                </a:lnTo>
                <a:lnTo>
                  <a:pt x="1285" y="1126"/>
                </a:lnTo>
                <a:lnTo>
                  <a:pt x="1247" y="1148"/>
                </a:lnTo>
                <a:lnTo>
                  <a:pt x="1209" y="1167"/>
                </a:lnTo>
                <a:lnTo>
                  <a:pt x="1189" y="1177"/>
                </a:lnTo>
                <a:lnTo>
                  <a:pt x="1171" y="1185"/>
                </a:lnTo>
                <a:lnTo>
                  <a:pt x="1171" y="1185"/>
                </a:lnTo>
                <a:lnTo>
                  <a:pt x="1133" y="1199"/>
                </a:lnTo>
                <a:lnTo>
                  <a:pt x="1095" y="1211"/>
                </a:lnTo>
                <a:lnTo>
                  <a:pt x="1060" y="1223"/>
                </a:lnTo>
                <a:lnTo>
                  <a:pt x="1026" y="1232"/>
                </a:lnTo>
                <a:lnTo>
                  <a:pt x="993" y="1240"/>
                </a:lnTo>
                <a:lnTo>
                  <a:pt x="962" y="1246"/>
                </a:lnTo>
                <a:lnTo>
                  <a:pt x="933" y="1250"/>
                </a:lnTo>
                <a:lnTo>
                  <a:pt x="905" y="1254"/>
                </a:lnTo>
                <a:lnTo>
                  <a:pt x="879" y="1256"/>
                </a:lnTo>
                <a:lnTo>
                  <a:pt x="856" y="1257"/>
                </a:lnTo>
                <a:lnTo>
                  <a:pt x="834" y="1257"/>
                </a:lnTo>
                <a:lnTo>
                  <a:pt x="815" y="1256"/>
                </a:lnTo>
                <a:lnTo>
                  <a:pt x="799" y="1254"/>
                </a:lnTo>
                <a:lnTo>
                  <a:pt x="785" y="1251"/>
                </a:lnTo>
                <a:lnTo>
                  <a:pt x="774" y="1247"/>
                </a:lnTo>
                <a:lnTo>
                  <a:pt x="765" y="1243"/>
                </a:lnTo>
                <a:lnTo>
                  <a:pt x="765" y="1243"/>
                </a:lnTo>
                <a:lnTo>
                  <a:pt x="741" y="1227"/>
                </a:lnTo>
                <a:lnTo>
                  <a:pt x="720" y="1209"/>
                </a:lnTo>
                <a:lnTo>
                  <a:pt x="701" y="1191"/>
                </a:lnTo>
                <a:lnTo>
                  <a:pt x="685" y="1172"/>
                </a:lnTo>
                <a:lnTo>
                  <a:pt x="670" y="1155"/>
                </a:lnTo>
                <a:lnTo>
                  <a:pt x="656" y="1137"/>
                </a:lnTo>
                <a:lnTo>
                  <a:pt x="645" y="1119"/>
                </a:lnTo>
                <a:lnTo>
                  <a:pt x="634" y="1102"/>
                </a:lnTo>
                <a:lnTo>
                  <a:pt x="615" y="1071"/>
                </a:lnTo>
                <a:lnTo>
                  <a:pt x="605" y="1057"/>
                </a:lnTo>
                <a:lnTo>
                  <a:pt x="596" y="1045"/>
                </a:lnTo>
                <a:lnTo>
                  <a:pt x="587" y="1033"/>
                </a:lnTo>
                <a:lnTo>
                  <a:pt x="577" y="1025"/>
                </a:lnTo>
                <a:lnTo>
                  <a:pt x="565" y="1018"/>
                </a:lnTo>
                <a:lnTo>
                  <a:pt x="559" y="1015"/>
                </a:lnTo>
                <a:lnTo>
                  <a:pt x="553" y="1013"/>
                </a:lnTo>
                <a:lnTo>
                  <a:pt x="553" y="1013"/>
                </a:lnTo>
                <a:lnTo>
                  <a:pt x="549" y="1013"/>
                </a:lnTo>
                <a:lnTo>
                  <a:pt x="546" y="1013"/>
                </a:lnTo>
                <a:lnTo>
                  <a:pt x="539" y="1015"/>
                </a:lnTo>
                <a:lnTo>
                  <a:pt x="532" y="1018"/>
                </a:lnTo>
                <a:lnTo>
                  <a:pt x="524" y="1022"/>
                </a:lnTo>
                <a:lnTo>
                  <a:pt x="516" y="1026"/>
                </a:lnTo>
                <a:lnTo>
                  <a:pt x="507" y="1029"/>
                </a:lnTo>
                <a:lnTo>
                  <a:pt x="499" y="1031"/>
                </a:lnTo>
                <a:lnTo>
                  <a:pt x="494" y="1031"/>
                </a:lnTo>
                <a:lnTo>
                  <a:pt x="489" y="1031"/>
                </a:lnTo>
                <a:lnTo>
                  <a:pt x="489" y="1031"/>
                </a:lnTo>
                <a:lnTo>
                  <a:pt x="468" y="1028"/>
                </a:lnTo>
                <a:lnTo>
                  <a:pt x="448" y="1025"/>
                </a:lnTo>
                <a:lnTo>
                  <a:pt x="427" y="1024"/>
                </a:lnTo>
                <a:lnTo>
                  <a:pt x="406" y="1023"/>
                </a:lnTo>
                <a:lnTo>
                  <a:pt x="386" y="1023"/>
                </a:lnTo>
                <a:lnTo>
                  <a:pt x="366" y="1025"/>
                </a:lnTo>
                <a:lnTo>
                  <a:pt x="347" y="1027"/>
                </a:lnTo>
                <a:lnTo>
                  <a:pt x="327" y="1031"/>
                </a:lnTo>
                <a:lnTo>
                  <a:pt x="309" y="1035"/>
                </a:lnTo>
                <a:lnTo>
                  <a:pt x="292" y="1043"/>
                </a:lnTo>
                <a:lnTo>
                  <a:pt x="276" y="1050"/>
                </a:lnTo>
                <a:lnTo>
                  <a:pt x="262" y="1059"/>
                </a:lnTo>
                <a:lnTo>
                  <a:pt x="248" y="1070"/>
                </a:lnTo>
                <a:lnTo>
                  <a:pt x="242" y="1076"/>
                </a:lnTo>
                <a:lnTo>
                  <a:pt x="236" y="1082"/>
                </a:lnTo>
                <a:lnTo>
                  <a:pt x="231" y="1090"/>
                </a:lnTo>
                <a:lnTo>
                  <a:pt x="227" y="1098"/>
                </a:lnTo>
                <a:lnTo>
                  <a:pt x="223" y="1105"/>
                </a:lnTo>
                <a:lnTo>
                  <a:pt x="219" y="1114"/>
                </a:lnTo>
                <a:lnTo>
                  <a:pt x="219" y="1114"/>
                </a:lnTo>
                <a:lnTo>
                  <a:pt x="257" y="1112"/>
                </a:lnTo>
                <a:lnTo>
                  <a:pt x="292" y="1111"/>
                </a:lnTo>
                <a:lnTo>
                  <a:pt x="312" y="1111"/>
                </a:lnTo>
                <a:lnTo>
                  <a:pt x="331" y="1112"/>
                </a:lnTo>
                <a:lnTo>
                  <a:pt x="349" y="1113"/>
                </a:lnTo>
                <a:lnTo>
                  <a:pt x="364" y="1116"/>
                </a:lnTo>
                <a:lnTo>
                  <a:pt x="377" y="1119"/>
                </a:lnTo>
                <a:lnTo>
                  <a:pt x="382" y="1121"/>
                </a:lnTo>
                <a:lnTo>
                  <a:pt x="387" y="1123"/>
                </a:lnTo>
                <a:lnTo>
                  <a:pt x="389" y="1126"/>
                </a:lnTo>
                <a:lnTo>
                  <a:pt x="391" y="1130"/>
                </a:lnTo>
                <a:lnTo>
                  <a:pt x="391" y="1133"/>
                </a:lnTo>
                <a:lnTo>
                  <a:pt x="389" y="1137"/>
                </a:lnTo>
                <a:lnTo>
                  <a:pt x="386" y="1141"/>
                </a:lnTo>
                <a:lnTo>
                  <a:pt x="381" y="1146"/>
                </a:lnTo>
                <a:lnTo>
                  <a:pt x="374" y="1151"/>
                </a:lnTo>
                <a:lnTo>
                  <a:pt x="366" y="1156"/>
                </a:lnTo>
                <a:lnTo>
                  <a:pt x="366" y="1156"/>
                </a:lnTo>
                <a:lnTo>
                  <a:pt x="357" y="1162"/>
                </a:lnTo>
                <a:lnTo>
                  <a:pt x="351" y="1168"/>
                </a:lnTo>
                <a:lnTo>
                  <a:pt x="346" y="1175"/>
                </a:lnTo>
                <a:lnTo>
                  <a:pt x="344" y="1182"/>
                </a:lnTo>
                <a:lnTo>
                  <a:pt x="343" y="1189"/>
                </a:lnTo>
                <a:lnTo>
                  <a:pt x="344" y="1195"/>
                </a:lnTo>
                <a:lnTo>
                  <a:pt x="346" y="1202"/>
                </a:lnTo>
                <a:lnTo>
                  <a:pt x="349" y="1209"/>
                </a:lnTo>
                <a:lnTo>
                  <a:pt x="354" y="1217"/>
                </a:lnTo>
                <a:lnTo>
                  <a:pt x="360" y="1225"/>
                </a:lnTo>
                <a:lnTo>
                  <a:pt x="368" y="1232"/>
                </a:lnTo>
                <a:lnTo>
                  <a:pt x="376" y="1239"/>
                </a:lnTo>
                <a:lnTo>
                  <a:pt x="396" y="1254"/>
                </a:lnTo>
                <a:lnTo>
                  <a:pt x="418" y="1270"/>
                </a:lnTo>
                <a:lnTo>
                  <a:pt x="442" y="1285"/>
                </a:lnTo>
                <a:lnTo>
                  <a:pt x="467" y="1299"/>
                </a:lnTo>
                <a:lnTo>
                  <a:pt x="519" y="1327"/>
                </a:lnTo>
                <a:lnTo>
                  <a:pt x="565" y="1350"/>
                </a:lnTo>
                <a:lnTo>
                  <a:pt x="585" y="1361"/>
                </a:lnTo>
                <a:lnTo>
                  <a:pt x="601" y="1370"/>
                </a:lnTo>
                <a:lnTo>
                  <a:pt x="601" y="1370"/>
                </a:lnTo>
                <a:lnTo>
                  <a:pt x="608" y="1375"/>
                </a:lnTo>
                <a:lnTo>
                  <a:pt x="611" y="1379"/>
                </a:lnTo>
                <a:lnTo>
                  <a:pt x="613" y="1382"/>
                </a:lnTo>
                <a:lnTo>
                  <a:pt x="611" y="1385"/>
                </a:lnTo>
                <a:lnTo>
                  <a:pt x="608" y="1387"/>
                </a:lnTo>
                <a:lnTo>
                  <a:pt x="604" y="1389"/>
                </a:lnTo>
                <a:lnTo>
                  <a:pt x="598" y="1390"/>
                </a:lnTo>
                <a:lnTo>
                  <a:pt x="598" y="1390"/>
                </a:lnTo>
                <a:lnTo>
                  <a:pt x="588" y="1390"/>
                </a:lnTo>
                <a:lnTo>
                  <a:pt x="576" y="1388"/>
                </a:lnTo>
                <a:lnTo>
                  <a:pt x="561" y="1385"/>
                </a:lnTo>
                <a:lnTo>
                  <a:pt x="545" y="1380"/>
                </a:lnTo>
                <a:lnTo>
                  <a:pt x="509" y="1369"/>
                </a:lnTo>
                <a:lnTo>
                  <a:pt x="469" y="1354"/>
                </a:lnTo>
                <a:lnTo>
                  <a:pt x="387" y="1323"/>
                </a:lnTo>
                <a:lnTo>
                  <a:pt x="349" y="1307"/>
                </a:lnTo>
                <a:lnTo>
                  <a:pt x="314" y="1296"/>
                </a:lnTo>
                <a:lnTo>
                  <a:pt x="314" y="1296"/>
                </a:lnTo>
                <a:lnTo>
                  <a:pt x="303" y="1293"/>
                </a:lnTo>
                <a:lnTo>
                  <a:pt x="292" y="1291"/>
                </a:lnTo>
                <a:lnTo>
                  <a:pt x="283" y="1291"/>
                </a:lnTo>
                <a:lnTo>
                  <a:pt x="275" y="1292"/>
                </a:lnTo>
                <a:lnTo>
                  <a:pt x="268" y="1294"/>
                </a:lnTo>
                <a:lnTo>
                  <a:pt x="262" y="1297"/>
                </a:lnTo>
                <a:lnTo>
                  <a:pt x="257" y="1300"/>
                </a:lnTo>
                <a:lnTo>
                  <a:pt x="253" y="1303"/>
                </a:lnTo>
                <a:lnTo>
                  <a:pt x="244" y="1312"/>
                </a:lnTo>
                <a:lnTo>
                  <a:pt x="238" y="1319"/>
                </a:lnTo>
                <a:lnTo>
                  <a:pt x="234" y="1324"/>
                </a:lnTo>
                <a:lnTo>
                  <a:pt x="231" y="1325"/>
                </a:lnTo>
                <a:lnTo>
                  <a:pt x="229" y="1326"/>
                </a:lnTo>
                <a:lnTo>
                  <a:pt x="229" y="1326"/>
                </a:lnTo>
                <a:lnTo>
                  <a:pt x="220" y="1325"/>
                </a:lnTo>
                <a:lnTo>
                  <a:pt x="210" y="1324"/>
                </a:lnTo>
                <a:lnTo>
                  <a:pt x="198" y="1325"/>
                </a:lnTo>
                <a:lnTo>
                  <a:pt x="188" y="1325"/>
                </a:lnTo>
                <a:lnTo>
                  <a:pt x="166" y="1329"/>
                </a:lnTo>
                <a:lnTo>
                  <a:pt x="143" y="1335"/>
                </a:lnTo>
                <a:lnTo>
                  <a:pt x="121" y="1343"/>
                </a:lnTo>
                <a:lnTo>
                  <a:pt x="98" y="1353"/>
                </a:lnTo>
                <a:lnTo>
                  <a:pt x="77" y="1367"/>
                </a:lnTo>
                <a:lnTo>
                  <a:pt x="66" y="1374"/>
                </a:lnTo>
                <a:lnTo>
                  <a:pt x="57" y="1381"/>
                </a:lnTo>
                <a:lnTo>
                  <a:pt x="48" y="1389"/>
                </a:lnTo>
                <a:lnTo>
                  <a:pt x="40" y="1397"/>
                </a:lnTo>
                <a:lnTo>
                  <a:pt x="32" y="1407"/>
                </a:lnTo>
                <a:lnTo>
                  <a:pt x="25" y="1416"/>
                </a:lnTo>
                <a:lnTo>
                  <a:pt x="18" y="1426"/>
                </a:lnTo>
                <a:lnTo>
                  <a:pt x="12" y="1435"/>
                </a:lnTo>
                <a:lnTo>
                  <a:pt x="8" y="1446"/>
                </a:lnTo>
                <a:lnTo>
                  <a:pt x="4" y="1458"/>
                </a:lnTo>
                <a:lnTo>
                  <a:pt x="2" y="1469"/>
                </a:lnTo>
                <a:lnTo>
                  <a:pt x="0" y="1480"/>
                </a:lnTo>
                <a:lnTo>
                  <a:pt x="0" y="1492"/>
                </a:lnTo>
                <a:lnTo>
                  <a:pt x="0" y="1505"/>
                </a:lnTo>
                <a:lnTo>
                  <a:pt x="3" y="1518"/>
                </a:lnTo>
                <a:lnTo>
                  <a:pt x="6" y="1530"/>
                </a:lnTo>
                <a:lnTo>
                  <a:pt x="11" y="1544"/>
                </a:lnTo>
                <a:lnTo>
                  <a:pt x="17" y="1558"/>
                </a:lnTo>
                <a:lnTo>
                  <a:pt x="17" y="1558"/>
                </a:lnTo>
                <a:lnTo>
                  <a:pt x="20" y="1553"/>
                </a:lnTo>
                <a:lnTo>
                  <a:pt x="30" y="1540"/>
                </a:lnTo>
                <a:lnTo>
                  <a:pt x="45" y="1521"/>
                </a:lnTo>
                <a:lnTo>
                  <a:pt x="53" y="1511"/>
                </a:lnTo>
                <a:lnTo>
                  <a:pt x="63" y="1501"/>
                </a:lnTo>
                <a:lnTo>
                  <a:pt x="75" y="1490"/>
                </a:lnTo>
                <a:lnTo>
                  <a:pt x="86" y="1481"/>
                </a:lnTo>
                <a:lnTo>
                  <a:pt x="98" y="1473"/>
                </a:lnTo>
                <a:lnTo>
                  <a:pt x="111" y="1466"/>
                </a:lnTo>
                <a:lnTo>
                  <a:pt x="125" y="1461"/>
                </a:lnTo>
                <a:lnTo>
                  <a:pt x="131" y="1459"/>
                </a:lnTo>
                <a:lnTo>
                  <a:pt x="138" y="1458"/>
                </a:lnTo>
                <a:lnTo>
                  <a:pt x="145" y="1458"/>
                </a:lnTo>
                <a:lnTo>
                  <a:pt x="151" y="1458"/>
                </a:lnTo>
                <a:lnTo>
                  <a:pt x="159" y="1459"/>
                </a:lnTo>
                <a:lnTo>
                  <a:pt x="166" y="1461"/>
                </a:lnTo>
                <a:lnTo>
                  <a:pt x="166" y="1461"/>
                </a:lnTo>
                <a:lnTo>
                  <a:pt x="171" y="1463"/>
                </a:lnTo>
                <a:lnTo>
                  <a:pt x="174" y="1467"/>
                </a:lnTo>
                <a:lnTo>
                  <a:pt x="175" y="1473"/>
                </a:lnTo>
                <a:lnTo>
                  <a:pt x="176" y="1479"/>
                </a:lnTo>
                <a:lnTo>
                  <a:pt x="176" y="1496"/>
                </a:lnTo>
                <a:lnTo>
                  <a:pt x="174" y="1514"/>
                </a:lnTo>
                <a:lnTo>
                  <a:pt x="174" y="1524"/>
                </a:lnTo>
                <a:lnTo>
                  <a:pt x="174" y="1534"/>
                </a:lnTo>
                <a:lnTo>
                  <a:pt x="176" y="1545"/>
                </a:lnTo>
                <a:lnTo>
                  <a:pt x="178" y="1554"/>
                </a:lnTo>
                <a:lnTo>
                  <a:pt x="182" y="1564"/>
                </a:lnTo>
                <a:lnTo>
                  <a:pt x="187" y="1573"/>
                </a:lnTo>
                <a:lnTo>
                  <a:pt x="195" y="1581"/>
                </a:lnTo>
                <a:lnTo>
                  <a:pt x="205" y="1589"/>
                </a:lnTo>
                <a:lnTo>
                  <a:pt x="205" y="1589"/>
                </a:lnTo>
                <a:lnTo>
                  <a:pt x="213" y="1593"/>
                </a:lnTo>
                <a:lnTo>
                  <a:pt x="221" y="1596"/>
                </a:lnTo>
                <a:lnTo>
                  <a:pt x="231" y="1599"/>
                </a:lnTo>
                <a:lnTo>
                  <a:pt x="242" y="1600"/>
                </a:lnTo>
                <a:lnTo>
                  <a:pt x="254" y="1602"/>
                </a:lnTo>
                <a:lnTo>
                  <a:pt x="267" y="1602"/>
                </a:lnTo>
                <a:lnTo>
                  <a:pt x="293" y="1602"/>
                </a:lnTo>
                <a:lnTo>
                  <a:pt x="323" y="1600"/>
                </a:lnTo>
                <a:lnTo>
                  <a:pt x="354" y="1597"/>
                </a:lnTo>
                <a:lnTo>
                  <a:pt x="418" y="1589"/>
                </a:lnTo>
                <a:lnTo>
                  <a:pt x="481" y="1580"/>
                </a:lnTo>
                <a:lnTo>
                  <a:pt x="510" y="1576"/>
                </a:lnTo>
                <a:lnTo>
                  <a:pt x="538" y="1574"/>
                </a:lnTo>
                <a:lnTo>
                  <a:pt x="562" y="1573"/>
                </a:lnTo>
                <a:lnTo>
                  <a:pt x="583" y="1574"/>
                </a:lnTo>
                <a:lnTo>
                  <a:pt x="592" y="1575"/>
                </a:lnTo>
                <a:lnTo>
                  <a:pt x="600" y="1577"/>
                </a:lnTo>
                <a:lnTo>
                  <a:pt x="607" y="1580"/>
                </a:lnTo>
                <a:lnTo>
                  <a:pt x="613" y="1585"/>
                </a:lnTo>
                <a:lnTo>
                  <a:pt x="613" y="1585"/>
                </a:lnTo>
                <a:lnTo>
                  <a:pt x="616" y="1588"/>
                </a:lnTo>
                <a:lnTo>
                  <a:pt x="617" y="1591"/>
                </a:lnTo>
                <a:lnTo>
                  <a:pt x="616" y="1593"/>
                </a:lnTo>
                <a:lnTo>
                  <a:pt x="611" y="1596"/>
                </a:lnTo>
                <a:lnTo>
                  <a:pt x="607" y="1598"/>
                </a:lnTo>
                <a:lnTo>
                  <a:pt x="600" y="1601"/>
                </a:lnTo>
                <a:lnTo>
                  <a:pt x="583" y="1605"/>
                </a:lnTo>
                <a:lnTo>
                  <a:pt x="560" y="1609"/>
                </a:lnTo>
                <a:lnTo>
                  <a:pt x="535" y="1612"/>
                </a:lnTo>
                <a:lnTo>
                  <a:pt x="474" y="1620"/>
                </a:lnTo>
                <a:lnTo>
                  <a:pt x="443" y="1624"/>
                </a:lnTo>
                <a:lnTo>
                  <a:pt x="412" y="1629"/>
                </a:lnTo>
                <a:lnTo>
                  <a:pt x="382" y="1636"/>
                </a:lnTo>
                <a:lnTo>
                  <a:pt x="356" y="1642"/>
                </a:lnTo>
                <a:lnTo>
                  <a:pt x="344" y="1646"/>
                </a:lnTo>
                <a:lnTo>
                  <a:pt x="332" y="1650"/>
                </a:lnTo>
                <a:lnTo>
                  <a:pt x="322" y="1654"/>
                </a:lnTo>
                <a:lnTo>
                  <a:pt x="314" y="1659"/>
                </a:lnTo>
                <a:lnTo>
                  <a:pt x="307" y="1664"/>
                </a:lnTo>
                <a:lnTo>
                  <a:pt x="302" y="1669"/>
                </a:lnTo>
                <a:lnTo>
                  <a:pt x="298" y="1676"/>
                </a:lnTo>
                <a:lnTo>
                  <a:pt x="296" y="1682"/>
                </a:lnTo>
                <a:lnTo>
                  <a:pt x="296" y="1682"/>
                </a:lnTo>
                <a:lnTo>
                  <a:pt x="295" y="1687"/>
                </a:lnTo>
                <a:lnTo>
                  <a:pt x="295" y="1696"/>
                </a:lnTo>
                <a:lnTo>
                  <a:pt x="296" y="1707"/>
                </a:lnTo>
                <a:lnTo>
                  <a:pt x="298" y="1713"/>
                </a:lnTo>
                <a:lnTo>
                  <a:pt x="300" y="1718"/>
                </a:lnTo>
                <a:lnTo>
                  <a:pt x="300" y="1718"/>
                </a:lnTo>
                <a:lnTo>
                  <a:pt x="301" y="1725"/>
                </a:lnTo>
                <a:lnTo>
                  <a:pt x="301" y="1731"/>
                </a:lnTo>
                <a:lnTo>
                  <a:pt x="298" y="1737"/>
                </a:lnTo>
                <a:lnTo>
                  <a:pt x="293" y="1743"/>
                </a:lnTo>
                <a:lnTo>
                  <a:pt x="283" y="1757"/>
                </a:lnTo>
                <a:lnTo>
                  <a:pt x="269" y="1775"/>
                </a:lnTo>
                <a:lnTo>
                  <a:pt x="261" y="1785"/>
                </a:lnTo>
                <a:lnTo>
                  <a:pt x="254" y="1795"/>
                </a:lnTo>
                <a:lnTo>
                  <a:pt x="246" y="1807"/>
                </a:lnTo>
                <a:lnTo>
                  <a:pt x="240" y="1820"/>
                </a:lnTo>
                <a:lnTo>
                  <a:pt x="234" y="1834"/>
                </a:lnTo>
                <a:lnTo>
                  <a:pt x="230" y="1849"/>
                </a:lnTo>
                <a:lnTo>
                  <a:pt x="226" y="1866"/>
                </a:lnTo>
                <a:lnTo>
                  <a:pt x="225" y="1884"/>
                </a:lnTo>
                <a:lnTo>
                  <a:pt x="225" y="1884"/>
                </a:lnTo>
                <a:lnTo>
                  <a:pt x="225" y="1893"/>
                </a:lnTo>
                <a:lnTo>
                  <a:pt x="225" y="1902"/>
                </a:lnTo>
                <a:lnTo>
                  <a:pt x="228" y="1920"/>
                </a:lnTo>
                <a:lnTo>
                  <a:pt x="233" y="1937"/>
                </a:lnTo>
                <a:lnTo>
                  <a:pt x="239" y="1953"/>
                </a:lnTo>
                <a:lnTo>
                  <a:pt x="247" y="1968"/>
                </a:lnTo>
                <a:lnTo>
                  <a:pt x="257" y="1982"/>
                </a:lnTo>
                <a:lnTo>
                  <a:pt x="267" y="1995"/>
                </a:lnTo>
                <a:lnTo>
                  <a:pt x="277" y="2007"/>
                </a:lnTo>
                <a:lnTo>
                  <a:pt x="287" y="2017"/>
                </a:lnTo>
                <a:lnTo>
                  <a:pt x="298" y="2026"/>
                </a:lnTo>
                <a:lnTo>
                  <a:pt x="315" y="2042"/>
                </a:lnTo>
                <a:lnTo>
                  <a:pt x="327" y="2050"/>
                </a:lnTo>
                <a:lnTo>
                  <a:pt x="332" y="2054"/>
                </a:lnTo>
                <a:lnTo>
                  <a:pt x="332" y="2054"/>
                </a:lnTo>
                <a:lnTo>
                  <a:pt x="334" y="2050"/>
                </a:lnTo>
                <a:lnTo>
                  <a:pt x="335" y="2045"/>
                </a:lnTo>
                <a:lnTo>
                  <a:pt x="335" y="2036"/>
                </a:lnTo>
                <a:lnTo>
                  <a:pt x="334" y="2027"/>
                </a:lnTo>
                <a:lnTo>
                  <a:pt x="331" y="2006"/>
                </a:lnTo>
                <a:lnTo>
                  <a:pt x="328" y="1980"/>
                </a:lnTo>
                <a:lnTo>
                  <a:pt x="327" y="1968"/>
                </a:lnTo>
                <a:lnTo>
                  <a:pt x="326" y="1955"/>
                </a:lnTo>
                <a:lnTo>
                  <a:pt x="326" y="1943"/>
                </a:lnTo>
                <a:lnTo>
                  <a:pt x="328" y="1932"/>
                </a:lnTo>
                <a:lnTo>
                  <a:pt x="330" y="1922"/>
                </a:lnTo>
                <a:lnTo>
                  <a:pt x="334" y="1913"/>
                </a:lnTo>
                <a:lnTo>
                  <a:pt x="337" y="1910"/>
                </a:lnTo>
                <a:lnTo>
                  <a:pt x="341" y="1906"/>
                </a:lnTo>
                <a:lnTo>
                  <a:pt x="344" y="1904"/>
                </a:lnTo>
                <a:lnTo>
                  <a:pt x="348" y="1901"/>
                </a:lnTo>
                <a:lnTo>
                  <a:pt x="348" y="1901"/>
                </a:lnTo>
                <a:lnTo>
                  <a:pt x="353" y="1900"/>
                </a:lnTo>
                <a:lnTo>
                  <a:pt x="357" y="1900"/>
                </a:lnTo>
                <a:lnTo>
                  <a:pt x="362" y="1901"/>
                </a:lnTo>
                <a:lnTo>
                  <a:pt x="366" y="1905"/>
                </a:lnTo>
                <a:lnTo>
                  <a:pt x="375" y="1912"/>
                </a:lnTo>
                <a:lnTo>
                  <a:pt x="386" y="1921"/>
                </a:lnTo>
                <a:lnTo>
                  <a:pt x="397" y="1932"/>
                </a:lnTo>
                <a:lnTo>
                  <a:pt x="410" y="1941"/>
                </a:lnTo>
                <a:lnTo>
                  <a:pt x="417" y="1946"/>
                </a:lnTo>
                <a:lnTo>
                  <a:pt x="424" y="1950"/>
                </a:lnTo>
                <a:lnTo>
                  <a:pt x="434" y="1953"/>
                </a:lnTo>
                <a:lnTo>
                  <a:pt x="442" y="1955"/>
                </a:lnTo>
                <a:lnTo>
                  <a:pt x="442" y="1955"/>
                </a:lnTo>
                <a:lnTo>
                  <a:pt x="451" y="1955"/>
                </a:lnTo>
                <a:lnTo>
                  <a:pt x="460" y="1955"/>
                </a:lnTo>
                <a:lnTo>
                  <a:pt x="468" y="1954"/>
                </a:lnTo>
                <a:lnTo>
                  <a:pt x="478" y="1952"/>
                </a:lnTo>
                <a:lnTo>
                  <a:pt x="486" y="1948"/>
                </a:lnTo>
                <a:lnTo>
                  <a:pt x="494" y="1944"/>
                </a:lnTo>
                <a:lnTo>
                  <a:pt x="501" y="1940"/>
                </a:lnTo>
                <a:lnTo>
                  <a:pt x="509" y="1935"/>
                </a:lnTo>
                <a:lnTo>
                  <a:pt x="525" y="1923"/>
                </a:lnTo>
                <a:lnTo>
                  <a:pt x="539" y="1909"/>
                </a:lnTo>
                <a:lnTo>
                  <a:pt x="554" y="1892"/>
                </a:lnTo>
                <a:lnTo>
                  <a:pt x="571" y="1875"/>
                </a:lnTo>
                <a:lnTo>
                  <a:pt x="604" y="1836"/>
                </a:lnTo>
                <a:lnTo>
                  <a:pt x="624" y="1817"/>
                </a:lnTo>
                <a:lnTo>
                  <a:pt x="644" y="1797"/>
                </a:lnTo>
                <a:lnTo>
                  <a:pt x="667" y="1777"/>
                </a:lnTo>
                <a:lnTo>
                  <a:pt x="691" y="1758"/>
                </a:lnTo>
                <a:lnTo>
                  <a:pt x="705" y="1749"/>
                </a:lnTo>
                <a:lnTo>
                  <a:pt x="718" y="1741"/>
                </a:lnTo>
                <a:lnTo>
                  <a:pt x="732" y="1733"/>
                </a:lnTo>
                <a:lnTo>
                  <a:pt x="747" y="1725"/>
                </a:lnTo>
                <a:lnTo>
                  <a:pt x="747" y="1725"/>
                </a:lnTo>
                <a:lnTo>
                  <a:pt x="787" y="1706"/>
                </a:lnTo>
                <a:lnTo>
                  <a:pt x="819" y="1694"/>
                </a:lnTo>
                <a:lnTo>
                  <a:pt x="831" y="1689"/>
                </a:lnTo>
                <a:lnTo>
                  <a:pt x="843" y="1686"/>
                </a:lnTo>
                <a:lnTo>
                  <a:pt x="852" y="1685"/>
                </a:lnTo>
                <a:lnTo>
                  <a:pt x="859" y="1684"/>
                </a:lnTo>
                <a:lnTo>
                  <a:pt x="865" y="1684"/>
                </a:lnTo>
                <a:lnTo>
                  <a:pt x="869" y="1686"/>
                </a:lnTo>
                <a:lnTo>
                  <a:pt x="872" y="1688"/>
                </a:lnTo>
                <a:lnTo>
                  <a:pt x="874" y="1691"/>
                </a:lnTo>
                <a:lnTo>
                  <a:pt x="876" y="1694"/>
                </a:lnTo>
                <a:lnTo>
                  <a:pt x="876" y="1698"/>
                </a:lnTo>
                <a:lnTo>
                  <a:pt x="875" y="1708"/>
                </a:lnTo>
                <a:lnTo>
                  <a:pt x="872" y="1720"/>
                </a:lnTo>
                <a:lnTo>
                  <a:pt x="868" y="1734"/>
                </a:lnTo>
                <a:lnTo>
                  <a:pt x="865" y="1747"/>
                </a:lnTo>
                <a:lnTo>
                  <a:pt x="863" y="1759"/>
                </a:lnTo>
                <a:lnTo>
                  <a:pt x="863" y="1765"/>
                </a:lnTo>
                <a:lnTo>
                  <a:pt x="863" y="1772"/>
                </a:lnTo>
                <a:lnTo>
                  <a:pt x="865" y="1777"/>
                </a:lnTo>
                <a:lnTo>
                  <a:pt x="867" y="1782"/>
                </a:lnTo>
                <a:lnTo>
                  <a:pt x="870" y="1786"/>
                </a:lnTo>
                <a:lnTo>
                  <a:pt x="875" y="1790"/>
                </a:lnTo>
                <a:lnTo>
                  <a:pt x="881" y="1793"/>
                </a:lnTo>
                <a:lnTo>
                  <a:pt x="889" y="1795"/>
                </a:lnTo>
                <a:lnTo>
                  <a:pt x="889" y="1795"/>
                </a:lnTo>
                <a:lnTo>
                  <a:pt x="901" y="1799"/>
                </a:lnTo>
                <a:lnTo>
                  <a:pt x="912" y="1802"/>
                </a:lnTo>
                <a:lnTo>
                  <a:pt x="921" y="1807"/>
                </a:lnTo>
                <a:lnTo>
                  <a:pt x="928" y="1811"/>
                </a:lnTo>
                <a:lnTo>
                  <a:pt x="935" y="1817"/>
                </a:lnTo>
                <a:lnTo>
                  <a:pt x="940" y="1822"/>
                </a:lnTo>
                <a:lnTo>
                  <a:pt x="943" y="1828"/>
                </a:lnTo>
                <a:lnTo>
                  <a:pt x="945" y="1834"/>
                </a:lnTo>
                <a:lnTo>
                  <a:pt x="947" y="1840"/>
                </a:lnTo>
                <a:lnTo>
                  <a:pt x="947" y="1846"/>
                </a:lnTo>
                <a:lnTo>
                  <a:pt x="946" y="1853"/>
                </a:lnTo>
                <a:lnTo>
                  <a:pt x="945" y="1860"/>
                </a:lnTo>
                <a:lnTo>
                  <a:pt x="943" y="1867"/>
                </a:lnTo>
                <a:lnTo>
                  <a:pt x="940" y="1874"/>
                </a:lnTo>
                <a:lnTo>
                  <a:pt x="932" y="1887"/>
                </a:lnTo>
                <a:lnTo>
                  <a:pt x="922" y="1900"/>
                </a:lnTo>
                <a:lnTo>
                  <a:pt x="912" y="1913"/>
                </a:lnTo>
                <a:lnTo>
                  <a:pt x="902" y="1924"/>
                </a:lnTo>
                <a:lnTo>
                  <a:pt x="892" y="1934"/>
                </a:lnTo>
                <a:lnTo>
                  <a:pt x="875" y="1948"/>
                </a:lnTo>
                <a:lnTo>
                  <a:pt x="869" y="1955"/>
                </a:lnTo>
                <a:lnTo>
                  <a:pt x="869" y="1955"/>
                </a:lnTo>
                <a:lnTo>
                  <a:pt x="877" y="1959"/>
                </a:lnTo>
                <a:lnTo>
                  <a:pt x="888" y="1961"/>
                </a:lnTo>
                <a:lnTo>
                  <a:pt x="899" y="1962"/>
                </a:lnTo>
                <a:lnTo>
                  <a:pt x="912" y="1961"/>
                </a:lnTo>
                <a:lnTo>
                  <a:pt x="926" y="1958"/>
                </a:lnTo>
                <a:lnTo>
                  <a:pt x="941" y="1954"/>
                </a:lnTo>
                <a:lnTo>
                  <a:pt x="957" y="1947"/>
                </a:lnTo>
                <a:lnTo>
                  <a:pt x="972" y="1939"/>
                </a:lnTo>
                <a:lnTo>
                  <a:pt x="989" y="1930"/>
                </a:lnTo>
                <a:lnTo>
                  <a:pt x="1004" y="1919"/>
                </a:lnTo>
                <a:lnTo>
                  <a:pt x="1019" y="1906"/>
                </a:lnTo>
                <a:lnTo>
                  <a:pt x="1035" y="1891"/>
                </a:lnTo>
                <a:lnTo>
                  <a:pt x="1048" y="1874"/>
                </a:lnTo>
                <a:lnTo>
                  <a:pt x="1061" y="1855"/>
                </a:lnTo>
                <a:lnTo>
                  <a:pt x="1073" y="1835"/>
                </a:lnTo>
                <a:lnTo>
                  <a:pt x="1083" y="1814"/>
                </a:lnTo>
                <a:lnTo>
                  <a:pt x="1083" y="1814"/>
                </a:lnTo>
                <a:lnTo>
                  <a:pt x="1086" y="1805"/>
                </a:lnTo>
                <a:lnTo>
                  <a:pt x="1089" y="1799"/>
                </a:lnTo>
                <a:lnTo>
                  <a:pt x="1092" y="1794"/>
                </a:lnTo>
                <a:lnTo>
                  <a:pt x="1096" y="1790"/>
                </a:lnTo>
                <a:lnTo>
                  <a:pt x="1100" y="1787"/>
                </a:lnTo>
                <a:lnTo>
                  <a:pt x="1103" y="1784"/>
                </a:lnTo>
                <a:lnTo>
                  <a:pt x="1111" y="1781"/>
                </a:lnTo>
                <a:lnTo>
                  <a:pt x="1120" y="1778"/>
                </a:lnTo>
                <a:lnTo>
                  <a:pt x="1129" y="1774"/>
                </a:lnTo>
                <a:lnTo>
                  <a:pt x="1138" y="1768"/>
                </a:lnTo>
                <a:lnTo>
                  <a:pt x="1143" y="1763"/>
                </a:lnTo>
                <a:lnTo>
                  <a:pt x="1148" y="1758"/>
                </a:lnTo>
                <a:lnTo>
                  <a:pt x="1148" y="1758"/>
                </a:lnTo>
                <a:lnTo>
                  <a:pt x="1151" y="1752"/>
                </a:lnTo>
                <a:lnTo>
                  <a:pt x="1154" y="1746"/>
                </a:lnTo>
                <a:lnTo>
                  <a:pt x="1158" y="1740"/>
                </a:lnTo>
                <a:lnTo>
                  <a:pt x="1159" y="1734"/>
                </a:lnTo>
                <a:lnTo>
                  <a:pt x="1160" y="1719"/>
                </a:lnTo>
                <a:lnTo>
                  <a:pt x="1160" y="1705"/>
                </a:lnTo>
                <a:lnTo>
                  <a:pt x="1160" y="1690"/>
                </a:lnTo>
                <a:lnTo>
                  <a:pt x="1160" y="1676"/>
                </a:lnTo>
                <a:lnTo>
                  <a:pt x="1162" y="1661"/>
                </a:lnTo>
                <a:lnTo>
                  <a:pt x="1164" y="1655"/>
                </a:lnTo>
                <a:lnTo>
                  <a:pt x="1166" y="1649"/>
                </a:lnTo>
                <a:lnTo>
                  <a:pt x="1166" y="1649"/>
                </a:lnTo>
                <a:lnTo>
                  <a:pt x="1170" y="1643"/>
                </a:lnTo>
                <a:lnTo>
                  <a:pt x="1174" y="1638"/>
                </a:lnTo>
                <a:lnTo>
                  <a:pt x="1178" y="1633"/>
                </a:lnTo>
                <a:lnTo>
                  <a:pt x="1183" y="1628"/>
                </a:lnTo>
                <a:lnTo>
                  <a:pt x="1195" y="1620"/>
                </a:lnTo>
                <a:lnTo>
                  <a:pt x="1209" y="1614"/>
                </a:lnTo>
                <a:lnTo>
                  <a:pt x="1223" y="1609"/>
                </a:lnTo>
                <a:lnTo>
                  <a:pt x="1237" y="1605"/>
                </a:lnTo>
                <a:lnTo>
                  <a:pt x="1268" y="1597"/>
                </a:lnTo>
                <a:lnTo>
                  <a:pt x="1298" y="1591"/>
                </a:lnTo>
                <a:lnTo>
                  <a:pt x="1310" y="1587"/>
                </a:lnTo>
                <a:lnTo>
                  <a:pt x="1321" y="1581"/>
                </a:lnTo>
                <a:lnTo>
                  <a:pt x="1329" y="1575"/>
                </a:lnTo>
                <a:lnTo>
                  <a:pt x="1333" y="1572"/>
                </a:lnTo>
                <a:lnTo>
                  <a:pt x="1335" y="1568"/>
                </a:lnTo>
                <a:lnTo>
                  <a:pt x="1338" y="1564"/>
                </a:lnTo>
                <a:lnTo>
                  <a:pt x="1340" y="1559"/>
                </a:lnTo>
                <a:lnTo>
                  <a:pt x="1340" y="1554"/>
                </a:lnTo>
                <a:lnTo>
                  <a:pt x="1340" y="1549"/>
                </a:lnTo>
                <a:lnTo>
                  <a:pt x="1340" y="1549"/>
                </a:lnTo>
                <a:lnTo>
                  <a:pt x="1338" y="1534"/>
                </a:lnTo>
                <a:lnTo>
                  <a:pt x="1338" y="1521"/>
                </a:lnTo>
                <a:lnTo>
                  <a:pt x="1341" y="1509"/>
                </a:lnTo>
                <a:lnTo>
                  <a:pt x="1345" y="1499"/>
                </a:lnTo>
                <a:lnTo>
                  <a:pt x="1350" y="1488"/>
                </a:lnTo>
                <a:lnTo>
                  <a:pt x="1355" y="1480"/>
                </a:lnTo>
                <a:lnTo>
                  <a:pt x="1362" y="1472"/>
                </a:lnTo>
                <a:lnTo>
                  <a:pt x="1370" y="1465"/>
                </a:lnTo>
                <a:lnTo>
                  <a:pt x="1378" y="1459"/>
                </a:lnTo>
                <a:lnTo>
                  <a:pt x="1388" y="1453"/>
                </a:lnTo>
                <a:lnTo>
                  <a:pt x="1406" y="1443"/>
                </a:lnTo>
                <a:lnTo>
                  <a:pt x="1424" y="1435"/>
                </a:lnTo>
                <a:lnTo>
                  <a:pt x="1441" y="1428"/>
                </a:lnTo>
                <a:lnTo>
                  <a:pt x="1441" y="1428"/>
                </a:lnTo>
                <a:lnTo>
                  <a:pt x="1443" y="1428"/>
                </a:lnTo>
                <a:lnTo>
                  <a:pt x="1444" y="1429"/>
                </a:lnTo>
                <a:lnTo>
                  <a:pt x="1447" y="1431"/>
                </a:lnTo>
                <a:lnTo>
                  <a:pt x="1449" y="1436"/>
                </a:lnTo>
                <a:lnTo>
                  <a:pt x="1453" y="1443"/>
                </a:lnTo>
                <a:lnTo>
                  <a:pt x="1461" y="1462"/>
                </a:lnTo>
                <a:lnTo>
                  <a:pt x="1467" y="1473"/>
                </a:lnTo>
                <a:lnTo>
                  <a:pt x="1474" y="1485"/>
                </a:lnTo>
                <a:lnTo>
                  <a:pt x="1484" y="1498"/>
                </a:lnTo>
                <a:lnTo>
                  <a:pt x="1494" y="1511"/>
                </a:lnTo>
                <a:lnTo>
                  <a:pt x="1506" y="1525"/>
                </a:lnTo>
                <a:lnTo>
                  <a:pt x="1522" y="1539"/>
                </a:lnTo>
                <a:lnTo>
                  <a:pt x="1539" y="1552"/>
                </a:lnTo>
                <a:lnTo>
                  <a:pt x="1559" y="1564"/>
                </a:lnTo>
                <a:lnTo>
                  <a:pt x="1583" y="1576"/>
                </a:lnTo>
                <a:lnTo>
                  <a:pt x="1609" y="1587"/>
                </a:lnTo>
                <a:lnTo>
                  <a:pt x="1609" y="1587"/>
                </a:lnTo>
                <a:lnTo>
                  <a:pt x="1684" y="1556"/>
                </a:lnTo>
                <a:lnTo>
                  <a:pt x="1730" y="1534"/>
                </a:lnTo>
                <a:lnTo>
                  <a:pt x="1757" y="1521"/>
                </a:lnTo>
                <a:lnTo>
                  <a:pt x="1786" y="1506"/>
                </a:lnTo>
                <a:lnTo>
                  <a:pt x="1786" y="1506"/>
                </a:lnTo>
                <a:lnTo>
                  <a:pt x="1818" y="1489"/>
                </a:lnTo>
                <a:lnTo>
                  <a:pt x="1848" y="1472"/>
                </a:lnTo>
                <a:lnTo>
                  <a:pt x="1860" y="1464"/>
                </a:lnTo>
                <a:lnTo>
                  <a:pt x="1871" y="1457"/>
                </a:lnTo>
                <a:lnTo>
                  <a:pt x="1881" y="1449"/>
                </a:lnTo>
                <a:lnTo>
                  <a:pt x="1889" y="1442"/>
                </a:lnTo>
                <a:lnTo>
                  <a:pt x="1889" y="1442"/>
                </a:lnTo>
                <a:lnTo>
                  <a:pt x="1888" y="1440"/>
                </a:lnTo>
                <a:lnTo>
                  <a:pt x="1887" y="1438"/>
                </a:lnTo>
                <a:lnTo>
                  <a:pt x="1879" y="1431"/>
                </a:lnTo>
                <a:lnTo>
                  <a:pt x="1868" y="1420"/>
                </a:lnTo>
                <a:lnTo>
                  <a:pt x="1855" y="1406"/>
                </a:lnTo>
                <a:lnTo>
                  <a:pt x="1840" y="1388"/>
                </a:lnTo>
                <a:lnTo>
                  <a:pt x="1825" y="1369"/>
                </a:lnTo>
                <a:lnTo>
                  <a:pt x="1818" y="1358"/>
                </a:lnTo>
                <a:lnTo>
                  <a:pt x="1812" y="1345"/>
                </a:lnTo>
                <a:lnTo>
                  <a:pt x="1807" y="1334"/>
                </a:lnTo>
                <a:lnTo>
                  <a:pt x="1802" y="1321"/>
                </a:lnTo>
                <a:lnTo>
                  <a:pt x="1802" y="1321"/>
                </a:lnTo>
                <a:lnTo>
                  <a:pt x="1799" y="1308"/>
                </a:lnTo>
                <a:lnTo>
                  <a:pt x="1796" y="1297"/>
                </a:lnTo>
                <a:lnTo>
                  <a:pt x="1794" y="1288"/>
                </a:lnTo>
                <a:lnTo>
                  <a:pt x="1794" y="1279"/>
                </a:lnTo>
                <a:lnTo>
                  <a:pt x="1794" y="1272"/>
                </a:lnTo>
                <a:lnTo>
                  <a:pt x="1794" y="1267"/>
                </a:lnTo>
                <a:lnTo>
                  <a:pt x="1795" y="1263"/>
                </a:lnTo>
                <a:lnTo>
                  <a:pt x="1796" y="1261"/>
                </a:lnTo>
                <a:lnTo>
                  <a:pt x="1796" y="1261"/>
                </a:lnTo>
                <a:lnTo>
                  <a:pt x="1809" y="1278"/>
                </a:lnTo>
                <a:lnTo>
                  <a:pt x="1824" y="1295"/>
                </a:lnTo>
                <a:lnTo>
                  <a:pt x="1845" y="1316"/>
                </a:lnTo>
                <a:lnTo>
                  <a:pt x="1857" y="1327"/>
                </a:lnTo>
                <a:lnTo>
                  <a:pt x="1869" y="1338"/>
                </a:lnTo>
                <a:lnTo>
                  <a:pt x="1883" y="1349"/>
                </a:lnTo>
                <a:lnTo>
                  <a:pt x="1899" y="1361"/>
                </a:lnTo>
                <a:lnTo>
                  <a:pt x="1915" y="1372"/>
                </a:lnTo>
                <a:lnTo>
                  <a:pt x="1932" y="1381"/>
                </a:lnTo>
                <a:lnTo>
                  <a:pt x="1949" y="1390"/>
                </a:lnTo>
                <a:lnTo>
                  <a:pt x="1967" y="1398"/>
                </a:lnTo>
                <a:lnTo>
                  <a:pt x="1967" y="1398"/>
                </a:lnTo>
                <a:lnTo>
                  <a:pt x="2021" y="1370"/>
                </a:lnTo>
                <a:lnTo>
                  <a:pt x="2075" y="1340"/>
                </a:lnTo>
                <a:lnTo>
                  <a:pt x="2129" y="1307"/>
                </a:lnTo>
                <a:lnTo>
                  <a:pt x="2183" y="1273"/>
                </a:lnTo>
                <a:lnTo>
                  <a:pt x="2183" y="1273"/>
                </a:lnTo>
                <a:lnTo>
                  <a:pt x="2218" y="1249"/>
                </a:lnTo>
                <a:lnTo>
                  <a:pt x="2218" y="1249"/>
                </a:lnTo>
                <a:lnTo>
                  <a:pt x="2219" y="1248"/>
                </a:lnTo>
                <a:lnTo>
                  <a:pt x="2219" y="1248"/>
                </a:lnTo>
                <a:lnTo>
                  <a:pt x="2220" y="1246"/>
                </a:lnTo>
                <a:lnTo>
                  <a:pt x="2219" y="1244"/>
                </a:lnTo>
                <a:lnTo>
                  <a:pt x="2215" y="1237"/>
                </a:lnTo>
                <a:lnTo>
                  <a:pt x="2207" y="1228"/>
                </a:lnTo>
                <a:lnTo>
                  <a:pt x="2196" y="1217"/>
                </a:lnTo>
                <a:lnTo>
                  <a:pt x="2171" y="1193"/>
                </a:lnTo>
                <a:lnTo>
                  <a:pt x="2142" y="1164"/>
                </a:lnTo>
                <a:lnTo>
                  <a:pt x="2129" y="1150"/>
                </a:lnTo>
                <a:lnTo>
                  <a:pt x="2118" y="1136"/>
                </a:lnTo>
                <a:lnTo>
                  <a:pt x="2108" y="1121"/>
                </a:lnTo>
                <a:lnTo>
                  <a:pt x="2104" y="1114"/>
                </a:lnTo>
                <a:lnTo>
                  <a:pt x="2101" y="1108"/>
                </a:lnTo>
                <a:lnTo>
                  <a:pt x="2100" y="1101"/>
                </a:lnTo>
                <a:lnTo>
                  <a:pt x="2099" y="1095"/>
                </a:lnTo>
                <a:lnTo>
                  <a:pt x="2099" y="1089"/>
                </a:lnTo>
                <a:lnTo>
                  <a:pt x="2100" y="1084"/>
                </a:lnTo>
                <a:lnTo>
                  <a:pt x="2102" y="1078"/>
                </a:lnTo>
                <a:lnTo>
                  <a:pt x="2106" y="1073"/>
                </a:lnTo>
                <a:lnTo>
                  <a:pt x="2112" y="1069"/>
                </a:lnTo>
                <a:lnTo>
                  <a:pt x="2119" y="1065"/>
                </a:lnTo>
                <a:lnTo>
                  <a:pt x="2119" y="1065"/>
                </a:lnTo>
                <a:lnTo>
                  <a:pt x="2125" y="1061"/>
                </a:lnTo>
                <a:lnTo>
                  <a:pt x="2130" y="1056"/>
                </a:lnTo>
                <a:lnTo>
                  <a:pt x="2133" y="1051"/>
                </a:lnTo>
                <a:lnTo>
                  <a:pt x="2135" y="1045"/>
                </a:lnTo>
                <a:lnTo>
                  <a:pt x="2136" y="1039"/>
                </a:lnTo>
                <a:lnTo>
                  <a:pt x="2136" y="1030"/>
                </a:lnTo>
                <a:lnTo>
                  <a:pt x="2136" y="1023"/>
                </a:lnTo>
                <a:lnTo>
                  <a:pt x="2134" y="1014"/>
                </a:lnTo>
                <a:lnTo>
                  <a:pt x="2129" y="997"/>
                </a:lnTo>
                <a:lnTo>
                  <a:pt x="2121" y="977"/>
                </a:lnTo>
                <a:lnTo>
                  <a:pt x="2102" y="935"/>
                </a:lnTo>
                <a:lnTo>
                  <a:pt x="2093" y="914"/>
                </a:lnTo>
                <a:lnTo>
                  <a:pt x="2085" y="893"/>
                </a:lnTo>
                <a:lnTo>
                  <a:pt x="2078" y="873"/>
                </a:lnTo>
                <a:lnTo>
                  <a:pt x="2076" y="863"/>
                </a:lnTo>
                <a:lnTo>
                  <a:pt x="2074" y="853"/>
                </a:lnTo>
                <a:lnTo>
                  <a:pt x="2074" y="844"/>
                </a:lnTo>
                <a:lnTo>
                  <a:pt x="2074" y="836"/>
                </a:lnTo>
                <a:lnTo>
                  <a:pt x="2075" y="828"/>
                </a:lnTo>
                <a:lnTo>
                  <a:pt x="2077" y="821"/>
                </a:lnTo>
                <a:lnTo>
                  <a:pt x="2080" y="814"/>
                </a:lnTo>
                <a:lnTo>
                  <a:pt x="2085" y="807"/>
                </a:lnTo>
                <a:lnTo>
                  <a:pt x="2091" y="801"/>
                </a:lnTo>
                <a:lnTo>
                  <a:pt x="2099" y="797"/>
                </a:lnTo>
                <a:lnTo>
                  <a:pt x="2099" y="797"/>
                </a:lnTo>
                <a:lnTo>
                  <a:pt x="2200" y="744"/>
                </a:lnTo>
                <a:lnTo>
                  <a:pt x="2306" y="693"/>
                </a:lnTo>
                <a:lnTo>
                  <a:pt x="2410" y="642"/>
                </a:lnTo>
                <a:lnTo>
                  <a:pt x="2513" y="592"/>
                </a:lnTo>
                <a:lnTo>
                  <a:pt x="2705" y="501"/>
                </a:lnTo>
                <a:lnTo>
                  <a:pt x="2788" y="461"/>
                </a:lnTo>
                <a:lnTo>
                  <a:pt x="2863" y="424"/>
                </a:lnTo>
                <a:lnTo>
                  <a:pt x="2863" y="424"/>
                </a:lnTo>
                <a:lnTo>
                  <a:pt x="2859" y="408"/>
                </a:lnTo>
                <a:lnTo>
                  <a:pt x="2853" y="389"/>
                </a:lnTo>
                <a:lnTo>
                  <a:pt x="2843" y="366"/>
                </a:lnTo>
                <a:lnTo>
                  <a:pt x="2836" y="354"/>
                </a:lnTo>
                <a:lnTo>
                  <a:pt x="2829" y="339"/>
                </a:lnTo>
                <a:lnTo>
                  <a:pt x="2821" y="325"/>
                </a:lnTo>
                <a:lnTo>
                  <a:pt x="2812" y="311"/>
                </a:lnTo>
                <a:lnTo>
                  <a:pt x="2801" y="296"/>
                </a:lnTo>
                <a:lnTo>
                  <a:pt x="2788" y="281"/>
                </a:lnTo>
                <a:lnTo>
                  <a:pt x="2774" y="267"/>
                </a:lnTo>
                <a:lnTo>
                  <a:pt x="2759" y="25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5" name="Freeform 32"/>
          <p:cNvSpPr>
            <a:spLocks/>
          </p:cNvSpPr>
          <p:nvPr userDrawn="1"/>
        </p:nvSpPr>
        <p:spPr bwMode="auto">
          <a:xfrm>
            <a:off x="7194551" y="1861841"/>
            <a:ext cx="161925" cy="153988"/>
          </a:xfrm>
          <a:custGeom>
            <a:avLst/>
            <a:gdLst>
              <a:gd name="T0" fmla="*/ 2 w 1226"/>
              <a:gd name="T1" fmla="*/ 386 h 1168"/>
              <a:gd name="T2" fmla="*/ 22 w 1226"/>
              <a:gd name="T3" fmla="*/ 434 h 1168"/>
              <a:gd name="T4" fmla="*/ 61 w 1226"/>
              <a:gd name="T5" fmla="*/ 466 h 1168"/>
              <a:gd name="T6" fmla="*/ 120 w 1226"/>
              <a:gd name="T7" fmla="*/ 479 h 1168"/>
              <a:gd name="T8" fmla="*/ 142 w 1226"/>
              <a:gd name="T9" fmla="*/ 469 h 1168"/>
              <a:gd name="T10" fmla="*/ 160 w 1226"/>
              <a:gd name="T11" fmla="*/ 436 h 1168"/>
              <a:gd name="T12" fmla="*/ 164 w 1226"/>
              <a:gd name="T13" fmla="*/ 370 h 1168"/>
              <a:gd name="T14" fmla="*/ 174 w 1226"/>
              <a:gd name="T15" fmla="*/ 344 h 1168"/>
              <a:gd name="T16" fmla="*/ 198 w 1226"/>
              <a:gd name="T17" fmla="*/ 331 h 1168"/>
              <a:gd name="T18" fmla="*/ 223 w 1226"/>
              <a:gd name="T19" fmla="*/ 318 h 1168"/>
              <a:gd name="T20" fmla="*/ 427 w 1226"/>
              <a:gd name="T21" fmla="*/ 416 h 1168"/>
              <a:gd name="T22" fmla="*/ 628 w 1226"/>
              <a:gd name="T23" fmla="*/ 534 h 1168"/>
              <a:gd name="T24" fmla="*/ 876 w 1226"/>
              <a:gd name="T25" fmla="*/ 703 h 1168"/>
              <a:gd name="T26" fmla="*/ 868 w 1226"/>
              <a:gd name="T27" fmla="*/ 783 h 1168"/>
              <a:gd name="T28" fmla="*/ 779 w 1226"/>
              <a:gd name="T29" fmla="*/ 957 h 1168"/>
              <a:gd name="T30" fmla="*/ 753 w 1226"/>
              <a:gd name="T31" fmla="*/ 1040 h 1168"/>
              <a:gd name="T32" fmla="*/ 754 w 1226"/>
              <a:gd name="T33" fmla="*/ 1090 h 1168"/>
              <a:gd name="T34" fmla="*/ 771 w 1226"/>
              <a:gd name="T35" fmla="*/ 1130 h 1168"/>
              <a:gd name="T36" fmla="*/ 801 w 1226"/>
              <a:gd name="T37" fmla="*/ 1157 h 1168"/>
              <a:gd name="T38" fmla="*/ 842 w 1226"/>
              <a:gd name="T39" fmla="*/ 1168 h 1168"/>
              <a:gd name="T40" fmla="*/ 880 w 1226"/>
              <a:gd name="T41" fmla="*/ 1163 h 1168"/>
              <a:gd name="T42" fmla="*/ 919 w 1226"/>
              <a:gd name="T43" fmla="*/ 1140 h 1168"/>
              <a:gd name="T44" fmla="*/ 944 w 1226"/>
              <a:gd name="T45" fmla="*/ 1107 h 1168"/>
              <a:gd name="T46" fmla="*/ 952 w 1226"/>
              <a:gd name="T47" fmla="*/ 1060 h 1168"/>
              <a:gd name="T48" fmla="*/ 930 w 1226"/>
              <a:gd name="T49" fmla="*/ 1010 h 1168"/>
              <a:gd name="T50" fmla="*/ 885 w 1226"/>
              <a:gd name="T51" fmla="*/ 989 h 1168"/>
              <a:gd name="T52" fmla="*/ 919 w 1226"/>
              <a:gd name="T53" fmla="*/ 879 h 1168"/>
              <a:gd name="T54" fmla="*/ 954 w 1226"/>
              <a:gd name="T55" fmla="*/ 807 h 1168"/>
              <a:gd name="T56" fmla="*/ 1024 w 1226"/>
              <a:gd name="T57" fmla="*/ 715 h 1168"/>
              <a:gd name="T58" fmla="*/ 1095 w 1226"/>
              <a:gd name="T59" fmla="*/ 673 h 1168"/>
              <a:gd name="T60" fmla="*/ 1125 w 1226"/>
              <a:gd name="T61" fmla="*/ 670 h 1168"/>
              <a:gd name="T62" fmla="*/ 1099 w 1226"/>
              <a:gd name="T63" fmla="*/ 633 h 1168"/>
              <a:gd name="T64" fmla="*/ 1083 w 1226"/>
              <a:gd name="T65" fmla="*/ 543 h 1168"/>
              <a:gd name="T66" fmla="*/ 1096 w 1226"/>
              <a:gd name="T67" fmla="*/ 477 h 1168"/>
              <a:gd name="T68" fmla="*/ 1132 w 1226"/>
              <a:gd name="T69" fmla="*/ 395 h 1168"/>
              <a:gd name="T70" fmla="*/ 1195 w 1226"/>
              <a:gd name="T71" fmla="*/ 258 h 1168"/>
              <a:gd name="T72" fmla="*/ 1225 w 1226"/>
              <a:gd name="T73" fmla="*/ 141 h 1168"/>
              <a:gd name="T74" fmla="*/ 1217 w 1226"/>
              <a:gd name="T75" fmla="*/ 95 h 1168"/>
              <a:gd name="T76" fmla="*/ 1187 w 1226"/>
              <a:gd name="T77" fmla="*/ 55 h 1168"/>
              <a:gd name="T78" fmla="*/ 1144 w 1226"/>
              <a:gd name="T79" fmla="*/ 34 h 1168"/>
              <a:gd name="T80" fmla="*/ 1104 w 1226"/>
              <a:gd name="T81" fmla="*/ 35 h 1168"/>
              <a:gd name="T82" fmla="*/ 1061 w 1226"/>
              <a:gd name="T83" fmla="*/ 57 h 1168"/>
              <a:gd name="T84" fmla="*/ 1033 w 1226"/>
              <a:gd name="T85" fmla="*/ 94 h 1168"/>
              <a:gd name="T86" fmla="*/ 1025 w 1226"/>
              <a:gd name="T87" fmla="*/ 139 h 1168"/>
              <a:gd name="T88" fmla="*/ 1048 w 1226"/>
              <a:gd name="T89" fmla="*/ 205 h 1168"/>
              <a:gd name="T90" fmla="*/ 1095 w 1226"/>
              <a:gd name="T91" fmla="*/ 230 h 1168"/>
              <a:gd name="T92" fmla="*/ 1107 w 1226"/>
              <a:gd name="T93" fmla="*/ 240 h 1168"/>
              <a:gd name="T94" fmla="*/ 1044 w 1226"/>
              <a:gd name="T95" fmla="*/ 390 h 1168"/>
              <a:gd name="T96" fmla="*/ 975 w 1226"/>
              <a:gd name="T97" fmla="*/ 431 h 1168"/>
              <a:gd name="T98" fmla="*/ 717 w 1226"/>
              <a:gd name="T99" fmla="*/ 289 h 1168"/>
              <a:gd name="T100" fmla="*/ 529 w 1226"/>
              <a:gd name="T101" fmla="*/ 205 h 1168"/>
              <a:gd name="T102" fmla="*/ 317 w 1226"/>
              <a:gd name="T103" fmla="*/ 140 h 1168"/>
              <a:gd name="T104" fmla="*/ 378 w 1226"/>
              <a:gd name="T105" fmla="*/ 31 h 1168"/>
              <a:gd name="T106" fmla="*/ 389 w 1226"/>
              <a:gd name="T107" fmla="*/ 0 h 1168"/>
              <a:gd name="T108" fmla="*/ 367 w 1226"/>
              <a:gd name="T109" fmla="*/ 10 h 1168"/>
              <a:gd name="T110" fmla="*/ 285 w 1226"/>
              <a:gd name="T111" fmla="*/ 57 h 1168"/>
              <a:gd name="T112" fmla="*/ 211 w 1226"/>
              <a:gd name="T113" fmla="*/ 85 h 1168"/>
              <a:gd name="T114" fmla="*/ 147 w 1226"/>
              <a:gd name="T115" fmla="*/ 85 h 1168"/>
              <a:gd name="T116" fmla="*/ 114 w 1226"/>
              <a:gd name="T117" fmla="*/ 85 h 1168"/>
              <a:gd name="T118" fmla="*/ 87 w 1226"/>
              <a:gd name="T119" fmla="*/ 134 h 1168"/>
              <a:gd name="T120" fmla="*/ 42 w 1226"/>
              <a:gd name="T121" fmla="*/ 261 h 1168"/>
              <a:gd name="T122" fmla="*/ 6 w 1226"/>
              <a:gd name="T123" fmla="*/ 327 h 1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6" h="1168">
                <a:moveTo>
                  <a:pt x="1" y="345"/>
                </a:moveTo>
                <a:lnTo>
                  <a:pt x="1" y="345"/>
                </a:lnTo>
                <a:lnTo>
                  <a:pt x="0" y="359"/>
                </a:lnTo>
                <a:lnTo>
                  <a:pt x="0" y="370"/>
                </a:lnTo>
                <a:lnTo>
                  <a:pt x="2" y="386"/>
                </a:lnTo>
                <a:lnTo>
                  <a:pt x="5" y="401"/>
                </a:lnTo>
                <a:lnTo>
                  <a:pt x="8" y="409"/>
                </a:lnTo>
                <a:lnTo>
                  <a:pt x="11" y="417"/>
                </a:lnTo>
                <a:lnTo>
                  <a:pt x="16" y="425"/>
                </a:lnTo>
                <a:lnTo>
                  <a:pt x="22" y="434"/>
                </a:lnTo>
                <a:lnTo>
                  <a:pt x="28" y="442"/>
                </a:lnTo>
                <a:lnTo>
                  <a:pt x="36" y="449"/>
                </a:lnTo>
                <a:lnTo>
                  <a:pt x="36" y="449"/>
                </a:lnTo>
                <a:lnTo>
                  <a:pt x="48" y="458"/>
                </a:lnTo>
                <a:lnTo>
                  <a:pt x="61" y="466"/>
                </a:lnTo>
                <a:lnTo>
                  <a:pt x="76" y="473"/>
                </a:lnTo>
                <a:lnTo>
                  <a:pt x="91" y="478"/>
                </a:lnTo>
                <a:lnTo>
                  <a:pt x="105" y="480"/>
                </a:lnTo>
                <a:lnTo>
                  <a:pt x="113" y="480"/>
                </a:lnTo>
                <a:lnTo>
                  <a:pt x="120" y="479"/>
                </a:lnTo>
                <a:lnTo>
                  <a:pt x="126" y="478"/>
                </a:lnTo>
                <a:lnTo>
                  <a:pt x="132" y="476"/>
                </a:lnTo>
                <a:lnTo>
                  <a:pt x="137" y="473"/>
                </a:lnTo>
                <a:lnTo>
                  <a:pt x="142" y="469"/>
                </a:lnTo>
                <a:lnTo>
                  <a:pt x="142" y="469"/>
                </a:lnTo>
                <a:lnTo>
                  <a:pt x="147" y="464"/>
                </a:lnTo>
                <a:lnTo>
                  <a:pt x="152" y="457"/>
                </a:lnTo>
                <a:lnTo>
                  <a:pt x="155" y="451"/>
                </a:lnTo>
                <a:lnTo>
                  <a:pt x="158" y="444"/>
                </a:lnTo>
                <a:lnTo>
                  <a:pt x="160" y="436"/>
                </a:lnTo>
                <a:lnTo>
                  <a:pt x="161" y="428"/>
                </a:lnTo>
                <a:lnTo>
                  <a:pt x="162" y="411"/>
                </a:lnTo>
                <a:lnTo>
                  <a:pt x="162" y="395"/>
                </a:lnTo>
                <a:lnTo>
                  <a:pt x="163" y="378"/>
                </a:lnTo>
                <a:lnTo>
                  <a:pt x="164" y="370"/>
                </a:lnTo>
                <a:lnTo>
                  <a:pt x="166" y="362"/>
                </a:lnTo>
                <a:lnTo>
                  <a:pt x="168" y="355"/>
                </a:lnTo>
                <a:lnTo>
                  <a:pt x="172" y="347"/>
                </a:lnTo>
                <a:lnTo>
                  <a:pt x="172" y="347"/>
                </a:lnTo>
                <a:lnTo>
                  <a:pt x="174" y="344"/>
                </a:lnTo>
                <a:lnTo>
                  <a:pt x="178" y="341"/>
                </a:lnTo>
                <a:lnTo>
                  <a:pt x="187" y="335"/>
                </a:lnTo>
                <a:lnTo>
                  <a:pt x="195" y="332"/>
                </a:lnTo>
                <a:lnTo>
                  <a:pt x="198" y="331"/>
                </a:lnTo>
                <a:lnTo>
                  <a:pt x="198" y="331"/>
                </a:lnTo>
                <a:lnTo>
                  <a:pt x="205" y="329"/>
                </a:lnTo>
                <a:lnTo>
                  <a:pt x="211" y="326"/>
                </a:lnTo>
                <a:lnTo>
                  <a:pt x="217" y="323"/>
                </a:lnTo>
                <a:lnTo>
                  <a:pt x="223" y="318"/>
                </a:lnTo>
                <a:lnTo>
                  <a:pt x="223" y="318"/>
                </a:lnTo>
                <a:lnTo>
                  <a:pt x="264" y="337"/>
                </a:lnTo>
                <a:lnTo>
                  <a:pt x="305" y="355"/>
                </a:lnTo>
                <a:lnTo>
                  <a:pt x="347" y="374"/>
                </a:lnTo>
                <a:lnTo>
                  <a:pt x="388" y="395"/>
                </a:lnTo>
                <a:lnTo>
                  <a:pt x="427" y="416"/>
                </a:lnTo>
                <a:lnTo>
                  <a:pt x="468" y="439"/>
                </a:lnTo>
                <a:lnTo>
                  <a:pt x="509" y="461"/>
                </a:lnTo>
                <a:lnTo>
                  <a:pt x="549" y="485"/>
                </a:lnTo>
                <a:lnTo>
                  <a:pt x="589" y="509"/>
                </a:lnTo>
                <a:lnTo>
                  <a:pt x="628" y="534"/>
                </a:lnTo>
                <a:lnTo>
                  <a:pt x="706" y="584"/>
                </a:lnTo>
                <a:lnTo>
                  <a:pt x="782" y="636"/>
                </a:lnTo>
                <a:lnTo>
                  <a:pt x="857" y="689"/>
                </a:lnTo>
                <a:lnTo>
                  <a:pt x="857" y="689"/>
                </a:lnTo>
                <a:lnTo>
                  <a:pt x="876" y="703"/>
                </a:lnTo>
                <a:lnTo>
                  <a:pt x="894" y="714"/>
                </a:lnTo>
                <a:lnTo>
                  <a:pt x="894" y="714"/>
                </a:lnTo>
                <a:lnTo>
                  <a:pt x="887" y="736"/>
                </a:lnTo>
                <a:lnTo>
                  <a:pt x="878" y="759"/>
                </a:lnTo>
                <a:lnTo>
                  <a:pt x="868" y="783"/>
                </a:lnTo>
                <a:lnTo>
                  <a:pt x="856" y="809"/>
                </a:lnTo>
                <a:lnTo>
                  <a:pt x="856" y="809"/>
                </a:lnTo>
                <a:lnTo>
                  <a:pt x="816" y="885"/>
                </a:lnTo>
                <a:lnTo>
                  <a:pt x="797" y="921"/>
                </a:lnTo>
                <a:lnTo>
                  <a:pt x="779" y="957"/>
                </a:lnTo>
                <a:lnTo>
                  <a:pt x="772" y="975"/>
                </a:lnTo>
                <a:lnTo>
                  <a:pt x="766" y="992"/>
                </a:lnTo>
                <a:lnTo>
                  <a:pt x="760" y="1008"/>
                </a:lnTo>
                <a:lnTo>
                  <a:pt x="756" y="1025"/>
                </a:lnTo>
                <a:lnTo>
                  <a:pt x="753" y="1040"/>
                </a:lnTo>
                <a:lnTo>
                  <a:pt x="751" y="1054"/>
                </a:lnTo>
                <a:lnTo>
                  <a:pt x="751" y="1069"/>
                </a:lnTo>
                <a:lnTo>
                  <a:pt x="752" y="1081"/>
                </a:lnTo>
                <a:lnTo>
                  <a:pt x="752" y="1081"/>
                </a:lnTo>
                <a:lnTo>
                  <a:pt x="754" y="1090"/>
                </a:lnTo>
                <a:lnTo>
                  <a:pt x="756" y="1099"/>
                </a:lnTo>
                <a:lnTo>
                  <a:pt x="759" y="1107"/>
                </a:lnTo>
                <a:lnTo>
                  <a:pt x="762" y="1116"/>
                </a:lnTo>
                <a:lnTo>
                  <a:pt x="766" y="1123"/>
                </a:lnTo>
                <a:lnTo>
                  <a:pt x="771" y="1130"/>
                </a:lnTo>
                <a:lnTo>
                  <a:pt x="776" y="1136"/>
                </a:lnTo>
                <a:lnTo>
                  <a:pt x="781" y="1142"/>
                </a:lnTo>
                <a:lnTo>
                  <a:pt x="787" y="1147"/>
                </a:lnTo>
                <a:lnTo>
                  <a:pt x="794" y="1152"/>
                </a:lnTo>
                <a:lnTo>
                  <a:pt x="801" y="1157"/>
                </a:lnTo>
                <a:lnTo>
                  <a:pt x="808" y="1160"/>
                </a:lnTo>
                <a:lnTo>
                  <a:pt x="816" y="1163"/>
                </a:lnTo>
                <a:lnTo>
                  <a:pt x="824" y="1165"/>
                </a:lnTo>
                <a:lnTo>
                  <a:pt x="833" y="1167"/>
                </a:lnTo>
                <a:lnTo>
                  <a:pt x="842" y="1168"/>
                </a:lnTo>
                <a:lnTo>
                  <a:pt x="842" y="1168"/>
                </a:lnTo>
                <a:lnTo>
                  <a:pt x="852" y="1168"/>
                </a:lnTo>
                <a:lnTo>
                  <a:pt x="862" y="1167"/>
                </a:lnTo>
                <a:lnTo>
                  <a:pt x="871" y="1165"/>
                </a:lnTo>
                <a:lnTo>
                  <a:pt x="880" y="1163"/>
                </a:lnTo>
                <a:lnTo>
                  <a:pt x="889" y="1160"/>
                </a:lnTo>
                <a:lnTo>
                  <a:pt x="897" y="1155"/>
                </a:lnTo>
                <a:lnTo>
                  <a:pt x="905" y="1151"/>
                </a:lnTo>
                <a:lnTo>
                  <a:pt x="912" y="1146"/>
                </a:lnTo>
                <a:lnTo>
                  <a:pt x="919" y="1140"/>
                </a:lnTo>
                <a:lnTo>
                  <a:pt x="925" y="1135"/>
                </a:lnTo>
                <a:lnTo>
                  <a:pt x="931" y="1129"/>
                </a:lnTo>
                <a:lnTo>
                  <a:pt x="936" y="1122"/>
                </a:lnTo>
                <a:lnTo>
                  <a:pt x="940" y="1115"/>
                </a:lnTo>
                <a:lnTo>
                  <a:pt x="944" y="1107"/>
                </a:lnTo>
                <a:lnTo>
                  <a:pt x="947" y="1100"/>
                </a:lnTo>
                <a:lnTo>
                  <a:pt x="949" y="1092"/>
                </a:lnTo>
                <a:lnTo>
                  <a:pt x="949" y="1092"/>
                </a:lnTo>
                <a:lnTo>
                  <a:pt x="951" y="1076"/>
                </a:lnTo>
                <a:lnTo>
                  <a:pt x="952" y="1060"/>
                </a:lnTo>
                <a:lnTo>
                  <a:pt x="950" y="1048"/>
                </a:lnTo>
                <a:lnTo>
                  <a:pt x="947" y="1036"/>
                </a:lnTo>
                <a:lnTo>
                  <a:pt x="942" y="1027"/>
                </a:lnTo>
                <a:lnTo>
                  <a:pt x="937" y="1017"/>
                </a:lnTo>
                <a:lnTo>
                  <a:pt x="930" y="1010"/>
                </a:lnTo>
                <a:lnTo>
                  <a:pt x="922" y="1005"/>
                </a:lnTo>
                <a:lnTo>
                  <a:pt x="915" y="1000"/>
                </a:lnTo>
                <a:lnTo>
                  <a:pt x="908" y="996"/>
                </a:lnTo>
                <a:lnTo>
                  <a:pt x="894" y="991"/>
                </a:lnTo>
                <a:lnTo>
                  <a:pt x="885" y="989"/>
                </a:lnTo>
                <a:lnTo>
                  <a:pt x="880" y="989"/>
                </a:lnTo>
                <a:lnTo>
                  <a:pt x="880" y="989"/>
                </a:lnTo>
                <a:lnTo>
                  <a:pt x="896" y="944"/>
                </a:lnTo>
                <a:lnTo>
                  <a:pt x="908" y="908"/>
                </a:lnTo>
                <a:lnTo>
                  <a:pt x="919" y="879"/>
                </a:lnTo>
                <a:lnTo>
                  <a:pt x="919" y="879"/>
                </a:lnTo>
                <a:lnTo>
                  <a:pt x="927" y="859"/>
                </a:lnTo>
                <a:lnTo>
                  <a:pt x="937" y="841"/>
                </a:lnTo>
                <a:lnTo>
                  <a:pt x="945" y="823"/>
                </a:lnTo>
                <a:lnTo>
                  <a:pt x="954" y="807"/>
                </a:lnTo>
                <a:lnTo>
                  <a:pt x="962" y="792"/>
                </a:lnTo>
                <a:lnTo>
                  <a:pt x="971" y="777"/>
                </a:lnTo>
                <a:lnTo>
                  <a:pt x="989" y="753"/>
                </a:lnTo>
                <a:lnTo>
                  <a:pt x="1006" y="732"/>
                </a:lnTo>
                <a:lnTo>
                  <a:pt x="1024" y="715"/>
                </a:lnTo>
                <a:lnTo>
                  <a:pt x="1040" y="702"/>
                </a:lnTo>
                <a:lnTo>
                  <a:pt x="1055" y="690"/>
                </a:lnTo>
                <a:lnTo>
                  <a:pt x="1070" y="683"/>
                </a:lnTo>
                <a:lnTo>
                  <a:pt x="1083" y="677"/>
                </a:lnTo>
                <a:lnTo>
                  <a:pt x="1095" y="673"/>
                </a:lnTo>
                <a:lnTo>
                  <a:pt x="1105" y="671"/>
                </a:lnTo>
                <a:lnTo>
                  <a:pt x="1114" y="670"/>
                </a:lnTo>
                <a:lnTo>
                  <a:pt x="1120" y="670"/>
                </a:lnTo>
                <a:lnTo>
                  <a:pt x="1125" y="670"/>
                </a:lnTo>
                <a:lnTo>
                  <a:pt x="1125" y="670"/>
                </a:lnTo>
                <a:lnTo>
                  <a:pt x="1121" y="666"/>
                </a:lnTo>
                <a:lnTo>
                  <a:pt x="1116" y="661"/>
                </a:lnTo>
                <a:lnTo>
                  <a:pt x="1111" y="653"/>
                </a:lnTo>
                <a:lnTo>
                  <a:pt x="1104" y="644"/>
                </a:lnTo>
                <a:lnTo>
                  <a:pt x="1099" y="633"/>
                </a:lnTo>
                <a:lnTo>
                  <a:pt x="1093" y="620"/>
                </a:lnTo>
                <a:lnTo>
                  <a:pt x="1088" y="603"/>
                </a:lnTo>
                <a:lnTo>
                  <a:pt x="1085" y="586"/>
                </a:lnTo>
                <a:lnTo>
                  <a:pt x="1083" y="566"/>
                </a:lnTo>
                <a:lnTo>
                  <a:pt x="1083" y="543"/>
                </a:lnTo>
                <a:lnTo>
                  <a:pt x="1084" y="531"/>
                </a:lnTo>
                <a:lnTo>
                  <a:pt x="1086" y="519"/>
                </a:lnTo>
                <a:lnTo>
                  <a:pt x="1088" y="505"/>
                </a:lnTo>
                <a:lnTo>
                  <a:pt x="1092" y="491"/>
                </a:lnTo>
                <a:lnTo>
                  <a:pt x="1096" y="477"/>
                </a:lnTo>
                <a:lnTo>
                  <a:pt x="1101" y="461"/>
                </a:lnTo>
                <a:lnTo>
                  <a:pt x="1107" y="446"/>
                </a:lnTo>
                <a:lnTo>
                  <a:pt x="1115" y="430"/>
                </a:lnTo>
                <a:lnTo>
                  <a:pt x="1123" y="412"/>
                </a:lnTo>
                <a:lnTo>
                  <a:pt x="1132" y="395"/>
                </a:lnTo>
                <a:lnTo>
                  <a:pt x="1132" y="395"/>
                </a:lnTo>
                <a:lnTo>
                  <a:pt x="1152" y="358"/>
                </a:lnTo>
                <a:lnTo>
                  <a:pt x="1169" y="322"/>
                </a:lnTo>
                <a:lnTo>
                  <a:pt x="1184" y="289"/>
                </a:lnTo>
                <a:lnTo>
                  <a:pt x="1195" y="258"/>
                </a:lnTo>
                <a:lnTo>
                  <a:pt x="1206" y="227"/>
                </a:lnTo>
                <a:lnTo>
                  <a:pt x="1214" y="197"/>
                </a:lnTo>
                <a:lnTo>
                  <a:pt x="1220" y="169"/>
                </a:lnTo>
                <a:lnTo>
                  <a:pt x="1225" y="141"/>
                </a:lnTo>
                <a:lnTo>
                  <a:pt x="1225" y="141"/>
                </a:lnTo>
                <a:lnTo>
                  <a:pt x="1226" y="132"/>
                </a:lnTo>
                <a:lnTo>
                  <a:pt x="1225" y="123"/>
                </a:lnTo>
                <a:lnTo>
                  <a:pt x="1224" y="114"/>
                </a:lnTo>
                <a:lnTo>
                  <a:pt x="1221" y="104"/>
                </a:lnTo>
                <a:lnTo>
                  <a:pt x="1217" y="95"/>
                </a:lnTo>
                <a:lnTo>
                  <a:pt x="1213" y="87"/>
                </a:lnTo>
                <a:lnTo>
                  <a:pt x="1208" y="78"/>
                </a:lnTo>
                <a:lnTo>
                  <a:pt x="1202" y="70"/>
                </a:lnTo>
                <a:lnTo>
                  <a:pt x="1194" y="63"/>
                </a:lnTo>
                <a:lnTo>
                  <a:pt x="1187" y="55"/>
                </a:lnTo>
                <a:lnTo>
                  <a:pt x="1179" y="49"/>
                </a:lnTo>
                <a:lnTo>
                  <a:pt x="1171" y="44"/>
                </a:lnTo>
                <a:lnTo>
                  <a:pt x="1163" y="39"/>
                </a:lnTo>
                <a:lnTo>
                  <a:pt x="1153" y="36"/>
                </a:lnTo>
                <a:lnTo>
                  <a:pt x="1144" y="34"/>
                </a:lnTo>
                <a:lnTo>
                  <a:pt x="1134" y="32"/>
                </a:lnTo>
                <a:lnTo>
                  <a:pt x="1134" y="32"/>
                </a:lnTo>
                <a:lnTo>
                  <a:pt x="1124" y="32"/>
                </a:lnTo>
                <a:lnTo>
                  <a:pt x="1115" y="33"/>
                </a:lnTo>
                <a:lnTo>
                  <a:pt x="1104" y="35"/>
                </a:lnTo>
                <a:lnTo>
                  <a:pt x="1095" y="38"/>
                </a:lnTo>
                <a:lnTo>
                  <a:pt x="1086" y="42"/>
                </a:lnTo>
                <a:lnTo>
                  <a:pt x="1078" y="46"/>
                </a:lnTo>
                <a:lnTo>
                  <a:pt x="1070" y="52"/>
                </a:lnTo>
                <a:lnTo>
                  <a:pt x="1061" y="57"/>
                </a:lnTo>
                <a:lnTo>
                  <a:pt x="1054" y="65"/>
                </a:lnTo>
                <a:lnTo>
                  <a:pt x="1048" y="71"/>
                </a:lnTo>
                <a:lnTo>
                  <a:pt x="1042" y="78"/>
                </a:lnTo>
                <a:lnTo>
                  <a:pt x="1037" y="86"/>
                </a:lnTo>
                <a:lnTo>
                  <a:pt x="1033" y="94"/>
                </a:lnTo>
                <a:lnTo>
                  <a:pt x="1029" y="102"/>
                </a:lnTo>
                <a:lnTo>
                  <a:pt x="1027" y="111"/>
                </a:lnTo>
                <a:lnTo>
                  <a:pt x="1026" y="119"/>
                </a:lnTo>
                <a:lnTo>
                  <a:pt x="1026" y="119"/>
                </a:lnTo>
                <a:lnTo>
                  <a:pt x="1025" y="139"/>
                </a:lnTo>
                <a:lnTo>
                  <a:pt x="1026" y="158"/>
                </a:lnTo>
                <a:lnTo>
                  <a:pt x="1030" y="173"/>
                </a:lnTo>
                <a:lnTo>
                  <a:pt x="1035" y="185"/>
                </a:lnTo>
                <a:lnTo>
                  <a:pt x="1041" y="195"/>
                </a:lnTo>
                <a:lnTo>
                  <a:pt x="1048" y="205"/>
                </a:lnTo>
                <a:lnTo>
                  <a:pt x="1056" y="212"/>
                </a:lnTo>
                <a:lnTo>
                  <a:pt x="1065" y="217"/>
                </a:lnTo>
                <a:lnTo>
                  <a:pt x="1073" y="221"/>
                </a:lnTo>
                <a:lnTo>
                  <a:pt x="1081" y="225"/>
                </a:lnTo>
                <a:lnTo>
                  <a:pt x="1095" y="230"/>
                </a:lnTo>
                <a:lnTo>
                  <a:pt x="1101" y="232"/>
                </a:lnTo>
                <a:lnTo>
                  <a:pt x="1104" y="234"/>
                </a:lnTo>
                <a:lnTo>
                  <a:pt x="1107" y="237"/>
                </a:lnTo>
                <a:lnTo>
                  <a:pt x="1107" y="240"/>
                </a:lnTo>
                <a:lnTo>
                  <a:pt x="1107" y="240"/>
                </a:lnTo>
                <a:lnTo>
                  <a:pt x="1096" y="276"/>
                </a:lnTo>
                <a:lnTo>
                  <a:pt x="1084" y="309"/>
                </a:lnTo>
                <a:lnTo>
                  <a:pt x="1071" y="339"/>
                </a:lnTo>
                <a:lnTo>
                  <a:pt x="1057" y="365"/>
                </a:lnTo>
                <a:lnTo>
                  <a:pt x="1044" y="390"/>
                </a:lnTo>
                <a:lnTo>
                  <a:pt x="1031" y="411"/>
                </a:lnTo>
                <a:lnTo>
                  <a:pt x="1016" y="431"/>
                </a:lnTo>
                <a:lnTo>
                  <a:pt x="1002" y="447"/>
                </a:lnTo>
                <a:lnTo>
                  <a:pt x="1002" y="447"/>
                </a:lnTo>
                <a:lnTo>
                  <a:pt x="975" y="431"/>
                </a:lnTo>
                <a:lnTo>
                  <a:pt x="942" y="411"/>
                </a:lnTo>
                <a:lnTo>
                  <a:pt x="942" y="411"/>
                </a:lnTo>
                <a:lnTo>
                  <a:pt x="865" y="369"/>
                </a:lnTo>
                <a:lnTo>
                  <a:pt x="790" y="328"/>
                </a:lnTo>
                <a:lnTo>
                  <a:pt x="717" y="289"/>
                </a:lnTo>
                <a:lnTo>
                  <a:pt x="680" y="271"/>
                </a:lnTo>
                <a:lnTo>
                  <a:pt x="643" y="254"/>
                </a:lnTo>
                <a:lnTo>
                  <a:pt x="606" y="236"/>
                </a:lnTo>
                <a:lnTo>
                  <a:pt x="568" y="221"/>
                </a:lnTo>
                <a:lnTo>
                  <a:pt x="529" y="205"/>
                </a:lnTo>
                <a:lnTo>
                  <a:pt x="489" y="190"/>
                </a:lnTo>
                <a:lnTo>
                  <a:pt x="448" y="176"/>
                </a:lnTo>
                <a:lnTo>
                  <a:pt x="406" y="164"/>
                </a:lnTo>
                <a:lnTo>
                  <a:pt x="362" y="151"/>
                </a:lnTo>
                <a:lnTo>
                  <a:pt x="317" y="140"/>
                </a:lnTo>
                <a:lnTo>
                  <a:pt x="317" y="140"/>
                </a:lnTo>
                <a:lnTo>
                  <a:pt x="334" y="107"/>
                </a:lnTo>
                <a:lnTo>
                  <a:pt x="334" y="107"/>
                </a:lnTo>
                <a:lnTo>
                  <a:pt x="360" y="63"/>
                </a:lnTo>
                <a:lnTo>
                  <a:pt x="378" y="31"/>
                </a:lnTo>
                <a:lnTo>
                  <a:pt x="385" y="20"/>
                </a:lnTo>
                <a:lnTo>
                  <a:pt x="389" y="10"/>
                </a:lnTo>
                <a:lnTo>
                  <a:pt x="391" y="4"/>
                </a:lnTo>
                <a:lnTo>
                  <a:pt x="390" y="2"/>
                </a:lnTo>
                <a:lnTo>
                  <a:pt x="389" y="0"/>
                </a:lnTo>
                <a:lnTo>
                  <a:pt x="389" y="0"/>
                </a:lnTo>
                <a:lnTo>
                  <a:pt x="388" y="0"/>
                </a:lnTo>
                <a:lnTo>
                  <a:pt x="387" y="0"/>
                </a:lnTo>
                <a:lnTo>
                  <a:pt x="381" y="1"/>
                </a:lnTo>
                <a:lnTo>
                  <a:pt x="367" y="10"/>
                </a:lnTo>
                <a:lnTo>
                  <a:pt x="343" y="26"/>
                </a:lnTo>
                <a:lnTo>
                  <a:pt x="326" y="35"/>
                </a:lnTo>
                <a:lnTo>
                  <a:pt x="307" y="46"/>
                </a:lnTo>
                <a:lnTo>
                  <a:pt x="307" y="46"/>
                </a:lnTo>
                <a:lnTo>
                  <a:pt x="285" y="57"/>
                </a:lnTo>
                <a:lnTo>
                  <a:pt x="267" y="67"/>
                </a:lnTo>
                <a:lnTo>
                  <a:pt x="252" y="73"/>
                </a:lnTo>
                <a:lnTo>
                  <a:pt x="237" y="78"/>
                </a:lnTo>
                <a:lnTo>
                  <a:pt x="224" y="82"/>
                </a:lnTo>
                <a:lnTo>
                  <a:pt x="211" y="85"/>
                </a:lnTo>
                <a:lnTo>
                  <a:pt x="183" y="89"/>
                </a:lnTo>
                <a:lnTo>
                  <a:pt x="183" y="89"/>
                </a:lnTo>
                <a:lnTo>
                  <a:pt x="174" y="89"/>
                </a:lnTo>
                <a:lnTo>
                  <a:pt x="165" y="88"/>
                </a:lnTo>
                <a:lnTo>
                  <a:pt x="147" y="85"/>
                </a:lnTo>
                <a:lnTo>
                  <a:pt x="132" y="81"/>
                </a:lnTo>
                <a:lnTo>
                  <a:pt x="125" y="81"/>
                </a:lnTo>
                <a:lnTo>
                  <a:pt x="120" y="82"/>
                </a:lnTo>
                <a:lnTo>
                  <a:pt x="120" y="82"/>
                </a:lnTo>
                <a:lnTo>
                  <a:pt x="114" y="85"/>
                </a:lnTo>
                <a:lnTo>
                  <a:pt x="107" y="91"/>
                </a:lnTo>
                <a:lnTo>
                  <a:pt x="102" y="98"/>
                </a:lnTo>
                <a:lnTo>
                  <a:pt x="97" y="107"/>
                </a:lnTo>
                <a:lnTo>
                  <a:pt x="92" y="120"/>
                </a:lnTo>
                <a:lnTo>
                  <a:pt x="87" y="134"/>
                </a:lnTo>
                <a:lnTo>
                  <a:pt x="74" y="171"/>
                </a:lnTo>
                <a:lnTo>
                  <a:pt x="74" y="171"/>
                </a:lnTo>
                <a:lnTo>
                  <a:pt x="49" y="242"/>
                </a:lnTo>
                <a:lnTo>
                  <a:pt x="42" y="261"/>
                </a:lnTo>
                <a:lnTo>
                  <a:pt x="42" y="261"/>
                </a:lnTo>
                <a:lnTo>
                  <a:pt x="34" y="279"/>
                </a:lnTo>
                <a:lnTo>
                  <a:pt x="27" y="293"/>
                </a:lnTo>
                <a:lnTo>
                  <a:pt x="14" y="312"/>
                </a:lnTo>
                <a:lnTo>
                  <a:pt x="10" y="320"/>
                </a:lnTo>
                <a:lnTo>
                  <a:pt x="6" y="327"/>
                </a:lnTo>
                <a:lnTo>
                  <a:pt x="3" y="335"/>
                </a:lnTo>
                <a:lnTo>
                  <a:pt x="1" y="34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6" name="Freeform 33"/>
          <p:cNvSpPr>
            <a:spLocks/>
          </p:cNvSpPr>
          <p:nvPr userDrawn="1"/>
        </p:nvSpPr>
        <p:spPr bwMode="auto">
          <a:xfrm>
            <a:off x="7189787" y="1214140"/>
            <a:ext cx="39688" cy="46038"/>
          </a:xfrm>
          <a:custGeom>
            <a:avLst/>
            <a:gdLst>
              <a:gd name="T0" fmla="*/ 103 w 296"/>
              <a:gd name="T1" fmla="*/ 350 h 350"/>
              <a:gd name="T2" fmla="*/ 103 w 296"/>
              <a:gd name="T3" fmla="*/ 350 h 350"/>
              <a:gd name="T4" fmla="*/ 132 w 296"/>
              <a:gd name="T5" fmla="*/ 349 h 350"/>
              <a:gd name="T6" fmla="*/ 164 w 296"/>
              <a:gd name="T7" fmla="*/ 346 h 350"/>
              <a:gd name="T8" fmla="*/ 196 w 296"/>
              <a:gd name="T9" fmla="*/ 343 h 350"/>
              <a:gd name="T10" fmla="*/ 226 w 296"/>
              <a:gd name="T11" fmla="*/ 339 h 350"/>
              <a:gd name="T12" fmla="*/ 276 w 296"/>
              <a:gd name="T13" fmla="*/ 333 h 350"/>
              <a:gd name="T14" fmla="*/ 296 w 296"/>
              <a:gd name="T15" fmla="*/ 329 h 350"/>
              <a:gd name="T16" fmla="*/ 293 w 296"/>
              <a:gd name="T17" fmla="*/ 25 h 350"/>
              <a:gd name="T18" fmla="*/ 293 w 296"/>
              <a:gd name="T19" fmla="*/ 25 h 350"/>
              <a:gd name="T20" fmla="*/ 244 w 296"/>
              <a:gd name="T21" fmla="*/ 18 h 350"/>
              <a:gd name="T22" fmla="*/ 142 w 296"/>
              <a:gd name="T23" fmla="*/ 2 h 350"/>
              <a:gd name="T24" fmla="*/ 142 w 296"/>
              <a:gd name="T25" fmla="*/ 2 h 350"/>
              <a:gd name="T26" fmla="*/ 129 w 296"/>
              <a:gd name="T27" fmla="*/ 1 h 350"/>
              <a:gd name="T28" fmla="*/ 117 w 296"/>
              <a:gd name="T29" fmla="*/ 0 h 350"/>
              <a:gd name="T30" fmla="*/ 105 w 296"/>
              <a:gd name="T31" fmla="*/ 0 h 350"/>
              <a:gd name="T32" fmla="*/ 94 w 296"/>
              <a:gd name="T33" fmla="*/ 1 h 350"/>
              <a:gd name="T34" fmla="*/ 84 w 296"/>
              <a:gd name="T35" fmla="*/ 3 h 350"/>
              <a:gd name="T36" fmla="*/ 75 w 296"/>
              <a:gd name="T37" fmla="*/ 6 h 350"/>
              <a:gd name="T38" fmla="*/ 66 w 296"/>
              <a:gd name="T39" fmla="*/ 9 h 350"/>
              <a:gd name="T40" fmla="*/ 59 w 296"/>
              <a:gd name="T41" fmla="*/ 13 h 350"/>
              <a:gd name="T42" fmla="*/ 51 w 296"/>
              <a:gd name="T43" fmla="*/ 17 h 350"/>
              <a:gd name="T44" fmla="*/ 44 w 296"/>
              <a:gd name="T45" fmla="*/ 22 h 350"/>
              <a:gd name="T46" fmla="*/ 38 w 296"/>
              <a:gd name="T47" fmla="*/ 27 h 350"/>
              <a:gd name="T48" fmla="*/ 33 w 296"/>
              <a:gd name="T49" fmla="*/ 32 h 350"/>
              <a:gd name="T50" fmla="*/ 24 w 296"/>
              <a:gd name="T51" fmla="*/ 45 h 350"/>
              <a:gd name="T52" fmla="*/ 17 w 296"/>
              <a:gd name="T53" fmla="*/ 57 h 350"/>
              <a:gd name="T54" fmla="*/ 11 w 296"/>
              <a:gd name="T55" fmla="*/ 70 h 350"/>
              <a:gd name="T56" fmla="*/ 6 w 296"/>
              <a:gd name="T57" fmla="*/ 83 h 350"/>
              <a:gd name="T58" fmla="*/ 3 w 296"/>
              <a:gd name="T59" fmla="*/ 96 h 350"/>
              <a:gd name="T60" fmla="*/ 1 w 296"/>
              <a:gd name="T61" fmla="*/ 106 h 350"/>
              <a:gd name="T62" fmla="*/ 0 w 296"/>
              <a:gd name="T63" fmla="*/ 123 h 350"/>
              <a:gd name="T64" fmla="*/ 0 w 296"/>
              <a:gd name="T65" fmla="*/ 129 h 350"/>
              <a:gd name="T66" fmla="*/ 4 w 296"/>
              <a:gd name="T67" fmla="*/ 213 h 350"/>
              <a:gd name="T68" fmla="*/ 4 w 296"/>
              <a:gd name="T69" fmla="*/ 213 h 350"/>
              <a:gd name="T70" fmla="*/ 4 w 296"/>
              <a:gd name="T71" fmla="*/ 219 h 350"/>
              <a:gd name="T72" fmla="*/ 6 w 296"/>
              <a:gd name="T73" fmla="*/ 235 h 350"/>
              <a:gd name="T74" fmla="*/ 11 w 296"/>
              <a:gd name="T75" fmla="*/ 256 h 350"/>
              <a:gd name="T76" fmla="*/ 15 w 296"/>
              <a:gd name="T77" fmla="*/ 268 h 350"/>
              <a:gd name="T78" fmla="*/ 19 w 296"/>
              <a:gd name="T79" fmla="*/ 282 h 350"/>
              <a:gd name="T80" fmla="*/ 24 w 296"/>
              <a:gd name="T81" fmla="*/ 294 h 350"/>
              <a:gd name="T82" fmla="*/ 31 w 296"/>
              <a:gd name="T83" fmla="*/ 306 h 350"/>
              <a:gd name="T84" fmla="*/ 39 w 296"/>
              <a:gd name="T85" fmla="*/ 319 h 350"/>
              <a:gd name="T86" fmla="*/ 48 w 296"/>
              <a:gd name="T87" fmla="*/ 329 h 350"/>
              <a:gd name="T88" fmla="*/ 53 w 296"/>
              <a:gd name="T89" fmla="*/ 333 h 350"/>
              <a:gd name="T90" fmla="*/ 60 w 296"/>
              <a:gd name="T91" fmla="*/ 337 h 350"/>
              <a:gd name="T92" fmla="*/ 66 w 296"/>
              <a:gd name="T93" fmla="*/ 341 h 350"/>
              <a:gd name="T94" fmla="*/ 72 w 296"/>
              <a:gd name="T95" fmla="*/ 344 h 350"/>
              <a:gd name="T96" fmla="*/ 79 w 296"/>
              <a:gd name="T97" fmla="*/ 346 h 350"/>
              <a:gd name="T98" fmla="*/ 86 w 296"/>
              <a:gd name="T99" fmla="*/ 348 h 350"/>
              <a:gd name="T100" fmla="*/ 94 w 296"/>
              <a:gd name="T101" fmla="*/ 349 h 350"/>
              <a:gd name="T102" fmla="*/ 103 w 296"/>
              <a:gd name="T103" fmla="*/ 35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6" h="350">
                <a:moveTo>
                  <a:pt x="103" y="350"/>
                </a:moveTo>
                <a:lnTo>
                  <a:pt x="103" y="350"/>
                </a:lnTo>
                <a:lnTo>
                  <a:pt x="132" y="349"/>
                </a:lnTo>
                <a:lnTo>
                  <a:pt x="164" y="346"/>
                </a:lnTo>
                <a:lnTo>
                  <a:pt x="196" y="343"/>
                </a:lnTo>
                <a:lnTo>
                  <a:pt x="226" y="339"/>
                </a:lnTo>
                <a:lnTo>
                  <a:pt x="276" y="333"/>
                </a:lnTo>
                <a:lnTo>
                  <a:pt x="296" y="329"/>
                </a:lnTo>
                <a:lnTo>
                  <a:pt x="293" y="25"/>
                </a:lnTo>
                <a:lnTo>
                  <a:pt x="293" y="25"/>
                </a:lnTo>
                <a:lnTo>
                  <a:pt x="244" y="18"/>
                </a:lnTo>
                <a:lnTo>
                  <a:pt x="142" y="2"/>
                </a:lnTo>
                <a:lnTo>
                  <a:pt x="142" y="2"/>
                </a:lnTo>
                <a:lnTo>
                  <a:pt x="129" y="1"/>
                </a:lnTo>
                <a:lnTo>
                  <a:pt x="117" y="0"/>
                </a:lnTo>
                <a:lnTo>
                  <a:pt x="105" y="0"/>
                </a:lnTo>
                <a:lnTo>
                  <a:pt x="94" y="1"/>
                </a:lnTo>
                <a:lnTo>
                  <a:pt x="84" y="3"/>
                </a:lnTo>
                <a:lnTo>
                  <a:pt x="75" y="6"/>
                </a:lnTo>
                <a:lnTo>
                  <a:pt x="66" y="9"/>
                </a:lnTo>
                <a:lnTo>
                  <a:pt x="59" y="13"/>
                </a:lnTo>
                <a:lnTo>
                  <a:pt x="51" y="17"/>
                </a:lnTo>
                <a:lnTo>
                  <a:pt x="44" y="22"/>
                </a:lnTo>
                <a:lnTo>
                  <a:pt x="38" y="27"/>
                </a:lnTo>
                <a:lnTo>
                  <a:pt x="33" y="32"/>
                </a:lnTo>
                <a:lnTo>
                  <a:pt x="24" y="45"/>
                </a:lnTo>
                <a:lnTo>
                  <a:pt x="17" y="57"/>
                </a:lnTo>
                <a:lnTo>
                  <a:pt x="11" y="70"/>
                </a:lnTo>
                <a:lnTo>
                  <a:pt x="6" y="83"/>
                </a:lnTo>
                <a:lnTo>
                  <a:pt x="3" y="96"/>
                </a:lnTo>
                <a:lnTo>
                  <a:pt x="1" y="106"/>
                </a:lnTo>
                <a:lnTo>
                  <a:pt x="0" y="123"/>
                </a:lnTo>
                <a:lnTo>
                  <a:pt x="0" y="129"/>
                </a:lnTo>
                <a:lnTo>
                  <a:pt x="4" y="213"/>
                </a:lnTo>
                <a:lnTo>
                  <a:pt x="4" y="213"/>
                </a:lnTo>
                <a:lnTo>
                  <a:pt x="4" y="219"/>
                </a:lnTo>
                <a:lnTo>
                  <a:pt x="6" y="235"/>
                </a:lnTo>
                <a:lnTo>
                  <a:pt x="11" y="256"/>
                </a:lnTo>
                <a:lnTo>
                  <a:pt x="15" y="268"/>
                </a:lnTo>
                <a:lnTo>
                  <a:pt x="19" y="282"/>
                </a:lnTo>
                <a:lnTo>
                  <a:pt x="24" y="294"/>
                </a:lnTo>
                <a:lnTo>
                  <a:pt x="31" y="306"/>
                </a:lnTo>
                <a:lnTo>
                  <a:pt x="39" y="319"/>
                </a:lnTo>
                <a:lnTo>
                  <a:pt x="48" y="329"/>
                </a:lnTo>
                <a:lnTo>
                  <a:pt x="53" y="333"/>
                </a:lnTo>
                <a:lnTo>
                  <a:pt x="60" y="337"/>
                </a:lnTo>
                <a:lnTo>
                  <a:pt x="66" y="341"/>
                </a:lnTo>
                <a:lnTo>
                  <a:pt x="72" y="344"/>
                </a:lnTo>
                <a:lnTo>
                  <a:pt x="79" y="346"/>
                </a:lnTo>
                <a:lnTo>
                  <a:pt x="86" y="348"/>
                </a:lnTo>
                <a:lnTo>
                  <a:pt x="94" y="349"/>
                </a:lnTo>
                <a:lnTo>
                  <a:pt x="103" y="3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7" name="Freeform 34"/>
          <p:cNvSpPr>
            <a:spLocks/>
          </p:cNvSpPr>
          <p:nvPr userDrawn="1"/>
        </p:nvSpPr>
        <p:spPr bwMode="auto">
          <a:xfrm>
            <a:off x="7237413" y="1203028"/>
            <a:ext cx="60325" cy="57150"/>
          </a:xfrm>
          <a:custGeom>
            <a:avLst/>
            <a:gdLst>
              <a:gd name="T0" fmla="*/ 450 w 450"/>
              <a:gd name="T1" fmla="*/ 290 h 425"/>
              <a:gd name="T2" fmla="*/ 450 w 450"/>
              <a:gd name="T3" fmla="*/ 225 h 425"/>
              <a:gd name="T4" fmla="*/ 449 w 450"/>
              <a:gd name="T5" fmla="*/ 54 h 425"/>
              <a:gd name="T6" fmla="*/ 444 w 450"/>
              <a:gd name="T7" fmla="*/ 20 h 425"/>
              <a:gd name="T8" fmla="*/ 436 w 450"/>
              <a:gd name="T9" fmla="*/ 3 h 425"/>
              <a:gd name="T10" fmla="*/ 429 w 450"/>
              <a:gd name="T11" fmla="*/ 0 h 425"/>
              <a:gd name="T12" fmla="*/ 367 w 450"/>
              <a:gd name="T13" fmla="*/ 2 h 425"/>
              <a:gd name="T14" fmla="*/ 362 w 450"/>
              <a:gd name="T15" fmla="*/ 14 h 425"/>
              <a:gd name="T16" fmla="*/ 347 w 450"/>
              <a:gd name="T17" fmla="*/ 59 h 425"/>
              <a:gd name="T18" fmla="*/ 325 w 450"/>
              <a:gd name="T19" fmla="*/ 2 h 425"/>
              <a:gd name="T20" fmla="*/ 261 w 450"/>
              <a:gd name="T21" fmla="*/ 2 h 425"/>
              <a:gd name="T22" fmla="*/ 242 w 450"/>
              <a:gd name="T23" fmla="*/ 16 h 425"/>
              <a:gd name="T24" fmla="*/ 224 w 450"/>
              <a:gd name="T25" fmla="*/ 64 h 425"/>
              <a:gd name="T26" fmla="*/ 192 w 450"/>
              <a:gd name="T27" fmla="*/ 4 h 425"/>
              <a:gd name="T28" fmla="*/ 135 w 450"/>
              <a:gd name="T29" fmla="*/ 6 h 425"/>
              <a:gd name="T30" fmla="*/ 127 w 450"/>
              <a:gd name="T31" fmla="*/ 11 h 425"/>
              <a:gd name="T32" fmla="*/ 110 w 450"/>
              <a:gd name="T33" fmla="*/ 53 h 425"/>
              <a:gd name="T34" fmla="*/ 86 w 450"/>
              <a:gd name="T35" fmla="*/ 6 h 425"/>
              <a:gd name="T36" fmla="*/ 38 w 450"/>
              <a:gd name="T37" fmla="*/ 6 h 425"/>
              <a:gd name="T38" fmla="*/ 25 w 450"/>
              <a:gd name="T39" fmla="*/ 10 h 425"/>
              <a:gd name="T40" fmla="*/ 10 w 450"/>
              <a:gd name="T41" fmla="*/ 28 h 425"/>
              <a:gd name="T42" fmla="*/ 1 w 450"/>
              <a:gd name="T43" fmla="*/ 55 h 425"/>
              <a:gd name="T44" fmla="*/ 1 w 450"/>
              <a:gd name="T45" fmla="*/ 141 h 425"/>
              <a:gd name="T46" fmla="*/ 5 w 450"/>
              <a:gd name="T47" fmla="*/ 324 h 425"/>
              <a:gd name="T48" fmla="*/ 27 w 450"/>
              <a:gd name="T49" fmla="*/ 401 h 425"/>
              <a:gd name="T50" fmla="*/ 54 w 450"/>
              <a:gd name="T51" fmla="*/ 396 h 425"/>
              <a:gd name="T52" fmla="*/ 74 w 450"/>
              <a:gd name="T53" fmla="*/ 384 h 425"/>
              <a:gd name="T54" fmla="*/ 83 w 450"/>
              <a:gd name="T55" fmla="*/ 374 h 425"/>
              <a:gd name="T56" fmla="*/ 100 w 450"/>
              <a:gd name="T57" fmla="*/ 341 h 425"/>
              <a:gd name="T58" fmla="*/ 105 w 450"/>
              <a:gd name="T59" fmla="*/ 317 h 425"/>
              <a:gd name="T60" fmla="*/ 105 w 450"/>
              <a:gd name="T61" fmla="*/ 367 h 425"/>
              <a:gd name="T62" fmla="*/ 108 w 450"/>
              <a:gd name="T63" fmla="*/ 420 h 425"/>
              <a:gd name="T64" fmla="*/ 116 w 450"/>
              <a:gd name="T65" fmla="*/ 424 h 425"/>
              <a:gd name="T66" fmla="*/ 150 w 450"/>
              <a:gd name="T67" fmla="*/ 423 h 425"/>
              <a:gd name="T68" fmla="*/ 176 w 450"/>
              <a:gd name="T69" fmla="*/ 412 h 425"/>
              <a:gd name="T70" fmla="*/ 189 w 450"/>
              <a:gd name="T71" fmla="*/ 402 h 425"/>
              <a:gd name="T72" fmla="*/ 209 w 450"/>
              <a:gd name="T73" fmla="*/ 368 h 425"/>
              <a:gd name="T74" fmla="*/ 224 w 450"/>
              <a:gd name="T75" fmla="*/ 317 h 425"/>
              <a:gd name="T76" fmla="*/ 225 w 450"/>
              <a:gd name="T77" fmla="*/ 381 h 425"/>
              <a:gd name="T78" fmla="*/ 229 w 450"/>
              <a:gd name="T79" fmla="*/ 419 h 425"/>
              <a:gd name="T80" fmla="*/ 237 w 450"/>
              <a:gd name="T81" fmla="*/ 421 h 425"/>
              <a:gd name="T82" fmla="*/ 266 w 450"/>
              <a:gd name="T83" fmla="*/ 418 h 425"/>
              <a:gd name="T84" fmla="*/ 300 w 450"/>
              <a:gd name="T85" fmla="*/ 405 h 425"/>
              <a:gd name="T86" fmla="*/ 309 w 450"/>
              <a:gd name="T87" fmla="*/ 397 h 425"/>
              <a:gd name="T88" fmla="*/ 331 w 450"/>
              <a:gd name="T89" fmla="*/ 367 h 425"/>
              <a:gd name="T90" fmla="*/ 342 w 450"/>
              <a:gd name="T91" fmla="*/ 334 h 425"/>
              <a:gd name="T92" fmla="*/ 345 w 450"/>
              <a:gd name="T93" fmla="*/ 346 h 425"/>
              <a:gd name="T94" fmla="*/ 348 w 450"/>
              <a:gd name="T95" fmla="*/ 391 h 425"/>
              <a:gd name="T96" fmla="*/ 379 w 450"/>
              <a:gd name="T97" fmla="*/ 386 h 425"/>
              <a:gd name="T98" fmla="*/ 404 w 450"/>
              <a:gd name="T99" fmla="*/ 375 h 425"/>
              <a:gd name="T100" fmla="*/ 425 w 450"/>
              <a:gd name="T101" fmla="*/ 360 h 425"/>
              <a:gd name="T102" fmla="*/ 439 w 450"/>
              <a:gd name="T103" fmla="*/ 342 h 425"/>
              <a:gd name="T104" fmla="*/ 448 w 450"/>
              <a:gd name="T105" fmla="*/ 311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0" h="425">
                <a:moveTo>
                  <a:pt x="448" y="311"/>
                </a:moveTo>
                <a:lnTo>
                  <a:pt x="448" y="311"/>
                </a:lnTo>
                <a:lnTo>
                  <a:pt x="450" y="290"/>
                </a:lnTo>
                <a:lnTo>
                  <a:pt x="450" y="268"/>
                </a:lnTo>
                <a:lnTo>
                  <a:pt x="450" y="225"/>
                </a:lnTo>
                <a:lnTo>
                  <a:pt x="450" y="225"/>
                </a:lnTo>
                <a:lnTo>
                  <a:pt x="449" y="64"/>
                </a:lnTo>
                <a:lnTo>
                  <a:pt x="449" y="64"/>
                </a:lnTo>
                <a:lnTo>
                  <a:pt x="449" y="54"/>
                </a:lnTo>
                <a:lnTo>
                  <a:pt x="448" y="44"/>
                </a:lnTo>
                <a:lnTo>
                  <a:pt x="447" y="33"/>
                </a:lnTo>
                <a:lnTo>
                  <a:pt x="444" y="20"/>
                </a:lnTo>
                <a:lnTo>
                  <a:pt x="441" y="10"/>
                </a:lnTo>
                <a:lnTo>
                  <a:pt x="439" y="6"/>
                </a:lnTo>
                <a:lnTo>
                  <a:pt x="436" y="3"/>
                </a:lnTo>
                <a:lnTo>
                  <a:pt x="433" y="1"/>
                </a:lnTo>
                <a:lnTo>
                  <a:pt x="429" y="0"/>
                </a:lnTo>
                <a:lnTo>
                  <a:pt x="429" y="0"/>
                </a:lnTo>
                <a:lnTo>
                  <a:pt x="396" y="0"/>
                </a:lnTo>
                <a:lnTo>
                  <a:pt x="378" y="1"/>
                </a:lnTo>
                <a:lnTo>
                  <a:pt x="367" y="2"/>
                </a:lnTo>
                <a:lnTo>
                  <a:pt x="367" y="2"/>
                </a:lnTo>
                <a:lnTo>
                  <a:pt x="364" y="7"/>
                </a:lnTo>
                <a:lnTo>
                  <a:pt x="362" y="14"/>
                </a:lnTo>
                <a:lnTo>
                  <a:pt x="356" y="33"/>
                </a:lnTo>
                <a:lnTo>
                  <a:pt x="350" y="52"/>
                </a:lnTo>
                <a:lnTo>
                  <a:pt x="347" y="59"/>
                </a:lnTo>
                <a:lnTo>
                  <a:pt x="345" y="64"/>
                </a:lnTo>
                <a:lnTo>
                  <a:pt x="325" y="2"/>
                </a:lnTo>
                <a:lnTo>
                  <a:pt x="325" y="2"/>
                </a:lnTo>
                <a:lnTo>
                  <a:pt x="309" y="1"/>
                </a:lnTo>
                <a:lnTo>
                  <a:pt x="286" y="1"/>
                </a:lnTo>
                <a:lnTo>
                  <a:pt x="261" y="2"/>
                </a:lnTo>
                <a:lnTo>
                  <a:pt x="247" y="4"/>
                </a:lnTo>
                <a:lnTo>
                  <a:pt x="247" y="4"/>
                </a:lnTo>
                <a:lnTo>
                  <a:pt x="242" y="16"/>
                </a:lnTo>
                <a:lnTo>
                  <a:pt x="236" y="34"/>
                </a:lnTo>
                <a:lnTo>
                  <a:pt x="229" y="52"/>
                </a:lnTo>
                <a:lnTo>
                  <a:pt x="224" y="64"/>
                </a:lnTo>
                <a:lnTo>
                  <a:pt x="205" y="5"/>
                </a:lnTo>
                <a:lnTo>
                  <a:pt x="205" y="5"/>
                </a:lnTo>
                <a:lnTo>
                  <a:pt x="192" y="4"/>
                </a:lnTo>
                <a:lnTo>
                  <a:pt x="168" y="4"/>
                </a:lnTo>
                <a:lnTo>
                  <a:pt x="144" y="5"/>
                </a:lnTo>
                <a:lnTo>
                  <a:pt x="135" y="6"/>
                </a:lnTo>
                <a:lnTo>
                  <a:pt x="131" y="6"/>
                </a:lnTo>
                <a:lnTo>
                  <a:pt x="131" y="6"/>
                </a:lnTo>
                <a:lnTo>
                  <a:pt x="127" y="11"/>
                </a:lnTo>
                <a:lnTo>
                  <a:pt x="124" y="18"/>
                </a:lnTo>
                <a:lnTo>
                  <a:pt x="117" y="36"/>
                </a:lnTo>
                <a:lnTo>
                  <a:pt x="110" y="53"/>
                </a:lnTo>
                <a:lnTo>
                  <a:pt x="105" y="64"/>
                </a:lnTo>
                <a:lnTo>
                  <a:pt x="86" y="6"/>
                </a:lnTo>
                <a:lnTo>
                  <a:pt x="86" y="6"/>
                </a:lnTo>
                <a:lnTo>
                  <a:pt x="69" y="6"/>
                </a:lnTo>
                <a:lnTo>
                  <a:pt x="38" y="6"/>
                </a:lnTo>
                <a:lnTo>
                  <a:pt x="38" y="6"/>
                </a:lnTo>
                <a:lnTo>
                  <a:pt x="33" y="7"/>
                </a:lnTo>
                <a:lnTo>
                  <a:pt x="29" y="8"/>
                </a:lnTo>
                <a:lnTo>
                  <a:pt x="25" y="10"/>
                </a:lnTo>
                <a:lnTo>
                  <a:pt x="21" y="12"/>
                </a:lnTo>
                <a:lnTo>
                  <a:pt x="15" y="19"/>
                </a:lnTo>
                <a:lnTo>
                  <a:pt x="10" y="28"/>
                </a:lnTo>
                <a:lnTo>
                  <a:pt x="5" y="36"/>
                </a:lnTo>
                <a:lnTo>
                  <a:pt x="2" y="46"/>
                </a:lnTo>
                <a:lnTo>
                  <a:pt x="1" y="55"/>
                </a:lnTo>
                <a:lnTo>
                  <a:pt x="0" y="63"/>
                </a:lnTo>
                <a:lnTo>
                  <a:pt x="0" y="63"/>
                </a:lnTo>
                <a:lnTo>
                  <a:pt x="1" y="141"/>
                </a:lnTo>
                <a:lnTo>
                  <a:pt x="2" y="220"/>
                </a:lnTo>
                <a:lnTo>
                  <a:pt x="2" y="220"/>
                </a:lnTo>
                <a:lnTo>
                  <a:pt x="5" y="324"/>
                </a:lnTo>
                <a:lnTo>
                  <a:pt x="8" y="402"/>
                </a:lnTo>
                <a:lnTo>
                  <a:pt x="8" y="402"/>
                </a:lnTo>
                <a:lnTo>
                  <a:pt x="27" y="401"/>
                </a:lnTo>
                <a:lnTo>
                  <a:pt x="37" y="399"/>
                </a:lnTo>
                <a:lnTo>
                  <a:pt x="45" y="398"/>
                </a:lnTo>
                <a:lnTo>
                  <a:pt x="54" y="396"/>
                </a:lnTo>
                <a:lnTo>
                  <a:pt x="62" y="393"/>
                </a:lnTo>
                <a:lnTo>
                  <a:pt x="68" y="388"/>
                </a:lnTo>
                <a:lnTo>
                  <a:pt x="74" y="384"/>
                </a:lnTo>
                <a:lnTo>
                  <a:pt x="74" y="384"/>
                </a:lnTo>
                <a:lnTo>
                  <a:pt x="79" y="379"/>
                </a:lnTo>
                <a:lnTo>
                  <a:pt x="83" y="374"/>
                </a:lnTo>
                <a:lnTo>
                  <a:pt x="90" y="363"/>
                </a:lnTo>
                <a:lnTo>
                  <a:pt x="95" y="352"/>
                </a:lnTo>
                <a:lnTo>
                  <a:pt x="100" y="341"/>
                </a:lnTo>
                <a:lnTo>
                  <a:pt x="103" y="331"/>
                </a:lnTo>
                <a:lnTo>
                  <a:pt x="104" y="324"/>
                </a:lnTo>
                <a:lnTo>
                  <a:pt x="105" y="317"/>
                </a:lnTo>
                <a:lnTo>
                  <a:pt x="105" y="317"/>
                </a:lnTo>
                <a:lnTo>
                  <a:pt x="105" y="337"/>
                </a:lnTo>
                <a:lnTo>
                  <a:pt x="105" y="367"/>
                </a:lnTo>
                <a:lnTo>
                  <a:pt x="106" y="397"/>
                </a:lnTo>
                <a:lnTo>
                  <a:pt x="108" y="420"/>
                </a:lnTo>
                <a:lnTo>
                  <a:pt x="108" y="420"/>
                </a:lnTo>
                <a:lnTo>
                  <a:pt x="108" y="421"/>
                </a:lnTo>
                <a:lnTo>
                  <a:pt x="110" y="422"/>
                </a:lnTo>
                <a:lnTo>
                  <a:pt x="116" y="424"/>
                </a:lnTo>
                <a:lnTo>
                  <a:pt x="125" y="425"/>
                </a:lnTo>
                <a:lnTo>
                  <a:pt x="136" y="425"/>
                </a:lnTo>
                <a:lnTo>
                  <a:pt x="150" y="423"/>
                </a:lnTo>
                <a:lnTo>
                  <a:pt x="163" y="418"/>
                </a:lnTo>
                <a:lnTo>
                  <a:pt x="169" y="415"/>
                </a:lnTo>
                <a:lnTo>
                  <a:pt x="176" y="412"/>
                </a:lnTo>
                <a:lnTo>
                  <a:pt x="182" y="407"/>
                </a:lnTo>
                <a:lnTo>
                  <a:pt x="189" y="402"/>
                </a:lnTo>
                <a:lnTo>
                  <a:pt x="189" y="402"/>
                </a:lnTo>
                <a:lnTo>
                  <a:pt x="197" y="392"/>
                </a:lnTo>
                <a:lnTo>
                  <a:pt x="204" y="380"/>
                </a:lnTo>
                <a:lnTo>
                  <a:pt x="209" y="368"/>
                </a:lnTo>
                <a:lnTo>
                  <a:pt x="213" y="356"/>
                </a:lnTo>
                <a:lnTo>
                  <a:pt x="220" y="333"/>
                </a:lnTo>
                <a:lnTo>
                  <a:pt x="224" y="317"/>
                </a:lnTo>
                <a:lnTo>
                  <a:pt x="224" y="317"/>
                </a:lnTo>
                <a:lnTo>
                  <a:pt x="224" y="348"/>
                </a:lnTo>
                <a:lnTo>
                  <a:pt x="225" y="381"/>
                </a:lnTo>
                <a:lnTo>
                  <a:pt x="227" y="408"/>
                </a:lnTo>
                <a:lnTo>
                  <a:pt x="228" y="417"/>
                </a:lnTo>
                <a:lnTo>
                  <a:pt x="229" y="419"/>
                </a:lnTo>
                <a:lnTo>
                  <a:pt x="230" y="420"/>
                </a:lnTo>
                <a:lnTo>
                  <a:pt x="230" y="420"/>
                </a:lnTo>
                <a:lnTo>
                  <a:pt x="237" y="421"/>
                </a:lnTo>
                <a:lnTo>
                  <a:pt x="245" y="421"/>
                </a:lnTo>
                <a:lnTo>
                  <a:pt x="255" y="420"/>
                </a:lnTo>
                <a:lnTo>
                  <a:pt x="266" y="418"/>
                </a:lnTo>
                <a:lnTo>
                  <a:pt x="277" y="415"/>
                </a:lnTo>
                <a:lnTo>
                  <a:pt x="289" y="411"/>
                </a:lnTo>
                <a:lnTo>
                  <a:pt x="300" y="405"/>
                </a:lnTo>
                <a:lnTo>
                  <a:pt x="305" y="401"/>
                </a:lnTo>
                <a:lnTo>
                  <a:pt x="309" y="397"/>
                </a:lnTo>
                <a:lnTo>
                  <a:pt x="309" y="397"/>
                </a:lnTo>
                <a:lnTo>
                  <a:pt x="317" y="387"/>
                </a:lnTo>
                <a:lnTo>
                  <a:pt x="325" y="377"/>
                </a:lnTo>
                <a:lnTo>
                  <a:pt x="331" y="367"/>
                </a:lnTo>
                <a:lnTo>
                  <a:pt x="336" y="356"/>
                </a:lnTo>
                <a:lnTo>
                  <a:pt x="339" y="345"/>
                </a:lnTo>
                <a:lnTo>
                  <a:pt x="342" y="334"/>
                </a:lnTo>
                <a:lnTo>
                  <a:pt x="345" y="317"/>
                </a:lnTo>
                <a:lnTo>
                  <a:pt x="345" y="317"/>
                </a:lnTo>
                <a:lnTo>
                  <a:pt x="345" y="346"/>
                </a:lnTo>
                <a:lnTo>
                  <a:pt x="346" y="370"/>
                </a:lnTo>
                <a:lnTo>
                  <a:pt x="348" y="391"/>
                </a:lnTo>
                <a:lnTo>
                  <a:pt x="348" y="391"/>
                </a:lnTo>
                <a:lnTo>
                  <a:pt x="362" y="390"/>
                </a:lnTo>
                <a:lnTo>
                  <a:pt x="371" y="388"/>
                </a:lnTo>
                <a:lnTo>
                  <a:pt x="379" y="386"/>
                </a:lnTo>
                <a:lnTo>
                  <a:pt x="379" y="386"/>
                </a:lnTo>
                <a:lnTo>
                  <a:pt x="393" y="380"/>
                </a:lnTo>
                <a:lnTo>
                  <a:pt x="404" y="375"/>
                </a:lnTo>
                <a:lnTo>
                  <a:pt x="415" y="368"/>
                </a:lnTo>
                <a:lnTo>
                  <a:pt x="415" y="368"/>
                </a:lnTo>
                <a:lnTo>
                  <a:pt x="425" y="360"/>
                </a:lnTo>
                <a:lnTo>
                  <a:pt x="430" y="355"/>
                </a:lnTo>
                <a:lnTo>
                  <a:pt x="435" y="349"/>
                </a:lnTo>
                <a:lnTo>
                  <a:pt x="439" y="342"/>
                </a:lnTo>
                <a:lnTo>
                  <a:pt x="443" y="333"/>
                </a:lnTo>
                <a:lnTo>
                  <a:pt x="446" y="323"/>
                </a:lnTo>
                <a:lnTo>
                  <a:pt x="448" y="3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8" name="Freeform 35"/>
          <p:cNvSpPr>
            <a:spLocks/>
          </p:cNvSpPr>
          <p:nvPr userDrawn="1"/>
        </p:nvSpPr>
        <p:spPr bwMode="auto">
          <a:xfrm>
            <a:off x="7245351" y="1206204"/>
            <a:ext cx="73025" cy="80963"/>
          </a:xfrm>
          <a:custGeom>
            <a:avLst/>
            <a:gdLst>
              <a:gd name="T0" fmla="*/ 554 w 554"/>
              <a:gd name="T1" fmla="*/ 356 h 620"/>
              <a:gd name="T2" fmla="*/ 549 w 554"/>
              <a:gd name="T3" fmla="*/ 350 h 620"/>
              <a:gd name="T4" fmla="*/ 535 w 554"/>
              <a:gd name="T5" fmla="*/ 331 h 620"/>
              <a:gd name="T6" fmla="*/ 525 w 554"/>
              <a:gd name="T7" fmla="*/ 306 h 620"/>
              <a:gd name="T8" fmla="*/ 520 w 554"/>
              <a:gd name="T9" fmla="*/ 285 h 620"/>
              <a:gd name="T10" fmla="*/ 516 w 554"/>
              <a:gd name="T11" fmla="*/ 258 h 620"/>
              <a:gd name="T12" fmla="*/ 515 w 554"/>
              <a:gd name="T13" fmla="*/ 243 h 620"/>
              <a:gd name="T14" fmla="*/ 516 w 554"/>
              <a:gd name="T15" fmla="*/ 222 h 620"/>
              <a:gd name="T16" fmla="*/ 520 w 554"/>
              <a:gd name="T17" fmla="*/ 202 h 620"/>
              <a:gd name="T18" fmla="*/ 532 w 554"/>
              <a:gd name="T19" fmla="*/ 167 h 620"/>
              <a:gd name="T20" fmla="*/ 546 w 554"/>
              <a:gd name="T21" fmla="*/ 142 h 620"/>
              <a:gd name="T22" fmla="*/ 551 w 554"/>
              <a:gd name="T23" fmla="*/ 43 h 620"/>
              <a:gd name="T24" fmla="*/ 542 w 554"/>
              <a:gd name="T25" fmla="*/ 36 h 620"/>
              <a:gd name="T26" fmla="*/ 504 w 554"/>
              <a:gd name="T27" fmla="*/ 13 h 620"/>
              <a:gd name="T28" fmla="*/ 482 w 554"/>
              <a:gd name="T29" fmla="*/ 2 h 620"/>
              <a:gd name="T30" fmla="*/ 470 w 554"/>
              <a:gd name="T31" fmla="*/ 0 h 620"/>
              <a:gd name="T32" fmla="*/ 465 w 554"/>
              <a:gd name="T33" fmla="*/ 327 h 620"/>
              <a:gd name="T34" fmla="*/ 465 w 554"/>
              <a:gd name="T35" fmla="*/ 339 h 620"/>
              <a:gd name="T36" fmla="*/ 458 w 554"/>
              <a:gd name="T37" fmla="*/ 360 h 620"/>
              <a:gd name="T38" fmla="*/ 444 w 554"/>
              <a:gd name="T39" fmla="*/ 382 h 620"/>
              <a:gd name="T40" fmla="*/ 426 w 554"/>
              <a:gd name="T41" fmla="*/ 402 h 620"/>
              <a:gd name="T42" fmla="*/ 405 w 554"/>
              <a:gd name="T43" fmla="*/ 421 h 620"/>
              <a:gd name="T44" fmla="*/ 380 w 554"/>
              <a:gd name="T45" fmla="*/ 437 h 620"/>
              <a:gd name="T46" fmla="*/ 353 w 554"/>
              <a:gd name="T47" fmla="*/ 449 h 620"/>
              <a:gd name="T48" fmla="*/ 327 w 554"/>
              <a:gd name="T49" fmla="*/ 458 h 620"/>
              <a:gd name="T50" fmla="*/ 314 w 554"/>
              <a:gd name="T51" fmla="*/ 461 h 620"/>
              <a:gd name="T52" fmla="*/ 255 w 554"/>
              <a:gd name="T53" fmla="*/ 471 h 620"/>
              <a:gd name="T54" fmla="*/ 199 w 554"/>
              <a:gd name="T55" fmla="*/ 477 h 620"/>
              <a:gd name="T56" fmla="*/ 98 w 554"/>
              <a:gd name="T57" fmla="*/ 482 h 620"/>
              <a:gd name="T58" fmla="*/ 27 w 554"/>
              <a:gd name="T59" fmla="*/ 482 h 620"/>
              <a:gd name="T60" fmla="*/ 0 w 554"/>
              <a:gd name="T61" fmla="*/ 481 h 620"/>
              <a:gd name="T62" fmla="*/ 4 w 554"/>
              <a:gd name="T63" fmla="*/ 508 h 620"/>
              <a:gd name="T64" fmla="*/ 13 w 554"/>
              <a:gd name="T65" fmla="*/ 550 h 620"/>
              <a:gd name="T66" fmla="*/ 18 w 554"/>
              <a:gd name="T67" fmla="*/ 566 h 620"/>
              <a:gd name="T68" fmla="*/ 29 w 554"/>
              <a:gd name="T69" fmla="*/ 586 h 620"/>
              <a:gd name="T70" fmla="*/ 44 w 554"/>
              <a:gd name="T71" fmla="*/ 604 h 620"/>
              <a:gd name="T72" fmla="*/ 62 w 554"/>
              <a:gd name="T73" fmla="*/ 620 h 620"/>
              <a:gd name="T74" fmla="*/ 554 w 554"/>
              <a:gd name="T75" fmla="*/ 450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4" h="620">
                <a:moveTo>
                  <a:pt x="554" y="450"/>
                </a:moveTo>
                <a:lnTo>
                  <a:pt x="554" y="356"/>
                </a:lnTo>
                <a:lnTo>
                  <a:pt x="554" y="356"/>
                </a:lnTo>
                <a:lnTo>
                  <a:pt x="549" y="350"/>
                </a:lnTo>
                <a:lnTo>
                  <a:pt x="543" y="342"/>
                </a:lnTo>
                <a:lnTo>
                  <a:pt x="535" y="331"/>
                </a:lnTo>
                <a:lnTo>
                  <a:pt x="528" y="315"/>
                </a:lnTo>
                <a:lnTo>
                  <a:pt x="525" y="306"/>
                </a:lnTo>
                <a:lnTo>
                  <a:pt x="522" y="296"/>
                </a:lnTo>
                <a:lnTo>
                  <a:pt x="520" y="285"/>
                </a:lnTo>
                <a:lnTo>
                  <a:pt x="517" y="271"/>
                </a:lnTo>
                <a:lnTo>
                  <a:pt x="516" y="258"/>
                </a:lnTo>
                <a:lnTo>
                  <a:pt x="515" y="243"/>
                </a:lnTo>
                <a:lnTo>
                  <a:pt x="515" y="243"/>
                </a:lnTo>
                <a:lnTo>
                  <a:pt x="515" y="232"/>
                </a:lnTo>
                <a:lnTo>
                  <a:pt x="516" y="222"/>
                </a:lnTo>
                <a:lnTo>
                  <a:pt x="517" y="212"/>
                </a:lnTo>
                <a:lnTo>
                  <a:pt x="520" y="202"/>
                </a:lnTo>
                <a:lnTo>
                  <a:pt x="526" y="183"/>
                </a:lnTo>
                <a:lnTo>
                  <a:pt x="532" y="167"/>
                </a:lnTo>
                <a:lnTo>
                  <a:pt x="540" y="154"/>
                </a:lnTo>
                <a:lnTo>
                  <a:pt x="546" y="142"/>
                </a:lnTo>
                <a:lnTo>
                  <a:pt x="552" y="133"/>
                </a:lnTo>
                <a:lnTo>
                  <a:pt x="551" y="43"/>
                </a:lnTo>
                <a:lnTo>
                  <a:pt x="551" y="43"/>
                </a:lnTo>
                <a:lnTo>
                  <a:pt x="542" y="36"/>
                </a:lnTo>
                <a:lnTo>
                  <a:pt x="518" y="21"/>
                </a:lnTo>
                <a:lnTo>
                  <a:pt x="504" y="13"/>
                </a:lnTo>
                <a:lnTo>
                  <a:pt x="489" y="5"/>
                </a:lnTo>
                <a:lnTo>
                  <a:pt x="482" y="2"/>
                </a:lnTo>
                <a:lnTo>
                  <a:pt x="476" y="1"/>
                </a:lnTo>
                <a:lnTo>
                  <a:pt x="470" y="0"/>
                </a:lnTo>
                <a:lnTo>
                  <a:pt x="464" y="0"/>
                </a:lnTo>
                <a:lnTo>
                  <a:pt x="465" y="327"/>
                </a:lnTo>
                <a:lnTo>
                  <a:pt x="465" y="327"/>
                </a:lnTo>
                <a:lnTo>
                  <a:pt x="465" y="339"/>
                </a:lnTo>
                <a:lnTo>
                  <a:pt x="462" y="349"/>
                </a:lnTo>
                <a:lnTo>
                  <a:pt x="458" y="360"/>
                </a:lnTo>
                <a:lnTo>
                  <a:pt x="452" y="370"/>
                </a:lnTo>
                <a:lnTo>
                  <a:pt x="444" y="382"/>
                </a:lnTo>
                <a:lnTo>
                  <a:pt x="436" y="392"/>
                </a:lnTo>
                <a:lnTo>
                  <a:pt x="426" y="402"/>
                </a:lnTo>
                <a:lnTo>
                  <a:pt x="416" y="411"/>
                </a:lnTo>
                <a:lnTo>
                  <a:pt x="405" y="421"/>
                </a:lnTo>
                <a:lnTo>
                  <a:pt x="392" y="429"/>
                </a:lnTo>
                <a:lnTo>
                  <a:pt x="380" y="437"/>
                </a:lnTo>
                <a:lnTo>
                  <a:pt x="367" y="443"/>
                </a:lnTo>
                <a:lnTo>
                  <a:pt x="353" y="449"/>
                </a:lnTo>
                <a:lnTo>
                  <a:pt x="340" y="454"/>
                </a:lnTo>
                <a:lnTo>
                  <a:pt x="327" y="458"/>
                </a:lnTo>
                <a:lnTo>
                  <a:pt x="314" y="461"/>
                </a:lnTo>
                <a:lnTo>
                  <a:pt x="314" y="461"/>
                </a:lnTo>
                <a:lnTo>
                  <a:pt x="284" y="467"/>
                </a:lnTo>
                <a:lnTo>
                  <a:pt x="255" y="471"/>
                </a:lnTo>
                <a:lnTo>
                  <a:pt x="227" y="474"/>
                </a:lnTo>
                <a:lnTo>
                  <a:pt x="199" y="477"/>
                </a:lnTo>
                <a:lnTo>
                  <a:pt x="146" y="480"/>
                </a:lnTo>
                <a:lnTo>
                  <a:pt x="98" y="482"/>
                </a:lnTo>
                <a:lnTo>
                  <a:pt x="58" y="482"/>
                </a:lnTo>
                <a:lnTo>
                  <a:pt x="27" y="482"/>
                </a:lnTo>
                <a:lnTo>
                  <a:pt x="0" y="481"/>
                </a:lnTo>
                <a:lnTo>
                  <a:pt x="0" y="481"/>
                </a:lnTo>
                <a:lnTo>
                  <a:pt x="1" y="488"/>
                </a:lnTo>
                <a:lnTo>
                  <a:pt x="4" y="508"/>
                </a:lnTo>
                <a:lnTo>
                  <a:pt x="10" y="535"/>
                </a:lnTo>
                <a:lnTo>
                  <a:pt x="13" y="550"/>
                </a:lnTo>
                <a:lnTo>
                  <a:pt x="18" y="566"/>
                </a:lnTo>
                <a:lnTo>
                  <a:pt x="18" y="566"/>
                </a:lnTo>
                <a:lnTo>
                  <a:pt x="23" y="576"/>
                </a:lnTo>
                <a:lnTo>
                  <a:pt x="29" y="586"/>
                </a:lnTo>
                <a:lnTo>
                  <a:pt x="36" y="595"/>
                </a:lnTo>
                <a:lnTo>
                  <a:pt x="44" y="604"/>
                </a:lnTo>
                <a:lnTo>
                  <a:pt x="57" y="616"/>
                </a:lnTo>
                <a:lnTo>
                  <a:pt x="62" y="620"/>
                </a:lnTo>
                <a:lnTo>
                  <a:pt x="451" y="620"/>
                </a:lnTo>
                <a:lnTo>
                  <a:pt x="554" y="4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39" name="Freeform 36"/>
          <p:cNvSpPr>
            <a:spLocks/>
          </p:cNvSpPr>
          <p:nvPr userDrawn="1"/>
        </p:nvSpPr>
        <p:spPr bwMode="auto">
          <a:xfrm>
            <a:off x="7251700" y="1298279"/>
            <a:ext cx="57150" cy="17463"/>
          </a:xfrm>
          <a:custGeom>
            <a:avLst/>
            <a:gdLst>
              <a:gd name="T0" fmla="*/ 20 w 435"/>
              <a:gd name="T1" fmla="*/ 142 h 142"/>
              <a:gd name="T2" fmla="*/ 411 w 435"/>
              <a:gd name="T3" fmla="*/ 142 h 142"/>
              <a:gd name="T4" fmla="*/ 411 w 435"/>
              <a:gd name="T5" fmla="*/ 142 h 142"/>
              <a:gd name="T6" fmla="*/ 422 w 435"/>
              <a:gd name="T7" fmla="*/ 109 h 142"/>
              <a:gd name="T8" fmla="*/ 430 w 435"/>
              <a:gd name="T9" fmla="*/ 83 h 142"/>
              <a:gd name="T10" fmla="*/ 433 w 435"/>
              <a:gd name="T11" fmla="*/ 72 h 142"/>
              <a:gd name="T12" fmla="*/ 435 w 435"/>
              <a:gd name="T13" fmla="*/ 63 h 142"/>
              <a:gd name="T14" fmla="*/ 417 w 435"/>
              <a:gd name="T15" fmla="*/ 0 h 142"/>
              <a:gd name="T16" fmla="*/ 22 w 435"/>
              <a:gd name="T17" fmla="*/ 0 h 142"/>
              <a:gd name="T18" fmla="*/ 0 w 435"/>
              <a:gd name="T19" fmla="*/ 65 h 142"/>
              <a:gd name="T20" fmla="*/ 20 w 435"/>
              <a:gd name="T2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5" h="142">
                <a:moveTo>
                  <a:pt x="20" y="142"/>
                </a:moveTo>
                <a:lnTo>
                  <a:pt x="411" y="142"/>
                </a:lnTo>
                <a:lnTo>
                  <a:pt x="411" y="142"/>
                </a:lnTo>
                <a:lnTo>
                  <a:pt x="422" y="109"/>
                </a:lnTo>
                <a:lnTo>
                  <a:pt x="430" y="83"/>
                </a:lnTo>
                <a:lnTo>
                  <a:pt x="433" y="72"/>
                </a:lnTo>
                <a:lnTo>
                  <a:pt x="435" y="63"/>
                </a:lnTo>
                <a:lnTo>
                  <a:pt x="417" y="0"/>
                </a:lnTo>
                <a:lnTo>
                  <a:pt x="22" y="0"/>
                </a:lnTo>
                <a:lnTo>
                  <a:pt x="0" y="65"/>
                </a:lnTo>
                <a:lnTo>
                  <a:pt x="20" y="1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0" name="Freeform 37"/>
          <p:cNvSpPr>
            <a:spLocks/>
          </p:cNvSpPr>
          <p:nvPr userDrawn="1"/>
        </p:nvSpPr>
        <p:spPr bwMode="auto">
          <a:xfrm>
            <a:off x="7254875" y="1326854"/>
            <a:ext cx="57150" cy="66675"/>
          </a:xfrm>
          <a:custGeom>
            <a:avLst/>
            <a:gdLst>
              <a:gd name="T0" fmla="*/ 384 w 436"/>
              <a:gd name="T1" fmla="*/ 0 h 514"/>
              <a:gd name="T2" fmla="*/ 2 w 436"/>
              <a:gd name="T3" fmla="*/ 0 h 514"/>
              <a:gd name="T4" fmla="*/ 0 w 436"/>
              <a:gd name="T5" fmla="*/ 505 h 514"/>
              <a:gd name="T6" fmla="*/ 331 w 436"/>
              <a:gd name="T7" fmla="*/ 514 h 514"/>
              <a:gd name="T8" fmla="*/ 436 w 436"/>
              <a:gd name="T9" fmla="*/ 431 h 514"/>
              <a:gd name="T10" fmla="*/ 384 w 436"/>
              <a:gd name="T11" fmla="*/ 0 h 514"/>
            </a:gdLst>
            <a:ahLst/>
            <a:cxnLst>
              <a:cxn ang="0">
                <a:pos x="T0" y="T1"/>
              </a:cxn>
              <a:cxn ang="0">
                <a:pos x="T2" y="T3"/>
              </a:cxn>
              <a:cxn ang="0">
                <a:pos x="T4" y="T5"/>
              </a:cxn>
              <a:cxn ang="0">
                <a:pos x="T6" y="T7"/>
              </a:cxn>
              <a:cxn ang="0">
                <a:pos x="T8" y="T9"/>
              </a:cxn>
              <a:cxn ang="0">
                <a:pos x="T10" y="T11"/>
              </a:cxn>
            </a:cxnLst>
            <a:rect l="0" t="0" r="r" b="b"/>
            <a:pathLst>
              <a:path w="436" h="514">
                <a:moveTo>
                  <a:pt x="384" y="0"/>
                </a:moveTo>
                <a:lnTo>
                  <a:pt x="2" y="0"/>
                </a:lnTo>
                <a:lnTo>
                  <a:pt x="0" y="505"/>
                </a:lnTo>
                <a:lnTo>
                  <a:pt x="331" y="514"/>
                </a:lnTo>
                <a:lnTo>
                  <a:pt x="436" y="431"/>
                </a:lnTo>
                <a:lnTo>
                  <a:pt x="3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1" name="Freeform 38"/>
          <p:cNvSpPr>
            <a:spLocks/>
          </p:cNvSpPr>
          <p:nvPr userDrawn="1"/>
        </p:nvSpPr>
        <p:spPr bwMode="auto">
          <a:xfrm>
            <a:off x="7251701" y="1391941"/>
            <a:ext cx="77788" cy="68263"/>
          </a:xfrm>
          <a:custGeom>
            <a:avLst/>
            <a:gdLst>
              <a:gd name="T0" fmla="*/ 586 w 586"/>
              <a:gd name="T1" fmla="*/ 139 h 523"/>
              <a:gd name="T2" fmla="*/ 586 w 586"/>
              <a:gd name="T3" fmla="*/ 139 h 523"/>
              <a:gd name="T4" fmla="*/ 552 w 586"/>
              <a:gd name="T5" fmla="*/ 115 h 523"/>
              <a:gd name="T6" fmla="*/ 527 w 586"/>
              <a:gd name="T7" fmla="*/ 97 h 523"/>
              <a:gd name="T8" fmla="*/ 519 w 586"/>
              <a:gd name="T9" fmla="*/ 90 h 523"/>
              <a:gd name="T10" fmla="*/ 514 w 586"/>
              <a:gd name="T11" fmla="*/ 85 h 523"/>
              <a:gd name="T12" fmla="*/ 514 w 586"/>
              <a:gd name="T13" fmla="*/ 85 h 523"/>
              <a:gd name="T14" fmla="*/ 512 w 586"/>
              <a:gd name="T15" fmla="*/ 79 h 523"/>
              <a:gd name="T16" fmla="*/ 510 w 586"/>
              <a:gd name="T17" fmla="*/ 69 h 523"/>
              <a:gd name="T18" fmla="*/ 506 w 586"/>
              <a:gd name="T19" fmla="*/ 40 h 523"/>
              <a:gd name="T20" fmla="*/ 503 w 586"/>
              <a:gd name="T21" fmla="*/ 0 h 523"/>
              <a:gd name="T22" fmla="*/ 381 w 586"/>
              <a:gd name="T23" fmla="*/ 98 h 523"/>
              <a:gd name="T24" fmla="*/ 8 w 586"/>
              <a:gd name="T25" fmla="*/ 97 h 523"/>
              <a:gd name="T26" fmla="*/ 8 w 586"/>
              <a:gd name="T27" fmla="*/ 97 h 523"/>
              <a:gd name="T28" fmla="*/ 8 w 586"/>
              <a:gd name="T29" fmla="*/ 98 h 523"/>
              <a:gd name="T30" fmla="*/ 7 w 586"/>
              <a:gd name="T31" fmla="*/ 100 h 523"/>
              <a:gd name="T32" fmla="*/ 5 w 586"/>
              <a:gd name="T33" fmla="*/ 108 h 523"/>
              <a:gd name="T34" fmla="*/ 3 w 586"/>
              <a:gd name="T35" fmla="*/ 139 h 523"/>
              <a:gd name="T36" fmla="*/ 2 w 586"/>
              <a:gd name="T37" fmla="*/ 183 h 523"/>
              <a:gd name="T38" fmla="*/ 1 w 586"/>
              <a:gd name="T39" fmla="*/ 233 h 523"/>
              <a:gd name="T40" fmla="*/ 0 w 586"/>
              <a:gd name="T41" fmla="*/ 327 h 523"/>
              <a:gd name="T42" fmla="*/ 0 w 586"/>
              <a:gd name="T43" fmla="*/ 369 h 523"/>
              <a:gd name="T44" fmla="*/ 0 w 586"/>
              <a:gd name="T45" fmla="*/ 369 h 523"/>
              <a:gd name="T46" fmla="*/ 29 w 586"/>
              <a:gd name="T47" fmla="*/ 395 h 523"/>
              <a:gd name="T48" fmla="*/ 95 w 586"/>
              <a:gd name="T49" fmla="*/ 448 h 523"/>
              <a:gd name="T50" fmla="*/ 131 w 586"/>
              <a:gd name="T51" fmla="*/ 477 h 523"/>
              <a:gd name="T52" fmla="*/ 162 w 586"/>
              <a:gd name="T53" fmla="*/ 501 h 523"/>
              <a:gd name="T54" fmla="*/ 186 w 586"/>
              <a:gd name="T55" fmla="*/ 517 h 523"/>
              <a:gd name="T56" fmla="*/ 193 w 586"/>
              <a:gd name="T57" fmla="*/ 522 h 523"/>
              <a:gd name="T58" fmla="*/ 195 w 586"/>
              <a:gd name="T59" fmla="*/ 523 h 523"/>
              <a:gd name="T60" fmla="*/ 197 w 586"/>
              <a:gd name="T61" fmla="*/ 523 h 523"/>
              <a:gd name="T62" fmla="*/ 448 w 586"/>
              <a:gd name="T63" fmla="*/ 206 h 523"/>
              <a:gd name="T64" fmla="*/ 586 w 586"/>
              <a:gd name="T65" fmla="*/ 139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86" h="523">
                <a:moveTo>
                  <a:pt x="586" y="139"/>
                </a:moveTo>
                <a:lnTo>
                  <a:pt x="586" y="139"/>
                </a:lnTo>
                <a:lnTo>
                  <a:pt x="552" y="115"/>
                </a:lnTo>
                <a:lnTo>
                  <a:pt x="527" y="97"/>
                </a:lnTo>
                <a:lnTo>
                  <a:pt x="519" y="90"/>
                </a:lnTo>
                <a:lnTo>
                  <a:pt x="514" y="85"/>
                </a:lnTo>
                <a:lnTo>
                  <a:pt x="514" y="85"/>
                </a:lnTo>
                <a:lnTo>
                  <a:pt x="512" y="79"/>
                </a:lnTo>
                <a:lnTo>
                  <a:pt x="510" y="69"/>
                </a:lnTo>
                <a:lnTo>
                  <a:pt x="506" y="40"/>
                </a:lnTo>
                <a:lnTo>
                  <a:pt x="503" y="0"/>
                </a:lnTo>
                <a:lnTo>
                  <a:pt x="381" y="98"/>
                </a:lnTo>
                <a:lnTo>
                  <a:pt x="8" y="97"/>
                </a:lnTo>
                <a:lnTo>
                  <a:pt x="8" y="97"/>
                </a:lnTo>
                <a:lnTo>
                  <a:pt x="8" y="98"/>
                </a:lnTo>
                <a:lnTo>
                  <a:pt x="7" y="100"/>
                </a:lnTo>
                <a:lnTo>
                  <a:pt x="5" y="108"/>
                </a:lnTo>
                <a:lnTo>
                  <a:pt x="3" y="139"/>
                </a:lnTo>
                <a:lnTo>
                  <a:pt x="2" y="183"/>
                </a:lnTo>
                <a:lnTo>
                  <a:pt x="1" y="233"/>
                </a:lnTo>
                <a:lnTo>
                  <a:pt x="0" y="327"/>
                </a:lnTo>
                <a:lnTo>
                  <a:pt x="0" y="369"/>
                </a:lnTo>
                <a:lnTo>
                  <a:pt x="0" y="369"/>
                </a:lnTo>
                <a:lnTo>
                  <a:pt x="29" y="395"/>
                </a:lnTo>
                <a:lnTo>
                  <a:pt x="95" y="448"/>
                </a:lnTo>
                <a:lnTo>
                  <a:pt x="131" y="477"/>
                </a:lnTo>
                <a:lnTo>
                  <a:pt x="162" y="501"/>
                </a:lnTo>
                <a:lnTo>
                  <a:pt x="186" y="517"/>
                </a:lnTo>
                <a:lnTo>
                  <a:pt x="193" y="522"/>
                </a:lnTo>
                <a:lnTo>
                  <a:pt x="195" y="523"/>
                </a:lnTo>
                <a:lnTo>
                  <a:pt x="197" y="523"/>
                </a:lnTo>
                <a:lnTo>
                  <a:pt x="448" y="206"/>
                </a:lnTo>
                <a:lnTo>
                  <a:pt x="586" y="13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2" name="Freeform 39"/>
          <p:cNvSpPr>
            <a:spLocks/>
          </p:cNvSpPr>
          <p:nvPr userDrawn="1"/>
        </p:nvSpPr>
        <p:spPr bwMode="auto">
          <a:xfrm>
            <a:off x="7288212" y="1417340"/>
            <a:ext cx="115888" cy="66675"/>
          </a:xfrm>
          <a:custGeom>
            <a:avLst/>
            <a:gdLst>
              <a:gd name="T0" fmla="*/ 226 w 879"/>
              <a:gd name="T1" fmla="*/ 65 h 509"/>
              <a:gd name="T2" fmla="*/ 0 w 879"/>
              <a:gd name="T3" fmla="*/ 355 h 509"/>
              <a:gd name="T4" fmla="*/ 369 w 879"/>
              <a:gd name="T5" fmla="*/ 509 h 509"/>
              <a:gd name="T6" fmla="*/ 369 w 879"/>
              <a:gd name="T7" fmla="*/ 509 h 509"/>
              <a:gd name="T8" fmla="*/ 409 w 879"/>
              <a:gd name="T9" fmla="*/ 487 h 509"/>
              <a:gd name="T10" fmla="*/ 452 w 879"/>
              <a:gd name="T11" fmla="*/ 464 h 509"/>
              <a:gd name="T12" fmla="*/ 495 w 879"/>
              <a:gd name="T13" fmla="*/ 439 h 509"/>
              <a:gd name="T14" fmla="*/ 538 w 879"/>
              <a:gd name="T15" fmla="*/ 413 h 509"/>
              <a:gd name="T16" fmla="*/ 623 w 879"/>
              <a:gd name="T17" fmla="*/ 361 h 509"/>
              <a:gd name="T18" fmla="*/ 703 w 879"/>
              <a:gd name="T19" fmla="*/ 311 h 509"/>
              <a:gd name="T20" fmla="*/ 773 w 879"/>
              <a:gd name="T21" fmla="*/ 266 h 509"/>
              <a:gd name="T22" fmla="*/ 829 w 879"/>
              <a:gd name="T23" fmla="*/ 229 h 509"/>
              <a:gd name="T24" fmla="*/ 879 w 879"/>
              <a:gd name="T25" fmla="*/ 196 h 509"/>
              <a:gd name="T26" fmla="*/ 359 w 879"/>
              <a:gd name="T27" fmla="*/ 0 h 509"/>
              <a:gd name="T28" fmla="*/ 226 w 879"/>
              <a:gd name="T29" fmla="*/ 65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9" h="509">
                <a:moveTo>
                  <a:pt x="226" y="65"/>
                </a:moveTo>
                <a:lnTo>
                  <a:pt x="0" y="355"/>
                </a:lnTo>
                <a:lnTo>
                  <a:pt x="369" y="509"/>
                </a:lnTo>
                <a:lnTo>
                  <a:pt x="369" y="509"/>
                </a:lnTo>
                <a:lnTo>
                  <a:pt x="409" y="487"/>
                </a:lnTo>
                <a:lnTo>
                  <a:pt x="452" y="464"/>
                </a:lnTo>
                <a:lnTo>
                  <a:pt x="495" y="439"/>
                </a:lnTo>
                <a:lnTo>
                  <a:pt x="538" y="413"/>
                </a:lnTo>
                <a:lnTo>
                  <a:pt x="623" y="361"/>
                </a:lnTo>
                <a:lnTo>
                  <a:pt x="703" y="311"/>
                </a:lnTo>
                <a:lnTo>
                  <a:pt x="773" y="266"/>
                </a:lnTo>
                <a:lnTo>
                  <a:pt x="829" y="229"/>
                </a:lnTo>
                <a:lnTo>
                  <a:pt x="879" y="196"/>
                </a:lnTo>
                <a:lnTo>
                  <a:pt x="359" y="0"/>
                </a:lnTo>
                <a:lnTo>
                  <a:pt x="226" y="6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3" name="Freeform 40"/>
          <p:cNvSpPr>
            <a:spLocks/>
          </p:cNvSpPr>
          <p:nvPr userDrawn="1"/>
        </p:nvSpPr>
        <p:spPr bwMode="auto">
          <a:xfrm>
            <a:off x="7323137" y="1172866"/>
            <a:ext cx="26988" cy="123825"/>
          </a:xfrm>
          <a:custGeom>
            <a:avLst/>
            <a:gdLst>
              <a:gd name="T0" fmla="*/ 170 w 211"/>
              <a:gd name="T1" fmla="*/ 388 h 928"/>
              <a:gd name="T2" fmla="*/ 169 w 211"/>
              <a:gd name="T3" fmla="*/ 133 h 928"/>
              <a:gd name="T4" fmla="*/ 171 w 211"/>
              <a:gd name="T5" fmla="*/ 84 h 928"/>
              <a:gd name="T6" fmla="*/ 172 w 211"/>
              <a:gd name="T7" fmla="*/ 79 h 928"/>
              <a:gd name="T8" fmla="*/ 182 w 211"/>
              <a:gd name="T9" fmla="*/ 64 h 928"/>
              <a:gd name="T10" fmla="*/ 188 w 211"/>
              <a:gd name="T11" fmla="*/ 53 h 928"/>
              <a:gd name="T12" fmla="*/ 192 w 211"/>
              <a:gd name="T13" fmla="*/ 36 h 928"/>
              <a:gd name="T14" fmla="*/ 191 w 211"/>
              <a:gd name="T15" fmla="*/ 18 h 928"/>
              <a:gd name="T16" fmla="*/ 188 w 211"/>
              <a:gd name="T17" fmla="*/ 0 h 928"/>
              <a:gd name="T18" fmla="*/ 6 w 211"/>
              <a:gd name="T19" fmla="*/ 0 h 928"/>
              <a:gd name="T20" fmla="*/ 4 w 211"/>
              <a:gd name="T21" fmla="*/ 8 h 928"/>
              <a:gd name="T22" fmla="*/ 5 w 211"/>
              <a:gd name="T23" fmla="*/ 33 h 928"/>
              <a:gd name="T24" fmla="*/ 7 w 211"/>
              <a:gd name="T25" fmla="*/ 43 h 928"/>
              <a:gd name="T26" fmla="*/ 17 w 211"/>
              <a:gd name="T27" fmla="*/ 65 h 928"/>
              <a:gd name="T28" fmla="*/ 28 w 211"/>
              <a:gd name="T29" fmla="*/ 80 h 928"/>
              <a:gd name="T30" fmla="*/ 33 w 211"/>
              <a:gd name="T31" fmla="*/ 388 h 928"/>
              <a:gd name="T32" fmla="*/ 29 w 211"/>
              <a:gd name="T33" fmla="*/ 395 h 928"/>
              <a:gd name="T34" fmla="*/ 19 w 211"/>
              <a:gd name="T35" fmla="*/ 412 h 928"/>
              <a:gd name="T36" fmla="*/ 9 w 211"/>
              <a:gd name="T37" fmla="*/ 443 h 928"/>
              <a:gd name="T38" fmla="*/ 0 w 211"/>
              <a:gd name="T39" fmla="*/ 487 h 928"/>
              <a:gd name="T40" fmla="*/ 0 w 211"/>
              <a:gd name="T41" fmla="*/ 498 h 928"/>
              <a:gd name="T42" fmla="*/ 1 w 211"/>
              <a:gd name="T43" fmla="*/ 518 h 928"/>
              <a:gd name="T44" fmla="*/ 10 w 211"/>
              <a:gd name="T45" fmla="*/ 546 h 928"/>
              <a:gd name="T46" fmla="*/ 23 w 211"/>
              <a:gd name="T47" fmla="*/ 576 h 928"/>
              <a:gd name="T48" fmla="*/ 35 w 211"/>
              <a:gd name="T49" fmla="*/ 594 h 928"/>
              <a:gd name="T50" fmla="*/ 31 w 211"/>
              <a:gd name="T51" fmla="*/ 850 h 928"/>
              <a:gd name="T52" fmla="*/ 23 w 211"/>
              <a:gd name="T53" fmla="*/ 859 h 928"/>
              <a:gd name="T54" fmla="*/ 18 w 211"/>
              <a:gd name="T55" fmla="*/ 871 h 928"/>
              <a:gd name="T56" fmla="*/ 14 w 211"/>
              <a:gd name="T57" fmla="*/ 888 h 928"/>
              <a:gd name="T58" fmla="*/ 14 w 211"/>
              <a:gd name="T59" fmla="*/ 898 h 928"/>
              <a:gd name="T60" fmla="*/ 15 w 211"/>
              <a:gd name="T61" fmla="*/ 919 h 928"/>
              <a:gd name="T62" fmla="*/ 18 w 211"/>
              <a:gd name="T63" fmla="*/ 928 h 928"/>
              <a:gd name="T64" fmla="*/ 188 w 211"/>
              <a:gd name="T65" fmla="*/ 928 h 928"/>
              <a:gd name="T66" fmla="*/ 191 w 211"/>
              <a:gd name="T67" fmla="*/ 906 h 928"/>
              <a:gd name="T68" fmla="*/ 190 w 211"/>
              <a:gd name="T69" fmla="*/ 881 h 928"/>
              <a:gd name="T70" fmla="*/ 188 w 211"/>
              <a:gd name="T71" fmla="*/ 873 h 928"/>
              <a:gd name="T72" fmla="*/ 179 w 211"/>
              <a:gd name="T73" fmla="*/ 857 h 928"/>
              <a:gd name="T74" fmla="*/ 169 w 211"/>
              <a:gd name="T75" fmla="*/ 846 h 928"/>
              <a:gd name="T76" fmla="*/ 168 w 211"/>
              <a:gd name="T77" fmla="*/ 594 h 928"/>
              <a:gd name="T78" fmla="*/ 190 w 211"/>
              <a:gd name="T79" fmla="*/ 561 h 928"/>
              <a:gd name="T80" fmla="*/ 202 w 211"/>
              <a:gd name="T81" fmla="*/ 537 h 928"/>
              <a:gd name="T82" fmla="*/ 210 w 211"/>
              <a:gd name="T83" fmla="*/ 507 h 928"/>
              <a:gd name="T84" fmla="*/ 211 w 211"/>
              <a:gd name="T85" fmla="*/ 491 h 928"/>
              <a:gd name="T86" fmla="*/ 211 w 211"/>
              <a:gd name="T87" fmla="*/ 482 h 928"/>
              <a:gd name="T88" fmla="*/ 206 w 211"/>
              <a:gd name="T89" fmla="*/ 458 h 928"/>
              <a:gd name="T90" fmla="*/ 195 w 211"/>
              <a:gd name="T91" fmla="*/ 428 h 928"/>
              <a:gd name="T92" fmla="*/ 181 w 211"/>
              <a:gd name="T93" fmla="*/ 405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1" h="928">
                <a:moveTo>
                  <a:pt x="170" y="388"/>
                </a:moveTo>
                <a:lnTo>
                  <a:pt x="170" y="388"/>
                </a:lnTo>
                <a:lnTo>
                  <a:pt x="169" y="238"/>
                </a:lnTo>
                <a:lnTo>
                  <a:pt x="169" y="133"/>
                </a:lnTo>
                <a:lnTo>
                  <a:pt x="170" y="96"/>
                </a:lnTo>
                <a:lnTo>
                  <a:pt x="171" y="84"/>
                </a:lnTo>
                <a:lnTo>
                  <a:pt x="172" y="79"/>
                </a:lnTo>
                <a:lnTo>
                  <a:pt x="172" y="79"/>
                </a:lnTo>
                <a:lnTo>
                  <a:pt x="177" y="71"/>
                </a:lnTo>
                <a:lnTo>
                  <a:pt x="182" y="64"/>
                </a:lnTo>
                <a:lnTo>
                  <a:pt x="188" y="53"/>
                </a:lnTo>
                <a:lnTo>
                  <a:pt x="188" y="53"/>
                </a:lnTo>
                <a:lnTo>
                  <a:pt x="191" y="45"/>
                </a:lnTo>
                <a:lnTo>
                  <a:pt x="192" y="36"/>
                </a:lnTo>
                <a:lnTo>
                  <a:pt x="192" y="28"/>
                </a:lnTo>
                <a:lnTo>
                  <a:pt x="191" y="18"/>
                </a:lnTo>
                <a:lnTo>
                  <a:pt x="189" y="5"/>
                </a:lnTo>
                <a:lnTo>
                  <a:pt x="188" y="0"/>
                </a:lnTo>
                <a:lnTo>
                  <a:pt x="6" y="0"/>
                </a:lnTo>
                <a:lnTo>
                  <a:pt x="6" y="0"/>
                </a:lnTo>
                <a:lnTo>
                  <a:pt x="5" y="4"/>
                </a:lnTo>
                <a:lnTo>
                  <a:pt x="4" y="8"/>
                </a:lnTo>
                <a:lnTo>
                  <a:pt x="4" y="20"/>
                </a:lnTo>
                <a:lnTo>
                  <a:pt x="5" y="33"/>
                </a:lnTo>
                <a:lnTo>
                  <a:pt x="7" y="43"/>
                </a:lnTo>
                <a:lnTo>
                  <a:pt x="7" y="43"/>
                </a:lnTo>
                <a:lnTo>
                  <a:pt x="11" y="54"/>
                </a:lnTo>
                <a:lnTo>
                  <a:pt x="17" y="65"/>
                </a:lnTo>
                <a:lnTo>
                  <a:pt x="24" y="76"/>
                </a:lnTo>
                <a:lnTo>
                  <a:pt x="28" y="80"/>
                </a:lnTo>
                <a:lnTo>
                  <a:pt x="33" y="83"/>
                </a:lnTo>
                <a:lnTo>
                  <a:pt x="33" y="388"/>
                </a:lnTo>
                <a:lnTo>
                  <a:pt x="33" y="388"/>
                </a:lnTo>
                <a:lnTo>
                  <a:pt x="29" y="395"/>
                </a:lnTo>
                <a:lnTo>
                  <a:pt x="24" y="402"/>
                </a:lnTo>
                <a:lnTo>
                  <a:pt x="19" y="412"/>
                </a:lnTo>
                <a:lnTo>
                  <a:pt x="14" y="426"/>
                </a:lnTo>
                <a:lnTo>
                  <a:pt x="9" y="443"/>
                </a:lnTo>
                <a:lnTo>
                  <a:pt x="4" y="463"/>
                </a:lnTo>
                <a:lnTo>
                  <a:pt x="0" y="487"/>
                </a:lnTo>
                <a:lnTo>
                  <a:pt x="0" y="487"/>
                </a:lnTo>
                <a:lnTo>
                  <a:pt x="0" y="498"/>
                </a:lnTo>
                <a:lnTo>
                  <a:pt x="0" y="508"/>
                </a:lnTo>
                <a:lnTo>
                  <a:pt x="1" y="518"/>
                </a:lnTo>
                <a:lnTo>
                  <a:pt x="4" y="529"/>
                </a:lnTo>
                <a:lnTo>
                  <a:pt x="10" y="546"/>
                </a:lnTo>
                <a:lnTo>
                  <a:pt x="16" y="562"/>
                </a:lnTo>
                <a:lnTo>
                  <a:pt x="23" y="576"/>
                </a:lnTo>
                <a:lnTo>
                  <a:pt x="29" y="585"/>
                </a:lnTo>
                <a:lnTo>
                  <a:pt x="35" y="594"/>
                </a:lnTo>
                <a:lnTo>
                  <a:pt x="31" y="850"/>
                </a:lnTo>
                <a:lnTo>
                  <a:pt x="31" y="850"/>
                </a:lnTo>
                <a:lnTo>
                  <a:pt x="29" y="852"/>
                </a:lnTo>
                <a:lnTo>
                  <a:pt x="23" y="859"/>
                </a:lnTo>
                <a:lnTo>
                  <a:pt x="20" y="864"/>
                </a:lnTo>
                <a:lnTo>
                  <a:pt x="18" y="871"/>
                </a:lnTo>
                <a:lnTo>
                  <a:pt x="15" y="879"/>
                </a:lnTo>
                <a:lnTo>
                  <a:pt x="14" y="888"/>
                </a:lnTo>
                <a:lnTo>
                  <a:pt x="14" y="888"/>
                </a:lnTo>
                <a:lnTo>
                  <a:pt x="14" y="898"/>
                </a:lnTo>
                <a:lnTo>
                  <a:pt x="14" y="906"/>
                </a:lnTo>
                <a:lnTo>
                  <a:pt x="15" y="919"/>
                </a:lnTo>
                <a:lnTo>
                  <a:pt x="17" y="926"/>
                </a:lnTo>
                <a:lnTo>
                  <a:pt x="18" y="928"/>
                </a:lnTo>
                <a:lnTo>
                  <a:pt x="188" y="928"/>
                </a:lnTo>
                <a:lnTo>
                  <a:pt x="188" y="928"/>
                </a:lnTo>
                <a:lnTo>
                  <a:pt x="190" y="920"/>
                </a:lnTo>
                <a:lnTo>
                  <a:pt x="191" y="906"/>
                </a:lnTo>
                <a:lnTo>
                  <a:pt x="190" y="889"/>
                </a:lnTo>
                <a:lnTo>
                  <a:pt x="190" y="881"/>
                </a:lnTo>
                <a:lnTo>
                  <a:pt x="188" y="873"/>
                </a:lnTo>
                <a:lnTo>
                  <a:pt x="188" y="873"/>
                </a:lnTo>
                <a:lnTo>
                  <a:pt x="185" y="864"/>
                </a:lnTo>
                <a:lnTo>
                  <a:pt x="179" y="857"/>
                </a:lnTo>
                <a:lnTo>
                  <a:pt x="174" y="851"/>
                </a:lnTo>
                <a:lnTo>
                  <a:pt x="169" y="846"/>
                </a:lnTo>
                <a:lnTo>
                  <a:pt x="168" y="594"/>
                </a:lnTo>
                <a:lnTo>
                  <a:pt x="168" y="594"/>
                </a:lnTo>
                <a:lnTo>
                  <a:pt x="181" y="573"/>
                </a:lnTo>
                <a:lnTo>
                  <a:pt x="190" y="561"/>
                </a:lnTo>
                <a:lnTo>
                  <a:pt x="196" y="550"/>
                </a:lnTo>
                <a:lnTo>
                  <a:pt x="202" y="537"/>
                </a:lnTo>
                <a:lnTo>
                  <a:pt x="207" y="522"/>
                </a:lnTo>
                <a:lnTo>
                  <a:pt x="210" y="507"/>
                </a:lnTo>
                <a:lnTo>
                  <a:pt x="211" y="499"/>
                </a:lnTo>
                <a:lnTo>
                  <a:pt x="211" y="491"/>
                </a:lnTo>
                <a:lnTo>
                  <a:pt x="211" y="491"/>
                </a:lnTo>
                <a:lnTo>
                  <a:pt x="211" y="482"/>
                </a:lnTo>
                <a:lnTo>
                  <a:pt x="210" y="473"/>
                </a:lnTo>
                <a:lnTo>
                  <a:pt x="206" y="458"/>
                </a:lnTo>
                <a:lnTo>
                  <a:pt x="201" y="443"/>
                </a:lnTo>
                <a:lnTo>
                  <a:pt x="195" y="428"/>
                </a:lnTo>
                <a:lnTo>
                  <a:pt x="189" y="416"/>
                </a:lnTo>
                <a:lnTo>
                  <a:pt x="181" y="405"/>
                </a:lnTo>
                <a:lnTo>
                  <a:pt x="170" y="3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4" name="Freeform 41"/>
          <p:cNvSpPr>
            <a:spLocks/>
          </p:cNvSpPr>
          <p:nvPr userDrawn="1"/>
        </p:nvSpPr>
        <p:spPr bwMode="auto">
          <a:xfrm>
            <a:off x="7351713" y="1209378"/>
            <a:ext cx="80963" cy="58738"/>
          </a:xfrm>
          <a:custGeom>
            <a:avLst/>
            <a:gdLst>
              <a:gd name="T0" fmla="*/ 617 w 617"/>
              <a:gd name="T1" fmla="*/ 73 h 442"/>
              <a:gd name="T2" fmla="*/ 433 w 617"/>
              <a:gd name="T3" fmla="*/ 70 h 442"/>
              <a:gd name="T4" fmla="*/ 202 w 617"/>
              <a:gd name="T5" fmla="*/ 68 h 442"/>
              <a:gd name="T6" fmla="*/ 195 w 617"/>
              <a:gd name="T7" fmla="*/ 67 h 442"/>
              <a:gd name="T8" fmla="*/ 174 w 617"/>
              <a:gd name="T9" fmla="*/ 61 h 442"/>
              <a:gd name="T10" fmla="*/ 137 w 617"/>
              <a:gd name="T11" fmla="*/ 44 h 442"/>
              <a:gd name="T12" fmla="*/ 84 w 617"/>
              <a:gd name="T13" fmla="*/ 16 h 442"/>
              <a:gd name="T14" fmla="*/ 53 w 617"/>
              <a:gd name="T15" fmla="*/ 2 h 442"/>
              <a:gd name="T16" fmla="*/ 40 w 617"/>
              <a:gd name="T17" fmla="*/ 0 h 442"/>
              <a:gd name="T18" fmla="*/ 37 w 617"/>
              <a:gd name="T19" fmla="*/ 2 h 442"/>
              <a:gd name="T20" fmla="*/ 22 w 617"/>
              <a:gd name="T21" fmla="*/ 38 h 442"/>
              <a:gd name="T22" fmla="*/ 1 w 617"/>
              <a:gd name="T23" fmla="*/ 91 h 442"/>
              <a:gd name="T24" fmla="*/ 19 w 617"/>
              <a:gd name="T25" fmla="*/ 113 h 442"/>
              <a:gd name="T26" fmla="*/ 38 w 617"/>
              <a:gd name="T27" fmla="*/ 147 h 442"/>
              <a:gd name="T28" fmla="*/ 47 w 617"/>
              <a:gd name="T29" fmla="*/ 169 h 442"/>
              <a:gd name="T30" fmla="*/ 52 w 617"/>
              <a:gd name="T31" fmla="*/ 191 h 442"/>
              <a:gd name="T32" fmla="*/ 55 w 617"/>
              <a:gd name="T33" fmla="*/ 216 h 442"/>
              <a:gd name="T34" fmla="*/ 53 w 617"/>
              <a:gd name="T35" fmla="*/ 235 h 442"/>
              <a:gd name="T36" fmla="*/ 48 w 617"/>
              <a:gd name="T37" fmla="*/ 265 h 442"/>
              <a:gd name="T38" fmla="*/ 42 w 617"/>
              <a:gd name="T39" fmla="*/ 283 h 442"/>
              <a:gd name="T40" fmla="*/ 32 w 617"/>
              <a:gd name="T41" fmla="*/ 304 h 442"/>
              <a:gd name="T42" fmla="*/ 19 w 617"/>
              <a:gd name="T43" fmla="*/ 324 h 442"/>
              <a:gd name="T44" fmla="*/ 0 w 617"/>
              <a:gd name="T45" fmla="*/ 345 h 442"/>
              <a:gd name="T46" fmla="*/ 23 w 617"/>
              <a:gd name="T47" fmla="*/ 391 h 442"/>
              <a:gd name="T48" fmla="*/ 47 w 617"/>
              <a:gd name="T49" fmla="*/ 435 h 442"/>
              <a:gd name="T50" fmla="*/ 52 w 617"/>
              <a:gd name="T51" fmla="*/ 442 h 442"/>
              <a:gd name="T52" fmla="*/ 84 w 617"/>
              <a:gd name="T53" fmla="*/ 423 h 442"/>
              <a:gd name="T54" fmla="*/ 129 w 617"/>
              <a:gd name="T55" fmla="*/ 400 h 442"/>
              <a:gd name="T56" fmla="*/ 183 w 617"/>
              <a:gd name="T57" fmla="*/ 378 h 442"/>
              <a:gd name="T58" fmla="*/ 211 w 617"/>
              <a:gd name="T59" fmla="*/ 371 h 442"/>
              <a:gd name="T60" fmla="*/ 224 w 617"/>
              <a:gd name="T61" fmla="*/ 369 h 442"/>
              <a:gd name="T62" fmla="*/ 330 w 617"/>
              <a:gd name="T63" fmla="*/ 363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17" h="442">
                <a:moveTo>
                  <a:pt x="330" y="363"/>
                </a:moveTo>
                <a:lnTo>
                  <a:pt x="617" y="73"/>
                </a:lnTo>
                <a:lnTo>
                  <a:pt x="617" y="73"/>
                </a:lnTo>
                <a:lnTo>
                  <a:pt x="433" y="70"/>
                </a:lnTo>
                <a:lnTo>
                  <a:pt x="324" y="69"/>
                </a:lnTo>
                <a:lnTo>
                  <a:pt x="202" y="68"/>
                </a:lnTo>
                <a:lnTo>
                  <a:pt x="202" y="68"/>
                </a:lnTo>
                <a:lnTo>
                  <a:pt x="195" y="67"/>
                </a:lnTo>
                <a:lnTo>
                  <a:pt x="185" y="65"/>
                </a:lnTo>
                <a:lnTo>
                  <a:pt x="174" y="61"/>
                </a:lnTo>
                <a:lnTo>
                  <a:pt x="163" y="56"/>
                </a:lnTo>
                <a:lnTo>
                  <a:pt x="137" y="44"/>
                </a:lnTo>
                <a:lnTo>
                  <a:pt x="110" y="30"/>
                </a:lnTo>
                <a:lnTo>
                  <a:pt x="84" y="16"/>
                </a:lnTo>
                <a:lnTo>
                  <a:pt x="63" y="6"/>
                </a:lnTo>
                <a:lnTo>
                  <a:pt x="53" y="2"/>
                </a:lnTo>
                <a:lnTo>
                  <a:pt x="45" y="1"/>
                </a:lnTo>
                <a:lnTo>
                  <a:pt x="40" y="0"/>
                </a:lnTo>
                <a:lnTo>
                  <a:pt x="38" y="1"/>
                </a:lnTo>
                <a:lnTo>
                  <a:pt x="37" y="2"/>
                </a:lnTo>
                <a:lnTo>
                  <a:pt x="37" y="2"/>
                </a:lnTo>
                <a:lnTo>
                  <a:pt x="22" y="38"/>
                </a:lnTo>
                <a:lnTo>
                  <a:pt x="1" y="91"/>
                </a:lnTo>
                <a:lnTo>
                  <a:pt x="1" y="91"/>
                </a:lnTo>
                <a:lnTo>
                  <a:pt x="10" y="101"/>
                </a:lnTo>
                <a:lnTo>
                  <a:pt x="19" y="113"/>
                </a:lnTo>
                <a:lnTo>
                  <a:pt x="29" y="129"/>
                </a:lnTo>
                <a:lnTo>
                  <a:pt x="38" y="147"/>
                </a:lnTo>
                <a:lnTo>
                  <a:pt x="43" y="157"/>
                </a:lnTo>
                <a:lnTo>
                  <a:pt x="47" y="169"/>
                </a:lnTo>
                <a:lnTo>
                  <a:pt x="50" y="180"/>
                </a:lnTo>
                <a:lnTo>
                  <a:pt x="52" y="191"/>
                </a:lnTo>
                <a:lnTo>
                  <a:pt x="55" y="203"/>
                </a:lnTo>
                <a:lnTo>
                  <a:pt x="55" y="216"/>
                </a:lnTo>
                <a:lnTo>
                  <a:pt x="55" y="216"/>
                </a:lnTo>
                <a:lnTo>
                  <a:pt x="53" y="235"/>
                </a:lnTo>
                <a:lnTo>
                  <a:pt x="51" y="248"/>
                </a:lnTo>
                <a:lnTo>
                  <a:pt x="48" y="265"/>
                </a:lnTo>
                <a:lnTo>
                  <a:pt x="45" y="274"/>
                </a:lnTo>
                <a:lnTo>
                  <a:pt x="42" y="283"/>
                </a:lnTo>
                <a:lnTo>
                  <a:pt x="38" y="293"/>
                </a:lnTo>
                <a:lnTo>
                  <a:pt x="32" y="304"/>
                </a:lnTo>
                <a:lnTo>
                  <a:pt x="26" y="313"/>
                </a:lnTo>
                <a:lnTo>
                  <a:pt x="19" y="324"/>
                </a:lnTo>
                <a:lnTo>
                  <a:pt x="11" y="334"/>
                </a:lnTo>
                <a:lnTo>
                  <a:pt x="0" y="345"/>
                </a:lnTo>
                <a:lnTo>
                  <a:pt x="0" y="345"/>
                </a:lnTo>
                <a:lnTo>
                  <a:pt x="23" y="391"/>
                </a:lnTo>
                <a:lnTo>
                  <a:pt x="40" y="423"/>
                </a:lnTo>
                <a:lnTo>
                  <a:pt x="47" y="435"/>
                </a:lnTo>
                <a:lnTo>
                  <a:pt x="52" y="442"/>
                </a:lnTo>
                <a:lnTo>
                  <a:pt x="52" y="442"/>
                </a:lnTo>
                <a:lnTo>
                  <a:pt x="67" y="433"/>
                </a:lnTo>
                <a:lnTo>
                  <a:pt x="84" y="423"/>
                </a:lnTo>
                <a:lnTo>
                  <a:pt x="105" y="412"/>
                </a:lnTo>
                <a:lnTo>
                  <a:pt x="129" y="400"/>
                </a:lnTo>
                <a:lnTo>
                  <a:pt x="156" y="388"/>
                </a:lnTo>
                <a:lnTo>
                  <a:pt x="183" y="378"/>
                </a:lnTo>
                <a:lnTo>
                  <a:pt x="198" y="374"/>
                </a:lnTo>
                <a:lnTo>
                  <a:pt x="211" y="371"/>
                </a:lnTo>
                <a:lnTo>
                  <a:pt x="211" y="371"/>
                </a:lnTo>
                <a:lnTo>
                  <a:pt x="224" y="369"/>
                </a:lnTo>
                <a:lnTo>
                  <a:pt x="248" y="367"/>
                </a:lnTo>
                <a:lnTo>
                  <a:pt x="330" y="36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5" name="Freeform 42"/>
          <p:cNvSpPr>
            <a:spLocks/>
          </p:cNvSpPr>
          <p:nvPr userDrawn="1"/>
        </p:nvSpPr>
        <p:spPr bwMode="auto">
          <a:xfrm>
            <a:off x="7453312" y="1131591"/>
            <a:ext cx="158750" cy="127000"/>
          </a:xfrm>
          <a:custGeom>
            <a:avLst/>
            <a:gdLst>
              <a:gd name="T0" fmla="*/ 1179 w 1207"/>
              <a:gd name="T1" fmla="*/ 480 h 962"/>
              <a:gd name="T2" fmla="*/ 1115 w 1207"/>
              <a:gd name="T3" fmla="*/ 496 h 962"/>
              <a:gd name="T4" fmla="*/ 1079 w 1207"/>
              <a:gd name="T5" fmla="*/ 532 h 962"/>
              <a:gd name="T6" fmla="*/ 1057 w 1207"/>
              <a:gd name="T7" fmla="*/ 600 h 962"/>
              <a:gd name="T8" fmla="*/ 1046 w 1207"/>
              <a:gd name="T9" fmla="*/ 585 h 962"/>
              <a:gd name="T10" fmla="*/ 1007 w 1207"/>
              <a:gd name="T11" fmla="*/ 556 h 962"/>
              <a:gd name="T12" fmla="*/ 935 w 1207"/>
              <a:gd name="T13" fmla="*/ 562 h 962"/>
              <a:gd name="T14" fmla="*/ 930 w 1207"/>
              <a:gd name="T15" fmla="*/ 613 h 962"/>
              <a:gd name="T16" fmla="*/ 935 w 1207"/>
              <a:gd name="T17" fmla="*/ 696 h 962"/>
              <a:gd name="T18" fmla="*/ 890 w 1207"/>
              <a:gd name="T19" fmla="*/ 725 h 962"/>
              <a:gd name="T20" fmla="*/ 842 w 1207"/>
              <a:gd name="T21" fmla="*/ 709 h 962"/>
              <a:gd name="T22" fmla="*/ 816 w 1207"/>
              <a:gd name="T23" fmla="*/ 658 h 962"/>
              <a:gd name="T24" fmla="*/ 805 w 1207"/>
              <a:gd name="T25" fmla="*/ 643 h 962"/>
              <a:gd name="T26" fmla="*/ 749 w 1207"/>
              <a:gd name="T27" fmla="*/ 659 h 962"/>
              <a:gd name="T28" fmla="*/ 701 w 1207"/>
              <a:gd name="T29" fmla="*/ 634 h 962"/>
              <a:gd name="T30" fmla="*/ 694 w 1207"/>
              <a:gd name="T31" fmla="*/ 581 h 962"/>
              <a:gd name="T32" fmla="*/ 754 w 1207"/>
              <a:gd name="T33" fmla="*/ 540 h 962"/>
              <a:gd name="T34" fmla="*/ 824 w 1207"/>
              <a:gd name="T35" fmla="*/ 520 h 962"/>
              <a:gd name="T36" fmla="*/ 805 w 1207"/>
              <a:gd name="T37" fmla="*/ 460 h 962"/>
              <a:gd name="T38" fmla="*/ 764 w 1207"/>
              <a:gd name="T39" fmla="*/ 421 h 962"/>
              <a:gd name="T40" fmla="*/ 698 w 1207"/>
              <a:gd name="T41" fmla="*/ 414 h 962"/>
              <a:gd name="T42" fmla="*/ 672 w 1207"/>
              <a:gd name="T43" fmla="*/ 415 h 962"/>
              <a:gd name="T44" fmla="*/ 712 w 1207"/>
              <a:gd name="T45" fmla="*/ 360 h 962"/>
              <a:gd name="T46" fmla="*/ 709 w 1207"/>
              <a:gd name="T47" fmla="*/ 285 h 962"/>
              <a:gd name="T48" fmla="*/ 668 w 1207"/>
              <a:gd name="T49" fmla="*/ 214 h 962"/>
              <a:gd name="T50" fmla="*/ 606 w 1207"/>
              <a:gd name="T51" fmla="*/ 224 h 962"/>
              <a:gd name="T52" fmla="*/ 535 w 1207"/>
              <a:gd name="T53" fmla="*/ 272 h 962"/>
              <a:gd name="T54" fmla="*/ 516 w 1207"/>
              <a:gd name="T55" fmla="*/ 334 h 962"/>
              <a:gd name="T56" fmla="*/ 508 w 1207"/>
              <a:gd name="T57" fmla="*/ 341 h 962"/>
              <a:gd name="T58" fmla="*/ 458 w 1207"/>
              <a:gd name="T59" fmla="*/ 287 h 962"/>
              <a:gd name="T60" fmla="*/ 404 w 1207"/>
              <a:gd name="T61" fmla="*/ 278 h 962"/>
              <a:gd name="T62" fmla="*/ 345 w 1207"/>
              <a:gd name="T63" fmla="*/ 300 h 962"/>
              <a:gd name="T64" fmla="*/ 362 w 1207"/>
              <a:gd name="T65" fmla="*/ 357 h 962"/>
              <a:gd name="T66" fmla="*/ 382 w 1207"/>
              <a:gd name="T67" fmla="*/ 432 h 962"/>
              <a:gd name="T68" fmla="*/ 347 w 1207"/>
              <a:gd name="T69" fmla="*/ 472 h 962"/>
              <a:gd name="T70" fmla="*/ 292 w 1207"/>
              <a:gd name="T71" fmla="*/ 462 h 962"/>
              <a:gd name="T72" fmla="*/ 262 w 1207"/>
              <a:gd name="T73" fmla="*/ 417 h 962"/>
              <a:gd name="T74" fmla="*/ 249 w 1207"/>
              <a:gd name="T75" fmla="*/ 398 h 962"/>
              <a:gd name="T76" fmla="*/ 194 w 1207"/>
              <a:gd name="T77" fmla="*/ 421 h 962"/>
              <a:gd name="T78" fmla="*/ 147 w 1207"/>
              <a:gd name="T79" fmla="*/ 404 h 962"/>
              <a:gd name="T80" fmla="*/ 128 w 1207"/>
              <a:gd name="T81" fmla="*/ 354 h 962"/>
              <a:gd name="T82" fmla="*/ 178 w 1207"/>
              <a:gd name="T83" fmla="*/ 300 h 962"/>
              <a:gd name="T84" fmla="*/ 233 w 1207"/>
              <a:gd name="T85" fmla="*/ 262 h 962"/>
              <a:gd name="T86" fmla="*/ 195 w 1207"/>
              <a:gd name="T87" fmla="*/ 203 h 962"/>
              <a:gd name="T88" fmla="*/ 145 w 1207"/>
              <a:gd name="T89" fmla="*/ 185 h 962"/>
              <a:gd name="T90" fmla="*/ 115 w 1207"/>
              <a:gd name="T91" fmla="*/ 191 h 962"/>
              <a:gd name="T92" fmla="*/ 153 w 1207"/>
              <a:gd name="T93" fmla="*/ 136 h 962"/>
              <a:gd name="T94" fmla="*/ 157 w 1207"/>
              <a:gd name="T95" fmla="*/ 76 h 962"/>
              <a:gd name="T96" fmla="*/ 134 w 1207"/>
              <a:gd name="T97" fmla="*/ 28 h 962"/>
              <a:gd name="T98" fmla="*/ 269 w 1207"/>
              <a:gd name="T99" fmla="*/ 712 h 962"/>
              <a:gd name="T100" fmla="*/ 354 w 1207"/>
              <a:gd name="T101" fmla="*/ 656 h 962"/>
              <a:gd name="T102" fmla="*/ 437 w 1207"/>
              <a:gd name="T103" fmla="*/ 636 h 962"/>
              <a:gd name="T104" fmla="*/ 517 w 1207"/>
              <a:gd name="T105" fmla="*/ 643 h 962"/>
              <a:gd name="T106" fmla="*/ 610 w 1207"/>
              <a:gd name="T107" fmla="*/ 683 h 962"/>
              <a:gd name="T108" fmla="*/ 658 w 1207"/>
              <a:gd name="T109" fmla="*/ 735 h 962"/>
              <a:gd name="T110" fmla="*/ 673 w 1207"/>
              <a:gd name="T111" fmla="*/ 793 h 962"/>
              <a:gd name="T112" fmla="*/ 646 w 1207"/>
              <a:gd name="T113" fmla="*/ 877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07" h="962">
                <a:moveTo>
                  <a:pt x="841" y="962"/>
                </a:moveTo>
                <a:lnTo>
                  <a:pt x="1207" y="484"/>
                </a:lnTo>
                <a:lnTo>
                  <a:pt x="1207" y="484"/>
                </a:lnTo>
                <a:lnTo>
                  <a:pt x="1200" y="482"/>
                </a:lnTo>
                <a:lnTo>
                  <a:pt x="1190" y="481"/>
                </a:lnTo>
                <a:lnTo>
                  <a:pt x="1179" y="480"/>
                </a:lnTo>
                <a:lnTo>
                  <a:pt x="1166" y="480"/>
                </a:lnTo>
                <a:lnTo>
                  <a:pt x="1149" y="483"/>
                </a:lnTo>
                <a:lnTo>
                  <a:pt x="1141" y="485"/>
                </a:lnTo>
                <a:lnTo>
                  <a:pt x="1133" y="488"/>
                </a:lnTo>
                <a:lnTo>
                  <a:pt x="1124" y="492"/>
                </a:lnTo>
                <a:lnTo>
                  <a:pt x="1115" y="496"/>
                </a:lnTo>
                <a:lnTo>
                  <a:pt x="1115" y="496"/>
                </a:lnTo>
                <a:lnTo>
                  <a:pt x="1106" y="502"/>
                </a:lnTo>
                <a:lnTo>
                  <a:pt x="1097" y="508"/>
                </a:lnTo>
                <a:lnTo>
                  <a:pt x="1090" y="515"/>
                </a:lnTo>
                <a:lnTo>
                  <a:pt x="1084" y="523"/>
                </a:lnTo>
                <a:lnTo>
                  <a:pt x="1079" y="532"/>
                </a:lnTo>
                <a:lnTo>
                  <a:pt x="1074" y="540"/>
                </a:lnTo>
                <a:lnTo>
                  <a:pt x="1070" y="548"/>
                </a:lnTo>
                <a:lnTo>
                  <a:pt x="1067" y="557"/>
                </a:lnTo>
                <a:lnTo>
                  <a:pt x="1062" y="574"/>
                </a:lnTo>
                <a:lnTo>
                  <a:pt x="1058" y="589"/>
                </a:lnTo>
                <a:lnTo>
                  <a:pt x="1057" y="600"/>
                </a:lnTo>
                <a:lnTo>
                  <a:pt x="1058" y="605"/>
                </a:lnTo>
                <a:lnTo>
                  <a:pt x="1059" y="608"/>
                </a:lnTo>
                <a:lnTo>
                  <a:pt x="1059" y="608"/>
                </a:lnTo>
                <a:lnTo>
                  <a:pt x="1055" y="599"/>
                </a:lnTo>
                <a:lnTo>
                  <a:pt x="1051" y="592"/>
                </a:lnTo>
                <a:lnTo>
                  <a:pt x="1046" y="585"/>
                </a:lnTo>
                <a:lnTo>
                  <a:pt x="1041" y="579"/>
                </a:lnTo>
                <a:lnTo>
                  <a:pt x="1036" y="574"/>
                </a:lnTo>
                <a:lnTo>
                  <a:pt x="1031" y="568"/>
                </a:lnTo>
                <a:lnTo>
                  <a:pt x="1025" y="564"/>
                </a:lnTo>
                <a:lnTo>
                  <a:pt x="1020" y="561"/>
                </a:lnTo>
                <a:lnTo>
                  <a:pt x="1007" y="556"/>
                </a:lnTo>
                <a:lnTo>
                  <a:pt x="994" y="554"/>
                </a:lnTo>
                <a:lnTo>
                  <a:pt x="982" y="553"/>
                </a:lnTo>
                <a:lnTo>
                  <a:pt x="970" y="554"/>
                </a:lnTo>
                <a:lnTo>
                  <a:pt x="957" y="556"/>
                </a:lnTo>
                <a:lnTo>
                  <a:pt x="946" y="558"/>
                </a:lnTo>
                <a:lnTo>
                  <a:pt x="935" y="562"/>
                </a:lnTo>
                <a:lnTo>
                  <a:pt x="927" y="565"/>
                </a:lnTo>
                <a:lnTo>
                  <a:pt x="913" y="572"/>
                </a:lnTo>
                <a:lnTo>
                  <a:pt x="908" y="574"/>
                </a:lnTo>
                <a:lnTo>
                  <a:pt x="908" y="574"/>
                </a:lnTo>
                <a:lnTo>
                  <a:pt x="920" y="594"/>
                </a:lnTo>
                <a:lnTo>
                  <a:pt x="930" y="613"/>
                </a:lnTo>
                <a:lnTo>
                  <a:pt x="936" y="632"/>
                </a:lnTo>
                <a:lnTo>
                  <a:pt x="940" y="647"/>
                </a:lnTo>
                <a:lnTo>
                  <a:pt x="941" y="663"/>
                </a:lnTo>
                <a:lnTo>
                  <a:pt x="941" y="675"/>
                </a:lnTo>
                <a:lnTo>
                  <a:pt x="939" y="687"/>
                </a:lnTo>
                <a:lnTo>
                  <a:pt x="935" y="696"/>
                </a:lnTo>
                <a:lnTo>
                  <a:pt x="930" y="705"/>
                </a:lnTo>
                <a:lnTo>
                  <a:pt x="924" y="712"/>
                </a:lnTo>
                <a:lnTo>
                  <a:pt x="915" y="718"/>
                </a:lnTo>
                <a:lnTo>
                  <a:pt x="907" y="722"/>
                </a:lnTo>
                <a:lnTo>
                  <a:pt x="899" y="724"/>
                </a:lnTo>
                <a:lnTo>
                  <a:pt x="890" y="725"/>
                </a:lnTo>
                <a:lnTo>
                  <a:pt x="881" y="725"/>
                </a:lnTo>
                <a:lnTo>
                  <a:pt x="871" y="724"/>
                </a:lnTo>
                <a:lnTo>
                  <a:pt x="871" y="724"/>
                </a:lnTo>
                <a:lnTo>
                  <a:pt x="859" y="720"/>
                </a:lnTo>
                <a:lnTo>
                  <a:pt x="850" y="715"/>
                </a:lnTo>
                <a:lnTo>
                  <a:pt x="842" y="709"/>
                </a:lnTo>
                <a:lnTo>
                  <a:pt x="835" y="702"/>
                </a:lnTo>
                <a:lnTo>
                  <a:pt x="829" y="695"/>
                </a:lnTo>
                <a:lnTo>
                  <a:pt x="825" y="688"/>
                </a:lnTo>
                <a:lnTo>
                  <a:pt x="821" y="680"/>
                </a:lnTo>
                <a:lnTo>
                  <a:pt x="819" y="673"/>
                </a:lnTo>
                <a:lnTo>
                  <a:pt x="816" y="658"/>
                </a:lnTo>
                <a:lnTo>
                  <a:pt x="816" y="646"/>
                </a:lnTo>
                <a:lnTo>
                  <a:pt x="816" y="638"/>
                </a:lnTo>
                <a:lnTo>
                  <a:pt x="816" y="635"/>
                </a:lnTo>
                <a:lnTo>
                  <a:pt x="816" y="635"/>
                </a:lnTo>
                <a:lnTo>
                  <a:pt x="813" y="637"/>
                </a:lnTo>
                <a:lnTo>
                  <a:pt x="805" y="643"/>
                </a:lnTo>
                <a:lnTo>
                  <a:pt x="793" y="650"/>
                </a:lnTo>
                <a:lnTo>
                  <a:pt x="785" y="653"/>
                </a:lnTo>
                <a:lnTo>
                  <a:pt x="777" y="656"/>
                </a:lnTo>
                <a:lnTo>
                  <a:pt x="768" y="658"/>
                </a:lnTo>
                <a:lnTo>
                  <a:pt x="759" y="659"/>
                </a:lnTo>
                <a:lnTo>
                  <a:pt x="749" y="659"/>
                </a:lnTo>
                <a:lnTo>
                  <a:pt x="739" y="658"/>
                </a:lnTo>
                <a:lnTo>
                  <a:pt x="729" y="655"/>
                </a:lnTo>
                <a:lnTo>
                  <a:pt x="720" y="650"/>
                </a:lnTo>
                <a:lnTo>
                  <a:pt x="710" y="643"/>
                </a:lnTo>
                <a:lnTo>
                  <a:pt x="701" y="634"/>
                </a:lnTo>
                <a:lnTo>
                  <a:pt x="701" y="634"/>
                </a:lnTo>
                <a:lnTo>
                  <a:pt x="694" y="625"/>
                </a:lnTo>
                <a:lnTo>
                  <a:pt x="690" y="616"/>
                </a:lnTo>
                <a:lnTo>
                  <a:pt x="688" y="607"/>
                </a:lnTo>
                <a:lnTo>
                  <a:pt x="689" y="598"/>
                </a:lnTo>
                <a:lnTo>
                  <a:pt x="690" y="589"/>
                </a:lnTo>
                <a:lnTo>
                  <a:pt x="694" y="581"/>
                </a:lnTo>
                <a:lnTo>
                  <a:pt x="701" y="572"/>
                </a:lnTo>
                <a:lnTo>
                  <a:pt x="708" y="564"/>
                </a:lnTo>
                <a:lnTo>
                  <a:pt x="717" y="557"/>
                </a:lnTo>
                <a:lnTo>
                  <a:pt x="727" y="550"/>
                </a:lnTo>
                <a:lnTo>
                  <a:pt x="740" y="544"/>
                </a:lnTo>
                <a:lnTo>
                  <a:pt x="754" y="540"/>
                </a:lnTo>
                <a:lnTo>
                  <a:pt x="769" y="536"/>
                </a:lnTo>
                <a:lnTo>
                  <a:pt x="786" y="533"/>
                </a:lnTo>
                <a:lnTo>
                  <a:pt x="804" y="532"/>
                </a:lnTo>
                <a:lnTo>
                  <a:pt x="823" y="531"/>
                </a:lnTo>
                <a:lnTo>
                  <a:pt x="823" y="531"/>
                </a:lnTo>
                <a:lnTo>
                  <a:pt x="824" y="520"/>
                </a:lnTo>
                <a:lnTo>
                  <a:pt x="823" y="509"/>
                </a:lnTo>
                <a:lnTo>
                  <a:pt x="820" y="494"/>
                </a:lnTo>
                <a:lnTo>
                  <a:pt x="817" y="486"/>
                </a:lnTo>
                <a:lnTo>
                  <a:pt x="814" y="477"/>
                </a:lnTo>
                <a:lnTo>
                  <a:pt x="810" y="469"/>
                </a:lnTo>
                <a:lnTo>
                  <a:pt x="805" y="460"/>
                </a:lnTo>
                <a:lnTo>
                  <a:pt x="799" y="451"/>
                </a:lnTo>
                <a:lnTo>
                  <a:pt x="792" y="443"/>
                </a:lnTo>
                <a:lnTo>
                  <a:pt x="782" y="435"/>
                </a:lnTo>
                <a:lnTo>
                  <a:pt x="772" y="426"/>
                </a:lnTo>
                <a:lnTo>
                  <a:pt x="772" y="426"/>
                </a:lnTo>
                <a:lnTo>
                  <a:pt x="764" y="421"/>
                </a:lnTo>
                <a:lnTo>
                  <a:pt x="755" y="417"/>
                </a:lnTo>
                <a:lnTo>
                  <a:pt x="745" y="415"/>
                </a:lnTo>
                <a:lnTo>
                  <a:pt x="735" y="413"/>
                </a:lnTo>
                <a:lnTo>
                  <a:pt x="725" y="412"/>
                </a:lnTo>
                <a:lnTo>
                  <a:pt x="716" y="412"/>
                </a:lnTo>
                <a:lnTo>
                  <a:pt x="698" y="414"/>
                </a:lnTo>
                <a:lnTo>
                  <a:pt x="681" y="418"/>
                </a:lnTo>
                <a:lnTo>
                  <a:pt x="668" y="421"/>
                </a:lnTo>
                <a:lnTo>
                  <a:pt x="657" y="425"/>
                </a:lnTo>
                <a:lnTo>
                  <a:pt x="657" y="425"/>
                </a:lnTo>
                <a:lnTo>
                  <a:pt x="664" y="421"/>
                </a:lnTo>
                <a:lnTo>
                  <a:pt x="672" y="415"/>
                </a:lnTo>
                <a:lnTo>
                  <a:pt x="681" y="408"/>
                </a:lnTo>
                <a:lnTo>
                  <a:pt x="691" y="397"/>
                </a:lnTo>
                <a:lnTo>
                  <a:pt x="701" y="384"/>
                </a:lnTo>
                <a:lnTo>
                  <a:pt x="705" y="376"/>
                </a:lnTo>
                <a:lnTo>
                  <a:pt x="709" y="369"/>
                </a:lnTo>
                <a:lnTo>
                  <a:pt x="712" y="360"/>
                </a:lnTo>
                <a:lnTo>
                  <a:pt x="714" y="351"/>
                </a:lnTo>
                <a:lnTo>
                  <a:pt x="714" y="351"/>
                </a:lnTo>
                <a:lnTo>
                  <a:pt x="716" y="336"/>
                </a:lnTo>
                <a:lnTo>
                  <a:pt x="715" y="320"/>
                </a:lnTo>
                <a:lnTo>
                  <a:pt x="713" y="303"/>
                </a:lnTo>
                <a:lnTo>
                  <a:pt x="709" y="285"/>
                </a:lnTo>
                <a:lnTo>
                  <a:pt x="702" y="267"/>
                </a:lnTo>
                <a:lnTo>
                  <a:pt x="693" y="249"/>
                </a:lnTo>
                <a:lnTo>
                  <a:pt x="682" y="232"/>
                </a:lnTo>
                <a:lnTo>
                  <a:pt x="676" y="223"/>
                </a:lnTo>
                <a:lnTo>
                  <a:pt x="669" y="216"/>
                </a:lnTo>
                <a:lnTo>
                  <a:pt x="668" y="214"/>
                </a:lnTo>
                <a:lnTo>
                  <a:pt x="665" y="214"/>
                </a:lnTo>
                <a:lnTo>
                  <a:pt x="665" y="214"/>
                </a:lnTo>
                <a:lnTo>
                  <a:pt x="655" y="214"/>
                </a:lnTo>
                <a:lnTo>
                  <a:pt x="644" y="215"/>
                </a:lnTo>
                <a:lnTo>
                  <a:pt x="624" y="219"/>
                </a:lnTo>
                <a:lnTo>
                  <a:pt x="606" y="224"/>
                </a:lnTo>
                <a:lnTo>
                  <a:pt x="587" y="232"/>
                </a:lnTo>
                <a:lnTo>
                  <a:pt x="572" y="240"/>
                </a:lnTo>
                <a:lnTo>
                  <a:pt x="557" y="250"/>
                </a:lnTo>
                <a:lnTo>
                  <a:pt x="545" y="261"/>
                </a:lnTo>
                <a:lnTo>
                  <a:pt x="535" y="272"/>
                </a:lnTo>
                <a:lnTo>
                  <a:pt x="535" y="272"/>
                </a:lnTo>
                <a:lnTo>
                  <a:pt x="530" y="280"/>
                </a:lnTo>
                <a:lnTo>
                  <a:pt x="526" y="288"/>
                </a:lnTo>
                <a:lnTo>
                  <a:pt x="523" y="297"/>
                </a:lnTo>
                <a:lnTo>
                  <a:pt x="520" y="305"/>
                </a:lnTo>
                <a:lnTo>
                  <a:pt x="517" y="320"/>
                </a:lnTo>
                <a:lnTo>
                  <a:pt x="516" y="334"/>
                </a:lnTo>
                <a:lnTo>
                  <a:pt x="516" y="347"/>
                </a:lnTo>
                <a:lnTo>
                  <a:pt x="517" y="357"/>
                </a:lnTo>
                <a:lnTo>
                  <a:pt x="519" y="365"/>
                </a:lnTo>
                <a:lnTo>
                  <a:pt x="519" y="365"/>
                </a:lnTo>
                <a:lnTo>
                  <a:pt x="513" y="354"/>
                </a:lnTo>
                <a:lnTo>
                  <a:pt x="508" y="341"/>
                </a:lnTo>
                <a:lnTo>
                  <a:pt x="499" y="327"/>
                </a:lnTo>
                <a:lnTo>
                  <a:pt x="488" y="313"/>
                </a:lnTo>
                <a:lnTo>
                  <a:pt x="482" y="306"/>
                </a:lnTo>
                <a:lnTo>
                  <a:pt x="475" y="299"/>
                </a:lnTo>
                <a:lnTo>
                  <a:pt x="467" y="292"/>
                </a:lnTo>
                <a:lnTo>
                  <a:pt x="458" y="287"/>
                </a:lnTo>
                <a:lnTo>
                  <a:pt x="450" y="283"/>
                </a:lnTo>
                <a:lnTo>
                  <a:pt x="440" y="281"/>
                </a:lnTo>
                <a:lnTo>
                  <a:pt x="440" y="281"/>
                </a:lnTo>
                <a:lnTo>
                  <a:pt x="428" y="278"/>
                </a:lnTo>
                <a:lnTo>
                  <a:pt x="415" y="278"/>
                </a:lnTo>
                <a:lnTo>
                  <a:pt x="404" y="278"/>
                </a:lnTo>
                <a:lnTo>
                  <a:pt x="393" y="279"/>
                </a:lnTo>
                <a:lnTo>
                  <a:pt x="384" y="281"/>
                </a:lnTo>
                <a:lnTo>
                  <a:pt x="374" y="284"/>
                </a:lnTo>
                <a:lnTo>
                  <a:pt x="365" y="287"/>
                </a:lnTo>
                <a:lnTo>
                  <a:pt x="358" y="291"/>
                </a:lnTo>
                <a:lnTo>
                  <a:pt x="345" y="300"/>
                </a:lnTo>
                <a:lnTo>
                  <a:pt x="336" y="307"/>
                </a:lnTo>
                <a:lnTo>
                  <a:pt x="328" y="314"/>
                </a:lnTo>
                <a:lnTo>
                  <a:pt x="328" y="314"/>
                </a:lnTo>
                <a:lnTo>
                  <a:pt x="342" y="328"/>
                </a:lnTo>
                <a:lnTo>
                  <a:pt x="353" y="343"/>
                </a:lnTo>
                <a:lnTo>
                  <a:pt x="362" y="357"/>
                </a:lnTo>
                <a:lnTo>
                  <a:pt x="369" y="371"/>
                </a:lnTo>
                <a:lnTo>
                  <a:pt x="375" y="384"/>
                </a:lnTo>
                <a:lnTo>
                  <a:pt x="380" y="398"/>
                </a:lnTo>
                <a:lnTo>
                  <a:pt x="382" y="410"/>
                </a:lnTo>
                <a:lnTo>
                  <a:pt x="383" y="421"/>
                </a:lnTo>
                <a:lnTo>
                  <a:pt x="382" y="432"/>
                </a:lnTo>
                <a:lnTo>
                  <a:pt x="380" y="442"/>
                </a:lnTo>
                <a:lnTo>
                  <a:pt x="375" y="451"/>
                </a:lnTo>
                <a:lnTo>
                  <a:pt x="370" y="458"/>
                </a:lnTo>
                <a:lnTo>
                  <a:pt x="363" y="464"/>
                </a:lnTo>
                <a:lnTo>
                  <a:pt x="356" y="469"/>
                </a:lnTo>
                <a:lnTo>
                  <a:pt x="347" y="472"/>
                </a:lnTo>
                <a:lnTo>
                  <a:pt x="337" y="473"/>
                </a:lnTo>
                <a:lnTo>
                  <a:pt x="337" y="473"/>
                </a:lnTo>
                <a:lnTo>
                  <a:pt x="322" y="473"/>
                </a:lnTo>
                <a:lnTo>
                  <a:pt x="311" y="471"/>
                </a:lnTo>
                <a:lnTo>
                  <a:pt x="301" y="467"/>
                </a:lnTo>
                <a:lnTo>
                  <a:pt x="292" y="462"/>
                </a:lnTo>
                <a:lnTo>
                  <a:pt x="283" y="456"/>
                </a:lnTo>
                <a:lnTo>
                  <a:pt x="277" y="449"/>
                </a:lnTo>
                <a:lnTo>
                  <a:pt x="272" y="441"/>
                </a:lnTo>
                <a:lnTo>
                  <a:pt x="268" y="432"/>
                </a:lnTo>
                <a:lnTo>
                  <a:pt x="264" y="424"/>
                </a:lnTo>
                <a:lnTo>
                  <a:pt x="262" y="417"/>
                </a:lnTo>
                <a:lnTo>
                  <a:pt x="259" y="403"/>
                </a:lnTo>
                <a:lnTo>
                  <a:pt x="257" y="393"/>
                </a:lnTo>
                <a:lnTo>
                  <a:pt x="257" y="390"/>
                </a:lnTo>
                <a:lnTo>
                  <a:pt x="257" y="390"/>
                </a:lnTo>
                <a:lnTo>
                  <a:pt x="255" y="392"/>
                </a:lnTo>
                <a:lnTo>
                  <a:pt x="249" y="398"/>
                </a:lnTo>
                <a:lnTo>
                  <a:pt x="239" y="405"/>
                </a:lnTo>
                <a:lnTo>
                  <a:pt x="227" y="413"/>
                </a:lnTo>
                <a:lnTo>
                  <a:pt x="220" y="416"/>
                </a:lnTo>
                <a:lnTo>
                  <a:pt x="212" y="419"/>
                </a:lnTo>
                <a:lnTo>
                  <a:pt x="204" y="420"/>
                </a:lnTo>
                <a:lnTo>
                  <a:pt x="194" y="421"/>
                </a:lnTo>
                <a:lnTo>
                  <a:pt x="185" y="421"/>
                </a:lnTo>
                <a:lnTo>
                  <a:pt x="175" y="419"/>
                </a:lnTo>
                <a:lnTo>
                  <a:pt x="165" y="415"/>
                </a:lnTo>
                <a:lnTo>
                  <a:pt x="155" y="409"/>
                </a:lnTo>
                <a:lnTo>
                  <a:pt x="155" y="409"/>
                </a:lnTo>
                <a:lnTo>
                  <a:pt x="147" y="404"/>
                </a:lnTo>
                <a:lnTo>
                  <a:pt x="140" y="397"/>
                </a:lnTo>
                <a:lnTo>
                  <a:pt x="135" y="390"/>
                </a:lnTo>
                <a:lnTo>
                  <a:pt x="131" y="381"/>
                </a:lnTo>
                <a:lnTo>
                  <a:pt x="129" y="372"/>
                </a:lnTo>
                <a:lnTo>
                  <a:pt x="128" y="363"/>
                </a:lnTo>
                <a:lnTo>
                  <a:pt x="128" y="354"/>
                </a:lnTo>
                <a:lnTo>
                  <a:pt x="131" y="345"/>
                </a:lnTo>
                <a:lnTo>
                  <a:pt x="136" y="334"/>
                </a:lnTo>
                <a:lnTo>
                  <a:pt x="142" y="325"/>
                </a:lnTo>
                <a:lnTo>
                  <a:pt x="153" y="316"/>
                </a:lnTo>
                <a:lnTo>
                  <a:pt x="164" y="308"/>
                </a:lnTo>
                <a:lnTo>
                  <a:pt x="178" y="300"/>
                </a:lnTo>
                <a:lnTo>
                  <a:pt x="195" y="292"/>
                </a:lnTo>
                <a:lnTo>
                  <a:pt x="216" y="286"/>
                </a:lnTo>
                <a:lnTo>
                  <a:pt x="239" y="280"/>
                </a:lnTo>
                <a:lnTo>
                  <a:pt x="239" y="280"/>
                </a:lnTo>
                <a:lnTo>
                  <a:pt x="238" y="275"/>
                </a:lnTo>
                <a:lnTo>
                  <a:pt x="233" y="262"/>
                </a:lnTo>
                <a:lnTo>
                  <a:pt x="230" y="253"/>
                </a:lnTo>
                <a:lnTo>
                  <a:pt x="225" y="242"/>
                </a:lnTo>
                <a:lnTo>
                  <a:pt x="220" y="232"/>
                </a:lnTo>
                <a:lnTo>
                  <a:pt x="213" y="222"/>
                </a:lnTo>
                <a:lnTo>
                  <a:pt x="205" y="213"/>
                </a:lnTo>
                <a:lnTo>
                  <a:pt x="195" y="203"/>
                </a:lnTo>
                <a:lnTo>
                  <a:pt x="185" y="196"/>
                </a:lnTo>
                <a:lnTo>
                  <a:pt x="173" y="190"/>
                </a:lnTo>
                <a:lnTo>
                  <a:pt x="167" y="188"/>
                </a:lnTo>
                <a:lnTo>
                  <a:pt x="161" y="187"/>
                </a:lnTo>
                <a:lnTo>
                  <a:pt x="154" y="186"/>
                </a:lnTo>
                <a:lnTo>
                  <a:pt x="145" y="185"/>
                </a:lnTo>
                <a:lnTo>
                  <a:pt x="138" y="186"/>
                </a:lnTo>
                <a:lnTo>
                  <a:pt x="129" y="187"/>
                </a:lnTo>
                <a:lnTo>
                  <a:pt x="121" y="190"/>
                </a:lnTo>
                <a:lnTo>
                  <a:pt x="112" y="193"/>
                </a:lnTo>
                <a:lnTo>
                  <a:pt x="112" y="193"/>
                </a:lnTo>
                <a:lnTo>
                  <a:pt x="115" y="191"/>
                </a:lnTo>
                <a:lnTo>
                  <a:pt x="119" y="188"/>
                </a:lnTo>
                <a:lnTo>
                  <a:pt x="127" y="180"/>
                </a:lnTo>
                <a:lnTo>
                  <a:pt x="136" y="168"/>
                </a:lnTo>
                <a:lnTo>
                  <a:pt x="144" y="153"/>
                </a:lnTo>
                <a:lnTo>
                  <a:pt x="148" y="144"/>
                </a:lnTo>
                <a:lnTo>
                  <a:pt x="153" y="136"/>
                </a:lnTo>
                <a:lnTo>
                  <a:pt x="156" y="127"/>
                </a:lnTo>
                <a:lnTo>
                  <a:pt x="158" y="117"/>
                </a:lnTo>
                <a:lnTo>
                  <a:pt x="159" y="106"/>
                </a:lnTo>
                <a:lnTo>
                  <a:pt x="160" y="97"/>
                </a:lnTo>
                <a:lnTo>
                  <a:pt x="159" y="86"/>
                </a:lnTo>
                <a:lnTo>
                  <a:pt x="157" y="76"/>
                </a:lnTo>
                <a:lnTo>
                  <a:pt x="157" y="76"/>
                </a:lnTo>
                <a:lnTo>
                  <a:pt x="155" y="66"/>
                </a:lnTo>
                <a:lnTo>
                  <a:pt x="150" y="57"/>
                </a:lnTo>
                <a:lnTo>
                  <a:pt x="147" y="49"/>
                </a:lnTo>
                <a:lnTo>
                  <a:pt x="143" y="41"/>
                </a:lnTo>
                <a:lnTo>
                  <a:pt x="134" y="28"/>
                </a:lnTo>
                <a:lnTo>
                  <a:pt x="125" y="17"/>
                </a:lnTo>
                <a:lnTo>
                  <a:pt x="117" y="9"/>
                </a:lnTo>
                <a:lnTo>
                  <a:pt x="110" y="4"/>
                </a:lnTo>
                <a:lnTo>
                  <a:pt x="103" y="0"/>
                </a:lnTo>
                <a:lnTo>
                  <a:pt x="0" y="593"/>
                </a:lnTo>
                <a:lnTo>
                  <a:pt x="269" y="712"/>
                </a:lnTo>
                <a:lnTo>
                  <a:pt x="269" y="712"/>
                </a:lnTo>
                <a:lnTo>
                  <a:pt x="293" y="693"/>
                </a:lnTo>
                <a:lnTo>
                  <a:pt x="315" y="677"/>
                </a:lnTo>
                <a:lnTo>
                  <a:pt x="336" y="665"/>
                </a:lnTo>
                <a:lnTo>
                  <a:pt x="354" y="656"/>
                </a:lnTo>
                <a:lnTo>
                  <a:pt x="354" y="656"/>
                </a:lnTo>
                <a:lnTo>
                  <a:pt x="367" y="650"/>
                </a:lnTo>
                <a:lnTo>
                  <a:pt x="382" y="646"/>
                </a:lnTo>
                <a:lnTo>
                  <a:pt x="396" y="642"/>
                </a:lnTo>
                <a:lnTo>
                  <a:pt x="409" y="639"/>
                </a:lnTo>
                <a:lnTo>
                  <a:pt x="423" y="637"/>
                </a:lnTo>
                <a:lnTo>
                  <a:pt x="437" y="636"/>
                </a:lnTo>
                <a:lnTo>
                  <a:pt x="450" y="635"/>
                </a:lnTo>
                <a:lnTo>
                  <a:pt x="464" y="635"/>
                </a:lnTo>
                <a:lnTo>
                  <a:pt x="478" y="636"/>
                </a:lnTo>
                <a:lnTo>
                  <a:pt x="491" y="638"/>
                </a:lnTo>
                <a:lnTo>
                  <a:pt x="504" y="640"/>
                </a:lnTo>
                <a:lnTo>
                  <a:pt x="517" y="643"/>
                </a:lnTo>
                <a:lnTo>
                  <a:pt x="542" y="650"/>
                </a:lnTo>
                <a:lnTo>
                  <a:pt x="566" y="658"/>
                </a:lnTo>
                <a:lnTo>
                  <a:pt x="566" y="658"/>
                </a:lnTo>
                <a:lnTo>
                  <a:pt x="582" y="667"/>
                </a:lnTo>
                <a:lnTo>
                  <a:pt x="596" y="675"/>
                </a:lnTo>
                <a:lnTo>
                  <a:pt x="610" y="683"/>
                </a:lnTo>
                <a:lnTo>
                  <a:pt x="621" y="691"/>
                </a:lnTo>
                <a:lnTo>
                  <a:pt x="631" y="699"/>
                </a:lnTo>
                <a:lnTo>
                  <a:pt x="639" y="709"/>
                </a:lnTo>
                <a:lnTo>
                  <a:pt x="646" y="717"/>
                </a:lnTo>
                <a:lnTo>
                  <a:pt x="653" y="726"/>
                </a:lnTo>
                <a:lnTo>
                  <a:pt x="658" y="735"/>
                </a:lnTo>
                <a:lnTo>
                  <a:pt x="662" y="743"/>
                </a:lnTo>
                <a:lnTo>
                  <a:pt x="665" y="753"/>
                </a:lnTo>
                <a:lnTo>
                  <a:pt x="668" y="761"/>
                </a:lnTo>
                <a:lnTo>
                  <a:pt x="671" y="778"/>
                </a:lnTo>
                <a:lnTo>
                  <a:pt x="673" y="793"/>
                </a:lnTo>
                <a:lnTo>
                  <a:pt x="673" y="793"/>
                </a:lnTo>
                <a:lnTo>
                  <a:pt x="672" y="804"/>
                </a:lnTo>
                <a:lnTo>
                  <a:pt x="670" y="815"/>
                </a:lnTo>
                <a:lnTo>
                  <a:pt x="667" y="827"/>
                </a:lnTo>
                <a:lnTo>
                  <a:pt x="663" y="839"/>
                </a:lnTo>
                <a:lnTo>
                  <a:pt x="654" y="863"/>
                </a:lnTo>
                <a:lnTo>
                  <a:pt x="646" y="877"/>
                </a:lnTo>
                <a:lnTo>
                  <a:pt x="841" y="96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6" name="Freeform 43"/>
          <p:cNvSpPr>
            <a:spLocks/>
          </p:cNvSpPr>
          <p:nvPr userDrawn="1"/>
        </p:nvSpPr>
        <p:spPr bwMode="auto">
          <a:xfrm>
            <a:off x="7581901" y="1218904"/>
            <a:ext cx="193675" cy="33338"/>
          </a:xfrm>
          <a:custGeom>
            <a:avLst/>
            <a:gdLst>
              <a:gd name="T0" fmla="*/ 1228 w 1463"/>
              <a:gd name="T1" fmla="*/ 227 h 256"/>
              <a:gd name="T2" fmla="*/ 1463 w 1463"/>
              <a:gd name="T3" fmla="*/ 113 h 256"/>
              <a:gd name="T4" fmla="*/ 1225 w 1463"/>
              <a:gd name="T5" fmla="*/ 14 h 256"/>
              <a:gd name="T6" fmla="*/ 1225 w 1463"/>
              <a:gd name="T7" fmla="*/ 14 h 256"/>
              <a:gd name="T8" fmla="*/ 1152 w 1463"/>
              <a:gd name="T9" fmla="*/ 15 h 256"/>
              <a:gd name="T10" fmla="*/ 1060 w 1463"/>
              <a:gd name="T11" fmla="*/ 16 h 256"/>
              <a:gd name="T12" fmla="*/ 949 w 1463"/>
              <a:gd name="T13" fmla="*/ 15 h 256"/>
              <a:gd name="T14" fmla="*/ 824 w 1463"/>
              <a:gd name="T15" fmla="*/ 13 h 256"/>
              <a:gd name="T16" fmla="*/ 531 w 1463"/>
              <a:gd name="T17" fmla="*/ 7 h 256"/>
              <a:gd name="T18" fmla="*/ 197 w 1463"/>
              <a:gd name="T19" fmla="*/ 0 h 256"/>
              <a:gd name="T20" fmla="*/ 0 w 1463"/>
              <a:gd name="T21" fmla="*/ 256 h 256"/>
              <a:gd name="T22" fmla="*/ 0 w 1463"/>
              <a:gd name="T23" fmla="*/ 256 h 256"/>
              <a:gd name="T24" fmla="*/ 734 w 1463"/>
              <a:gd name="T25" fmla="*/ 240 h 256"/>
              <a:gd name="T26" fmla="*/ 1024 w 1463"/>
              <a:gd name="T27" fmla="*/ 234 h 256"/>
              <a:gd name="T28" fmla="*/ 1228 w 1463"/>
              <a:gd name="T29" fmla="*/ 22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3" h="256">
                <a:moveTo>
                  <a:pt x="1228" y="227"/>
                </a:moveTo>
                <a:lnTo>
                  <a:pt x="1463" y="113"/>
                </a:lnTo>
                <a:lnTo>
                  <a:pt x="1225" y="14"/>
                </a:lnTo>
                <a:lnTo>
                  <a:pt x="1225" y="14"/>
                </a:lnTo>
                <a:lnTo>
                  <a:pt x="1152" y="15"/>
                </a:lnTo>
                <a:lnTo>
                  <a:pt x="1060" y="16"/>
                </a:lnTo>
                <a:lnTo>
                  <a:pt x="949" y="15"/>
                </a:lnTo>
                <a:lnTo>
                  <a:pt x="824" y="13"/>
                </a:lnTo>
                <a:lnTo>
                  <a:pt x="531" y="7"/>
                </a:lnTo>
                <a:lnTo>
                  <a:pt x="197" y="0"/>
                </a:lnTo>
                <a:lnTo>
                  <a:pt x="0" y="256"/>
                </a:lnTo>
                <a:lnTo>
                  <a:pt x="0" y="256"/>
                </a:lnTo>
                <a:lnTo>
                  <a:pt x="734" y="240"/>
                </a:lnTo>
                <a:lnTo>
                  <a:pt x="1024" y="234"/>
                </a:lnTo>
                <a:lnTo>
                  <a:pt x="1228" y="22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7" name="Freeform 44"/>
          <p:cNvSpPr>
            <a:spLocks/>
          </p:cNvSpPr>
          <p:nvPr userDrawn="1"/>
        </p:nvSpPr>
        <p:spPr bwMode="auto">
          <a:xfrm>
            <a:off x="7643812" y="1301453"/>
            <a:ext cx="114300" cy="112713"/>
          </a:xfrm>
          <a:custGeom>
            <a:avLst/>
            <a:gdLst>
              <a:gd name="T0" fmla="*/ 386 w 869"/>
              <a:gd name="T1" fmla="*/ 818 h 851"/>
              <a:gd name="T2" fmla="*/ 235 w 869"/>
              <a:gd name="T3" fmla="*/ 737 h 851"/>
              <a:gd name="T4" fmla="*/ 156 w 869"/>
              <a:gd name="T5" fmla="*/ 685 h 851"/>
              <a:gd name="T6" fmla="*/ 90 w 869"/>
              <a:gd name="T7" fmla="*/ 626 h 851"/>
              <a:gd name="T8" fmla="*/ 37 w 869"/>
              <a:gd name="T9" fmla="*/ 557 h 851"/>
              <a:gd name="T10" fmla="*/ 24 w 869"/>
              <a:gd name="T11" fmla="*/ 531 h 851"/>
              <a:gd name="T12" fmla="*/ 10 w 869"/>
              <a:gd name="T13" fmla="*/ 487 h 851"/>
              <a:gd name="T14" fmla="*/ 2 w 869"/>
              <a:gd name="T15" fmla="*/ 439 h 851"/>
              <a:gd name="T16" fmla="*/ 0 w 869"/>
              <a:gd name="T17" fmla="*/ 389 h 851"/>
              <a:gd name="T18" fmla="*/ 5 w 869"/>
              <a:gd name="T19" fmla="*/ 336 h 851"/>
              <a:gd name="T20" fmla="*/ 15 w 869"/>
              <a:gd name="T21" fmla="*/ 283 h 851"/>
              <a:gd name="T22" fmla="*/ 34 w 869"/>
              <a:gd name="T23" fmla="*/ 231 h 851"/>
              <a:gd name="T24" fmla="*/ 59 w 869"/>
              <a:gd name="T25" fmla="*/ 182 h 851"/>
              <a:gd name="T26" fmla="*/ 93 w 869"/>
              <a:gd name="T27" fmla="*/ 136 h 851"/>
              <a:gd name="T28" fmla="*/ 134 w 869"/>
              <a:gd name="T29" fmla="*/ 94 h 851"/>
              <a:gd name="T30" fmla="*/ 183 w 869"/>
              <a:gd name="T31" fmla="*/ 59 h 851"/>
              <a:gd name="T32" fmla="*/ 198 w 869"/>
              <a:gd name="T33" fmla="*/ 75 h 851"/>
              <a:gd name="T34" fmla="*/ 217 w 869"/>
              <a:gd name="T35" fmla="*/ 106 h 851"/>
              <a:gd name="T36" fmla="*/ 227 w 869"/>
              <a:gd name="T37" fmla="*/ 141 h 851"/>
              <a:gd name="T38" fmla="*/ 247 w 869"/>
              <a:gd name="T39" fmla="*/ 150 h 851"/>
              <a:gd name="T40" fmla="*/ 379 w 869"/>
              <a:gd name="T41" fmla="*/ 144 h 851"/>
              <a:gd name="T42" fmla="*/ 424 w 869"/>
              <a:gd name="T43" fmla="*/ 143 h 851"/>
              <a:gd name="T44" fmla="*/ 424 w 869"/>
              <a:gd name="T45" fmla="*/ 94 h 851"/>
              <a:gd name="T46" fmla="*/ 414 w 869"/>
              <a:gd name="T47" fmla="*/ 37 h 851"/>
              <a:gd name="T48" fmla="*/ 397 w 869"/>
              <a:gd name="T49" fmla="*/ 0 h 851"/>
              <a:gd name="T50" fmla="*/ 431 w 869"/>
              <a:gd name="T51" fmla="*/ 27 h 851"/>
              <a:gd name="T52" fmla="*/ 459 w 869"/>
              <a:gd name="T53" fmla="*/ 55 h 851"/>
              <a:gd name="T54" fmla="*/ 475 w 869"/>
              <a:gd name="T55" fmla="*/ 82 h 851"/>
              <a:gd name="T56" fmla="*/ 487 w 869"/>
              <a:gd name="T57" fmla="*/ 116 h 851"/>
              <a:gd name="T58" fmla="*/ 493 w 869"/>
              <a:gd name="T59" fmla="*/ 143 h 851"/>
              <a:gd name="T60" fmla="*/ 671 w 869"/>
              <a:gd name="T61" fmla="*/ 133 h 851"/>
              <a:gd name="T62" fmla="*/ 662 w 869"/>
              <a:gd name="T63" fmla="*/ 88 h 851"/>
              <a:gd name="T64" fmla="*/ 643 w 869"/>
              <a:gd name="T65" fmla="*/ 50 h 851"/>
              <a:gd name="T66" fmla="*/ 651 w 869"/>
              <a:gd name="T67" fmla="*/ 46 h 851"/>
              <a:gd name="T68" fmla="*/ 699 w 869"/>
              <a:gd name="T69" fmla="*/ 73 h 851"/>
              <a:gd name="T70" fmla="*/ 740 w 869"/>
              <a:gd name="T71" fmla="*/ 104 h 851"/>
              <a:gd name="T72" fmla="*/ 775 w 869"/>
              <a:gd name="T73" fmla="*/ 138 h 851"/>
              <a:gd name="T74" fmla="*/ 803 w 869"/>
              <a:gd name="T75" fmla="*/ 175 h 851"/>
              <a:gd name="T76" fmla="*/ 837 w 869"/>
              <a:gd name="T77" fmla="*/ 238 h 851"/>
              <a:gd name="T78" fmla="*/ 861 w 869"/>
              <a:gd name="T79" fmla="*/ 312 h 851"/>
              <a:gd name="T80" fmla="*/ 869 w 869"/>
              <a:gd name="T81" fmla="*/ 379 h 851"/>
              <a:gd name="T82" fmla="*/ 869 w 869"/>
              <a:gd name="T83" fmla="*/ 423 h 851"/>
              <a:gd name="T84" fmla="*/ 859 w 869"/>
              <a:gd name="T85" fmla="*/ 499 h 851"/>
              <a:gd name="T86" fmla="*/ 834 w 869"/>
              <a:gd name="T87" fmla="*/ 569 h 851"/>
              <a:gd name="T88" fmla="*/ 796 w 869"/>
              <a:gd name="T89" fmla="*/ 631 h 851"/>
              <a:gd name="T90" fmla="*/ 749 w 869"/>
              <a:gd name="T91" fmla="*/ 684 h 851"/>
              <a:gd name="T92" fmla="*/ 693 w 869"/>
              <a:gd name="T93" fmla="*/ 727 h 851"/>
              <a:gd name="T94" fmla="*/ 626 w 869"/>
              <a:gd name="T95" fmla="*/ 766 h 851"/>
              <a:gd name="T96" fmla="*/ 506 w 869"/>
              <a:gd name="T97" fmla="*/ 826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9" h="851">
                <a:moveTo>
                  <a:pt x="452" y="851"/>
                </a:moveTo>
                <a:lnTo>
                  <a:pt x="452" y="851"/>
                </a:lnTo>
                <a:lnTo>
                  <a:pt x="386" y="818"/>
                </a:lnTo>
                <a:lnTo>
                  <a:pt x="323" y="785"/>
                </a:lnTo>
                <a:lnTo>
                  <a:pt x="264" y="754"/>
                </a:lnTo>
                <a:lnTo>
                  <a:pt x="235" y="737"/>
                </a:lnTo>
                <a:lnTo>
                  <a:pt x="207" y="720"/>
                </a:lnTo>
                <a:lnTo>
                  <a:pt x="181" y="703"/>
                </a:lnTo>
                <a:lnTo>
                  <a:pt x="156" y="685"/>
                </a:lnTo>
                <a:lnTo>
                  <a:pt x="133" y="666"/>
                </a:lnTo>
                <a:lnTo>
                  <a:pt x="110" y="646"/>
                </a:lnTo>
                <a:lnTo>
                  <a:pt x="90" y="626"/>
                </a:lnTo>
                <a:lnTo>
                  <a:pt x="70" y="605"/>
                </a:lnTo>
                <a:lnTo>
                  <a:pt x="53" y="581"/>
                </a:lnTo>
                <a:lnTo>
                  <a:pt x="37" y="557"/>
                </a:lnTo>
                <a:lnTo>
                  <a:pt x="37" y="557"/>
                </a:lnTo>
                <a:lnTo>
                  <a:pt x="31" y="544"/>
                </a:lnTo>
                <a:lnTo>
                  <a:pt x="24" y="531"/>
                </a:lnTo>
                <a:lnTo>
                  <a:pt x="19" y="517"/>
                </a:lnTo>
                <a:lnTo>
                  <a:pt x="14" y="502"/>
                </a:lnTo>
                <a:lnTo>
                  <a:pt x="10" y="487"/>
                </a:lnTo>
                <a:lnTo>
                  <a:pt x="7" y="472"/>
                </a:lnTo>
                <a:lnTo>
                  <a:pt x="4" y="455"/>
                </a:lnTo>
                <a:lnTo>
                  <a:pt x="2" y="439"/>
                </a:lnTo>
                <a:lnTo>
                  <a:pt x="1" y="423"/>
                </a:lnTo>
                <a:lnTo>
                  <a:pt x="0" y="405"/>
                </a:lnTo>
                <a:lnTo>
                  <a:pt x="0" y="389"/>
                </a:lnTo>
                <a:lnTo>
                  <a:pt x="1" y="371"/>
                </a:lnTo>
                <a:lnTo>
                  <a:pt x="2" y="353"/>
                </a:lnTo>
                <a:lnTo>
                  <a:pt x="5" y="336"/>
                </a:lnTo>
                <a:lnTo>
                  <a:pt x="7" y="318"/>
                </a:lnTo>
                <a:lnTo>
                  <a:pt x="11" y="301"/>
                </a:lnTo>
                <a:lnTo>
                  <a:pt x="15" y="283"/>
                </a:lnTo>
                <a:lnTo>
                  <a:pt x="21" y="266"/>
                </a:lnTo>
                <a:lnTo>
                  <a:pt x="26" y="249"/>
                </a:lnTo>
                <a:lnTo>
                  <a:pt x="34" y="231"/>
                </a:lnTo>
                <a:lnTo>
                  <a:pt x="42" y="215"/>
                </a:lnTo>
                <a:lnTo>
                  <a:pt x="50" y="199"/>
                </a:lnTo>
                <a:lnTo>
                  <a:pt x="59" y="182"/>
                </a:lnTo>
                <a:lnTo>
                  <a:pt x="69" y="166"/>
                </a:lnTo>
                <a:lnTo>
                  <a:pt x="81" y="151"/>
                </a:lnTo>
                <a:lnTo>
                  <a:pt x="93" y="136"/>
                </a:lnTo>
                <a:lnTo>
                  <a:pt x="105" y="122"/>
                </a:lnTo>
                <a:lnTo>
                  <a:pt x="120" y="108"/>
                </a:lnTo>
                <a:lnTo>
                  <a:pt x="134" y="94"/>
                </a:lnTo>
                <a:lnTo>
                  <a:pt x="149" y="82"/>
                </a:lnTo>
                <a:lnTo>
                  <a:pt x="166" y="70"/>
                </a:lnTo>
                <a:lnTo>
                  <a:pt x="183" y="59"/>
                </a:lnTo>
                <a:lnTo>
                  <a:pt x="183" y="59"/>
                </a:lnTo>
                <a:lnTo>
                  <a:pt x="191" y="67"/>
                </a:lnTo>
                <a:lnTo>
                  <a:pt x="198" y="75"/>
                </a:lnTo>
                <a:lnTo>
                  <a:pt x="203" y="82"/>
                </a:lnTo>
                <a:lnTo>
                  <a:pt x="208" y="90"/>
                </a:lnTo>
                <a:lnTo>
                  <a:pt x="217" y="106"/>
                </a:lnTo>
                <a:lnTo>
                  <a:pt x="222" y="120"/>
                </a:lnTo>
                <a:lnTo>
                  <a:pt x="225" y="132"/>
                </a:lnTo>
                <a:lnTo>
                  <a:pt x="227" y="141"/>
                </a:lnTo>
                <a:lnTo>
                  <a:pt x="227" y="150"/>
                </a:lnTo>
                <a:lnTo>
                  <a:pt x="227" y="150"/>
                </a:lnTo>
                <a:lnTo>
                  <a:pt x="247" y="150"/>
                </a:lnTo>
                <a:lnTo>
                  <a:pt x="272" y="150"/>
                </a:lnTo>
                <a:lnTo>
                  <a:pt x="325" y="146"/>
                </a:lnTo>
                <a:lnTo>
                  <a:pt x="379" y="144"/>
                </a:lnTo>
                <a:lnTo>
                  <a:pt x="404" y="143"/>
                </a:lnTo>
                <a:lnTo>
                  <a:pt x="424" y="143"/>
                </a:lnTo>
                <a:lnTo>
                  <a:pt x="424" y="143"/>
                </a:lnTo>
                <a:lnTo>
                  <a:pt x="425" y="129"/>
                </a:lnTo>
                <a:lnTo>
                  <a:pt x="425" y="112"/>
                </a:lnTo>
                <a:lnTo>
                  <a:pt x="424" y="94"/>
                </a:lnTo>
                <a:lnTo>
                  <a:pt x="422" y="76"/>
                </a:lnTo>
                <a:lnTo>
                  <a:pt x="419" y="56"/>
                </a:lnTo>
                <a:lnTo>
                  <a:pt x="414" y="37"/>
                </a:lnTo>
                <a:lnTo>
                  <a:pt x="407" y="19"/>
                </a:lnTo>
                <a:lnTo>
                  <a:pt x="402" y="9"/>
                </a:lnTo>
                <a:lnTo>
                  <a:pt x="397" y="0"/>
                </a:lnTo>
                <a:lnTo>
                  <a:pt x="397" y="0"/>
                </a:lnTo>
                <a:lnTo>
                  <a:pt x="415" y="14"/>
                </a:lnTo>
                <a:lnTo>
                  <a:pt x="431" y="27"/>
                </a:lnTo>
                <a:lnTo>
                  <a:pt x="446" y="40"/>
                </a:lnTo>
                <a:lnTo>
                  <a:pt x="453" y="47"/>
                </a:lnTo>
                <a:lnTo>
                  <a:pt x="459" y="55"/>
                </a:lnTo>
                <a:lnTo>
                  <a:pt x="465" y="64"/>
                </a:lnTo>
                <a:lnTo>
                  <a:pt x="470" y="73"/>
                </a:lnTo>
                <a:lnTo>
                  <a:pt x="475" y="82"/>
                </a:lnTo>
                <a:lnTo>
                  <a:pt x="479" y="92"/>
                </a:lnTo>
                <a:lnTo>
                  <a:pt x="484" y="104"/>
                </a:lnTo>
                <a:lnTo>
                  <a:pt x="487" y="116"/>
                </a:lnTo>
                <a:lnTo>
                  <a:pt x="490" y="129"/>
                </a:lnTo>
                <a:lnTo>
                  <a:pt x="493" y="143"/>
                </a:lnTo>
                <a:lnTo>
                  <a:pt x="493" y="143"/>
                </a:lnTo>
                <a:lnTo>
                  <a:pt x="671" y="150"/>
                </a:lnTo>
                <a:lnTo>
                  <a:pt x="671" y="150"/>
                </a:lnTo>
                <a:lnTo>
                  <a:pt x="671" y="133"/>
                </a:lnTo>
                <a:lnTo>
                  <a:pt x="670" y="118"/>
                </a:lnTo>
                <a:lnTo>
                  <a:pt x="667" y="103"/>
                </a:lnTo>
                <a:lnTo>
                  <a:pt x="662" y="88"/>
                </a:lnTo>
                <a:lnTo>
                  <a:pt x="657" y="75"/>
                </a:lnTo>
                <a:lnTo>
                  <a:pt x="651" y="62"/>
                </a:lnTo>
                <a:lnTo>
                  <a:pt x="643" y="50"/>
                </a:lnTo>
                <a:lnTo>
                  <a:pt x="634" y="38"/>
                </a:lnTo>
                <a:lnTo>
                  <a:pt x="634" y="38"/>
                </a:lnTo>
                <a:lnTo>
                  <a:pt x="651" y="46"/>
                </a:lnTo>
                <a:lnTo>
                  <a:pt x="669" y="54"/>
                </a:lnTo>
                <a:lnTo>
                  <a:pt x="684" y="64"/>
                </a:lnTo>
                <a:lnTo>
                  <a:pt x="699" y="73"/>
                </a:lnTo>
                <a:lnTo>
                  <a:pt x="714" y="83"/>
                </a:lnTo>
                <a:lnTo>
                  <a:pt x="728" y="93"/>
                </a:lnTo>
                <a:lnTo>
                  <a:pt x="740" y="104"/>
                </a:lnTo>
                <a:lnTo>
                  <a:pt x="752" y="115"/>
                </a:lnTo>
                <a:lnTo>
                  <a:pt x="764" y="126"/>
                </a:lnTo>
                <a:lnTo>
                  <a:pt x="775" y="138"/>
                </a:lnTo>
                <a:lnTo>
                  <a:pt x="785" y="151"/>
                </a:lnTo>
                <a:lnTo>
                  <a:pt x="794" y="163"/>
                </a:lnTo>
                <a:lnTo>
                  <a:pt x="803" y="175"/>
                </a:lnTo>
                <a:lnTo>
                  <a:pt x="811" y="187"/>
                </a:lnTo>
                <a:lnTo>
                  <a:pt x="825" y="213"/>
                </a:lnTo>
                <a:lnTo>
                  <a:pt x="837" y="238"/>
                </a:lnTo>
                <a:lnTo>
                  <a:pt x="848" y="263"/>
                </a:lnTo>
                <a:lnTo>
                  <a:pt x="855" y="289"/>
                </a:lnTo>
                <a:lnTo>
                  <a:pt x="861" y="312"/>
                </a:lnTo>
                <a:lnTo>
                  <a:pt x="865" y="336"/>
                </a:lnTo>
                <a:lnTo>
                  <a:pt x="868" y="358"/>
                </a:lnTo>
                <a:lnTo>
                  <a:pt x="869" y="379"/>
                </a:lnTo>
                <a:lnTo>
                  <a:pt x="869" y="397"/>
                </a:lnTo>
                <a:lnTo>
                  <a:pt x="869" y="397"/>
                </a:lnTo>
                <a:lnTo>
                  <a:pt x="869" y="423"/>
                </a:lnTo>
                <a:lnTo>
                  <a:pt x="868" y="449"/>
                </a:lnTo>
                <a:lnTo>
                  <a:pt x="864" y="474"/>
                </a:lnTo>
                <a:lnTo>
                  <a:pt x="859" y="499"/>
                </a:lnTo>
                <a:lnTo>
                  <a:pt x="852" y="523"/>
                </a:lnTo>
                <a:lnTo>
                  <a:pt x="843" y="546"/>
                </a:lnTo>
                <a:lnTo>
                  <a:pt x="834" y="569"/>
                </a:lnTo>
                <a:lnTo>
                  <a:pt x="823" y="590"/>
                </a:lnTo>
                <a:lnTo>
                  <a:pt x="811" y="612"/>
                </a:lnTo>
                <a:lnTo>
                  <a:pt x="796" y="631"/>
                </a:lnTo>
                <a:lnTo>
                  <a:pt x="782" y="651"/>
                </a:lnTo>
                <a:lnTo>
                  <a:pt x="766" y="668"/>
                </a:lnTo>
                <a:lnTo>
                  <a:pt x="749" y="684"/>
                </a:lnTo>
                <a:lnTo>
                  <a:pt x="731" y="700"/>
                </a:lnTo>
                <a:lnTo>
                  <a:pt x="713" y="714"/>
                </a:lnTo>
                <a:lnTo>
                  <a:pt x="693" y="727"/>
                </a:lnTo>
                <a:lnTo>
                  <a:pt x="693" y="727"/>
                </a:lnTo>
                <a:lnTo>
                  <a:pt x="658" y="748"/>
                </a:lnTo>
                <a:lnTo>
                  <a:pt x="626" y="766"/>
                </a:lnTo>
                <a:lnTo>
                  <a:pt x="594" y="783"/>
                </a:lnTo>
                <a:lnTo>
                  <a:pt x="563" y="799"/>
                </a:lnTo>
                <a:lnTo>
                  <a:pt x="506" y="826"/>
                </a:lnTo>
                <a:lnTo>
                  <a:pt x="452" y="85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8" name="Freeform 45"/>
          <p:cNvSpPr>
            <a:spLocks/>
          </p:cNvSpPr>
          <p:nvPr userDrawn="1"/>
        </p:nvSpPr>
        <p:spPr bwMode="auto">
          <a:xfrm>
            <a:off x="7677150" y="1579265"/>
            <a:ext cx="1588" cy="0"/>
          </a:xfrm>
          <a:custGeom>
            <a:avLst/>
            <a:gdLst>
              <a:gd name="T0" fmla="*/ 22 w 22"/>
              <a:gd name="T1" fmla="*/ 9 h 9"/>
              <a:gd name="T2" fmla="*/ 22 w 22"/>
              <a:gd name="T3" fmla="*/ 9 h 9"/>
              <a:gd name="T4" fmla="*/ 3 w 22"/>
              <a:gd name="T5" fmla="*/ 2 h 9"/>
              <a:gd name="T6" fmla="*/ 3 w 22"/>
              <a:gd name="T7" fmla="*/ 2 h 9"/>
              <a:gd name="T8" fmla="*/ 0 w 22"/>
              <a:gd name="T9" fmla="*/ 0 h 9"/>
              <a:gd name="T10" fmla="*/ 0 w 22"/>
              <a:gd name="T11" fmla="*/ 0 h 9"/>
              <a:gd name="T12" fmla="*/ 22 w 22"/>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22" h="9">
                <a:moveTo>
                  <a:pt x="22" y="9"/>
                </a:moveTo>
                <a:lnTo>
                  <a:pt x="22" y="9"/>
                </a:lnTo>
                <a:lnTo>
                  <a:pt x="3" y="2"/>
                </a:lnTo>
                <a:lnTo>
                  <a:pt x="3" y="2"/>
                </a:lnTo>
                <a:lnTo>
                  <a:pt x="0" y="0"/>
                </a:lnTo>
                <a:lnTo>
                  <a:pt x="0" y="0"/>
                </a:lnTo>
                <a:lnTo>
                  <a:pt x="22"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49" name="Freeform 46"/>
          <p:cNvSpPr>
            <a:spLocks/>
          </p:cNvSpPr>
          <p:nvPr userDrawn="1"/>
        </p:nvSpPr>
        <p:spPr bwMode="auto">
          <a:xfrm>
            <a:off x="7429500" y="1261766"/>
            <a:ext cx="20638" cy="12700"/>
          </a:xfrm>
          <a:custGeom>
            <a:avLst/>
            <a:gdLst>
              <a:gd name="T0" fmla="*/ 166 w 166"/>
              <a:gd name="T1" fmla="*/ 69 h 96"/>
              <a:gd name="T2" fmla="*/ 166 w 166"/>
              <a:gd name="T3" fmla="*/ 69 h 96"/>
              <a:gd name="T4" fmla="*/ 166 w 166"/>
              <a:gd name="T5" fmla="*/ 70 h 96"/>
              <a:gd name="T6" fmla="*/ 165 w 166"/>
              <a:gd name="T7" fmla="*/ 72 h 96"/>
              <a:gd name="T8" fmla="*/ 161 w 166"/>
              <a:gd name="T9" fmla="*/ 74 h 96"/>
              <a:gd name="T10" fmla="*/ 155 w 166"/>
              <a:gd name="T11" fmla="*/ 77 h 96"/>
              <a:gd name="T12" fmla="*/ 145 w 166"/>
              <a:gd name="T13" fmla="*/ 79 h 96"/>
              <a:gd name="T14" fmla="*/ 123 w 166"/>
              <a:gd name="T15" fmla="*/ 85 h 96"/>
              <a:gd name="T16" fmla="*/ 95 w 166"/>
              <a:gd name="T17" fmla="*/ 90 h 96"/>
              <a:gd name="T18" fmla="*/ 68 w 166"/>
              <a:gd name="T19" fmla="*/ 94 h 96"/>
              <a:gd name="T20" fmla="*/ 42 w 166"/>
              <a:gd name="T21" fmla="*/ 96 h 96"/>
              <a:gd name="T22" fmla="*/ 24 w 166"/>
              <a:gd name="T23" fmla="*/ 96 h 96"/>
              <a:gd name="T24" fmla="*/ 17 w 166"/>
              <a:gd name="T25" fmla="*/ 95 h 96"/>
              <a:gd name="T26" fmla="*/ 13 w 166"/>
              <a:gd name="T27" fmla="*/ 94 h 96"/>
              <a:gd name="T28" fmla="*/ 13 w 166"/>
              <a:gd name="T29" fmla="*/ 94 h 96"/>
              <a:gd name="T30" fmla="*/ 10 w 166"/>
              <a:gd name="T31" fmla="*/ 92 h 96"/>
              <a:gd name="T32" fmla="*/ 8 w 166"/>
              <a:gd name="T33" fmla="*/ 88 h 96"/>
              <a:gd name="T34" fmla="*/ 5 w 166"/>
              <a:gd name="T35" fmla="*/ 77 h 96"/>
              <a:gd name="T36" fmla="*/ 2 w 166"/>
              <a:gd name="T37" fmla="*/ 65 h 96"/>
              <a:gd name="T38" fmla="*/ 0 w 166"/>
              <a:gd name="T39" fmla="*/ 51 h 96"/>
              <a:gd name="T40" fmla="*/ 0 w 166"/>
              <a:gd name="T41" fmla="*/ 36 h 96"/>
              <a:gd name="T42" fmla="*/ 0 w 166"/>
              <a:gd name="T43" fmla="*/ 23 h 96"/>
              <a:gd name="T44" fmla="*/ 1 w 166"/>
              <a:gd name="T45" fmla="*/ 13 h 96"/>
              <a:gd name="T46" fmla="*/ 2 w 166"/>
              <a:gd name="T47" fmla="*/ 8 h 96"/>
              <a:gd name="T48" fmla="*/ 4 w 166"/>
              <a:gd name="T49" fmla="*/ 5 h 96"/>
              <a:gd name="T50" fmla="*/ 4 w 166"/>
              <a:gd name="T51" fmla="*/ 5 h 96"/>
              <a:gd name="T52" fmla="*/ 5 w 166"/>
              <a:gd name="T53" fmla="*/ 4 h 96"/>
              <a:gd name="T54" fmla="*/ 7 w 166"/>
              <a:gd name="T55" fmla="*/ 2 h 96"/>
              <a:gd name="T56" fmla="*/ 13 w 166"/>
              <a:gd name="T57" fmla="*/ 1 h 96"/>
              <a:gd name="T58" fmla="*/ 22 w 166"/>
              <a:gd name="T59" fmla="*/ 0 h 96"/>
              <a:gd name="T60" fmla="*/ 32 w 166"/>
              <a:gd name="T61" fmla="*/ 0 h 96"/>
              <a:gd name="T62" fmla="*/ 43 w 166"/>
              <a:gd name="T63" fmla="*/ 1 h 96"/>
              <a:gd name="T64" fmla="*/ 55 w 166"/>
              <a:gd name="T65" fmla="*/ 3 h 96"/>
              <a:gd name="T66" fmla="*/ 69 w 166"/>
              <a:gd name="T67" fmla="*/ 6 h 96"/>
              <a:gd name="T68" fmla="*/ 83 w 166"/>
              <a:gd name="T69" fmla="*/ 10 h 96"/>
              <a:gd name="T70" fmla="*/ 96 w 166"/>
              <a:gd name="T71" fmla="*/ 15 h 96"/>
              <a:gd name="T72" fmla="*/ 110 w 166"/>
              <a:gd name="T73" fmla="*/ 20 h 96"/>
              <a:gd name="T74" fmla="*/ 123 w 166"/>
              <a:gd name="T75" fmla="*/ 27 h 96"/>
              <a:gd name="T76" fmla="*/ 135 w 166"/>
              <a:gd name="T77" fmla="*/ 34 h 96"/>
              <a:gd name="T78" fmla="*/ 145 w 166"/>
              <a:gd name="T79" fmla="*/ 42 h 96"/>
              <a:gd name="T80" fmla="*/ 155 w 166"/>
              <a:gd name="T81" fmla="*/ 51 h 96"/>
              <a:gd name="T82" fmla="*/ 162 w 166"/>
              <a:gd name="T83" fmla="*/ 60 h 96"/>
              <a:gd name="T84" fmla="*/ 164 w 166"/>
              <a:gd name="T85" fmla="*/ 64 h 96"/>
              <a:gd name="T86" fmla="*/ 166 w 166"/>
              <a:gd name="T87" fmla="*/ 6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6" h="96">
                <a:moveTo>
                  <a:pt x="166" y="69"/>
                </a:moveTo>
                <a:lnTo>
                  <a:pt x="166" y="69"/>
                </a:lnTo>
                <a:lnTo>
                  <a:pt x="166" y="70"/>
                </a:lnTo>
                <a:lnTo>
                  <a:pt x="165" y="72"/>
                </a:lnTo>
                <a:lnTo>
                  <a:pt x="161" y="74"/>
                </a:lnTo>
                <a:lnTo>
                  <a:pt x="155" y="77"/>
                </a:lnTo>
                <a:lnTo>
                  <a:pt x="145" y="79"/>
                </a:lnTo>
                <a:lnTo>
                  <a:pt x="123" y="85"/>
                </a:lnTo>
                <a:lnTo>
                  <a:pt x="95" y="90"/>
                </a:lnTo>
                <a:lnTo>
                  <a:pt x="68" y="94"/>
                </a:lnTo>
                <a:lnTo>
                  <a:pt x="42" y="96"/>
                </a:lnTo>
                <a:lnTo>
                  <a:pt x="24" y="96"/>
                </a:lnTo>
                <a:lnTo>
                  <a:pt x="17" y="95"/>
                </a:lnTo>
                <a:lnTo>
                  <a:pt x="13" y="94"/>
                </a:lnTo>
                <a:lnTo>
                  <a:pt x="13" y="94"/>
                </a:lnTo>
                <a:lnTo>
                  <a:pt x="10" y="92"/>
                </a:lnTo>
                <a:lnTo>
                  <a:pt x="8" y="88"/>
                </a:lnTo>
                <a:lnTo>
                  <a:pt x="5" y="77"/>
                </a:lnTo>
                <a:lnTo>
                  <a:pt x="2" y="65"/>
                </a:lnTo>
                <a:lnTo>
                  <a:pt x="0" y="51"/>
                </a:lnTo>
                <a:lnTo>
                  <a:pt x="0" y="36"/>
                </a:lnTo>
                <a:lnTo>
                  <a:pt x="0" y="23"/>
                </a:lnTo>
                <a:lnTo>
                  <a:pt x="1" y="13"/>
                </a:lnTo>
                <a:lnTo>
                  <a:pt x="2" y="8"/>
                </a:lnTo>
                <a:lnTo>
                  <a:pt x="4" y="5"/>
                </a:lnTo>
                <a:lnTo>
                  <a:pt x="4" y="5"/>
                </a:lnTo>
                <a:lnTo>
                  <a:pt x="5" y="4"/>
                </a:lnTo>
                <a:lnTo>
                  <a:pt x="7" y="2"/>
                </a:lnTo>
                <a:lnTo>
                  <a:pt x="13" y="1"/>
                </a:lnTo>
                <a:lnTo>
                  <a:pt x="22" y="0"/>
                </a:lnTo>
                <a:lnTo>
                  <a:pt x="32" y="0"/>
                </a:lnTo>
                <a:lnTo>
                  <a:pt x="43" y="1"/>
                </a:lnTo>
                <a:lnTo>
                  <a:pt x="55" y="3"/>
                </a:lnTo>
                <a:lnTo>
                  <a:pt x="69" y="6"/>
                </a:lnTo>
                <a:lnTo>
                  <a:pt x="83" y="10"/>
                </a:lnTo>
                <a:lnTo>
                  <a:pt x="96" y="15"/>
                </a:lnTo>
                <a:lnTo>
                  <a:pt x="110" y="20"/>
                </a:lnTo>
                <a:lnTo>
                  <a:pt x="123" y="27"/>
                </a:lnTo>
                <a:lnTo>
                  <a:pt x="135" y="34"/>
                </a:lnTo>
                <a:lnTo>
                  <a:pt x="145" y="42"/>
                </a:lnTo>
                <a:lnTo>
                  <a:pt x="155" y="51"/>
                </a:lnTo>
                <a:lnTo>
                  <a:pt x="162" y="60"/>
                </a:lnTo>
                <a:lnTo>
                  <a:pt x="164" y="64"/>
                </a:lnTo>
                <a:lnTo>
                  <a:pt x="166" y="6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50" name="Freeform 47"/>
          <p:cNvSpPr>
            <a:spLocks/>
          </p:cNvSpPr>
          <p:nvPr userDrawn="1"/>
        </p:nvSpPr>
        <p:spPr bwMode="auto">
          <a:xfrm>
            <a:off x="7151687" y="1218904"/>
            <a:ext cx="657225" cy="776288"/>
          </a:xfrm>
          <a:custGeom>
            <a:avLst/>
            <a:gdLst>
              <a:gd name="T0" fmla="*/ 4703 w 4973"/>
              <a:gd name="T1" fmla="*/ 1877 h 5865"/>
              <a:gd name="T2" fmla="*/ 4733 w 4973"/>
              <a:gd name="T3" fmla="*/ 1183 h 5865"/>
              <a:gd name="T4" fmla="*/ 4302 w 4973"/>
              <a:gd name="T5" fmla="*/ 476 h 5865"/>
              <a:gd name="T6" fmla="*/ 3581 w 4973"/>
              <a:gd name="T7" fmla="*/ 813 h 5865"/>
              <a:gd name="T8" fmla="*/ 3899 w 4973"/>
              <a:gd name="T9" fmla="*/ 1529 h 5865"/>
              <a:gd name="T10" fmla="*/ 3757 w 4973"/>
              <a:gd name="T11" fmla="*/ 2227 h 5865"/>
              <a:gd name="T12" fmla="*/ 3939 w 4973"/>
              <a:gd name="T13" fmla="*/ 2068 h 5865"/>
              <a:gd name="T14" fmla="*/ 4069 w 4973"/>
              <a:gd name="T15" fmla="*/ 1928 h 5865"/>
              <a:gd name="T16" fmla="*/ 4545 w 4973"/>
              <a:gd name="T17" fmla="*/ 1985 h 5865"/>
              <a:gd name="T18" fmla="*/ 4487 w 4973"/>
              <a:gd name="T19" fmla="*/ 2697 h 5865"/>
              <a:gd name="T20" fmla="*/ 3601 w 4973"/>
              <a:gd name="T21" fmla="*/ 2477 h 5865"/>
              <a:gd name="T22" fmla="*/ 3285 w 4973"/>
              <a:gd name="T23" fmla="*/ 1581 h 5865"/>
              <a:gd name="T24" fmla="*/ 3364 w 4973"/>
              <a:gd name="T25" fmla="*/ 1421 h 5865"/>
              <a:gd name="T26" fmla="*/ 3101 w 4973"/>
              <a:gd name="T27" fmla="*/ 996 h 5865"/>
              <a:gd name="T28" fmla="*/ 3251 w 4973"/>
              <a:gd name="T29" fmla="*/ 599 h 5865"/>
              <a:gd name="T30" fmla="*/ 2863 w 4973"/>
              <a:gd name="T31" fmla="*/ 144 h 5865"/>
              <a:gd name="T32" fmla="*/ 1960 w 4973"/>
              <a:gd name="T33" fmla="*/ 304 h 5865"/>
              <a:gd name="T34" fmla="*/ 1819 w 4973"/>
              <a:gd name="T35" fmla="*/ 748 h 5865"/>
              <a:gd name="T36" fmla="*/ 2202 w 4973"/>
              <a:gd name="T37" fmla="*/ 626 h 5865"/>
              <a:gd name="T38" fmla="*/ 2215 w 4973"/>
              <a:gd name="T39" fmla="*/ 803 h 5865"/>
              <a:gd name="T40" fmla="*/ 1623 w 4973"/>
              <a:gd name="T41" fmla="*/ 851 h 5865"/>
              <a:gd name="T42" fmla="*/ 1602 w 4973"/>
              <a:gd name="T43" fmla="*/ 1055 h 5865"/>
              <a:gd name="T44" fmla="*/ 2246 w 4973"/>
              <a:gd name="T45" fmla="*/ 924 h 5865"/>
              <a:gd name="T46" fmla="*/ 2036 w 4973"/>
              <a:gd name="T47" fmla="*/ 981 h 5865"/>
              <a:gd name="T48" fmla="*/ 1754 w 4973"/>
              <a:gd name="T49" fmla="*/ 1278 h 5865"/>
              <a:gd name="T50" fmla="*/ 2105 w 4973"/>
              <a:gd name="T51" fmla="*/ 1619 h 5865"/>
              <a:gd name="T52" fmla="*/ 863 w 4973"/>
              <a:gd name="T53" fmla="*/ 2239 h 5865"/>
              <a:gd name="T54" fmla="*/ 310 w 4973"/>
              <a:gd name="T55" fmla="*/ 2027 h 5865"/>
              <a:gd name="T56" fmla="*/ 319 w 4973"/>
              <a:gd name="T57" fmla="*/ 2172 h 5865"/>
              <a:gd name="T58" fmla="*/ 380 w 4973"/>
              <a:gd name="T59" fmla="*/ 2295 h 5865"/>
              <a:gd name="T60" fmla="*/ 39 w 4973"/>
              <a:gd name="T61" fmla="*/ 2396 h 5865"/>
              <a:gd name="T62" fmla="*/ 189 w 4973"/>
              <a:gd name="T63" fmla="*/ 2511 h 5865"/>
              <a:gd name="T64" fmla="*/ 322 w 4973"/>
              <a:gd name="T65" fmla="*/ 2588 h 5865"/>
              <a:gd name="T66" fmla="*/ 272 w 4973"/>
              <a:gd name="T67" fmla="*/ 2893 h 5865"/>
              <a:gd name="T68" fmla="*/ 630 w 4973"/>
              <a:gd name="T69" fmla="*/ 2730 h 5865"/>
              <a:gd name="T70" fmla="*/ 811 w 4973"/>
              <a:gd name="T71" fmla="*/ 2843 h 5865"/>
              <a:gd name="T72" fmla="*/ 1024 w 4973"/>
              <a:gd name="T73" fmla="*/ 2773 h 5865"/>
              <a:gd name="T74" fmla="*/ 1290 w 4973"/>
              <a:gd name="T75" fmla="*/ 2556 h 5865"/>
              <a:gd name="T76" fmla="*/ 1713 w 4973"/>
              <a:gd name="T77" fmla="*/ 2519 h 5865"/>
              <a:gd name="T78" fmla="*/ 2306 w 4973"/>
              <a:gd name="T79" fmla="*/ 2641 h 5865"/>
              <a:gd name="T80" fmla="*/ 3357 w 4973"/>
              <a:gd name="T81" fmla="*/ 3092 h 5865"/>
              <a:gd name="T82" fmla="*/ 3742 w 4973"/>
              <a:gd name="T83" fmla="*/ 3928 h 5865"/>
              <a:gd name="T84" fmla="*/ 3685 w 4973"/>
              <a:gd name="T85" fmla="*/ 4224 h 5865"/>
              <a:gd name="T86" fmla="*/ 4224 w 4973"/>
              <a:gd name="T87" fmla="*/ 4337 h 5865"/>
              <a:gd name="T88" fmla="*/ 4264 w 4973"/>
              <a:gd name="T89" fmla="*/ 5017 h 5865"/>
              <a:gd name="T90" fmla="*/ 3761 w 4973"/>
              <a:gd name="T91" fmla="*/ 5058 h 5865"/>
              <a:gd name="T92" fmla="*/ 3894 w 4973"/>
              <a:gd name="T93" fmla="*/ 5210 h 5865"/>
              <a:gd name="T94" fmla="*/ 3894 w 4973"/>
              <a:gd name="T95" fmla="*/ 5294 h 5865"/>
              <a:gd name="T96" fmla="*/ 3751 w 4973"/>
              <a:gd name="T97" fmla="*/ 5644 h 5865"/>
              <a:gd name="T98" fmla="*/ 3926 w 4973"/>
              <a:gd name="T99" fmla="*/ 5586 h 5865"/>
              <a:gd name="T100" fmla="*/ 4212 w 4973"/>
              <a:gd name="T101" fmla="*/ 5447 h 5865"/>
              <a:gd name="T102" fmla="*/ 4257 w 4973"/>
              <a:gd name="T103" fmla="*/ 5812 h 5865"/>
              <a:gd name="T104" fmla="*/ 4352 w 4973"/>
              <a:gd name="T105" fmla="*/ 5675 h 5865"/>
              <a:gd name="T106" fmla="*/ 4557 w 4973"/>
              <a:gd name="T107" fmla="*/ 5328 h 5865"/>
              <a:gd name="T108" fmla="*/ 4736 w 4973"/>
              <a:gd name="T109" fmla="*/ 5505 h 5865"/>
              <a:gd name="T110" fmla="*/ 4753 w 4973"/>
              <a:gd name="T111" fmla="*/ 5108 h 5865"/>
              <a:gd name="T112" fmla="*/ 4693 w 4973"/>
              <a:gd name="T113" fmla="*/ 4810 h 5865"/>
              <a:gd name="T114" fmla="*/ 4677 w 4973"/>
              <a:gd name="T115" fmla="*/ 4437 h 5865"/>
              <a:gd name="T116" fmla="*/ 4640 w 4973"/>
              <a:gd name="T117" fmla="*/ 4108 h 5865"/>
              <a:gd name="T118" fmla="*/ 4297 w 4973"/>
              <a:gd name="T119" fmla="*/ 3793 h 5865"/>
              <a:gd name="T120" fmla="*/ 4267 w 4973"/>
              <a:gd name="T121" fmla="*/ 3366 h 5865"/>
              <a:gd name="T122" fmla="*/ 4428 w 4973"/>
              <a:gd name="T123" fmla="*/ 2994 h 5865"/>
              <a:gd name="T124" fmla="*/ 4923 w 4973"/>
              <a:gd name="T125" fmla="*/ 2543 h 5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973" h="5865">
                <a:moveTo>
                  <a:pt x="4842" y="2253"/>
                </a:moveTo>
                <a:lnTo>
                  <a:pt x="4842" y="2253"/>
                </a:lnTo>
                <a:lnTo>
                  <a:pt x="4862" y="2257"/>
                </a:lnTo>
                <a:lnTo>
                  <a:pt x="4881" y="2259"/>
                </a:lnTo>
                <a:lnTo>
                  <a:pt x="4900" y="2260"/>
                </a:lnTo>
                <a:lnTo>
                  <a:pt x="4916" y="2259"/>
                </a:lnTo>
                <a:lnTo>
                  <a:pt x="4932" y="2257"/>
                </a:lnTo>
                <a:lnTo>
                  <a:pt x="4946" y="2254"/>
                </a:lnTo>
                <a:lnTo>
                  <a:pt x="4958" y="2249"/>
                </a:lnTo>
                <a:lnTo>
                  <a:pt x="4969" y="2243"/>
                </a:lnTo>
                <a:lnTo>
                  <a:pt x="4969" y="2243"/>
                </a:lnTo>
                <a:lnTo>
                  <a:pt x="4967" y="2217"/>
                </a:lnTo>
                <a:lnTo>
                  <a:pt x="4960" y="2157"/>
                </a:lnTo>
                <a:lnTo>
                  <a:pt x="4951" y="2084"/>
                </a:lnTo>
                <a:lnTo>
                  <a:pt x="4946" y="2052"/>
                </a:lnTo>
                <a:lnTo>
                  <a:pt x="4940" y="2024"/>
                </a:lnTo>
                <a:lnTo>
                  <a:pt x="4940" y="2024"/>
                </a:lnTo>
                <a:lnTo>
                  <a:pt x="4922" y="2027"/>
                </a:lnTo>
                <a:lnTo>
                  <a:pt x="4902" y="2030"/>
                </a:lnTo>
                <a:lnTo>
                  <a:pt x="4891" y="2030"/>
                </a:lnTo>
                <a:lnTo>
                  <a:pt x="4879" y="2030"/>
                </a:lnTo>
                <a:lnTo>
                  <a:pt x="4867" y="2029"/>
                </a:lnTo>
                <a:lnTo>
                  <a:pt x="4855" y="2027"/>
                </a:lnTo>
                <a:lnTo>
                  <a:pt x="4843" y="2024"/>
                </a:lnTo>
                <a:lnTo>
                  <a:pt x="4830" y="2020"/>
                </a:lnTo>
                <a:lnTo>
                  <a:pt x="4818" y="2015"/>
                </a:lnTo>
                <a:lnTo>
                  <a:pt x="4806" y="2008"/>
                </a:lnTo>
                <a:lnTo>
                  <a:pt x="4794" y="1998"/>
                </a:lnTo>
                <a:lnTo>
                  <a:pt x="4782" y="1988"/>
                </a:lnTo>
                <a:lnTo>
                  <a:pt x="4771" y="1976"/>
                </a:lnTo>
                <a:lnTo>
                  <a:pt x="4761" y="1962"/>
                </a:lnTo>
                <a:lnTo>
                  <a:pt x="4761" y="1962"/>
                </a:lnTo>
                <a:lnTo>
                  <a:pt x="4743" y="1933"/>
                </a:lnTo>
                <a:lnTo>
                  <a:pt x="4724" y="1905"/>
                </a:lnTo>
                <a:lnTo>
                  <a:pt x="4724" y="1905"/>
                </a:lnTo>
                <a:lnTo>
                  <a:pt x="4703" y="1877"/>
                </a:lnTo>
                <a:lnTo>
                  <a:pt x="4680" y="1849"/>
                </a:lnTo>
                <a:lnTo>
                  <a:pt x="4658" y="1823"/>
                </a:lnTo>
                <a:lnTo>
                  <a:pt x="4634" y="1797"/>
                </a:lnTo>
                <a:lnTo>
                  <a:pt x="4611" y="1773"/>
                </a:lnTo>
                <a:lnTo>
                  <a:pt x="4586" y="1750"/>
                </a:lnTo>
                <a:lnTo>
                  <a:pt x="4562" y="1727"/>
                </a:lnTo>
                <a:lnTo>
                  <a:pt x="4538" y="1707"/>
                </a:lnTo>
                <a:lnTo>
                  <a:pt x="4513" y="1687"/>
                </a:lnTo>
                <a:lnTo>
                  <a:pt x="4489" y="1667"/>
                </a:lnTo>
                <a:lnTo>
                  <a:pt x="4463" y="1649"/>
                </a:lnTo>
                <a:lnTo>
                  <a:pt x="4439" y="1630"/>
                </a:lnTo>
                <a:lnTo>
                  <a:pt x="4413" y="1614"/>
                </a:lnTo>
                <a:lnTo>
                  <a:pt x="4389" y="1598"/>
                </a:lnTo>
                <a:lnTo>
                  <a:pt x="4337" y="1566"/>
                </a:lnTo>
                <a:lnTo>
                  <a:pt x="4337" y="1566"/>
                </a:lnTo>
                <a:lnTo>
                  <a:pt x="4381" y="1543"/>
                </a:lnTo>
                <a:lnTo>
                  <a:pt x="4422" y="1521"/>
                </a:lnTo>
                <a:lnTo>
                  <a:pt x="4459" y="1498"/>
                </a:lnTo>
                <a:lnTo>
                  <a:pt x="4492" y="1477"/>
                </a:lnTo>
                <a:lnTo>
                  <a:pt x="4523" y="1455"/>
                </a:lnTo>
                <a:lnTo>
                  <a:pt x="4549" y="1434"/>
                </a:lnTo>
                <a:lnTo>
                  <a:pt x="4574" y="1414"/>
                </a:lnTo>
                <a:lnTo>
                  <a:pt x="4595" y="1393"/>
                </a:lnTo>
                <a:lnTo>
                  <a:pt x="4615" y="1374"/>
                </a:lnTo>
                <a:lnTo>
                  <a:pt x="4632" y="1355"/>
                </a:lnTo>
                <a:lnTo>
                  <a:pt x="4647" y="1337"/>
                </a:lnTo>
                <a:lnTo>
                  <a:pt x="4661" y="1319"/>
                </a:lnTo>
                <a:lnTo>
                  <a:pt x="4673" y="1303"/>
                </a:lnTo>
                <a:lnTo>
                  <a:pt x="4683" y="1288"/>
                </a:lnTo>
                <a:lnTo>
                  <a:pt x="4700" y="1260"/>
                </a:lnTo>
                <a:lnTo>
                  <a:pt x="4700" y="1260"/>
                </a:lnTo>
                <a:lnTo>
                  <a:pt x="4708" y="1248"/>
                </a:lnTo>
                <a:lnTo>
                  <a:pt x="4714" y="1234"/>
                </a:lnTo>
                <a:lnTo>
                  <a:pt x="4721" y="1218"/>
                </a:lnTo>
                <a:lnTo>
                  <a:pt x="4727" y="1202"/>
                </a:lnTo>
                <a:lnTo>
                  <a:pt x="4733" y="1183"/>
                </a:lnTo>
                <a:lnTo>
                  <a:pt x="4739" y="1164"/>
                </a:lnTo>
                <a:lnTo>
                  <a:pt x="4743" y="1144"/>
                </a:lnTo>
                <a:lnTo>
                  <a:pt x="4749" y="1123"/>
                </a:lnTo>
                <a:lnTo>
                  <a:pt x="4753" y="1101"/>
                </a:lnTo>
                <a:lnTo>
                  <a:pt x="4756" y="1078"/>
                </a:lnTo>
                <a:lnTo>
                  <a:pt x="4758" y="1054"/>
                </a:lnTo>
                <a:lnTo>
                  <a:pt x="4759" y="1030"/>
                </a:lnTo>
                <a:lnTo>
                  <a:pt x="4760" y="1005"/>
                </a:lnTo>
                <a:lnTo>
                  <a:pt x="4759" y="980"/>
                </a:lnTo>
                <a:lnTo>
                  <a:pt x="4758" y="954"/>
                </a:lnTo>
                <a:lnTo>
                  <a:pt x="4755" y="928"/>
                </a:lnTo>
                <a:lnTo>
                  <a:pt x="4751" y="902"/>
                </a:lnTo>
                <a:lnTo>
                  <a:pt x="4745" y="876"/>
                </a:lnTo>
                <a:lnTo>
                  <a:pt x="4738" y="849"/>
                </a:lnTo>
                <a:lnTo>
                  <a:pt x="4730" y="824"/>
                </a:lnTo>
                <a:lnTo>
                  <a:pt x="4720" y="797"/>
                </a:lnTo>
                <a:lnTo>
                  <a:pt x="4709" y="771"/>
                </a:lnTo>
                <a:lnTo>
                  <a:pt x="4695" y="746"/>
                </a:lnTo>
                <a:lnTo>
                  <a:pt x="4681" y="721"/>
                </a:lnTo>
                <a:lnTo>
                  <a:pt x="4665" y="697"/>
                </a:lnTo>
                <a:lnTo>
                  <a:pt x="4646" y="672"/>
                </a:lnTo>
                <a:lnTo>
                  <a:pt x="4625" y="649"/>
                </a:lnTo>
                <a:lnTo>
                  <a:pt x="4602" y="626"/>
                </a:lnTo>
                <a:lnTo>
                  <a:pt x="4578" y="605"/>
                </a:lnTo>
                <a:lnTo>
                  <a:pt x="4551" y="584"/>
                </a:lnTo>
                <a:lnTo>
                  <a:pt x="4522" y="565"/>
                </a:lnTo>
                <a:lnTo>
                  <a:pt x="4490" y="545"/>
                </a:lnTo>
                <a:lnTo>
                  <a:pt x="4490" y="545"/>
                </a:lnTo>
                <a:lnTo>
                  <a:pt x="4466" y="533"/>
                </a:lnTo>
                <a:lnTo>
                  <a:pt x="4443" y="522"/>
                </a:lnTo>
                <a:lnTo>
                  <a:pt x="4419" y="512"/>
                </a:lnTo>
                <a:lnTo>
                  <a:pt x="4396" y="503"/>
                </a:lnTo>
                <a:lnTo>
                  <a:pt x="4372" y="494"/>
                </a:lnTo>
                <a:lnTo>
                  <a:pt x="4348" y="487"/>
                </a:lnTo>
                <a:lnTo>
                  <a:pt x="4325" y="481"/>
                </a:lnTo>
                <a:lnTo>
                  <a:pt x="4302" y="476"/>
                </a:lnTo>
                <a:lnTo>
                  <a:pt x="4278" y="471"/>
                </a:lnTo>
                <a:lnTo>
                  <a:pt x="4256" y="468"/>
                </a:lnTo>
                <a:lnTo>
                  <a:pt x="4233" y="465"/>
                </a:lnTo>
                <a:lnTo>
                  <a:pt x="4211" y="463"/>
                </a:lnTo>
                <a:lnTo>
                  <a:pt x="4188" y="461"/>
                </a:lnTo>
                <a:lnTo>
                  <a:pt x="4167" y="461"/>
                </a:lnTo>
                <a:lnTo>
                  <a:pt x="4145" y="461"/>
                </a:lnTo>
                <a:lnTo>
                  <a:pt x="4124" y="461"/>
                </a:lnTo>
                <a:lnTo>
                  <a:pt x="4083" y="464"/>
                </a:lnTo>
                <a:lnTo>
                  <a:pt x="4044" y="468"/>
                </a:lnTo>
                <a:lnTo>
                  <a:pt x="4007" y="474"/>
                </a:lnTo>
                <a:lnTo>
                  <a:pt x="3973" y="482"/>
                </a:lnTo>
                <a:lnTo>
                  <a:pt x="3941" y="490"/>
                </a:lnTo>
                <a:lnTo>
                  <a:pt x="3912" y="499"/>
                </a:lnTo>
                <a:lnTo>
                  <a:pt x="3887" y="510"/>
                </a:lnTo>
                <a:lnTo>
                  <a:pt x="3864" y="519"/>
                </a:lnTo>
                <a:lnTo>
                  <a:pt x="3864" y="519"/>
                </a:lnTo>
                <a:lnTo>
                  <a:pt x="3844" y="529"/>
                </a:lnTo>
                <a:lnTo>
                  <a:pt x="3824" y="539"/>
                </a:lnTo>
                <a:lnTo>
                  <a:pt x="3806" y="551"/>
                </a:lnTo>
                <a:lnTo>
                  <a:pt x="3787" y="562"/>
                </a:lnTo>
                <a:lnTo>
                  <a:pt x="3769" y="575"/>
                </a:lnTo>
                <a:lnTo>
                  <a:pt x="3752" y="587"/>
                </a:lnTo>
                <a:lnTo>
                  <a:pt x="3735" y="602"/>
                </a:lnTo>
                <a:lnTo>
                  <a:pt x="3719" y="616"/>
                </a:lnTo>
                <a:lnTo>
                  <a:pt x="3703" y="631"/>
                </a:lnTo>
                <a:lnTo>
                  <a:pt x="3687" y="647"/>
                </a:lnTo>
                <a:lnTo>
                  <a:pt x="3673" y="663"/>
                </a:lnTo>
                <a:lnTo>
                  <a:pt x="3659" y="679"/>
                </a:lnTo>
                <a:lnTo>
                  <a:pt x="3645" y="697"/>
                </a:lnTo>
                <a:lnTo>
                  <a:pt x="3633" y="715"/>
                </a:lnTo>
                <a:lnTo>
                  <a:pt x="3621" y="734"/>
                </a:lnTo>
                <a:lnTo>
                  <a:pt x="3609" y="753"/>
                </a:lnTo>
                <a:lnTo>
                  <a:pt x="3599" y="772"/>
                </a:lnTo>
                <a:lnTo>
                  <a:pt x="3589" y="793"/>
                </a:lnTo>
                <a:lnTo>
                  <a:pt x="3581" y="813"/>
                </a:lnTo>
                <a:lnTo>
                  <a:pt x="3573" y="835"/>
                </a:lnTo>
                <a:lnTo>
                  <a:pt x="3565" y="856"/>
                </a:lnTo>
                <a:lnTo>
                  <a:pt x="3559" y="879"/>
                </a:lnTo>
                <a:lnTo>
                  <a:pt x="3554" y="901"/>
                </a:lnTo>
                <a:lnTo>
                  <a:pt x="3550" y="924"/>
                </a:lnTo>
                <a:lnTo>
                  <a:pt x="3547" y="947"/>
                </a:lnTo>
                <a:lnTo>
                  <a:pt x="3545" y="972"/>
                </a:lnTo>
                <a:lnTo>
                  <a:pt x="3544" y="996"/>
                </a:lnTo>
                <a:lnTo>
                  <a:pt x="3543" y="1021"/>
                </a:lnTo>
                <a:lnTo>
                  <a:pt x="3544" y="1046"/>
                </a:lnTo>
                <a:lnTo>
                  <a:pt x="3546" y="1072"/>
                </a:lnTo>
                <a:lnTo>
                  <a:pt x="3550" y="1098"/>
                </a:lnTo>
                <a:lnTo>
                  <a:pt x="3554" y="1124"/>
                </a:lnTo>
                <a:lnTo>
                  <a:pt x="3554" y="1124"/>
                </a:lnTo>
                <a:lnTo>
                  <a:pt x="3559" y="1148"/>
                </a:lnTo>
                <a:lnTo>
                  <a:pt x="3564" y="1169"/>
                </a:lnTo>
                <a:lnTo>
                  <a:pt x="3571" y="1191"/>
                </a:lnTo>
                <a:lnTo>
                  <a:pt x="3577" y="1211"/>
                </a:lnTo>
                <a:lnTo>
                  <a:pt x="3585" y="1231"/>
                </a:lnTo>
                <a:lnTo>
                  <a:pt x="3592" y="1249"/>
                </a:lnTo>
                <a:lnTo>
                  <a:pt x="3601" y="1267"/>
                </a:lnTo>
                <a:lnTo>
                  <a:pt x="3610" y="1285"/>
                </a:lnTo>
                <a:lnTo>
                  <a:pt x="3620" y="1301"/>
                </a:lnTo>
                <a:lnTo>
                  <a:pt x="3631" y="1316"/>
                </a:lnTo>
                <a:lnTo>
                  <a:pt x="3641" y="1332"/>
                </a:lnTo>
                <a:lnTo>
                  <a:pt x="3652" y="1347"/>
                </a:lnTo>
                <a:lnTo>
                  <a:pt x="3665" y="1361"/>
                </a:lnTo>
                <a:lnTo>
                  <a:pt x="3677" y="1375"/>
                </a:lnTo>
                <a:lnTo>
                  <a:pt x="3690" y="1388"/>
                </a:lnTo>
                <a:lnTo>
                  <a:pt x="3704" y="1400"/>
                </a:lnTo>
                <a:lnTo>
                  <a:pt x="3732" y="1425"/>
                </a:lnTo>
                <a:lnTo>
                  <a:pt x="3763" y="1447"/>
                </a:lnTo>
                <a:lnTo>
                  <a:pt x="3795" y="1469"/>
                </a:lnTo>
                <a:lnTo>
                  <a:pt x="3828" y="1489"/>
                </a:lnTo>
                <a:lnTo>
                  <a:pt x="3863" y="1510"/>
                </a:lnTo>
                <a:lnTo>
                  <a:pt x="3899" y="1529"/>
                </a:lnTo>
                <a:lnTo>
                  <a:pt x="3976" y="1567"/>
                </a:lnTo>
                <a:lnTo>
                  <a:pt x="3976" y="1567"/>
                </a:lnTo>
                <a:lnTo>
                  <a:pt x="3945" y="1584"/>
                </a:lnTo>
                <a:lnTo>
                  <a:pt x="3916" y="1601"/>
                </a:lnTo>
                <a:lnTo>
                  <a:pt x="3890" y="1618"/>
                </a:lnTo>
                <a:lnTo>
                  <a:pt x="3864" y="1636"/>
                </a:lnTo>
                <a:lnTo>
                  <a:pt x="3840" y="1656"/>
                </a:lnTo>
                <a:lnTo>
                  <a:pt x="3817" y="1675"/>
                </a:lnTo>
                <a:lnTo>
                  <a:pt x="3797" y="1696"/>
                </a:lnTo>
                <a:lnTo>
                  <a:pt x="3778" y="1717"/>
                </a:lnTo>
                <a:lnTo>
                  <a:pt x="3761" y="1741"/>
                </a:lnTo>
                <a:lnTo>
                  <a:pt x="3754" y="1753"/>
                </a:lnTo>
                <a:lnTo>
                  <a:pt x="3746" y="1765"/>
                </a:lnTo>
                <a:lnTo>
                  <a:pt x="3739" y="1778"/>
                </a:lnTo>
                <a:lnTo>
                  <a:pt x="3733" y="1791"/>
                </a:lnTo>
                <a:lnTo>
                  <a:pt x="3728" y="1804"/>
                </a:lnTo>
                <a:lnTo>
                  <a:pt x="3723" y="1818"/>
                </a:lnTo>
                <a:lnTo>
                  <a:pt x="3718" y="1833"/>
                </a:lnTo>
                <a:lnTo>
                  <a:pt x="3714" y="1848"/>
                </a:lnTo>
                <a:lnTo>
                  <a:pt x="3711" y="1863"/>
                </a:lnTo>
                <a:lnTo>
                  <a:pt x="3708" y="1879"/>
                </a:lnTo>
                <a:lnTo>
                  <a:pt x="3706" y="1895"/>
                </a:lnTo>
                <a:lnTo>
                  <a:pt x="3705" y="1912"/>
                </a:lnTo>
                <a:lnTo>
                  <a:pt x="3704" y="1930"/>
                </a:lnTo>
                <a:lnTo>
                  <a:pt x="3703" y="1947"/>
                </a:lnTo>
                <a:lnTo>
                  <a:pt x="3703" y="1947"/>
                </a:lnTo>
                <a:lnTo>
                  <a:pt x="3704" y="1970"/>
                </a:lnTo>
                <a:lnTo>
                  <a:pt x="3707" y="1993"/>
                </a:lnTo>
                <a:lnTo>
                  <a:pt x="3711" y="2016"/>
                </a:lnTo>
                <a:lnTo>
                  <a:pt x="3716" y="2039"/>
                </a:lnTo>
                <a:lnTo>
                  <a:pt x="3729" y="2087"/>
                </a:lnTo>
                <a:lnTo>
                  <a:pt x="3736" y="2113"/>
                </a:lnTo>
                <a:lnTo>
                  <a:pt x="3742" y="2139"/>
                </a:lnTo>
                <a:lnTo>
                  <a:pt x="3749" y="2168"/>
                </a:lnTo>
                <a:lnTo>
                  <a:pt x="3753" y="2197"/>
                </a:lnTo>
                <a:lnTo>
                  <a:pt x="3757" y="2227"/>
                </a:lnTo>
                <a:lnTo>
                  <a:pt x="3758" y="2260"/>
                </a:lnTo>
                <a:lnTo>
                  <a:pt x="3758" y="2295"/>
                </a:lnTo>
                <a:lnTo>
                  <a:pt x="3757" y="2313"/>
                </a:lnTo>
                <a:lnTo>
                  <a:pt x="3755" y="2332"/>
                </a:lnTo>
                <a:lnTo>
                  <a:pt x="3753" y="2350"/>
                </a:lnTo>
                <a:lnTo>
                  <a:pt x="3750" y="2371"/>
                </a:lnTo>
                <a:lnTo>
                  <a:pt x="3745" y="2391"/>
                </a:lnTo>
                <a:lnTo>
                  <a:pt x="3741" y="2411"/>
                </a:lnTo>
                <a:lnTo>
                  <a:pt x="3741" y="2411"/>
                </a:lnTo>
                <a:lnTo>
                  <a:pt x="3741" y="2413"/>
                </a:lnTo>
                <a:lnTo>
                  <a:pt x="3741" y="2414"/>
                </a:lnTo>
                <a:lnTo>
                  <a:pt x="3743" y="2414"/>
                </a:lnTo>
                <a:lnTo>
                  <a:pt x="3745" y="2416"/>
                </a:lnTo>
                <a:lnTo>
                  <a:pt x="3753" y="2413"/>
                </a:lnTo>
                <a:lnTo>
                  <a:pt x="3762" y="2411"/>
                </a:lnTo>
                <a:lnTo>
                  <a:pt x="3785" y="2401"/>
                </a:lnTo>
                <a:lnTo>
                  <a:pt x="3814" y="2389"/>
                </a:lnTo>
                <a:lnTo>
                  <a:pt x="3842" y="2374"/>
                </a:lnTo>
                <a:lnTo>
                  <a:pt x="3867" y="2360"/>
                </a:lnTo>
                <a:lnTo>
                  <a:pt x="3886" y="2349"/>
                </a:lnTo>
                <a:lnTo>
                  <a:pt x="3891" y="2345"/>
                </a:lnTo>
                <a:lnTo>
                  <a:pt x="3894" y="2343"/>
                </a:lnTo>
                <a:lnTo>
                  <a:pt x="3894" y="2343"/>
                </a:lnTo>
                <a:lnTo>
                  <a:pt x="3903" y="2319"/>
                </a:lnTo>
                <a:lnTo>
                  <a:pt x="3910" y="2296"/>
                </a:lnTo>
                <a:lnTo>
                  <a:pt x="3916" y="2272"/>
                </a:lnTo>
                <a:lnTo>
                  <a:pt x="3921" y="2248"/>
                </a:lnTo>
                <a:lnTo>
                  <a:pt x="3925" y="2224"/>
                </a:lnTo>
                <a:lnTo>
                  <a:pt x="3928" y="2201"/>
                </a:lnTo>
                <a:lnTo>
                  <a:pt x="3930" y="2178"/>
                </a:lnTo>
                <a:lnTo>
                  <a:pt x="3932" y="2156"/>
                </a:lnTo>
                <a:lnTo>
                  <a:pt x="3932" y="2117"/>
                </a:lnTo>
                <a:lnTo>
                  <a:pt x="3931" y="2086"/>
                </a:lnTo>
                <a:lnTo>
                  <a:pt x="3928" y="2059"/>
                </a:lnTo>
                <a:lnTo>
                  <a:pt x="3928" y="2059"/>
                </a:lnTo>
                <a:lnTo>
                  <a:pt x="3939" y="2068"/>
                </a:lnTo>
                <a:lnTo>
                  <a:pt x="3947" y="2079"/>
                </a:lnTo>
                <a:lnTo>
                  <a:pt x="3954" y="2091"/>
                </a:lnTo>
                <a:lnTo>
                  <a:pt x="3960" y="2105"/>
                </a:lnTo>
                <a:lnTo>
                  <a:pt x="3964" y="2120"/>
                </a:lnTo>
                <a:lnTo>
                  <a:pt x="3968" y="2135"/>
                </a:lnTo>
                <a:lnTo>
                  <a:pt x="3971" y="2152"/>
                </a:lnTo>
                <a:lnTo>
                  <a:pt x="3973" y="2168"/>
                </a:lnTo>
                <a:lnTo>
                  <a:pt x="3975" y="2185"/>
                </a:lnTo>
                <a:lnTo>
                  <a:pt x="3976" y="2203"/>
                </a:lnTo>
                <a:lnTo>
                  <a:pt x="3976" y="2219"/>
                </a:lnTo>
                <a:lnTo>
                  <a:pt x="3975" y="2237"/>
                </a:lnTo>
                <a:lnTo>
                  <a:pt x="3971" y="2268"/>
                </a:lnTo>
                <a:lnTo>
                  <a:pt x="3965" y="2297"/>
                </a:lnTo>
                <a:lnTo>
                  <a:pt x="3965" y="2297"/>
                </a:lnTo>
                <a:lnTo>
                  <a:pt x="3982" y="2288"/>
                </a:lnTo>
                <a:lnTo>
                  <a:pt x="3998" y="2276"/>
                </a:lnTo>
                <a:lnTo>
                  <a:pt x="4016" y="2263"/>
                </a:lnTo>
                <a:lnTo>
                  <a:pt x="4036" y="2249"/>
                </a:lnTo>
                <a:lnTo>
                  <a:pt x="4053" y="2234"/>
                </a:lnTo>
                <a:lnTo>
                  <a:pt x="4061" y="2226"/>
                </a:lnTo>
                <a:lnTo>
                  <a:pt x="4068" y="2219"/>
                </a:lnTo>
                <a:lnTo>
                  <a:pt x="4072" y="2212"/>
                </a:lnTo>
                <a:lnTo>
                  <a:pt x="4075" y="2206"/>
                </a:lnTo>
                <a:lnTo>
                  <a:pt x="4075" y="2206"/>
                </a:lnTo>
                <a:lnTo>
                  <a:pt x="4083" y="2176"/>
                </a:lnTo>
                <a:lnTo>
                  <a:pt x="4090" y="2148"/>
                </a:lnTo>
                <a:lnTo>
                  <a:pt x="4094" y="2121"/>
                </a:lnTo>
                <a:lnTo>
                  <a:pt x="4096" y="2095"/>
                </a:lnTo>
                <a:lnTo>
                  <a:pt x="4096" y="2071"/>
                </a:lnTo>
                <a:lnTo>
                  <a:pt x="4095" y="2047"/>
                </a:lnTo>
                <a:lnTo>
                  <a:pt x="4093" y="2025"/>
                </a:lnTo>
                <a:lnTo>
                  <a:pt x="4090" y="2003"/>
                </a:lnTo>
                <a:lnTo>
                  <a:pt x="4085" y="1983"/>
                </a:lnTo>
                <a:lnTo>
                  <a:pt x="4080" y="1964"/>
                </a:lnTo>
                <a:lnTo>
                  <a:pt x="4075" y="1945"/>
                </a:lnTo>
                <a:lnTo>
                  <a:pt x="4069" y="1928"/>
                </a:lnTo>
                <a:lnTo>
                  <a:pt x="4055" y="1894"/>
                </a:lnTo>
                <a:lnTo>
                  <a:pt x="4043" y="1862"/>
                </a:lnTo>
                <a:lnTo>
                  <a:pt x="4043" y="1862"/>
                </a:lnTo>
                <a:lnTo>
                  <a:pt x="4038" y="1847"/>
                </a:lnTo>
                <a:lnTo>
                  <a:pt x="4035" y="1832"/>
                </a:lnTo>
                <a:lnTo>
                  <a:pt x="4034" y="1817"/>
                </a:lnTo>
                <a:lnTo>
                  <a:pt x="4035" y="1802"/>
                </a:lnTo>
                <a:lnTo>
                  <a:pt x="4037" y="1788"/>
                </a:lnTo>
                <a:lnTo>
                  <a:pt x="4041" y="1773"/>
                </a:lnTo>
                <a:lnTo>
                  <a:pt x="4046" y="1759"/>
                </a:lnTo>
                <a:lnTo>
                  <a:pt x="4053" y="1746"/>
                </a:lnTo>
                <a:lnTo>
                  <a:pt x="4061" y="1733"/>
                </a:lnTo>
                <a:lnTo>
                  <a:pt x="4071" y="1719"/>
                </a:lnTo>
                <a:lnTo>
                  <a:pt x="4081" y="1707"/>
                </a:lnTo>
                <a:lnTo>
                  <a:pt x="4092" y="1696"/>
                </a:lnTo>
                <a:lnTo>
                  <a:pt x="4103" y="1684"/>
                </a:lnTo>
                <a:lnTo>
                  <a:pt x="4117" y="1673"/>
                </a:lnTo>
                <a:lnTo>
                  <a:pt x="4130" y="1664"/>
                </a:lnTo>
                <a:lnTo>
                  <a:pt x="4145" y="1655"/>
                </a:lnTo>
                <a:lnTo>
                  <a:pt x="4145" y="1655"/>
                </a:lnTo>
                <a:lnTo>
                  <a:pt x="4180" y="1674"/>
                </a:lnTo>
                <a:lnTo>
                  <a:pt x="4215" y="1695"/>
                </a:lnTo>
                <a:lnTo>
                  <a:pt x="4251" y="1716"/>
                </a:lnTo>
                <a:lnTo>
                  <a:pt x="4286" y="1740"/>
                </a:lnTo>
                <a:lnTo>
                  <a:pt x="4286" y="1740"/>
                </a:lnTo>
                <a:lnTo>
                  <a:pt x="4307" y="1754"/>
                </a:lnTo>
                <a:lnTo>
                  <a:pt x="4341" y="1779"/>
                </a:lnTo>
                <a:lnTo>
                  <a:pt x="4361" y="1794"/>
                </a:lnTo>
                <a:lnTo>
                  <a:pt x="4382" y="1812"/>
                </a:lnTo>
                <a:lnTo>
                  <a:pt x="4405" y="1832"/>
                </a:lnTo>
                <a:lnTo>
                  <a:pt x="4430" y="1853"/>
                </a:lnTo>
                <a:lnTo>
                  <a:pt x="4453" y="1877"/>
                </a:lnTo>
                <a:lnTo>
                  <a:pt x="4478" y="1901"/>
                </a:lnTo>
                <a:lnTo>
                  <a:pt x="4501" y="1928"/>
                </a:lnTo>
                <a:lnTo>
                  <a:pt x="4524" y="1956"/>
                </a:lnTo>
                <a:lnTo>
                  <a:pt x="4545" y="1985"/>
                </a:lnTo>
                <a:lnTo>
                  <a:pt x="4564" y="2016"/>
                </a:lnTo>
                <a:lnTo>
                  <a:pt x="4574" y="2031"/>
                </a:lnTo>
                <a:lnTo>
                  <a:pt x="4582" y="2047"/>
                </a:lnTo>
                <a:lnTo>
                  <a:pt x="4590" y="2064"/>
                </a:lnTo>
                <a:lnTo>
                  <a:pt x="4596" y="2080"/>
                </a:lnTo>
                <a:lnTo>
                  <a:pt x="4596" y="2080"/>
                </a:lnTo>
                <a:lnTo>
                  <a:pt x="4606" y="2106"/>
                </a:lnTo>
                <a:lnTo>
                  <a:pt x="4616" y="2130"/>
                </a:lnTo>
                <a:lnTo>
                  <a:pt x="4624" y="2155"/>
                </a:lnTo>
                <a:lnTo>
                  <a:pt x="4630" y="2178"/>
                </a:lnTo>
                <a:lnTo>
                  <a:pt x="4636" y="2202"/>
                </a:lnTo>
                <a:lnTo>
                  <a:pt x="4641" y="2224"/>
                </a:lnTo>
                <a:lnTo>
                  <a:pt x="4645" y="2246"/>
                </a:lnTo>
                <a:lnTo>
                  <a:pt x="4649" y="2266"/>
                </a:lnTo>
                <a:lnTo>
                  <a:pt x="4651" y="2287"/>
                </a:lnTo>
                <a:lnTo>
                  <a:pt x="4653" y="2306"/>
                </a:lnTo>
                <a:lnTo>
                  <a:pt x="4654" y="2325"/>
                </a:lnTo>
                <a:lnTo>
                  <a:pt x="4655" y="2343"/>
                </a:lnTo>
                <a:lnTo>
                  <a:pt x="4654" y="2377"/>
                </a:lnTo>
                <a:lnTo>
                  <a:pt x="4652" y="2408"/>
                </a:lnTo>
                <a:lnTo>
                  <a:pt x="4648" y="2437"/>
                </a:lnTo>
                <a:lnTo>
                  <a:pt x="4642" y="2464"/>
                </a:lnTo>
                <a:lnTo>
                  <a:pt x="4635" y="2487"/>
                </a:lnTo>
                <a:lnTo>
                  <a:pt x="4628" y="2509"/>
                </a:lnTo>
                <a:lnTo>
                  <a:pt x="4620" y="2527"/>
                </a:lnTo>
                <a:lnTo>
                  <a:pt x="4612" y="2544"/>
                </a:lnTo>
                <a:lnTo>
                  <a:pt x="4603" y="2559"/>
                </a:lnTo>
                <a:lnTo>
                  <a:pt x="4596" y="2570"/>
                </a:lnTo>
                <a:lnTo>
                  <a:pt x="4596" y="2570"/>
                </a:lnTo>
                <a:lnTo>
                  <a:pt x="4582" y="2590"/>
                </a:lnTo>
                <a:lnTo>
                  <a:pt x="4568" y="2611"/>
                </a:lnTo>
                <a:lnTo>
                  <a:pt x="4553" y="2629"/>
                </a:lnTo>
                <a:lnTo>
                  <a:pt x="4538" y="2648"/>
                </a:lnTo>
                <a:lnTo>
                  <a:pt x="4522" y="2665"/>
                </a:lnTo>
                <a:lnTo>
                  <a:pt x="4505" y="2681"/>
                </a:lnTo>
                <a:lnTo>
                  <a:pt x="4487" y="2697"/>
                </a:lnTo>
                <a:lnTo>
                  <a:pt x="4469" y="2711"/>
                </a:lnTo>
                <a:lnTo>
                  <a:pt x="4450" y="2724"/>
                </a:lnTo>
                <a:lnTo>
                  <a:pt x="4430" y="2736"/>
                </a:lnTo>
                <a:lnTo>
                  <a:pt x="4409" y="2747"/>
                </a:lnTo>
                <a:lnTo>
                  <a:pt x="4388" y="2756"/>
                </a:lnTo>
                <a:lnTo>
                  <a:pt x="4364" y="2764"/>
                </a:lnTo>
                <a:lnTo>
                  <a:pt x="4341" y="2771"/>
                </a:lnTo>
                <a:lnTo>
                  <a:pt x="4316" y="2776"/>
                </a:lnTo>
                <a:lnTo>
                  <a:pt x="4290" y="2779"/>
                </a:lnTo>
                <a:lnTo>
                  <a:pt x="4290" y="2779"/>
                </a:lnTo>
                <a:lnTo>
                  <a:pt x="4283" y="2778"/>
                </a:lnTo>
                <a:lnTo>
                  <a:pt x="4275" y="2778"/>
                </a:lnTo>
                <a:lnTo>
                  <a:pt x="4275" y="2778"/>
                </a:lnTo>
                <a:lnTo>
                  <a:pt x="4242" y="2779"/>
                </a:lnTo>
                <a:lnTo>
                  <a:pt x="4213" y="2779"/>
                </a:lnTo>
                <a:lnTo>
                  <a:pt x="4185" y="2778"/>
                </a:lnTo>
                <a:lnTo>
                  <a:pt x="4159" y="2775"/>
                </a:lnTo>
                <a:lnTo>
                  <a:pt x="4159" y="2775"/>
                </a:lnTo>
                <a:lnTo>
                  <a:pt x="4131" y="2770"/>
                </a:lnTo>
                <a:lnTo>
                  <a:pt x="4103" y="2765"/>
                </a:lnTo>
                <a:lnTo>
                  <a:pt x="4077" y="2758"/>
                </a:lnTo>
                <a:lnTo>
                  <a:pt x="4052" y="2751"/>
                </a:lnTo>
                <a:lnTo>
                  <a:pt x="4052" y="2751"/>
                </a:lnTo>
                <a:lnTo>
                  <a:pt x="4009" y="2736"/>
                </a:lnTo>
                <a:lnTo>
                  <a:pt x="3965" y="2717"/>
                </a:lnTo>
                <a:lnTo>
                  <a:pt x="3965" y="2717"/>
                </a:lnTo>
                <a:lnTo>
                  <a:pt x="3925" y="2697"/>
                </a:lnTo>
                <a:lnTo>
                  <a:pt x="3874" y="2669"/>
                </a:lnTo>
                <a:lnTo>
                  <a:pt x="3846" y="2652"/>
                </a:lnTo>
                <a:lnTo>
                  <a:pt x="3815" y="2632"/>
                </a:lnTo>
                <a:lnTo>
                  <a:pt x="3782" y="2612"/>
                </a:lnTo>
                <a:lnTo>
                  <a:pt x="3748" y="2588"/>
                </a:lnTo>
                <a:lnTo>
                  <a:pt x="3712" y="2564"/>
                </a:lnTo>
                <a:lnTo>
                  <a:pt x="3676" y="2536"/>
                </a:lnTo>
                <a:lnTo>
                  <a:pt x="3638" y="2508"/>
                </a:lnTo>
                <a:lnTo>
                  <a:pt x="3601" y="2477"/>
                </a:lnTo>
                <a:lnTo>
                  <a:pt x="3563" y="2444"/>
                </a:lnTo>
                <a:lnTo>
                  <a:pt x="3526" y="2409"/>
                </a:lnTo>
                <a:lnTo>
                  <a:pt x="3488" y="2373"/>
                </a:lnTo>
                <a:lnTo>
                  <a:pt x="3451" y="2335"/>
                </a:lnTo>
                <a:lnTo>
                  <a:pt x="3451" y="2335"/>
                </a:lnTo>
                <a:lnTo>
                  <a:pt x="3394" y="2271"/>
                </a:lnTo>
                <a:lnTo>
                  <a:pt x="3342" y="2212"/>
                </a:lnTo>
                <a:lnTo>
                  <a:pt x="3295" y="2157"/>
                </a:lnTo>
                <a:lnTo>
                  <a:pt x="3253" y="2107"/>
                </a:lnTo>
                <a:lnTo>
                  <a:pt x="3215" y="2060"/>
                </a:lnTo>
                <a:lnTo>
                  <a:pt x="3180" y="2017"/>
                </a:lnTo>
                <a:lnTo>
                  <a:pt x="3120" y="1940"/>
                </a:lnTo>
                <a:lnTo>
                  <a:pt x="3120" y="1940"/>
                </a:lnTo>
                <a:lnTo>
                  <a:pt x="3138" y="1947"/>
                </a:lnTo>
                <a:lnTo>
                  <a:pt x="3156" y="1953"/>
                </a:lnTo>
                <a:lnTo>
                  <a:pt x="3175" y="1958"/>
                </a:lnTo>
                <a:lnTo>
                  <a:pt x="3193" y="1963"/>
                </a:lnTo>
                <a:lnTo>
                  <a:pt x="3211" y="1966"/>
                </a:lnTo>
                <a:lnTo>
                  <a:pt x="3229" y="1968"/>
                </a:lnTo>
                <a:lnTo>
                  <a:pt x="3262" y="1971"/>
                </a:lnTo>
                <a:lnTo>
                  <a:pt x="3289" y="1971"/>
                </a:lnTo>
                <a:lnTo>
                  <a:pt x="3312" y="1970"/>
                </a:lnTo>
                <a:lnTo>
                  <a:pt x="3332" y="1968"/>
                </a:lnTo>
                <a:lnTo>
                  <a:pt x="3332" y="1968"/>
                </a:lnTo>
                <a:lnTo>
                  <a:pt x="3336" y="1918"/>
                </a:lnTo>
                <a:lnTo>
                  <a:pt x="3338" y="1873"/>
                </a:lnTo>
                <a:lnTo>
                  <a:pt x="3340" y="1833"/>
                </a:lnTo>
                <a:lnTo>
                  <a:pt x="3346" y="1698"/>
                </a:lnTo>
                <a:lnTo>
                  <a:pt x="3346" y="1698"/>
                </a:lnTo>
                <a:lnTo>
                  <a:pt x="3349" y="1661"/>
                </a:lnTo>
                <a:lnTo>
                  <a:pt x="3351" y="1626"/>
                </a:lnTo>
                <a:lnTo>
                  <a:pt x="3352" y="1589"/>
                </a:lnTo>
                <a:lnTo>
                  <a:pt x="3352" y="1589"/>
                </a:lnTo>
                <a:lnTo>
                  <a:pt x="3340" y="1588"/>
                </a:lnTo>
                <a:lnTo>
                  <a:pt x="3307" y="1584"/>
                </a:lnTo>
                <a:lnTo>
                  <a:pt x="3285" y="1581"/>
                </a:lnTo>
                <a:lnTo>
                  <a:pt x="3260" y="1576"/>
                </a:lnTo>
                <a:lnTo>
                  <a:pt x="3233" y="1571"/>
                </a:lnTo>
                <a:lnTo>
                  <a:pt x="3206" y="1564"/>
                </a:lnTo>
                <a:lnTo>
                  <a:pt x="3176" y="1555"/>
                </a:lnTo>
                <a:lnTo>
                  <a:pt x="3147" y="1544"/>
                </a:lnTo>
                <a:lnTo>
                  <a:pt x="3120" y="1532"/>
                </a:lnTo>
                <a:lnTo>
                  <a:pt x="3106" y="1526"/>
                </a:lnTo>
                <a:lnTo>
                  <a:pt x="3093" y="1519"/>
                </a:lnTo>
                <a:lnTo>
                  <a:pt x="3081" y="1511"/>
                </a:lnTo>
                <a:lnTo>
                  <a:pt x="3070" y="1502"/>
                </a:lnTo>
                <a:lnTo>
                  <a:pt x="3058" y="1493"/>
                </a:lnTo>
                <a:lnTo>
                  <a:pt x="3049" y="1484"/>
                </a:lnTo>
                <a:lnTo>
                  <a:pt x="3040" y="1474"/>
                </a:lnTo>
                <a:lnTo>
                  <a:pt x="3032" y="1463"/>
                </a:lnTo>
                <a:lnTo>
                  <a:pt x="3025" y="1451"/>
                </a:lnTo>
                <a:lnTo>
                  <a:pt x="3019" y="1439"/>
                </a:lnTo>
                <a:lnTo>
                  <a:pt x="3019" y="1439"/>
                </a:lnTo>
                <a:lnTo>
                  <a:pt x="3030" y="1445"/>
                </a:lnTo>
                <a:lnTo>
                  <a:pt x="3042" y="1450"/>
                </a:lnTo>
                <a:lnTo>
                  <a:pt x="3059" y="1457"/>
                </a:lnTo>
                <a:lnTo>
                  <a:pt x="3081" y="1465"/>
                </a:lnTo>
                <a:lnTo>
                  <a:pt x="3106" y="1472"/>
                </a:lnTo>
                <a:lnTo>
                  <a:pt x="3136" y="1477"/>
                </a:lnTo>
                <a:lnTo>
                  <a:pt x="3152" y="1479"/>
                </a:lnTo>
                <a:lnTo>
                  <a:pt x="3169" y="1480"/>
                </a:lnTo>
                <a:lnTo>
                  <a:pt x="3169" y="1480"/>
                </a:lnTo>
                <a:lnTo>
                  <a:pt x="3201" y="1481"/>
                </a:lnTo>
                <a:lnTo>
                  <a:pt x="3234" y="1481"/>
                </a:lnTo>
                <a:lnTo>
                  <a:pt x="3266" y="1479"/>
                </a:lnTo>
                <a:lnTo>
                  <a:pt x="3295" y="1477"/>
                </a:lnTo>
                <a:lnTo>
                  <a:pt x="3340" y="1471"/>
                </a:lnTo>
                <a:lnTo>
                  <a:pt x="3357" y="1469"/>
                </a:lnTo>
                <a:lnTo>
                  <a:pt x="3357" y="1469"/>
                </a:lnTo>
                <a:lnTo>
                  <a:pt x="3359" y="1463"/>
                </a:lnTo>
                <a:lnTo>
                  <a:pt x="3361" y="1451"/>
                </a:lnTo>
                <a:lnTo>
                  <a:pt x="3364" y="1421"/>
                </a:lnTo>
                <a:lnTo>
                  <a:pt x="3367" y="1381"/>
                </a:lnTo>
                <a:lnTo>
                  <a:pt x="3369" y="1337"/>
                </a:lnTo>
                <a:lnTo>
                  <a:pt x="3373" y="1257"/>
                </a:lnTo>
                <a:lnTo>
                  <a:pt x="3375" y="1222"/>
                </a:lnTo>
                <a:lnTo>
                  <a:pt x="3375" y="1222"/>
                </a:lnTo>
                <a:lnTo>
                  <a:pt x="3376" y="1194"/>
                </a:lnTo>
                <a:lnTo>
                  <a:pt x="3377" y="1154"/>
                </a:lnTo>
                <a:lnTo>
                  <a:pt x="3377" y="1105"/>
                </a:lnTo>
                <a:lnTo>
                  <a:pt x="3377" y="1105"/>
                </a:lnTo>
                <a:lnTo>
                  <a:pt x="3369" y="1107"/>
                </a:lnTo>
                <a:lnTo>
                  <a:pt x="3359" y="1108"/>
                </a:lnTo>
                <a:lnTo>
                  <a:pt x="3338" y="1110"/>
                </a:lnTo>
                <a:lnTo>
                  <a:pt x="3315" y="1109"/>
                </a:lnTo>
                <a:lnTo>
                  <a:pt x="3290" y="1107"/>
                </a:lnTo>
                <a:lnTo>
                  <a:pt x="3264" y="1104"/>
                </a:lnTo>
                <a:lnTo>
                  <a:pt x="3236" y="1100"/>
                </a:lnTo>
                <a:lnTo>
                  <a:pt x="3208" y="1094"/>
                </a:lnTo>
                <a:lnTo>
                  <a:pt x="3178" y="1086"/>
                </a:lnTo>
                <a:lnTo>
                  <a:pt x="3178" y="1086"/>
                </a:lnTo>
                <a:lnTo>
                  <a:pt x="3158" y="1080"/>
                </a:lnTo>
                <a:lnTo>
                  <a:pt x="3135" y="1071"/>
                </a:lnTo>
                <a:lnTo>
                  <a:pt x="3112" y="1059"/>
                </a:lnTo>
                <a:lnTo>
                  <a:pt x="3088" y="1044"/>
                </a:lnTo>
                <a:lnTo>
                  <a:pt x="3064" y="1028"/>
                </a:lnTo>
                <a:lnTo>
                  <a:pt x="3053" y="1019"/>
                </a:lnTo>
                <a:lnTo>
                  <a:pt x="3043" y="1010"/>
                </a:lnTo>
                <a:lnTo>
                  <a:pt x="3034" y="999"/>
                </a:lnTo>
                <a:lnTo>
                  <a:pt x="3025" y="990"/>
                </a:lnTo>
                <a:lnTo>
                  <a:pt x="3017" y="980"/>
                </a:lnTo>
                <a:lnTo>
                  <a:pt x="3010" y="969"/>
                </a:lnTo>
                <a:lnTo>
                  <a:pt x="3010" y="969"/>
                </a:lnTo>
                <a:lnTo>
                  <a:pt x="3022" y="974"/>
                </a:lnTo>
                <a:lnTo>
                  <a:pt x="3035" y="978"/>
                </a:lnTo>
                <a:lnTo>
                  <a:pt x="3052" y="984"/>
                </a:lnTo>
                <a:lnTo>
                  <a:pt x="3075" y="990"/>
                </a:lnTo>
                <a:lnTo>
                  <a:pt x="3101" y="996"/>
                </a:lnTo>
                <a:lnTo>
                  <a:pt x="3132" y="1003"/>
                </a:lnTo>
                <a:lnTo>
                  <a:pt x="3167" y="1008"/>
                </a:lnTo>
                <a:lnTo>
                  <a:pt x="3167" y="1008"/>
                </a:lnTo>
                <a:lnTo>
                  <a:pt x="3187" y="1010"/>
                </a:lnTo>
                <a:lnTo>
                  <a:pt x="3207" y="1011"/>
                </a:lnTo>
                <a:lnTo>
                  <a:pt x="3226" y="1012"/>
                </a:lnTo>
                <a:lnTo>
                  <a:pt x="3245" y="1012"/>
                </a:lnTo>
                <a:lnTo>
                  <a:pt x="3283" y="1010"/>
                </a:lnTo>
                <a:lnTo>
                  <a:pt x="3317" y="1007"/>
                </a:lnTo>
                <a:lnTo>
                  <a:pt x="3346" y="1001"/>
                </a:lnTo>
                <a:lnTo>
                  <a:pt x="3369" y="996"/>
                </a:lnTo>
                <a:lnTo>
                  <a:pt x="3377" y="993"/>
                </a:lnTo>
                <a:lnTo>
                  <a:pt x="3383" y="991"/>
                </a:lnTo>
                <a:lnTo>
                  <a:pt x="3388" y="988"/>
                </a:lnTo>
                <a:lnTo>
                  <a:pt x="3390" y="985"/>
                </a:lnTo>
                <a:lnTo>
                  <a:pt x="3390" y="985"/>
                </a:lnTo>
                <a:lnTo>
                  <a:pt x="3392" y="959"/>
                </a:lnTo>
                <a:lnTo>
                  <a:pt x="3393" y="925"/>
                </a:lnTo>
                <a:lnTo>
                  <a:pt x="3394" y="848"/>
                </a:lnTo>
                <a:lnTo>
                  <a:pt x="3394" y="750"/>
                </a:lnTo>
                <a:lnTo>
                  <a:pt x="3394" y="750"/>
                </a:lnTo>
                <a:lnTo>
                  <a:pt x="3399" y="686"/>
                </a:lnTo>
                <a:lnTo>
                  <a:pt x="3400" y="642"/>
                </a:lnTo>
                <a:lnTo>
                  <a:pt x="3400" y="627"/>
                </a:lnTo>
                <a:lnTo>
                  <a:pt x="3399" y="623"/>
                </a:lnTo>
                <a:lnTo>
                  <a:pt x="3398" y="622"/>
                </a:lnTo>
                <a:lnTo>
                  <a:pt x="3398" y="622"/>
                </a:lnTo>
                <a:lnTo>
                  <a:pt x="3392" y="622"/>
                </a:lnTo>
                <a:lnTo>
                  <a:pt x="3381" y="623"/>
                </a:lnTo>
                <a:lnTo>
                  <a:pt x="3368" y="623"/>
                </a:lnTo>
                <a:lnTo>
                  <a:pt x="3354" y="622"/>
                </a:lnTo>
                <a:lnTo>
                  <a:pt x="3336" y="620"/>
                </a:lnTo>
                <a:lnTo>
                  <a:pt x="3317" y="617"/>
                </a:lnTo>
                <a:lnTo>
                  <a:pt x="3297" y="612"/>
                </a:lnTo>
                <a:lnTo>
                  <a:pt x="3274" y="607"/>
                </a:lnTo>
                <a:lnTo>
                  <a:pt x="3251" y="599"/>
                </a:lnTo>
                <a:lnTo>
                  <a:pt x="3226" y="589"/>
                </a:lnTo>
                <a:lnTo>
                  <a:pt x="3200" y="578"/>
                </a:lnTo>
                <a:lnTo>
                  <a:pt x="3175" y="564"/>
                </a:lnTo>
                <a:lnTo>
                  <a:pt x="3149" y="548"/>
                </a:lnTo>
                <a:lnTo>
                  <a:pt x="3123" y="529"/>
                </a:lnTo>
                <a:lnTo>
                  <a:pt x="3110" y="519"/>
                </a:lnTo>
                <a:lnTo>
                  <a:pt x="3097" y="508"/>
                </a:lnTo>
                <a:lnTo>
                  <a:pt x="3085" y="495"/>
                </a:lnTo>
                <a:lnTo>
                  <a:pt x="3073" y="483"/>
                </a:lnTo>
                <a:lnTo>
                  <a:pt x="3073" y="483"/>
                </a:lnTo>
                <a:lnTo>
                  <a:pt x="3071" y="481"/>
                </a:lnTo>
                <a:lnTo>
                  <a:pt x="3065" y="476"/>
                </a:lnTo>
                <a:lnTo>
                  <a:pt x="3059" y="467"/>
                </a:lnTo>
                <a:lnTo>
                  <a:pt x="3056" y="461"/>
                </a:lnTo>
                <a:lnTo>
                  <a:pt x="3053" y="454"/>
                </a:lnTo>
                <a:lnTo>
                  <a:pt x="3051" y="447"/>
                </a:lnTo>
                <a:lnTo>
                  <a:pt x="3050" y="439"/>
                </a:lnTo>
                <a:lnTo>
                  <a:pt x="3049" y="430"/>
                </a:lnTo>
                <a:lnTo>
                  <a:pt x="3050" y="420"/>
                </a:lnTo>
                <a:lnTo>
                  <a:pt x="3053" y="410"/>
                </a:lnTo>
                <a:lnTo>
                  <a:pt x="3056" y="398"/>
                </a:lnTo>
                <a:lnTo>
                  <a:pt x="3062" y="386"/>
                </a:lnTo>
                <a:lnTo>
                  <a:pt x="3071" y="373"/>
                </a:lnTo>
                <a:lnTo>
                  <a:pt x="3071" y="373"/>
                </a:lnTo>
                <a:lnTo>
                  <a:pt x="2806" y="254"/>
                </a:lnTo>
                <a:lnTo>
                  <a:pt x="2806" y="254"/>
                </a:lnTo>
                <a:lnTo>
                  <a:pt x="2815" y="245"/>
                </a:lnTo>
                <a:lnTo>
                  <a:pt x="2824" y="234"/>
                </a:lnTo>
                <a:lnTo>
                  <a:pt x="2834" y="219"/>
                </a:lnTo>
                <a:lnTo>
                  <a:pt x="2845" y="203"/>
                </a:lnTo>
                <a:lnTo>
                  <a:pt x="2850" y="194"/>
                </a:lnTo>
                <a:lnTo>
                  <a:pt x="2854" y="185"/>
                </a:lnTo>
                <a:lnTo>
                  <a:pt x="2858" y="174"/>
                </a:lnTo>
                <a:lnTo>
                  <a:pt x="2861" y="164"/>
                </a:lnTo>
                <a:lnTo>
                  <a:pt x="2863" y="154"/>
                </a:lnTo>
                <a:lnTo>
                  <a:pt x="2863" y="144"/>
                </a:lnTo>
                <a:lnTo>
                  <a:pt x="2863" y="144"/>
                </a:lnTo>
                <a:lnTo>
                  <a:pt x="2863" y="132"/>
                </a:lnTo>
                <a:lnTo>
                  <a:pt x="2860" y="122"/>
                </a:lnTo>
                <a:lnTo>
                  <a:pt x="2855" y="112"/>
                </a:lnTo>
                <a:lnTo>
                  <a:pt x="2849" y="103"/>
                </a:lnTo>
                <a:lnTo>
                  <a:pt x="2841" y="94"/>
                </a:lnTo>
                <a:lnTo>
                  <a:pt x="2830" y="86"/>
                </a:lnTo>
                <a:lnTo>
                  <a:pt x="2820" y="79"/>
                </a:lnTo>
                <a:lnTo>
                  <a:pt x="2808" y="73"/>
                </a:lnTo>
                <a:lnTo>
                  <a:pt x="2795" y="68"/>
                </a:lnTo>
                <a:lnTo>
                  <a:pt x="2781" y="64"/>
                </a:lnTo>
                <a:lnTo>
                  <a:pt x="2767" y="60"/>
                </a:lnTo>
                <a:lnTo>
                  <a:pt x="2753" y="58"/>
                </a:lnTo>
                <a:lnTo>
                  <a:pt x="2738" y="56"/>
                </a:lnTo>
                <a:lnTo>
                  <a:pt x="2723" y="56"/>
                </a:lnTo>
                <a:lnTo>
                  <a:pt x="2709" y="57"/>
                </a:lnTo>
                <a:lnTo>
                  <a:pt x="2694" y="59"/>
                </a:lnTo>
                <a:lnTo>
                  <a:pt x="2694" y="59"/>
                </a:lnTo>
                <a:lnTo>
                  <a:pt x="2681" y="62"/>
                </a:lnTo>
                <a:lnTo>
                  <a:pt x="2669" y="66"/>
                </a:lnTo>
                <a:lnTo>
                  <a:pt x="2656" y="71"/>
                </a:lnTo>
                <a:lnTo>
                  <a:pt x="2644" y="77"/>
                </a:lnTo>
                <a:lnTo>
                  <a:pt x="2634" y="84"/>
                </a:lnTo>
                <a:lnTo>
                  <a:pt x="2623" y="92"/>
                </a:lnTo>
                <a:lnTo>
                  <a:pt x="2604" y="107"/>
                </a:lnTo>
                <a:lnTo>
                  <a:pt x="2589" y="122"/>
                </a:lnTo>
                <a:lnTo>
                  <a:pt x="2578" y="134"/>
                </a:lnTo>
                <a:lnTo>
                  <a:pt x="2569" y="147"/>
                </a:lnTo>
                <a:lnTo>
                  <a:pt x="2238" y="0"/>
                </a:lnTo>
                <a:lnTo>
                  <a:pt x="1977" y="263"/>
                </a:lnTo>
                <a:lnTo>
                  <a:pt x="1977" y="263"/>
                </a:lnTo>
                <a:lnTo>
                  <a:pt x="1972" y="268"/>
                </a:lnTo>
                <a:lnTo>
                  <a:pt x="1966" y="280"/>
                </a:lnTo>
                <a:lnTo>
                  <a:pt x="1963" y="287"/>
                </a:lnTo>
                <a:lnTo>
                  <a:pt x="1961" y="295"/>
                </a:lnTo>
                <a:lnTo>
                  <a:pt x="1960" y="304"/>
                </a:lnTo>
                <a:lnTo>
                  <a:pt x="1960" y="313"/>
                </a:lnTo>
                <a:lnTo>
                  <a:pt x="1964" y="337"/>
                </a:lnTo>
                <a:lnTo>
                  <a:pt x="1964" y="337"/>
                </a:lnTo>
                <a:lnTo>
                  <a:pt x="1964" y="343"/>
                </a:lnTo>
                <a:lnTo>
                  <a:pt x="1963" y="349"/>
                </a:lnTo>
                <a:lnTo>
                  <a:pt x="1962" y="354"/>
                </a:lnTo>
                <a:lnTo>
                  <a:pt x="1961" y="358"/>
                </a:lnTo>
                <a:lnTo>
                  <a:pt x="1957" y="366"/>
                </a:lnTo>
                <a:lnTo>
                  <a:pt x="1955" y="370"/>
                </a:lnTo>
                <a:lnTo>
                  <a:pt x="1955" y="370"/>
                </a:lnTo>
                <a:lnTo>
                  <a:pt x="1936" y="392"/>
                </a:lnTo>
                <a:lnTo>
                  <a:pt x="1916" y="416"/>
                </a:lnTo>
                <a:lnTo>
                  <a:pt x="1896" y="438"/>
                </a:lnTo>
                <a:lnTo>
                  <a:pt x="1876" y="461"/>
                </a:lnTo>
                <a:lnTo>
                  <a:pt x="1876" y="461"/>
                </a:lnTo>
                <a:lnTo>
                  <a:pt x="1847" y="499"/>
                </a:lnTo>
                <a:lnTo>
                  <a:pt x="1836" y="515"/>
                </a:lnTo>
                <a:lnTo>
                  <a:pt x="1828" y="527"/>
                </a:lnTo>
                <a:lnTo>
                  <a:pt x="1828" y="527"/>
                </a:lnTo>
                <a:lnTo>
                  <a:pt x="1819" y="542"/>
                </a:lnTo>
                <a:lnTo>
                  <a:pt x="1811" y="558"/>
                </a:lnTo>
                <a:lnTo>
                  <a:pt x="1799" y="583"/>
                </a:lnTo>
                <a:lnTo>
                  <a:pt x="1789" y="607"/>
                </a:lnTo>
                <a:lnTo>
                  <a:pt x="1781" y="628"/>
                </a:lnTo>
                <a:lnTo>
                  <a:pt x="1781" y="628"/>
                </a:lnTo>
                <a:lnTo>
                  <a:pt x="1780" y="631"/>
                </a:lnTo>
                <a:lnTo>
                  <a:pt x="1778" y="642"/>
                </a:lnTo>
                <a:lnTo>
                  <a:pt x="1778" y="649"/>
                </a:lnTo>
                <a:lnTo>
                  <a:pt x="1777" y="657"/>
                </a:lnTo>
                <a:lnTo>
                  <a:pt x="1778" y="666"/>
                </a:lnTo>
                <a:lnTo>
                  <a:pt x="1780" y="677"/>
                </a:lnTo>
                <a:lnTo>
                  <a:pt x="1784" y="690"/>
                </a:lnTo>
                <a:lnTo>
                  <a:pt x="1789" y="703"/>
                </a:lnTo>
                <a:lnTo>
                  <a:pt x="1797" y="716"/>
                </a:lnTo>
                <a:lnTo>
                  <a:pt x="1807" y="732"/>
                </a:lnTo>
                <a:lnTo>
                  <a:pt x="1819" y="748"/>
                </a:lnTo>
                <a:lnTo>
                  <a:pt x="1833" y="764"/>
                </a:lnTo>
                <a:lnTo>
                  <a:pt x="1852" y="782"/>
                </a:lnTo>
                <a:lnTo>
                  <a:pt x="1874" y="800"/>
                </a:lnTo>
                <a:lnTo>
                  <a:pt x="1881" y="806"/>
                </a:lnTo>
                <a:lnTo>
                  <a:pt x="1881" y="806"/>
                </a:lnTo>
                <a:lnTo>
                  <a:pt x="1894" y="789"/>
                </a:lnTo>
                <a:lnTo>
                  <a:pt x="1905" y="800"/>
                </a:lnTo>
                <a:lnTo>
                  <a:pt x="1905" y="800"/>
                </a:lnTo>
                <a:lnTo>
                  <a:pt x="1914" y="809"/>
                </a:lnTo>
                <a:lnTo>
                  <a:pt x="1926" y="820"/>
                </a:lnTo>
                <a:lnTo>
                  <a:pt x="1941" y="832"/>
                </a:lnTo>
                <a:lnTo>
                  <a:pt x="1957" y="842"/>
                </a:lnTo>
                <a:lnTo>
                  <a:pt x="1957" y="842"/>
                </a:lnTo>
                <a:lnTo>
                  <a:pt x="1959" y="835"/>
                </a:lnTo>
                <a:lnTo>
                  <a:pt x="1964" y="815"/>
                </a:lnTo>
                <a:lnTo>
                  <a:pt x="1969" y="802"/>
                </a:lnTo>
                <a:lnTo>
                  <a:pt x="1975" y="789"/>
                </a:lnTo>
                <a:lnTo>
                  <a:pt x="1983" y="775"/>
                </a:lnTo>
                <a:lnTo>
                  <a:pt x="1991" y="760"/>
                </a:lnTo>
                <a:lnTo>
                  <a:pt x="1991" y="760"/>
                </a:lnTo>
                <a:lnTo>
                  <a:pt x="2000" y="748"/>
                </a:lnTo>
                <a:lnTo>
                  <a:pt x="2011" y="736"/>
                </a:lnTo>
                <a:lnTo>
                  <a:pt x="2025" y="722"/>
                </a:lnTo>
                <a:lnTo>
                  <a:pt x="2038" y="709"/>
                </a:lnTo>
                <a:lnTo>
                  <a:pt x="2052" y="697"/>
                </a:lnTo>
                <a:lnTo>
                  <a:pt x="2065" y="686"/>
                </a:lnTo>
                <a:lnTo>
                  <a:pt x="2080" y="675"/>
                </a:lnTo>
                <a:lnTo>
                  <a:pt x="2092" y="667"/>
                </a:lnTo>
                <a:lnTo>
                  <a:pt x="2092" y="667"/>
                </a:lnTo>
                <a:lnTo>
                  <a:pt x="2107" y="658"/>
                </a:lnTo>
                <a:lnTo>
                  <a:pt x="2123" y="650"/>
                </a:lnTo>
                <a:lnTo>
                  <a:pt x="2138" y="643"/>
                </a:lnTo>
                <a:lnTo>
                  <a:pt x="2154" y="636"/>
                </a:lnTo>
                <a:lnTo>
                  <a:pt x="2170" y="632"/>
                </a:lnTo>
                <a:lnTo>
                  <a:pt x="2186" y="629"/>
                </a:lnTo>
                <a:lnTo>
                  <a:pt x="2202" y="626"/>
                </a:lnTo>
                <a:lnTo>
                  <a:pt x="2220" y="625"/>
                </a:lnTo>
                <a:lnTo>
                  <a:pt x="2220" y="625"/>
                </a:lnTo>
                <a:lnTo>
                  <a:pt x="2234" y="626"/>
                </a:lnTo>
                <a:lnTo>
                  <a:pt x="2247" y="627"/>
                </a:lnTo>
                <a:lnTo>
                  <a:pt x="2261" y="630"/>
                </a:lnTo>
                <a:lnTo>
                  <a:pt x="2272" y="635"/>
                </a:lnTo>
                <a:lnTo>
                  <a:pt x="2283" y="642"/>
                </a:lnTo>
                <a:lnTo>
                  <a:pt x="2295" y="649"/>
                </a:lnTo>
                <a:lnTo>
                  <a:pt x="2305" y="658"/>
                </a:lnTo>
                <a:lnTo>
                  <a:pt x="2316" y="668"/>
                </a:lnTo>
                <a:lnTo>
                  <a:pt x="2316" y="668"/>
                </a:lnTo>
                <a:lnTo>
                  <a:pt x="2323" y="676"/>
                </a:lnTo>
                <a:lnTo>
                  <a:pt x="2330" y="687"/>
                </a:lnTo>
                <a:lnTo>
                  <a:pt x="2336" y="698"/>
                </a:lnTo>
                <a:lnTo>
                  <a:pt x="2342" y="710"/>
                </a:lnTo>
                <a:lnTo>
                  <a:pt x="2347" y="722"/>
                </a:lnTo>
                <a:lnTo>
                  <a:pt x="2351" y="736"/>
                </a:lnTo>
                <a:lnTo>
                  <a:pt x="2355" y="750"/>
                </a:lnTo>
                <a:lnTo>
                  <a:pt x="2358" y="764"/>
                </a:lnTo>
                <a:lnTo>
                  <a:pt x="2360" y="778"/>
                </a:lnTo>
                <a:lnTo>
                  <a:pt x="2362" y="792"/>
                </a:lnTo>
                <a:lnTo>
                  <a:pt x="2363" y="805"/>
                </a:lnTo>
                <a:lnTo>
                  <a:pt x="2364" y="818"/>
                </a:lnTo>
                <a:lnTo>
                  <a:pt x="2364" y="831"/>
                </a:lnTo>
                <a:lnTo>
                  <a:pt x="2363" y="842"/>
                </a:lnTo>
                <a:lnTo>
                  <a:pt x="2361" y="852"/>
                </a:lnTo>
                <a:lnTo>
                  <a:pt x="2359" y="861"/>
                </a:lnTo>
                <a:lnTo>
                  <a:pt x="2359" y="861"/>
                </a:lnTo>
                <a:lnTo>
                  <a:pt x="2330" y="843"/>
                </a:lnTo>
                <a:lnTo>
                  <a:pt x="2330" y="843"/>
                </a:lnTo>
                <a:lnTo>
                  <a:pt x="2309" y="832"/>
                </a:lnTo>
                <a:lnTo>
                  <a:pt x="2281" y="822"/>
                </a:lnTo>
                <a:lnTo>
                  <a:pt x="2266" y="815"/>
                </a:lnTo>
                <a:lnTo>
                  <a:pt x="2251" y="811"/>
                </a:lnTo>
                <a:lnTo>
                  <a:pt x="2233" y="807"/>
                </a:lnTo>
                <a:lnTo>
                  <a:pt x="2215" y="803"/>
                </a:lnTo>
                <a:lnTo>
                  <a:pt x="2195" y="801"/>
                </a:lnTo>
                <a:lnTo>
                  <a:pt x="2175" y="800"/>
                </a:lnTo>
                <a:lnTo>
                  <a:pt x="2154" y="800"/>
                </a:lnTo>
                <a:lnTo>
                  <a:pt x="2132" y="802"/>
                </a:lnTo>
                <a:lnTo>
                  <a:pt x="2109" y="805"/>
                </a:lnTo>
                <a:lnTo>
                  <a:pt x="2086" y="810"/>
                </a:lnTo>
                <a:lnTo>
                  <a:pt x="2062" y="818"/>
                </a:lnTo>
                <a:lnTo>
                  <a:pt x="2037" y="829"/>
                </a:lnTo>
                <a:lnTo>
                  <a:pt x="2037" y="829"/>
                </a:lnTo>
                <a:lnTo>
                  <a:pt x="1995" y="847"/>
                </a:lnTo>
                <a:lnTo>
                  <a:pt x="1967" y="859"/>
                </a:lnTo>
                <a:lnTo>
                  <a:pt x="1936" y="872"/>
                </a:lnTo>
                <a:lnTo>
                  <a:pt x="1900" y="886"/>
                </a:lnTo>
                <a:lnTo>
                  <a:pt x="1860" y="900"/>
                </a:lnTo>
                <a:lnTo>
                  <a:pt x="1814" y="916"/>
                </a:lnTo>
                <a:lnTo>
                  <a:pt x="1764" y="931"/>
                </a:lnTo>
                <a:lnTo>
                  <a:pt x="1764" y="931"/>
                </a:lnTo>
                <a:lnTo>
                  <a:pt x="1737" y="938"/>
                </a:lnTo>
                <a:lnTo>
                  <a:pt x="1725" y="940"/>
                </a:lnTo>
                <a:lnTo>
                  <a:pt x="1713" y="941"/>
                </a:lnTo>
                <a:lnTo>
                  <a:pt x="1701" y="941"/>
                </a:lnTo>
                <a:lnTo>
                  <a:pt x="1691" y="941"/>
                </a:lnTo>
                <a:lnTo>
                  <a:pt x="1681" y="940"/>
                </a:lnTo>
                <a:lnTo>
                  <a:pt x="1672" y="938"/>
                </a:lnTo>
                <a:lnTo>
                  <a:pt x="1664" y="935"/>
                </a:lnTo>
                <a:lnTo>
                  <a:pt x="1655" y="930"/>
                </a:lnTo>
                <a:lnTo>
                  <a:pt x="1649" y="925"/>
                </a:lnTo>
                <a:lnTo>
                  <a:pt x="1642" y="919"/>
                </a:lnTo>
                <a:lnTo>
                  <a:pt x="1637" y="912"/>
                </a:lnTo>
                <a:lnTo>
                  <a:pt x="1633" y="902"/>
                </a:lnTo>
                <a:lnTo>
                  <a:pt x="1629" y="892"/>
                </a:lnTo>
                <a:lnTo>
                  <a:pt x="1626" y="881"/>
                </a:lnTo>
                <a:lnTo>
                  <a:pt x="1626" y="881"/>
                </a:lnTo>
                <a:lnTo>
                  <a:pt x="1624" y="871"/>
                </a:lnTo>
                <a:lnTo>
                  <a:pt x="1623" y="860"/>
                </a:lnTo>
                <a:lnTo>
                  <a:pt x="1623" y="851"/>
                </a:lnTo>
                <a:lnTo>
                  <a:pt x="1623" y="842"/>
                </a:lnTo>
                <a:lnTo>
                  <a:pt x="1625" y="826"/>
                </a:lnTo>
                <a:lnTo>
                  <a:pt x="1629" y="811"/>
                </a:lnTo>
                <a:lnTo>
                  <a:pt x="1633" y="800"/>
                </a:lnTo>
                <a:lnTo>
                  <a:pt x="1636" y="792"/>
                </a:lnTo>
                <a:lnTo>
                  <a:pt x="1640" y="784"/>
                </a:lnTo>
                <a:lnTo>
                  <a:pt x="1640" y="784"/>
                </a:lnTo>
                <a:lnTo>
                  <a:pt x="1636" y="785"/>
                </a:lnTo>
                <a:lnTo>
                  <a:pt x="1626" y="788"/>
                </a:lnTo>
                <a:lnTo>
                  <a:pt x="1610" y="794"/>
                </a:lnTo>
                <a:lnTo>
                  <a:pt x="1601" y="797"/>
                </a:lnTo>
                <a:lnTo>
                  <a:pt x="1592" y="802"/>
                </a:lnTo>
                <a:lnTo>
                  <a:pt x="1582" y="808"/>
                </a:lnTo>
                <a:lnTo>
                  <a:pt x="1573" y="814"/>
                </a:lnTo>
                <a:lnTo>
                  <a:pt x="1563" y="823"/>
                </a:lnTo>
                <a:lnTo>
                  <a:pt x="1554" y="832"/>
                </a:lnTo>
                <a:lnTo>
                  <a:pt x="1546" y="842"/>
                </a:lnTo>
                <a:lnTo>
                  <a:pt x="1539" y="853"/>
                </a:lnTo>
                <a:lnTo>
                  <a:pt x="1533" y="867"/>
                </a:lnTo>
                <a:lnTo>
                  <a:pt x="1528" y="881"/>
                </a:lnTo>
                <a:lnTo>
                  <a:pt x="1528" y="881"/>
                </a:lnTo>
                <a:lnTo>
                  <a:pt x="1525" y="896"/>
                </a:lnTo>
                <a:lnTo>
                  <a:pt x="1523" y="912"/>
                </a:lnTo>
                <a:lnTo>
                  <a:pt x="1523" y="927"/>
                </a:lnTo>
                <a:lnTo>
                  <a:pt x="1523" y="941"/>
                </a:lnTo>
                <a:lnTo>
                  <a:pt x="1524" y="954"/>
                </a:lnTo>
                <a:lnTo>
                  <a:pt x="1527" y="969"/>
                </a:lnTo>
                <a:lnTo>
                  <a:pt x="1531" y="981"/>
                </a:lnTo>
                <a:lnTo>
                  <a:pt x="1536" y="993"/>
                </a:lnTo>
                <a:lnTo>
                  <a:pt x="1542" y="1006"/>
                </a:lnTo>
                <a:lnTo>
                  <a:pt x="1549" y="1016"/>
                </a:lnTo>
                <a:lnTo>
                  <a:pt x="1557" y="1026"/>
                </a:lnTo>
                <a:lnTo>
                  <a:pt x="1568" y="1034"/>
                </a:lnTo>
                <a:lnTo>
                  <a:pt x="1578" y="1042"/>
                </a:lnTo>
                <a:lnTo>
                  <a:pt x="1590" y="1049"/>
                </a:lnTo>
                <a:lnTo>
                  <a:pt x="1602" y="1055"/>
                </a:lnTo>
                <a:lnTo>
                  <a:pt x="1617" y="1059"/>
                </a:lnTo>
                <a:lnTo>
                  <a:pt x="1617" y="1059"/>
                </a:lnTo>
                <a:lnTo>
                  <a:pt x="1630" y="1062"/>
                </a:lnTo>
                <a:lnTo>
                  <a:pt x="1644" y="1063"/>
                </a:lnTo>
                <a:lnTo>
                  <a:pt x="1660" y="1062"/>
                </a:lnTo>
                <a:lnTo>
                  <a:pt x="1676" y="1060"/>
                </a:lnTo>
                <a:lnTo>
                  <a:pt x="1692" y="1058"/>
                </a:lnTo>
                <a:lnTo>
                  <a:pt x="1710" y="1054"/>
                </a:lnTo>
                <a:lnTo>
                  <a:pt x="1727" y="1049"/>
                </a:lnTo>
                <a:lnTo>
                  <a:pt x="1744" y="1043"/>
                </a:lnTo>
                <a:lnTo>
                  <a:pt x="1779" y="1029"/>
                </a:lnTo>
                <a:lnTo>
                  <a:pt x="1815" y="1014"/>
                </a:lnTo>
                <a:lnTo>
                  <a:pt x="1849" y="997"/>
                </a:lnTo>
                <a:lnTo>
                  <a:pt x="1880" y="981"/>
                </a:lnTo>
                <a:lnTo>
                  <a:pt x="1880" y="981"/>
                </a:lnTo>
                <a:lnTo>
                  <a:pt x="1942" y="949"/>
                </a:lnTo>
                <a:lnTo>
                  <a:pt x="1979" y="931"/>
                </a:lnTo>
                <a:lnTo>
                  <a:pt x="2013" y="915"/>
                </a:lnTo>
                <a:lnTo>
                  <a:pt x="2013" y="915"/>
                </a:lnTo>
                <a:lnTo>
                  <a:pt x="2041" y="903"/>
                </a:lnTo>
                <a:lnTo>
                  <a:pt x="2054" y="899"/>
                </a:lnTo>
                <a:lnTo>
                  <a:pt x="2068" y="895"/>
                </a:lnTo>
                <a:lnTo>
                  <a:pt x="2081" y="892"/>
                </a:lnTo>
                <a:lnTo>
                  <a:pt x="2093" y="890"/>
                </a:lnTo>
                <a:lnTo>
                  <a:pt x="2105" y="888"/>
                </a:lnTo>
                <a:lnTo>
                  <a:pt x="2119" y="888"/>
                </a:lnTo>
                <a:lnTo>
                  <a:pt x="2131" y="888"/>
                </a:lnTo>
                <a:lnTo>
                  <a:pt x="2143" y="889"/>
                </a:lnTo>
                <a:lnTo>
                  <a:pt x="2156" y="891"/>
                </a:lnTo>
                <a:lnTo>
                  <a:pt x="2170" y="893"/>
                </a:lnTo>
                <a:lnTo>
                  <a:pt x="2183" y="897"/>
                </a:lnTo>
                <a:lnTo>
                  <a:pt x="2196" y="901"/>
                </a:lnTo>
                <a:lnTo>
                  <a:pt x="2211" y="907"/>
                </a:lnTo>
                <a:lnTo>
                  <a:pt x="2226" y="914"/>
                </a:lnTo>
                <a:lnTo>
                  <a:pt x="2226" y="914"/>
                </a:lnTo>
                <a:lnTo>
                  <a:pt x="2246" y="924"/>
                </a:lnTo>
                <a:lnTo>
                  <a:pt x="2265" y="934"/>
                </a:lnTo>
                <a:lnTo>
                  <a:pt x="2281" y="945"/>
                </a:lnTo>
                <a:lnTo>
                  <a:pt x="2295" y="954"/>
                </a:lnTo>
                <a:lnTo>
                  <a:pt x="2305" y="964"/>
                </a:lnTo>
                <a:lnTo>
                  <a:pt x="2312" y="971"/>
                </a:lnTo>
                <a:lnTo>
                  <a:pt x="2319" y="977"/>
                </a:lnTo>
                <a:lnTo>
                  <a:pt x="2319" y="977"/>
                </a:lnTo>
                <a:lnTo>
                  <a:pt x="2317" y="980"/>
                </a:lnTo>
                <a:lnTo>
                  <a:pt x="2313" y="987"/>
                </a:lnTo>
                <a:lnTo>
                  <a:pt x="2305" y="998"/>
                </a:lnTo>
                <a:lnTo>
                  <a:pt x="2300" y="1005"/>
                </a:lnTo>
                <a:lnTo>
                  <a:pt x="2293" y="1012"/>
                </a:lnTo>
                <a:lnTo>
                  <a:pt x="2285" y="1018"/>
                </a:lnTo>
                <a:lnTo>
                  <a:pt x="2276" y="1025"/>
                </a:lnTo>
                <a:lnTo>
                  <a:pt x="2267" y="1031"/>
                </a:lnTo>
                <a:lnTo>
                  <a:pt x="2255" y="1036"/>
                </a:lnTo>
                <a:lnTo>
                  <a:pt x="2242" y="1041"/>
                </a:lnTo>
                <a:lnTo>
                  <a:pt x="2228" y="1045"/>
                </a:lnTo>
                <a:lnTo>
                  <a:pt x="2212" y="1049"/>
                </a:lnTo>
                <a:lnTo>
                  <a:pt x="2194" y="1050"/>
                </a:lnTo>
                <a:lnTo>
                  <a:pt x="2194" y="1050"/>
                </a:lnTo>
                <a:lnTo>
                  <a:pt x="2180" y="1051"/>
                </a:lnTo>
                <a:lnTo>
                  <a:pt x="2166" y="1050"/>
                </a:lnTo>
                <a:lnTo>
                  <a:pt x="2152" y="1048"/>
                </a:lnTo>
                <a:lnTo>
                  <a:pt x="2139" y="1044"/>
                </a:lnTo>
                <a:lnTo>
                  <a:pt x="2127" y="1041"/>
                </a:lnTo>
                <a:lnTo>
                  <a:pt x="2115" y="1037"/>
                </a:lnTo>
                <a:lnTo>
                  <a:pt x="2103" y="1033"/>
                </a:lnTo>
                <a:lnTo>
                  <a:pt x="2092" y="1027"/>
                </a:lnTo>
                <a:lnTo>
                  <a:pt x="2082" y="1022"/>
                </a:lnTo>
                <a:lnTo>
                  <a:pt x="2073" y="1016"/>
                </a:lnTo>
                <a:lnTo>
                  <a:pt x="2064" y="1010"/>
                </a:lnTo>
                <a:lnTo>
                  <a:pt x="2056" y="1003"/>
                </a:lnTo>
                <a:lnTo>
                  <a:pt x="2048" y="995"/>
                </a:lnTo>
                <a:lnTo>
                  <a:pt x="2042" y="988"/>
                </a:lnTo>
                <a:lnTo>
                  <a:pt x="2036" y="981"/>
                </a:lnTo>
                <a:lnTo>
                  <a:pt x="2031" y="974"/>
                </a:lnTo>
                <a:lnTo>
                  <a:pt x="2031" y="974"/>
                </a:lnTo>
                <a:lnTo>
                  <a:pt x="2022" y="996"/>
                </a:lnTo>
                <a:lnTo>
                  <a:pt x="2013" y="1014"/>
                </a:lnTo>
                <a:lnTo>
                  <a:pt x="2007" y="1027"/>
                </a:lnTo>
                <a:lnTo>
                  <a:pt x="2007" y="1027"/>
                </a:lnTo>
                <a:lnTo>
                  <a:pt x="2003" y="1035"/>
                </a:lnTo>
                <a:lnTo>
                  <a:pt x="2000" y="1042"/>
                </a:lnTo>
                <a:lnTo>
                  <a:pt x="1998" y="1051"/>
                </a:lnTo>
                <a:lnTo>
                  <a:pt x="1997" y="1057"/>
                </a:lnTo>
                <a:lnTo>
                  <a:pt x="1997" y="1064"/>
                </a:lnTo>
                <a:lnTo>
                  <a:pt x="1997" y="1070"/>
                </a:lnTo>
                <a:lnTo>
                  <a:pt x="1999" y="1082"/>
                </a:lnTo>
                <a:lnTo>
                  <a:pt x="2001" y="1094"/>
                </a:lnTo>
                <a:lnTo>
                  <a:pt x="2003" y="1104"/>
                </a:lnTo>
                <a:lnTo>
                  <a:pt x="2004" y="1115"/>
                </a:lnTo>
                <a:lnTo>
                  <a:pt x="2003" y="1121"/>
                </a:lnTo>
                <a:lnTo>
                  <a:pt x="2001" y="1126"/>
                </a:lnTo>
                <a:lnTo>
                  <a:pt x="2001" y="1126"/>
                </a:lnTo>
                <a:lnTo>
                  <a:pt x="1999" y="1132"/>
                </a:lnTo>
                <a:lnTo>
                  <a:pt x="1995" y="1138"/>
                </a:lnTo>
                <a:lnTo>
                  <a:pt x="1986" y="1151"/>
                </a:lnTo>
                <a:lnTo>
                  <a:pt x="1973" y="1163"/>
                </a:lnTo>
                <a:lnTo>
                  <a:pt x="1960" y="1175"/>
                </a:lnTo>
                <a:lnTo>
                  <a:pt x="1945" y="1187"/>
                </a:lnTo>
                <a:lnTo>
                  <a:pt x="1931" y="1198"/>
                </a:lnTo>
                <a:lnTo>
                  <a:pt x="1904" y="1216"/>
                </a:lnTo>
                <a:lnTo>
                  <a:pt x="1904" y="1216"/>
                </a:lnTo>
                <a:lnTo>
                  <a:pt x="1886" y="1227"/>
                </a:lnTo>
                <a:lnTo>
                  <a:pt x="1864" y="1239"/>
                </a:lnTo>
                <a:lnTo>
                  <a:pt x="1842" y="1249"/>
                </a:lnTo>
                <a:lnTo>
                  <a:pt x="1819" y="1257"/>
                </a:lnTo>
                <a:lnTo>
                  <a:pt x="1798" y="1264"/>
                </a:lnTo>
                <a:lnTo>
                  <a:pt x="1779" y="1270"/>
                </a:lnTo>
                <a:lnTo>
                  <a:pt x="1754" y="1278"/>
                </a:lnTo>
                <a:lnTo>
                  <a:pt x="1754" y="1278"/>
                </a:lnTo>
                <a:lnTo>
                  <a:pt x="1779" y="1336"/>
                </a:lnTo>
                <a:lnTo>
                  <a:pt x="1811" y="1404"/>
                </a:lnTo>
                <a:lnTo>
                  <a:pt x="1811" y="1404"/>
                </a:lnTo>
                <a:lnTo>
                  <a:pt x="1833" y="1449"/>
                </a:lnTo>
                <a:lnTo>
                  <a:pt x="1862" y="1504"/>
                </a:lnTo>
                <a:lnTo>
                  <a:pt x="1877" y="1531"/>
                </a:lnTo>
                <a:lnTo>
                  <a:pt x="1893" y="1557"/>
                </a:lnTo>
                <a:lnTo>
                  <a:pt x="1909" y="1578"/>
                </a:lnTo>
                <a:lnTo>
                  <a:pt x="1916" y="1588"/>
                </a:lnTo>
                <a:lnTo>
                  <a:pt x="1924" y="1597"/>
                </a:lnTo>
                <a:lnTo>
                  <a:pt x="1924" y="1597"/>
                </a:lnTo>
                <a:lnTo>
                  <a:pt x="1940" y="1592"/>
                </a:lnTo>
                <a:lnTo>
                  <a:pt x="1957" y="1587"/>
                </a:lnTo>
                <a:lnTo>
                  <a:pt x="1980" y="1581"/>
                </a:lnTo>
                <a:lnTo>
                  <a:pt x="2004" y="1573"/>
                </a:lnTo>
                <a:lnTo>
                  <a:pt x="2031" y="1563"/>
                </a:lnTo>
                <a:lnTo>
                  <a:pt x="2057" y="1551"/>
                </a:lnTo>
                <a:lnTo>
                  <a:pt x="2071" y="1544"/>
                </a:lnTo>
                <a:lnTo>
                  <a:pt x="2083" y="1537"/>
                </a:lnTo>
                <a:lnTo>
                  <a:pt x="2083" y="1537"/>
                </a:lnTo>
                <a:lnTo>
                  <a:pt x="2105" y="1524"/>
                </a:lnTo>
                <a:lnTo>
                  <a:pt x="2126" y="1510"/>
                </a:lnTo>
                <a:lnTo>
                  <a:pt x="2145" y="1495"/>
                </a:lnTo>
                <a:lnTo>
                  <a:pt x="2162" y="1480"/>
                </a:lnTo>
                <a:lnTo>
                  <a:pt x="2177" y="1466"/>
                </a:lnTo>
                <a:lnTo>
                  <a:pt x="2189" y="1451"/>
                </a:lnTo>
                <a:lnTo>
                  <a:pt x="2199" y="1437"/>
                </a:lnTo>
                <a:lnTo>
                  <a:pt x="2207" y="1424"/>
                </a:lnTo>
                <a:lnTo>
                  <a:pt x="2207" y="1424"/>
                </a:lnTo>
                <a:lnTo>
                  <a:pt x="2190" y="1460"/>
                </a:lnTo>
                <a:lnTo>
                  <a:pt x="2175" y="1493"/>
                </a:lnTo>
                <a:lnTo>
                  <a:pt x="2161" y="1523"/>
                </a:lnTo>
                <a:lnTo>
                  <a:pt x="2146" y="1551"/>
                </a:lnTo>
                <a:lnTo>
                  <a:pt x="2132" y="1576"/>
                </a:lnTo>
                <a:lnTo>
                  <a:pt x="2119" y="1599"/>
                </a:lnTo>
                <a:lnTo>
                  <a:pt x="2105" y="1619"/>
                </a:lnTo>
                <a:lnTo>
                  <a:pt x="2092" y="1637"/>
                </a:lnTo>
                <a:lnTo>
                  <a:pt x="2080" y="1655"/>
                </a:lnTo>
                <a:lnTo>
                  <a:pt x="2068" y="1669"/>
                </a:lnTo>
                <a:lnTo>
                  <a:pt x="2055" y="1682"/>
                </a:lnTo>
                <a:lnTo>
                  <a:pt x="2044" y="1694"/>
                </a:lnTo>
                <a:lnTo>
                  <a:pt x="2033" y="1705"/>
                </a:lnTo>
                <a:lnTo>
                  <a:pt x="2022" y="1714"/>
                </a:lnTo>
                <a:lnTo>
                  <a:pt x="2011" y="1721"/>
                </a:lnTo>
                <a:lnTo>
                  <a:pt x="2000" y="1729"/>
                </a:lnTo>
                <a:lnTo>
                  <a:pt x="2000" y="1729"/>
                </a:lnTo>
                <a:lnTo>
                  <a:pt x="1907" y="1790"/>
                </a:lnTo>
                <a:lnTo>
                  <a:pt x="1797" y="1862"/>
                </a:lnTo>
                <a:lnTo>
                  <a:pt x="1735" y="1901"/>
                </a:lnTo>
                <a:lnTo>
                  <a:pt x="1671" y="1940"/>
                </a:lnTo>
                <a:lnTo>
                  <a:pt x="1602" y="1980"/>
                </a:lnTo>
                <a:lnTo>
                  <a:pt x="1532" y="2020"/>
                </a:lnTo>
                <a:lnTo>
                  <a:pt x="1459" y="2058"/>
                </a:lnTo>
                <a:lnTo>
                  <a:pt x="1422" y="2077"/>
                </a:lnTo>
                <a:lnTo>
                  <a:pt x="1384" y="2094"/>
                </a:lnTo>
                <a:lnTo>
                  <a:pt x="1347" y="2112"/>
                </a:lnTo>
                <a:lnTo>
                  <a:pt x="1308" y="2129"/>
                </a:lnTo>
                <a:lnTo>
                  <a:pt x="1269" y="2146"/>
                </a:lnTo>
                <a:lnTo>
                  <a:pt x="1230" y="2161"/>
                </a:lnTo>
                <a:lnTo>
                  <a:pt x="1190" y="2175"/>
                </a:lnTo>
                <a:lnTo>
                  <a:pt x="1151" y="2189"/>
                </a:lnTo>
                <a:lnTo>
                  <a:pt x="1111" y="2202"/>
                </a:lnTo>
                <a:lnTo>
                  <a:pt x="1072" y="2213"/>
                </a:lnTo>
                <a:lnTo>
                  <a:pt x="1032" y="2223"/>
                </a:lnTo>
                <a:lnTo>
                  <a:pt x="992" y="2231"/>
                </a:lnTo>
                <a:lnTo>
                  <a:pt x="952" y="2240"/>
                </a:lnTo>
                <a:lnTo>
                  <a:pt x="913" y="2246"/>
                </a:lnTo>
                <a:lnTo>
                  <a:pt x="913" y="2246"/>
                </a:lnTo>
                <a:lnTo>
                  <a:pt x="901" y="2246"/>
                </a:lnTo>
                <a:lnTo>
                  <a:pt x="889" y="2245"/>
                </a:lnTo>
                <a:lnTo>
                  <a:pt x="876" y="2242"/>
                </a:lnTo>
                <a:lnTo>
                  <a:pt x="863" y="2239"/>
                </a:lnTo>
                <a:lnTo>
                  <a:pt x="850" y="2236"/>
                </a:lnTo>
                <a:lnTo>
                  <a:pt x="836" y="2230"/>
                </a:lnTo>
                <a:lnTo>
                  <a:pt x="809" y="2218"/>
                </a:lnTo>
                <a:lnTo>
                  <a:pt x="781" y="2204"/>
                </a:lnTo>
                <a:lnTo>
                  <a:pt x="754" y="2188"/>
                </a:lnTo>
                <a:lnTo>
                  <a:pt x="726" y="2170"/>
                </a:lnTo>
                <a:lnTo>
                  <a:pt x="698" y="2151"/>
                </a:lnTo>
                <a:lnTo>
                  <a:pt x="672" y="2130"/>
                </a:lnTo>
                <a:lnTo>
                  <a:pt x="646" y="2110"/>
                </a:lnTo>
                <a:lnTo>
                  <a:pt x="623" y="2089"/>
                </a:lnTo>
                <a:lnTo>
                  <a:pt x="600" y="2069"/>
                </a:lnTo>
                <a:lnTo>
                  <a:pt x="581" y="2049"/>
                </a:lnTo>
                <a:lnTo>
                  <a:pt x="563" y="2032"/>
                </a:lnTo>
                <a:lnTo>
                  <a:pt x="548" y="2017"/>
                </a:lnTo>
                <a:lnTo>
                  <a:pt x="537" y="2003"/>
                </a:lnTo>
                <a:lnTo>
                  <a:pt x="537" y="2003"/>
                </a:lnTo>
                <a:lnTo>
                  <a:pt x="533" y="1999"/>
                </a:lnTo>
                <a:lnTo>
                  <a:pt x="530" y="1995"/>
                </a:lnTo>
                <a:lnTo>
                  <a:pt x="520" y="1990"/>
                </a:lnTo>
                <a:lnTo>
                  <a:pt x="512" y="1988"/>
                </a:lnTo>
                <a:lnTo>
                  <a:pt x="502" y="1987"/>
                </a:lnTo>
                <a:lnTo>
                  <a:pt x="493" y="1987"/>
                </a:lnTo>
                <a:lnTo>
                  <a:pt x="483" y="1989"/>
                </a:lnTo>
                <a:lnTo>
                  <a:pt x="473" y="1992"/>
                </a:lnTo>
                <a:lnTo>
                  <a:pt x="464" y="1996"/>
                </a:lnTo>
                <a:lnTo>
                  <a:pt x="447" y="2004"/>
                </a:lnTo>
                <a:lnTo>
                  <a:pt x="433" y="2014"/>
                </a:lnTo>
                <a:lnTo>
                  <a:pt x="419" y="2024"/>
                </a:lnTo>
                <a:lnTo>
                  <a:pt x="419" y="2024"/>
                </a:lnTo>
                <a:lnTo>
                  <a:pt x="412" y="2023"/>
                </a:lnTo>
                <a:lnTo>
                  <a:pt x="393" y="2021"/>
                </a:lnTo>
                <a:lnTo>
                  <a:pt x="379" y="2021"/>
                </a:lnTo>
                <a:lnTo>
                  <a:pt x="364" y="2021"/>
                </a:lnTo>
                <a:lnTo>
                  <a:pt x="348" y="2022"/>
                </a:lnTo>
                <a:lnTo>
                  <a:pt x="329" y="2024"/>
                </a:lnTo>
                <a:lnTo>
                  <a:pt x="310" y="2027"/>
                </a:lnTo>
                <a:lnTo>
                  <a:pt x="290" y="2032"/>
                </a:lnTo>
                <a:lnTo>
                  <a:pt x="271" y="2038"/>
                </a:lnTo>
                <a:lnTo>
                  <a:pt x="252" y="2047"/>
                </a:lnTo>
                <a:lnTo>
                  <a:pt x="242" y="2053"/>
                </a:lnTo>
                <a:lnTo>
                  <a:pt x="233" y="2058"/>
                </a:lnTo>
                <a:lnTo>
                  <a:pt x="224" y="2064"/>
                </a:lnTo>
                <a:lnTo>
                  <a:pt x="216" y="2071"/>
                </a:lnTo>
                <a:lnTo>
                  <a:pt x="207" y="2079"/>
                </a:lnTo>
                <a:lnTo>
                  <a:pt x="199" y="2087"/>
                </a:lnTo>
                <a:lnTo>
                  <a:pt x="191" y="2097"/>
                </a:lnTo>
                <a:lnTo>
                  <a:pt x="184" y="2106"/>
                </a:lnTo>
                <a:lnTo>
                  <a:pt x="184" y="2106"/>
                </a:lnTo>
                <a:lnTo>
                  <a:pt x="183" y="2109"/>
                </a:lnTo>
                <a:lnTo>
                  <a:pt x="185" y="2111"/>
                </a:lnTo>
                <a:lnTo>
                  <a:pt x="188" y="2112"/>
                </a:lnTo>
                <a:lnTo>
                  <a:pt x="193" y="2112"/>
                </a:lnTo>
                <a:lnTo>
                  <a:pt x="210" y="2110"/>
                </a:lnTo>
                <a:lnTo>
                  <a:pt x="230" y="2108"/>
                </a:lnTo>
                <a:lnTo>
                  <a:pt x="255" y="2106"/>
                </a:lnTo>
                <a:lnTo>
                  <a:pt x="280" y="2105"/>
                </a:lnTo>
                <a:lnTo>
                  <a:pt x="293" y="2106"/>
                </a:lnTo>
                <a:lnTo>
                  <a:pt x="307" y="2107"/>
                </a:lnTo>
                <a:lnTo>
                  <a:pt x="319" y="2109"/>
                </a:lnTo>
                <a:lnTo>
                  <a:pt x="331" y="2112"/>
                </a:lnTo>
                <a:lnTo>
                  <a:pt x="331" y="2112"/>
                </a:lnTo>
                <a:lnTo>
                  <a:pt x="338" y="2115"/>
                </a:lnTo>
                <a:lnTo>
                  <a:pt x="343" y="2118"/>
                </a:lnTo>
                <a:lnTo>
                  <a:pt x="346" y="2121"/>
                </a:lnTo>
                <a:lnTo>
                  <a:pt x="347" y="2124"/>
                </a:lnTo>
                <a:lnTo>
                  <a:pt x="347" y="2127"/>
                </a:lnTo>
                <a:lnTo>
                  <a:pt x="345" y="2131"/>
                </a:lnTo>
                <a:lnTo>
                  <a:pt x="339" y="2139"/>
                </a:lnTo>
                <a:lnTo>
                  <a:pt x="332" y="2149"/>
                </a:lnTo>
                <a:lnTo>
                  <a:pt x="325" y="2160"/>
                </a:lnTo>
                <a:lnTo>
                  <a:pt x="321" y="2166"/>
                </a:lnTo>
                <a:lnTo>
                  <a:pt x="319" y="2172"/>
                </a:lnTo>
                <a:lnTo>
                  <a:pt x="317" y="2178"/>
                </a:lnTo>
                <a:lnTo>
                  <a:pt x="317" y="2185"/>
                </a:lnTo>
                <a:lnTo>
                  <a:pt x="317" y="2185"/>
                </a:lnTo>
                <a:lnTo>
                  <a:pt x="317" y="2191"/>
                </a:lnTo>
                <a:lnTo>
                  <a:pt x="319" y="2197"/>
                </a:lnTo>
                <a:lnTo>
                  <a:pt x="321" y="2202"/>
                </a:lnTo>
                <a:lnTo>
                  <a:pt x="324" y="2207"/>
                </a:lnTo>
                <a:lnTo>
                  <a:pt x="328" y="2212"/>
                </a:lnTo>
                <a:lnTo>
                  <a:pt x="333" y="2217"/>
                </a:lnTo>
                <a:lnTo>
                  <a:pt x="346" y="2227"/>
                </a:lnTo>
                <a:lnTo>
                  <a:pt x="361" y="2237"/>
                </a:lnTo>
                <a:lnTo>
                  <a:pt x="377" y="2246"/>
                </a:lnTo>
                <a:lnTo>
                  <a:pt x="397" y="2255"/>
                </a:lnTo>
                <a:lnTo>
                  <a:pt x="416" y="2263"/>
                </a:lnTo>
                <a:lnTo>
                  <a:pt x="458" y="2279"/>
                </a:lnTo>
                <a:lnTo>
                  <a:pt x="500" y="2293"/>
                </a:lnTo>
                <a:lnTo>
                  <a:pt x="571" y="2314"/>
                </a:lnTo>
                <a:lnTo>
                  <a:pt x="571" y="2314"/>
                </a:lnTo>
                <a:lnTo>
                  <a:pt x="579" y="2318"/>
                </a:lnTo>
                <a:lnTo>
                  <a:pt x="585" y="2322"/>
                </a:lnTo>
                <a:lnTo>
                  <a:pt x="588" y="2328"/>
                </a:lnTo>
                <a:lnTo>
                  <a:pt x="590" y="2333"/>
                </a:lnTo>
                <a:lnTo>
                  <a:pt x="590" y="2337"/>
                </a:lnTo>
                <a:lnTo>
                  <a:pt x="588" y="2341"/>
                </a:lnTo>
                <a:lnTo>
                  <a:pt x="585" y="2343"/>
                </a:lnTo>
                <a:lnTo>
                  <a:pt x="581" y="2344"/>
                </a:lnTo>
                <a:lnTo>
                  <a:pt x="581" y="2344"/>
                </a:lnTo>
                <a:lnTo>
                  <a:pt x="556" y="2343"/>
                </a:lnTo>
                <a:lnTo>
                  <a:pt x="532" y="2340"/>
                </a:lnTo>
                <a:lnTo>
                  <a:pt x="509" y="2337"/>
                </a:lnTo>
                <a:lnTo>
                  <a:pt x="488" y="2332"/>
                </a:lnTo>
                <a:lnTo>
                  <a:pt x="467" y="2327"/>
                </a:lnTo>
                <a:lnTo>
                  <a:pt x="448" y="2320"/>
                </a:lnTo>
                <a:lnTo>
                  <a:pt x="429" y="2314"/>
                </a:lnTo>
                <a:lnTo>
                  <a:pt x="412" y="2308"/>
                </a:lnTo>
                <a:lnTo>
                  <a:pt x="380" y="2295"/>
                </a:lnTo>
                <a:lnTo>
                  <a:pt x="352" y="2283"/>
                </a:lnTo>
                <a:lnTo>
                  <a:pt x="327" y="2271"/>
                </a:lnTo>
                <a:lnTo>
                  <a:pt x="316" y="2267"/>
                </a:lnTo>
                <a:lnTo>
                  <a:pt x="305" y="2263"/>
                </a:lnTo>
                <a:lnTo>
                  <a:pt x="305" y="2263"/>
                </a:lnTo>
                <a:lnTo>
                  <a:pt x="286" y="2258"/>
                </a:lnTo>
                <a:lnTo>
                  <a:pt x="268" y="2254"/>
                </a:lnTo>
                <a:lnTo>
                  <a:pt x="253" y="2251"/>
                </a:lnTo>
                <a:lnTo>
                  <a:pt x="237" y="2249"/>
                </a:lnTo>
                <a:lnTo>
                  <a:pt x="224" y="2248"/>
                </a:lnTo>
                <a:lnTo>
                  <a:pt x="213" y="2249"/>
                </a:lnTo>
                <a:lnTo>
                  <a:pt x="202" y="2250"/>
                </a:lnTo>
                <a:lnTo>
                  <a:pt x="192" y="2252"/>
                </a:lnTo>
                <a:lnTo>
                  <a:pt x="185" y="2256"/>
                </a:lnTo>
                <a:lnTo>
                  <a:pt x="178" y="2260"/>
                </a:lnTo>
                <a:lnTo>
                  <a:pt x="172" y="2265"/>
                </a:lnTo>
                <a:lnTo>
                  <a:pt x="167" y="2271"/>
                </a:lnTo>
                <a:lnTo>
                  <a:pt x="163" y="2277"/>
                </a:lnTo>
                <a:lnTo>
                  <a:pt x="160" y="2286"/>
                </a:lnTo>
                <a:lnTo>
                  <a:pt x="156" y="2294"/>
                </a:lnTo>
                <a:lnTo>
                  <a:pt x="155" y="2303"/>
                </a:lnTo>
                <a:lnTo>
                  <a:pt x="155" y="2303"/>
                </a:lnTo>
                <a:lnTo>
                  <a:pt x="154" y="2306"/>
                </a:lnTo>
                <a:lnTo>
                  <a:pt x="152" y="2309"/>
                </a:lnTo>
                <a:lnTo>
                  <a:pt x="150" y="2312"/>
                </a:lnTo>
                <a:lnTo>
                  <a:pt x="147" y="2314"/>
                </a:lnTo>
                <a:lnTo>
                  <a:pt x="140" y="2318"/>
                </a:lnTo>
                <a:lnTo>
                  <a:pt x="132" y="2323"/>
                </a:lnTo>
                <a:lnTo>
                  <a:pt x="109" y="2333"/>
                </a:lnTo>
                <a:lnTo>
                  <a:pt x="97" y="2339"/>
                </a:lnTo>
                <a:lnTo>
                  <a:pt x="84" y="2347"/>
                </a:lnTo>
                <a:lnTo>
                  <a:pt x="71" y="2357"/>
                </a:lnTo>
                <a:lnTo>
                  <a:pt x="57" y="2371"/>
                </a:lnTo>
                <a:lnTo>
                  <a:pt x="51" y="2378"/>
                </a:lnTo>
                <a:lnTo>
                  <a:pt x="45" y="2386"/>
                </a:lnTo>
                <a:lnTo>
                  <a:pt x="39" y="2396"/>
                </a:lnTo>
                <a:lnTo>
                  <a:pt x="33" y="2406"/>
                </a:lnTo>
                <a:lnTo>
                  <a:pt x="28" y="2418"/>
                </a:lnTo>
                <a:lnTo>
                  <a:pt x="22" y="2430"/>
                </a:lnTo>
                <a:lnTo>
                  <a:pt x="17" y="2444"/>
                </a:lnTo>
                <a:lnTo>
                  <a:pt x="13" y="2458"/>
                </a:lnTo>
                <a:lnTo>
                  <a:pt x="9" y="2475"/>
                </a:lnTo>
                <a:lnTo>
                  <a:pt x="6" y="2492"/>
                </a:lnTo>
                <a:lnTo>
                  <a:pt x="3" y="2512"/>
                </a:lnTo>
                <a:lnTo>
                  <a:pt x="0" y="2532"/>
                </a:lnTo>
                <a:lnTo>
                  <a:pt x="0" y="2532"/>
                </a:lnTo>
                <a:lnTo>
                  <a:pt x="1" y="2533"/>
                </a:lnTo>
                <a:lnTo>
                  <a:pt x="2" y="2534"/>
                </a:lnTo>
                <a:lnTo>
                  <a:pt x="6" y="2532"/>
                </a:lnTo>
                <a:lnTo>
                  <a:pt x="12" y="2527"/>
                </a:lnTo>
                <a:lnTo>
                  <a:pt x="20" y="2519"/>
                </a:lnTo>
                <a:lnTo>
                  <a:pt x="43" y="2496"/>
                </a:lnTo>
                <a:lnTo>
                  <a:pt x="69" y="2472"/>
                </a:lnTo>
                <a:lnTo>
                  <a:pt x="82" y="2459"/>
                </a:lnTo>
                <a:lnTo>
                  <a:pt x="95" y="2448"/>
                </a:lnTo>
                <a:lnTo>
                  <a:pt x="107" y="2439"/>
                </a:lnTo>
                <a:lnTo>
                  <a:pt x="119" y="2432"/>
                </a:lnTo>
                <a:lnTo>
                  <a:pt x="124" y="2429"/>
                </a:lnTo>
                <a:lnTo>
                  <a:pt x="129" y="2428"/>
                </a:lnTo>
                <a:lnTo>
                  <a:pt x="133" y="2427"/>
                </a:lnTo>
                <a:lnTo>
                  <a:pt x="137" y="2427"/>
                </a:lnTo>
                <a:lnTo>
                  <a:pt x="140" y="2429"/>
                </a:lnTo>
                <a:lnTo>
                  <a:pt x="143" y="2431"/>
                </a:lnTo>
                <a:lnTo>
                  <a:pt x="144" y="2435"/>
                </a:lnTo>
                <a:lnTo>
                  <a:pt x="146" y="2439"/>
                </a:lnTo>
                <a:lnTo>
                  <a:pt x="146" y="2439"/>
                </a:lnTo>
                <a:lnTo>
                  <a:pt x="149" y="2455"/>
                </a:lnTo>
                <a:lnTo>
                  <a:pt x="154" y="2470"/>
                </a:lnTo>
                <a:lnTo>
                  <a:pt x="162" y="2483"/>
                </a:lnTo>
                <a:lnTo>
                  <a:pt x="170" y="2493"/>
                </a:lnTo>
                <a:lnTo>
                  <a:pt x="179" y="2503"/>
                </a:lnTo>
                <a:lnTo>
                  <a:pt x="189" y="2511"/>
                </a:lnTo>
                <a:lnTo>
                  <a:pt x="200" y="2518"/>
                </a:lnTo>
                <a:lnTo>
                  <a:pt x="214" y="2523"/>
                </a:lnTo>
                <a:lnTo>
                  <a:pt x="227" y="2527"/>
                </a:lnTo>
                <a:lnTo>
                  <a:pt x="241" y="2529"/>
                </a:lnTo>
                <a:lnTo>
                  <a:pt x="256" y="2531"/>
                </a:lnTo>
                <a:lnTo>
                  <a:pt x="271" y="2532"/>
                </a:lnTo>
                <a:lnTo>
                  <a:pt x="287" y="2533"/>
                </a:lnTo>
                <a:lnTo>
                  <a:pt x="304" y="2532"/>
                </a:lnTo>
                <a:lnTo>
                  <a:pt x="337" y="2530"/>
                </a:lnTo>
                <a:lnTo>
                  <a:pt x="371" y="2526"/>
                </a:lnTo>
                <a:lnTo>
                  <a:pt x="405" y="2521"/>
                </a:lnTo>
                <a:lnTo>
                  <a:pt x="438" y="2516"/>
                </a:lnTo>
                <a:lnTo>
                  <a:pt x="468" y="2512"/>
                </a:lnTo>
                <a:lnTo>
                  <a:pt x="496" y="2510"/>
                </a:lnTo>
                <a:lnTo>
                  <a:pt x="509" y="2509"/>
                </a:lnTo>
                <a:lnTo>
                  <a:pt x="520" y="2509"/>
                </a:lnTo>
                <a:lnTo>
                  <a:pt x="531" y="2510"/>
                </a:lnTo>
                <a:lnTo>
                  <a:pt x="541" y="2512"/>
                </a:lnTo>
                <a:lnTo>
                  <a:pt x="549" y="2515"/>
                </a:lnTo>
                <a:lnTo>
                  <a:pt x="555" y="2519"/>
                </a:lnTo>
                <a:lnTo>
                  <a:pt x="555" y="2519"/>
                </a:lnTo>
                <a:lnTo>
                  <a:pt x="558" y="2522"/>
                </a:lnTo>
                <a:lnTo>
                  <a:pt x="559" y="2524"/>
                </a:lnTo>
                <a:lnTo>
                  <a:pt x="557" y="2527"/>
                </a:lnTo>
                <a:lnTo>
                  <a:pt x="554" y="2529"/>
                </a:lnTo>
                <a:lnTo>
                  <a:pt x="549" y="2532"/>
                </a:lnTo>
                <a:lnTo>
                  <a:pt x="542" y="2534"/>
                </a:lnTo>
                <a:lnTo>
                  <a:pt x="525" y="2538"/>
                </a:lnTo>
                <a:lnTo>
                  <a:pt x="475" y="2547"/>
                </a:lnTo>
                <a:lnTo>
                  <a:pt x="447" y="2553"/>
                </a:lnTo>
                <a:lnTo>
                  <a:pt x="417" y="2559"/>
                </a:lnTo>
                <a:lnTo>
                  <a:pt x="388" y="2566"/>
                </a:lnTo>
                <a:lnTo>
                  <a:pt x="359" y="2574"/>
                </a:lnTo>
                <a:lnTo>
                  <a:pt x="346" y="2578"/>
                </a:lnTo>
                <a:lnTo>
                  <a:pt x="333" y="2583"/>
                </a:lnTo>
                <a:lnTo>
                  <a:pt x="322" y="2588"/>
                </a:lnTo>
                <a:lnTo>
                  <a:pt x="312" y="2594"/>
                </a:lnTo>
                <a:lnTo>
                  <a:pt x="303" y="2601"/>
                </a:lnTo>
                <a:lnTo>
                  <a:pt x="294" y="2607"/>
                </a:lnTo>
                <a:lnTo>
                  <a:pt x="288" y="2614"/>
                </a:lnTo>
                <a:lnTo>
                  <a:pt x="284" y="2622"/>
                </a:lnTo>
                <a:lnTo>
                  <a:pt x="282" y="2630"/>
                </a:lnTo>
                <a:lnTo>
                  <a:pt x="281" y="2638"/>
                </a:lnTo>
                <a:lnTo>
                  <a:pt x="283" y="2649"/>
                </a:lnTo>
                <a:lnTo>
                  <a:pt x="287" y="2659"/>
                </a:lnTo>
                <a:lnTo>
                  <a:pt x="287" y="2659"/>
                </a:lnTo>
                <a:lnTo>
                  <a:pt x="287" y="2660"/>
                </a:lnTo>
                <a:lnTo>
                  <a:pt x="286" y="2663"/>
                </a:lnTo>
                <a:lnTo>
                  <a:pt x="283" y="2669"/>
                </a:lnTo>
                <a:lnTo>
                  <a:pt x="268" y="2686"/>
                </a:lnTo>
                <a:lnTo>
                  <a:pt x="258" y="2699"/>
                </a:lnTo>
                <a:lnTo>
                  <a:pt x="247" y="2712"/>
                </a:lnTo>
                <a:lnTo>
                  <a:pt x="237" y="2727"/>
                </a:lnTo>
                <a:lnTo>
                  <a:pt x="228" y="2744"/>
                </a:lnTo>
                <a:lnTo>
                  <a:pt x="220" y="2761"/>
                </a:lnTo>
                <a:lnTo>
                  <a:pt x="217" y="2770"/>
                </a:lnTo>
                <a:lnTo>
                  <a:pt x="214" y="2781"/>
                </a:lnTo>
                <a:lnTo>
                  <a:pt x="213" y="2790"/>
                </a:lnTo>
                <a:lnTo>
                  <a:pt x="212" y="2801"/>
                </a:lnTo>
                <a:lnTo>
                  <a:pt x="212" y="2811"/>
                </a:lnTo>
                <a:lnTo>
                  <a:pt x="213" y="2821"/>
                </a:lnTo>
                <a:lnTo>
                  <a:pt x="215" y="2833"/>
                </a:lnTo>
                <a:lnTo>
                  <a:pt x="219" y="2844"/>
                </a:lnTo>
                <a:lnTo>
                  <a:pt x="223" y="2856"/>
                </a:lnTo>
                <a:lnTo>
                  <a:pt x="229" y="2867"/>
                </a:lnTo>
                <a:lnTo>
                  <a:pt x="237" y="2880"/>
                </a:lnTo>
                <a:lnTo>
                  <a:pt x="246" y="2892"/>
                </a:lnTo>
                <a:lnTo>
                  <a:pt x="257" y="2904"/>
                </a:lnTo>
                <a:lnTo>
                  <a:pt x="270" y="2917"/>
                </a:lnTo>
                <a:lnTo>
                  <a:pt x="270" y="2917"/>
                </a:lnTo>
                <a:lnTo>
                  <a:pt x="270" y="2910"/>
                </a:lnTo>
                <a:lnTo>
                  <a:pt x="272" y="2893"/>
                </a:lnTo>
                <a:lnTo>
                  <a:pt x="277" y="2868"/>
                </a:lnTo>
                <a:lnTo>
                  <a:pt x="281" y="2855"/>
                </a:lnTo>
                <a:lnTo>
                  <a:pt x="285" y="2841"/>
                </a:lnTo>
                <a:lnTo>
                  <a:pt x="291" y="2828"/>
                </a:lnTo>
                <a:lnTo>
                  <a:pt x="298" y="2814"/>
                </a:lnTo>
                <a:lnTo>
                  <a:pt x="306" y="2801"/>
                </a:lnTo>
                <a:lnTo>
                  <a:pt x="315" y="2791"/>
                </a:lnTo>
                <a:lnTo>
                  <a:pt x="321" y="2786"/>
                </a:lnTo>
                <a:lnTo>
                  <a:pt x="326" y="2782"/>
                </a:lnTo>
                <a:lnTo>
                  <a:pt x="332" y="2777"/>
                </a:lnTo>
                <a:lnTo>
                  <a:pt x="339" y="2774"/>
                </a:lnTo>
                <a:lnTo>
                  <a:pt x="346" y="2772"/>
                </a:lnTo>
                <a:lnTo>
                  <a:pt x="354" y="2770"/>
                </a:lnTo>
                <a:lnTo>
                  <a:pt x="361" y="2770"/>
                </a:lnTo>
                <a:lnTo>
                  <a:pt x="369" y="2770"/>
                </a:lnTo>
                <a:lnTo>
                  <a:pt x="369" y="2770"/>
                </a:lnTo>
                <a:lnTo>
                  <a:pt x="383" y="2771"/>
                </a:lnTo>
                <a:lnTo>
                  <a:pt x="396" y="2774"/>
                </a:lnTo>
                <a:lnTo>
                  <a:pt x="408" y="2778"/>
                </a:lnTo>
                <a:lnTo>
                  <a:pt x="420" y="2783"/>
                </a:lnTo>
                <a:lnTo>
                  <a:pt x="443" y="2793"/>
                </a:lnTo>
                <a:lnTo>
                  <a:pt x="454" y="2797"/>
                </a:lnTo>
                <a:lnTo>
                  <a:pt x="465" y="2801"/>
                </a:lnTo>
                <a:lnTo>
                  <a:pt x="476" y="2804"/>
                </a:lnTo>
                <a:lnTo>
                  <a:pt x="489" y="2806"/>
                </a:lnTo>
                <a:lnTo>
                  <a:pt x="501" y="2807"/>
                </a:lnTo>
                <a:lnTo>
                  <a:pt x="514" y="2805"/>
                </a:lnTo>
                <a:lnTo>
                  <a:pt x="528" y="2802"/>
                </a:lnTo>
                <a:lnTo>
                  <a:pt x="542" y="2796"/>
                </a:lnTo>
                <a:lnTo>
                  <a:pt x="558" y="2788"/>
                </a:lnTo>
                <a:lnTo>
                  <a:pt x="575" y="2775"/>
                </a:lnTo>
                <a:lnTo>
                  <a:pt x="575" y="2775"/>
                </a:lnTo>
                <a:lnTo>
                  <a:pt x="588" y="2766"/>
                </a:lnTo>
                <a:lnTo>
                  <a:pt x="600" y="2755"/>
                </a:lnTo>
                <a:lnTo>
                  <a:pt x="614" y="2743"/>
                </a:lnTo>
                <a:lnTo>
                  <a:pt x="630" y="2730"/>
                </a:lnTo>
                <a:lnTo>
                  <a:pt x="651" y="2718"/>
                </a:lnTo>
                <a:lnTo>
                  <a:pt x="664" y="2711"/>
                </a:lnTo>
                <a:lnTo>
                  <a:pt x="678" y="2705"/>
                </a:lnTo>
                <a:lnTo>
                  <a:pt x="693" y="2698"/>
                </a:lnTo>
                <a:lnTo>
                  <a:pt x="712" y="2692"/>
                </a:lnTo>
                <a:lnTo>
                  <a:pt x="732" y="2684"/>
                </a:lnTo>
                <a:lnTo>
                  <a:pt x="754" y="2677"/>
                </a:lnTo>
                <a:lnTo>
                  <a:pt x="754" y="2677"/>
                </a:lnTo>
                <a:lnTo>
                  <a:pt x="756" y="2677"/>
                </a:lnTo>
                <a:lnTo>
                  <a:pt x="757" y="2678"/>
                </a:lnTo>
                <a:lnTo>
                  <a:pt x="760" y="2683"/>
                </a:lnTo>
                <a:lnTo>
                  <a:pt x="762" y="2692"/>
                </a:lnTo>
                <a:lnTo>
                  <a:pt x="765" y="2701"/>
                </a:lnTo>
                <a:lnTo>
                  <a:pt x="768" y="2713"/>
                </a:lnTo>
                <a:lnTo>
                  <a:pt x="772" y="2725"/>
                </a:lnTo>
                <a:lnTo>
                  <a:pt x="777" y="2738"/>
                </a:lnTo>
                <a:lnTo>
                  <a:pt x="783" y="2750"/>
                </a:lnTo>
                <a:lnTo>
                  <a:pt x="783" y="2750"/>
                </a:lnTo>
                <a:lnTo>
                  <a:pt x="786" y="2753"/>
                </a:lnTo>
                <a:lnTo>
                  <a:pt x="789" y="2755"/>
                </a:lnTo>
                <a:lnTo>
                  <a:pt x="797" y="2760"/>
                </a:lnTo>
                <a:lnTo>
                  <a:pt x="805" y="2763"/>
                </a:lnTo>
                <a:lnTo>
                  <a:pt x="813" y="2767"/>
                </a:lnTo>
                <a:lnTo>
                  <a:pt x="821" y="2770"/>
                </a:lnTo>
                <a:lnTo>
                  <a:pt x="827" y="2773"/>
                </a:lnTo>
                <a:lnTo>
                  <a:pt x="830" y="2775"/>
                </a:lnTo>
                <a:lnTo>
                  <a:pt x="831" y="2777"/>
                </a:lnTo>
                <a:lnTo>
                  <a:pt x="833" y="2781"/>
                </a:lnTo>
                <a:lnTo>
                  <a:pt x="833" y="2784"/>
                </a:lnTo>
                <a:lnTo>
                  <a:pt x="833" y="2784"/>
                </a:lnTo>
                <a:lnTo>
                  <a:pt x="832" y="2794"/>
                </a:lnTo>
                <a:lnTo>
                  <a:pt x="830" y="2805"/>
                </a:lnTo>
                <a:lnTo>
                  <a:pt x="826" y="2815"/>
                </a:lnTo>
                <a:lnTo>
                  <a:pt x="822" y="2824"/>
                </a:lnTo>
                <a:lnTo>
                  <a:pt x="817" y="2834"/>
                </a:lnTo>
                <a:lnTo>
                  <a:pt x="811" y="2843"/>
                </a:lnTo>
                <a:lnTo>
                  <a:pt x="798" y="2859"/>
                </a:lnTo>
                <a:lnTo>
                  <a:pt x="784" y="2873"/>
                </a:lnTo>
                <a:lnTo>
                  <a:pt x="773" y="2884"/>
                </a:lnTo>
                <a:lnTo>
                  <a:pt x="765" y="2890"/>
                </a:lnTo>
                <a:lnTo>
                  <a:pt x="763" y="2893"/>
                </a:lnTo>
                <a:lnTo>
                  <a:pt x="763" y="2893"/>
                </a:lnTo>
                <a:lnTo>
                  <a:pt x="767" y="2896"/>
                </a:lnTo>
                <a:lnTo>
                  <a:pt x="778" y="2899"/>
                </a:lnTo>
                <a:lnTo>
                  <a:pt x="785" y="2900"/>
                </a:lnTo>
                <a:lnTo>
                  <a:pt x="794" y="2901"/>
                </a:lnTo>
                <a:lnTo>
                  <a:pt x="804" y="2901"/>
                </a:lnTo>
                <a:lnTo>
                  <a:pt x="815" y="2899"/>
                </a:lnTo>
                <a:lnTo>
                  <a:pt x="826" y="2896"/>
                </a:lnTo>
                <a:lnTo>
                  <a:pt x="839" y="2891"/>
                </a:lnTo>
                <a:lnTo>
                  <a:pt x="852" y="2884"/>
                </a:lnTo>
                <a:lnTo>
                  <a:pt x="865" y="2874"/>
                </a:lnTo>
                <a:lnTo>
                  <a:pt x="879" y="2860"/>
                </a:lnTo>
                <a:lnTo>
                  <a:pt x="894" y="2844"/>
                </a:lnTo>
                <a:lnTo>
                  <a:pt x="907" y="2824"/>
                </a:lnTo>
                <a:lnTo>
                  <a:pt x="921" y="2801"/>
                </a:lnTo>
                <a:lnTo>
                  <a:pt x="921" y="2801"/>
                </a:lnTo>
                <a:lnTo>
                  <a:pt x="924" y="2797"/>
                </a:lnTo>
                <a:lnTo>
                  <a:pt x="927" y="2793"/>
                </a:lnTo>
                <a:lnTo>
                  <a:pt x="930" y="2791"/>
                </a:lnTo>
                <a:lnTo>
                  <a:pt x="935" y="2789"/>
                </a:lnTo>
                <a:lnTo>
                  <a:pt x="939" y="2788"/>
                </a:lnTo>
                <a:lnTo>
                  <a:pt x="943" y="2788"/>
                </a:lnTo>
                <a:lnTo>
                  <a:pt x="951" y="2788"/>
                </a:lnTo>
                <a:lnTo>
                  <a:pt x="970" y="2790"/>
                </a:lnTo>
                <a:lnTo>
                  <a:pt x="982" y="2790"/>
                </a:lnTo>
                <a:lnTo>
                  <a:pt x="987" y="2789"/>
                </a:lnTo>
                <a:lnTo>
                  <a:pt x="992" y="2788"/>
                </a:lnTo>
                <a:lnTo>
                  <a:pt x="992" y="2788"/>
                </a:lnTo>
                <a:lnTo>
                  <a:pt x="1010" y="2782"/>
                </a:lnTo>
                <a:lnTo>
                  <a:pt x="1017" y="2777"/>
                </a:lnTo>
                <a:lnTo>
                  <a:pt x="1024" y="2773"/>
                </a:lnTo>
                <a:lnTo>
                  <a:pt x="1029" y="2770"/>
                </a:lnTo>
                <a:lnTo>
                  <a:pt x="1033" y="2766"/>
                </a:lnTo>
                <a:lnTo>
                  <a:pt x="1036" y="2762"/>
                </a:lnTo>
                <a:lnTo>
                  <a:pt x="1039" y="2757"/>
                </a:lnTo>
                <a:lnTo>
                  <a:pt x="1041" y="2753"/>
                </a:lnTo>
                <a:lnTo>
                  <a:pt x="1042" y="2748"/>
                </a:lnTo>
                <a:lnTo>
                  <a:pt x="1043" y="2739"/>
                </a:lnTo>
                <a:lnTo>
                  <a:pt x="1042" y="2728"/>
                </a:lnTo>
                <a:lnTo>
                  <a:pt x="1040" y="2718"/>
                </a:lnTo>
                <a:lnTo>
                  <a:pt x="1035" y="2696"/>
                </a:lnTo>
                <a:lnTo>
                  <a:pt x="1034" y="2685"/>
                </a:lnTo>
                <a:lnTo>
                  <a:pt x="1033" y="2673"/>
                </a:lnTo>
                <a:lnTo>
                  <a:pt x="1034" y="2662"/>
                </a:lnTo>
                <a:lnTo>
                  <a:pt x="1036" y="2657"/>
                </a:lnTo>
                <a:lnTo>
                  <a:pt x="1038" y="2651"/>
                </a:lnTo>
                <a:lnTo>
                  <a:pt x="1040" y="2646"/>
                </a:lnTo>
                <a:lnTo>
                  <a:pt x="1044" y="2640"/>
                </a:lnTo>
                <a:lnTo>
                  <a:pt x="1048" y="2634"/>
                </a:lnTo>
                <a:lnTo>
                  <a:pt x="1054" y="2629"/>
                </a:lnTo>
                <a:lnTo>
                  <a:pt x="1054" y="2629"/>
                </a:lnTo>
                <a:lnTo>
                  <a:pt x="1069" y="2616"/>
                </a:lnTo>
                <a:lnTo>
                  <a:pt x="1084" y="2603"/>
                </a:lnTo>
                <a:lnTo>
                  <a:pt x="1099" y="2591"/>
                </a:lnTo>
                <a:lnTo>
                  <a:pt x="1115" y="2579"/>
                </a:lnTo>
                <a:lnTo>
                  <a:pt x="1146" y="2559"/>
                </a:lnTo>
                <a:lnTo>
                  <a:pt x="1178" y="2540"/>
                </a:lnTo>
                <a:lnTo>
                  <a:pt x="1210" y="2524"/>
                </a:lnTo>
                <a:lnTo>
                  <a:pt x="1241" y="2509"/>
                </a:lnTo>
                <a:lnTo>
                  <a:pt x="1273" y="2494"/>
                </a:lnTo>
                <a:lnTo>
                  <a:pt x="1304" y="2482"/>
                </a:lnTo>
                <a:lnTo>
                  <a:pt x="1304" y="2482"/>
                </a:lnTo>
                <a:lnTo>
                  <a:pt x="1303" y="2486"/>
                </a:lnTo>
                <a:lnTo>
                  <a:pt x="1299" y="2498"/>
                </a:lnTo>
                <a:lnTo>
                  <a:pt x="1294" y="2518"/>
                </a:lnTo>
                <a:lnTo>
                  <a:pt x="1291" y="2541"/>
                </a:lnTo>
                <a:lnTo>
                  <a:pt x="1290" y="2556"/>
                </a:lnTo>
                <a:lnTo>
                  <a:pt x="1290" y="2570"/>
                </a:lnTo>
                <a:lnTo>
                  <a:pt x="1291" y="2585"/>
                </a:lnTo>
                <a:lnTo>
                  <a:pt x="1292" y="2602"/>
                </a:lnTo>
                <a:lnTo>
                  <a:pt x="1296" y="2618"/>
                </a:lnTo>
                <a:lnTo>
                  <a:pt x="1301" y="2634"/>
                </a:lnTo>
                <a:lnTo>
                  <a:pt x="1306" y="2652"/>
                </a:lnTo>
                <a:lnTo>
                  <a:pt x="1314" y="2669"/>
                </a:lnTo>
                <a:lnTo>
                  <a:pt x="1640" y="2585"/>
                </a:lnTo>
                <a:lnTo>
                  <a:pt x="1640" y="2585"/>
                </a:lnTo>
                <a:lnTo>
                  <a:pt x="1634" y="2569"/>
                </a:lnTo>
                <a:lnTo>
                  <a:pt x="1631" y="2553"/>
                </a:lnTo>
                <a:lnTo>
                  <a:pt x="1629" y="2535"/>
                </a:lnTo>
                <a:lnTo>
                  <a:pt x="1629" y="2518"/>
                </a:lnTo>
                <a:lnTo>
                  <a:pt x="1631" y="2500"/>
                </a:lnTo>
                <a:lnTo>
                  <a:pt x="1634" y="2483"/>
                </a:lnTo>
                <a:lnTo>
                  <a:pt x="1638" y="2466"/>
                </a:lnTo>
                <a:lnTo>
                  <a:pt x="1644" y="2447"/>
                </a:lnTo>
                <a:lnTo>
                  <a:pt x="1651" y="2430"/>
                </a:lnTo>
                <a:lnTo>
                  <a:pt x="1660" y="2411"/>
                </a:lnTo>
                <a:lnTo>
                  <a:pt x="1669" y="2394"/>
                </a:lnTo>
                <a:lnTo>
                  <a:pt x="1679" y="2377"/>
                </a:lnTo>
                <a:lnTo>
                  <a:pt x="1689" y="2359"/>
                </a:lnTo>
                <a:lnTo>
                  <a:pt x="1701" y="2342"/>
                </a:lnTo>
                <a:lnTo>
                  <a:pt x="1725" y="2310"/>
                </a:lnTo>
                <a:lnTo>
                  <a:pt x="1725" y="2310"/>
                </a:lnTo>
                <a:lnTo>
                  <a:pt x="1726" y="2309"/>
                </a:lnTo>
                <a:lnTo>
                  <a:pt x="1727" y="2309"/>
                </a:lnTo>
                <a:lnTo>
                  <a:pt x="1728" y="2313"/>
                </a:lnTo>
                <a:lnTo>
                  <a:pt x="1725" y="2335"/>
                </a:lnTo>
                <a:lnTo>
                  <a:pt x="1721" y="2368"/>
                </a:lnTo>
                <a:lnTo>
                  <a:pt x="1715" y="2410"/>
                </a:lnTo>
                <a:lnTo>
                  <a:pt x="1713" y="2433"/>
                </a:lnTo>
                <a:lnTo>
                  <a:pt x="1711" y="2456"/>
                </a:lnTo>
                <a:lnTo>
                  <a:pt x="1711" y="2478"/>
                </a:lnTo>
                <a:lnTo>
                  <a:pt x="1711" y="2499"/>
                </a:lnTo>
                <a:lnTo>
                  <a:pt x="1713" y="2519"/>
                </a:lnTo>
                <a:lnTo>
                  <a:pt x="1716" y="2536"/>
                </a:lnTo>
                <a:lnTo>
                  <a:pt x="1719" y="2544"/>
                </a:lnTo>
                <a:lnTo>
                  <a:pt x="1722" y="2551"/>
                </a:lnTo>
                <a:lnTo>
                  <a:pt x="1726" y="2557"/>
                </a:lnTo>
                <a:lnTo>
                  <a:pt x="1730" y="2562"/>
                </a:lnTo>
                <a:lnTo>
                  <a:pt x="2050" y="2479"/>
                </a:lnTo>
                <a:lnTo>
                  <a:pt x="2050" y="2479"/>
                </a:lnTo>
                <a:lnTo>
                  <a:pt x="2046" y="2469"/>
                </a:lnTo>
                <a:lnTo>
                  <a:pt x="2043" y="2457"/>
                </a:lnTo>
                <a:lnTo>
                  <a:pt x="2041" y="2446"/>
                </a:lnTo>
                <a:lnTo>
                  <a:pt x="2039" y="2434"/>
                </a:lnTo>
                <a:lnTo>
                  <a:pt x="2038" y="2422"/>
                </a:lnTo>
                <a:lnTo>
                  <a:pt x="2038" y="2409"/>
                </a:lnTo>
                <a:lnTo>
                  <a:pt x="2039" y="2383"/>
                </a:lnTo>
                <a:lnTo>
                  <a:pt x="2043" y="2356"/>
                </a:lnTo>
                <a:lnTo>
                  <a:pt x="2048" y="2330"/>
                </a:lnTo>
                <a:lnTo>
                  <a:pt x="2055" y="2303"/>
                </a:lnTo>
                <a:lnTo>
                  <a:pt x="2064" y="2279"/>
                </a:lnTo>
                <a:lnTo>
                  <a:pt x="2064" y="2279"/>
                </a:lnTo>
                <a:lnTo>
                  <a:pt x="2072" y="2306"/>
                </a:lnTo>
                <a:lnTo>
                  <a:pt x="2079" y="2335"/>
                </a:lnTo>
                <a:lnTo>
                  <a:pt x="2088" y="2362"/>
                </a:lnTo>
                <a:lnTo>
                  <a:pt x="2098" y="2390"/>
                </a:lnTo>
                <a:lnTo>
                  <a:pt x="2108" y="2417"/>
                </a:lnTo>
                <a:lnTo>
                  <a:pt x="2121" y="2443"/>
                </a:lnTo>
                <a:lnTo>
                  <a:pt x="2135" y="2469"/>
                </a:lnTo>
                <a:lnTo>
                  <a:pt x="2149" y="2494"/>
                </a:lnTo>
                <a:lnTo>
                  <a:pt x="2166" y="2519"/>
                </a:lnTo>
                <a:lnTo>
                  <a:pt x="2183" y="2541"/>
                </a:lnTo>
                <a:lnTo>
                  <a:pt x="2201" y="2563"/>
                </a:lnTo>
                <a:lnTo>
                  <a:pt x="2222" y="2583"/>
                </a:lnTo>
                <a:lnTo>
                  <a:pt x="2244" y="2603"/>
                </a:lnTo>
                <a:lnTo>
                  <a:pt x="2268" y="2619"/>
                </a:lnTo>
                <a:lnTo>
                  <a:pt x="2280" y="2627"/>
                </a:lnTo>
                <a:lnTo>
                  <a:pt x="2292" y="2634"/>
                </a:lnTo>
                <a:lnTo>
                  <a:pt x="2306" y="2641"/>
                </a:lnTo>
                <a:lnTo>
                  <a:pt x="2320" y="2648"/>
                </a:lnTo>
                <a:lnTo>
                  <a:pt x="2320" y="2648"/>
                </a:lnTo>
                <a:lnTo>
                  <a:pt x="2365" y="2667"/>
                </a:lnTo>
                <a:lnTo>
                  <a:pt x="2410" y="2685"/>
                </a:lnTo>
                <a:lnTo>
                  <a:pt x="2454" y="2702"/>
                </a:lnTo>
                <a:lnTo>
                  <a:pt x="2499" y="2718"/>
                </a:lnTo>
                <a:lnTo>
                  <a:pt x="2544" y="2733"/>
                </a:lnTo>
                <a:lnTo>
                  <a:pt x="2589" y="2749"/>
                </a:lnTo>
                <a:lnTo>
                  <a:pt x="2683" y="2778"/>
                </a:lnTo>
                <a:lnTo>
                  <a:pt x="2782" y="2807"/>
                </a:lnTo>
                <a:lnTo>
                  <a:pt x="2889" y="2838"/>
                </a:lnTo>
                <a:lnTo>
                  <a:pt x="3005" y="2872"/>
                </a:lnTo>
                <a:lnTo>
                  <a:pt x="3133" y="2908"/>
                </a:lnTo>
                <a:lnTo>
                  <a:pt x="3133" y="2908"/>
                </a:lnTo>
                <a:lnTo>
                  <a:pt x="3205" y="2931"/>
                </a:lnTo>
                <a:lnTo>
                  <a:pt x="3273" y="2954"/>
                </a:lnTo>
                <a:lnTo>
                  <a:pt x="3305" y="2966"/>
                </a:lnTo>
                <a:lnTo>
                  <a:pt x="3333" y="2977"/>
                </a:lnTo>
                <a:lnTo>
                  <a:pt x="3358" y="2987"/>
                </a:lnTo>
                <a:lnTo>
                  <a:pt x="3377" y="2996"/>
                </a:lnTo>
                <a:lnTo>
                  <a:pt x="3377" y="2996"/>
                </a:lnTo>
                <a:lnTo>
                  <a:pt x="3383" y="2999"/>
                </a:lnTo>
                <a:lnTo>
                  <a:pt x="3389" y="3003"/>
                </a:lnTo>
                <a:lnTo>
                  <a:pt x="3393" y="3006"/>
                </a:lnTo>
                <a:lnTo>
                  <a:pt x="3397" y="3011"/>
                </a:lnTo>
                <a:lnTo>
                  <a:pt x="3399" y="3015"/>
                </a:lnTo>
                <a:lnTo>
                  <a:pt x="3401" y="3020"/>
                </a:lnTo>
                <a:lnTo>
                  <a:pt x="3402" y="3024"/>
                </a:lnTo>
                <a:lnTo>
                  <a:pt x="3402" y="3028"/>
                </a:lnTo>
                <a:lnTo>
                  <a:pt x="3401" y="3037"/>
                </a:lnTo>
                <a:lnTo>
                  <a:pt x="3397" y="3046"/>
                </a:lnTo>
                <a:lnTo>
                  <a:pt x="3392" y="3055"/>
                </a:lnTo>
                <a:lnTo>
                  <a:pt x="3386" y="3064"/>
                </a:lnTo>
                <a:lnTo>
                  <a:pt x="3378" y="3072"/>
                </a:lnTo>
                <a:lnTo>
                  <a:pt x="3371" y="3080"/>
                </a:lnTo>
                <a:lnTo>
                  <a:pt x="3357" y="3092"/>
                </a:lnTo>
                <a:lnTo>
                  <a:pt x="3346" y="3102"/>
                </a:lnTo>
                <a:lnTo>
                  <a:pt x="3341" y="3105"/>
                </a:lnTo>
                <a:lnTo>
                  <a:pt x="3341" y="3105"/>
                </a:lnTo>
                <a:lnTo>
                  <a:pt x="3355" y="3113"/>
                </a:lnTo>
                <a:lnTo>
                  <a:pt x="3371" y="3121"/>
                </a:lnTo>
                <a:lnTo>
                  <a:pt x="3411" y="3139"/>
                </a:lnTo>
                <a:lnTo>
                  <a:pt x="3435" y="3152"/>
                </a:lnTo>
                <a:lnTo>
                  <a:pt x="3461" y="3167"/>
                </a:lnTo>
                <a:lnTo>
                  <a:pt x="3492" y="3186"/>
                </a:lnTo>
                <a:lnTo>
                  <a:pt x="3527" y="3211"/>
                </a:lnTo>
                <a:lnTo>
                  <a:pt x="3527" y="3211"/>
                </a:lnTo>
                <a:lnTo>
                  <a:pt x="3545" y="3226"/>
                </a:lnTo>
                <a:lnTo>
                  <a:pt x="3563" y="3244"/>
                </a:lnTo>
                <a:lnTo>
                  <a:pt x="3580" y="3263"/>
                </a:lnTo>
                <a:lnTo>
                  <a:pt x="3595" y="3284"/>
                </a:lnTo>
                <a:lnTo>
                  <a:pt x="3608" y="3305"/>
                </a:lnTo>
                <a:lnTo>
                  <a:pt x="3622" y="3329"/>
                </a:lnTo>
                <a:lnTo>
                  <a:pt x="3634" y="3352"/>
                </a:lnTo>
                <a:lnTo>
                  <a:pt x="3645" y="3378"/>
                </a:lnTo>
                <a:lnTo>
                  <a:pt x="3655" y="3404"/>
                </a:lnTo>
                <a:lnTo>
                  <a:pt x="3665" y="3432"/>
                </a:lnTo>
                <a:lnTo>
                  <a:pt x="3674" y="3460"/>
                </a:lnTo>
                <a:lnTo>
                  <a:pt x="3682" y="3489"/>
                </a:lnTo>
                <a:lnTo>
                  <a:pt x="3698" y="3549"/>
                </a:lnTo>
                <a:lnTo>
                  <a:pt x="3714" y="3612"/>
                </a:lnTo>
                <a:lnTo>
                  <a:pt x="3714" y="3612"/>
                </a:lnTo>
                <a:lnTo>
                  <a:pt x="3725" y="3662"/>
                </a:lnTo>
                <a:lnTo>
                  <a:pt x="3734" y="3715"/>
                </a:lnTo>
                <a:lnTo>
                  <a:pt x="3742" y="3768"/>
                </a:lnTo>
                <a:lnTo>
                  <a:pt x="3744" y="3795"/>
                </a:lnTo>
                <a:lnTo>
                  <a:pt x="3746" y="3819"/>
                </a:lnTo>
                <a:lnTo>
                  <a:pt x="3748" y="3844"/>
                </a:lnTo>
                <a:lnTo>
                  <a:pt x="3749" y="3867"/>
                </a:lnTo>
                <a:lnTo>
                  <a:pt x="3748" y="3889"/>
                </a:lnTo>
                <a:lnTo>
                  <a:pt x="3745" y="3909"/>
                </a:lnTo>
                <a:lnTo>
                  <a:pt x="3742" y="3928"/>
                </a:lnTo>
                <a:lnTo>
                  <a:pt x="3737" y="3944"/>
                </a:lnTo>
                <a:lnTo>
                  <a:pt x="3731" y="3957"/>
                </a:lnTo>
                <a:lnTo>
                  <a:pt x="3728" y="3963"/>
                </a:lnTo>
                <a:lnTo>
                  <a:pt x="3724" y="3969"/>
                </a:lnTo>
                <a:lnTo>
                  <a:pt x="3724" y="3969"/>
                </a:lnTo>
                <a:lnTo>
                  <a:pt x="3715" y="3979"/>
                </a:lnTo>
                <a:lnTo>
                  <a:pt x="3705" y="3989"/>
                </a:lnTo>
                <a:lnTo>
                  <a:pt x="3691" y="3998"/>
                </a:lnTo>
                <a:lnTo>
                  <a:pt x="3683" y="4003"/>
                </a:lnTo>
                <a:lnTo>
                  <a:pt x="3673" y="4008"/>
                </a:lnTo>
                <a:lnTo>
                  <a:pt x="3663" y="4014"/>
                </a:lnTo>
                <a:lnTo>
                  <a:pt x="3650" y="4019"/>
                </a:lnTo>
                <a:lnTo>
                  <a:pt x="3621" y="4028"/>
                </a:lnTo>
                <a:lnTo>
                  <a:pt x="3582" y="4038"/>
                </a:lnTo>
                <a:lnTo>
                  <a:pt x="3535" y="4048"/>
                </a:lnTo>
                <a:lnTo>
                  <a:pt x="3560" y="4171"/>
                </a:lnTo>
                <a:lnTo>
                  <a:pt x="3560" y="4171"/>
                </a:lnTo>
                <a:lnTo>
                  <a:pt x="3579" y="4172"/>
                </a:lnTo>
                <a:lnTo>
                  <a:pt x="3597" y="4172"/>
                </a:lnTo>
                <a:lnTo>
                  <a:pt x="3615" y="4171"/>
                </a:lnTo>
                <a:lnTo>
                  <a:pt x="3631" y="4169"/>
                </a:lnTo>
                <a:lnTo>
                  <a:pt x="3646" y="4167"/>
                </a:lnTo>
                <a:lnTo>
                  <a:pt x="3662" y="4164"/>
                </a:lnTo>
                <a:lnTo>
                  <a:pt x="3688" y="4157"/>
                </a:lnTo>
                <a:lnTo>
                  <a:pt x="3711" y="4150"/>
                </a:lnTo>
                <a:lnTo>
                  <a:pt x="3728" y="4143"/>
                </a:lnTo>
                <a:lnTo>
                  <a:pt x="3742" y="4137"/>
                </a:lnTo>
                <a:lnTo>
                  <a:pt x="3742" y="4137"/>
                </a:lnTo>
                <a:lnTo>
                  <a:pt x="3736" y="4143"/>
                </a:lnTo>
                <a:lnTo>
                  <a:pt x="3730" y="4151"/>
                </a:lnTo>
                <a:lnTo>
                  <a:pt x="3722" y="4161"/>
                </a:lnTo>
                <a:lnTo>
                  <a:pt x="3722" y="4161"/>
                </a:lnTo>
                <a:lnTo>
                  <a:pt x="3711" y="4177"/>
                </a:lnTo>
                <a:lnTo>
                  <a:pt x="3700" y="4194"/>
                </a:lnTo>
                <a:lnTo>
                  <a:pt x="3692" y="4209"/>
                </a:lnTo>
                <a:lnTo>
                  <a:pt x="3685" y="4224"/>
                </a:lnTo>
                <a:lnTo>
                  <a:pt x="3680" y="4240"/>
                </a:lnTo>
                <a:lnTo>
                  <a:pt x="3675" y="4257"/>
                </a:lnTo>
                <a:lnTo>
                  <a:pt x="3672" y="4274"/>
                </a:lnTo>
                <a:lnTo>
                  <a:pt x="3669" y="4295"/>
                </a:lnTo>
                <a:lnTo>
                  <a:pt x="3799" y="4379"/>
                </a:lnTo>
                <a:lnTo>
                  <a:pt x="3799" y="4379"/>
                </a:lnTo>
                <a:lnTo>
                  <a:pt x="3812" y="4338"/>
                </a:lnTo>
                <a:lnTo>
                  <a:pt x="3826" y="4298"/>
                </a:lnTo>
                <a:lnTo>
                  <a:pt x="3841" y="4262"/>
                </a:lnTo>
                <a:lnTo>
                  <a:pt x="3855" y="4229"/>
                </a:lnTo>
                <a:lnTo>
                  <a:pt x="3870" y="4202"/>
                </a:lnTo>
                <a:lnTo>
                  <a:pt x="3877" y="4189"/>
                </a:lnTo>
                <a:lnTo>
                  <a:pt x="3885" y="4179"/>
                </a:lnTo>
                <a:lnTo>
                  <a:pt x="3892" y="4170"/>
                </a:lnTo>
                <a:lnTo>
                  <a:pt x="3899" y="4163"/>
                </a:lnTo>
                <a:lnTo>
                  <a:pt x="3906" y="4158"/>
                </a:lnTo>
                <a:lnTo>
                  <a:pt x="3913" y="4154"/>
                </a:lnTo>
                <a:lnTo>
                  <a:pt x="3913" y="4154"/>
                </a:lnTo>
                <a:lnTo>
                  <a:pt x="3919" y="4152"/>
                </a:lnTo>
                <a:lnTo>
                  <a:pt x="3926" y="4152"/>
                </a:lnTo>
                <a:lnTo>
                  <a:pt x="3935" y="4152"/>
                </a:lnTo>
                <a:lnTo>
                  <a:pt x="3944" y="4153"/>
                </a:lnTo>
                <a:lnTo>
                  <a:pt x="3954" y="4155"/>
                </a:lnTo>
                <a:lnTo>
                  <a:pt x="3965" y="4157"/>
                </a:lnTo>
                <a:lnTo>
                  <a:pt x="3990" y="4166"/>
                </a:lnTo>
                <a:lnTo>
                  <a:pt x="4017" y="4177"/>
                </a:lnTo>
                <a:lnTo>
                  <a:pt x="4047" y="4192"/>
                </a:lnTo>
                <a:lnTo>
                  <a:pt x="4078" y="4212"/>
                </a:lnTo>
                <a:lnTo>
                  <a:pt x="4110" y="4233"/>
                </a:lnTo>
                <a:lnTo>
                  <a:pt x="4127" y="4246"/>
                </a:lnTo>
                <a:lnTo>
                  <a:pt x="4143" y="4259"/>
                </a:lnTo>
                <a:lnTo>
                  <a:pt x="4160" y="4273"/>
                </a:lnTo>
                <a:lnTo>
                  <a:pt x="4176" y="4288"/>
                </a:lnTo>
                <a:lnTo>
                  <a:pt x="4192" y="4303"/>
                </a:lnTo>
                <a:lnTo>
                  <a:pt x="4208" y="4319"/>
                </a:lnTo>
                <a:lnTo>
                  <a:pt x="4224" y="4337"/>
                </a:lnTo>
                <a:lnTo>
                  <a:pt x="4239" y="4355"/>
                </a:lnTo>
                <a:lnTo>
                  <a:pt x="4254" y="4373"/>
                </a:lnTo>
                <a:lnTo>
                  <a:pt x="4268" y="4393"/>
                </a:lnTo>
                <a:lnTo>
                  <a:pt x="4282" y="4413"/>
                </a:lnTo>
                <a:lnTo>
                  <a:pt x="4296" y="4435"/>
                </a:lnTo>
                <a:lnTo>
                  <a:pt x="4308" y="4456"/>
                </a:lnTo>
                <a:lnTo>
                  <a:pt x="4320" y="4479"/>
                </a:lnTo>
                <a:lnTo>
                  <a:pt x="4331" y="4502"/>
                </a:lnTo>
                <a:lnTo>
                  <a:pt x="4342" y="4527"/>
                </a:lnTo>
                <a:lnTo>
                  <a:pt x="4342" y="4527"/>
                </a:lnTo>
                <a:lnTo>
                  <a:pt x="4347" y="4541"/>
                </a:lnTo>
                <a:lnTo>
                  <a:pt x="4352" y="4558"/>
                </a:lnTo>
                <a:lnTo>
                  <a:pt x="4356" y="4574"/>
                </a:lnTo>
                <a:lnTo>
                  <a:pt x="4360" y="4591"/>
                </a:lnTo>
                <a:lnTo>
                  <a:pt x="4363" y="4610"/>
                </a:lnTo>
                <a:lnTo>
                  <a:pt x="4366" y="4628"/>
                </a:lnTo>
                <a:lnTo>
                  <a:pt x="4370" y="4667"/>
                </a:lnTo>
                <a:lnTo>
                  <a:pt x="4372" y="4706"/>
                </a:lnTo>
                <a:lnTo>
                  <a:pt x="4371" y="4747"/>
                </a:lnTo>
                <a:lnTo>
                  <a:pt x="4370" y="4767"/>
                </a:lnTo>
                <a:lnTo>
                  <a:pt x="4369" y="4787"/>
                </a:lnTo>
                <a:lnTo>
                  <a:pt x="4366" y="4807"/>
                </a:lnTo>
                <a:lnTo>
                  <a:pt x="4363" y="4826"/>
                </a:lnTo>
                <a:lnTo>
                  <a:pt x="4360" y="4846"/>
                </a:lnTo>
                <a:lnTo>
                  <a:pt x="4356" y="4864"/>
                </a:lnTo>
                <a:lnTo>
                  <a:pt x="4351" y="4883"/>
                </a:lnTo>
                <a:lnTo>
                  <a:pt x="4345" y="4900"/>
                </a:lnTo>
                <a:lnTo>
                  <a:pt x="4339" y="4917"/>
                </a:lnTo>
                <a:lnTo>
                  <a:pt x="4332" y="4933"/>
                </a:lnTo>
                <a:lnTo>
                  <a:pt x="4324" y="4948"/>
                </a:lnTo>
                <a:lnTo>
                  <a:pt x="4316" y="4962"/>
                </a:lnTo>
                <a:lnTo>
                  <a:pt x="4307" y="4976"/>
                </a:lnTo>
                <a:lnTo>
                  <a:pt x="4298" y="4988"/>
                </a:lnTo>
                <a:lnTo>
                  <a:pt x="4287" y="4999"/>
                </a:lnTo>
                <a:lnTo>
                  <a:pt x="4276" y="5008"/>
                </a:lnTo>
                <a:lnTo>
                  <a:pt x="4264" y="5017"/>
                </a:lnTo>
                <a:lnTo>
                  <a:pt x="4252" y="5024"/>
                </a:lnTo>
                <a:lnTo>
                  <a:pt x="4238" y="5029"/>
                </a:lnTo>
                <a:lnTo>
                  <a:pt x="4224" y="5032"/>
                </a:lnTo>
                <a:lnTo>
                  <a:pt x="4224" y="5032"/>
                </a:lnTo>
                <a:lnTo>
                  <a:pt x="4216" y="5033"/>
                </a:lnTo>
                <a:lnTo>
                  <a:pt x="4208" y="5033"/>
                </a:lnTo>
                <a:lnTo>
                  <a:pt x="4198" y="5032"/>
                </a:lnTo>
                <a:lnTo>
                  <a:pt x="4188" y="5030"/>
                </a:lnTo>
                <a:lnTo>
                  <a:pt x="4168" y="5025"/>
                </a:lnTo>
                <a:lnTo>
                  <a:pt x="4145" y="5017"/>
                </a:lnTo>
                <a:lnTo>
                  <a:pt x="4123" y="5006"/>
                </a:lnTo>
                <a:lnTo>
                  <a:pt x="4099" y="4995"/>
                </a:lnTo>
                <a:lnTo>
                  <a:pt x="4051" y="4973"/>
                </a:lnTo>
                <a:lnTo>
                  <a:pt x="4028" y="4961"/>
                </a:lnTo>
                <a:lnTo>
                  <a:pt x="4005" y="4952"/>
                </a:lnTo>
                <a:lnTo>
                  <a:pt x="3984" y="4945"/>
                </a:lnTo>
                <a:lnTo>
                  <a:pt x="3964" y="4940"/>
                </a:lnTo>
                <a:lnTo>
                  <a:pt x="3955" y="4939"/>
                </a:lnTo>
                <a:lnTo>
                  <a:pt x="3947" y="4938"/>
                </a:lnTo>
                <a:lnTo>
                  <a:pt x="3939" y="4939"/>
                </a:lnTo>
                <a:lnTo>
                  <a:pt x="3932" y="4940"/>
                </a:lnTo>
                <a:lnTo>
                  <a:pt x="3924" y="4943"/>
                </a:lnTo>
                <a:lnTo>
                  <a:pt x="3919" y="4947"/>
                </a:lnTo>
                <a:lnTo>
                  <a:pt x="3914" y="4952"/>
                </a:lnTo>
                <a:lnTo>
                  <a:pt x="3909" y="4958"/>
                </a:lnTo>
                <a:lnTo>
                  <a:pt x="3909" y="4958"/>
                </a:lnTo>
                <a:lnTo>
                  <a:pt x="3905" y="4965"/>
                </a:lnTo>
                <a:lnTo>
                  <a:pt x="3900" y="4973"/>
                </a:lnTo>
                <a:lnTo>
                  <a:pt x="3893" y="4979"/>
                </a:lnTo>
                <a:lnTo>
                  <a:pt x="3886" y="4985"/>
                </a:lnTo>
                <a:lnTo>
                  <a:pt x="3869" y="4996"/>
                </a:lnTo>
                <a:lnTo>
                  <a:pt x="3851" y="5006"/>
                </a:lnTo>
                <a:lnTo>
                  <a:pt x="3810" y="5028"/>
                </a:lnTo>
                <a:lnTo>
                  <a:pt x="3789" y="5039"/>
                </a:lnTo>
                <a:lnTo>
                  <a:pt x="3770" y="5052"/>
                </a:lnTo>
                <a:lnTo>
                  <a:pt x="3761" y="5058"/>
                </a:lnTo>
                <a:lnTo>
                  <a:pt x="3752" y="5067"/>
                </a:lnTo>
                <a:lnTo>
                  <a:pt x="3743" y="5074"/>
                </a:lnTo>
                <a:lnTo>
                  <a:pt x="3735" y="5083"/>
                </a:lnTo>
                <a:lnTo>
                  <a:pt x="3728" y="5092"/>
                </a:lnTo>
                <a:lnTo>
                  <a:pt x="3722" y="5102"/>
                </a:lnTo>
                <a:lnTo>
                  <a:pt x="3717" y="5113"/>
                </a:lnTo>
                <a:lnTo>
                  <a:pt x="3713" y="5125"/>
                </a:lnTo>
                <a:lnTo>
                  <a:pt x="3710" y="5137"/>
                </a:lnTo>
                <a:lnTo>
                  <a:pt x="3708" y="5151"/>
                </a:lnTo>
                <a:lnTo>
                  <a:pt x="3707" y="5165"/>
                </a:lnTo>
                <a:lnTo>
                  <a:pt x="3707" y="5181"/>
                </a:lnTo>
                <a:lnTo>
                  <a:pt x="3709" y="5198"/>
                </a:lnTo>
                <a:lnTo>
                  <a:pt x="3713" y="5215"/>
                </a:lnTo>
                <a:lnTo>
                  <a:pt x="3718" y="5234"/>
                </a:lnTo>
                <a:lnTo>
                  <a:pt x="3724" y="5255"/>
                </a:lnTo>
                <a:lnTo>
                  <a:pt x="3724" y="5255"/>
                </a:lnTo>
                <a:lnTo>
                  <a:pt x="3741" y="5234"/>
                </a:lnTo>
                <a:lnTo>
                  <a:pt x="3759" y="5213"/>
                </a:lnTo>
                <a:lnTo>
                  <a:pt x="3776" y="5194"/>
                </a:lnTo>
                <a:lnTo>
                  <a:pt x="3794" y="5178"/>
                </a:lnTo>
                <a:lnTo>
                  <a:pt x="3802" y="5171"/>
                </a:lnTo>
                <a:lnTo>
                  <a:pt x="3811" y="5165"/>
                </a:lnTo>
                <a:lnTo>
                  <a:pt x="3819" y="5159"/>
                </a:lnTo>
                <a:lnTo>
                  <a:pt x="3827" y="5155"/>
                </a:lnTo>
                <a:lnTo>
                  <a:pt x="3835" y="5153"/>
                </a:lnTo>
                <a:lnTo>
                  <a:pt x="3843" y="5151"/>
                </a:lnTo>
                <a:lnTo>
                  <a:pt x="3850" y="5151"/>
                </a:lnTo>
                <a:lnTo>
                  <a:pt x="3857" y="5153"/>
                </a:lnTo>
                <a:lnTo>
                  <a:pt x="3857" y="5153"/>
                </a:lnTo>
                <a:lnTo>
                  <a:pt x="3861" y="5155"/>
                </a:lnTo>
                <a:lnTo>
                  <a:pt x="3864" y="5157"/>
                </a:lnTo>
                <a:lnTo>
                  <a:pt x="3870" y="5163"/>
                </a:lnTo>
                <a:lnTo>
                  <a:pt x="3875" y="5171"/>
                </a:lnTo>
                <a:lnTo>
                  <a:pt x="3879" y="5179"/>
                </a:lnTo>
                <a:lnTo>
                  <a:pt x="3888" y="5200"/>
                </a:lnTo>
                <a:lnTo>
                  <a:pt x="3894" y="5210"/>
                </a:lnTo>
                <a:lnTo>
                  <a:pt x="3901" y="5220"/>
                </a:lnTo>
                <a:lnTo>
                  <a:pt x="3901" y="5220"/>
                </a:lnTo>
                <a:lnTo>
                  <a:pt x="3904" y="5223"/>
                </a:lnTo>
                <a:lnTo>
                  <a:pt x="3908" y="5225"/>
                </a:lnTo>
                <a:lnTo>
                  <a:pt x="3913" y="5227"/>
                </a:lnTo>
                <a:lnTo>
                  <a:pt x="3919" y="5228"/>
                </a:lnTo>
                <a:lnTo>
                  <a:pt x="3934" y="5230"/>
                </a:lnTo>
                <a:lnTo>
                  <a:pt x="3950" y="5230"/>
                </a:lnTo>
                <a:lnTo>
                  <a:pt x="3968" y="5229"/>
                </a:lnTo>
                <a:lnTo>
                  <a:pt x="3989" y="5227"/>
                </a:lnTo>
                <a:lnTo>
                  <a:pt x="4032" y="5223"/>
                </a:lnTo>
                <a:lnTo>
                  <a:pt x="4074" y="5219"/>
                </a:lnTo>
                <a:lnTo>
                  <a:pt x="4093" y="5217"/>
                </a:lnTo>
                <a:lnTo>
                  <a:pt x="4110" y="5217"/>
                </a:lnTo>
                <a:lnTo>
                  <a:pt x="4126" y="5217"/>
                </a:lnTo>
                <a:lnTo>
                  <a:pt x="4137" y="5219"/>
                </a:lnTo>
                <a:lnTo>
                  <a:pt x="4142" y="5221"/>
                </a:lnTo>
                <a:lnTo>
                  <a:pt x="4146" y="5223"/>
                </a:lnTo>
                <a:lnTo>
                  <a:pt x="4148" y="5225"/>
                </a:lnTo>
                <a:lnTo>
                  <a:pt x="4150" y="5228"/>
                </a:lnTo>
                <a:lnTo>
                  <a:pt x="4150" y="5228"/>
                </a:lnTo>
                <a:lnTo>
                  <a:pt x="4151" y="5231"/>
                </a:lnTo>
                <a:lnTo>
                  <a:pt x="4150" y="5234"/>
                </a:lnTo>
                <a:lnTo>
                  <a:pt x="4149" y="5236"/>
                </a:lnTo>
                <a:lnTo>
                  <a:pt x="4148" y="5238"/>
                </a:lnTo>
                <a:lnTo>
                  <a:pt x="4143" y="5242"/>
                </a:lnTo>
                <a:lnTo>
                  <a:pt x="4136" y="5243"/>
                </a:lnTo>
                <a:lnTo>
                  <a:pt x="4118" y="5246"/>
                </a:lnTo>
                <a:lnTo>
                  <a:pt x="4100" y="5248"/>
                </a:lnTo>
                <a:lnTo>
                  <a:pt x="4100" y="5248"/>
                </a:lnTo>
                <a:lnTo>
                  <a:pt x="4021" y="5262"/>
                </a:lnTo>
                <a:lnTo>
                  <a:pt x="3981" y="5269"/>
                </a:lnTo>
                <a:lnTo>
                  <a:pt x="3943" y="5277"/>
                </a:lnTo>
                <a:lnTo>
                  <a:pt x="3925" y="5282"/>
                </a:lnTo>
                <a:lnTo>
                  <a:pt x="3909" y="5288"/>
                </a:lnTo>
                <a:lnTo>
                  <a:pt x="3894" y="5294"/>
                </a:lnTo>
                <a:lnTo>
                  <a:pt x="3881" y="5300"/>
                </a:lnTo>
                <a:lnTo>
                  <a:pt x="3869" y="5306"/>
                </a:lnTo>
                <a:lnTo>
                  <a:pt x="3860" y="5314"/>
                </a:lnTo>
                <a:lnTo>
                  <a:pt x="3853" y="5322"/>
                </a:lnTo>
                <a:lnTo>
                  <a:pt x="3850" y="5326"/>
                </a:lnTo>
                <a:lnTo>
                  <a:pt x="3848" y="5331"/>
                </a:lnTo>
                <a:lnTo>
                  <a:pt x="3848" y="5331"/>
                </a:lnTo>
                <a:lnTo>
                  <a:pt x="3846" y="5338"/>
                </a:lnTo>
                <a:lnTo>
                  <a:pt x="3846" y="5342"/>
                </a:lnTo>
                <a:lnTo>
                  <a:pt x="3847" y="5352"/>
                </a:lnTo>
                <a:lnTo>
                  <a:pt x="3847" y="5357"/>
                </a:lnTo>
                <a:lnTo>
                  <a:pt x="3846" y="5363"/>
                </a:lnTo>
                <a:lnTo>
                  <a:pt x="3845" y="5371"/>
                </a:lnTo>
                <a:lnTo>
                  <a:pt x="3842" y="5382"/>
                </a:lnTo>
                <a:lnTo>
                  <a:pt x="3842" y="5382"/>
                </a:lnTo>
                <a:lnTo>
                  <a:pt x="3837" y="5393"/>
                </a:lnTo>
                <a:lnTo>
                  <a:pt x="3831" y="5402"/>
                </a:lnTo>
                <a:lnTo>
                  <a:pt x="3823" y="5410"/>
                </a:lnTo>
                <a:lnTo>
                  <a:pt x="3815" y="5418"/>
                </a:lnTo>
                <a:lnTo>
                  <a:pt x="3796" y="5434"/>
                </a:lnTo>
                <a:lnTo>
                  <a:pt x="3786" y="5442"/>
                </a:lnTo>
                <a:lnTo>
                  <a:pt x="3776" y="5451"/>
                </a:lnTo>
                <a:lnTo>
                  <a:pt x="3767" y="5460"/>
                </a:lnTo>
                <a:lnTo>
                  <a:pt x="3758" y="5472"/>
                </a:lnTo>
                <a:lnTo>
                  <a:pt x="3750" y="5485"/>
                </a:lnTo>
                <a:lnTo>
                  <a:pt x="3742" y="5499"/>
                </a:lnTo>
                <a:lnTo>
                  <a:pt x="3736" y="5517"/>
                </a:lnTo>
                <a:lnTo>
                  <a:pt x="3732" y="5536"/>
                </a:lnTo>
                <a:lnTo>
                  <a:pt x="3730" y="5558"/>
                </a:lnTo>
                <a:lnTo>
                  <a:pt x="3730" y="5584"/>
                </a:lnTo>
                <a:lnTo>
                  <a:pt x="3730" y="5584"/>
                </a:lnTo>
                <a:lnTo>
                  <a:pt x="3732" y="5597"/>
                </a:lnTo>
                <a:lnTo>
                  <a:pt x="3735" y="5610"/>
                </a:lnTo>
                <a:lnTo>
                  <a:pt x="3739" y="5622"/>
                </a:lnTo>
                <a:lnTo>
                  <a:pt x="3744" y="5634"/>
                </a:lnTo>
                <a:lnTo>
                  <a:pt x="3751" y="5644"/>
                </a:lnTo>
                <a:lnTo>
                  <a:pt x="3757" y="5656"/>
                </a:lnTo>
                <a:lnTo>
                  <a:pt x="3763" y="5665"/>
                </a:lnTo>
                <a:lnTo>
                  <a:pt x="3770" y="5674"/>
                </a:lnTo>
                <a:lnTo>
                  <a:pt x="3784" y="5689"/>
                </a:lnTo>
                <a:lnTo>
                  <a:pt x="3797" y="5701"/>
                </a:lnTo>
                <a:lnTo>
                  <a:pt x="3807" y="5708"/>
                </a:lnTo>
                <a:lnTo>
                  <a:pt x="3810" y="5710"/>
                </a:lnTo>
                <a:lnTo>
                  <a:pt x="3813" y="5711"/>
                </a:lnTo>
                <a:lnTo>
                  <a:pt x="3813" y="5711"/>
                </a:lnTo>
                <a:lnTo>
                  <a:pt x="3814" y="5710"/>
                </a:lnTo>
                <a:lnTo>
                  <a:pt x="3815" y="5709"/>
                </a:lnTo>
                <a:lnTo>
                  <a:pt x="3816" y="5704"/>
                </a:lnTo>
                <a:lnTo>
                  <a:pt x="3818" y="5696"/>
                </a:lnTo>
                <a:lnTo>
                  <a:pt x="3818" y="5686"/>
                </a:lnTo>
                <a:lnTo>
                  <a:pt x="3820" y="5662"/>
                </a:lnTo>
                <a:lnTo>
                  <a:pt x="3823" y="5633"/>
                </a:lnTo>
                <a:lnTo>
                  <a:pt x="3825" y="5619"/>
                </a:lnTo>
                <a:lnTo>
                  <a:pt x="3828" y="5603"/>
                </a:lnTo>
                <a:lnTo>
                  <a:pt x="3831" y="5590"/>
                </a:lnTo>
                <a:lnTo>
                  <a:pt x="3836" y="5577"/>
                </a:lnTo>
                <a:lnTo>
                  <a:pt x="3843" y="5566"/>
                </a:lnTo>
                <a:lnTo>
                  <a:pt x="3847" y="5562"/>
                </a:lnTo>
                <a:lnTo>
                  <a:pt x="3851" y="5556"/>
                </a:lnTo>
                <a:lnTo>
                  <a:pt x="3855" y="5553"/>
                </a:lnTo>
                <a:lnTo>
                  <a:pt x="3860" y="5550"/>
                </a:lnTo>
                <a:lnTo>
                  <a:pt x="3865" y="5547"/>
                </a:lnTo>
                <a:lnTo>
                  <a:pt x="3871" y="5546"/>
                </a:lnTo>
                <a:lnTo>
                  <a:pt x="3871" y="5546"/>
                </a:lnTo>
                <a:lnTo>
                  <a:pt x="3877" y="5545"/>
                </a:lnTo>
                <a:lnTo>
                  <a:pt x="3882" y="5546"/>
                </a:lnTo>
                <a:lnTo>
                  <a:pt x="3888" y="5548"/>
                </a:lnTo>
                <a:lnTo>
                  <a:pt x="3892" y="5552"/>
                </a:lnTo>
                <a:lnTo>
                  <a:pt x="3902" y="5561"/>
                </a:lnTo>
                <a:lnTo>
                  <a:pt x="3911" y="5571"/>
                </a:lnTo>
                <a:lnTo>
                  <a:pt x="3921" y="5581"/>
                </a:lnTo>
                <a:lnTo>
                  <a:pt x="3926" y="5586"/>
                </a:lnTo>
                <a:lnTo>
                  <a:pt x="3933" y="5590"/>
                </a:lnTo>
                <a:lnTo>
                  <a:pt x="3940" y="5594"/>
                </a:lnTo>
                <a:lnTo>
                  <a:pt x="3946" y="5597"/>
                </a:lnTo>
                <a:lnTo>
                  <a:pt x="3954" y="5598"/>
                </a:lnTo>
                <a:lnTo>
                  <a:pt x="3962" y="5599"/>
                </a:lnTo>
                <a:lnTo>
                  <a:pt x="3962" y="5599"/>
                </a:lnTo>
                <a:lnTo>
                  <a:pt x="3970" y="5598"/>
                </a:lnTo>
                <a:lnTo>
                  <a:pt x="3979" y="5595"/>
                </a:lnTo>
                <a:lnTo>
                  <a:pt x="3987" y="5592"/>
                </a:lnTo>
                <a:lnTo>
                  <a:pt x="3996" y="5588"/>
                </a:lnTo>
                <a:lnTo>
                  <a:pt x="4005" y="5582"/>
                </a:lnTo>
                <a:lnTo>
                  <a:pt x="4014" y="5576"/>
                </a:lnTo>
                <a:lnTo>
                  <a:pt x="4035" y="5559"/>
                </a:lnTo>
                <a:lnTo>
                  <a:pt x="4055" y="5542"/>
                </a:lnTo>
                <a:lnTo>
                  <a:pt x="4077" y="5522"/>
                </a:lnTo>
                <a:lnTo>
                  <a:pt x="4122" y="5479"/>
                </a:lnTo>
                <a:lnTo>
                  <a:pt x="4144" y="5457"/>
                </a:lnTo>
                <a:lnTo>
                  <a:pt x="4166" y="5437"/>
                </a:lnTo>
                <a:lnTo>
                  <a:pt x="4187" y="5417"/>
                </a:lnTo>
                <a:lnTo>
                  <a:pt x="4208" y="5402"/>
                </a:lnTo>
                <a:lnTo>
                  <a:pt x="4227" y="5389"/>
                </a:lnTo>
                <a:lnTo>
                  <a:pt x="4236" y="5384"/>
                </a:lnTo>
                <a:lnTo>
                  <a:pt x="4245" y="5380"/>
                </a:lnTo>
                <a:lnTo>
                  <a:pt x="4254" y="5376"/>
                </a:lnTo>
                <a:lnTo>
                  <a:pt x="4262" y="5374"/>
                </a:lnTo>
                <a:lnTo>
                  <a:pt x="4270" y="5374"/>
                </a:lnTo>
                <a:lnTo>
                  <a:pt x="4277" y="5375"/>
                </a:lnTo>
                <a:lnTo>
                  <a:pt x="4277" y="5375"/>
                </a:lnTo>
                <a:lnTo>
                  <a:pt x="4278" y="5376"/>
                </a:lnTo>
                <a:lnTo>
                  <a:pt x="4279" y="5379"/>
                </a:lnTo>
                <a:lnTo>
                  <a:pt x="4278" y="5382"/>
                </a:lnTo>
                <a:lnTo>
                  <a:pt x="4277" y="5384"/>
                </a:lnTo>
                <a:lnTo>
                  <a:pt x="4272" y="5391"/>
                </a:lnTo>
                <a:lnTo>
                  <a:pt x="4264" y="5399"/>
                </a:lnTo>
                <a:lnTo>
                  <a:pt x="4241" y="5420"/>
                </a:lnTo>
                <a:lnTo>
                  <a:pt x="4212" y="5447"/>
                </a:lnTo>
                <a:lnTo>
                  <a:pt x="4181" y="5477"/>
                </a:lnTo>
                <a:lnTo>
                  <a:pt x="4167" y="5492"/>
                </a:lnTo>
                <a:lnTo>
                  <a:pt x="4152" y="5508"/>
                </a:lnTo>
                <a:lnTo>
                  <a:pt x="4140" y="5525"/>
                </a:lnTo>
                <a:lnTo>
                  <a:pt x="4129" y="5542"/>
                </a:lnTo>
                <a:lnTo>
                  <a:pt x="4121" y="5558"/>
                </a:lnTo>
                <a:lnTo>
                  <a:pt x="4118" y="5567"/>
                </a:lnTo>
                <a:lnTo>
                  <a:pt x="4116" y="5576"/>
                </a:lnTo>
                <a:lnTo>
                  <a:pt x="4116" y="5576"/>
                </a:lnTo>
                <a:lnTo>
                  <a:pt x="4114" y="5588"/>
                </a:lnTo>
                <a:lnTo>
                  <a:pt x="4114" y="5599"/>
                </a:lnTo>
                <a:lnTo>
                  <a:pt x="4115" y="5611"/>
                </a:lnTo>
                <a:lnTo>
                  <a:pt x="4119" y="5620"/>
                </a:lnTo>
                <a:lnTo>
                  <a:pt x="4123" y="5628"/>
                </a:lnTo>
                <a:lnTo>
                  <a:pt x="4129" y="5636"/>
                </a:lnTo>
                <a:lnTo>
                  <a:pt x="4135" y="5643"/>
                </a:lnTo>
                <a:lnTo>
                  <a:pt x="4142" y="5649"/>
                </a:lnTo>
                <a:lnTo>
                  <a:pt x="4157" y="5663"/>
                </a:lnTo>
                <a:lnTo>
                  <a:pt x="4163" y="5669"/>
                </a:lnTo>
                <a:lnTo>
                  <a:pt x="4169" y="5676"/>
                </a:lnTo>
                <a:lnTo>
                  <a:pt x="4175" y="5683"/>
                </a:lnTo>
                <a:lnTo>
                  <a:pt x="4179" y="5690"/>
                </a:lnTo>
                <a:lnTo>
                  <a:pt x="4182" y="5699"/>
                </a:lnTo>
                <a:lnTo>
                  <a:pt x="4183" y="5708"/>
                </a:lnTo>
                <a:lnTo>
                  <a:pt x="4183" y="5708"/>
                </a:lnTo>
                <a:lnTo>
                  <a:pt x="4184" y="5718"/>
                </a:lnTo>
                <a:lnTo>
                  <a:pt x="4186" y="5729"/>
                </a:lnTo>
                <a:lnTo>
                  <a:pt x="4189" y="5738"/>
                </a:lnTo>
                <a:lnTo>
                  <a:pt x="4193" y="5749"/>
                </a:lnTo>
                <a:lnTo>
                  <a:pt x="4198" y="5758"/>
                </a:lnTo>
                <a:lnTo>
                  <a:pt x="4205" y="5767"/>
                </a:lnTo>
                <a:lnTo>
                  <a:pt x="4212" y="5775"/>
                </a:lnTo>
                <a:lnTo>
                  <a:pt x="4220" y="5783"/>
                </a:lnTo>
                <a:lnTo>
                  <a:pt x="4228" y="5792"/>
                </a:lnTo>
                <a:lnTo>
                  <a:pt x="4237" y="5799"/>
                </a:lnTo>
                <a:lnTo>
                  <a:pt x="4257" y="5812"/>
                </a:lnTo>
                <a:lnTo>
                  <a:pt x="4278" y="5824"/>
                </a:lnTo>
                <a:lnTo>
                  <a:pt x="4300" y="5835"/>
                </a:lnTo>
                <a:lnTo>
                  <a:pt x="4322" y="5844"/>
                </a:lnTo>
                <a:lnTo>
                  <a:pt x="4344" y="5852"/>
                </a:lnTo>
                <a:lnTo>
                  <a:pt x="4364" y="5857"/>
                </a:lnTo>
                <a:lnTo>
                  <a:pt x="4382" y="5862"/>
                </a:lnTo>
                <a:lnTo>
                  <a:pt x="4399" y="5864"/>
                </a:lnTo>
                <a:lnTo>
                  <a:pt x="4412" y="5865"/>
                </a:lnTo>
                <a:lnTo>
                  <a:pt x="4421" y="5865"/>
                </a:lnTo>
                <a:lnTo>
                  <a:pt x="4424" y="5864"/>
                </a:lnTo>
                <a:lnTo>
                  <a:pt x="4426" y="5863"/>
                </a:lnTo>
                <a:lnTo>
                  <a:pt x="4426" y="5863"/>
                </a:lnTo>
                <a:lnTo>
                  <a:pt x="4427" y="5861"/>
                </a:lnTo>
                <a:lnTo>
                  <a:pt x="4427" y="5859"/>
                </a:lnTo>
                <a:lnTo>
                  <a:pt x="4425" y="5853"/>
                </a:lnTo>
                <a:lnTo>
                  <a:pt x="4420" y="5846"/>
                </a:lnTo>
                <a:lnTo>
                  <a:pt x="4412" y="5836"/>
                </a:lnTo>
                <a:lnTo>
                  <a:pt x="4393" y="5813"/>
                </a:lnTo>
                <a:lnTo>
                  <a:pt x="4369" y="5786"/>
                </a:lnTo>
                <a:lnTo>
                  <a:pt x="4358" y="5773"/>
                </a:lnTo>
                <a:lnTo>
                  <a:pt x="4348" y="5759"/>
                </a:lnTo>
                <a:lnTo>
                  <a:pt x="4339" y="5745"/>
                </a:lnTo>
                <a:lnTo>
                  <a:pt x="4330" y="5731"/>
                </a:lnTo>
                <a:lnTo>
                  <a:pt x="4325" y="5718"/>
                </a:lnTo>
                <a:lnTo>
                  <a:pt x="4324" y="5712"/>
                </a:lnTo>
                <a:lnTo>
                  <a:pt x="4323" y="5706"/>
                </a:lnTo>
                <a:lnTo>
                  <a:pt x="4323" y="5700"/>
                </a:lnTo>
                <a:lnTo>
                  <a:pt x="4324" y="5694"/>
                </a:lnTo>
                <a:lnTo>
                  <a:pt x="4326" y="5689"/>
                </a:lnTo>
                <a:lnTo>
                  <a:pt x="4329" y="5684"/>
                </a:lnTo>
                <a:lnTo>
                  <a:pt x="4329" y="5684"/>
                </a:lnTo>
                <a:lnTo>
                  <a:pt x="4333" y="5680"/>
                </a:lnTo>
                <a:lnTo>
                  <a:pt x="4337" y="5677"/>
                </a:lnTo>
                <a:lnTo>
                  <a:pt x="4343" y="5676"/>
                </a:lnTo>
                <a:lnTo>
                  <a:pt x="4347" y="5675"/>
                </a:lnTo>
                <a:lnTo>
                  <a:pt x="4352" y="5675"/>
                </a:lnTo>
                <a:lnTo>
                  <a:pt x="4358" y="5676"/>
                </a:lnTo>
                <a:lnTo>
                  <a:pt x="4370" y="5678"/>
                </a:lnTo>
                <a:lnTo>
                  <a:pt x="4384" y="5681"/>
                </a:lnTo>
                <a:lnTo>
                  <a:pt x="4392" y="5682"/>
                </a:lnTo>
                <a:lnTo>
                  <a:pt x="4399" y="5682"/>
                </a:lnTo>
                <a:lnTo>
                  <a:pt x="4408" y="5682"/>
                </a:lnTo>
                <a:lnTo>
                  <a:pt x="4416" y="5681"/>
                </a:lnTo>
                <a:lnTo>
                  <a:pt x="4425" y="5679"/>
                </a:lnTo>
                <a:lnTo>
                  <a:pt x="4436" y="5675"/>
                </a:lnTo>
                <a:lnTo>
                  <a:pt x="4436" y="5675"/>
                </a:lnTo>
                <a:lnTo>
                  <a:pt x="4437" y="5673"/>
                </a:lnTo>
                <a:lnTo>
                  <a:pt x="4438" y="5670"/>
                </a:lnTo>
                <a:lnTo>
                  <a:pt x="4438" y="5663"/>
                </a:lnTo>
                <a:lnTo>
                  <a:pt x="4436" y="5652"/>
                </a:lnTo>
                <a:lnTo>
                  <a:pt x="4434" y="5637"/>
                </a:lnTo>
                <a:lnTo>
                  <a:pt x="4431" y="5621"/>
                </a:lnTo>
                <a:lnTo>
                  <a:pt x="4428" y="5602"/>
                </a:lnTo>
                <a:lnTo>
                  <a:pt x="4426" y="5581"/>
                </a:lnTo>
                <a:lnTo>
                  <a:pt x="4426" y="5557"/>
                </a:lnTo>
                <a:lnTo>
                  <a:pt x="4428" y="5533"/>
                </a:lnTo>
                <a:lnTo>
                  <a:pt x="4431" y="5520"/>
                </a:lnTo>
                <a:lnTo>
                  <a:pt x="4434" y="5505"/>
                </a:lnTo>
                <a:lnTo>
                  <a:pt x="4437" y="5492"/>
                </a:lnTo>
                <a:lnTo>
                  <a:pt x="4441" y="5477"/>
                </a:lnTo>
                <a:lnTo>
                  <a:pt x="4446" y="5462"/>
                </a:lnTo>
                <a:lnTo>
                  <a:pt x="4453" y="5447"/>
                </a:lnTo>
                <a:lnTo>
                  <a:pt x="4460" y="5432"/>
                </a:lnTo>
                <a:lnTo>
                  <a:pt x="4469" y="5416"/>
                </a:lnTo>
                <a:lnTo>
                  <a:pt x="4479" y="5400"/>
                </a:lnTo>
                <a:lnTo>
                  <a:pt x="4490" y="5384"/>
                </a:lnTo>
                <a:lnTo>
                  <a:pt x="4503" y="5367"/>
                </a:lnTo>
                <a:lnTo>
                  <a:pt x="4516" y="5351"/>
                </a:lnTo>
                <a:lnTo>
                  <a:pt x="4533" y="5334"/>
                </a:lnTo>
                <a:lnTo>
                  <a:pt x="4550" y="5317"/>
                </a:lnTo>
                <a:lnTo>
                  <a:pt x="4550" y="5317"/>
                </a:lnTo>
                <a:lnTo>
                  <a:pt x="4557" y="5328"/>
                </a:lnTo>
                <a:lnTo>
                  <a:pt x="4566" y="5340"/>
                </a:lnTo>
                <a:lnTo>
                  <a:pt x="4578" y="5353"/>
                </a:lnTo>
                <a:lnTo>
                  <a:pt x="4586" y="5360"/>
                </a:lnTo>
                <a:lnTo>
                  <a:pt x="4594" y="5367"/>
                </a:lnTo>
                <a:lnTo>
                  <a:pt x="4603" y="5373"/>
                </a:lnTo>
                <a:lnTo>
                  <a:pt x="4614" y="5381"/>
                </a:lnTo>
                <a:lnTo>
                  <a:pt x="4624" y="5386"/>
                </a:lnTo>
                <a:lnTo>
                  <a:pt x="4636" y="5390"/>
                </a:lnTo>
                <a:lnTo>
                  <a:pt x="4648" y="5394"/>
                </a:lnTo>
                <a:lnTo>
                  <a:pt x="4662" y="5396"/>
                </a:lnTo>
                <a:lnTo>
                  <a:pt x="4662" y="5396"/>
                </a:lnTo>
                <a:lnTo>
                  <a:pt x="4668" y="5397"/>
                </a:lnTo>
                <a:lnTo>
                  <a:pt x="4673" y="5399"/>
                </a:lnTo>
                <a:lnTo>
                  <a:pt x="4677" y="5402"/>
                </a:lnTo>
                <a:lnTo>
                  <a:pt x="4681" y="5405"/>
                </a:lnTo>
                <a:lnTo>
                  <a:pt x="4685" y="5409"/>
                </a:lnTo>
                <a:lnTo>
                  <a:pt x="4688" y="5413"/>
                </a:lnTo>
                <a:lnTo>
                  <a:pt x="4692" y="5425"/>
                </a:lnTo>
                <a:lnTo>
                  <a:pt x="4696" y="5437"/>
                </a:lnTo>
                <a:lnTo>
                  <a:pt x="4698" y="5450"/>
                </a:lnTo>
                <a:lnTo>
                  <a:pt x="4698" y="5463"/>
                </a:lnTo>
                <a:lnTo>
                  <a:pt x="4698" y="5478"/>
                </a:lnTo>
                <a:lnTo>
                  <a:pt x="4696" y="5506"/>
                </a:lnTo>
                <a:lnTo>
                  <a:pt x="4694" y="5531"/>
                </a:lnTo>
                <a:lnTo>
                  <a:pt x="4692" y="5548"/>
                </a:lnTo>
                <a:lnTo>
                  <a:pt x="4692" y="5553"/>
                </a:lnTo>
                <a:lnTo>
                  <a:pt x="4693" y="5554"/>
                </a:lnTo>
                <a:lnTo>
                  <a:pt x="4694" y="5554"/>
                </a:lnTo>
                <a:lnTo>
                  <a:pt x="4694" y="5554"/>
                </a:lnTo>
                <a:lnTo>
                  <a:pt x="4697" y="5553"/>
                </a:lnTo>
                <a:lnTo>
                  <a:pt x="4702" y="5550"/>
                </a:lnTo>
                <a:lnTo>
                  <a:pt x="4708" y="5545"/>
                </a:lnTo>
                <a:lnTo>
                  <a:pt x="4714" y="5538"/>
                </a:lnTo>
                <a:lnTo>
                  <a:pt x="4721" y="5529"/>
                </a:lnTo>
                <a:lnTo>
                  <a:pt x="4729" y="5519"/>
                </a:lnTo>
                <a:lnTo>
                  <a:pt x="4736" y="5505"/>
                </a:lnTo>
                <a:lnTo>
                  <a:pt x="4743" y="5492"/>
                </a:lnTo>
                <a:lnTo>
                  <a:pt x="4751" y="5477"/>
                </a:lnTo>
                <a:lnTo>
                  <a:pt x="4758" y="5459"/>
                </a:lnTo>
                <a:lnTo>
                  <a:pt x="4763" y="5442"/>
                </a:lnTo>
                <a:lnTo>
                  <a:pt x="4768" y="5422"/>
                </a:lnTo>
                <a:lnTo>
                  <a:pt x="4771" y="5402"/>
                </a:lnTo>
                <a:lnTo>
                  <a:pt x="4773" y="5382"/>
                </a:lnTo>
                <a:lnTo>
                  <a:pt x="4772" y="5360"/>
                </a:lnTo>
                <a:lnTo>
                  <a:pt x="4770" y="5338"/>
                </a:lnTo>
                <a:lnTo>
                  <a:pt x="4770" y="5338"/>
                </a:lnTo>
                <a:lnTo>
                  <a:pt x="4778" y="5330"/>
                </a:lnTo>
                <a:lnTo>
                  <a:pt x="4798" y="5313"/>
                </a:lnTo>
                <a:lnTo>
                  <a:pt x="4809" y="5302"/>
                </a:lnTo>
                <a:lnTo>
                  <a:pt x="4819" y="5290"/>
                </a:lnTo>
                <a:lnTo>
                  <a:pt x="4827" y="5276"/>
                </a:lnTo>
                <a:lnTo>
                  <a:pt x="4830" y="5270"/>
                </a:lnTo>
                <a:lnTo>
                  <a:pt x="4832" y="5264"/>
                </a:lnTo>
                <a:lnTo>
                  <a:pt x="4832" y="5264"/>
                </a:lnTo>
                <a:lnTo>
                  <a:pt x="4834" y="5255"/>
                </a:lnTo>
                <a:lnTo>
                  <a:pt x="4835" y="5246"/>
                </a:lnTo>
                <a:lnTo>
                  <a:pt x="4836" y="5237"/>
                </a:lnTo>
                <a:lnTo>
                  <a:pt x="4835" y="5230"/>
                </a:lnTo>
                <a:lnTo>
                  <a:pt x="4834" y="5224"/>
                </a:lnTo>
                <a:lnTo>
                  <a:pt x="4832" y="5218"/>
                </a:lnTo>
                <a:lnTo>
                  <a:pt x="4830" y="5213"/>
                </a:lnTo>
                <a:lnTo>
                  <a:pt x="4827" y="5208"/>
                </a:lnTo>
                <a:lnTo>
                  <a:pt x="4819" y="5199"/>
                </a:lnTo>
                <a:lnTo>
                  <a:pt x="4810" y="5189"/>
                </a:lnTo>
                <a:lnTo>
                  <a:pt x="4800" y="5180"/>
                </a:lnTo>
                <a:lnTo>
                  <a:pt x="4789" y="5169"/>
                </a:lnTo>
                <a:lnTo>
                  <a:pt x="4778" y="5156"/>
                </a:lnTo>
                <a:lnTo>
                  <a:pt x="4772" y="5148"/>
                </a:lnTo>
                <a:lnTo>
                  <a:pt x="4767" y="5139"/>
                </a:lnTo>
                <a:lnTo>
                  <a:pt x="4762" y="5130"/>
                </a:lnTo>
                <a:lnTo>
                  <a:pt x="4757" y="5120"/>
                </a:lnTo>
                <a:lnTo>
                  <a:pt x="4753" y="5108"/>
                </a:lnTo>
                <a:lnTo>
                  <a:pt x="4749" y="5095"/>
                </a:lnTo>
                <a:lnTo>
                  <a:pt x="4744" y="5081"/>
                </a:lnTo>
                <a:lnTo>
                  <a:pt x="4741" y="5065"/>
                </a:lnTo>
                <a:lnTo>
                  <a:pt x="4738" y="5048"/>
                </a:lnTo>
                <a:lnTo>
                  <a:pt x="4736" y="5029"/>
                </a:lnTo>
                <a:lnTo>
                  <a:pt x="4735" y="5008"/>
                </a:lnTo>
                <a:lnTo>
                  <a:pt x="4734" y="4986"/>
                </a:lnTo>
                <a:lnTo>
                  <a:pt x="4734" y="4961"/>
                </a:lnTo>
                <a:lnTo>
                  <a:pt x="4735" y="4935"/>
                </a:lnTo>
                <a:lnTo>
                  <a:pt x="4735" y="4935"/>
                </a:lnTo>
                <a:lnTo>
                  <a:pt x="4735" y="4917"/>
                </a:lnTo>
                <a:lnTo>
                  <a:pt x="4734" y="4911"/>
                </a:lnTo>
                <a:lnTo>
                  <a:pt x="4733" y="4906"/>
                </a:lnTo>
                <a:lnTo>
                  <a:pt x="4731" y="4901"/>
                </a:lnTo>
                <a:lnTo>
                  <a:pt x="4729" y="4897"/>
                </a:lnTo>
                <a:lnTo>
                  <a:pt x="4727" y="4894"/>
                </a:lnTo>
                <a:lnTo>
                  <a:pt x="4724" y="4891"/>
                </a:lnTo>
                <a:lnTo>
                  <a:pt x="4716" y="4885"/>
                </a:lnTo>
                <a:lnTo>
                  <a:pt x="4706" y="4878"/>
                </a:lnTo>
                <a:lnTo>
                  <a:pt x="4693" y="4868"/>
                </a:lnTo>
                <a:lnTo>
                  <a:pt x="4679" y="4856"/>
                </a:lnTo>
                <a:lnTo>
                  <a:pt x="4679" y="4856"/>
                </a:lnTo>
                <a:lnTo>
                  <a:pt x="4671" y="4846"/>
                </a:lnTo>
                <a:lnTo>
                  <a:pt x="4664" y="4836"/>
                </a:lnTo>
                <a:lnTo>
                  <a:pt x="4659" y="4825"/>
                </a:lnTo>
                <a:lnTo>
                  <a:pt x="4655" y="4815"/>
                </a:lnTo>
                <a:lnTo>
                  <a:pt x="4654" y="4807"/>
                </a:lnTo>
                <a:lnTo>
                  <a:pt x="4654" y="4804"/>
                </a:lnTo>
                <a:lnTo>
                  <a:pt x="4654" y="4802"/>
                </a:lnTo>
                <a:lnTo>
                  <a:pt x="4657" y="4800"/>
                </a:lnTo>
                <a:lnTo>
                  <a:pt x="4659" y="4799"/>
                </a:lnTo>
                <a:lnTo>
                  <a:pt x="4661" y="4799"/>
                </a:lnTo>
                <a:lnTo>
                  <a:pt x="4665" y="4800"/>
                </a:lnTo>
                <a:lnTo>
                  <a:pt x="4665" y="4800"/>
                </a:lnTo>
                <a:lnTo>
                  <a:pt x="4679" y="4806"/>
                </a:lnTo>
                <a:lnTo>
                  <a:pt x="4693" y="4810"/>
                </a:lnTo>
                <a:lnTo>
                  <a:pt x="4708" y="4813"/>
                </a:lnTo>
                <a:lnTo>
                  <a:pt x="4723" y="4814"/>
                </a:lnTo>
                <a:lnTo>
                  <a:pt x="4737" y="4815"/>
                </a:lnTo>
                <a:lnTo>
                  <a:pt x="4752" y="4816"/>
                </a:lnTo>
                <a:lnTo>
                  <a:pt x="4765" y="4815"/>
                </a:lnTo>
                <a:lnTo>
                  <a:pt x="4778" y="4814"/>
                </a:lnTo>
                <a:lnTo>
                  <a:pt x="4802" y="4811"/>
                </a:lnTo>
                <a:lnTo>
                  <a:pt x="4819" y="4807"/>
                </a:lnTo>
                <a:lnTo>
                  <a:pt x="4835" y="4803"/>
                </a:lnTo>
                <a:lnTo>
                  <a:pt x="4835" y="4803"/>
                </a:lnTo>
                <a:lnTo>
                  <a:pt x="4844" y="4707"/>
                </a:lnTo>
                <a:lnTo>
                  <a:pt x="4849" y="4632"/>
                </a:lnTo>
                <a:lnTo>
                  <a:pt x="4851" y="4577"/>
                </a:lnTo>
                <a:lnTo>
                  <a:pt x="4851" y="4539"/>
                </a:lnTo>
                <a:lnTo>
                  <a:pt x="4849" y="4514"/>
                </a:lnTo>
                <a:lnTo>
                  <a:pt x="4847" y="4499"/>
                </a:lnTo>
                <a:lnTo>
                  <a:pt x="4845" y="4493"/>
                </a:lnTo>
                <a:lnTo>
                  <a:pt x="4844" y="4491"/>
                </a:lnTo>
                <a:lnTo>
                  <a:pt x="4844" y="4491"/>
                </a:lnTo>
                <a:lnTo>
                  <a:pt x="4825" y="4492"/>
                </a:lnTo>
                <a:lnTo>
                  <a:pt x="4808" y="4491"/>
                </a:lnTo>
                <a:lnTo>
                  <a:pt x="4791" y="4490"/>
                </a:lnTo>
                <a:lnTo>
                  <a:pt x="4776" y="4489"/>
                </a:lnTo>
                <a:lnTo>
                  <a:pt x="4763" y="4487"/>
                </a:lnTo>
                <a:lnTo>
                  <a:pt x="4750" y="4484"/>
                </a:lnTo>
                <a:lnTo>
                  <a:pt x="4737" y="4481"/>
                </a:lnTo>
                <a:lnTo>
                  <a:pt x="4726" y="4477"/>
                </a:lnTo>
                <a:lnTo>
                  <a:pt x="4716" y="4473"/>
                </a:lnTo>
                <a:lnTo>
                  <a:pt x="4707" y="4469"/>
                </a:lnTo>
                <a:lnTo>
                  <a:pt x="4698" y="4463"/>
                </a:lnTo>
                <a:lnTo>
                  <a:pt x="4690" y="4458"/>
                </a:lnTo>
                <a:lnTo>
                  <a:pt x="4683" y="4452"/>
                </a:lnTo>
                <a:lnTo>
                  <a:pt x="4676" y="4447"/>
                </a:lnTo>
                <a:lnTo>
                  <a:pt x="4665" y="4434"/>
                </a:lnTo>
                <a:lnTo>
                  <a:pt x="4665" y="4434"/>
                </a:lnTo>
                <a:lnTo>
                  <a:pt x="4677" y="4437"/>
                </a:lnTo>
                <a:lnTo>
                  <a:pt x="4690" y="4439"/>
                </a:lnTo>
                <a:lnTo>
                  <a:pt x="4717" y="4441"/>
                </a:lnTo>
                <a:lnTo>
                  <a:pt x="4742" y="4441"/>
                </a:lnTo>
                <a:lnTo>
                  <a:pt x="4768" y="4439"/>
                </a:lnTo>
                <a:lnTo>
                  <a:pt x="4790" y="4435"/>
                </a:lnTo>
                <a:lnTo>
                  <a:pt x="4812" y="4429"/>
                </a:lnTo>
                <a:lnTo>
                  <a:pt x="4821" y="4426"/>
                </a:lnTo>
                <a:lnTo>
                  <a:pt x="4829" y="4422"/>
                </a:lnTo>
                <a:lnTo>
                  <a:pt x="4838" y="4416"/>
                </a:lnTo>
                <a:lnTo>
                  <a:pt x="4844" y="4412"/>
                </a:lnTo>
                <a:lnTo>
                  <a:pt x="4844" y="4412"/>
                </a:lnTo>
                <a:lnTo>
                  <a:pt x="4843" y="4364"/>
                </a:lnTo>
                <a:lnTo>
                  <a:pt x="4841" y="4316"/>
                </a:lnTo>
                <a:lnTo>
                  <a:pt x="4838" y="4261"/>
                </a:lnTo>
                <a:lnTo>
                  <a:pt x="4833" y="4206"/>
                </a:lnTo>
                <a:lnTo>
                  <a:pt x="4831" y="4181"/>
                </a:lnTo>
                <a:lnTo>
                  <a:pt x="4828" y="4159"/>
                </a:lnTo>
                <a:lnTo>
                  <a:pt x="4825" y="4140"/>
                </a:lnTo>
                <a:lnTo>
                  <a:pt x="4822" y="4126"/>
                </a:lnTo>
                <a:lnTo>
                  <a:pt x="4820" y="4121"/>
                </a:lnTo>
                <a:lnTo>
                  <a:pt x="4818" y="4118"/>
                </a:lnTo>
                <a:lnTo>
                  <a:pt x="4816" y="4116"/>
                </a:lnTo>
                <a:lnTo>
                  <a:pt x="4814" y="4116"/>
                </a:lnTo>
                <a:lnTo>
                  <a:pt x="4814" y="4116"/>
                </a:lnTo>
                <a:lnTo>
                  <a:pt x="4786" y="4123"/>
                </a:lnTo>
                <a:lnTo>
                  <a:pt x="4760" y="4128"/>
                </a:lnTo>
                <a:lnTo>
                  <a:pt x="4746" y="4129"/>
                </a:lnTo>
                <a:lnTo>
                  <a:pt x="4734" y="4130"/>
                </a:lnTo>
                <a:lnTo>
                  <a:pt x="4722" y="4130"/>
                </a:lnTo>
                <a:lnTo>
                  <a:pt x="4711" y="4129"/>
                </a:lnTo>
                <a:lnTo>
                  <a:pt x="4698" y="4127"/>
                </a:lnTo>
                <a:lnTo>
                  <a:pt x="4687" y="4125"/>
                </a:lnTo>
                <a:lnTo>
                  <a:pt x="4675" y="4122"/>
                </a:lnTo>
                <a:lnTo>
                  <a:pt x="4664" y="4118"/>
                </a:lnTo>
                <a:lnTo>
                  <a:pt x="4652" y="4113"/>
                </a:lnTo>
                <a:lnTo>
                  <a:pt x="4640" y="4108"/>
                </a:lnTo>
                <a:lnTo>
                  <a:pt x="4629" y="4100"/>
                </a:lnTo>
                <a:lnTo>
                  <a:pt x="4618" y="4093"/>
                </a:lnTo>
                <a:lnTo>
                  <a:pt x="4618" y="4093"/>
                </a:lnTo>
                <a:lnTo>
                  <a:pt x="4613" y="4090"/>
                </a:lnTo>
                <a:lnTo>
                  <a:pt x="4608" y="4086"/>
                </a:lnTo>
                <a:lnTo>
                  <a:pt x="4602" y="4078"/>
                </a:lnTo>
                <a:lnTo>
                  <a:pt x="4597" y="4069"/>
                </a:lnTo>
                <a:lnTo>
                  <a:pt x="4594" y="4059"/>
                </a:lnTo>
                <a:lnTo>
                  <a:pt x="4592" y="4047"/>
                </a:lnTo>
                <a:lnTo>
                  <a:pt x="4591" y="4037"/>
                </a:lnTo>
                <a:lnTo>
                  <a:pt x="4590" y="4015"/>
                </a:lnTo>
                <a:lnTo>
                  <a:pt x="4589" y="3993"/>
                </a:lnTo>
                <a:lnTo>
                  <a:pt x="4587" y="3984"/>
                </a:lnTo>
                <a:lnTo>
                  <a:pt x="4585" y="3976"/>
                </a:lnTo>
                <a:lnTo>
                  <a:pt x="4581" y="3969"/>
                </a:lnTo>
                <a:lnTo>
                  <a:pt x="4575" y="3962"/>
                </a:lnTo>
                <a:lnTo>
                  <a:pt x="4571" y="3959"/>
                </a:lnTo>
                <a:lnTo>
                  <a:pt x="4567" y="3957"/>
                </a:lnTo>
                <a:lnTo>
                  <a:pt x="4561" y="3956"/>
                </a:lnTo>
                <a:lnTo>
                  <a:pt x="4556" y="3955"/>
                </a:lnTo>
                <a:lnTo>
                  <a:pt x="4556" y="3955"/>
                </a:lnTo>
                <a:lnTo>
                  <a:pt x="4534" y="3948"/>
                </a:lnTo>
                <a:lnTo>
                  <a:pt x="4511" y="3941"/>
                </a:lnTo>
                <a:lnTo>
                  <a:pt x="4489" y="3933"/>
                </a:lnTo>
                <a:lnTo>
                  <a:pt x="4468" y="3923"/>
                </a:lnTo>
                <a:lnTo>
                  <a:pt x="4448" y="3913"/>
                </a:lnTo>
                <a:lnTo>
                  <a:pt x="4428" y="3902"/>
                </a:lnTo>
                <a:lnTo>
                  <a:pt x="4410" y="3892"/>
                </a:lnTo>
                <a:lnTo>
                  <a:pt x="4394" y="3881"/>
                </a:lnTo>
                <a:lnTo>
                  <a:pt x="4377" y="3869"/>
                </a:lnTo>
                <a:lnTo>
                  <a:pt x="4363" y="3859"/>
                </a:lnTo>
                <a:lnTo>
                  <a:pt x="4337" y="3839"/>
                </a:lnTo>
                <a:lnTo>
                  <a:pt x="4318" y="3820"/>
                </a:lnTo>
                <a:lnTo>
                  <a:pt x="4306" y="3805"/>
                </a:lnTo>
                <a:lnTo>
                  <a:pt x="4306" y="3805"/>
                </a:lnTo>
                <a:lnTo>
                  <a:pt x="4297" y="3793"/>
                </a:lnTo>
                <a:lnTo>
                  <a:pt x="4288" y="3780"/>
                </a:lnTo>
                <a:lnTo>
                  <a:pt x="4282" y="3769"/>
                </a:lnTo>
                <a:lnTo>
                  <a:pt x="4277" y="3758"/>
                </a:lnTo>
                <a:lnTo>
                  <a:pt x="4273" y="3748"/>
                </a:lnTo>
                <a:lnTo>
                  <a:pt x="4270" y="3739"/>
                </a:lnTo>
                <a:lnTo>
                  <a:pt x="4266" y="3722"/>
                </a:lnTo>
                <a:lnTo>
                  <a:pt x="4265" y="3709"/>
                </a:lnTo>
                <a:lnTo>
                  <a:pt x="4265" y="3699"/>
                </a:lnTo>
                <a:lnTo>
                  <a:pt x="4266" y="3690"/>
                </a:lnTo>
                <a:lnTo>
                  <a:pt x="4266" y="3690"/>
                </a:lnTo>
                <a:lnTo>
                  <a:pt x="4284" y="3700"/>
                </a:lnTo>
                <a:lnTo>
                  <a:pt x="4302" y="3706"/>
                </a:lnTo>
                <a:lnTo>
                  <a:pt x="4321" y="3711"/>
                </a:lnTo>
                <a:lnTo>
                  <a:pt x="4340" y="3714"/>
                </a:lnTo>
                <a:lnTo>
                  <a:pt x="4358" y="3716"/>
                </a:lnTo>
                <a:lnTo>
                  <a:pt x="4377" y="3715"/>
                </a:lnTo>
                <a:lnTo>
                  <a:pt x="4396" y="3712"/>
                </a:lnTo>
                <a:lnTo>
                  <a:pt x="4414" y="3708"/>
                </a:lnTo>
                <a:lnTo>
                  <a:pt x="4434" y="3468"/>
                </a:lnTo>
                <a:lnTo>
                  <a:pt x="4434" y="3468"/>
                </a:lnTo>
                <a:lnTo>
                  <a:pt x="4425" y="3467"/>
                </a:lnTo>
                <a:lnTo>
                  <a:pt x="4405" y="3464"/>
                </a:lnTo>
                <a:lnTo>
                  <a:pt x="4392" y="3461"/>
                </a:lnTo>
                <a:lnTo>
                  <a:pt x="4377" y="3457"/>
                </a:lnTo>
                <a:lnTo>
                  <a:pt x="4362" y="3453"/>
                </a:lnTo>
                <a:lnTo>
                  <a:pt x="4348" y="3447"/>
                </a:lnTo>
                <a:lnTo>
                  <a:pt x="4348" y="3447"/>
                </a:lnTo>
                <a:lnTo>
                  <a:pt x="4339" y="3443"/>
                </a:lnTo>
                <a:lnTo>
                  <a:pt x="4331" y="3438"/>
                </a:lnTo>
                <a:lnTo>
                  <a:pt x="4323" y="3432"/>
                </a:lnTo>
                <a:lnTo>
                  <a:pt x="4316" y="3426"/>
                </a:lnTo>
                <a:lnTo>
                  <a:pt x="4302" y="3412"/>
                </a:lnTo>
                <a:lnTo>
                  <a:pt x="4289" y="3399"/>
                </a:lnTo>
                <a:lnTo>
                  <a:pt x="4280" y="3386"/>
                </a:lnTo>
                <a:lnTo>
                  <a:pt x="4273" y="3376"/>
                </a:lnTo>
                <a:lnTo>
                  <a:pt x="4267" y="3366"/>
                </a:lnTo>
                <a:lnTo>
                  <a:pt x="4267" y="3366"/>
                </a:lnTo>
                <a:lnTo>
                  <a:pt x="4274" y="3369"/>
                </a:lnTo>
                <a:lnTo>
                  <a:pt x="4293" y="3377"/>
                </a:lnTo>
                <a:lnTo>
                  <a:pt x="4321" y="3385"/>
                </a:lnTo>
                <a:lnTo>
                  <a:pt x="4339" y="3389"/>
                </a:lnTo>
                <a:lnTo>
                  <a:pt x="4356" y="3392"/>
                </a:lnTo>
                <a:lnTo>
                  <a:pt x="4356" y="3392"/>
                </a:lnTo>
                <a:lnTo>
                  <a:pt x="4375" y="3394"/>
                </a:lnTo>
                <a:lnTo>
                  <a:pt x="4392" y="3395"/>
                </a:lnTo>
                <a:lnTo>
                  <a:pt x="4407" y="3393"/>
                </a:lnTo>
                <a:lnTo>
                  <a:pt x="4419" y="3391"/>
                </a:lnTo>
                <a:lnTo>
                  <a:pt x="4430" y="3389"/>
                </a:lnTo>
                <a:lnTo>
                  <a:pt x="4438" y="3387"/>
                </a:lnTo>
                <a:lnTo>
                  <a:pt x="4444" y="3384"/>
                </a:lnTo>
                <a:lnTo>
                  <a:pt x="4477" y="3113"/>
                </a:lnTo>
                <a:lnTo>
                  <a:pt x="4477" y="3113"/>
                </a:lnTo>
                <a:lnTo>
                  <a:pt x="4451" y="3114"/>
                </a:lnTo>
                <a:lnTo>
                  <a:pt x="4427" y="3113"/>
                </a:lnTo>
                <a:lnTo>
                  <a:pt x="4408" y="3111"/>
                </a:lnTo>
                <a:lnTo>
                  <a:pt x="4392" y="3106"/>
                </a:lnTo>
                <a:lnTo>
                  <a:pt x="4377" y="3100"/>
                </a:lnTo>
                <a:lnTo>
                  <a:pt x="4365" y="3093"/>
                </a:lnTo>
                <a:lnTo>
                  <a:pt x="4356" y="3085"/>
                </a:lnTo>
                <a:lnTo>
                  <a:pt x="4348" y="3077"/>
                </a:lnTo>
                <a:lnTo>
                  <a:pt x="4343" y="3069"/>
                </a:lnTo>
                <a:lnTo>
                  <a:pt x="4337" y="3060"/>
                </a:lnTo>
                <a:lnTo>
                  <a:pt x="4335" y="3051"/>
                </a:lnTo>
                <a:lnTo>
                  <a:pt x="4333" y="3043"/>
                </a:lnTo>
                <a:lnTo>
                  <a:pt x="4332" y="3035"/>
                </a:lnTo>
                <a:lnTo>
                  <a:pt x="4331" y="3029"/>
                </a:lnTo>
                <a:lnTo>
                  <a:pt x="4332" y="3020"/>
                </a:lnTo>
                <a:lnTo>
                  <a:pt x="4332" y="3020"/>
                </a:lnTo>
                <a:lnTo>
                  <a:pt x="4357" y="3015"/>
                </a:lnTo>
                <a:lnTo>
                  <a:pt x="4381" y="3009"/>
                </a:lnTo>
                <a:lnTo>
                  <a:pt x="4405" y="3001"/>
                </a:lnTo>
                <a:lnTo>
                  <a:pt x="4428" y="2994"/>
                </a:lnTo>
                <a:lnTo>
                  <a:pt x="4451" y="2985"/>
                </a:lnTo>
                <a:lnTo>
                  <a:pt x="4473" y="2975"/>
                </a:lnTo>
                <a:lnTo>
                  <a:pt x="4495" y="2964"/>
                </a:lnTo>
                <a:lnTo>
                  <a:pt x="4515" y="2951"/>
                </a:lnTo>
                <a:lnTo>
                  <a:pt x="4536" y="2939"/>
                </a:lnTo>
                <a:lnTo>
                  <a:pt x="4555" y="2926"/>
                </a:lnTo>
                <a:lnTo>
                  <a:pt x="4574" y="2911"/>
                </a:lnTo>
                <a:lnTo>
                  <a:pt x="4592" y="2896"/>
                </a:lnTo>
                <a:lnTo>
                  <a:pt x="4609" y="2881"/>
                </a:lnTo>
                <a:lnTo>
                  <a:pt x="4627" y="2864"/>
                </a:lnTo>
                <a:lnTo>
                  <a:pt x="4642" y="2848"/>
                </a:lnTo>
                <a:lnTo>
                  <a:pt x="4659" y="2831"/>
                </a:lnTo>
                <a:lnTo>
                  <a:pt x="4673" y="2812"/>
                </a:lnTo>
                <a:lnTo>
                  <a:pt x="4688" y="2794"/>
                </a:lnTo>
                <a:lnTo>
                  <a:pt x="4702" y="2775"/>
                </a:lnTo>
                <a:lnTo>
                  <a:pt x="4715" y="2756"/>
                </a:lnTo>
                <a:lnTo>
                  <a:pt x="4727" y="2737"/>
                </a:lnTo>
                <a:lnTo>
                  <a:pt x="4738" y="2717"/>
                </a:lnTo>
                <a:lnTo>
                  <a:pt x="4750" y="2698"/>
                </a:lnTo>
                <a:lnTo>
                  <a:pt x="4760" y="2677"/>
                </a:lnTo>
                <a:lnTo>
                  <a:pt x="4770" y="2657"/>
                </a:lnTo>
                <a:lnTo>
                  <a:pt x="4779" y="2636"/>
                </a:lnTo>
                <a:lnTo>
                  <a:pt x="4787" y="2616"/>
                </a:lnTo>
                <a:lnTo>
                  <a:pt x="4796" y="2595"/>
                </a:lnTo>
                <a:lnTo>
                  <a:pt x="4803" y="2575"/>
                </a:lnTo>
                <a:lnTo>
                  <a:pt x="4809" y="2555"/>
                </a:lnTo>
                <a:lnTo>
                  <a:pt x="4815" y="2534"/>
                </a:lnTo>
                <a:lnTo>
                  <a:pt x="4820" y="2515"/>
                </a:lnTo>
                <a:lnTo>
                  <a:pt x="4820" y="2515"/>
                </a:lnTo>
                <a:lnTo>
                  <a:pt x="4831" y="2521"/>
                </a:lnTo>
                <a:lnTo>
                  <a:pt x="4847" y="2527"/>
                </a:lnTo>
                <a:lnTo>
                  <a:pt x="4864" y="2533"/>
                </a:lnTo>
                <a:lnTo>
                  <a:pt x="4882" y="2538"/>
                </a:lnTo>
                <a:lnTo>
                  <a:pt x="4903" y="2541"/>
                </a:lnTo>
                <a:lnTo>
                  <a:pt x="4913" y="2542"/>
                </a:lnTo>
                <a:lnTo>
                  <a:pt x="4923" y="2543"/>
                </a:lnTo>
                <a:lnTo>
                  <a:pt x="4935" y="2542"/>
                </a:lnTo>
                <a:lnTo>
                  <a:pt x="4945" y="2541"/>
                </a:lnTo>
                <a:lnTo>
                  <a:pt x="4955" y="2539"/>
                </a:lnTo>
                <a:lnTo>
                  <a:pt x="4965" y="2536"/>
                </a:lnTo>
                <a:lnTo>
                  <a:pt x="4965" y="2536"/>
                </a:lnTo>
                <a:lnTo>
                  <a:pt x="4967" y="2508"/>
                </a:lnTo>
                <a:lnTo>
                  <a:pt x="4970" y="2441"/>
                </a:lnTo>
                <a:lnTo>
                  <a:pt x="4972" y="2405"/>
                </a:lnTo>
                <a:lnTo>
                  <a:pt x="4973" y="2371"/>
                </a:lnTo>
                <a:lnTo>
                  <a:pt x="4972" y="2343"/>
                </a:lnTo>
                <a:lnTo>
                  <a:pt x="4972" y="2333"/>
                </a:lnTo>
                <a:lnTo>
                  <a:pt x="4970" y="2327"/>
                </a:lnTo>
                <a:lnTo>
                  <a:pt x="4970" y="2327"/>
                </a:lnTo>
                <a:lnTo>
                  <a:pt x="4955" y="2325"/>
                </a:lnTo>
                <a:lnTo>
                  <a:pt x="4938" y="2322"/>
                </a:lnTo>
                <a:lnTo>
                  <a:pt x="4919" y="2317"/>
                </a:lnTo>
                <a:lnTo>
                  <a:pt x="4911" y="2314"/>
                </a:lnTo>
                <a:lnTo>
                  <a:pt x="4902" y="2311"/>
                </a:lnTo>
                <a:lnTo>
                  <a:pt x="4893" y="2306"/>
                </a:lnTo>
                <a:lnTo>
                  <a:pt x="4885" y="2302"/>
                </a:lnTo>
                <a:lnTo>
                  <a:pt x="4876" y="2296"/>
                </a:lnTo>
                <a:lnTo>
                  <a:pt x="4868" y="2289"/>
                </a:lnTo>
                <a:lnTo>
                  <a:pt x="4861" y="2282"/>
                </a:lnTo>
                <a:lnTo>
                  <a:pt x="4854" y="2273"/>
                </a:lnTo>
                <a:lnTo>
                  <a:pt x="4848" y="2264"/>
                </a:lnTo>
                <a:lnTo>
                  <a:pt x="4842" y="225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86" name="Freeform 37"/>
          <p:cNvSpPr>
            <a:spLocks/>
          </p:cNvSpPr>
          <p:nvPr userDrawn="1"/>
        </p:nvSpPr>
        <p:spPr bwMode="auto">
          <a:xfrm>
            <a:off x="8332789" y="-385339"/>
            <a:ext cx="276225" cy="73025"/>
          </a:xfrm>
          <a:custGeom>
            <a:avLst/>
            <a:gdLst>
              <a:gd name="T0" fmla="*/ 0 w 349"/>
              <a:gd name="T1" fmla="*/ 34 h 91"/>
              <a:gd name="T2" fmla="*/ 0 w 349"/>
              <a:gd name="T3" fmla="*/ 34 h 91"/>
              <a:gd name="T4" fmla="*/ 20 w 349"/>
              <a:gd name="T5" fmla="*/ 49 h 91"/>
              <a:gd name="T6" fmla="*/ 38 w 349"/>
              <a:gd name="T7" fmla="*/ 60 h 91"/>
              <a:gd name="T8" fmla="*/ 38 w 349"/>
              <a:gd name="T9" fmla="*/ 60 h 91"/>
              <a:gd name="T10" fmla="*/ 69 w 349"/>
              <a:gd name="T11" fmla="*/ 71 h 91"/>
              <a:gd name="T12" fmla="*/ 89 w 349"/>
              <a:gd name="T13" fmla="*/ 78 h 91"/>
              <a:gd name="T14" fmla="*/ 111 w 349"/>
              <a:gd name="T15" fmla="*/ 84 h 91"/>
              <a:gd name="T16" fmla="*/ 137 w 349"/>
              <a:gd name="T17" fmla="*/ 87 h 91"/>
              <a:gd name="T18" fmla="*/ 164 w 349"/>
              <a:gd name="T19" fmla="*/ 91 h 91"/>
              <a:gd name="T20" fmla="*/ 194 w 349"/>
              <a:gd name="T21" fmla="*/ 91 h 91"/>
              <a:gd name="T22" fmla="*/ 226 w 349"/>
              <a:gd name="T23" fmla="*/ 89 h 91"/>
              <a:gd name="T24" fmla="*/ 226 w 349"/>
              <a:gd name="T25" fmla="*/ 89 h 91"/>
              <a:gd name="T26" fmla="*/ 256 w 349"/>
              <a:gd name="T27" fmla="*/ 86 h 91"/>
              <a:gd name="T28" fmla="*/ 279 w 349"/>
              <a:gd name="T29" fmla="*/ 80 h 91"/>
              <a:gd name="T30" fmla="*/ 301 w 349"/>
              <a:gd name="T31" fmla="*/ 75 h 91"/>
              <a:gd name="T32" fmla="*/ 318 w 349"/>
              <a:gd name="T33" fmla="*/ 69 h 91"/>
              <a:gd name="T34" fmla="*/ 342 w 349"/>
              <a:gd name="T35" fmla="*/ 56 h 91"/>
              <a:gd name="T36" fmla="*/ 349 w 349"/>
              <a:gd name="T37" fmla="*/ 53 h 91"/>
              <a:gd name="T38" fmla="*/ 349 w 349"/>
              <a:gd name="T39" fmla="*/ 53 h 91"/>
              <a:gd name="T40" fmla="*/ 338 w 349"/>
              <a:gd name="T41" fmla="*/ 49 h 91"/>
              <a:gd name="T42" fmla="*/ 329 w 349"/>
              <a:gd name="T43" fmla="*/ 44 h 91"/>
              <a:gd name="T44" fmla="*/ 314 w 349"/>
              <a:gd name="T45" fmla="*/ 31 h 91"/>
              <a:gd name="T46" fmla="*/ 314 w 349"/>
              <a:gd name="T47" fmla="*/ 31 h 91"/>
              <a:gd name="T48" fmla="*/ 312 w 349"/>
              <a:gd name="T49" fmla="*/ 38 h 91"/>
              <a:gd name="T50" fmla="*/ 312 w 349"/>
              <a:gd name="T51" fmla="*/ 38 h 91"/>
              <a:gd name="T52" fmla="*/ 311 w 349"/>
              <a:gd name="T53" fmla="*/ 51 h 91"/>
              <a:gd name="T54" fmla="*/ 311 w 349"/>
              <a:gd name="T55" fmla="*/ 51 h 91"/>
              <a:gd name="T56" fmla="*/ 303 w 349"/>
              <a:gd name="T57" fmla="*/ 49 h 91"/>
              <a:gd name="T58" fmla="*/ 303 w 349"/>
              <a:gd name="T59" fmla="*/ 49 h 91"/>
              <a:gd name="T60" fmla="*/ 298 w 349"/>
              <a:gd name="T61" fmla="*/ 45 h 91"/>
              <a:gd name="T62" fmla="*/ 292 w 349"/>
              <a:gd name="T63" fmla="*/ 40 h 91"/>
              <a:gd name="T64" fmla="*/ 289 w 349"/>
              <a:gd name="T65" fmla="*/ 33 h 91"/>
              <a:gd name="T66" fmla="*/ 287 w 349"/>
              <a:gd name="T67" fmla="*/ 23 h 91"/>
              <a:gd name="T68" fmla="*/ 287 w 349"/>
              <a:gd name="T69" fmla="*/ 23 h 91"/>
              <a:gd name="T70" fmla="*/ 287 w 349"/>
              <a:gd name="T71" fmla="*/ 22 h 91"/>
              <a:gd name="T72" fmla="*/ 287 w 349"/>
              <a:gd name="T73" fmla="*/ 22 h 91"/>
              <a:gd name="T74" fmla="*/ 272 w 349"/>
              <a:gd name="T75" fmla="*/ 27 h 91"/>
              <a:gd name="T76" fmla="*/ 252 w 349"/>
              <a:gd name="T77" fmla="*/ 33 h 91"/>
              <a:gd name="T78" fmla="*/ 228 w 349"/>
              <a:gd name="T79" fmla="*/ 38 h 91"/>
              <a:gd name="T80" fmla="*/ 205 w 349"/>
              <a:gd name="T81" fmla="*/ 40 h 91"/>
              <a:gd name="T82" fmla="*/ 205 w 349"/>
              <a:gd name="T83" fmla="*/ 40 h 91"/>
              <a:gd name="T84" fmla="*/ 161 w 349"/>
              <a:gd name="T85" fmla="*/ 38 h 91"/>
              <a:gd name="T86" fmla="*/ 139 w 349"/>
              <a:gd name="T87" fmla="*/ 36 h 91"/>
              <a:gd name="T88" fmla="*/ 117 w 349"/>
              <a:gd name="T89" fmla="*/ 33 h 91"/>
              <a:gd name="T90" fmla="*/ 95 w 349"/>
              <a:gd name="T91" fmla="*/ 29 h 91"/>
              <a:gd name="T92" fmla="*/ 73 w 349"/>
              <a:gd name="T93" fmla="*/ 22 h 91"/>
              <a:gd name="T94" fmla="*/ 51 w 349"/>
              <a:gd name="T95" fmla="*/ 14 h 91"/>
              <a:gd name="T96" fmla="*/ 31 w 349"/>
              <a:gd name="T97" fmla="*/ 7 h 91"/>
              <a:gd name="T98" fmla="*/ 31 w 349"/>
              <a:gd name="T99" fmla="*/ 7 h 91"/>
              <a:gd name="T100" fmla="*/ 15 w 349"/>
              <a:gd name="T101" fmla="*/ 0 h 91"/>
              <a:gd name="T102" fmla="*/ 15 w 349"/>
              <a:gd name="T103" fmla="*/ 0 h 91"/>
              <a:gd name="T104" fmla="*/ 15 w 349"/>
              <a:gd name="T105" fmla="*/ 1 h 91"/>
              <a:gd name="T106" fmla="*/ 15 w 349"/>
              <a:gd name="T107" fmla="*/ 5 h 91"/>
              <a:gd name="T108" fmla="*/ 18 w 349"/>
              <a:gd name="T109" fmla="*/ 14 h 91"/>
              <a:gd name="T110" fmla="*/ 25 w 349"/>
              <a:gd name="T111" fmla="*/ 25 h 91"/>
              <a:gd name="T112" fmla="*/ 25 w 349"/>
              <a:gd name="T113" fmla="*/ 25 h 91"/>
              <a:gd name="T114" fmla="*/ 16 w 349"/>
              <a:gd name="T115" fmla="*/ 23 h 91"/>
              <a:gd name="T116" fmla="*/ 7 w 349"/>
              <a:gd name="T117" fmla="*/ 27 h 91"/>
              <a:gd name="T118" fmla="*/ 7 w 349"/>
              <a:gd name="T119" fmla="*/ 27 h 91"/>
              <a:gd name="T120" fmla="*/ 2 w 349"/>
              <a:gd name="T121" fmla="*/ 31 h 91"/>
              <a:gd name="T122" fmla="*/ 0 w 349"/>
              <a:gd name="T123" fmla="*/ 3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9" h="91">
                <a:moveTo>
                  <a:pt x="0" y="34"/>
                </a:moveTo>
                <a:lnTo>
                  <a:pt x="0" y="34"/>
                </a:lnTo>
                <a:lnTo>
                  <a:pt x="20" y="49"/>
                </a:lnTo>
                <a:lnTo>
                  <a:pt x="38" y="60"/>
                </a:lnTo>
                <a:lnTo>
                  <a:pt x="38" y="60"/>
                </a:lnTo>
                <a:lnTo>
                  <a:pt x="69" y="71"/>
                </a:lnTo>
                <a:lnTo>
                  <a:pt x="89" y="78"/>
                </a:lnTo>
                <a:lnTo>
                  <a:pt x="111" y="84"/>
                </a:lnTo>
                <a:lnTo>
                  <a:pt x="137" y="87"/>
                </a:lnTo>
                <a:lnTo>
                  <a:pt x="164" y="91"/>
                </a:lnTo>
                <a:lnTo>
                  <a:pt x="194" y="91"/>
                </a:lnTo>
                <a:lnTo>
                  <a:pt x="226" y="89"/>
                </a:lnTo>
                <a:lnTo>
                  <a:pt x="226" y="89"/>
                </a:lnTo>
                <a:lnTo>
                  <a:pt x="256" y="86"/>
                </a:lnTo>
                <a:lnTo>
                  <a:pt x="279" y="80"/>
                </a:lnTo>
                <a:lnTo>
                  <a:pt x="301" y="75"/>
                </a:lnTo>
                <a:lnTo>
                  <a:pt x="318" y="69"/>
                </a:lnTo>
                <a:lnTo>
                  <a:pt x="342" y="56"/>
                </a:lnTo>
                <a:lnTo>
                  <a:pt x="349" y="53"/>
                </a:lnTo>
                <a:lnTo>
                  <a:pt x="349" y="53"/>
                </a:lnTo>
                <a:lnTo>
                  <a:pt x="338" y="49"/>
                </a:lnTo>
                <a:lnTo>
                  <a:pt x="329" y="44"/>
                </a:lnTo>
                <a:lnTo>
                  <a:pt x="314" y="31"/>
                </a:lnTo>
                <a:lnTo>
                  <a:pt x="314" y="31"/>
                </a:lnTo>
                <a:lnTo>
                  <a:pt x="312" y="38"/>
                </a:lnTo>
                <a:lnTo>
                  <a:pt x="312" y="38"/>
                </a:lnTo>
                <a:lnTo>
                  <a:pt x="311" y="51"/>
                </a:lnTo>
                <a:lnTo>
                  <a:pt x="311" y="51"/>
                </a:lnTo>
                <a:lnTo>
                  <a:pt x="303" y="49"/>
                </a:lnTo>
                <a:lnTo>
                  <a:pt x="303" y="49"/>
                </a:lnTo>
                <a:lnTo>
                  <a:pt x="298" y="45"/>
                </a:lnTo>
                <a:lnTo>
                  <a:pt x="292" y="40"/>
                </a:lnTo>
                <a:lnTo>
                  <a:pt x="289" y="33"/>
                </a:lnTo>
                <a:lnTo>
                  <a:pt x="287" y="23"/>
                </a:lnTo>
                <a:lnTo>
                  <a:pt x="287" y="23"/>
                </a:lnTo>
                <a:lnTo>
                  <a:pt x="287" y="22"/>
                </a:lnTo>
                <a:lnTo>
                  <a:pt x="287" y="22"/>
                </a:lnTo>
                <a:lnTo>
                  <a:pt x="272" y="27"/>
                </a:lnTo>
                <a:lnTo>
                  <a:pt x="252" y="33"/>
                </a:lnTo>
                <a:lnTo>
                  <a:pt x="228" y="38"/>
                </a:lnTo>
                <a:lnTo>
                  <a:pt x="205" y="40"/>
                </a:lnTo>
                <a:lnTo>
                  <a:pt x="205" y="40"/>
                </a:lnTo>
                <a:lnTo>
                  <a:pt x="161" y="38"/>
                </a:lnTo>
                <a:lnTo>
                  <a:pt x="139" y="36"/>
                </a:lnTo>
                <a:lnTo>
                  <a:pt x="117" y="33"/>
                </a:lnTo>
                <a:lnTo>
                  <a:pt x="95" y="29"/>
                </a:lnTo>
                <a:lnTo>
                  <a:pt x="73" y="22"/>
                </a:lnTo>
                <a:lnTo>
                  <a:pt x="51" y="14"/>
                </a:lnTo>
                <a:lnTo>
                  <a:pt x="31" y="7"/>
                </a:lnTo>
                <a:lnTo>
                  <a:pt x="31" y="7"/>
                </a:lnTo>
                <a:lnTo>
                  <a:pt x="15" y="0"/>
                </a:lnTo>
                <a:lnTo>
                  <a:pt x="15" y="0"/>
                </a:lnTo>
                <a:lnTo>
                  <a:pt x="15" y="1"/>
                </a:lnTo>
                <a:lnTo>
                  <a:pt x="15" y="5"/>
                </a:lnTo>
                <a:lnTo>
                  <a:pt x="18" y="14"/>
                </a:lnTo>
                <a:lnTo>
                  <a:pt x="25" y="25"/>
                </a:lnTo>
                <a:lnTo>
                  <a:pt x="25" y="25"/>
                </a:lnTo>
                <a:lnTo>
                  <a:pt x="16" y="23"/>
                </a:lnTo>
                <a:lnTo>
                  <a:pt x="7" y="27"/>
                </a:lnTo>
                <a:lnTo>
                  <a:pt x="7" y="27"/>
                </a:lnTo>
                <a:lnTo>
                  <a:pt x="2" y="31"/>
                </a:lnTo>
                <a:lnTo>
                  <a:pt x="0" y="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87" name="Freeform 38"/>
          <p:cNvSpPr>
            <a:spLocks/>
          </p:cNvSpPr>
          <p:nvPr userDrawn="1"/>
        </p:nvSpPr>
        <p:spPr bwMode="auto">
          <a:xfrm>
            <a:off x="8270876" y="-618703"/>
            <a:ext cx="282575" cy="201613"/>
          </a:xfrm>
          <a:custGeom>
            <a:avLst/>
            <a:gdLst>
              <a:gd name="T0" fmla="*/ 326 w 357"/>
              <a:gd name="T1" fmla="*/ 20 h 253"/>
              <a:gd name="T2" fmla="*/ 320 w 357"/>
              <a:gd name="T3" fmla="*/ 3 h 253"/>
              <a:gd name="T4" fmla="*/ 311 w 357"/>
              <a:gd name="T5" fmla="*/ 0 h 253"/>
              <a:gd name="T6" fmla="*/ 227 w 357"/>
              <a:gd name="T7" fmla="*/ 40 h 253"/>
              <a:gd name="T8" fmla="*/ 207 w 357"/>
              <a:gd name="T9" fmla="*/ 53 h 253"/>
              <a:gd name="T10" fmla="*/ 176 w 357"/>
              <a:gd name="T11" fmla="*/ 53 h 253"/>
              <a:gd name="T12" fmla="*/ 181 w 357"/>
              <a:gd name="T13" fmla="*/ 71 h 253"/>
              <a:gd name="T14" fmla="*/ 172 w 357"/>
              <a:gd name="T15" fmla="*/ 78 h 253"/>
              <a:gd name="T16" fmla="*/ 181 w 357"/>
              <a:gd name="T17" fmla="*/ 93 h 253"/>
              <a:gd name="T18" fmla="*/ 198 w 357"/>
              <a:gd name="T19" fmla="*/ 91 h 253"/>
              <a:gd name="T20" fmla="*/ 189 w 357"/>
              <a:gd name="T21" fmla="*/ 115 h 253"/>
              <a:gd name="T22" fmla="*/ 147 w 357"/>
              <a:gd name="T23" fmla="*/ 146 h 253"/>
              <a:gd name="T24" fmla="*/ 101 w 357"/>
              <a:gd name="T25" fmla="*/ 155 h 253"/>
              <a:gd name="T26" fmla="*/ 79 w 357"/>
              <a:gd name="T27" fmla="*/ 137 h 253"/>
              <a:gd name="T28" fmla="*/ 68 w 357"/>
              <a:gd name="T29" fmla="*/ 126 h 253"/>
              <a:gd name="T30" fmla="*/ 50 w 357"/>
              <a:gd name="T31" fmla="*/ 126 h 253"/>
              <a:gd name="T32" fmla="*/ 28 w 357"/>
              <a:gd name="T33" fmla="*/ 137 h 253"/>
              <a:gd name="T34" fmla="*/ 48 w 357"/>
              <a:gd name="T35" fmla="*/ 140 h 253"/>
              <a:gd name="T36" fmla="*/ 44 w 357"/>
              <a:gd name="T37" fmla="*/ 149 h 253"/>
              <a:gd name="T38" fmla="*/ 75 w 357"/>
              <a:gd name="T39" fmla="*/ 169 h 253"/>
              <a:gd name="T40" fmla="*/ 75 w 357"/>
              <a:gd name="T41" fmla="*/ 171 h 253"/>
              <a:gd name="T42" fmla="*/ 39 w 357"/>
              <a:gd name="T43" fmla="*/ 160 h 253"/>
              <a:gd name="T44" fmla="*/ 28 w 357"/>
              <a:gd name="T45" fmla="*/ 164 h 253"/>
              <a:gd name="T46" fmla="*/ 8 w 357"/>
              <a:gd name="T47" fmla="*/ 171 h 253"/>
              <a:gd name="T48" fmla="*/ 2 w 357"/>
              <a:gd name="T49" fmla="*/ 193 h 253"/>
              <a:gd name="T50" fmla="*/ 17 w 357"/>
              <a:gd name="T51" fmla="*/ 180 h 253"/>
              <a:gd name="T52" fmla="*/ 22 w 357"/>
              <a:gd name="T53" fmla="*/ 188 h 253"/>
              <a:gd name="T54" fmla="*/ 26 w 357"/>
              <a:gd name="T55" fmla="*/ 197 h 253"/>
              <a:gd name="T56" fmla="*/ 66 w 357"/>
              <a:gd name="T57" fmla="*/ 195 h 253"/>
              <a:gd name="T58" fmla="*/ 75 w 357"/>
              <a:gd name="T59" fmla="*/ 197 h 253"/>
              <a:gd name="T60" fmla="*/ 39 w 357"/>
              <a:gd name="T61" fmla="*/ 206 h 253"/>
              <a:gd name="T62" fmla="*/ 37 w 357"/>
              <a:gd name="T63" fmla="*/ 213 h 253"/>
              <a:gd name="T64" fmla="*/ 28 w 357"/>
              <a:gd name="T65" fmla="*/ 233 h 253"/>
              <a:gd name="T66" fmla="*/ 35 w 357"/>
              <a:gd name="T67" fmla="*/ 248 h 253"/>
              <a:gd name="T68" fmla="*/ 41 w 357"/>
              <a:gd name="T69" fmla="*/ 244 h 253"/>
              <a:gd name="T70" fmla="*/ 42 w 357"/>
              <a:gd name="T71" fmla="*/ 235 h 253"/>
              <a:gd name="T72" fmla="*/ 55 w 357"/>
              <a:gd name="T73" fmla="*/ 243 h 253"/>
              <a:gd name="T74" fmla="*/ 72 w 357"/>
              <a:gd name="T75" fmla="*/ 232 h 253"/>
              <a:gd name="T76" fmla="*/ 94 w 357"/>
              <a:gd name="T77" fmla="*/ 213 h 253"/>
              <a:gd name="T78" fmla="*/ 108 w 357"/>
              <a:gd name="T79" fmla="*/ 211 h 253"/>
              <a:gd name="T80" fmla="*/ 110 w 357"/>
              <a:gd name="T81" fmla="*/ 222 h 253"/>
              <a:gd name="T82" fmla="*/ 115 w 357"/>
              <a:gd name="T83" fmla="*/ 233 h 253"/>
              <a:gd name="T84" fmla="*/ 114 w 357"/>
              <a:gd name="T85" fmla="*/ 243 h 253"/>
              <a:gd name="T86" fmla="*/ 136 w 357"/>
              <a:gd name="T87" fmla="*/ 224 h 253"/>
              <a:gd name="T88" fmla="*/ 141 w 357"/>
              <a:gd name="T89" fmla="*/ 219 h 253"/>
              <a:gd name="T90" fmla="*/ 145 w 357"/>
              <a:gd name="T91" fmla="*/ 211 h 253"/>
              <a:gd name="T92" fmla="*/ 147 w 357"/>
              <a:gd name="T93" fmla="*/ 200 h 253"/>
              <a:gd name="T94" fmla="*/ 167 w 357"/>
              <a:gd name="T95" fmla="*/ 193 h 253"/>
              <a:gd name="T96" fmla="*/ 170 w 357"/>
              <a:gd name="T97" fmla="*/ 180 h 253"/>
              <a:gd name="T98" fmla="*/ 181 w 357"/>
              <a:gd name="T99" fmla="*/ 179 h 253"/>
              <a:gd name="T100" fmla="*/ 199 w 357"/>
              <a:gd name="T101" fmla="*/ 197 h 253"/>
              <a:gd name="T102" fmla="*/ 231 w 357"/>
              <a:gd name="T103" fmla="*/ 182 h 253"/>
              <a:gd name="T104" fmla="*/ 227 w 357"/>
              <a:gd name="T105" fmla="*/ 169 h 253"/>
              <a:gd name="T106" fmla="*/ 223 w 357"/>
              <a:gd name="T107" fmla="*/ 155 h 253"/>
              <a:gd name="T108" fmla="*/ 245 w 357"/>
              <a:gd name="T109" fmla="*/ 173 h 253"/>
              <a:gd name="T110" fmla="*/ 276 w 357"/>
              <a:gd name="T111" fmla="*/ 155 h 253"/>
              <a:gd name="T112" fmla="*/ 273 w 357"/>
              <a:gd name="T113" fmla="*/ 149 h 253"/>
              <a:gd name="T114" fmla="*/ 263 w 357"/>
              <a:gd name="T115" fmla="*/ 131 h 253"/>
              <a:gd name="T116" fmla="*/ 262 w 357"/>
              <a:gd name="T117" fmla="*/ 115 h 253"/>
              <a:gd name="T118" fmla="*/ 262 w 357"/>
              <a:gd name="T119" fmla="*/ 98 h 253"/>
              <a:gd name="T120" fmla="*/ 353 w 357"/>
              <a:gd name="T121" fmla="*/ 45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7" h="253">
                <a:moveTo>
                  <a:pt x="344" y="31"/>
                </a:moveTo>
                <a:lnTo>
                  <a:pt x="344" y="31"/>
                </a:lnTo>
                <a:lnTo>
                  <a:pt x="335" y="23"/>
                </a:lnTo>
                <a:lnTo>
                  <a:pt x="326" y="20"/>
                </a:lnTo>
                <a:lnTo>
                  <a:pt x="309" y="12"/>
                </a:lnTo>
                <a:lnTo>
                  <a:pt x="309" y="12"/>
                </a:lnTo>
                <a:lnTo>
                  <a:pt x="316" y="7"/>
                </a:lnTo>
                <a:lnTo>
                  <a:pt x="320" y="3"/>
                </a:lnTo>
                <a:lnTo>
                  <a:pt x="320" y="1"/>
                </a:lnTo>
                <a:lnTo>
                  <a:pt x="320" y="1"/>
                </a:lnTo>
                <a:lnTo>
                  <a:pt x="315" y="0"/>
                </a:lnTo>
                <a:lnTo>
                  <a:pt x="311" y="0"/>
                </a:lnTo>
                <a:lnTo>
                  <a:pt x="311" y="0"/>
                </a:lnTo>
                <a:lnTo>
                  <a:pt x="280" y="12"/>
                </a:lnTo>
                <a:lnTo>
                  <a:pt x="252" y="25"/>
                </a:lnTo>
                <a:lnTo>
                  <a:pt x="227" y="40"/>
                </a:lnTo>
                <a:lnTo>
                  <a:pt x="209" y="53"/>
                </a:lnTo>
                <a:lnTo>
                  <a:pt x="209" y="53"/>
                </a:lnTo>
                <a:lnTo>
                  <a:pt x="207" y="53"/>
                </a:lnTo>
                <a:lnTo>
                  <a:pt x="207" y="53"/>
                </a:lnTo>
                <a:lnTo>
                  <a:pt x="201" y="56"/>
                </a:lnTo>
                <a:lnTo>
                  <a:pt x="196" y="56"/>
                </a:lnTo>
                <a:lnTo>
                  <a:pt x="185" y="54"/>
                </a:lnTo>
                <a:lnTo>
                  <a:pt x="176" y="53"/>
                </a:lnTo>
                <a:lnTo>
                  <a:pt x="174" y="51"/>
                </a:lnTo>
                <a:lnTo>
                  <a:pt x="170" y="67"/>
                </a:lnTo>
                <a:lnTo>
                  <a:pt x="170" y="67"/>
                </a:lnTo>
                <a:lnTo>
                  <a:pt x="181" y="71"/>
                </a:lnTo>
                <a:lnTo>
                  <a:pt x="189" y="74"/>
                </a:lnTo>
                <a:lnTo>
                  <a:pt x="189" y="74"/>
                </a:lnTo>
                <a:lnTo>
                  <a:pt x="178" y="76"/>
                </a:lnTo>
                <a:lnTo>
                  <a:pt x="172" y="78"/>
                </a:lnTo>
                <a:lnTo>
                  <a:pt x="168" y="82"/>
                </a:lnTo>
                <a:lnTo>
                  <a:pt x="174" y="96"/>
                </a:lnTo>
                <a:lnTo>
                  <a:pt x="174" y="96"/>
                </a:lnTo>
                <a:lnTo>
                  <a:pt x="181" y="93"/>
                </a:lnTo>
                <a:lnTo>
                  <a:pt x="189" y="91"/>
                </a:lnTo>
                <a:lnTo>
                  <a:pt x="198" y="89"/>
                </a:lnTo>
                <a:lnTo>
                  <a:pt x="198" y="89"/>
                </a:lnTo>
                <a:lnTo>
                  <a:pt x="198" y="91"/>
                </a:lnTo>
                <a:lnTo>
                  <a:pt x="198" y="91"/>
                </a:lnTo>
                <a:lnTo>
                  <a:pt x="198" y="98"/>
                </a:lnTo>
                <a:lnTo>
                  <a:pt x="194" y="105"/>
                </a:lnTo>
                <a:lnTo>
                  <a:pt x="189" y="115"/>
                </a:lnTo>
                <a:lnTo>
                  <a:pt x="181" y="122"/>
                </a:lnTo>
                <a:lnTo>
                  <a:pt x="165" y="137"/>
                </a:lnTo>
                <a:lnTo>
                  <a:pt x="156" y="142"/>
                </a:lnTo>
                <a:lnTo>
                  <a:pt x="147" y="146"/>
                </a:lnTo>
                <a:lnTo>
                  <a:pt x="147" y="146"/>
                </a:lnTo>
                <a:lnTo>
                  <a:pt x="128" y="151"/>
                </a:lnTo>
                <a:lnTo>
                  <a:pt x="112" y="155"/>
                </a:lnTo>
                <a:lnTo>
                  <a:pt x="101" y="155"/>
                </a:lnTo>
                <a:lnTo>
                  <a:pt x="95" y="153"/>
                </a:lnTo>
                <a:lnTo>
                  <a:pt x="95" y="153"/>
                </a:lnTo>
                <a:lnTo>
                  <a:pt x="84" y="144"/>
                </a:lnTo>
                <a:lnTo>
                  <a:pt x="79" y="137"/>
                </a:lnTo>
                <a:lnTo>
                  <a:pt x="73" y="129"/>
                </a:lnTo>
                <a:lnTo>
                  <a:pt x="72" y="126"/>
                </a:lnTo>
                <a:lnTo>
                  <a:pt x="68" y="126"/>
                </a:lnTo>
                <a:lnTo>
                  <a:pt x="68" y="126"/>
                </a:lnTo>
                <a:lnTo>
                  <a:pt x="64" y="126"/>
                </a:lnTo>
                <a:lnTo>
                  <a:pt x="61" y="127"/>
                </a:lnTo>
                <a:lnTo>
                  <a:pt x="61" y="127"/>
                </a:lnTo>
                <a:lnTo>
                  <a:pt x="50" y="126"/>
                </a:lnTo>
                <a:lnTo>
                  <a:pt x="41" y="127"/>
                </a:lnTo>
                <a:lnTo>
                  <a:pt x="33" y="131"/>
                </a:lnTo>
                <a:lnTo>
                  <a:pt x="30" y="133"/>
                </a:lnTo>
                <a:lnTo>
                  <a:pt x="28" y="137"/>
                </a:lnTo>
                <a:lnTo>
                  <a:pt x="28" y="137"/>
                </a:lnTo>
                <a:lnTo>
                  <a:pt x="41" y="137"/>
                </a:lnTo>
                <a:lnTo>
                  <a:pt x="48" y="138"/>
                </a:lnTo>
                <a:lnTo>
                  <a:pt x="48" y="140"/>
                </a:lnTo>
                <a:lnTo>
                  <a:pt x="46" y="142"/>
                </a:lnTo>
                <a:lnTo>
                  <a:pt x="46" y="142"/>
                </a:lnTo>
                <a:lnTo>
                  <a:pt x="42" y="146"/>
                </a:lnTo>
                <a:lnTo>
                  <a:pt x="44" y="149"/>
                </a:lnTo>
                <a:lnTo>
                  <a:pt x="46" y="153"/>
                </a:lnTo>
                <a:lnTo>
                  <a:pt x="52" y="157"/>
                </a:lnTo>
                <a:lnTo>
                  <a:pt x="75" y="169"/>
                </a:lnTo>
                <a:lnTo>
                  <a:pt x="75" y="169"/>
                </a:lnTo>
                <a:lnTo>
                  <a:pt x="75" y="169"/>
                </a:lnTo>
                <a:lnTo>
                  <a:pt x="75" y="171"/>
                </a:lnTo>
                <a:lnTo>
                  <a:pt x="75" y="171"/>
                </a:lnTo>
                <a:lnTo>
                  <a:pt x="75" y="171"/>
                </a:lnTo>
                <a:lnTo>
                  <a:pt x="68" y="171"/>
                </a:lnTo>
                <a:lnTo>
                  <a:pt x="59" y="168"/>
                </a:lnTo>
                <a:lnTo>
                  <a:pt x="39" y="160"/>
                </a:lnTo>
                <a:lnTo>
                  <a:pt x="39" y="160"/>
                </a:lnTo>
                <a:lnTo>
                  <a:pt x="35" y="160"/>
                </a:lnTo>
                <a:lnTo>
                  <a:pt x="31" y="160"/>
                </a:lnTo>
                <a:lnTo>
                  <a:pt x="28" y="164"/>
                </a:lnTo>
                <a:lnTo>
                  <a:pt x="28" y="164"/>
                </a:lnTo>
                <a:lnTo>
                  <a:pt x="24" y="164"/>
                </a:lnTo>
                <a:lnTo>
                  <a:pt x="19" y="164"/>
                </a:lnTo>
                <a:lnTo>
                  <a:pt x="11" y="168"/>
                </a:lnTo>
                <a:lnTo>
                  <a:pt x="8" y="171"/>
                </a:lnTo>
                <a:lnTo>
                  <a:pt x="2" y="175"/>
                </a:lnTo>
                <a:lnTo>
                  <a:pt x="0" y="180"/>
                </a:lnTo>
                <a:lnTo>
                  <a:pt x="0" y="186"/>
                </a:lnTo>
                <a:lnTo>
                  <a:pt x="2" y="193"/>
                </a:lnTo>
                <a:lnTo>
                  <a:pt x="2" y="193"/>
                </a:lnTo>
                <a:lnTo>
                  <a:pt x="8" y="186"/>
                </a:lnTo>
                <a:lnTo>
                  <a:pt x="13" y="180"/>
                </a:lnTo>
                <a:lnTo>
                  <a:pt x="17" y="180"/>
                </a:lnTo>
                <a:lnTo>
                  <a:pt x="20" y="180"/>
                </a:lnTo>
                <a:lnTo>
                  <a:pt x="20" y="180"/>
                </a:lnTo>
                <a:lnTo>
                  <a:pt x="22" y="182"/>
                </a:lnTo>
                <a:lnTo>
                  <a:pt x="22" y="188"/>
                </a:lnTo>
                <a:lnTo>
                  <a:pt x="22" y="191"/>
                </a:lnTo>
                <a:lnTo>
                  <a:pt x="24" y="195"/>
                </a:lnTo>
                <a:lnTo>
                  <a:pt x="26" y="197"/>
                </a:lnTo>
                <a:lnTo>
                  <a:pt x="26" y="197"/>
                </a:lnTo>
                <a:lnTo>
                  <a:pt x="30" y="199"/>
                </a:lnTo>
                <a:lnTo>
                  <a:pt x="37" y="199"/>
                </a:lnTo>
                <a:lnTo>
                  <a:pt x="52" y="197"/>
                </a:lnTo>
                <a:lnTo>
                  <a:pt x="66" y="195"/>
                </a:lnTo>
                <a:lnTo>
                  <a:pt x="73" y="195"/>
                </a:lnTo>
                <a:lnTo>
                  <a:pt x="75" y="195"/>
                </a:lnTo>
                <a:lnTo>
                  <a:pt x="75" y="195"/>
                </a:lnTo>
                <a:lnTo>
                  <a:pt x="75" y="197"/>
                </a:lnTo>
                <a:lnTo>
                  <a:pt x="72" y="199"/>
                </a:lnTo>
                <a:lnTo>
                  <a:pt x="59" y="200"/>
                </a:lnTo>
                <a:lnTo>
                  <a:pt x="44" y="202"/>
                </a:lnTo>
                <a:lnTo>
                  <a:pt x="39" y="206"/>
                </a:lnTo>
                <a:lnTo>
                  <a:pt x="37" y="208"/>
                </a:lnTo>
                <a:lnTo>
                  <a:pt x="37" y="208"/>
                </a:lnTo>
                <a:lnTo>
                  <a:pt x="37" y="213"/>
                </a:lnTo>
                <a:lnTo>
                  <a:pt x="37" y="213"/>
                </a:lnTo>
                <a:lnTo>
                  <a:pt x="37" y="215"/>
                </a:lnTo>
                <a:lnTo>
                  <a:pt x="33" y="219"/>
                </a:lnTo>
                <a:lnTo>
                  <a:pt x="30" y="226"/>
                </a:lnTo>
                <a:lnTo>
                  <a:pt x="28" y="233"/>
                </a:lnTo>
                <a:lnTo>
                  <a:pt x="28" y="233"/>
                </a:lnTo>
                <a:lnTo>
                  <a:pt x="28" y="237"/>
                </a:lnTo>
                <a:lnTo>
                  <a:pt x="30" y="243"/>
                </a:lnTo>
                <a:lnTo>
                  <a:pt x="35" y="248"/>
                </a:lnTo>
                <a:lnTo>
                  <a:pt x="41" y="253"/>
                </a:lnTo>
                <a:lnTo>
                  <a:pt x="41" y="253"/>
                </a:lnTo>
                <a:lnTo>
                  <a:pt x="42" y="252"/>
                </a:lnTo>
                <a:lnTo>
                  <a:pt x="41" y="244"/>
                </a:lnTo>
                <a:lnTo>
                  <a:pt x="41" y="239"/>
                </a:lnTo>
                <a:lnTo>
                  <a:pt x="42" y="237"/>
                </a:lnTo>
                <a:lnTo>
                  <a:pt x="42" y="235"/>
                </a:lnTo>
                <a:lnTo>
                  <a:pt x="42" y="235"/>
                </a:lnTo>
                <a:lnTo>
                  <a:pt x="46" y="235"/>
                </a:lnTo>
                <a:lnTo>
                  <a:pt x="48" y="237"/>
                </a:lnTo>
                <a:lnTo>
                  <a:pt x="52" y="241"/>
                </a:lnTo>
                <a:lnTo>
                  <a:pt x="55" y="243"/>
                </a:lnTo>
                <a:lnTo>
                  <a:pt x="55" y="243"/>
                </a:lnTo>
                <a:lnTo>
                  <a:pt x="59" y="241"/>
                </a:lnTo>
                <a:lnTo>
                  <a:pt x="62" y="239"/>
                </a:lnTo>
                <a:lnTo>
                  <a:pt x="72" y="232"/>
                </a:lnTo>
                <a:lnTo>
                  <a:pt x="81" y="222"/>
                </a:lnTo>
                <a:lnTo>
                  <a:pt x="86" y="217"/>
                </a:lnTo>
                <a:lnTo>
                  <a:pt x="94" y="213"/>
                </a:lnTo>
                <a:lnTo>
                  <a:pt x="94" y="213"/>
                </a:lnTo>
                <a:lnTo>
                  <a:pt x="103" y="210"/>
                </a:lnTo>
                <a:lnTo>
                  <a:pt x="106" y="208"/>
                </a:lnTo>
                <a:lnTo>
                  <a:pt x="108" y="210"/>
                </a:lnTo>
                <a:lnTo>
                  <a:pt x="108" y="211"/>
                </a:lnTo>
                <a:lnTo>
                  <a:pt x="108" y="217"/>
                </a:lnTo>
                <a:lnTo>
                  <a:pt x="108" y="221"/>
                </a:lnTo>
                <a:lnTo>
                  <a:pt x="110" y="222"/>
                </a:lnTo>
                <a:lnTo>
                  <a:pt x="110" y="222"/>
                </a:lnTo>
                <a:lnTo>
                  <a:pt x="115" y="224"/>
                </a:lnTo>
                <a:lnTo>
                  <a:pt x="117" y="226"/>
                </a:lnTo>
                <a:lnTo>
                  <a:pt x="117" y="230"/>
                </a:lnTo>
                <a:lnTo>
                  <a:pt x="115" y="233"/>
                </a:lnTo>
                <a:lnTo>
                  <a:pt x="112" y="239"/>
                </a:lnTo>
                <a:lnTo>
                  <a:pt x="108" y="243"/>
                </a:lnTo>
                <a:lnTo>
                  <a:pt x="108" y="243"/>
                </a:lnTo>
                <a:lnTo>
                  <a:pt x="114" y="243"/>
                </a:lnTo>
                <a:lnTo>
                  <a:pt x="121" y="241"/>
                </a:lnTo>
                <a:lnTo>
                  <a:pt x="128" y="233"/>
                </a:lnTo>
                <a:lnTo>
                  <a:pt x="132" y="230"/>
                </a:lnTo>
                <a:lnTo>
                  <a:pt x="136" y="224"/>
                </a:lnTo>
                <a:lnTo>
                  <a:pt x="136" y="224"/>
                </a:lnTo>
                <a:lnTo>
                  <a:pt x="136" y="221"/>
                </a:lnTo>
                <a:lnTo>
                  <a:pt x="137" y="221"/>
                </a:lnTo>
                <a:lnTo>
                  <a:pt x="141" y="219"/>
                </a:lnTo>
                <a:lnTo>
                  <a:pt x="143" y="217"/>
                </a:lnTo>
                <a:lnTo>
                  <a:pt x="143" y="217"/>
                </a:lnTo>
                <a:lnTo>
                  <a:pt x="145" y="215"/>
                </a:lnTo>
                <a:lnTo>
                  <a:pt x="145" y="211"/>
                </a:lnTo>
                <a:lnTo>
                  <a:pt x="145" y="208"/>
                </a:lnTo>
                <a:lnTo>
                  <a:pt x="145" y="204"/>
                </a:lnTo>
                <a:lnTo>
                  <a:pt x="145" y="204"/>
                </a:lnTo>
                <a:lnTo>
                  <a:pt x="147" y="200"/>
                </a:lnTo>
                <a:lnTo>
                  <a:pt x="150" y="199"/>
                </a:lnTo>
                <a:lnTo>
                  <a:pt x="157" y="197"/>
                </a:lnTo>
                <a:lnTo>
                  <a:pt x="165" y="195"/>
                </a:lnTo>
                <a:lnTo>
                  <a:pt x="167" y="193"/>
                </a:lnTo>
                <a:lnTo>
                  <a:pt x="167" y="191"/>
                </a:lnTo>
                <a:lnTo>
                  <a:pt x="167" y="191"/>
                </a:lnTo>
                <a:lnTo>
                  <a:pt x="167" y="186"/>
                </a:lnTo>
                <a:lnTo>
                  <a:pt x="170" y="180"/>
                </a:lnTo>
                <a:lnTo>
                  <a:pt x="176" y="179"/>
                </a:lnTo>
                <a:lnTo>
                  <a:pt x="179" y="177"/>
                </a:lnTo>
                <a:lnTo>
                  <a:pt x="179" y="177"/>
                </a:lnTo>
                <a:lnTo>
                  <a:pt x="181" y="179"/>
                </a:lnTo>
                <a:lnTo>
                  <a:pt x="183" y="184"/>
                </a:lnTo>
                <a:lnTo>
                  <a:pt x="189" y="190"/>
                </a:lnTo>
                <a:lnTo>
                  <a:pt x="194" y="193"/>
                </a:lnTo>
                <a:lnTo>
                  <a:pt x="199" y="197"/>
                </a:lnTo>
                <a:lnTo>
                  <a:pt x="199" y="197"/>
                </a:lnTo>
                <a:lnTo>
                  <a:pt x="221" y="186"/>
                </a:lnTo>
                <a:lnTo>
                  <a:pt x="221" y="186"/>
                </a:lnTo>
                <a:lnTo>
                  <a:pt x="231" y="182"/>
                </a:lnTo>
                <a:lnTo>
                  <a:pt x="234" y="179"/>
                </a:lnTo>
                <a:lnTo>
                  <a:pt x="234" y="179"/>
                </a:lnTo>
                <a:lnTo>
                  <a:pt x="231" y="173"/>
                </a:lnTo>
                <a:lnTo>
                  <a:pt x="227" y="169"/>
                </a:lnTo>
                <a:lnTo>
                  <a:pt x="225" y="164"/>
                </a:lnTo>
                <a:lnTo>
                  <a:pt x="225" y="164"/>
                </a:lnTo>
                <a:lnTo>
                  <a:pt x="223" y="158"/>
                </a:lnTo>
                <a:lnTo>
                  <a:pt x="223" y="155"/>
                </a:lnTo>
                <a:lnTo>
                  <a:pt x="223" y="155"/>
                </a:lnTo>
                <a:lnTo>
                  <a:pt x="229" y="162"/>
                </a:lnTo>
                <a:lnTo>
                  <a:pt x="236" y="168"/>
                </a:lnTo>
                <a:lnTo>
                  <a:pt x="245" y="173"/>
                </a:lnTo>
                <a:lnTo>
                  <a:pt x="245" y="173"/>
                </a:lnTo>
                <a:lnTo>
                  <a:pt x="271" y="157"/>
                </a:lnTo>
                <a:lnTo>
                  <a:pt x="271" y="157"/>
                </a:lnTo>
                <a:lnTo>
                  <a:pt x="276" y="155"/>
                </a:lnTo>
                <a:lnTo>
                  <a:pt x="276" y="155"/>
                </a:lnTo>
                <a:lnTo>
                  <a:pt x="276" y="155"/>
                </a:lnTo>
                <a:lnTo>
                  <a:pt x="276" y="155"/>
                </a:lnTo>
                <a:lnTo>
                  <a:pt x="273" y="149"/>
                </a:lnTo>
                <a:lnTo>
                  <a:pt x="267" y="144"/>
                </a:lnTo>
                <a:lnTo>
                  <a:pt x="262" y="137"/>
                </a:lnTo>
                <a:lnTo>
                  <a:pt x="262" y="133"/>
                </a:lnTo>
                <a:lnTo>
                  <a:pt x="263" y="131"/>
                </a:lnTo>
                <a:lnTo>
                  <a:pt x="263" y="131"/>
                </a:lnTo>
                <a:lnTo>
                  <a:pt x="265" y="129"/>
                </a:lnTo>
                <a:lnTo>
                  <a:pt x="265" y="126"/>
                </a:lnTo>
                <a:lnTo>
                  <a:pt x="262" y="115"/>
                </a:lnTo>
                <a:lnTo>
                  <a:pt x="258" y="105"/>
                </a:lnTo>
                <a:lnTo>
                  <a:pt x="258" y="100"/>
                </a:lnTo>
                <a:lnTo>
                  <a:pt x="262" y="98"/>
                </a:lnTo>
                <a:lnTo>
                  <a:pt x="262" y="98"/>
                </a:lnTo>
                <a:lnTo>
                  <a:pt x="313" y="73"/>
                </a:lnTo>
                <a:lnTo>
                  <a:pt x="357" y="51"/>
                </a:lnTo>
                <a:lnTo>
                  <a:pt x="357" y="51"/>
                </a:lnTo>
                <a:lnTo>
                  <a:pt x="353" y="45"/>
                </a:lnTo>
                <a:lnTo>
                  <a:pt x="349" y="38"/>
                </a:lnTo>
                <a:lnTo>
                  <a:pt x="344" y="3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88" name="Freeform 39"/>
          <p:cNvSpPr>
            <a:spLocks/>
          </p:cNvSpPr>
          <p:nvPr userDrawn="1"/>
        </p:nvSpPr>
        <p:spPr bwMode="auto">
          <a:xfrm>
            <a:off x="8229601" y="-437728"/>
            <a:ext cx="120650" cy="115888"/>
          </a:xfrm>
          <a:custGeom>
            <a:avLst/>
            <a:gdLst>
              <a:gd name="T0" fmla="*/ 0 w 152"/>
              <a:gd name="T1" fmla="*/ 42 h 144"/>
              <a:gd name="T2" fmla="*/ 2 w 152"/>
              <a:gd name="T3" fmla="*/ 51 h 144"/>
              <a:gd name="T4" fmla="*/ 4 w 152"/>
              <a:gd name="T5" fmla="*/ 57 h 144"/>
              <a:gd name="T6" fmla="*/ 15 w 152"/>
              <a:gd name="T7" fmla="*/ 60 h 144"/>
              <a:gd name="T8" fmla="*/ 18 w 152"/>
              <a:gd name="T9" fmla="*/ 58 h 144"/>
              <a:gd name="T10" fmla="*/ 20 w 152"/>
              <a:gd name="T11" fmla="*/ 51 h 144"/>
              <a:gd name="T12" fmla="*/ 22 w 152"/>
              <a:gd name="T13" fmla="*/ 44 h 144"/>
              <a:gd name="T14" fmla="*/ 24 w 152"/>
              <a:gd name="T15" fmla="*/ 42 h 144"/>
              <a:gd name="T16" fmla="*/ 26 w 152"/>
              <a:gd name="T17" fmla="*/ 42 h 144"/>
              <a:gd name="T18" fmla="*/ 28 w 152"/>
              <a:gd name="T19" fmla="*/ 40 h 144"/>
              <a:gd name="T20" fmla="*/ 68 w 152"/>
              <a:gd name="T21" fmla="*/ 60 h 144"/>
              <a:gd name="T22" fmla="*/ 106 w 152"/>
              <a:gd name="T23" fmla="*/ 86 h 144"/>
              <a:gd name="T24" fmla="*/ 112 w 152"/>
              <a:gd name="T25" fmla="*/ 89 h 144"/>
              <a:gd name="T26" fmla="*/ 106 w 152"/>
              <a:gd name="T27" fmla="*/ 100 h 144"/>
              <a:gd name="T28" fmla="*/ 95 w 152"/>
              <a:gd name="T29" fmla="*/ 128 h 144"/>
              <a:gd name="T30" fmla="*/ 93 w 152"/>
              <a:gd name="T31" fmla="*/ 135 h 144"/>
              <a:gd name="T32" fmla="*/ 97 w 152"/>
              <a:gd name="T33" fmla="*/ 142 h 144"/>
              <a:gd name="T34" fmla="*/ 104 w 152"/>
              <a:gd name="T35" fmla="*/ 144 h 144"/>
              <a:gd name="T36" fmla="*/ 110 w 152"/>
              <a:gd name="T37" fmla="*/ 144 h 144"/>
              <a:gd name="T38" fmla="*/ 117 w 152"/>
              <a:gd name="T39" fmla="*/ 139 h 144"/>
              <a:gd name="T40" fmla="*/ 119 w 152"/>
              <a:gd name="T41" fmla="*/ 135 h 144"/>
              <a:gd name="T42" fmla="*/ 119 w 152"/>
              <a:gd name="T43" fmla="*/ 130 h 144"/>
              <a:gd name="T44" fmla="*/ 112 w 152"/>
              <a:gd name="T45" fmla="*/ 122 h 144"/>
              <a:gd name="T46" fmla="*/ 110 w 152"/>
              <a:gd name="T47" fmla="*/ 122 h 144"/>
              <a:gd name="T48" fmla="*/ 115 w 152"/>
              <a:gd name="T49" fmla="*/ 110 h 144"/>
              <a:gd name="T50" fmla="*/ 123 w 152"/>
              <a:gd name="T51" fmla="*/ 93 h 144"/>
              <a:gd name="T52" fmla="*/ 132 w 152"/>
              <a:gd name="T53" fmla="*/ 86 h 144"/>
              <a:gd name="T54" fmla="*/ 141 w 152"/>
              <a:gd name="T55" fmla="*/ 84 h 144"/>
              <a:gd name="T56" fmla="*/ 139 w 152"/>
              <a:gd name="T57" fmla="*/ 80 h 144"/>
              <a:gd name="T58" fmla="*/ 135 w 152"/>
              <a:gd name="T59" fmla="*/ 69 h 144"/>
              <a:gd name="T60" fmla="*/ 137 w 152"/>
              <a:gd name="T61" fmla="*/ 57 h 144"/>
              <a:gd name="T62" fmla="*/ 141 w 152"/>
              <a:gd name="T63" fmla="*/ 49 h 144"/>
              <a:gd name="T64" fmla="*/ 152 w 152"/>
              <a:gd name="T65" fmla="*/ 18 h 144"/>
              <a:gd name="T66" fmla="*/ 152 w 152"/>
              <a:gd name="T67" fmla="*/ 13 h 144"/>
              <a:gd name="T68" fmla="*/ 146 w 152"/>
              <a:gd name="T69" fmla="*/ 5 h 144"/>
              <a:gd name="T70" fmla="*/ 141 w 152"/>
              <a:gd name="T71" fmla="*/ 4 h 144"/>
              <a:gd name="T72" fmla="*/ 132 w 152"/>
              <a:gd name="T73" fmla="*/ 7 h 144"/>
              <a:gd name="T74" fmla="*/ 128 w 152"/>
              <a:gd name="T75" fmla="*/ 15 h 144"/>
              <a:gd name="T76" fmla="*/ 128 w 152"/>
              <a:gd name="T77" fmla="*/ 20 h 144"/>
              <a:gd name="T78" fmla="*/ 134 w 152"/>
              <a:gd name="T79" fmla="*/ 27 h 144"/>
              <a:gd name="T80" fmla="*/ 137 w 152"/>
              <a:gd name="T81" fmla="*/ 29 h 144"/>
              <a:gd name="T82" fmla="*/ 132 w 152"/>
              <a:gd name="T83" fmla="*/ 46 h 144"/>
              <a:gd name="T84" fmla="*/ 124 w 152"/>
              <a:gd name="T85" fmla="*/ 55 h 144"/>
              <a:gd name="T86" fmla="*/ 117 w 152"/>
              <a:gd name="T87" fmla="*/ 51 h 144"/>
              <a:gd name="T88" fmla="*/ 60 w 152"/>
              <a:gd name="T89" fmla="*/ 24 h 144"/>
              <a:gd name="T90" fmla="*/ 40 w 152"/>
              <a:gd name="T91" fmla="*/ 18 h 144"/>
              <a:gd name="T92" fmla="*/ 42 w 152"/>
              <a:gd name="T93" fmla="*/ 13 h 144"/>
              <a:gd name="T94" fmla="*/ 50 w 152"/>
              <a:gd name="T95" fmla="*/ 0 h 144"/>
              <a:gd name="T96" fmla="*/ 46 w 152"/>
              <a:gd name="T97" fmla="*/ 2 h 144"/>
              <a:gd name="T98" fmla="*/ 39 w 152"/>
              <a:gd name="T99" fmla="*/ 5 h 144"/>
              <a:gd name="T100" fmla="*/ 24 w 152"/>
              <a:gd name="T101" fmla="*/ 11 h 144"/>
              <a:gd name="T102" fmla="*/ 18 w 152"/>
              <a:gd name="T103" fmla="*/ 11 h 144"/>
              <a:gd name="T104" fmla="*/ 15 w 152"/>
              <a:gd name="T105" fmla="*/ 11 h 144"/>
              <a:gd name="T106" fmla="*/ 9 w 152"/>
              <a:gd name="T107" fmla="*/ 22 h 144"/>
              <a:gd name="T108" fmla="*/ 6 w 152"/>
              <a:gd name="T109" fmla="*/ 33 h 144"/>
              <a:gd name="T110" fmla="*/ 2 w 152"/>
              <a:gd name="T111" fmla="*/ 3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2" h="144">
                <a:moveTo>
                  <a:pt x="0" y="42"/>
                </a:moveTo>
                <a:lnTo>
                  <a:pt x="0" y="42"/>
                </a:lnTo>
                <a:lnTo>
                  <a:pt x="0" y="47"/>
                </a:lnTo>
                <a:lnTo>
                  <a:pt x="2" y="51"/>
                </a:lnTo>
                <a:lnTo>
                  <a:pt x="4" y="57"/>
                </a:lnTo>
                <a:lnTo>
                  <a:pt x="4" y="57"/>
                </a:lnTo>
                <a:lnTo>
                  <a:pt x="11" y="58"/>
                </a:lnTo>
                <a:lnTo>
                  <a:pt x="15" y="60"/>
                </a:lnTo>
                <a:lnTo>
                  <a:pt x="18" y="58"/>
                </a:lnTo>
                <a:lnTo>
                  <a:pt x="18" y="58"/>
                </a:lnTo>
                <a:lnTo>
                  <a:pt x="20" y="55"/>
                </a:lnTo>
                <a:lnTo>
                  <a:pt x="20" y="51"/>
                </a:lnTo>
                <a:lnTo>
                  <a:pt x="20" y="47"/>
                </a:lnTo>
                <a:lnTo>
                  <a:pt x="22" y="44"/>
                </a:lnTo>
                <a:lnTo>
                  <a:pt x="22" y="44"/>
                </a:lnTo>
                <a:lnTo>
                  <a:pt x="24" y="42"/>
                </a:lnTo>
                <a:lnTo>
                  <a:pt x="26" y="42"/>
                </a:lnTo>
                <a:lnTo>
                  <a:pt x="26" y="42"/>
                </a:lnTo>
                <a:lnTo>
                  <a:pt x="28" y="40"/>
                </a:lnTo>
                <a:lnTo>
                  <a:pt x="28" y="40"/>
                </a:lnTo>
                <a:lnTo>
                  <a:pt x="48" y="49"/>
                </a:lnTo>
                <a:lnTo>
                  <a:pt x="68" y="60"/>
                </a:lnTo>
                <a:lnTo>
                  <a:pt x="106" y="86"/>
                </a:lnTo>
                <a:lnTo>
                  <a:pt x="106" y="86"/>
                </a:lnTo>
                <a:lnTo>
                  <a:pt x="112" y="89"/>
                </a:lnTo>
                <a:lnTo>
                  <a:pt x="112" y="89"/>
                </a:lnTo>
                <a:lnTo>
                  <a:pt x="106" y="100"/>
                </a:lnTo>
                <a:lnTo>
                  <a:pt x="106" y="100"/>
                </a:lnTo>
                <a:lnTo>
                  <a:pt x="97" y="119"/>
                </a:lnTo>
                <a:lnTo>
                  <a:pt x="95" y="128"/>
                </a:lnTo>
                <a:lnTo>
                  <a:pt x="93" y="135"/>
                </a:lnTo>
                <a:lnTo>
                  <a:pt x="93" y="135"/>
                </a:lnTo>
                <a:lnTo>
                  <a:pt x="95" y="139"/>
                </a:lnTo>
                <a:lnTo>
                  <a:pt x="97" y="142"/>
                </a:lnTo>
                <a:lnTo>
                  <a:pt x="101" y="144"/>
                </a:lnTo>
                <a:lnTo>
                  <a:pt x="104" y="144"/>
                </a:lnTo>
                <a:lnTo>
                  <a:pt x="104" y="144"/>
                </a:lnTo>
                <a:lnTo>
                  <a:pt x="110" y="144"/>
                </a:lnTo>
                <a:lnTo>
                  <a:pt x="113" y="142"/>
                </a:lnTo>
                <a:lnTo>
                  <a:pt x="117" y="139"/>
                </a:lnTo>
                <a:lnTo>
                  <a:pt x="119" y="135"/>
                </a:lnTo>
                <a:lnTo>
                  <a:pt x="119" y="135"/>
                </a:lnTo>
                <a:lnTo>
                  <a:pt x="119" y="131"/>
                </a:lnTo>
                <a:lnTo>
                  <a:pt x="119" y="130"/>
                </a:lnTo>
                <a:lnTo>
                  <a:pt x="115" y="124"/>
                </a:lnTo>
                <a:lnTo>
                  <a:pt x="112" y="122"/>
                </a:lnTo>
                <a:lnTo>
                  <a:pt x="110" y="122"/>
                </a:lnTo>
                <a:lnTo>
                  <a:pt x="110" y="122"/>
                </a:lnTo>
                <a:lnTo>
                  <a:pt x="115" y="110"/>
                </a:lnTo>
                <a:lnTo>
                  <a:pt x="115" y="110"/>
                </a:lnTo>
                <a:lnTo>
                  <a:pt x="119" y="100"/>
                </a:lnTo>
                <a:lnTo>
                  <a:pt x="123" y="93"/>
                </a:lnTo>
                <a:lnTo>
                  <a:pt x="128" y="89"/>
                </a:lnTo>
                <a:lnTo>
                  <a:pt x="132" y="86"/>
                </a:lnTo>
                <a:lnTo>
                  <a:pt x="137" y="84"/>
                </a:lnTo>
                <a:lnTo>
                  <a:pt x="141" y="84"/>
                </a:lnTo>
                <a:lnTo>
                  <a:pt x="141" y="84"/>
                </a:lnTo>
                <a:lnTo>
                  <a:pt x="139" y="80"/>
                </a:lnTo>
                <a:lnTo>
                  <a:pt x="135" y="75"/>
                </a:lnTo>
                <a:lnTo>
                  <a:pt x="135" y="69"/>
                </a:lnTo>
                <a:lnTo>
                  <a:pt x="135" y="64"/>
                </a:lnTo>
                <a:lnTo>
                  <a:pt x="137" y="57"/>
                </a:lnTo>
                <a:lnTo>
                  <a:pt x="141" y="49"/>
                </a:lnTo>
                <a:lnTo>
                  <a:pt x="141" y="49"/>
                </a:lnTo>
                <a:lnTo>
                  <a:pt x="148" y="31"/>
                </a:lnTo>
                <a:lnTo>
                  <a:pt x="152" y="18"/>
                </a:lnTo>
                <a:lnTo>
                  <a:pt x="152" y="18"/>
                </a:lnTo>
                <a:lnTo>
                  <a:pt x="152" y="13"/>
                </a:lnTo>
                <a:lnTo>
                  <a:pt x="150" y="9"/>
                </a:lnTo>
                <a:lnTo>
                  <a:pt x="146" y="5"/>
                </a:lnTo>
                <a:lnTo>
                  <a:pt x="141" y="4"/>
                </a:lnTo>
                <a:lnTo>
                  <a:pt x="141" y="4"/>
                </a:lnTo>
                <a:lnTo>
                  <a:pt x="137" y="5"/>
                </a:lnTo>
                <a:lnTo>
                  <a:pt x="132" y="7"/>
                </a:lnTo>
                <a:lnTo>
                  <a:pt x="130" y="11"/>
                </a:lnTo>
                <a:lnTo>
                  <a:pt x="128" y="15"/>
                </a:lnTo>
                <a:lnTo>
                  <a:pt x="128" y="15"/>
                </a:lnTo>
                <a:lnTo>
                  <a:pt x="128" y="20"/>
                </a:lnTo>
                <a:lnTo>
                  <a:pt x="130" y="24"/>
                </a:lnTo>
                <a:lnTo>
                  <a:pt x="134" y="27"/>
                </a:lnTo>
                <a:lnTo>
                  <a:pt x="137" y="29"/>
                </a:lnTo>
                <a:lnTo>
                  <a:pt x="137" y="29"/>
                </a:lnTo>
                <a:lnTo>
                  <a:pt x="137" y="29"/>
                </a:lnTo>
                <a:lnTo>
                  <a:pt x="132" y="46"/>
                </a:lnTo>
                <a:lnTo>
                  <a:pt x="124" y="55"/>
                </a:lnTo>
                <a:lnTo>
                  <a:pt x="124" y="55"/>
                </a:lnTo>
                <a:lnTo>
                  <a:pt x="117" y="51"/>
                </a:lnTo>
                <a:lnTo>
                  <a:pt x="117" y="51"/>
                </a:lnTo>
                <a:lnTo>
                  <a:pt x="81" y="31"/>
                </a:lnTo>
                <a:lnTo>
                  <a:pt x="60" y="24"/>
                </a:lnTo>
                <a:lnTo>
                  <a:pt x="40" y="18"/>
                </a:lnTo>
                <a:lnTo>
                  <a:pt x="40" y="18"/>
                </a:lnTo>
                <a:lnTo>
                  <a:pt x="42" y="13"/>
                </a:lnTo>
                <a:lnTo>
                  <a:pt x="42" y="13"/>
                </a:lnTo>
                <a:lnTo>
                  <a:pt x="48" y="4"/>
                </a:lnTo>
                <a:lnTo>
                  <a:pt x="50" y="0"/>
                </a:lnTo>
                <a:lnTo>
                  <a:pt x="50" y="0"/>
                </a:lnTo>
                <a:lnTo>
                  <a:pt x="46" y="2"/>
                </a:lnTo>
                <a:lnTo>
                  <a:pt x="39" y="5"/>
                </a:lnTo>
                <a:lnTo>
                  <a:pt x="39" y="5"/>
                </a:lnTo>
                <a:lnTo>
                  <a:pt x="29" y="9"/>
                </a:lnTo>
                <a:lnTo>
                  <a:pt x="24" y="11"/>
                </a:lnTo>
                <a:lnTo>
                  <a:pt x="24" y="11"/>
                </a:lnTo>
                <a:lnTo>
                  <a:pt x="18" y="11"/>
                </a:lnTo>
                <a:lnTo>
                  <a:pt x="15" y="11"/>
                </a:lnTo>
                <a:lnTo>
                  <a:pt x="15" y="11"/>
                </a:lnTo>
                <a:lnTo>
                  <a:pt x="13" y="13"/>
                </a:lnTo>
                <a:lnTo>
                  <a:pt x="9" y="22"/>
                </a:lnTo>
                <a:lnTo>
                  <a:pt x="9" y="22"/>
                </a:lnTo>
                <a:lnTo>
                  <a:pt x="6" y="33"/>
                </a:lnTo>
                <a:lnTo>
                  <a:pt x="6" y="33"/>
                </a:lnTo>
                <a:lnTo>
                  <a:pt x="2" y="38"/>
                </a:lnTo>
                <a:lnTo>
                  <a:pt x="0" y="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89" name="Freeform 40"/>
          <p:cNvSpPr>
            <a:spLocks/>
          </p:cNvSpPr>
          <p:nvPr userDrawn="1"/>
        </p:nvSpPr>
        <p:spPr bwMode="auto">
          <a:xfrm>
            <a:off x="8226426" y="-921915"/>
            <a:ext cx="30163" cy="34925"/>
          </a:xfrm>
          <a:custGeom>
            <a:avLst/>
            <a:gdLst>
              <a:gd name="T0" fmla="*/ 12 w 36"/>
              <a:gd name="T1" fmla="*/ 44 h 44"/>
              <a:gd name="T2" fmla="*/ 12 w 36"/>
              <a:gd name="T3" fmla="*/ 44 h 44"/>
              <a:gd name="T4" fmla="*/ 27 w 36"/>
              <a:gd name="T5" fmla="*/ 42 h 44"/>
              <a:gd name="T6" fmla="*/ 36 w 36"/>
              <a:gd name="T7" fmla="*/ 40 h 44"/>
              <a:gd name="T8" fmla="*/ 36 w 36"/>
              <a:gd name="T9" fmla="*/ 3 h 44"/>
              <a:gd name="T10" fmla="*/ 36 w 36"/>
              <a:gd name="T11" fmla="*/ 3 h 44"/>
              <a:gd name="T12" fmla="*/ 16 w 36"/>
              <a:gd name="T13" fmla="*/ 0 h 44"/>
              <a:gd name="T14" fmla="*/ 16 w 36"/>
              <a:gd name="T15" fmla="*/ 0 h 44"/>
              <a:gd name="T16" fmla="*/ 11 w 36"/>
              <a:gd name="T17" fmla="*/ 0 h 44"/>
              <a:gd name="T18" fmla="*/ 7 w 36"/>
              <a:gd name="T19" fmla="*/ 2 h 44"/>
              <a:gd name="T20" fmla="*/ 3 w 36"/>
              <a:gd name="T21" fmla="*/ 3 h 44"/>
              <a:gd name="T22" fmla="*/ 1 w 36"/>
              <a:gd name="T23" fmla="*/ 7 h 44"/>
              <a:gd name="T24" fmla="*/ 0 w 36"/>
              <a:gd name="T25" fmla="*/ 13 h 44"/>
              <a:gd name="T26" fmla="*/ 0 w 36"/>
              <a:gd name="T27" fmla="*/ 16 h 44"/>
              <a:gd name="T28" fmla="*/ 0 w 36"/>
              <a:gd name="T29" fmla="*/ 27 h 44"/>
              <a:gd name="T30" fmla="*/ 0 w 36"/>
              <a:gd name="T31" fmla="*/ 27 h 44"/>
              <a:gd name="T32" fmla="*/ 1 w 36"/>
              <a:gd name="T33" fmla="*/ 34 h 44"/>
              <a:gd name="T34" fmla="*/ 5 w 36"/>
              <a:gd name="T35" fmla="*/ 40 h 44"/>
              <a:gd name="T36" fmla="*/ 9 w 36"/>
              <a:gd name="T37" fmla="*/ 42 h 44"/>
              <a:gd name="T38" fmla="*/ 12 w 36"/>
              <a:gd name="T3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 h="44">
                <a:moveTo>
                  <a:pt x="12" y="44"/>
                </a:moveTo>
                <a:lnTo>
                  <a:pt x="12" y="44"/>
                </a:lnTo>
                <a:lnTo>
                  <a:pt x="27" y="42"/>
                </a:lnTo>
                <a:lnTo>
                  <a:pt x="36" y="40"/>
                </a:lnTo>
                <a:lnTo>
                  <a:pt x="36" y="3"/>
                </a:lnTo>
                <a:lnTo>
                  <a:pt x="36" y="3"/>
                </a:lnTo>
                <a:lnTo>
                  <a:pt x="16" y="0"/>
                </a:lnTo>
                <a:lnTo>
                  <a:pt x="16" y="0"/>
                </a:lnTo>
                <a:lnTo>
                  <a:pt x="11" y="0"/>
                </a:lnTo>
                <a:lnTo>
                  <a:pt x="7" y="2"/>
                </a:lnTo>
                <a:lnTo>
                  <a:pt x="3" y="3"/>
                </a:lnTo>
                <a:lnTo>
                  <a:pt x="1" y="7"/>
                </a:lnTo>
                <a:lnTo>
                  <a:pt x="0" y="13"/>
                </a:lnTo>
                <a:lnTo>
                  <a:pt x="0" y="16"/>
                </a:lnTo>
                <a:lnTo>
                  <a:pt x="0" y="27"/>
                </a:lnTo>
                <a:lnTo>
                  <a:pt x="0" y="27"/>
                </a:lnTo>
                <a:lnTo>
                  <a:pt x="1" y="34"/>
                </a:lnTo>
                <a:lnTo>
                  <a:pt x="5" y="40"/>
                </a:lnTo>
                <a:lnTo>
                  <a:pt x="9" y="42"/>
                </a:lnTo>
                <a:lnTo>
                  <a:pt x="12" y="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0" name="Freeform 41"/>
          <p:cNvSpPr>
            <a:spLocks/>
          </p:cNvSpPr>
          <p:nvPr userDrawn="1"/>
        </p:nvSpPr>
        <p:spPr bwMode="auto">
          <a:xfrm>
            <a:off x="8262939" y="-928264"/>
            <a:ext cx="44450" cy="41275"/>
          </a:xfrm>
          <a:custGeom>
            <a:avLst/>
            <a:gdLst>
              <a:gd name="T0" fmla="*/ 55 w 55"/>
              <a:gd name="T1" fmla="*/ 38 h 53"/>
              <a:gd name="T2" fmla="*/ 55 w 55"/>
              <a:gd name="T3" fmla="*/ 27 h 53"/>
              <a:gd name="T4" fmla="*/ 55 w 55"/>
              <a:gd name="T5" fmla="*/ 7 h 53"/>
              <a:gd name="T6" fmla="*/ 55 w 55"/>
              <a:gd name="T7" fmla="*/ 1 h 53"/>
              <a:gd name="T8" fmla="*/ 53 w 55"/>
              <a:gd name="T9" fmla="*/ 0 h 53"/>
              <a:gd name="T10" fmla="*/ 46 w 55"/>
              <a:gd name="T11" fmla="*/ 0 h 53"/>
              <a:gd name="T12" fmla="*/ 40 w 55"/>
              <a:gd name="T13" fmla="*/ 0 h 53"/>
              <a:gd name="T14" fmla="*/ 29 w 55"/>
              <a:gd name="T15" fmla="*/ 0 h 53"/>
              <a:gd name="T16" fmla="*/ 28 w 55"/>
              <a:gd name="T17" fmla="*/ 7 h 53"/>
              <a:gd name="T18" fmla="*/ 26 w 55"/>
              <a:gd name="T19" fmla="*/ 0 h 53"/>
              <a:gd name="T20" fmla="*/ 17 w 55"/>
              <a:gd name="T21" fmla="*/ 0 h 53"/>
              <a:gd name="T22" fmla="*/ 11 w 55"/>
              <a:gd name="T23" fmla="*/ 0 h 53"/>
              <a:gd name="T24" fmla="*/ 4 w 55"/>
              <a:gd name="T25" fmla="*/ 0 h 53"/>
              <a:gd name="T26" fmla="*/ 2 w 55"/>
              <a:gd name="T27" fmla="*/ 1 h 53"/>
              <a:gd name="T28" fmla="*/ 0 w 55"/>
              <a:gd name="T29" fmla="*/ 7 h 53"/>
              <a:gd name="T30" fmla="*/ 0 w 55"/>
              <a:gd name="T31" fmla="*/ 27 h 53"/>
              <a:gd name="T32" fmla="*/ 0 w 55"/>
              <a:gd name="T33" fmla="*/ 49 h 53"/>
              <a:gd name="T34" fmla="*/ 6 w 55"/>
              <a:gd name="T35" fmla="*/ 49 h 53"/>
              <a:gd name="T36" fmla="*/ 9 w 55"/>
              <a:gd name="T37" fmla="*/ 47 h 53"/>
              <a:gd name="T38" fmla="*/ 13 w 55"/>
              <a:gd name="T39" fmla="*/ 40 h 53"/>
              <a:gd name="T40" fmla="*/ 13 w 55"/>
              <a:gd name="T41" fmla="*/ 53 h 53"/>
              <a:gd name="T42" fmla="*/ 17 w 55"/>
              <a:gd name="T43" fmla="*/ 53 h 53"/>
              <a:gd name="T44" fmla="*/ 24 w 55"/>
              <a:gd name="T45" fmla="*/ 49 h 53"/>
              <a:gd name="T46" fmla="*/ 26 w 55"/>
              <a:gd name="T47" fmla="*/ 43 h 53"/>
              <a:gd name="T48" fmla="*/ 28 w 55"/>
              <a:gd name="T49" fmla="*/ 40 h 53"/>
              <a:gd name="T50" fmla="*/ 28 w 55"/>
              <a:gd name="T51" fmla="*/ 53 h 53"/>
              <a:gd name="T52" fmla="*/ 39 w 55"/>
              <a:gd name="T53" fmla="*/ 49 h 53"/>
              <a:gd name="T54" fmla="*/ 42 w 55"/>
              <a:gd name="T55" fmla="*/ 43 h 53"/>
              <a:gd name="T56" fmla="*/ 42 w 55"/>
              <a:gd name="T57" fmla="*/ 40 h 53"/>
              <a:gd name="T58" fmla="*/ 42 w 55"/>
              <a:gd name="T59" fmla="*/ 49 h 53"/>
              <a:gd name="T60" fmla="*/ 46 w 55"/>
              <a:gd name="T61" fmla="*/ 47 h 53"/>
              <a:gd name="T62" fmla="*/ 51 w 55"/>
              <a:gd name="T63" fmla="*/ 45 h 53"/>
              <a:gd name="T64" fmla="*/ 55 w 55"/>
              <a:gd name="T65" fmla="*/ 38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5" h="53">
                <a:moveTo>
                  <a:pt x="55" y="38"/>
                </a:moveTo>
                <a:lnTo>
                  <a:pt x="55" y="38"/>
                </a:lnTo>
                <a:lnTo>
                  <a:pt x="55" y="27"/>
                </a:lnTo>
                <a:lnTo>
                  <a:pt x="55" y="27"/>
                </a:lnTo>
                <a:lnTo>
                  <a:pt x="55" y="7"/>
                </a:lnTo>
                <a:lnTo>
                  <a:pt x="55" y="7"/>
                </a:lnTo>
                <a:lnTo>
                  <a:pt x="55" y="3"/>
                </a:lnTo>
                <a:lnTo>
                  <a:pt x="55" y="1"/>
                </a:lnTo>
                <a:lnTo>
                  <a:pt x="53" y="0"/>
                </a:lnTo>
                <a:lnTo>
                  <a:pt x="53" y="0"/>
                </a:lnTo>
                <a:lnTo>
                  <a:pt x="46" y="0"/>
                </a:lnTo>
                <a:lnTo>
                  <a:pt x="46" y="0"/>
                </a:lnTo>
                <a:lnTo>
                  <a:pt x="42" y="7"/>
                </a:lnTo>
                <a:lnTo>
                  <a:pt x="40" y="0"/>
                </a:lnTo>
                <a:lnTo>
                  <a:pt x="40" y="0"/>
                </a:lnTo>
                <a:lnTo>
                  <a:pt x="29" y="0"/>
                </a:lnTo>
                <a:lnTo>
                  <a:pt x="29" y="0"/>
                </a:lnTo>
                <a:lnTo>
                  <a:pt x="28" y="7"/>
                </a:lnTo>
                <a:lnTo>
                  <a:pt x="26" y="0"/>
                </a:lnTo>
                <a:lnTo>
                  <a:pt x="26" y="0"/>
                </a:lnTo>
                <a:lnTo>
                  <a:pt x="17" y="0"/>
                </a:lnTo>
                <a:lnTo>
                  <a:pt x="17" y="0"/>
                </a:lnTo>
                <a:lnTo>
                  <a:pt x="13" y="7"/>
                </a:lnTo>
                <a:lnTo>
                  <a:pt x="11" y="0"/>
                </a:lnTo>
                <a:lnTo>
                  <a:pt x="11" y="0"/>
                </a:lnTo>
                <a:lnTo>
                  <a:pt x="4" y="0"/>
                </a:lnTo>
                <a:lnTo>
                  <a:pt x="4" y="0"/>
                </a:lnTo>
                <a:lnTo>
                  <a:pt x="2" y="1"/>
                </a:lnTo>
                <a:lnTo>
                  <a:pt x="0" y="3"/>
                </a:lnTo>
                <a:lnTo>
                  <a:pt x="0" y="7"/>
                </a:lnTo>
                <a:lnTo>
                  <a:pt x="0" y="7"/>
                </a:lnTo>
                <a:lnTo>
                  <a:pt x="0" y="27"/>
                </a:lnTo>
                <a:lnTo>
                  <a:pt x="0" y="27"/>
                </a:lnTo>
                <a:lnTo>
                  <a:pt x="0" y="49"/>
                </a:lnTo>
                <a:lnTo>
                  <a:pt x="0" y="49"/>
                </a:lnTo>
                <a:lnTo>
                  <a:pt x="6" y="49"/>
                </a:lnTo>
                <a:lnTo>
                  <a:pt x="9" y="47"/>
                </a:lnTo>
                <a:lnTo>
                  <a:pt x="9" y="47"/>
                </a:lnTo>
                <a:lnTo>
                  <a:pt x="11" y="42"/>
                </a:lnTo>
                <a:lnTo>
                  <a:pt x="13" y="40"/>
                </a:lnTo>
                <a:lnTo>
                  <a:pt x="13" y="40"/>
                </a:lnTo>
                <a:lnTo>
                  <a:pt x="13" y="53"/>
                </a:lnTo>
                <a:lnTo>
                  <a:pt x="13" y="53"/>
                </a:lnTo>
                <a:lnTo>
                  <a:pt x="17" y="53"/>
                </a:lnTo>
                <a:lnTo>
                  <a:pt x="20" y="51"/>
                </a:lnTo>
                <a:lnTo>
                  <a:pt x="24" y="49"/>
                </a:lnTo>
                <a:lnTo>
                  <a:pt x="24" y="49"/>
                </a:lnTo>
                <a:lnTo>
                  <a:pt x="26" y="43"/>
                </a:lnTo>
                <a:lnTo>
                  <a:pt x="28" y="40"/>
                </a:lnTo>
                <a:lnTo>
                  <a:pt x="28" y="40"/>
                </a:lnTo>
                <a:lnTo>
                  <a:pt x="28" y="53"/>
                </a:lnTo>
                <a:lnTo>
                  <a:pt x="28" y="53"/>
                </a:lnTo>
                <a:lnTo>
                  <a:pt x="33" y="51"/>
                </a:lnTo>
                <a:lnTo>
                  <a:pt x="39" y="49"/>
                </a:lnTo>
                <a:lnTo>
                  <a:pt x="39" y="49"/>
                </a:lnTo>
                <a:lnTo>
                  <a:pt x="42" y="43"/>
                </a:lnTo>
                <a:lnTo>
                  <a:pt x="42" y="40"/>
                </a:lnTo>
                <a:lnTo>
                  <a:pt x="42" y="40"/>
                </a:lnTo>
                <a:lnTo>
                  <a:pt x="42" y="49"/>
                </a:lnTo>
                <a:lnTo>
                  <a:pt x="42" y="49"/>
                </a:lnTo>
                <a:lnTo>
                  <a:pt x="46" y="47"/>
                </a:lnTo>
                <a:lnTo>
                  <a:pt x="46" y="47"/>
                </a:lnTo>
                <a:lnTo>
                  <a:pt x="51" y="45"/>
                </a:lnTo>
                <a:lnTo>
                  <a:pt x="51" y="45"/>
                </a:lnTo>
                <a:lnTo>
                  <a:pt x="53" y="43"/>
                </a:lnTo>
                <a:lnTo>
                  <a:pt x="55" y="3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1" name="Freeform 42"/>
          <p:cNvSpPr>
            <a:spLocks/>
          </p:cNvSpPr>
          <p:nvPr userDrawn="1"/>
        </p:nvSpPr>
        <p:spPr bwMode="auto">
          <a:xfrm>
            <a:off x="8269289" y="-926677"/>
            <a:ext cx="53975" cy="60325"/>
          </a:xfrm>
          <a:custGeom>
            <a:avLst/>
            <a:gdLst>
              <a:gd name="T0" fmla="*/ 67 w 67"/>
              <a:gd name="T1" fmla="*/ 57 h 77"/>
              <a:gd name="T2" fmla="*/ 67 w 67"/>
              <a:gd name="T3" fmla="*/ 44 h 77"/>
              <a:gd name="T4" fmla="*/ 67 w 67"/>
              <a:gd name="T5" fmla="*/ 44 h 77"/>
              <a:gd name="T6" fmla="*/ 65 w 67"/>
              <a:gd name="T7" fmla="*/ 42 h 77"/>
              <a:gd name="T8" fmla="*/ 63 w 67"/>
              <a:gd name="T9" fmla="*/ 37 h 77"/>
              <a:gd name="T10" fmla="*/ 63 w 67"/>
              <a:gd name="T11" fmla="*/ 30 h 77"/>
              <a:gd name="T12" fmla="*/ 63 w 67"/>
              <a:gd name="T13" fmla="*/ 30 h 77"/>
              <a:gd name="T14" fmla="*/ 63 w 67"/>
              <a:gd name="T15" fmla="*/ 26 h 77"/>
              <a:gd name="T16" fmla="*/ 65 w 67"/>
              <a:gd name="T17" fmla="*/ 21 h 77"/>
              <a:gd name="T18" fmla="*/ 67 w 67"/>
              <a:gd name="T19" fmla="*/ 17 h 77"/>
              <a:gd name="T20" fmla="*/ 67 w 67"/>
              <a:gd name="T21" fmla="*/ 6 h 77"/>
              <a:gd name="T22" fmla="*/ 67 w 67"/>
              <a:gd name="T23" fmla="*/ 6 h 77"/>
              <a:gd name="T24" fmla="*/ 63 w 67"/>
              <a:gd name="T25" fmla="*/ 2 h 77"/>
              <a:gd name="T26" fmla="*/ 60 w 67"/>
              <a:gd name="T27" fmla="*/ 0 h 77"/>
              <a:gd name="T28" fmla="*/ 56 w 67"/>
              <a:gd name="T29" fmla="*/ 0 h 77"/>
              <a:gd name="T30" fmla="*/ 56 w 67"/>
              <a:gd name="T31" fmla="*/ 41 h 77"/>
              <a:gd name="T32" fmla="*/ 56 w 67"/>
              <a:gd name="T33" fmla="*/ 41 h 77"/>
              <a:gd name="T34" fmla="*/ 54 w 67"/>
              <a:gd name="T35" fmla="*/ 46 h 77"/>
              <a:gd name="T36" fmla="*/ 51 w 67"/>
              <a:gd name="T37" fmla="*/ 52 h 77"/>
              <a:gd name="T38" fmla="*/ 45 w 67"/>
              <a:gd name="T39" fmla="*/ 55 h 77"/>
              <a:gd name="T40" fmla="*/ 38 w 67"/>
              <a:gd name="T41" fmla="*/ 57 h 77"/>
              <a:gd name="T42" fmla="*/ 38 w 67"/>
              <a:gd name="T43" fmla="*/ 57 h 77"/>
              <a:gd name="T44" fmla="*/ 23 w 67"/>
              <a:gd name="T45" fmla="*/ 59 h 77"/>
              <a:gd name="T46" fmla="*/ 10 w 67"/>
              <a:gd name="T47" fmla="*/ 61 h 77"/>
              <a:gd name="T48" fmla="*/ 0 w 67"/>
              <a:gd name="T49" fmla="*/ 61 h 77"/>
              <a:gd name="T50" fmla="*/ 0 w 67"/>
              <a:gd name="T51" fmla="*/ 61 h 77"/>
              <a:gd name="T52" fmla="*/ 1 w 67"/>
              <a:gd name="T53" fmla="*/ 70 h 77"/>
              <a:gd name="T54" fmla="*/ 1 w 67"/>
              <a:gd name="T55" fmla="*/ 70 h 77"/>
              <a:gd name="T56" fmla="*/ 5 w 67"/>
              <a:gd name="T57" fmla="*/ 75 h 77"/>
              <a:gd name="T58" fmla="*/ 7 w 67"/>
              <a:gd name="T59" fmla="*/ 77 h 77"/>
              <a:gd name="T60" fmla="*/ 54 w 67"/>
              <a:gd name="T61" fmla="*/ 77 h 77"/>
              <a:gd name="T62" fmla="*/ 67 w 67"/>
              <a:gd name="T63" fmla="*/ 5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7" h="77">
                <a:moveTo>
                  <a:pt x="67" y="57"/>
                </a:moveTo>
                <a:lnTo>
                  <a:pt x="67" y="44"/>
                </a:lnTo>
                <a:lnTo>
                  <a:pt x="67" y="44"/>
                </a:lnTo>
                <a:lnTo>
                  <a:pt x="65" y="42"/>
                </a:lnTo>
                <a:lnTo>
                  <a:pt x="63" y="37"/>
                </a:lnTo>
                <a:lnTo>
                  <a:pt x="63" y="30"/>
                </a:lnTo>
                <a:lnTo>
                  <a:pt x="63" y="30"/>
                </a:lnTo>
                <a:lnTo>
                  <a:pt x="63" y="26"/>
                </a:lnTo>
                <a:lnTo>
                  <a:pt x="65" y="21"/>
                </a:lnTo>
                <a:lnTo>
                  <a:pt x="67" y="17"/>
                </a:lnTo>
                <a:lnTo>
                  <a:pt x="67" y="6"/>
                </a:lnTo>
                <a:lnTo>
                  <a:pt x="67" y="6"/>
                </a:lnTo>
                <a:lnTo>
                  <a:pt x="63" y="2"/>
                </a:lnTo>
                <a:lnTo>
                  <a:pt x="60" y="0"/>
                </a:lnTo>
                <a:lnTo>
                  <a:pt x="56" y="0"/>
                </a:lnTo>
                <a:lnTo>
                  <a:pt x="56" y="41"/>
                </a:lnTo>
                <a:lnTo>
                  <a:pt x="56" y="41"/>
                </a:lnTo>
                <a:lnTo>
                  <a:pt x="54" y="46"/>
                </a:lnTo>
                <a:lnTo>
                  <a:pt x="51" y="52"/>
                </a:lnTo>
                <a:lnTo>
                  <a:pt x="45" y="55"/>
                </a:lnTo>
                <a:lnTo>
                  <a:pt x="38" y="57"/>
                </a:lnTo>
                <a:lnTo>
                  <a:pt x="38" y="57"/>
                </a:lnTo>
                <a:lnTo>
                  <a:pt x="23" y="59"/>
                </a:lnTo>
                <a:lnTo>
                  <a:pt x="10" y="61"/>
                </a:lnTo>
                <a:lnTo>
                  <a:pt x="0" y="61"/>
                </a:lnTo>
                <a:lnTo>
                  <a:pt x="0" y="61"/>
                </a:lnTo>
                <a:lnTo>
                  <a:pt x="1" y="70"/>
                </a:lnTo>
                <a:lnTo>
                  <a:pt x="1" y="70"/>
                </a:lnTo>
                <a:lnTo>
                  <a:pt x="5" y="75"/>
                </a:lnTo>
                <a:lnTo>
                  <a:pt x="7" y="77"/>
                </a:lnTo>
                <a:lnTo>
                  <a:pt x="54" y="77"/>
                </a:lnTo>
                <a:lnTo>
                  <a:pt x="67" y="5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2" name="Freeform 43"/>
          <p:cNvSpPr>
            <a:spLocks/>
          </p:cNvSpPr>
          <p:nvPr userDrawn="1"/>
        </p:nvSpPr>
        <p:spPr bwMode="auto">
          <a:xfrm>
            <a:off x="8272464" y="-858415"/>
            <a:ext cx="42863" cy="14288"/>
          </a:xfrm>
          <a:custGeom>
            <a:avLst/>
            <a:gdLst>
              <a:gd name="T0" fmla="*/ 4 w 55"/>
              <a:gd name="T1" fmla="*/ 19 h 19"/>
              <a:gd name="T2" fmla="*/ 51 w 55"/>
              <a:gd name="T3" fmla="*/ 19 h 19"/>
              <a:gd name="T4" fmla="*/ 51 w 55"/>
              <a:gd name="T5" fmla="*/ 19 h 19"/>
              <a:gd name="T6" fmla="*/ 55 w 55"/>
              <a:gd name="T7" fmla="*/ 9 h 19"/>
              <a:gd name="T8" fmla="*/ 53 w 55"/>
              <a:gd name="T9" fmla="*/ 0 h 19"/>
              <a:gd name="T10" fmla="*/ 4 w 55"/>
              <a:gd name="T11" fmla="*/ 0 h 19"/>
              <a:gd name="T12" fmla="*/ 0 w 55"/>
              <a:gd name="T13" fmla="*/ 9 h 19"/>
              <a:gd name="T14" fmla="*/ 4 w 55"/>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19">
                <a:moveTo>
                  <a:pt x="4" y="19"/>
                </a:moveTo>
                <a:lnTo>
                  <a:pt x="51" y="19"/>
                </a:lnTo>
                <a:lnTo>
                  <a:pt x="51" y="19"/>
                </a:lnTo>
                <a:lnTo>
                  <a:pt x="55" y="9"/>
                </a:lnTo>
                <a:lnTo>
                  <a:pt x="53" y="0"/>
                </a:lnTo>
                <a:lnTo>
                  <a:pt x="4" y="0"/>
                </a:lnTo>
                <a:lnTo>
                  <a:pt x="0" y="9"/>
                </a:lnTo>
                <a:lnTo>
                  <a:pt x="4" y="1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3" name="Freeform 44"/>
          <p:cNvSpPr>
            <a:spLocks/>
          </p:cNvSpPr>
          <p:nvPr userDrawn="1"/>
        </p:nvSpPr>
        <p:spPr bwMode="auto">
          <a:xfrm>
            <a:off x="8274051" y="-837778"/>
            <a:ext cx="44450" cy="50800"/>
          </a:xfrm>
          <a:custGeom>
            <a:avLst/>
            <a:gdLst>
              <a:gd name="T0" fmla="*/ 47 w 55"/>
              <a:gd name="T1" fmla="*/ 0 h 64"/>
              <a:gd name="T2" fmla="*/ 0 w 55"/>
              <a:gd name="T3" fmla="*/ 0 h 64"/>
              <a:gd name="T4" fmla="*/ 0 w 55"/>
              <a:gd name="T5" fmla="*/ 62 h 64"/>
              <a:gd name="T6" fmla="*/ 42 w 55"/>
              <a:gd name="T7" fmla="*/ 64 h 64"/>
              <a:gd name="T8" fmla="*/ 55 w 55"/>
              <a:gd name="T9" fmla="*/ 53 h 64"/>
              <a:gd name="T10" fmla="*/ 47 w 55"/>
              <a:gd name="T11" fmla="*/ 0 h 64"/>
            </a:gdLst>
            <a:ahLst/>
            <a:cxnLst>
              <a:cxn ang="0">
                <a:pos x="T0" y="T1"/>
              </a:cxn>
              <a:cxn ang="0">
                <a:pos x="T2" y="T3"/>
              </a:cxn>
              <a:cxn ang="0">
                <a:pos x="T4" y="T5"/>
              </a:cxn>
              <a:cxn ang="0">
                <a:pos x="T6" y="T7"/>
              </a:cxn>
              <a:cxn ang="0">
                <a:pos x="T8" y="T9"/>
              </a:cxn>
              <a:cxn ang="0">
                <a:pos x="T10" y="T11"/>
              </a:cxn>
            </a:cxnLst>
            <a:rect l="0" t="0" r="r" b="b"/>
            <a:pathLst>
              <a:path w="55" h="64">
                <a:moveTo>
                  <a:pt x="47" y="0"/>
                </a:moveTo>
                <a:lnTo>
                  <a:pt x="0" y="0"/>
                </a:lnTo>
                <a:lnTo>
                  <a:pt x="0" y="62"/>
                </a:lnTo>
                <a:lnTo>
                  <a:pt x="42" y="64"/>
                </a:lnTo>
                <a:lnTo>
                  <a:pt x="55" y="53"/>
                </a:lnTo>
                <a:lnTo>
                  <a:pt x="4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4" name="Freeform 45"/>
          <p:cNvSpPr>
            <a:spLocks/>
          </p:cNvSpPr>
          <p:nvPr userDrawn="1"/>
        </p:nvSpPr>
        <p:spPr bwMode="auto">
          <a:xfrm>
            <a:off x="8274050" y="-788565"/>
            <a:ext cx="57150" cy="50800"/>
          </a:xfrm>
          <a:custGeom>
            <a:avLst/>
            <a:gdLst>
              <a:gd name="T0" fmla="*/ 73 w 73"/>
              <a:gd name="T1" fmla="*/ 16 h 64"/>
              <a:gd name="T2" fmla="*/ 73 w 73"/>
              <a:gd name="T3" fmla="*/ 16 h 64"/>
              <a:gd name="T4" fmla="*/ 64 w 73"/>
              <a:gd name="T5" fmla="*/ 9 h 64"/>
              <a:gd name="T6" fmla="*/ 64 w 73"/>
              <a:gd name="T7" fmla="*/ 9 h 64"/>
              <a:gd name="T8" fmla="*/ 62 w 73"/>
              <a:gd name="T9" fmla="*/ 0 h 64"/>
              <a:gd name="T10" fmla="*/ 48 w 73"/>
              <a:gd name="T11" fmla="*/ 11 h 64"/>
              <a:gd name="T12" fmla="*/ 0 w 73"/>
              <a:gd name="T13" fmla="*/ 11 h 64"/>
              <a:gd name="T14" fmla="*/ 0 w 73"/>
              <a:gd name="T15" fmla="*/ 11 h 64"/>
              <a:gd name="T16" fmla="*/ 0 w 73"/>
              <a:gd name="T17" fmla="*/ 27 h 64"/>
              <a:gd name="T18" fmla="*/ 0 w 73"/>
              <a:gd name="T19" fmla="*/ 45 h 64"/>
              <a:gd name="T20" fmla="*/ 0 w 73"/>
              <a:gd name="T21" fmla="*/ 45 h 64"/>
              <a:gd name="T22" fmla="*/ 11 w 73"/>
              <a:gd name="T23" fmla="*/ 55 h 64"/>
              <a:gd name="T24" fmla="*/ 24 w 73"/>
              <a:gd name="T25" fmla="*/ 64 h 64"/>
              <a:gd name="T26" fmla="*/ 55 w 73"/>
              <a:gd name="T27" fmla="*/ 25 h 64"/>
              <a:gd name="T28" fmla="*/ 73 w 73"/>
              <a:gd name="T29"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64">
                <a:moveTo>
                  <a:pt x="73" y="16"/>
                </a:moveTo>
                <a:lnTo>
                  <a:pt x="73" y="16"/>
                </a:lnTo>
                <a:lnTo>
                  <a:pt x="64" y="9"/>
                </a:lnTo>
                <a:lnTo>
                  <a:pt x="64" y="9"/>
                </a:lnTo>
                <a:lnTo>
                  <a:pt x="62" y="0"/>
                </a:lnTo>
                <a:lnTo>
                  <a:pt x="48" y="11"/>
                </a:lnTo>
                <a:lnTo>
                  <a:pt x="0" y="11"/>
                </a:lnTo>
                <a:lnTo>
                  <a:pt x="0" y="11"/>
                </a:lnTo>
                <a:lnTo>
                  <a:pt x="0" y="27"/>
                </a:lnTo>
                <a:lnTo>
                  <a:pt x="0" y="45"/>
                </a:lnTo>
                <a:lnTo>
                  <a:pt x="0" y="45"/>
                </a:lnTo>
                <a:lnTo>
                  <a:pt x="11" y="55"/>
                </a:lnTo>
                <a:lnTo>
                  <a:pt x="24" y="64"/>
                </a:lnTo>
                <a:lnTo>
                  <a:pt x="55" y="25"/>
                </a:lnTo>
                <a:lnTo>
                  <a:pt x="73"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5" name="Freeform 46"/>
          <p:cNvSpPr>
            <a:spLocks/>
          </p:cNvSpPr>
          <p:nvPr userDrawn="1"/>
        </p:nvSpPr>
        <p:spPr bwMode="auto">
          <a:xfrm>
            <a:off x="8301038" y="-769515"/>
            <a:ext cx="85725" cy="50800"/>
          </a:xfrm>
          <a:custGeom>
            <a:avLst/>
            <a:gdLst>
              <a:gd name="T0" fmla="*/ 27 w 108"/>
              <a:gd name="T1" fmla="*/ 7 h 63"/>
              <a:gd name="T2" fmla="*/ 0 w 108"/>
              <a:gd name="T3" fmla="*/ 43 h 63"/>
              <a:gd name="T4" fmla="*/ 45 w 108"/>
              <a:gd name="T5" fmla="*/ 63 h 63"/>
              <a:gd name="T6" fmla="*/ 45 w 108"/>
              <a:gd name="T7" fmla="*/ 63 h 63"/>
              <a:gd name="T8" fmla="*/ 65 w 108"/>
              <a:gd name="T9" fmla="*/ 51 h 63"/>
              <a:gd name="T10" fmla="*/ 86 w 108"/>
              <a:gd name="T11" fmla="*/ 38 h 63"/>
              <a:gd name="T12" fmla="*/ 108 w 108"/>
              <a:gd name="T13" fmla="*/ 23 h 63"/>
              <a:gd name="T14" fmla="*/ 44 w 108"/>
              <a:gd name="T15" fmla="*/ 0 h 63"/>
              <a:gd name="T16" fmla="*/ 27 w 108"/>
              <a:gd name="T17" fmla="*/ 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63">
                <a:moveTo>
                  <a:pt x="27" y="7"/>
                </a:moveTo>
                <a:lnTo>
                  <a:pt x="0" y="43"/>
                </a:lnTo>
                <a:lnTo>
                  <a:pt x="45" y="63"/>
                </a:lnTo>
                <a:lnTo>
                  <a:pt x="45" y="63"/>
                </a:lnTo>
                <a:lnTo>
                  <a:pt x="65" y="51"/>
                </a:lnTo>
                <a:lnTo>
                  <a:pt x="86" y="38"/>
                </a:lnTo>
                <a:lnTo>
                  <a:pt x="108" y="23"/>
                </a:lnTo>
                <a:lnTo>
                  <a:pt x="44" y="0"/>
                </a:lnTo>
                <a:lnTo>
                  <a:pt x="27"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6" name="Freeform 47"/>
          <p:cNvSpPr>
            <a:spLocks/>
          </p:cNvSpPr>
          <p:nvPr userDrawn="1"/>
        </p:nvSpPr>
        <p:spPr bwMode="auto">
          <a:xfrm>
            <a:off x="8324851" y="-952078"/>
            <a:ext cx="22225" cy="93663"/>
          </a:xfrm>
          <a:custGeom>
            <a:avLst/>
            <a:gdLst>
              <a:gd name="T0" fmla="*/ 22 w 27"/>
              <a:gd name="T1" fmla="*/ 50 h 117"/>
              <a:gd name="T2" fmla="*/ 22 w 27"/>
              <a:gd name="T3" fmla="*/ 50 h 117"/>
              <a:gd name="T4" fmla="*/ 22 w 27"/>
              <a:gd name="T5" fmla="*/ 11 h 117"/>
              <a:gd name="T6" fmla="*/ 22 w 27"/>
              <a:gd name="T7" fmla="*/ 11 h 117"/>
              <a:gd name="T8" fmla="*/ 24 w 27"/>
              <a:gd name="T9" fmla="*/ 8 h 117"/>
              <a:gd name="T10" fmla="*/ 24 w 27"/>
              <a:gd name="T11" fmla="*/ 8 h 117"/>
              <a:gd name="T12" fmla="*/ 24 w 27"/>
              <a:gd name="T13" fmla="*/ 4 h 117"/>
              <a:gd name="T14" fmla="*/ 24 w 27"/>
              <a:gd name="T15" fmla="*/ 0 h 117"/>
              <a:gd name="T16" fmla="*/ 2 w 27"/>
              <a:gd name="T17" fmla="*/ 0 h 117"/>
              <a:gd name="T18" fmla="*/ 2 w 27"/>
              <a:gd name="T19" fmla="*/ 0 h 117"/>
              <a:gd name="T20" fmla="*/ 2 w 27"/>
              <a:gd name="T21" fmla="*/ 6 h 117"/>
              <a:gd name="T22" fmla="*/ 2 w 27"/>
              <a:gd name="T23" fmla="*/ 6 h 117"/>
              <a:gd name="T24" fmla="*/ 2 w 27"/>
              <a:gd name="T25" fmla="*/ 9 h 117"/>
              <a:gd name="T26" fmla="*/ 3 w 27"/>
              <a:gd name="T27" fmla="*/ 11 h 117"/>
              <a:gd name="T28" fmla="*/ 3 w 27"/>
              <a:gd name="T29" fmla="*/ 50 h 117"/>
              <a:gd name="T30" fmla="*/ 3 w 27"/>
              <a:gd name="T31" fmla="*/ 50 h 117"/>
              <a:gd name="T32" fmla="*/ 2 w 27"/>
              <a:gd name="T33" fmla="*/ 52 h 117"/>
              <a:gd name="T34" fmla="*/ 0 w 27"/>
              <a:gd name="T35" fmla="*/ 61 h 117"/>
              <a:gd name="T36" fmla="*/ 0 w 27"/>
              <a:gd name="T37" fmla="*/ 61 h 117"/>
              <a:gd name="T38" fmla="*/ 0 w 27"/>
              <a:gd name="T39" fmla="*/ 66 h 117"/>
              <a:gd name="T40" fmla="*/ 2 w 27"/>
              <a:gd name="T41" fmla="*/ 72 h 117"/>
              <a:gd name="T42" fmla="*/ 5 w 27"/>
              <a:gd name="T43" fmla="*/ 75 h 117"/>
              <a:gd name="T44" fmla="*/ 3 w 27"/>
              <a:gd name="T45" fmla="*/ 106 h 117"/>
              <a:gd name="T46" fmla="*/ 3 w 27"/>
              <a:gd name="T47" fmla="*/ 106 h 117"/>
              <a:gd name="T48" fmla="*/ 3 w 27"/>
              <a:gd name="T49" fmla="*/ 108 h 117"/>
              <a:gd name="T50" fmla="*/ 2 w 27"/>
              <a:gd name="T51" fmla="*/ 112 h 117"/>
              <a:gd name="T52" fmla="*/ 2 w 27"/>
              <a:gd name="T53" fmla="*/ 112 h 117"/>
              <a:gd name="T54" fmla="*/ 2 w 27"/>
              <a:gd name="T55" fmla="*/ 117 h 117"/>
              <a:gd name="T56" fmla="*/ 24 w 27"/>
              <a:gd name="T57" fmla="*/ 117 h 117"/>
              <a:gd name="T58" fmla="*/ 24 w 27"/>
              <a:gd name="T59" fmla="*/ 117 h 117"/>
              <a:gd name="T60" fmla="*/ 24 w 27"/>
              <a:gd name="T61" fmla="*/ 110 h 117"/>
              <a:gd name="T62" fmla="*/ 24 w 27"/>
              <a:gd name="T63" fmla="*/ 110 h 117"/>
              <a:gd name="T64" fmla="*/ 22 w 27"/>
              <a:gd name="T65" fmla="*/ 106 h 117"/>
              <a:gd name="T66" fmla="*/ 22 w 27"/>
              <a:gd name="T67" fmla="*/ 75 h 117"/>
              <a:gd name="T68" fmla="*/ 22 w 27"/>
              <a:gd name="T69" fmla="*/ 75 h 117"/>
              <a:gd name="T70" fmla="*/ 25 w 27"/>
              <a:gd name="T71" fmla="*/ 70 h 117"/>
              <a:gd name="T72" fmla="*/ 25 w 27"/>
              <a:gd name="T73" fmla="*/ 66 h 117"/>
              <a:gd name="T74" fmla="*/ 27 w 27"/>
              <a:gd name="T75" fmla="*/ 62 h 117"/>
              <a:gd name="T76" fmla="*/ 27 w 27"/>
              <a:gd name="T77" fmla="*/ 62 h 117"/>
              <a:gd name="T78" fmla="*/ 24 w 27"/>
              <a:gd name="T79" fmla="*/ 53 h 117"/>
              <a:gd name="T80" fmla="*/ 22 w 27"/>
              <a:gd name="T81" fmla="*/ 5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7" h="117">
                <a:moveTo>
                  <a:pt x="22" y="50"/>
                </a:moveTo>
                <a:lnTo>
                  <a:pt x="22" y="50"/>
                </a:lnTo>
                <a:lnTo>
                  <a:pt x="22" y="11"/>
                </a:lnTo>
                <a:lnTo>
                  <a:pt x="22" y="11"/>
                </a:lnTo>
                <a:lnTo>
                  <a:pt x="24" y="8"/>
                </a:lnTo>
                <a:lnTo>
                  <a:pt x="24" y="8"/>
                </a:lnTo>
                <a:lnTo>
                  <a:pt x="24" y="4"/>
                </a:lnTo>
                <a:lnTo>
                  <a:pt x="24" y="0"/>
                </a:lnTo>
                <a:lnTo>
                  <a:pt x="2" y="0"/>
                </a:lnTo>
                <a:lnTo>
                  <a:pt x="2" y="0"/>
                </a:lnTo>
                <a:lnTo>
                  <a:pt x="2" y="6"/>
                </a:lnTo>
                <a:lnTo>
                  <a:pt x="2" y="6"/>
                </a:lnTo>
                <a:lnTo>
                  <a:pt x="2" y="9"/>
                </a:lnTo>
                <a:lnTo>
                  <a:pt x="3" y="11"/>
                </a:lnTo>
                <a:lnTo>
                  <a:pt x="3" y="50"/>
                </a:lnTo>
                <a:lnTo>
                  <a:pt x="3" y="50"/>
                </a:lnTo>
                <a:lnTo>
                  <a:pt x="2" y="52"/>
                </a:lnTo>
                <a:lnTo>
                  <a:pt x="0" y="61"/>
                </a:lnTo>
                <a:lnTo>
                  <a:pt x="0" y="61"/>
                </a:lnTo>
                <a:lnTo>
                  <a:pt x="0" y="66"/>
                </a:lnTo>
                <a:lnTo>
                  <a:pt x="2" y="72"/>
                </a:lnTo>
                <a:lnTo>
                  <a:pt x="5" y="75"/>
                </a:lnTo>
                <a:lnTo>
                  <a:pt x="3" y="106"/>
                </a:lnTo>
                <a:lnTo>
                  <a:pt x="3" y="106"/>
                </a:lnTo>
                <a:lnTo>
                  <a:pt x="3" y="108"/>
                </a:lnTo>
                <a:lnTo>
                  <a:pt x="2" y="112"/>
                </a:lnTo>
                <a:lnTo>
                  <a:pt x="2" y="112"/>
                </a:lnTo>
                <a:lnTo>
                  <a:pt x="2" y="117"/>
                </a:lnTo>
                <a:lnTo>
                  <a:pt x="24" y="117"/>
                </a:lnTo>
                <a:lnTo>
                  <a:pt x="24" y="117"/>
                </a:lnTo>
                <a:lnTo>
                  <a:pt x="24" y="110"/>
                </a:lnTo>
                <a:lnTo>
                  <a:pt x="24" y="110"/>
                </a:lnTo>
                <a:lnTo>
                  <a:pt x="22" y="106"/>
                </a:lnTo>
                <a:lnTo>
                  <a:pt x="22" y="75"/>
                </a:lnTo>
                <a:lnTo>
                  <a:pt x="22" y="75"/>
                </a:lnTo>
                <a:lnTo>
                  <a:pt x="25" y="70"/>
                </a:lnTo>
                <a:lnTo>
                  <a:pt x="25" y="66"/>
                </a:lnTo>
                <a:lnTo>
                  <a:pt x="27" y="62"/>
                </a:lnTo>
                <a:lnTo>
                  <a:pt x="27" y="62"/>
                </a:lnTo>
                <a:lnTo>
                  <a:pt x="24" y="53"/>
                </a:lnTo>
                <a:lnTo>
                  <a:pt x="22" y="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7" name="Freeform 48"/>
          <p:cNvSpPr>
            <a:spLocks/>
          </p:cNvSpPr>
          <p:nvPr userDrawn="1"/>
        </p:nvSpPr>
        <p:spPr bwMode="auto">
          <a:xfrm>
            <a:off x="8347076" y="-923502"/>
            <a:ext cx="60325" cy="42863"/>
          </a:xfrm>
          <a:custGeom>
            <a:avLst/>
            <a:gdLst>
              <a:gd name="T0" fmla="*/ 42 w 77"/>
              <a:gd name="T1" fmla="*/ 46 h 55"/>
              <a:gd name="T2" fmla="*/ 77 w 77"/>
              <a:gd name="T3" fmla="*/ 9 h 55"/>
              <a:gd name="T4" fmla="*/ 77 w 77"/>
              <a:gd name="T5" fmla="*/ 9 h 55"/>
              <a:gd name="T6" fmla="*/ 26 w 77"/>
              <a:gd name="T7" fmla="*/ 9 h 55"/>
              <a:gd name="T8" fmla="*/ 26 w 77"/>
              <a:gd name="T9" fmla="*/ 9 h 55"/>
              <a:gd name="T10" fmla="*/ 20 w 77"/>
              <a:gd name="T11" fmla="*/ 7 h 55"/>
              <a:gd name="T12" fmla="*/ 15 w 77"/>
              <a:gd name="T13" fmla="*/ 4 h 55"/>
              <a:gd name="T14" fmla="*/ 7 w 77"/>
              <a:gd name="T15" fmla="*/ 0 h 55"/>
              <a:gd name="T16" fmla="*/ 6 w 77"/>
              <a:gd name="T17" fmla="*/ 0 h 55"/>
              <a:gd name="T18" fmla="*/ 6 w 77"/>
              <a:gd name="T19" fmla="*/ 0 h 55"/>
              <a:gd name="T20" fmla="*/ 0 w 77"/>
              <a:gd name="T21" fmla="*/ 11 h 55"/>
              <a:gd name="T22" fmla="*/ 0 w 77"/>
              <a:gd name="T23" fmla="*/ 11 h 55"/>
              <a:gd name="T24" fmla="*/ 4 w 77"/>
              <a:gd name="T25" fmla="*/ 17 h 55"/>
              <a:gd name="T26" fmla="*/ 6 w 77"/>
              <a:gd name="T27" fmla="*/ 20 h 55"/>
              <a:gd name="T28" fmla="*/ 7 w 77"/>
              <a:gd name="T29" fmla="*/ 27 h 55"/>
              <a:gd name="T30" fmla="*/ 7 w 77"/>
              <a:gd name="T31" fmla="*/ 27 h 55"/>
              <a:gd name="T32" fmla="*/ 7 w 77"/>
              <a:gd name="T33" fmla="*/ 33 h 55"/>
              <a:gd name="T34" fmla="*/ 4 w 77"/>
              <a:gd name="T35" fmla="*/ 38 h 55"/>
              <a:gd name="T36" fmla="*/ 0 w 77"/>
              <a:gd name="T37" fmla="*/ 42 h 55"/>
              <a:gd name="T38" fmla="*/ 0 w 77"/>
              <a:gd name="T39" fmla="*/ 42 h 55"/>
              <a:gd name="T40" fmla="*/ 7 w 77"/>
              <a:gd name="T41" fmla="*/ 55 h 55"/>
              <a:gd name="T42" fmla="*/ 7 w 77"/>
              <a:gd name="T43" fmla="*/ 55 h 55"/>
              <a:gd name="T44" fmla="*/ 13 w 77"/>
              <a:gd name="T45" fmla="*/ 51 h 55"/>
              <a:gd name="T46" fmla="*/ 28 w 77"/>
              <a:gd name="T47" fmla="*/ 46 h 55"/>
              <a:gd name="T48" fmla="*/ 28 w 77"/>
              <a:gd name="T49" fmla="*/ 46 h 55"/>
              <a:gd name="T50" fmla="*/ 42 w 77"/>
              <a:gd name="T51" fmla="*/ 4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7" h="55">
                <a:moveTo>
                  <a:pt x="42" y="46"/>
                </a:moveTo>
                <a:lnTo>
                  <a:pt x="77" y="9"/>
                </a:lnTo>
                <a:lnTo>
                  <a:pt x="77" y="9"/>
                </a:lnTo>
                <a:lnTo>
                  <a:pt x="26" y="9"/>
                </a:lnTo>
                <a:lnTo>
                  <a:pt x="26" y="9"/>
                </a:lnTo>
                <a:lnTo>
                  <a:pt x="20" y="7"/>
                </a:lnTo>
                <a:lnTo>
                  <a:pt x="15" y="4"/>
                </a:lnTo>
                <a:lnTo>
                  <a:pt x="7" y="0"/>
                </a:lnTo>
                <a:lnTo>
                  <a:pt x="6" y="0"/>
                </a:lnTo>
                <a:lnTo>
                  <a:pt x="6" y="0"/>
                </a:lnTo>
                <a:lnTo>
                  <a:pt x="0" y="11"/>
                </a:lnTo>
                <a:lnTo>
                  <a:pt x="0" y="11"/>
                </a:lnTo>
                <a:lnTo>
                  <a:pt x="4" y="17"/>
                </a:lnTo>
                <a:lnTo>
                  <a:pt x="6" y="20"/>
                </a:lnTo>
                <a:lnTo>
                  <a:pt x="7" y="27"/>
                </a:lnTo>
                <a:lnTo>
                  <a:pt x="7" y="27"/>
                </a:lnTo>
                <a:lnTo>
                  <a:pt x="7" y="33"/>
                </a:lnTo>
                <a:lnTo>
                  <a:pt x="4" y="38"/>
                </a:lnTo>
                <a:lnTo>
                  <a:pt x="0" y="42"/>
                </a:lnTo>
                <a:lnTo>
                  <a:pt x="0" y="42"/>
                </a:lnTo>
                <a:lnTo>
                  <a:pt x="7" y="55"/>
                </a:lnTo>
                <a:lnTo>
                  <a:pt x="7" y="55"/>
                </a:lnTo>
                <a:lnTo>
                  <a:pt x="13" y="51"/>
                </a:lnTo>
                <a:lnTo>
                  <a:pt x="28" y="46"/>
                </a:lnTo>
                <a:lnTo>
                  <a:pt x="28" y="46"/>
                </a:lnTo>
                <a:lnTo>
                  <a:pt x="42" y="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8" name="Freeform 49"/>
          <p:cNvSpPr>
            <a:spLocks/>
          </p:cNvSpPr>
          <p:nvPr userDrawn="1"/>
        </p:nvSpPr>
        <p:spPr bwMode="auto">
          <a:xfrm>
            <a:off x="8423276" y="-982240"/>
            <a:ext cx="119063" cy="93663"/>
          </a:xfrm>
          <a:custGeom>
            <a:avLst/>
            <a:gdLst>
              <a:gd name="T0" fmla="*/ 152 w 152"/>
              <a:gd name="T1" fmla="*/ 60 h 119"/>
              <a:gd name="T2" fmla="*/ 148 w 152"/>
              <a:gd name="T3" fmla="*/ 58 h 119"/>
              <a:gd name="T4" fmla="*/ 139 w 152"/>
              <a:gd name="T5" fmla="*/ 62 h 119"/>
              <a:gd name="T6" fmla="*/ 135 w 152"/>
              <a:gd name="T7" fmla="*/ 64 h 119"/>
              <a:gd name="T8" fmla="*/ 134 w 152"/>
              <a:gd name="T9" fmla="*/ 75 h 119"/>
              <a:gd name="T10" fmla="*/ 130 w 152"/>
              <a:gd name="T11" fmla="*/ 71 h 119"/>
              <a:gd name="T12" fmla="*/ 121 w 152"/>
              <a:gd name="T13" fmla="*/ 69 h 119"/>
              <a:gd name="T14" fmla="*/ 113 w 152"/>
              <a:gd name="T15" fmla="*/ 71 h 119"/>
              <a:gd name="T16" fmla="*/ 117 w 152"/>
              <a:gd name="T17" fmla="*/ 80 h 119"/>
              <a:gd name="T18" fmla="*/ 113 w 152"/>
              <a:gd name="T19" fmla="*/ 90 h 119"/>
              <a:gd name="T20" fmla="*/ 110 w 152"/>
              <a:gd name="T21" fmla="*/ 90 h 119"/>
              <a:gd name="T22" fmla="*/ 103 w 152"/>
              <a:gd name="T23" fmla="*/ 84 h 119"/>
              <a:gd name="T24" fmla="*/ 103 w 152"/>
              <a:gd name="T25" fmla="*/ 79 h 119"/>
              <a:gd name="T26" fmla="*/ 93 w 152"/>
              <a:gd name="T27" fmla="*/ 82 h 119"/>
              <a:gd name="T28" fmla="*/ 88 w 152"/>
              <a:gd name="T29" fmla="*/ 79 h 119"/>
              <a:gd name="T30" fmla="*/ 90 w 152"/>
              <a:gd name="T31" fmla="*/ 69 h 119"/>
              <a:gd name="T32" fmla="*/ 104 w 152"/>
              <a:gd name="T33" fmla="*/ 66 h 119"/>
              <a:gd name="T34" fmla="*/ 103 w 152"/>
              <a:gd name="T35" fmla="*/ 60 h 119"/>
              <a:gd name="T36" fmla="*/ 97 w 152"/>
              <a:gd name="T37" fmla="*/ 53 h 119"/>
              <a:gd name="T38" fmla="*/ 92 w 152"/>
              <a:gd name="T39" fmla="*/ 51 h 119"/>
              <a:gd name="T40" fmla="*/ 82 w 152"/>
              <a:gd name="T41" fmla="*/ 53 h 119"/>
              <a:gd name="T42" fmla="*/ 86 w 152"/>
              <a:gd name="T43" fmla="*/ 51 h 119"/>
              <a:gd name="T44" fmla="*/ 90 w 152"/>
              <a:gd name="T45" fmla="*/ 44 h 119"/>
              <a:gd name="T46" fmla="*/ 90 w 152"/>
              <a:gd name="T47" fmla="*/ 35 h 119"/>
              <a:gd name="T48" fmla="*/ 84 w 152"/>
              <a:gd name="T49" fmla="*/ 26 h 119"/>
              <a:gd name="T50" fmla="*/ 84 w 152"/>
              <a:gd name="T51" fmla="*/ 26 h 119"/>
              <a:gd name="T52" fmla="*/ 79 w 152"/>
              <a:gd name="T53" fmla="*/ 27 h 119"/>
              <a:gd name="T54" fmla="*/ 68 w 152"/>
              <a:gd name="T55" fmla="*/ 33 h 119"/>
              <a:gd name="T56" fmla="*/ 66 w 152"/>
              <a:gd name="T57" fmla="*/ 38 h 119"/>
              <a:gd name="T58" fmla="*/ 66 w 152"/>
              <a:gd name="T59" fmla="*/ 46 h 119"/>
              <a:gd name="T60" fmla="*/ 62 w 152"/>
              <a:gd name="T61" fmla="*/ 40 h 119"/>
              <a:gd name="T62" fmla="*/ 55 w 152"/>
              <a:gd name="T63" fmla="*/ 35 h 119"/>
              <a:gd name="T64" fmla="*/ 50 w 152"/>
              <a:gd name="T65" fmla="*/ 35 h 119"/>
              <a:gd name="T66" fmla="*/ 42 w 152"/>
              <a:gd name="T67" fmla="*/ 38 h 119"/>
              <a:gd name="T68" fmla="*/ 48 w 152"/>
              <a:gd name="T69" fmla="*/ 46 h 119"/>
              <a:gd name="T70" fmla="*/ 48 w 152"/>
              <a:gd name="T71" fmla="*/ 57 h 119"/>
              <a:gd name="T72" fmla="*/ 42 w 152"/>
              <a:gd name="T73" fmla="*/ 58 h 119"/>
              <a:gd name="T74" fmla="*/ 35 w 152"/>
              <a:gd name="T75" fmla="*/ 53 h 119"/>
              <a:gd name="T76" fmla="*/ 33 w 152"/>
              <a:gd name="T77" fmla="*/ 47 h 119"/>
              <a:gd name="T78" fmla="*/ 26 w 152"/>
              <a:gd name="T79" fmla="*/ 53 h 119"/>
              <a:gd name="T80" fmla="*/ 20 w 152"/>
              <a:gd name="T81" fmla="*/ 51 h 119"/>
              <a:gd name="T82" fmla="*/ 17 w 152"/>
              <a:gd name="T83" fmla="*/ 42 h 119"/>
              <a:gd name="T84" fmla="*/ 31 w 152"/>
              <a:gd name="T85" fmla="*/ 35 h 119"/>
              <a:gd name="T86" fmla="*/ 29 w 152"/>
              <a:gd name="T87" fmla="*/ 33 h 119"/>
              <a:gd name="T88" fmla="*/ 22 w 152"/>
              <a:gd name="T89" fmla="*/ 24 h 119"/>
              <a:gd name="T90" fmla="*/ 15 w 152"/>
              <a:gd name="T91" fmla="*/ 24 h 119"/>
              <a:gd name="T92" fmla="*/ 18 w 152"/>
              <a:gd name="T93" fmla="*/ 18 h 119"/>
              <a:gd name="T94" fmla="*/ 20 w 152"/>
              <a:gd name="T95" fmla="*/ 9 h 119"/>
              <a:gd name="T96" fmla="*/ 18 w 152"/>
              <a:gd name="T97" fmla="*/ 5 h 119"/>
              <a:gd name="T98" fmla="*/ 13 w 152"/>
              <a:gd name="T99" fmla="*/ 0 h 119"/>
              <a:gd name="T100" fmla="*/ 35 w 152"/>
              <a:gd name="T101" fmla="*/ 88 h 119"/>
              <a:gd name="T102" fmla="*/ 46 w 152"/>
              <a:gd name="T103" fmla="*/ 82 h 119"/>
              <a:gd name="T104" fmla="*/ 51 w 152"/>
              <a:gd name="T105" fmla="*/ 79 h 119"/>
              <a:gd name="T106" fmla="*/ 66 w 152"/>
              <a:gd name="T107" fmla="*/ 80 h 119"/>
              <a:gd name="T108" fmla="*/ 71 w 152"/>
              <a:gd name="T109" fmla="*/ 82 h 119"/>
              <a:gd name="T110" fmla="*/ 82 w 152"/>
              <a:gd name="T111" fmla="*/ 90 h 119"/>
              <a:gd name="T112" fmla="*/ 84 w 152"/>
              <a:gd name="T113" fmla="*/ 99 h 119"/>
              <a:gd name="T114" fmla="*/ 84 w 152"/>
              <a:gd name="T115" fmla="*/ 104 h 119"/>
              <a:gd name="T116" fmla="*/ 106 w 152"/>
              <a:gd name="T117"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2" h="119">
                <a:moveTo>
                  <a:pt x="106" y="119"/>
                </a:moveTo>
                <a:lnTo>
                  <a:pt x="152" y="60"/>
                </a:lnTo>
                <a:lnTo>
                  <a:pt x="152" y="60"/>
                </a:lnTo>
                <a:lnTo>
                  <a:pt x="148" y="58"/>
                </a:lnTo>
                <a:lnTo>
                  <a:pt x="145" y="60"/>
                </a:lnTo>
                <a:lnTo>
                  <a:pt x="139" y="62"/>
                </a:lnTo>
                <a:lnTo>
                  <a:pt x="139" y="62"/>
                </a:lnTo>
                <a:lnTo>
                  <a:pt x="135" y="64"/>
                </a:lnTo>
                <a:lnTo>
                  <a:pt x="134" y="69"/>
                </a:lnTo>
                <a:lnTo>
                  <a:pt x="134" y="75"/>
                </a:lnTo>
                <a:lnTo>
                  <a:pt x="134" y="75"/>
                </a:lnTo>
                <a:lnTo>
                  <a:pt x="130" y="71"/>
                </a:lnTo>
                <a:lnTo>
                  <a:pt x="128" y="69"/>
                </a:lnTo>
                <a:lnTo>
                  <a:pt x="121" y="69"/>
                </a:lnTo>
                <a:lnTo>
                  <a:pt x="115" y="69"/>
                </a:lnTo>
                <a:lnTo>
                  <a:pt x="113" y="71"/>
                </a:lnTo>
                <a:lnTo>
                  <a:pt x="113" y="71"/>
                </a:lnTo>
                <a:lnTo>
                  <a:pt x="117" y="80"/>
                </a:lnTo>
                <a:lnTo>
                  <a:pt x="117" y="86"/>
                </a:lnTo>
                <a:lnTo>
                  <a:pt x="113" y="90"/>
                </a:lnTo>
                <a:lnTo>
                  <a:pt x="110" y="90"/>
                </a:lnTo>
                <a:lnTo>
                  <a:pt x="110" y="90"/>
                </a:lnTo>
                <a:lnTo>
                  <a:pt x="104" y="88"/>
                </a:lnTo>
                <a:lnTo>
                  <a:pt x="103" y="84"/>
                </a:lnTo>
                <a:lnTo>
                  <a:pt x="103" y="79"/>
                </a:lnTo>
                <a:lnTo>
                  <a:pt x="103" y="79"/>
                </a:lnTo>
                <a:lnTo>
                  <a:pt x="97" y="82"/>
                </a:lnTo>
                <a:lnTo>
                  <a:pt x="93" y="82"/>
                </a:lnTo>
                <a:lnTo>
                  <a:pt x="88" y="79"/>
                </a:lnTo>
                <a:lnTo>
                  <a:pt x="88" y="79"/>
                </a:lnTo>
                <a:lnTo>
                  <a:pt x="86" y="75"/>
                </a:lnTo>
                <a:lnTo>
                  <a:pt x="90" y="69"/>
                </a:lnTo>
                <a:lnTo>
                  <a:pt x="95" y="68"/>
                </a:lnTo>
                <a:lnTo>
                  <a:pt x="104" y="66"/>
                </a:lnTo>
                <a:lnTo>
                  <a:pt x="104" y="66"/>
                </a:lnTo>
                <a:lnTo>
                  <a:pt x="103" y="60"/>
                </a:lnTo>
                <a:lnTo>
                  <a:pt x="101" y="57"/>
                </a:lnTo>
                <a:lnTo>
                  <a:pt x="97" y="53"/>
                </a:lnTo>
                <a:lnTo>
                  <a:pt x="97" y="53"/>
                </a:lnTo>
                <a:lnTo>
                  <a:pt x="92" y="51"/>
                </a:lnTo>
                <a:lnTo>
                  <a:pt x="88" y="51"/>
                </a:lnTo>
                <a:lnTo>
                  <a:pt x="82" y="53"/>
                </a:lnTo>
                <a:lnTo>
                  <a:pt x="82" y="53"/>
                </a:lnTo>
                <a:lnTo>
                  <a:pt x="86" y="51"/>
                </a:lnTo>
                <a:lnTo>
                  <a:pt x="88" y="47"/>
                </a:lnTo>
                <a:lnTo>
                  <a:pt x="90" y="44"/>
                </a:lnTo>
                <a:lnTo>
                  <a:pt x="90" y="44"/>
                </a:lnTo>
                <a:lnTo>
                  <a:pt x="90" y="35"/>
                </a:lnTo>
                <a:lnTo>
                  <a:pt x="88" y="31"/>
                </a:lnTo>
                <a:lnTo>
                  <a:pt x="84" y="26"/>
                </a:lnTo>
                <a:lnTo>
                  <a:pt x="84" y="26"/>
                </a:lnTo>
                <a:lnTo>
                  <a:pt x="84" y="26"/>
                </a:lnTo>
                <a:lnTo>
                  <a:pt x="84" y="26"/>
                </a:lnTo>
                <a:lnTo>
                  <a:pt x="79" y="27"/>
                </a:lnTo>
                <a:lnTo>
                  <a:pt x="73" y="29"/>
                </a:lnTo>
                <a:lnTo>
                  <a:pt x="68" y="33"/>
                </a:lnTo>
                <a:lnTo>
                  <a:pt x="68" y="33"/>
                </a:lnTo>
                <a:lnTo>
                  <a:pt x="66" y="38"/>
                </a:lnTo>
                <a:lnTo>
                  <a:pt x="66" y="42"/>
                </a:lnTo>
                <a:lnTo>
                  <a:pt x="66" y="46"/>
                </a:lnTo>
                <a:lnTo>
                  <a:pt x="66" y="46"/>
                </a:lnTo>
                <a:lnTo>
                  <a:pt x="62" y="40"/>
                </a:lnTo>
                <a:lnTo>
                  <a:pt x="60" y="37"/>
                </a:lnTo>
                <a:lnTo>
                  <a:pt x="55" y="35"/>
                </a:lnTo>
                <a:lnTo>
                  <a:pt x="55" y="35"/>
                </a:lnTo>
                <a:lnTo>
                  <a:pt x="50" y="35"/>
                </a:lnTo>
                <a:lnTo>
                  <a:pt x="46" y="37"/>
                </a:lnTo>
                <a:lnTo>
                  <a:pt x="42" y="38"/>
                </a:lnTo>
                <a:lnTo>
                  <a:pt x="42" y="38"/>
                </a:lnTo>
                <a:lnTo>
                  <a:pt x="48" y="46"/>
                </a:lnTo>
                <a:lnTo>
                  <a:pt x="48" y="53"/>
                </a:lnTo>
                <a:lnTo>
                  <a:pt x="48" y="57"/>
                </a:lnTo>
                <a:lnTo>
                  <a:pt x="42" y="58"/>
                </a:lnTo>
                <a:lnTo>
                  <a:pt x="42" y="58"/>
                </a:lnTo>
                <a:lnTo>
                  <a:pt x="37" y="57"/>
                </a:lnTo>
                <a:lnTo>
                  <a:pt x="35" y="53"/>
                </a:lnTo>
                <a:lnTo>
                  <a:pt x="33" y="47"/>
                </a:lnTo>
                <a:lnTo>
                  <a:pt x="33" y="47"/>
                </a:lnTo>
                <a:lnTo>
                  <a:pt x="29" y="51"/>
                </a:lnTo>
                <a:lnTo>
                  <a:pt x="26" y="53"/>
                </a:lnTo>
                <a:lnTo>
                  <a:pt x="20" y="51"/>
                </a:lnTo>
                <a:lnTo>
                  <a:pt x="20" y="51"/>
                </a:lnTo>
                <a:lnTo>
                  <a:pt x="17" y="47"/>
                </a:lnTo>
                <a:lnTo>
                  <a:pt x="17" y="42"/>
                </a:lnTo>
                <a:lnTo>
                  <a:pt x="22" y="38"/>
                </a:lnTo>
                <a:lnTo>
                  <a:pt x="31" y="35"/>
                </a:lnTo>
                <a:lnTo>
                  <a:pt x="31" y="35"/>
                </a:lnTo>
                <a:lnTo>
                  <a:pt x="29" y="33"/>
                </a:lnTo>
                <a:lnTo>
                  <a:pt x="28" y="27"/>
                </a:lnTo>
                <a:lnTo>
                  <a:pt x="22" y="24"/>
                </a:lnTo>
                <a:lnTo>
                  <a:pt x="18" y="22"/>
                </a:lnTo>
                <a:lnTo>
                  <a:pt x="15" y="24"/>
                </a:lnTo>
                <a:lnTo>
                  <a:pt x="15" y="24"/>
                </a:lnTo>
                <a:lnTo>
                  <a:pt x="18" y="18"/>
                </a:lnTo>
                <a:lnTo>
                  <a:pt x="20" y="15"/>
                </a:lnTo>
                <a:lnTo>
                  <a:pt x="20" y="9"/>
                </a:lnTo>
                <a:lnTo>
                  <a:pt x="20" y="9"/>
                </a:lnTo>
                <a:lnTo>
                  <a:pt x="18" y="5"/>
                </a:lnTo>
                <a:lnTo>
                  <a:pt x="17" y="2"/>
                </a:lnTo>
                <a:lnTo>
                  <a:pt x="13" y="0"/>
                </a:lnTo>
                <a:lnTo>
                  <a:pt x="0" y="73"/>
                </a:lnTo>
                <a:lnTo>
                  <a:pt x="35" y="88"/>
                </a:lnTo>
                <a:lnTo>
                  <a:pt x="35" y="88"/>
                </a:lnTo>
                <a:lnTo>
                  <a:pt x="46" y="82"/>
                </a:lnTo>
                <a:lnTo>
                  <a:pt x="46" y="82"/>
                </a:lnTo>
                <a:lnTo>
                  <a:pt x="51" y="79"/>
                </a:lnTo>
                <a:lnTo>
                  <a:pt x="59" y="79"/>
                </a:lnTo>
                <a:lnTo>
                  <a:pt x="66" y="80"/>
                </a:lnTo>
                <a:lnTo>
                  <a:pt x="71" y="82"/>
                </a:lnTo>
                <a:lnTo>
                  <a:pt x="71" y="82"/>
                </a:lnTo>
                <a:lnTo>
                  <a:pt x="79" y="86"/>
                </a:lnTo>
                <a:lnTo>
                  <a:pt x="82" y="90"/>
                </a:lnTo>
                <a:lnTo>
                  <a:pt x="84" y="95"/>
                </a:lnTo>
                <a:lnTo>
                  <a:pt x="84" y="99"/>
                </a:lnTo>
                <a:lnTo>
                  <a:pt x="84" y="99"/>
                </a:lnTo>
                <a:lnTo>
                  <a:pt x="84" y="104"/>
                </a:lnTo>
                <a:lnTo>
                  <a:pt x="81" y="110"/>
                </a:lnTo>
                <a:lnTo>
                  <a:pt x="106" y="11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99" name="Freeform 50"/>
          <p:cNvSpPr>
            <a:spLocks/>
          </p:cNvSpPr>
          <p:nvPr userDrawn="1"/>
        </p:nvSpPr>
        <p:spPr bwMode="auto">
          <a:xfrm>
            <a:off x="8520113" y="-917153"/>
            <a:ext cx="142875" cy="25400"/>
          </a:xfrm>
          <a:custGeom>
            <a:avLst/>
            <a:gdLst>
              <a:gd name="T0" fmla="*/ 151 w 180"/>
              <a:gd name="T1" fmla="*/ 28 h 31"/>
              <a:gd name="T2" fmla="*/ 180 w 180"/>
              <a:gd name="T3" fmla="*/ 15 h 31"/>
              <a:gd name="T4" fmla="*/ 151 w 180"/>
              <a:gd name="T5" fmla="*/ 2 h 31"/>
              <a:gd name="T6" fmla="*/ 151 w 180"/>
              <a:gd name="T7" fmla="*/ 2 h 31"/>
              <a:gd name="T8" fmla="*/ 102 w 180"/>
              <a:gd name="T9" fmla="*/ 2 h 31"/>
              <a:gd name="T10" fmla="*/ 23 w 180"/>
              <a:gd name="T11" fmla="*/ 0 h 31"/>
              <a:gd name="T12" fmla="*/ 0 w 180"/>
              <a:gd name="T13" fmla="*/ 31 h 31"/>
              <a:gd name="T14" fmla="*/ 0 w 180"/>
              <a:gd name="T15" fmla="*/ 31 h 31"/>
              <a:gd name="T16" fmla="*/ 151 w 180"/>
              <a:gd name="T17"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31">
                <a:moveTo>
                  <a:pt x="151" y="28"/>
                </a:moveTo>
                <a:lnTo>
                  <a:pt x="180" y="15"/>
                </a:lnTo>
                <a:lnTo>
                  <a:pt x="151" y="2"/>
                </a:lnTo>
                <a:lnTo>
                  <a:pt x="151" y="2"/>
                </a:lnTo>
                <a:lnTo>
                  <a:pt x="102" y="2"/>
                </a:lnTo>
                <a:lnTo>
                  <a:pt x="23" y="0"/>
                </a:lnTo>
                <a:lnTo>
                  <a:pt x="0" y="31"/>
                </a:lnTo>
                <a:lnTo>
                  <a:pt x="0" y="31"/>
                </a:lnTo>
                <a:lnTo>
                  <a:pt x="151"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100" name="Freeform 51"/>
          <p:cNvSpPr>
            <a:spLocks/>
          </p:cNvSpPr>
          <p:nvPr userDrawn="1"/>
        </p:nvSpPr>
        <p:spPr bwMode="auto">
          <a:xfrm>
            <a:off x="8566151" y="-855240"/>
            <a:ext cx="85725" cy="84138"/>
          </a:xfrm>
          <a:custGeom>
            <a:avLst/>
            <a:gdLst>
              <a:gd name="T0" fmla="*/ 55 w 108"/>
              <a:gd name="T1" fmla="*/ 106 h 106"/>
              <a:gd name="T2" fmla="*/ 55 w 108"/>
              <a:gd name="T3" fmla="*/ 106 h 106"/>
              <a:gd name="T4" fmla="*/ 38 w 108"/>
              <a:gd name="T5" fmla="*/ 97 h 106"/>
              <a:gd name="T6" fmla="*/ 26 w 108"/>
              <a:gd name="T7" fmla="*/ 89 h 106"/>
              <a:gd name="T8" fmla="*/ 13 w 108"/>
              <a:gd name="T9" fmla="*/ 80 h 106"/>
              <a:gd name="T10" fmla="*/ 4 w 108"/>
              <a:gd name="T11" fmla="*/ 69 h 106"/>
              <a:gd name="T12" fmla="*/ 4 w 108"/>
              <a:gd name="T13" fmla="*/ 69 h 106"/>
              <a:gd name="T14" fmla="*/ 0 w 108"/>
              <a:gd name="T15" fmla="*/ 62 h 106"/>
              <a:gd name="T16" fmla="*/ 0 w 108"/>
              <a:gd name="T17" fmla="*/ 53 h 106"/>
              <a:gd name="T18" fmla="*/ 0 w 108"/>
              <a:gd name="T19" fmla="*/ 45 h 106"/>
              <a:gd name="T20" fmla="*/ 0 w 108"/>
              <a:gd name="T21" fmla="*/ 36 h 106"/>
              <a:gd name="T22" fmla="*/ 4 w 108"/>
              <a:gd name="T23" fmla="*/ 27 h 106"/>
              <a:gd name="T24" fmla="*/ 7 w 108"/>
              <a:gd name="T25" fmla="*/ 20 h 106"/>
              <a:gd name="T26" fmla="*/ 15 w 108"/>
              <a:gd name="T27" fmla="*/ 13 h 106"/>
              <a:gd name="T28" fmla="*/ 22 w 108"/>
              <a:gd name="T29" fmla="*/ 7 h 106"/>
              <a:gd name="T30" fmla="*/ 22 w 108"/>
              <a:gd name="T31" fmla="*/ 7 h 106"/>
              <a:gd name="T32" fmla="*/ 26 w 108"/>
              <a:gd name="T33" fmla="*/ 11 h 106"/>
              <a:gd name="T34" fmla="*/ 27 w 108"/>
              <a:gd name="T35" fmla="*/ 14 h 106"/>
              <a:gd name="T36" fmla="*/ 27 w 108"/>
              <a:gd name="T37" fmla="*/ 18 h 106"/>
              <a:gd name="T38" fmla="*/ 27 w 108"/>
              <a:gd name="T39" fmla="*/ 18 h 106"/>
              <a:gd name="T40" fmla="*/ 51 w 108"/>
              <a:gd name="T41" fmla="*/ 16 h 106"/>
              <a:gd name="T42" fmla="*/ 51 w 108"/>
              <a:gd name="T43" fmla="*/ 16 h 106"/>
              <a:gd name="T44" fmla="*/ 51 w 108"/>
              <a:gd name="T45" fmla="*/ 9 h 106"/>
              <a:gd name="T46" fmla="*/ 51 w 108"/>
              <a:gd name="T47" fmla="*/ 3 h 106"/>
              <a:gd name="T48" fmla="*/ 49 w 108"/>
              <a:gd name="T49" fmla="*/ 0 h 106"/>
              <a:gd name="T50" fmla="*/ 49 w 108"/>
              <a:gd name="T51" fmla="*/ 0 h 106"/>
              <a:gd name="T52" fmla="*/ 57 w 108"/>
              <a:gd name="T53" fmla="*/ 5 h 106"/>
              <a:gd name="T54" fmla="*/ 59 w 108"/>
              <a:gd name="T55" fmla="*/ 11 h 106"/>
              <a:gd name="T56" fmla="*/ 60 w 108"/>
              <a:gd name="T57" fmla="*/ 16 h 106"/>
              <a:gd name="T58" fmla="*/ 60 w 108"/>
              <a:gd name="T59" fmla="*/ 16 h 106"/>
              <a:gd name="T60" fmla="*/ 82 w 108"/>
              <a:gd name="T61" fmla="*/ 18 h 106"/>
              <a:gd name="T62" fmla="*/ 82 w 108"/>
              <a:gd name="T63" fmla="*/ 18 h 106"/>
              <a:gd name="T64" fmla="*/ 82 w 108"/>
              <a:gd name="T65" fmla="*/ 11 h 106"/>
              <a:gd name="T66" fmla="*/ 79 w 108"/>
              <a:gd name="T67" fmla="*/ 3 h 106"/>
              <a:gd name="T68" fmla="*/ 79 w 108"/>
              <a:gd name="T69" fmla="*/ 3 h 106"/>
              <a:gd name="T70" fmla="*/ 86 w 108"/>
              <a:gd name="T71" fmla="*/ 9 h 106"/>
              <a:gd name="T72" fmla="*/ 93 w 108"/>
              <a:gd name="T73" fmla="*/ 13 h 106"/>
              <a:gd name="T74" fmla="*/ 99 w 108"/>
              <a:gd name="T75" fmla="*/ 20 h 106"/>
              <a:gd name="T76" fmla="*/ 102 w 108"/>
              <a:gd name="T77" fmla="*/ 25 h 106"/>
              <a:gd name="T78" fmla="*/ 106 w 108"/>
              <a:gd name="T79" fmla="*/ 38 h 106"/>
              <a:gd name="T80" fmla="*/ 108 w 108"/>
              <a:gd name="T81" fmla="*/ 49 h 106"/>
              <a:gd name="T82" fmla="*/ 108 w 108"/>
              <a:gd name="T83" fmla="*/ 49 h 106"/>
              <a:gd name="T84" fmla="*/ 106 w 108"/>
              <a:gd name="T85" fmla="*/ 62 h 106"/>
              <a:gd name="T86" fmla="*/ 102 w 108"/>
              <a:gd name="T87" fmla="*/ 73 h 106"/>
              <a:gd name="T88" fmla="*/ 95 w 108"/>
              <a:gd name="T89" fmla="*/ 82 h 106"/>
              <a:gd name="T90" fmla="*/ 86 w 108"/>
              <a:gd name="T91" fmla="*/ 89 h 106"/>
              <a:gd name="T92" fmla="*/ 86 w 108"/>
              <a:gd name="T93" fmla="*/ 89 h 106"/>
              <a:gd name="T94" fmla="*/ 69 w 108"/>
              <a:gd name="T95" fmla="*/ 98 h 106"/>
              <a:gd name="T96" fmla="*/ 55 w 108"/>
              <a:gd name="T97"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 h="106">
                <a:moveTo>
                  <a:pt x="55" y="106"/>
                </a:moveTo>
                <a:lnTo>
                  <a:pt x="55" y="106"/>
                </a:lnTo>
                <a:lnTo>
                  <a:pt x="38" y="97"/>
                </a:lnTo>
                <a:lnTo>
                  <a:pt x="26" y="89"/>
                </a:lnTo>
                <a:lnTo>
                  <a:pt x="13" y="80"/>
                </a:lnTo>
                <a:lnTo>
                  <a:pt x="4" y="69"/>
                </a:lnTo>
                <a:lnTo>
                  <a:pt x="4" y="69"/>
                </a:lnTo>
                <a:lnTo>
                  <a:pt x="0" y="62"/>
                </a:lnTo>
                <a:lnTo>
                  <a:pt x="0" y="53"/>
                </a:lnTo>
                <a:lnTo>
                  <a:pt x="0" y="45"/>
                </a:lnTo>
                <a:lnTo>
                  <a:pt x="0" y="36"/>
                </a:lnTo>
                <a:lnTo>
                  <a:pt x="4" y="27"/>
                </a:lnTo>
                <a:lnTo>
                  <a:pt x="7" y="20"/>
                </a:lnTo>
                <a:lnTo>
                  <a:pt x="15" y="13"/>
                </a:lnTo>
                <a:lnTo>
                  <a:pt x="22" y="7"/>
                </a:lnTo>
                <a:lnTo>
                  <a:pt x="22" y="7"/>
                </a:lnTo>
                <a:lnTo>
                  <a:pt x="26" y="11"/>
                </a:lnTo>
                <a:lnTo>
                  <a:pt x="27" y="14"/>
                </a:lnTo>
                <a:lnTo>
                  <a:pt x="27" y="18"/>
                </a:lnTo>
                <a:lnTo>
                  <a:pt x="27" y="18"/>
                </a:lnTo>
                <a:lnTo>
                  <a:pt x="51" y="16"/>
                </a:lnTo>
                <a:lnTo>
                  <a:pt x="51" y="16"/>
                </a:lnTo>
                <a:lnTo>
                  <a:pt x="51" y="9"/>
                </a:lnTo>
                <a:lnTo>
                  <a:pt x="51" y="3"/>
                </a:lnTo>
                <a:lnTo>
                  <a:pt x="49" y="0"/>
                </a:lnTo>
                <a:lnTo>
                  <a:pt x="49" y="0"/>
                </a:lnTo>
                <a:lnTo>
                  <a:pt x="57" y="5"/>
                </a:lnTo>
                <a:lnTo>
                  <a:pt x="59" y="11"/>
                </a:lnTo>
                <a:lnTo>
                  <a:pt x="60" y="16"/>
                </a:lnTo>
                <a:lnTo>
                  <a:pt x="60" y="16"/>
                </a:lnTo>
                <a:lnTo>
                  <a:pt x="82" y="18"/>
                </a:lnTo>
                <a:lnTo>
                  <a:pt x="82" y="18"/>
                </a:lnTo>
                <a:lnTo>
                  <a:pt x="82" y="11"/>
                </a:lnTo>
                <a:lnTo>
                  <a:pt x="79" y="3"/>
                </a:lnTo>
                <a:lnTo>
                  <a:pt x="79" y="3"/>
                </a:lnTo>
                <a:lnTo>
                  <a:pt x="86" y="9"/>
                </a:lnTo>
                <a:lnTo>
                  <a:pt x="93" y="13"/>
                </a:lnTo>
                <a:lnTo>
                  <a:pt x="99" y="20"/>
                </a:lnTo>
                <a:lnTo>
                  <a:pt x="102" y="25"/>
                </a:lnTo>
                <a:lnTo>
                  <a:pt x="106" y="38"/>
                </a:lnTo>
                <a:lnTo>
                  <a:pt x="108" y="49"/>
                </a:lnTo>
                <a:lnTo>
                  <a:pt x="108" y="49"/>
                </a:lnTo>
                <a:lnTo>
                  <a:pt x="106" y="62"/>
                </a:lnTo>
                <a:lnTo>
                  <a:pt x="102" y="73"/>
                </a:lnTo>
                <a:lnTo>
                  <a:pt x="95" y="82"/>
                </a:lnTo>
                <a:lnTo>
                  <a:pt x="86" y="89"/>
                </a:lnTo>
                <a:lnTo>
                  <a:pt x="86" y="89"/>
                </a:lnTo>
                <a:lnTo>
                  <a:pt x="69" y="98"/>
                </a:lnTo>
                <a:lnTo>
                  <a:pt x="55" y="1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101" name="Freeform 52"/>
          <p:cNvSpPr>
            <a:spLocks/>
          </p:cNvSpPr>
          <p:nvPr userDrawn="1"/>
        </p:nvSpPr>
        <p:spPr bwMode="auto">
          <a:xfrm>
            <a:off x="8589963" y="-648865"/>
            <a:ext cx="1588" cy="1588"/>
          </a:xfrm>
          <a:custGeom>
            <a:avLst/>
            <a:gdLst>
              <a:gd name="T0" fmla="*/ 4 w 4"/>
              <a:gd name="T1" fmla="*/ 2 h 2"/>
              <a:gd name="T2" fmla="*/ 4 w 4"/>
              <a:gd name="T3" fmla="*/ 2 h 2"/>
              <a:gd name="T4" fmla="*/ 2 w 4"/>
              <a:gd name="T5" fmla="*/ 0 h 2"/>
              <a:gd name="T6" fmla="*/ 2 w 4"/>
              <a:gd name="T7" fmla="*/ 0 h 2"/>
              <a:gd name="T8" fmla="*/ 0 w 4"/>
              <a:gd name="T9" fmla="*/ 0 h 2"/>
              <a:gd name="T10" fmla="*/ 0 w 4"/>
              <a:gd name="T11" fmla="*/ 0 h 2"/>
              <a:gd name="T12" fmla="*/ 4 w 4"/>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2"/>
                </a:moveTo>
                <a:lnTo>
                  <a:pt x="4" y="2"/>
                </a:lnTo>
                <a:lnTo>
                  <a:pt x="2" y="0"/>
                </a:lnTo>
                <a:lnTo>
                  <a:pt x="2" y="0"/>
                </a:lnTo>
                <a:lnTo>
                  <a:pt x="0" y="0"/>
                </a:lnTo>
                <a:lnTo>
                  <a:pt x="0" y="0"/>
                </a:lnTo>
                <a:lnTo>
                  <a:pt x="4"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102" name="Freeform 53"/>
          <p:cNvSpPr>
            <a:spLocks/>
          </p:cNvSpPr>
          <p:nvPr userDrawn="1"/>
        </p:nvSpPr>
        <p:spPr bwMode="auto">
          <a:xfrm>
            <a:off x="8405814" y="-885403"/>
            <a:ext cx="15875" cy="9525"/>
          </a:xfrm>
          <a:custGeom>
            <a:avLst/>
            <a:gdLst>
              <a:gd name="T0" fmla="*/ 20 w 20"/>
              <a:gd name="T1" fmla="*/ 10 h 11"/>
              <a:gd name="T2" fmla="*/ 20 w 20"/>
              <a:gd name="T3" fmla="*/ 10 h 11"/>
              <a:gd name="T4" fmla="*/ 19 w 20"/>
              <a:gd name="T5" fmla="*/ 10 h 11"/>
              <a:gd name="T6" fmla="*/ 11 w 20"/>
              <a:gd name="T7" fmla="*/ 11 h 11"/>
              <a:gd name="T8" fmla="*/ 2 w 20"/>
              <a:gd name="T9" fmla="*/ 11 h 11"/>
              <a:gd name="T10" fmla="*/ 2 w 20"/>
              <a:gd name="T11" fmla="*/ 11 h 11"/>
              <a:gd name="T12" fmla="*/ 0 w 20"/>
              <a:gd name="T13" fmla="*/ 8 h 11"/>
              <a:gd name="T14" fmla="*/ 0 w 20"/>
              <a:gd name="T15" fmla="*/ 0 h 11"/>
              <a:gd name="T16" fmla="*/ 0 w 20"/>
              <a:gd name="T17" fmla="*/ 0 h 11"/>
              <a:gd name="T18" fmla="*/ 4 w 20"/>
              <a:gd name="T19" fmla="*/ 0 h 11"/>
              <a:gd name="T20" fmla="*/ 11 w 20"/>
              <a:gd name="T21" fmla="*/ 2 h 11"/>
              <a:gd name="T22" fmla="*/ 17 w 20"/>
              <a:gd name="T23" fmla="*/ 4 h 11"/>
              <a:gd name="T24" fmla="*/ 20 w 20"/>
              <a:gd name="T25"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1">
                <a:moveTo>
                  <a:pt x="20" y="10"/>
                </a:moveTo>
                <a:lnTo>
                  <a:pt x="20" y="10"/>
                </a:lnTo>
                <a:lnTo>
                  <a:pt x="19" y="10"/>
                </a:lnTo>
                <a:lnTo>
                  <a:pt x="11" y="11"/>
                </a:lnTo>
                <a:lnTo>
                  <a:pt x="2" y="11"/>
                </a:lnTo>
                <a:lnTo>
                  <a:pt x="2" y="11"/>
                </a:lnTo>
                <a:lnTo>
                  <a:pt x="0" y="8"/>
                </a:lnTo>
                <a:lnTo>
                  <a:pt x="0" y="0"/>
                </a:lnTo>
                <a:lnTo>
                  <a:pt x="0" y="0"/>
                </a:lnTo>
                <a:lnTo>
                  <a:pt x="4" y="0"/>
                </a:lnTo>
                <a:lnTo>
                  <a:pt x="11" y="2"/>
                </a:lnTo>
                <a:lnTo>
                  <a:pt x="17" y="4"/>
                </a:lnTo>
                <a:lnTo>
                  <a:pt x="20"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sp>
        <p:nvSpPr>
          <p:cNvPr id="103" name="Freeform 54"/>
          <p:cNvSpPr>
            <a:spLocks/>
          </p:cNvSpPr>
          <p:nvPr userDrawn="1"/>
        </p:nvSpPr>
        <p:spPr bwMode="auto">
          <a:xfrm>
            <a:off x="8197851" y="-917153"/>
            <a:ext cx="492125" cy="579438"/>
          </a:xfrm>
          <a:custGeom>
            <a:avLst/>
            <a:gdLst>
              <a:gd name="T0" fmla="*/ 592 w 619"/>
              <a:gd name="T1" fmla="*/ 245 h 729"/>
              <a:gd name="T2" fmla="*/ 588 w 619"/>
              <a:gd name="T3" fmla="*/ 150 h 729"/>
              <a:gd name="T4" fmla="*/ 513 w 619"/>
              <a:gd name="T5" fmla="*/ 57 h 729"/>
              <a:gd name="T6" fmla="*/ 446 w 619"/>
              <a:gd name="T7" fmla="*/ 150 h 729"/>
              <a:gd name="T8" fmla="*/ 460 w 619"/>
              <a:gd name="T9" fmla="*/ 243 h 729"/>
              <a:gd name="T10" fmla="*/ 490 w 619"/>
              <a:gd name="T11" fmla="*/ 256 h 729"/>
              <a:gd name="T12" fmla="*/ 506 w 619"/>
              <a:gd name="T13" fmla="*/ 240 h 729"/>
              <a:gd name="T14" fmla="*/ 568 w 619"/>
              <a:gd name="T15" fmla="*/ 250 h 729"/>
              <a:gd name="T16" fmla="*/ 533 w 619"/>
              <a:gd name="T17" fmla="*/ 345 h 729"/>
              <a:gd name="T18" fmla="*/ 429 w 619"/>
              <a:gd name="T19" fmla="*/ 291 h 729"/>
              <a:gd name="T20" fmla="*/ 417 w 619"/>
              <a:gd name="T21" fmla="*/ 198 h 729"/>
              <a:gd name="T22" fmla="*/ 418 w 619"/>
              <a:gd name="T23" fmla="*/ 183 h 729"/>
              <a:gd name="T24" fmla="*/ 375 w 619"/>
              <a:gd name="T25" fmla="*/ 121 h 729"/>
              <a:gd name="T26" fmla="*/ 424 w 619"/>
              <a:gd name="T27" fmla="*/ 77 h 729"/>
              <a:gd name="T28" fmla="*/ 353 w 619"/>
              <a:gd name="T29" fmla="*/ 28 h 729"/>
              <a:gd name="T30" fmla="*/ 247 w 619"/>
              <a:gd name="T31" fmla="*/ 33 h 729"/>
              <a:gd name="T32" fmla="*/ 225 w 619"/>
              <a:gd name="T33" fmla="*/ 73 h 729"/>
              <a:gd name="T34" fmla="*/ 243 w 619"/>
              <a:gd name="T35" fmla="*/ 104 h 729"/>
              <a:gd name="T36" fmla="*/ 292 w 619"/>
              <a:gd name="T37" fmla="*/ 88 h 729"/>
              <a:gd name="T38" fmla="*/ 219 w 619"/>
              <a:gd name="T39" fmla="*/ 115 h 729"/>
              <a:gd name="T40" fmla="*/ 190 w 619"/>
              <a:gd name="T41" fmla="*/ 110 h 729"/>
              <a:gd name="T42" fmla="*/ 258 w 619"/>
              <a:gd name="T43" fmla="*/ 112 h 729"/>
              <a:gd name="T44" fmla="*/ 261 w 619"/>
              <a:gd name="T45" fmla="*/ 128 h 729"/>
              <a:gd name="T46" fmla="*/ 238 w 619"/>
              <a:gd name="T47" fmla="*/ 152 h 729"/>
              <a:gd name="T48" fmla="*/ 259 w 619"/>
              <a:gd name="T49" fmla="*/ 192 h 729"/>
              <a:gd name="T50" fmla="*/ 133 w 619"/>
              <a:gd name="T51" fmla="*/ 276 h 729"/>
              <a:gd name="T52" fmla="*/ 53 w 619"/>
              <a:gd name="T53" fmla="*/ 252 h 729"/>
              <a:gd name="T54" fmla="*/ 42 w 619"/>
              <a:gd name="T55" fmla="*/ 267 h 729"/>
              <a:gd name="T56" fmla="*/ 51 w 619"/>
              <a:gd name="T57" fmla="*/ 287 h 729"/>
              <a:gd name="T58" fmla="*/ 2 w 619"/>
              <a:gd name="T59" fmla="*/ 305 h 729"/>
              <a:gd name="T60" fmla="*/ 58 w 619"/>
              <a:gd name="T61" fmla="*/ 313 h 729"/>
              <a:gd name="T62" fmla="*/ 37 w 619"/>
              <a:gd name="T63" fmla="*/ 331 h 729"/>
              <a:gd name="T64" fmla="*/ 53 w 619"/>
              <a:gd name="T65" fmla="*/ 345 h 729"/>
              <a:gd name="T66" fmla="*/ 104 w 619"/>
              <a:gd name="T67" fmla="*/ 345 h 729"/>
              <a:gd name="T68" fmla="*/ 117 w 619"/>
              <a:gd name="T69" fmla="*/ 347 h 729"/>
              <a:gd name="T70" fmla="*/ 163 w 619"/>
              <a:gd name="T71" fmla="*/ 309 h 729"/>
              <a:gd name="T72" fmla="*/ 214 w 619"/>
              <a:gd name="T73" fmla="*/ 300 h 729"/>
              <a:gd name="T74" fmla="*/ 283 w 619"/>
              <a:gd name="T75" fmla="*/ 325 h 729"/>
              <a:gd name="T76" fmla="*/ 417 w 619"/>
              <a:gd name="T77" fmla="*/ 386 h 729"/>
              <a:gd name="T78" fmla="*/ 466 w 619"/>
              <a:gd name="T79" fmla="*/ 492 h 729"/>
              <a:gd name="T80" fmla="*/ 464 w 619"/>
              <a:gd name="T81" fmla="*/ 517 h 729"/>
              <a:gd name="T82" fmla="*/ 512 w 619"/>
              <a:gd name="T83" fmla="*/ 526 h 729"/>
              <a:gd name="T84" fmla="*/ 526 w 619"/>
              <a:gd name="T85" fmla="*/ 627 h 729"/>
              <a:gd name="T86" fmla="*/ 462 w 619"/>
              <a:gd name="T87" fmla="*/ 638 h 729"/>
              <a:gd name="T88" fmla="*/ 491 w 619"/>
              <a:gd name="T89" fmla="*/ 651 h 729"/>
              <a:gd name="T90" fmla="*/ 479 w 619"/>
              <a:gd name="T91" fmla="*/ 663 h 729"/>
              <a:gd name="T92" fmla="*/ 475 w 619"/>
              <a:gd name="T93" fmla="*/ 711 h 729"/>
              <a:gd name="T94" fmla="*/ 502 w 619"/>
              <a:gd name="T95" fmla="*/ 693 h 729"/>
              <a:gd name="T96" fmla="*/ 513 w 619"/>
              <a:gd name="T97" fmla="*/ 700 h 729"/>
              <a:gd name="T98" fmla="*/ 544 w 619"/>
              <a:gd name="T99" fmla="*/ 720 h 729"/>
              <a:gd name="T100" fmla="*/ 554 w 619"/>
              <a:gd name="T101" fmla="*/ 678 h 729"/>
              <a:gd name="T102" fmla="*/ 586 w 619"/>
              <a:gd name="T103" fmla="*/ 689 h 729"/>
              <a:gd name="T104" fmla="*/ 590 w 619"/>
              <a:gd name="T105" fmla="*/ 625 h 729"/>
              <a:gd name="T106" fmla="*/ 603 w 619"/>
              <a:gd name="T107" fmla="*/ 598 h 729"/>
              <a:gd name="T108" fmla="*/ 599 w 619"/>
              <a:gd name="T109" fmla="*/ 552 h 729"/>
              <a:gd name="T110" fmla="*/ 574 w 619"/>
              <a:gd name="T111" fmla="*/ 508 h 729"/>
              <a:gd name="T112" fmla="*/ 532 w 619"/>
              <a:gd name="T113" fmla="*/ 462 h 729"/>
              <a:gd name="T114" fmla="*/ 532 w 619"/>
              <a:gd name="T115" fmla="*/ 419 h 729"/>
              <a:gd name="T116" fmla="*/ 539 w 619"/>
              <a:gd name="T117" fmla="*/ 377 h 729"/>
              <a:gd name="T118" fmla="*/ 618 w 619"/>
              <a:gd name="T119" fmla="*/ 316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9" h="729">
                <a:moveTo>
                  <a:pt x="603" y="280"/>
                </a:moveTo>
                <a:lnTo>
                  <a:pt x="603" y="280"/>
                </a:lnTo>
                <a:lnTo>
                  <a:pt x="612" y="282"/>
                </a:lnTo>
                <a:lnTo>
                  <a:pt x="619" y="280"/>
                </a:lnTo>
                <a:lnTo>
                  <a:pt x="619" y="280"/>
                </a:lnTo>
                <a:lnTo>
                  <a:pt x="618" y="269"/>
                </a:lnTo>
                <a:lnTo>
                  <a:pt x="616" y="252"/>
                </a:lnTo>
                <a:lnTo>
                  <a:pt x="616" y="252"/>
                </a:lnTo>
                <a:lnTo>
                  <a:pt x="610" y="252"/>
                </a:lnTo>
                <a:lnTo>
                  <a:pt x="605" y="252"/>
                </a:lnTo>
                <a:lnTo>
                  <a:pt x="599" y="250"/>
                </a:lnTo>
                <a:lnTo>
                  <a:pt x="592" y="245"/>
                </a:lnTo>
                <a:lnTo>
                  <a:pt x="592" y="245"/>
                </a:lnTo>
                <a:lnTo>
                  <a:pt x="588" y="238"/>
                </a:lnTo>
                <a:lnTo>
                  <a:pt x="588" y="238"/>
                </a:lnTo>
                <a:lnTo>
                  <a:pt x="577" y="223"/>
                </a:lnTo>
                <a:lnTo>
                  <a:pt x="565" y="212"/>
                </a:lnTo>
                <a:lnTo>
                  <a:pt x="552" y="203"/>
                </a:lnTo>
                <a:lnTo>
                  <a:pt x="541" y="196"/>
                </a:lnTo>
                <a:lnTo>
                  <a:pt x="541" y="196"/>
                </a:lnTo>
                <a:lnTo>
                  <a:pt x="559" y="185"/>
                </a:lnTo>
                <a:lnTo>
                  <a:pt x="572" y="174"/>
                </a:lnTo>
                <a:lnTo>
                  <a:pt x="581" y="165"/>
                </a:lnTo>
                <a:lnTo>
                  <a:pt x="585" y="157"/>
                </a:lnTo>
                <a:lnTo>
                  <a:pt x="585" y="157"/>
                </a:lnTo>
                <a:lnTo>
                  <a:pt x="588" y="150"/>
                </a:lnTo>
                <a:lnTo>
                  <a:pt x="592" y="139"/>
                </a:lnTo>
                <a:lnTo>
                  <a:pt x="592" y="128"/>
                </a:lnTo>
                <a:lnTo>
                  <a:pt x="592" y="115"/>
                </a:lnTo>
                <a:lnTo>
                  <a:pt x="588" y="103"/>
                </a:lnTo>
                <a:lnTo>
                  <a:pt x="583" y="90"/>
                </a:lnTo>
                <a:lnTo>
                  <a:pt x="574" y="79"/>
                </a:lnTo>
                <a:lnTo>
                  <a:pt x="566" y="73"/>
                </a:lnTo>
                <a:lnTo>
                  <a:pt x="559" y="68"/>
                </a:lnTo>
                <a:lnTo>
                  <a:pt x="559" y="68"/>
                </a:lnTo>
                <a:lnTo>
                  <a:pt x="548" y="62"/>
                </a:lnTo>
                <a:lnTo>
                  <a:pt x="535" y="59"/>
                </a:lnTo>
                <a:lnTo>
                  <a:pt x="524" y="57"/>
                </a:lnTo>
                <a:lnTo>
                  <a:pt x="513" y="57"/>
                </a:lnTo>
                <a:lnTo>
                  <a:pt x="495" y="60"/>
                </a:lnTo>
                <a:lnTo>
                  <a:pt x="481" y="64"/>
                </a:lnTo>
                <a:lnTo>
                  <a:pt x="481" y="64"/>
                </a:lnTo>
                <a:lnTo>
                  <a:pt x="471" y="70"/>
                </a:lnTo>
                <a:lnTo>
                  <a:pt x="462" y="77"/>
                </a:lnTo>
                <a:lnTo>
                  <a:pt x="455" y="84"/>
                </a:lnTo>
                <a:lnTo>
                  <a:pt x="449" y="93"/>
                </a:lnTo>
                <a:lnTo>
                  <a:pt x="446" y="104"/>
                </a:lnTo>
                <a:lnTo>
                  <a:pt x="442" y="115"/>
                </a:lnTo>
                <a:lnTo>
                  <a:pt x="442" y="126"/>
                </a:lnTo>
                <a:lnTo>
                  <a:pt x="442" y="141"/>
                </a:lnTo>
                <a:lnTo>
                  <a:pt x="442" y="141"/>
                </a:lnTo>
                <a:lnTo>
                  <a:pt x="446" y="150"/>
                </a:lnTo>
                <a:lnTo>
                  <a:pt x="449" y="159"/>
                </a:lnTo>
                <a:lnTo>
                  <a:pt x="455" y="168"/>
                </a:lnTo>
                <a:lnTo>
                  <a:pt x="460" y="174"/>
                </a:lnTo>
                <a:lnTo>
                  <a:pt x="477" y="185"/>
                </a:lnTo>
                <a:lnTo>
                  <a:pt x="495" y="196"/>
                </a:lnTo>
                <a:lnTo>
                  <a:pt x="495" y="196"/>
                </a:lnTo>
                <a:lnTo>
                  <a:pt x="481" y="203"/>
                </a:lnTo>
                <a:lnTo>
                  <a:pt x="470" y="214"/>
                </a:lnTo>
                <a:lnTo>
                  <a:pt x="466" y="219"/>
                </a:lnTo>
                <a:lnTo>
                  <a:pt x="464" y="227"/>
                </a:lnTo>
                <a:lnTo>
                  <a:pt x="462" y="234"/>
                </a:lnTo>
                <a:lnTo>
                  <a:pt x="460" y="243"/>
                </a:lnTo>
                <a:lnTo>
                  <a:pt x="460" y="243"/>
                </a:lnTo>
                <a:lnTo>
                  <a:pt x="462" y="254"/>
                </a:lnTo>
                <a:lnTo>
                  <a:pt x="466" y="267"/>
                </a:lnTo>
                <a:lnTo>
                  <a:pt x="468" y="282"/>
                </a:lnTo>
                <a:lnTo>
                  <a:pt x="468" y="291"/>
                </a:lnTo>
                <a:lnTo>
                  <a:pt x="466" y="300"/>
                </a:lnTo>
                <a:lnTo>
                  <a:pt x="466" y="300"/>
                </a:lnTo>
                <a:lnTo>
                  <a:pt x="468" y="300"/>
                </a:lnTo>
                <a:lnTo>
                  <a:pt x="475" y="298"/>
                </a:lnTo>
                <a:lnTo>
                  <a:pt x="484" y="291"/>
                </a:lnTo>
                <a:lnTo>
                  <a:pt x="484" y="291"/>
                </a:lnTo>
                <a:lnTo>
                  <a:pt x="488" y="280"/>
                </a:lnTo>
                <a:lnTo>
                  <a:pt x="490" y="269"/>
                </a:lnTo>
                <a:lnTo>
                  <a:pt x="490" y="256"/>
                </a:lnTo>
                <a:lnTo>
                  <a:pt x="490" y="256"/>
                </a:lnTo>
                <a:lnTo>
                  <a:pt x="493" y="261"/>
                </a:lnTo>
                <a:lnTo>
                  <a:pt x="495" y="271"/>
                </a:lnTo>
                <a:lnTo>
                  <a:pt x="495" y="278"/>
                </a:lnTo>
                <a:lnTo>
                  <a:pt x="493" y="285"/>
                </a:lnTo>
                <a:lnTo>
                  <a:pt x="493" y="285"/>
                </a:lnTo>
                <a:lnTo>
                  <a:pt x="501" y="282"/>
                </a:lnTo>
                <a:lnTo>
                  <a:pt x="504" y="278"/>
                </a:lnTo>
                <a:lnTo>
                  <a:pt x="508" y="274"/>
                </a:lnTo>
                <a:lnTo>
                  <a:pt x="508" y="274"/>
                </a:lnTo>
                <a:lnTo>
                  <a:pt x="510" y="261"/>
                </a:lnTo>
                <a:lnTo>
                  <a:pt x="510" y="249"/>
                </a:lnTo>
                <a:lnTo>
                  <a:pt x="506" y="240"/>
                </a:lnTo>
                <a:lnTo>
                  <a:pt x="504" y="232"/>
                </a:lnTo>
                <a:lnTo>
                  <a:pt x="504" y="232"/>
                </a:lnTo>
                <a:lnTo>
                  <a:pt x="502" y="225"/>
                </a:lnTo>
                <a:lnTo>
                  <a:pt x="504" y="218"/>
                </a:lnTo>
                <a:lnTo>
                  <a:pt x="510" y="210"/>
                </a:lnTo>
                <a:lnTo>
                  <a:pt x="515" y="207"/>
                </a:lnTo>
                <a:lnTo>
                  <a:pt x="515" y="207"/>
                </a:lnTo>
                <a:lnTo>
                  <a:pt x="533" y="216"/>
                </a:lnTo>
                <a:lnTo>
                  <a:pt x="533" y="216"/>
                </a:lnTo>
                <a:lnTo>
                  <a:pt x="541" y="221"/>
                </a:lnTo>
                <a:lnTo>
                  <a:pt x="552" y="230"/>
                </a:lnTo>
                <a:lnTo>
                  <a:pt x="563" y="243"/>
                </a:lnTo>
                <a:lnTo>
                  <a:pt x="568" y="250"/>
                </a:lnTo>
                <a:lnTo>
                  <a:pt x="572" y="260"/>
                </a:lnTo>
                <a:lnTo>
                  <a:pt x="572" y="260"/>
                </a:lnTo>
                <a:lnTo>
                  <a:pt x="577" y="271"/>
                </a:lnTo>
                <a:lnTo>
                  <a:pt x="579" y="282"/>
                </a:lnTo>
                <a:lnTo>
                  <a:pt x="579" y="291"/>
                </a:lnTo>
                <a:lnTo>
                  <a:pt x="579" y="300"/>
                </a:lnTo>
                <a:lnTo>
                  <a:pt x="576" y="313"/>
                </a:lnTo>
                <a:lnTo>
                  <a:pt x="572" y="320"/>
                </a:lnTo>
                <a:lnTo>
                  <a:pt x="572" y="320"/>
                </a:lnTo>
                <a:lnTo>
                  <a:pt x="565" y="329"/>
                </a:lnTo>
                <a:lnTo>
                  <a:pt x="557" y="338"/>
                </a:lnTo>
                <a:lnTo>
                  <a:pt x="546" y="344"/>
                </a:lnTo>
                <a:lnTo>
                  <a:pt x="533" y="345"/>
                </a:lnTo>
                <a:lnTo>
                  <a:pt x="533" y="345"/>
                </a:lnTo>
                <a:lnTo>
                  <a:pt x="532" y="345"/>
                </a:lnTo>
                <a:lnTo>
                  <a:pt x="532" y="345"/>
                </a:lnTo>
                <a:lnTo>
                  <a:pt x="517" y="345"/>
                </a:lnTo>
                <a:lnTo>
                  <a:pt x="517" y="345"/>
                </a:lnTo>
                <a:lnTo>
                  <a:pt x="504" y="342"/>
                </a:lnTo>
                <a:lnTo>
                  <a:pt x="504" y="342"/>
                </a:lnTo>
                <a:lnTo>
                  <a:pt x="493" y="338"/>
                </a:lnTo>
                <a:lnTo>
                  <a:pt x="493" y="338"/>
                </a:lnTo>
                <a:lnTo>
                  <a:pt x="482" y="333"/>
                </a:lnTo>
                <a:lnTo>
                  <a:pt x="466" y="322"/>
                </a:lnTo>
                <a:lnTo>
                  <a:pt x="448" y="309"/>
                </a:lnTo>
                <a:lnTo>
                  <a:pt x="429" y="291"/>
                </a:lnTo>
                <a:lnTo>
                  <a:pt x="429" y="291"/>
                </a:lnTo>
                <a:lnTo>
                  <a:pt x="406" y="261"/>
                </a:lnTo>
                <a:lnTo>
                  <a:pt x="389" y="241"/>
                </a:lnTo>
                <a:lnTo>
                  <a:pt x="389" y="241"/>
                </a:lnTo>
                <a:lnTo>
                  <a:pt x="398" y="245"/>
                </a:lnTo>
                <a:lnTo>
                  <a:pt x="406" y="245"/>
                </a:lnTo>
                <a:lnTo>
                  <a:pt x="415" y="245"/>
                </a:lnTo>
                <a:lnTo>
                  <a:pt x="415" y="245"/>
                </a:lnTo>
                <a:lnTo>
                  <a:pt x="417" y="229"/>
                </a:lnTo>
                <a:lnTo>
                  <a:pt x="417" y="212"/>
                </a:lnTo>
                <a:lnTo>
                  <a:pt x="417" y="212"/>
                </a:lnTo>
                <a:lnTo>
                  <a:pt x="417" y="198"/>
                </a:lnTo>
                <a:lnTo>
                  <a:pt x="417" y="198"/>
                </a:lnTo>
                <a:lnTo>
                  <a:pt x="411" y="198"/>
                </a:lnTo>
                <a:lnTo>
                  <a:pt x="398" y="194"/>
                </a:lnTo>
                <a:lnTo>
                  <a:pt x="393" y="192"/>
                </a:lnTo>
                <a:lnTo>
                  <a:pt x="386" y="188"/>
                </a:lnTo>
                <a:lnTo>
                  <a:pt x="380" y="185"/>
                </a:lnTo>
                <a:lnTo>
                  <a:pt x="376" y="179"/>
                </a:lnTo>
                <a:lnTo>
                  <a:pt x="376" y="179"/>
                </a:lnTo>
                <a:lnTo>
                  <a:pt x="382" y="181"/>
                </a:lnTo>
                <a:lnTo>
                  <a:pt x="387" y="183"/>
                </a:lnTo>
                <a:lnTo>
                  <a:pt x="395" y="185"/>
                </a:lnTo>
                <a:lnTo>
                  <a:pt x="395" y="185"/>
                </a:lnTo>
                <a:lnTo>
                  <a:pt x="411" y="183"/>
                </a:lnTo>
                <a:lnTo>
                  <a:pt x="418" y="183"/>
                </a:lnTo>
                <a:lnTo>
                  <a:pt x="418" y="183"/>
                </a:lnTo>
                <a:lnTo>
                  <a:pt x="420" y="166"/>
                </a:lnTo>
                <a:lnTo>
                  <a:pt x="420" y="152"/>
                </a:lnTo>
                <a:lnTo>
                  <a:pt x="420" y="152"/>
                </a:lnTo>
                <a:lnTo>
                  <a:pt x="420" y="137"/>
                </a:lnTo>
                <a:lnTo>
                  <a:pt x="420" y="137"/>
                </a:lnTo>
                <a:lnTo>
                  <a:pt x="409" y="137"/>
                </a:lnTo>
                <a:lnTo>
                  <a:pt x="396" y="135"/>
                </a:lnTo>
                <a:lnTo>
                  <a:pt x="396" y="135"/>
                </a:lnTo>
                <a:lnTo>
                  <a:pt x="384" y="130"/>
                </a:lnTo>
                <a:lnTo>
                  <a:pt x="378" y="126"/>
                </a:lnTo>
                <a:lnTo>
                  <a:pt x="375" y="121"/>
                </a:lnTo>
                <a:lnTo>
                  <a:pt x="375" y="121"/>
                </a:lnTo>
                <a:lnTo>
                  <a:pt x="380" y="123"/>
                </a:lnTo>
                <a:lnTo>
                  <a:pt x="395" y="126"/>
                </a:lnTo>
                <a:lnTo>
                  <a:pt x="395" y="126"/>
                </a:lnTo>
                <a:lnTo>
                  <a:pt x="404" y="126"/>
                </a:lnTo>
                <a:lnTo>
                  <a:pt x="413" y="124"/>
                </a:lnTo>
                <a:lnTo>
                  <a:pt x="420" y="124"/>
                </a:lnTo>
                <a:lnTo>
                  <a:pt x="422" y="123"/>
                </a:lnTo>
                <a:lnTo>
                  <a:pt x="422" y="123"/>
                </a:lnTo>
                <a:lnTo>
                  <a:pt x="422" y="93"/>
                </a:lnTo>
                <a:lnTo>
                  <a:pt x="422" y="93"/>
                </a:lnTo>
                <a:lnTo>
                  <a:pt x="424" y="86"/>
                </a:lnTo>
                <a:lnTo>
                  <a:pt x="424" y="77"/>
                </a:lnTo>
                <a:lnTo>
                  <a:pt x="424" y="77"/>
                </a:lnTo>
                <a:lnTo>
                  <a:pt x="418" y="77"/>
                </a:lnTo>
                <a:lnTo>
                  <a:pt x="407" y="75"/>
                </a:lnTo>
                <a:lnTo>
                  <a:pt x="395" y="70"/>
                </a:lnTo>
                <a:lnTo>
                  <a:pt x="389" y="66"/>
                </a:lnTo>
                <a:lnTo>
                  <a:pt x="382" y="60"/>
                </a:lnTo>
                <a:lnTo>
                  <a:pt x="382" y="60"/>
                </a:lnTo>
                <a:lnTo>
                  <a:pt x="380" y="57"/>
                </a:lnTo>
                <a:lnTo>
                  <a:pt x="380" y="53"/>
                </a:lnTo>
                <a:lnTo>
                  <a:pt x="382" y="46"/>
                </a:lnTo>
                <a:lnTo>
                  <a:pt x="382" y="46"/>
                </a:lnTo>
                <a:lnTo>
                  <a:pt x="349" y="31"/>
                </a:lnTo>
                <a:lnTo>
                  <a:pt x="349" y="31"/>
                </a:lnTo>
                <a:lnTo>
                  <a:pt x="353" y="28"/>
                </a:lnTo>
                <a:lnTo>
                  <a:pt x="356" y="22"/>
                </a:lnTo>
                <a:lnTo>
                  <a:pt x="356" y="18"/>
                </a:lnTo>
                <a:lnTo>
                  <a:pt x="356" y="18"/>
                </a:lnTo>
                <a:lnTo>
                  <a:pt x="354" y="13"/>
                </a:lnTo>
                <a:lnTo>
                  <a:pt x="349" y="9"/>
                </a:lnTo>
                <a:lnTo>
                  <a:pt x="343" y="8"/>
                </a:lnTo>
                <a:lnTo>
                  <a:pt x="336" y="8"/>
                </a:lnTo>
                <a:lnTo>
                  <a:pt x="336" y="8"/>
                </a:lnTo>
                <a:lnTo>
                  <a:pt x="329" y="9"/>
                </a:lnTo>
                <a:lnTo>
                  <a:pt x="325" y="13"/>
                </a:lnTo>
                <a:lnTo>
                  <a:pt x="320" y="18"/>
                </a:lnTo>
                <a:lnTo>
                  <a:pt x="280" y="0"/>
                </a:lnTo>
                <a:lnTo>
                  <a:pt x="247" y="33"/>
                </a:lnTo>
                <a:lnTo>
                  <a:pt x="247" y="33"/>
                </a:lnTo>
                <a:lnTo>
                  <a:pt x="245" y="35"/>
                </a:lnTo>
                <a:lnTo>
                  <a:pt x="245" y="39"/>
                </a:lnTo>
                <a:lnTo>
                  <a:pt x="245" y="42"/>
                </a:lnTo>
                <a:lnTo>
                  <a:pt x="245" y="42"/>
                </a:lnTo>
                <a:lnTo>
                  <a:pt x="245" y="44"/>
                </a:lnTo>
                <a:lnTo>
                  <a:pt x="243" y="46"/>
                </a:lnTo>
                <a:lnTo>
                  <a:pt x="243" y="46"/>
                </a:lnTo>
                <a:lnTo>
                  <a:pt x="234" y="57"/>
                </a:lnTo>
                <a:lnTo>
                  <a:pt x="234" y="57"/>
                </a:lnTo>
                <a:lnTo>
                  <a:pt x="228" y="66"/>
                </a:lnTo>
                <a:lnTo>
                  <a:pt x="228" y="66"/>
                </a:lnTo>
                <a:lnTo>
                  <a:pt x="225" y="73"/>
                </a:lnTo>
                <a:lnTo>
                  <a:pt x="223" y="79"/>
                </a:lnTo>
                <a:lnTo>
                  <a:pt x="223" y="79"/>
                </a:lnTo>
                <a:lnTo>
                  <a:pt x="221" y="81"/>
                </a:lnTo>
                <a:lnTo>
                  <a:pt x="221" y="84"/>
                </a:lnTo>
                <a:lnTo>
                  <a:pt x="225" y="92"/>
                </a:lnTo>
                <a:lnTo>
                  <a:pt x="234" y="99"/>
                </a:lnTo>
                <a:lnTo>
                  <a:pt x="234" y="101"/>
                </a:lnTo>
                <a:lnTo>
                  <a:pt x="234" y="101"/>
                </a:lnTo>
                <a:lnTo>
                  <a:pt x="236" y="99"/>
                </a:lnTo>
                <a:lnTo>
                  <a:pt x="238" y="99"/>
                </a:lnTo>
                <a:lnTo>
                  <a:pt x="238" y="99"/>
                </a:lnTo>
                <a:lnTo>
                  <a:pt x="243" y="104"/>
                </a:lnTo>
                <a:lnTo>
                  <a:pt x="243" y="104"/>
                </a:lnTo>
                <a:lnTo>
                  <a:pt x="245" y="101"/>
                </a:lnTo>
                <a:lnTo>
                  <a:pt x="248" y="95"/>
                </a:lnTo>
                <a:lnTo>
                  <a:pt x="248" y="95"/>
                </a:lnTo>
                <a:lnTo>
                  <a:pt x="254" y="88"/>
                </a:lnTo>
                <a:lnTo>
                  <a:pt x="261" y="82"/>
                </a:lnTo>
                <a:lnTo>
                  <a:pt x="261" y="82"/>
                </a:lnTo>
                <a:lnTo>
                  <a:pt x="269" y="79"/>
                </a:lnTo>
                <a:lnTo>
                  <a:pt x="276" y="79"/>
                </a:lnTo>
                <a:lnTo>
                  <a:pt x="276" y="79"/>
                </a:lnTo>
                <a:lnTo>
                  <a:pt x="283" y="79"/>
                </a:lnTo>
                <a:lnTo>
                  <a:pt x="289" y="82"/>
                </a:lnTo>
                <a:lnTo>
                  <a:pt x="289" y="82"/>
                </a:lnTo>
                <a:lnTo>
                  <a:pt x="292" y="88"/>
                </a:lnTo>
                <a:lnTo>
                  <a:pt x="294" y="95"/>
                </a:lnTo>
                <a:lnTo>
                  <a:pt x="294" y="103"/>
                </a:lnTo>
                <a:lnTo>
                  <a:pt x="294" y="108"/>
                </a:lnTo>
                <a:lnTo>
                  <a:pt x="294" y="108"/>
                </a:lnTo>
                <a:lnTo>
                  <a:pt x="290" y="104"/>
                </a:lnTo>
                <a:lnTo>
                  <a:pt x="290" y="104"/>
                </a:lnTo>
                <a:lnTo>
                  <a:pt x="285" y="103"/>
                </a:lnTo>
                <a:lnTo>
                  <a:pt x="276" y="101"/>
                </a:lnTo>
                <a:lnTo>
                  <a:pt x="265" y="101"/>
                </a:lnTo>
                <a:lnTo>
                  <a:pt x="254" y="103"/>
                </a:lnTo>
                <a:lnTo>
                  <a:pt x="254" y="103"/>
                </a:lnTo>
                <a:lnTo>
                  <a:pt x="241" y="108"/>
                </a:lnTo>
                <a:lnTo>
                  <a:pt x="219" y="115"/>
                </a:lnTo>
                <a:lnTo>
                  <a:pt x="219" y="115"/>
                </a:lnTo>
                <a:lnTo>
                  <a:pt x="214" y="117"/>
                </a:lnTo>
                <a:lnTo>
                  <a:pt x="208" y="117"/>
                </a:lnTo>
                <a:lnTo>
                  <a:pt x="205" y="113"/>
                </a:lnTo>
                <a:lnTo>
                  <a:pt x="203" y="110"/>
                </a:lnTo>
                <a:lnTo>
                  <a:pt x="203" y="110"/>
                </a:lnTo>
                <a:lnTo>
                  <a:pt x="203" y="104"/>
                </a:lnTo>
                <a:lnTo>
                  <a:pt x="203" y="101"/>
                </a:lnTo>
                <a:lnTo>
                  <a:pt x="205" y="97"/>
                </a:lnTo>
                <a:lnTo>
                  <a:pt x="205" y="97"/>
                </a:lnTo>
                <a:lnTo>
                  <a:pt x="199" y="101"/>
                </a:lnTo>
                <a:lnTo>
                  <a:pt x="194" y="104"/>
                </a:lnTo>
                <a:lnTo>
                  <a:pt x="190" y="110"/>
                </a:lnTo>
                <a:lnTo>
                  <a:pt x="190" y="110"/>
                </a:lnTo>
                <a:lnTo>
                  <a:pt x="190" y="117"/>
                </a:lnTo>
                <a:lnTo>
                  <a:pt x="192" y="124"/>
                </a:lnTo>
                <a:lnTo>
                  <a:pt x="195" y="128"/>
                </a:lnTo>
                <a:lnTo>
                  <a:pt x="201" y="132"/>
                </a:lnTo>
                <a:lnTo>
                  <a:pt x="201" y="132"/>
                </a:lnTo>
                <a:lnTo>
                  <a:pt x="208" y="132"/>
                </a:lnTo>
                <a:lnTo>
                  <a:pt x="217" y="130"/>
                </a:lnTo>
                <a:lnTo>
                  <a:pt x="234" y="123"/>
                </a:lnTo>
                <a:lnTo>
                  <a:pt x="234" y="123"/>
                </a:lnTo>
                <a:lnTo>
                  <a:pt x="250" y="113"/>
                </a:lnTo>
                <a:lnTo>
                  <a:pt x="250" y="113"/>
                </a:lnTo>
                <a:lnTo>
                  <a:pt x="258" y="112"/>
                </a:lnTo>
                <a:lnTo>
                  <a:pt x="263" y="110"/>
                </a:lnTo>
                <a:lnTo>
                  <a:pt x="270" y="112"/>
                </a:lnTo>
                <a:lnTo>
                  <a:pt x="278" y="113"/>
                </a:lnTo>
                <a:lnTo>
                  <a:pt x="278" y="113"/>
                </a:lnTo>
                <a:lnTo>
                  <a:pt x="285" y="119"/>
                </a:lnTo>
                <a:lnTo>
                  <a:pt x="289" y="121"/>
                </a:lnTo>
                <a:lnTo>
                  <a:pt x="289" y="121"/>
                </a:lnTo>
                <a:lnTo>
                  <a:pt x="285" y="126"/>
                </a:lnTo>
                <a:lnTo>
                  <a:pt x="281" y="130"/>
                </a:lnTo>
                <a:lnTo>
                  <a:pt x="274" y="130"/>
                </a:lnTo>
                <a:lnTo>
                  <a:pt x="274" y="130"/>
                </a:lnTo>
                <a:lnTo>
                  <a:pt x="267" y="130"/>
                </a:lnTo>
                <a:lnTo>
                  <a:pt x="261" y="128"/>
                </a:lnTo>
                <a:lnTo>
                  <a:pt x="256" y="124"/>
                </a:lnTo>
                <a:lnTo>
                  <a:pt x="254" y="121"/>
                </a:lnTo>
                <a:lnTo>
                  <a:pt x="254" y="121"/>
                </a:lnTo>
                <a:lnTo>
                  <a:pt x="250" y="128"/>
                </a:lnTo>
                <a:lnTo>
                  <a:pt x="250" y="128"/>
                </a:lnTo>
                <a:lnTo>
                  <a:pt x="248" y="132"/>
                </a:lnTo>
                <a:lnTo>
                  <a:pt x="248" y="135"/>
                </a:lnTo>
                <a:lnTo>
                  <a:pt x="250" y="137"/>
                </a:lnTo>
                <a:lnTo>
                  <a:pt x="248" y="141"/>
                </a:lnTo>
                <a:lnTo>
                  <a:pt x="248" y="141"/>
                </a:lnTo>
                <a:lnTo>
                  <a:pt x="247" y="143"/>
                </a:lnTo>
                <a:lnTo>
                  <a:pt x="245" y="146"/>
                </a:lnTo>
                <a:lnTo>
                  <a:pt x="238" y="152"/>
                </a:lnTo>
                <a:lnTo>
                  <a:pt x="238" y="152"/>
                </a:lnTo>
                <a:lnTo>
                  <a:pt x="227" y="157"/>
                </a:lnTo>
                <a:lnTo>
                  <a:pt x="219" y="159"/>
                </a:lnTo>
                <a:lnTo>
                  <a:pt x="219" y="159"/>
                </a:lnTo>
                <a:lnTo>
                  <a:pt x="227" y="176"/>
                </a:lnTo>
                <a:lnTo>
                  <a:pt x="227" y="176"/>
                </a:lnTo>
                <a:lnTo>
                  <a:pt x="232" y="187"/>
                </a:lnTo>
                <a:lnTo>
                  <a:pt x="236" y="194"/>
                </a:lnTo>
                <a:lnTo>
                  <a:pt x="239" y="199"/>
                </a:lnTo>
                <a:lnTo>
                  <a:pt x="239" y="199"/>
                </a:lnTo>
                <a:lnTo>
                  <a:pt x="247" y="198"/>
                </a:lnTo>
                <a:lnTo>
                  <a:pt x="259" y="192"/>
                </a:lnTo>
                <a:lnTo>
                  <a:pt x="259" y="192"/>
                </a:lnTo>
                <a:lnTo>
                  <a:pt x="269" y="185"/>
                </a:lnTo>
                <a:lnTo>
                  <a:pt x="274" y="177"/>
                </a:lnTo>
                <a:lnTo>
                  <a:pt x="274" y="177"/>
                </a:lnTo>
                <a:lnTo>
                  <a:pt x="267" y="194"/>
                </a:lnTo>
                <a:lnTo>
                  <a:pt x="261" y="203"/>
                </a:lnTo>
                <a:lnTo>
                  <a:pt x="254" y="210"/>
                </a:lnTo>
                <a:lnTo>
                  <a:pt x="248" y="216"/>
                </a:lnTo>
                <a:lnTo>
                  <a:pt x="248" y="216"/>
                </a:lnTo>
                <a:lnTo>
                  <a:pt x="225" y="232"/>
                </a:lnTo>
                <a:lnTo>
                  <a:pt x="192" y="250"/>
                </a:lnTo>
                <a:lnTo>
                  <a:pt x="172" y="261"/>
                </a:lnTo>
                <a:lnTo>
                  <a:pt x="153" y="269"/>
                </a:lnTo>
                <a:lnTo>
                  <a:pt x="133" y="276"/>
                </a:lnTo>
                <a:lnTo>
                  <a:pt x="113" y="280"/>
                </a:lnTo>
                <a:lnTo>
                  <a:pt x="113" y="280"/>
                </a:lnTo>
                <a:lnTo>
                  <a:pt x="108" y="278"/>
                </a:lnTo>
                <a:lnTo>
                  <a:pt x="100" y="276"/>
                </a:lnTo>
                <a:lnTo>
                  <a:pt x="88" y="267"/>
                </a:lnTo>
                <a:lnTo>
                  <a:pt x="75" y="258"/>
                </a:lnTo>
                <a:lnTo>
                  <a:pt x="68" y="249"/>
                </a:lnTo>
                <a:lnTo>
                  <a:pt x="68" y="249"/>
                </a:lnTo>
                <a:lnTo>
                  <a:pt x="66" y="249"/>
                </a:lnTo>
                <a:lnTo>
                  <a:pt x="62" y="247"/>
                </a:lnTo>
                <a:lnTo>
                  <a:pt x="58" y="249"/>
                </a:lnTo>
                <a:lnTo>
                  <a:pt x="53" y="252"/>
                </a:lnTo>
                <a:lnTo>
                  <a:pt x="53" y="252"/>
                </a:lnTo>
                <a:lnTo>
                  <a:pt x="49" y="252"/>
                </a:lnTo>
                <a:lnTo>
                  <a:pt x="42" y="252"/>
                </a:lnTo>
                <a:lnTo>
                  <a:pt x="31" y="254"/>
                </a:lnTo>
                <a:lnTo>
                  <a:pt x="27" y="258"/>
                </a:lnTo>
                <a:lnTo>
                  <a:pt x="24" y="261"/>
                </a:lnTo>
                <a:lnTo>
                  <a:pt x="24" y="261"/>
                </a:lnTo>
                <a:lnTo>
                  <a:pt x="24" y="263"/>
                </a:lnTo>
                <a:lnTo>
                  <a:pt x="29" y="263"/>
                </a:lnTo>
                <a:lnTo>
                  <a:pt x="35" y="261"/>
                </a:lnTo>
                <a:lnTo>
                  <a:pt x="42" y="263"/>
                </a:lnTo>
                <a:lnTo>
                  <a:pt x="42" y="263"/>
                </a:lnTo>
                <a:lnTo>
                  <a:pt x="44" y="265"/>
                </a:lnTo>
                <a:lnTo>
                  <a:pt x="42" y="267"/>
                </a:lnTo>
                <a:lnTo>
                  <a:pt x="40" y="269"/>
                </a:lnTo>
                <a:lnTo>
                  <a:pt x="40" y="272"/>
                </a:lnTo>
                <a:lnTo>
                  <a:pt x="40" y="272"/>
                </a:lnTo>
                <a:lnTo>
                  <a:pt x="40" y="274"/>
                </a:lnTo>
                <a:lnTo>
                  <a:pt x="44" y="278"/>
                </a:lnTo>
                <a:lnTo>
                  <a:pt x="53" y="282"/>
                </a:lnTo>
                <a:lnTo>
                  <a:pt x="71" y="289"/>
                </a:lnTo>
                <a:lnTo>
                  <a:pt x="71" y="289"/>
                </a:lnTo>
                <a:lnTo>
                  <a:pt x="73" y="291"/>
                </a:lnTo>
                <a:lnTo>
                  <a:pt x="73" y="293"/>
                </a:lnTo>
                <a:lnTo>
                  <a:pt x="73" y="293"/>
                </a:lnTo>
                <a:lnTo>
                  <a:pt x="60" y="291"/>
                </a:lnTo>
                <a:lnTo>
                  <a:pt x="51" y="287"/>
                </a:lnTo>
                <a:lnTo>
                  <a:pt x="38" y="282"/>
                </a:lnTo>
                <a:lnTo>
                  <a:pt x="38" y="282"/>
                </a:lnTo>
                <a:lnTo>
                  <a:pt x="29" y="280"/>
                </a:lnTo>
                <a:lnTo>
                  <a:pt x="24" y="280"/>
                </a:lnTo>
                <a:lnTo>
                  <a:pt x="22" y="283"/>
                </a:lnTo>
                <a:lnTo>
                  <a:pt x="20" y="287"/>
                </a:lnTo>
                <a:lnTo>
                  <a:pt x="20" y="287"/>
                </a:lnTo>
                <a:lnTo>
                  <a:pt x="18" y="289"/>
                </a:lnTo>
                <a:lnTo>
                  <a:pt x="16" y="289"/>
                </a:lnTo>
                <a:lnTo>
                  <a:pt x="11" y="293"/>
                </a:lnTo>
                <a:lnTo>
                  <a:pt x="7" y="294"/>
                </a:lnTo>
                <a:lnTo>
                  <a:pt x="4" y="300"/>
                </a:lnTo>
                <a:lnTo>
                  <a:pt x="2" y="305"/>
                </a:lnTo>
                <a:lnTo>
                  <a:pt x="0" y="314"/>
                </a:lnTo>
                <a:lnTo>
                  <a:pt x="0" y="314"/>
                </a:lnTo>
                <a:lnTo>
                  <a:pt x="4" y="313"/>
                </a:lnTo>
                <a:lnTo>
                  <a:pt x="9" y="307"/>
                </a:lnTo>
                <a:lnTo>
                  <a:pt x="15" y="303"/>
                </a:lnTo>
                <a:lnTo>
                  <a:pt x="18" y="302"/>
                </a:lnTo>
                <a:lnTo>
                  <a:pt x="18" y="303"/>
                </a:lnTo>
                <a:lnTo>
                  <a:pt x="18" y="303"/>
                </a:lnTo>
                <a:lnTo>
                  <a:pt x="22" y="311"/>
                </a:lnTo>
                <a:lnTo>
                  <a:pt x="27" y="314"/>
                </a:lnTo>
                <a:lnTo>
                  <a:pt x="35" y="314"/>
                </a:lnTo>
                <a:lnTo>
                  <a:pt x="42" y="314"/>
                </a:lnTo>
                <a:lnTo>
                  <a:pt x="58" y="313"/>
                </a:lnTo>
                <a:lnTo>
                  <a:pt x="66" y="313"/>
                </a:lnTo>
                <a:lnTo>
                  <a:pt x="69" y="313"/>
                </a:lnTo>
                <a:lnTo>
                  <a:pt x="69" y="313"/>
                </a:lnTo>
                <a:lnTo>
                  <a:pt x="69" y="314"/>
                </a:lnTo>
                <a:lnTo>
                  <a:pt x="69" y="314"/>
                </a:lnTo>
                <a:lnTo>
                  <a:pt x="66" y="316"/>
                </a:lnTo>
                <a:lnTo>
                  <a:pt x="53" y="318"/>
                </a:lnTo>
                <a:lnTo>
                  <a:pt x="46" y="320"/>
                </a:lnTo>
                <a:lnTo>
                  <a:pt x="38" y="324"/>
                </a:lnTo>
                <a:lnTo>
                  <a:pt x="37" y="325"/>
                </a:lnTo>
                <a:lnTo>
                  <a:pt x="35" y="329"/>
                </a:lnTo>
                <a:lnTo>
                  <a:pt x="37" y="331"/>
                </a:lnTo>
                <a:lnTo>
                  <a:pt x="37" y="331"/>
                </a:lnTo>
                <a:lnTo>
                  <a:pt x="33" y="335"/>
                </a:lnTo>
                <a:lnTo>
                  <a:pt x="29" y="342"/>
                </a:lnTo>
                <a:lnTo>
                  <a:pt x="27" y="345"/>
                </a:lnTo>
                <a:lnTo>
                  <a:pt x="27" y="351"/>
                </a:lnTo>
                <a:lnTo>
                  <a:pt x="29" y="356"/>
                </a:lnTo>
                <a:lnTo>
                  <a:pt x="35" y="364"/>
                </a:lnTo>
                <a:lnTo>
                  <a:pt x="35" y="364"/>
                </a:lnTo>
                <a:lnTo>
                  <a:pt x="37" y="353"/>
                </a:lnTo>
                <a:lnTo>
                  <a:pt x="40" y="347"/>
                </a:lnTo>
                <a:lnTo>
                  <a:pt x="42" y="345"/>
                </a:lnTo>
                <a:lnTo>
                  <a:pt x="46" y="345"/>
                </a:lnTo>
                <a:lnTo>
                  <a:pt x="46" y="345"/>
                </a:lnTo>
                <a:lnTo>
                  <a:pt x="53" y="345"/>
                </a:lnTo>
                <a:lnTo>
                  <a:pt x="58" y="349"/>
                </a:lnTo>
                <a:lnTo>
                  <a:pt x="64" y="349"/>
                </a:lnTo>
                <a:lnTo>
                  <a:pt x="71" y="345"/>
                </a:lnTo>
                <a:lnTo>
                  <a:pt x="71" y="345"/>
                </a:lnTo>
                <a:lnTo>
                  <a:pt x="79" y="340"/>
                </a:lnTo>
                <a:lnTo>
                  <a:pt x="84" y="336"/>
                </a:lnTo>
                <a:lnTo>
                  <a:pt x="95" y="333"/>
                </a:lnTo>
                <a:lnTo>
                  <a:pt x="95" y="333"/>
                </a:lnTo>
                <a:lnTo>
                  <a:pt x="95" y="336"/>
                </a:lnTo>
                <a:lnTo>
                  <a:pt x="99" y="342"/>
                </a:lnTo>
                <a:lnTo>
                  <a:pt x="99" y="342"/>
                </a:lnTo>
                <a:lnTo>
                  <a:pt x="102" y="344"/>
                </a:lnTo>
                <a:lnTo>
                  <a:pt x="104" y="345"/>
                </a:lnTo>
                <a:lnTo>
                  <a:pt x="104" y="345"/>
                </a:lnTo>
                <a:lnTo>
                  <a:pt x="104" y="345"/>
                </a:lnTo>
                <a:lnTo>
                  <a:pt x="102" y="351"/>
                </a:lnTo>
                <a:lnTo>
                  <a:pt x="99" y="356"/>
                </a:lnTo>
                <a:lnTo>
                  <a:pt x="95" y="360"/>
                </a:lnTo>
                <a:lnTo>
                  <a:pt x="95" y="360"/>
                </a:lnTo>
                <a:lnTo>
                  <a:pt x="97" y="360"/>
                </a:lnTo>
                <a:lnTo>
                  <a:pt x="102" y="360"/>
                </a:lnTo>
                <a:lnTo>
                  <a:pt x="108" y="358"/>
                </a:lnTo>
                <a:lnTo>
                  <a:pt x="111" y="355"/>
                </a:lnTo>
                <a:lnTo>
                  <a:pt x="115" y="349"/>
                </a:lnTo>
                <a:lnTo>
                  <a:pt x="115" y="349"/>
                </a:lnTo>
                <a:lnTo>
                  <a:pt x="117" y="347"/>
                </a:lnTo>
                <a:lnTo>
                  <a:pt x="119" y="347"/>
                </a:lnTo>
                <a:lnTo>
                  <a:pt x="124" y="347"/>
                </a:lnTo>
                <a:lnTo>
                  <a:pt x="124" y="347"/>
                </a:lnTo>
                <a:lnTo>
                  <a:pt x="128" y="345"/>
                </a:lnTo>
                <a:lnTo>
                  <a:pt x="130" y="344"/>
                </a:lnTo>
                <a:lnTo>
                  <a:pt x="130" y="338"/>
                </a:lnTo>
                <a:lnTo>
                  <a:pt x="130" y="333"/>
                </a:lnTo>
                <a:lnTo>
                  <a:pt x="130" y="329"/>
                </a:lnTo>
                <a:lnTo>
                  <a:pt x="132" y="327"/>
                </a:lnTo>
                <a:lnTo>
                  <a:pt x="132" y="327"/>
                </a:lnTo>
                <a:lnTo>
                  <a:pt x="139" y="322"/>
                </a:lnTo>
                <a:lnTo>
                  <a:pt x="146" y="316"/>
                </a:lnTo>
                <a:lnTo>
                  <a:pt x="163" y="309"/>
                </a:lnTo>
                <a:lnTo>
                  <a:pt x="163" y="309"/>
                </a:lnTo>
                <a:lnTo>
                  <a:pt x="161" y="316"/>
                </a:lnTo>
                <a:lnTo>
                  <a:pt x="161" y="324"/>
                </a:lnTo>
                <a:lnTo>
                  <a:pt x="164" y="333"/>
                </a:lnTo>
                <a:lnTo>
                  <a:pt x="205" y="322"/>
                </a:lnTo>
                <a:lnTo>
                  <a:pt x="205" y="322"/>
                </a:lnTo>
                <a:lnTo>
                  <a:pt x="203" y="313"/>
                </a:lnTo>
                <a:lnTo>
                  <a:pt x="205" y="305"/>
                </a:lnTo>
                <a:lnTo>
                  <a:pt x="210" y="296"/>
                </a:lnTo>
                <a:lnTo>
                  <a:pt x="216" y="287"/>
                </a:lnTo>
                <a:lnTo>
                  <a:pt x="216" y="287"/>
                </a:lnTo>
                <a:lnTo>
                  <a:pt x="216" y="291"/>
                </a:lnTo>
                <a:lnTo>
                  <a:pt x="214" y="300"/>
                </a:lnTo>
                <a:lnTo>
                  <a:pt x="214" y="311"/>
                </a:lnTo>
                <a:lnTo>
                  <a:pt x="214" y="316"/>
                </a:lnTo>
                <a:lnTo>
                  <a:pt x="216" y="318"/>
                </a:lnTo>
                <a:lnTo>
                  <a:pt x="256" y="309"/>
                </a:lnTo>
                <a:lnTo>
                  <a:pt x="256" y="309"/>
                </a:lnTo>
                <a:lnTo>
                  <a:pt x="254" y="303"/>
                </a:lnTo>
                <a:lnTo>
                  <a:pt x="254" y="296"/>
                </a:lnTo>
                <a:lnTo>
                  <a:pt x="258" y="283"/>
                </a:lnTo>
                <a:lnTo>
                  <a:pt x="258" y="283"/>
                </a:lnTo>
                <a:lnTo>
                  <a:pt x="261" y="298"/>
                </a:lnTo>
                <a:lnTo>
                  <a:pt x="269" y="311"/>
                </a:lnTo>
                <a:lnTo>
                  <a:pt x="278" y="322"/>
                </a:lnTo>
                <a:lnTo>
                  <a:pt x="283" y="325"/>
                </a:lnTo>
                <a:lnTo>
                  <a:pt x="289" y="329"/>
                </a:lnTo>
                <a:lnTo>
                  <a:pt x="289" y="329"/>
                </a:lnTo>
                <a:lnTo>
                  <a:pt x="311" y="338"/>
                </a:lnTo>
                <a:lnTo>
                  <a:pt x="334" y="345"/>
                </a:lnTo>
                <a:lnTo>
                  <a:pt x="391" y="362"/>
                </a:lnTo>
                <a:lnTo>
                  <a:pt x="391" y="362"/>
                </a:lnTo>
                <a:lnTo>
                  <a:pt x="407" y="367"/>
                </a:lnTo>
                <a:lnTo>
                  <a:pt x="420" y="373"/>
                </a:lnTo>
                <a:lnTo>
                  <a:pt x="420" y="373"/>
                </a:lnTo>
                <a:lnTo>
                  <a:pt x="424" y="375"/>
                </a:lnTo>
                <a:lnTo>
                  <a:pt x="424" y="377"/>
                </a:lnTo>
                <a:lnTo>
                  <a:pt x="422" y="382"/>
                </a:lnTo>
                <a:lnTo>
                  <a:pt x="417" y="386"/>
                </a:lnTo>
                <a:lnTo>
                  <a:pt x="417" y="386"/>
                </a:lnTo>
                <a:lnTo>
                  <a:pt x="424" y="391"/>
                </a:lnTo>
                <a:lnTo>
                  <a:pt x="438" y="400"/>
                </a:lnTo>
                <a:lnTo>
                  <a:pt x="438" y="400"/>
                </a:lnTo>
                <a:lnTo>
                  <a:pt x="448" y="409"/>
                </a:lnTo>
                <a:lnTo>
                  <a:pt x="453" y="420"/>
                </a:lnTo>
                <a:lnTo>
                  <a:pt x="459" y="435"/>
                </a:lnTo>
                <a:lnTo>
                  <a:pt x="462" y="450"/>
                </a:lnTo>
                <a:lnTo>
                  <a:pt x="462" y="450"/>
                </a:lnTo>
                <a:lnTo>
                  <a:pt x="466" y="462"/>
                </a:lnTo>
                <a:lnTo>
                  <a:pt x="466" y="475"/>
                </a:lnTo>
                <a:lnTo>
                  <a:pt x="466" y="486"/>
                </a:lnTo>
                <a:lnTo>
                  <a:pt x="466" y="492"/>
                </a:lnTo>
                <a:lnTo>
                  <a:pt x="464" y="493"/>
                </a:lnTo>
                <a:lnTo>
                  <a:pt x="464" y="493"/>
                </a:lnTo>
                <a:lnTo>
                  <a:pt x="460" y="497"/>
                </a:lnTo>
                <a:lnTo>
                  <a:pt x="457" y="499"/>
                </a:lnTo>
                <a:lnTo>
                  <a:pt x="451" y="501"/>
                </a:lnTo>
                <a:lnTo>
                  <a:pt x="440" y="504"/>
                </a:lnTo>
                <a:lnTo>
                  <a:pt x="444" y="519"/>
                </a:lnTo>
                <a:lnTo>
                  <a:pt x="444" y="519"/>
                </a:lnTo>
                <a:lnTo>
                  <a:pt x="451" y="519"/>
                </a:lnTo>
                <a:lnTo>
                  <a:pt x="459" y="517"/>
                </a:lnTo>
                <a:lnTo>
                  <a:pt x="466" y="515"/>
                </a:lnTo>
                <a:lnTo>
                  <a:pt x="466" y="515"/>
                </a:lnTo>
                <a:lnTo>
                  <a:pt x="464" y="517"/>
                </a:lnTo>
                <a:lnTo>
                  <a:pt x="464" y="517"/>
                </a:lnTo>
                <a:lnTo>
                  <a:pt x="459" y="526"/>
                </a:lnTo>
                <a:lnTo>
                  <a:pt x="457" y="534"/>
                </a:lnTo>
                <a:lnTo>
                  <a:pt x="473" y="545"/>
                </a:lnTo>
                <a:lnTo>
                  <a:pt x="473" y="545"/>
                </a:lnTo>
                <a:lnTo>
                  <a:pt x="481" y="526"/>
                </a:lnTo>
                <a:lnTo>
                  <a:pt x="484" y="521"/>
                </a:lnTo>
                <a:lnTo>
                  <a:pt x="488" y="517"/>
                </a:lnTo>
                <a:lnTo>
                  <a:pt x="488" y="517"/>
                </a:lnTo>
                <a:lnTo>
                  <a:pt x="491" y="517"/>
                </a:lnTo>
                <a:lnTo>
                  <a:pt x="497" y="519"/>
                </a:lnTo>
                <a:lnTo>
                  <a:pt x="504" y="523"/>
                </a:lnTo>
                <a:lnTo>
                  <a:pt x="512" y="526"/>
                </a:lnTo>
                <a:lnTo>
                  <a:pt x="521" y="534"/>
                </a:lnTo>
                <a:lnTo>
                  <a:pt x="528" y="543"/>
                </a:lnTo>
                <a:lnTo>
                  <a:pt x="535" y="552"/>
                </a:lnTo>
                <a:lnTo>
                  <a:pt x="541" y="563"/>
                </a:lnTo>
                <a:lnTo>
                  <a:pt x="541" y="563"/>
                </a:lnTo>
                <a:lnTo>
                  <a:pt x="543" y="572"/>
                </a:lnTo>
                <a:lnTo>
                  <a:pt x="544" y="581"/>
                </a:lnTo>
                <a:lnTo>
                  <a:pt x="544" y="590"/>
                </a:lnTo>
                <a:lnTo>
                  <a:pt x="543" y="601"/>
                </a:lnTo>
                <a:lnTo>
                  <a:pt x="541" y="610"/>
                </a:lnTo>
                <a:lnTo>
                  <a:pt x="537" y="618"/>
                </a:lnTo>
                <a:lnTo>
                  <a:pt x="532" y="623"/>
                </a:lnTo>
                <a:lnTo>
                  <a:pt x="526" y="627"/>
                </a:lnTo>
                <a:lnTo>
                  <a:pt x="526" y="627"/>
                </a:lnTo>
                <a:lnTo>
                  <a:pt x="521" y="627"/>
                </a:lnTo>
                <a:lnTo>
                  <a:pt x="517" y="625"/>
                </a:lnTo>
                <a:lnTo>
                  <a:pt x="504" y="620"/>
                </a:lnTo>
                <a:lnTo>
                  <a:pt x="493" y="614"/>
                </a:lnTo>
                <a:lnTo>
                  <a:pt x="490" y="614"/>
                </a:lnTo>
                <a:lnTo>
                  <a:pt x="486" y="618"/>
                </a:lnTo>
                <a:lnTo>
                  <a:pt x="486" y="618"/>
                </a:lnTo>
                <a:lnTo>
                  <a:pt x="484" y="620"/>
                </a:lnTo>
                <a:lnTo>
                  <a:pt x="479" y="623"/>
                </a:lnTo>
                <a:lnTo>
                  <a:pt x="470" y="629"/>
                </a:lnTo>
                <a:lnTo>
                  <a:pt x="466" y="632"/>
                </a:lnTo>
                <a:lnTo>
                  <a:pt x="462" y="638"/>
                </a:lnTo>
                <a:lnTo>
                  <a:pt x="462" y="645"/>
                </a:lnTo>
                <a:lnTo>
                  <a:pt x="464" y="654"/>
                </a:lnTo>
                <a:lnTo>
                  <a:pt x="464" y="654"/>
                </a:lnTo>
                <a:lnTo>
                  <a:pt x="473" y="645"/>
                </a:lnTo>
                <a:lnTo>
                  <a:pt x="477" y="641"/>
                </a:lnTo>
                <a:lnTo>
                  <a:pt x="481" y="641"/>
                </a:lnTo>
                <a:lnTo>
                  <a:pt x="481" y="641"/>
                </a:lnTo>
                <a:lnTo>
                  <a:pt x="482" y="643"/>
                </a:lnTo>
                <a:lnTo>
                  <a:pt x="482" y="645"/>
                </a:lnTo>
                <a:lnTo>
                  <a:pt x="486" y="649"/>
                </a:lnTo>
                <a:lnTo>
                  <a:pt x="486" y="649"/>
                </a:lnTo>
                <a:lnTo>
                  <a:pt x="488" y="651"/>
                </a:lnTo>
                <a:lnTo>
                  <a:pt x="491" y="651"/>
                </a:lnTo>
                <a:lnTo>
                  <a:pt x="502" y="651"/>
                </a:lnTo>
                <a:lnTo>
                  <a:pt x="512" y="649"/>
                </a:lnTo>
                <a:lnTo>
                  <a:pt x="515" y="649"/>
                </a:lnTo>
                <a:lnTo>
                  <a:pt x="517" y="651"/>
                </a:lnTo>
                <a:lnTo>
                  <a:pt x="517" y="651"/>
                </a:lnTo>
                <a:lnTo>
                  <a:pt x="517" y="652"/>
                </a:lnTo>
                <a:lnTo>
                  <a:pt x="515" y="652"/>
                </a:lnTo>
                <a:lnTo>
                  <a:pt x="510" y="652"/>
                </a:lnTo>
                <a:lnTo>
                  <a:pt x="510" y="652"/>
                </a:lnTo>
                <a:lnTo>
                  <a:pt x="491" y="656"/>
                </a:lnTo>
                <a:lnTo>
                  <a:pt x="484" y="660"/>
                </a:lnTo>
                <a:lnTo>
                  <a:pt x="479" y="663"/>
                </a:lnTo>
                <a:lnTo>
                  <a:pt x="479" y="663"/>
                </a:lnTo>
                <a:lnTo>
                  <a:pt x="479" y="665"/>
                </a:lnTo>
                <a:lnTo>
                  <a:pt x="479" y="669"/>
                </a:lnTo>
                <a:lnTo>
                  <a:pt x="479" y="669"/>
                </a:lnTo>
                <a:lnTo>
                  <a:pt x="475" y="674"/>
                </a:lnTo>
                <a:lnTo>
                  <a:pt x="470" y="678"/>
                </a:lnTo>
                <a:lnTo>
                  <a:pt x="466" y="683"/>
                </a:lnTo>
                <a:lnTo>
                  <a:pt x="464" y="689"/>
                </a:lnTo>
                <a:lnTo>
                  <a:pt x="464" y="694"/>
                </a:lnTo>
                <a:lnTo>
                  <a:pt x="464" y="694"/>
                </a:lnTo>
                <a:lnTo>
                  <a:pt x="466" y="702"/>
                </a:lnTo>
                <a:lnTo>
                  <a:pt x="470" y="705"/>
                </a:lnTo>
                <a:lnTo>
                  <a:pt x="475" y="711"/>
                </a:lnTo>
                <a:lnTo>
                  <a:pt x="475" y="711"/>
                </a:lnTo>
                <a:lnTo>
                  <a:pt x="475" y="707"/>
                </a:lnTo>
                <a:lnTo>
                  <a:pt x="477" y="702"/>
                </a:lnTo>
                <a:lnTo>
                  <a:pt x="479" y="694"/>
                </a:lnTo>
                <a:lnTo>
                  <a:pt x="479" y="691"/>
                </a:lnTo>
                <a:lnTo>
                  <a:pt x="482" y="691"/>
                </a:lnTo>
                <a:lnTo>
                  <a:pt x="482" y="691"/>
                </a:lnTo>
                <a:lnTo>
                  <a:pt x="484" y="691"/>
                </a:lnTo>
                <a:lnTo>
                  <a:pt x="488" y="693"/>
                </a:lnTo>
                <a:lnTo>
                  <a:pt x="490" y="696"/>
                </a:lnTo>
                <a:lnTo>
                  <a:pt x="493" y="696"/>
                </a:lnTo>
                <a:lnTo>
                  <a:pt x="493" y="696"/>
                </a:lnTo>
                <a:lnTo>
                  <a:pt x="497" y="696"/>
                </a:lnTo>
                <a:lnTo>
                  <a:pt x="502" y="693"/>
                </a:lnTo>
                <a:lnTo>
                  <a:pt x="513" y="682"/>
                </a:lnTo>
                <a:lnTo>
                  <a:pt x="524" y="672"/>
                </a:lnTo>
                <a:lnTo>
                  <a:pt x="528" y="669"/>
                </a:lnTo>
                <a:lnTo>
                  <a:pt x="532" y="669"/>
                </a:lnTo>
                <a:lnTo>
                  <a:pt x="532" y="669"/>
                </a:lnTo>
                <a:lnTo>
                  <a:pt x="533" y="671"/>
                </a:lnTo>
                <a:lnTo>
                  <a:pt x="532" y="672"/>
                </a:lnTo>
                <a:lnTo>
                  <a:pt x="524" y="678"/>
                </a:lnTo>
                <a:lnTo>
                  <a:pt x="517" y="685"/>
                </a:lnTo>
                <a:lnTo>
                  <a:pt x="513" y="689"/>
                </a:lnTo>
                <a:lnTo>
                  <a:pt x="512" y="694"/>
                </a:lnTo>
                <a:lnTo>
                  <a:pt x="512" y="694"/>
                </a:lnTo>
                <a:lnTo>
                  <a:pt x="513" y="700"/>
                </a:lnTo>
                <a:lnTo>
                  <a:pt x="515" y="704"/>
                </a:lnTo>
                <a:lnTo>
                  <a:pt x="519" y="707"/>
                </a:lnTo>
                <a:lnTo>
                  <a:pt x="521" y="711"/>
                </a:lnTo>
                <a:lnTo>
                  <a:pt x="521" y="711"/>
                </a:lnTo>
                <a:lnTo>
                  <a:pt x="523" y="715"/>
                </a:lnTo>
                <a:lnTo>
                  <a:pt x="526" y="720"/>
                </a:lnTo>
                <a:lnTo>
                  <a:pt x="530" y="724"/>
                </a:lnTo>
                <a:lnTo>
                  <a:pt x="535" y="725"/>
                </a:lnTo>
                <a:lnTo>
                  <a:pt x="546" y="729"/>
                </a:lnTo>
                <a:lnTo>
                  <a:pt x="552" y="729"/>
                </a:lnTo>
                <a:lnTo>
                  <a:pt x="552" y="729"/>
                </a:lnTo>
                <a:lnTo>
                  <a:pt x="550" y="725"/>
                </a:lnTo>
                <a:lnTo>
                  <a:pt x="544" y="720"/>
                </a:lnTo>
                <a:lnTo>
                  <a:pt x="539" y="713"/>
                </a:lnTo>
                <a:lnTo>
                  <a:pt x="539" y="711"/>
                </a:lnTo>
                <a:lnTo>
                  <a:pt x="539" y="707"/>
                </a:lnTo>
                <a:lnTo>
                  <a:pt x="539" y="707"/>
                </a:lnTo>
                <a:lnTo>
                  <a:pt x="541" y="705"/>
                </a:lnTo>
                <a:lnTo>
                  <a:pt x="544" y="707"/>
                </a:lnTo>
                <a:lnTo>
                  <a:pt x="548" y="707"/>
                </a:lnTo>
                <a:lnTo>
                  <a:pt x="552" y="705"/>
                </a:lnTo>
                <a:lnTo>
                  <a:pt x="552" y="705"/>
                </a:lnTo>
                <a:lnTo>
                  <a:pt x="552" y="702"/>
                </a:lnTo>
                <a:lnTo>
                  <a:pt x="552" y="691"/>
                </a:lnTo>
                <a:lnTo>
                  <a:pt x="552" y="685"/>
                </a:lnTo>
                <a:lnTo>
                  <a:pt x="554" y="678"/>
                </a:lnTo>
                <a:lnTo>
                  <a:pt x="559" y="671"/>
                </a:lnTo>
                <a:lnTo>
                  <a:pt x="566" y="662"/>
                </a:lnTo>
                <a:lnTo>
                  <a:pt x="566" y="662"/>
                </a:lnTo>
                <a:lnTo>
                  <a:pt x="570" y="667"/>
                </a:lnTo>
                <a:lnTo>
                  <a:pt x="574" y="669"/>
                </a:lnTo>
                <a:lnTo>
                  <a:pt x="581" y="671"/>
                </a:lnTo>
                <a:lnTo>
                  <a:pt x="581" y="671"/>
                </a:lnTo>
                <a:lnTo>
                  <a:pt x="583" y="672"/>
                </a:lnTo>
                <a:lnTo>
                  <a:pt x="585" y="674"/>
                </a:lnTo>
                <a:lnTo>
                  <a:pt x="585" y="682"/>
                </a:lnTo>
                <a:lnTo>
                  <a:pt x="585" y="691"/>
                </a:lnTo>
                <a:lnTo>
                  <a:pt x="585" y="691"/>
                </a:lnTo>
                <a:lnTo>
                  <a:pt x="586" y="689"/>
                </a:lnTo>
                <a:lnTo>
                  <a:pt x="590" y="683"/>
                </a:lnTo>
                <a:lnTo>
                  <a:pt x="594" y="674"/>
                </a:lnTo>
                <a:lnTo>
                  <a:pt x="594" y="663"/>
                </a:lnTo>
                <a:lnTo>
                  <a:pt x="594" y="663"/>
                </a:lnTo>
                <a:lnTo>
                  <a:pt x="597" y="662"/>
                </a:lnTo>
                <a:lnTo>
                  <a:pt x="601" y="654"/>
                </a:lnTo>
                <a:lnTo>
                  <a:pt x="601" y="654"/>
                </a:lnTo>
                <a:lnTo>
                  <a:pt x="603" y="651"/>
                </a:lnTo>
                <a:lnTo>
                  <a:pt x="601" y="649"/>
                </a:lnTo>
                <a:lnTo>
                  <a:pt x="596" y="643"/>
                </a:lnTo>
                <a:lnTo>
                  <a:pt x="594" y="640"/>
                </a:lnTo>
                <a:lnTo>
                  <a:pt x="592" y="634"/>
                </a:lnTo>
                <a:lnTo>
                  <a:pt x="590" y="625"/>
                </a:lnTo>
                <a:lnTo>
                  <a:pt x="590" y="614"/>
                </a:lnTo>
                <a:lnTo>
                  <a:pt x="590" y="614"/>
                </a:lnTo>
                <a:lnTo>
                  <a:pt x="590" y="610"/>
                </a:lnTo>
                <a:lnTo>
                  <a:pt x="588" y="609"/>
                </a:lnTo>
                <a:lnTo>
                  <a:pt x="583" y="605"/>
                </a:lnTo>
                <a:lnTo>
                  <a:pt x="583" y="605"/>
                </a:lnTo>
                <a:lnTo>
                  <a:pt x="579" y="599"/>
                </a:lnTo>
                <a:lnTo>
                  <a:pt x="579" y="598"/>
                </a:lnTo>
                <a:lnTo>
                  <a:pt x="581" y="598"/>
                </a:lnTo>
                <a:lnTo>
                  <a:pt x="581" y="598"/>
                </a:lnTo>
                <a:lnTo>
                  <a:pt x="588" y="599"/>
                </a:lnTo>
                <a:lnTo>
                  <a:pt x="596" y="599"/>
                </a:lnTo>
                <a:lnTo>
                  <a:pt x="603" y="598"/>
                </a:lnTo>
                <a:lnTo>
                  <a:pt x="603" y="598"/>
                </a:lnTo>
                <a:lnTo>
                  <a:pt x="603" y="576"/>
                </a:lnTo>
                <a:lnTo>
                  <a:pt x="605" y="565"/>
                </a:lnTo>
                <a:lnTo>
                  <a:pt x="603" y="559"/>
                </a:lnTo>
                <a:lnTo>
                  <a:pt x="603" y="559"/>
                </a:lnTo>
                <a:lnTo>
                  <a:pt x="596" y="559"/>
                </a:lnTo>
                <a:lnTo>
                  <a:pt x="588" y="557"/>
                </a:lnTo>
                <a:lnTo>
                  <a:pt x="585" y="556"/>
                </a:lnTo>
                <a:lnTo>
                  <a:pt x="581" y="552"/>
                </a:lnTo>
                <a:lnTo>
                  <a:pt x="581" y="552"/>
                </a:lnTo>
                <a:lnTo>
                  <a:pt x="586" y="552"/>
                </a:lnTo>
                <a:lnTo>
                  <a:pt x="594" y="552"/>
                </a:lnTo>
                <a:lnTo>
                  <a:pt x="599" y="552"/>
                </a:lnTo>
                <a:lnTo>
                  <a:pt x="603" y="548"/>
                </a:lnTo>
                <a:lnTo>
                  <a:pt x="603" y="548"/>
                </a:lnTo>
                <a:lnTo>
                  <a:pt x="603" y="530"/>
                </a:lnTo>
                <a:lnTo>
                  <a:pt x="601" y="517"/>
                </a:lnTo>
                <a:lnTo>
                  <a:pt x="601" y="514"/>
                </a:lnTo>
                <a:lnTo>
                  <a:pt x="599" y="512"/>
                </a:lnTo>
                <a:lnTo>
                  <a:pt x="599" y="512"/>
                </a:lnTo>
                <a:lnTo>
                  <a:pt x="592" y="514"/>
                </a:lnTo>
                <a:lnTo>
                  <a:pt x="586" y="514"/>
                </a:lnTo>
                <a:lnTo>
                  <a:pt x="581" y="512"/>
                </a:lnTo>
                <a:lnTo>
                  <a:pt x="576" y="510"/>
                </a:lnTo>
                <a:lnTo>
                  <a:pt x="576" y="510"/>
                </a:lnTo>
                <a:lnTo>
                  <a:pt x="574" y="508"/>
                </a:lnTo>
                <a:lnTo>
                  <a:pt x="572" y="504"/>
                </a:lnTo>
                <a:lnTo>
                  <a:pt x="572" y="499"/>
                </a:lnTo>
                <a:lnTo>
                  <a:pt x="570" y="495"/>
                </a:lnTo>
                <a:lnTo>
                  <a:pt x="570" y="493"/>
                </a:lnTo>
                <a:lnTo>
                  <a:pt x="568" y="492"/>
                </a:lnTo>
                <a:lnTo>
                  <a:pt x="568" y="492"/>
                </a:lnTo>
                <a:lnTo>
                  <a:pt x="557" y="488"/>
                </a:lnTo>
                <a:lnTo>
                  <a:pt x="546" y="482"/>
                </a:lnTo>
                <a:lnTo>
                  <a:pt x="541" y="477"/>
                </a:lnTo>
                <a:lnTo>
                  <a:pt x="535" y="473"/>
                </a:lnTo>
                <a:lnTo>
                  <a:pt x="535" y="473"/>
                </a:lnTo>
                <a:lnTo>
                  <a:pt x="532" y="468"/>
                </a:lnTo>
                <a:lnTo>
                  <a:pt x="532" y="462"/>
                </a:lnTo>
                <a:lnTo>
                  <a:pt x="532" y="459"/>
                </a:lnTo>
                <a:lnTo>
                  <a:pt x="532" y="459"/>
                </a:lnTo>
                <a:lnTo>
                  <a:pt x="541" y="462"/>
                </a:lnTo>
                <a:lnTo>
                  <a:pt x="544" y="462"/>
                </a:lnTo>
                <a:lnTo>
                  <a:pt x="550" y="461"/>
                </a:lnTo>
                <a:lnTo>
                  <a:pt x="552" y="431"/>
                </a:lnTo>
                <a:lnTo>
                  <a:pt x="552" y="431"/>
                </a:lnTo>
                <a:lnTo>
                  <a:pt x="548" y="431"/>
                </a:lnTo>
                <a:lnTo>
                  <a:pt x="541" y="430"/>
                </a:lnTo>
                <a:lnTo>
                  <a:pt x="541" y="430"/>
                </a:lnTo>
                <a:lnTo>
                  <a:pt x="537" y="426"/>
                </a:lnTo>
                <a:lnTo>
                  <a:pt x="533" y="422"/>
                </a:lnTo>
                <a:lnTo>
                  <a:pt x="532" y="419"/>
                </a:lnTo>
                <a:lnTo>
                  <a:pt x="532" y="419"/>
                </a:lnTo>
                <a:lnTo>
                  <a:pt x="535" y="420"/>
                </a:lnTo>
                <a:lnTo>
                  <a:pt x="543" y="422"/>
                </a:lnTo>
                <a:lnTo>
                  <a:pt x="543" y="422"/>
                </a:lnTo>
                <a:lnTo>
                  <a:pt x="550" y="422"/>
                </a:lnTo>
                <a:lnTo>
                  <a:pt x="554" y="420"/>
                </a:lnTo>
                <a:lnTo>
                  <a:pt x="557" y="387"/>
                </a:lnTo>
                <a:lnTo>
                  <a:pt x="557" y="387"/>
                </a:lnTo>
                <a:lnTo>
                  <a:pt x="552" y="387"/>
                </a:lnTo>
                <a:lnTo>
                  <a:pt x="546" y="386"/>
                </a:lnTo>
                <a:lnTo>
                  <a:pt x="541" y="384"/>
                </a:lnTo>
                <a:lnTo>
                  <a:pt x="539" y="378"/>
                </a:lnTo>
                <a:lnTo>
                  <a:pt x="539" y="377"/>
                </a:lnTo>
                <a:lnTo>
                  <a:pt x="539" y="377"/>
                </a:lnTo>
                <a:lnTo>
                  <a:pt x="552" y="373"/>
                </a:lnTo>
                <a:lnTo>
                  <a:pt x="563" y="367"/>
                </a:lnTo>
                <a:lnTo>
                  <a:pt x="572" y="360"/>
                </a:lnTo>
                <a:lnTo>
                  <a:pt x="579" y="353"/>
                </a:lnTo>
                <a:lnTo>
                  <a:pt x="586" y="344"/>
                </a:lnTo>
                <a:lnTo>
                  <a:pt x="592" y="333"/>
                </a:lnTo>
                <a:lnTo>
                  <a:pt x="597" y="324"/>
                </a:lnTo>
                <a:lnTo>
                  <a:pt x="599" y="313"/>
                </a:lnTo>
                <a:lnTo>
                  <a:pt x="599" y="313"/>
                </a:lnTo>
                <a:lnTo>
                  <a:pt x="608" y="316"/>
                </a:lnTo>
                <a:lnTo>
                  <a:pt x="614" y="316"/>
                </a:lnTo>
                <a:lnTo>
                  <a:pt x="618" y="316"/>
                </a:lnTo>
                <a:lnTo>
                  <a:pt x="618" y="316"/>
                </a:lnTo>
                <a:lnTo>
                  <a:pt x="619" y="303"/>
                </a:lnTo>
                <a:lnTo>
                  <a:pt x="619" y="289"/>
                </a:lnTo>
                <a:lnTo>
                  <a:pt x="619" y="289"/>
                </a:lnTo>
                <a:lnTo>
                  <a:pt x="610" y="287"/>
                </a:lnTo>
                <a:lnTo>
                  <a:pt x="607" y="285"/>
                </a:lnTo>
                <a:lnTo>
                  <a:pt x="603" y="28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800"/>
          </a:p>
        </p:txBody>
      </p:sp>
      <p:pic>
        <p:nvPicPr>
          <p:cNvPr id="56" name="Picture 5">
            <a:extLst>
              <a:ext uri="{FF2B5EF4-FFF2-40B4-BE49-F238E27FC236}">
                <a16:creationId xmlns:a16="http://schemas.microsoft.com/office/drawing/2014/main" id="{54CBBF4F-860A-6245-8AAB-382104654A3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24329" y="4699763"/>
            <a:ext cx="1439764" cy="274348"/>
          </a:xfrm>
          <a:prstGeom prst="rect">
            <a:avLst/>
          </a:prstGeom>
        </p:spPr>
      </p:pic>
      <p:pic>
        <p:nvPicPr>
          <p:cNvPr id="57" name="Picture 6">
            <a:extLst>
              <a:ext uri="{FF2B5EF4-FFF2-40B4-BE49-F238E27FC236}">
                <a16:creationId xmlns:a16="http://schemas.microsoft.com/office/drawing/2014/main" id="{3AEFC440-453E-0D42-BF52-3C7282112DB0}"/>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04449" y="235341"/>
            <a:ext cx="305495" cy="419486"/>
          </a:xfrm>
          <a:prstGeom prst="rect">
            <a:avLst/>
          </a:prstGeom>
        </p:spPr>
      </p:pic>
    </p:spTree>
    <p:extLst>
      <p:ext uri="{BB962C8B-B14F-4D97-AF65-F5344CB8AC3E}">
        <p14:creationId xmlns:p14="http://schemas.microsoft.com/office/powerpoint/2010/main" val="165997253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6_Otsikko ja sisältö tyhjä">
    <p:spTree>
      <p:nvGrpSpPr>
        <p:cNvPr id="1" name=""/>
        <p:cNvGrpSpPr/>
        <p:nvPr/>
      </p:nvGrpSpPr>
      <p:grpSpPr>
        <a:xfrm>
          <a:off x="0" y="0"/>
          <a:ext cx="0" cy="0"/>
          <a:chOff x="0" y="0"/>
          <a:chExt cx="0" cy="0"/>
        </a:xfrm>
      </p:grpSpPr>
      <p:sp>
        <p:nvSpPr>
          <p:cNvPr id="3" name="Sisällön paikkamerkki 2"/>
          <p:cNvSpPr>
            <a:spLocks noGrp="1"/>
          </p:cNvSpPr>
          <p:nvPr>
            <p:ph idx="1"/>
          </p:nvPr>
        </p:nvSpPr>
        <p:spPr>
          <a:xfrm>
            <a:off x="432786" y="1410998"/>
            <a:ext cx="8224354" cy="3393001"/>
          </a:xfrm>
        </p:spPr>
        <p:txBody>
          <a:bodyPr/>
          <a:lstStyle>
            <a:lvl1pPr>
              <a:defRPr>
                <a:solidFill>
                  <a:srgbClr val="595965"/>
                </a:solidFill>
              </a:defRPr>
            </a:lvl1pPr>
            <a:lvl2pPr>
              <a:defRPr>
                <a:solidFill>
                  <a:srgbClr val="595965"/>
                </a:solidFill>
              </a:defRPr>
            </a:lvl2pPr>
            <a:lvl3pPr>
              <a:defRPr>
                <a:solidFill>
                  <a:srgbClr val="595965"/>
                </a:solidFill>
              </a:defRPr>
            </a:lvl3pPr>
            <a:lvl4pPr>
              <a:defRPr>
                <a:solidFill>
                  <a:srgbClr val="595965"/>
                </a:solidFill>
              </a:defRPr>
            </a:lvl4pPr>
            <a:lvl5pPr>
              <a:defRPr>
                <a:solidFill>
                  <a:srgbClr val="595965"/>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8" name="Otsikko 7"/>
          <p:cNvSpPr>
            <a:spLocks noGrp="1"/>
          </p:cNvSpPr>
          <p:nvPr>
            <p:ph type="title"/>
          </p:nvPr>
        </p:nvSpPr>
        <p:spPr>
          <a:xfrm>
            <a:off x="432786" y="235341"/>
            <a:ext cx="8224354" cy="974270"/>
          </a:xfrm>
        </p:spPr>
        <p:txBody>
          <a:bodyPr/>
          <a:lstStyle>
            <a:lvl1pPr>
              <a:defRPr>
                <a:solidFill>
                  <a:srgbClr val="595965"/>
                </a:solidFill>
              </a:defRPr>
            </a:lvl1pPr>
          </a:lstStyle>
          <a:p>
            <a:r>
              <a:rPr lang="en-US" dirty="0"/>
              <a:t>Click to edit Master title style</a:t>
            </a:r>
            <a:endParaRPr lang="fi-FI" dirty="0"/>
          </a:p>
        </p:txBody>
      </p:sp>
    </p:spTree>
    <p:extLst>
      <p:ext uri="{BB962C8B-B14F-4D97-AF65-F5344CB8AC3E}">
        <p14:creationId xmlns:p14="http://schemas.microsoft.com/office/powerpoint/2010/main" val="376846585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title" preserve="1">
  <p:cSld name="2_Lopetus Sote">
    <p:spTree>
      <p:nvGrpSpPr>
        <p:cNvPr id="1" name=""/>
        <p:cNvGrpSpPr/>
        <p:nvPr/>
      </p:nvGrpSpPr>
      <p:grpSpPr>
        <a:xfrm>
          <a:off x="0" y="0"/>
          <a:ext cx="0" cy="0"/>
          <a:chOff x="0" y="0"/>
          <a:chExt cx="0" cy="0"/>
        </a:xfrm>
      </p:grpSpPr>
      <p:sp>
        <p:nvSpPr>
          <p:cNvPr id="4" name="Suorakulmio 3"/>
          <p:cNvSpPr/>
          <p:nvPr userDrawn="1"/>
        </p:nvSpPr>
        <p:spPr>
          <a:xfrm>
            <a:off x="1" y="0"/>
            <a:ext cx="9140109" cy="51422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91" y="1226"/>
            <a:ext cx="9136219" cy="5141050"/>
          </a:xfrm>
          <a:prstGeom prst="rect">
            <a:avLst/>
          </a:prstGeom>
        </p:spPr>
      </p:pic>
      <p:sp>
        <p:nvSpPr>
          <p:cNvPr id="2" name="Otsikko 1"/>
          <p:cNvSpPr>
            <a:spLocks noGrp="1"/>
          </p:cNvSpPr>
          <p:nvPr>
            <p:ph type="ctrTitle" hasCustomPrompt="1"/>
          </p:nvPr>
        </p:nvSpPr>
        <p:spPr>
          <a:xfrm>
            <a:off x="812801" y="1923679"/>
            <a:ext cx="5855530" cy="1114418"/>
          </a:xfrm>
        </p:spPr>
        <p:txBody>
          <a:bodyPr anchor="b" anchorCtr="0"/>
          <a:lstStyle>
            <a:lvl1pPr algn="l">
              <a:defRPr>
                <a:solidFill>
                  <a:schemeClr val="accent4"/>
                </a:solidFill>
              </a:defRPr>
            </a:lvl1pPr>
          </a:lstStyle>
          <a:p>
            <a:r>
              <a:rPr lang="fi-FI" dirty="0"/>
              <a:t>Esityksen päättävä teksti</a:t>
            </a:r>
          </a:p>
        </p:txBody>
      </p:sp>
      <p:sp>
        <p:nvSpPr>
          <p:cNvPr id="3" name="Alaotsikko 2"/>
          <p:cNvSpPr>
            <a:spLocks noGrp="1"/>
          </p:cNvSpPr>
          <p:nvPr>
            <p:ph type="subTitle" idx="1"/>
          </p:nvPr>
        </p:nvSpPr>
        <p:spPr>
          <a:xfrm>
            <a:off x="812801" y="3147814"/>
            <a:ext cx="5855530" cy="1512168"/>
          </a:xfrm>
        </p:spPr>
        <p:txBody>
          <a:bodyPr>
            <a:normAutofit/>
          </a:bodyPr>
          <a:lstStyle>
            <a:lvl1pPr marL="0" indent="0" algn="l">
              <a:spcBef>
                <a:spcPts val="0"/>
              </a:spcBef>
              <a:buNone/>
              <a:defRPr sz="1800">
                <a:solidFill>
                  <a:srgbClr val="595965"/>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endParaRPr lang="fi-FI" dirty="0"/>
          </a:p>
        </p:txBody>
      </p:sp>
      <p:pic>
        <p:nvPicPr>
          <p:cNvPr id="6" name="Picture 5">
            <a:extLst>
              <a:ext uri="{FF2B5EF4-FFF2-40B4-BE49-F238E27FC236}">
                <a16:creationId xmlns:a16="http://schemas.microsoft.com/office/drawing/2014/main" id="{54CBBF4F-860A-6245-8AAB-382104654A3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24329" y="4699763"/>
            <a:ext cx="1439764" cy="274348"/>
          </a:xfrm>
          <a:prstGeom prst="rect">
            <a:avLst/>
          </a:prstGeom>
        </p:spPr>
      </p:pic>
      <p:pic>
        <p:nvPicPr>
          <p:cNvPr id="7" name="Picture 6">
            <a:extLst>
              <a:ext uri="{FF2B5EF4-FFF2-40B4-BE49-F238E27FC236}">
                <a16:creationId xmlns:a16="http://schemas.microsoft.com/office/drawing/2014/main" id="{3AEFC440-453E-0D42-BF52-3C7282112DB0}"/>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04449" y="235341"/>
            <a:ext cx="305495" cy="419486"/>
          </a:xfrm>
          <a:prstGeom prst="rect">
            <a:avLst/>
          </a:prstGeom>
        </p:spPr>
      </p:pic>
    </p:spTree>
    <p:extLst>
      <p:ext uri="{BB962C8B-B14F-4D97-AF65-F5344CB8AC3E}">
        <p14:creationId xmlns:p14="http://schemas.microsoft.com/office/powerpoint/2010/main" val="38140328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2_Lopetus Sote">
    <p:spTree>
      <p:nvGrpSpPr>
        <p:cNvPr id="1" name=""/>
        <p:cNvGrpSpPr/>
        <p:nvPr/>
      </p:nvGrpSpPr>
      <p:grpSpPr>
        <a:xfrm>
          <a:off x="0" y="0"/>
          <a:ext cx="0" cy="0"/>
          <a:chOff x="0" y="0"/>
          <a:chExt cx="0" cy="0"/>
        </a:xfrm>
      </p:grpSpPr>
      <p:sp>
        <p:nvSpPr>
          <p:cNvPr id="4" name="Suorakulmio 3"/>
          <p:cNvSpPr/>
          <p:nvPr userDrawn="1"/>
        </p:nvSpPr>
        <p:spPr>
          <a:xfrm>
            <a:off x="0" y="-1"/>
            <a:ext cx="9140109" cy="51422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90" y="1225"/>
            <a:ext cx="9136219" cy="5141050"/>
          </a:xfrm>
          <a:prstGeom prst="rect">
            <a:avLst/>
          </a:prstGeom>
        </p:spPr>
      </p:pic>
      <p:sp>
        <p:nvSpPr>
          <p:cNvPr id="2" name="Otsikko 1"/>
          <p:cNvSpPr>
            <a:spLocks noGrp="1"/>
          </p:cNvSpPr>
          <p:nvPr>
            <p:ph type="ctrTitle" hasCustomPrompt="1"/>
          </p:nvPr>
        </p:nvSpPr>
        <p:spPr>
          <a:xfrm>
            <a:off x="812800" y="1923678"/>
            <a:ext cx="5855530" cy="1114418"/>
          </a:xfrm>
        </p:spPr>
        <p:txBody>
          <a:bodyPr anchor="b" anchorCtr="0"/>
          <a:lstStyle>
            <a:lvl1pPr algn="l">
              <a:defRPr>
                <a:solidFill>
                  <a:schemeClr val="accent4"/>
                </a:solidFill>
              </a:defRPr>
            </a:lvl1pPr>
          </a:lstStyle>
          <a:p>
            <a:r>
              <a:rPr lang="fi-FI" dirty="0"/>
              <a:t>Esityksen päättävä teksti</a:t>
            </a:r>
          </a:p>
        </p:txBody>
      </p:sp>
      <p:sp>
        <p:nvSpPr>
          <p:cNvPr id="3" name="Alaotsikko 2"/>
          <p:cNvSpPr>
            <a:spLocks noGrp="1"/>
          </p:cNvSpPr>
          <p:nvPr>
            <p:ph type="subTitle" idx="1"/>
          </p:nvPr>
        </p:nvSpPr>
        <p:spPr>
          <a:xfrm>
            <a:off x="812800" y="3147814"/>
            <a:ext cx="5855530" cy="1512168"/>
          </a:xfrm>
        </p:spPr>
        <p:txBody>
          <a:bodyPr>
            <a:normAutofit/>
          </a:bodyPr>
          <a:lstStyle>
            <a:lvl1pPr marL="0" indent="0" algn="l">
              <a:spcBef>
                <a:spcPts val="0"/>
              </a:spcBef>
              <a:buNone/>
              <a:defRPr sz="1800">
                <a:solidFill>
                  <a:srgbClr val="59596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fi-FI" dirty="0"/>
          </a:p>
        </p:txBody>
      </p:sp>
      <p:pic>
        <p:nvPicPr>
          <p:cNvPr id="6" name="Picture 5">
            <a:extLst>
              <a:ext uri="{FF2B5EF4-FFF2-40B4-BE49-F238E27FC236}">
                <a16:creationId xmlns:a16="http://schemas.microsoft.com/office/drawing/2014/main" id="{54CBBF4F-860A-6245-8AAB-382104654A3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24328" y="4699762"/>
            <a:ext cx="1439764" cy="274348"/>
          </a:xfrm>
          <a:prstGeom prst="rect">
            <a:avLst/>
          </a:prstGeom>
        </p:spPr>
      </p:pic>
      <p:pic>
        <p:nvPicPr>
          <p:cNvPr id="7" name="Picture 6">
            <a:extLst>
              <a:ext uri="{FF2B5EF4-FFF2-40B4-BE49-F238E27FC236}">
                <a16:creationId xmlns:a16="http://schemas.microsoft.com/office/drawing/2014/main" id="{3AEFC440-453E-0D42-BF52-3C7282112DB0}"/>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04448" y="235340"/>
            <a:ext cx="305495" cy="419486"/>
          </a:xfrm>
          <a:prstGeom prst="rect">
            <a:avLst/>
          </a:prstGeom>
        </p:spPr>
      </p:pic>
    </p:spTree>
    <p:extLst>
      <p:ext uri="{BB962C8B-B14F-4D97-AF65-F5344CB8AC3E}">
        <p14:creationId xmlns:p14="http://schemas.microsoft.com/office/powerpoint/2010/main" val="58751300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yhjä">
    <p:spTree>
      <p:nvGrpSpPr>
        <p:cNvPr id="1" name=""/>
        <p:cNvGrpSpPr/>
        <p:nvPr/>
      </p:nvGrpSpPr>
      <p:grpSpPr>
        <a:xfrm>
          <a:off x="0" y="0"/>
          <a:ext cx="0" cy="0"/>
          <a:chOff x="0" y="0"/>
          <a:chExt cx="0" cy="0"/>
        </a:xfrm>
      </p:grpSpPr>
    </p:spTree>
    <p:extLst>
      <p:ext uri="{BB962C8B-B14F-4D97-AF65-F5344CB8AC3E}">
        <p14:creationId xmlns:p14="http://schemas.microsoft.com/office/powerpoint/2010/main" val="67195002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cSld name="Otsikko ja tekstisivu A">
    <p:spTree>
      <p:nvGrpSpPr>
        <p:cNvPr id="1" name=""/>
        <p:cNvGrpSpPr/>
        <p:nvPr/>
      </p:nvGrpSpPr>
      <p:grpSpPr>
        <a:xfrm>
          <a:off x="0" y="0"/>
          <a:ext cx="0" cy="0"/>
          <a:chOff x="0" y="0"/>
          <a:chExt cx="0" cy="0"/>
        </a:xfrm>
      </p:grpSpPr>
      <p:sp>
        <p:nvSpPr>
          <p:cNvPr id="2" name="Otsikko 1"/>
          <p:cNvSpPr>
            <a:spLocks noGrp="1"/>
          </p:cNvSpPr>
          <p:nvPr>
            <p:ph type="title" hasCustomPrompt="1"/>
          </p:nvPr>
        </p:nvSpPr>
        <p:spPr>
          <a:xfrm>
            <a:off x="1386301" y="193994"/>
            <a:ext cx="7611243" cy="792000"/>
          </a:xfrm>
        </p:spPr>
        <p:txBody>
          <a:bodyPr/>
          <a:lstStyle>
            <a:lvl1pPr>
              <a:defRPr cap="all"/>
            </a:lvl1pPr>
          </a:lstStyle>
          <a:p>
            <a:r>
              <a:rPr lang="fi-FI" dirty="0"/>
              <a:t>MUOKKAA PERUSTYYLEJÄ NAPS.</a:t>
            </a:r>
          </a:p>
        </p:txBody>
      </p:sp>
      <p:sp>
        <p:nvSpPr>
          <p:cNvPr id="3" name="Sisällön paikkamerkki 2"/>
          <p:cNvSpPr>
            <a:spLocks noGrp="1"/>
          </p:cNvSpPr>
          <p:nvPr>
            <p:ph idx="1"/>
          </p:nvPr>
        </p:nvSpPr>
        <p:spPr>
          <a:xfrm>
            <a:off x="1386304" y="1106235"/>
            <a:ext cx="6919223" cy="3569369"/>
          </a:xfrm>
        </p:spPr>
        <p:txBody>
          <a:bodyPr tIns="0" bIns="0">
            <a:normAutofit/>
          </a:bodyPr>
          <a:lstStyle>
            <a:lvl1pPr marL="241188" indent="-241188">
              <a:spcBef>
                <a:spcPts val="0"/>
              </a:spcBef>
              <a:defRPr sz="1800"/>
            </a:lvl1pPr>
            <a:lvl2pPr>
              <a:defRPr sz="1800"/>
            </a:lvl2pPr>
          </a:lstStyle>
          <a:p>
            <a:pPr lvl="0"/>
            <a:r>
              <a:rPr lang="fi-FI"/>
              <a:t>Muokkaa tekstin perustyylejä</a:t>
            </a:r>
          </a:p>
          <a:p>
            <a:pPr lvl="1"/>
            <a:r>
              <a:rPr lang="fi-FI"/>
              <a:t>toinen taso</a:t>
            </a:r>
          </a:p>
        </p:txBody>
      </p:sp>
      <p:sp>
        <p:nvSpPr>
          <p:cNvPr id="10" name="Päivämäärän paikkamerkki 3"/>
          <p:cNvSpPr>
            <a:spLocks noGrp="1"/>
          </p:cNvSpPr>
          <p:nvPr>
            <p:ph type="dt" sz="half" idx="2"/>
          </p:nvPr>
        </p:nvSpPr>
        <p:spPr>
          <a:xfrm>
            <a:off x="1679447" y="4767262"/>
            <a:ext cx="1111137" cy="376238"/>
          </a:xfrm>
          <a:prstGeom prst="rect">
            <a:avLst/>
          </a:prstGeom>
        </p:spPr>
        <p:txBody>
          <a:bodyPr vert="horz" lIns="0" tIns="0" rIns="0" bIns="0" rtlCol="0" anchor="t" anchorCtr="0"/>
          <a:lstStyle>
            <a:lvl1pPr algn="l">
              <a:defRPr sz="1000" b="1">
                <a:solidFill>
                  <a:schemeClr val="accent5"/>
                </a:solidFill>
              </a:defRPr>
            </a:lvl1pPr>
          </a:lstStyle>
          <a:p>
            <a:endParaRPr lang="fi-FI" dirty="0"/>
          </a:p>
        </p:txBody>
      </p:sp>
      <p:sp>
        <p:nvSpPr>
          <p:cNvPr id="11" name="Alatunnisteen paikkamerkki 4"/>
          <p:cNvSpPr>
            <a:spLocks noGrp="1"/>
          </p:cNvSpPr>
          <p:nvPr>
            <p:ph type="ftr" sz="quarter" idx="3"/>
          </p:nvPr>
        </p:nvSpPr>
        <p:spPr>
          <a:xfrm>
            <a:off x="2813984" y="4767262"/>
            <a:ext cx="5491543" cy="376238"/>
          </a:xfrm>
          <a:prstGeom prst="rect">
            <a:avLst/>
          </a:prstGeom>
        </p:spPr>
        <p:txBody>
          <a:bodyPr vert="horz" lIns="0" tIns="0" rIns="0" bIns="0" rtlCol="0" anchor="t" anchorCtr="0"/>
          <a:lstStyle>
            <a:lvl1pPr algn="l">
              <a:defRPr sz="1000" b="1">
                <a:solidFill>
                  <a:schemeClr val="accent5"/>
                </a:solidFill>
              </a:defRPr>
            </a:lvl1pPr>
          </a:lstStyle>
          <a:p>
            <a:endParaRPr lang="fi-FI" dirty="0"/>
          </a:p>
        </p:txBody>
      </p:sp>
      <p:sp>
        <p:nvSpPr>
          <p:cNvPr id="12" name="Dian numeron paikkamerkki 5"/>
          <p:cNvSpPr>
            <a:spLocks noGrp="1"/>
          </p:cNvSpPr>
          <p:nvPr>
            <p:ph type="sldNum" sz="quarter" idx="4"/>
          </p:nvPr>
        </p:nvSpPr>
        <p:spPr>
          <a:xfrm>
            <a:off x="1386303" y="4767262"/>
            <a:ext cx="268078" cy="376238"/>
          </a:xfrm>
          <a:prstGeom prst="rect">
            <a:avLst/>
          </a:prstGeom>
        </p:spPr>
        <p:txBody>
          <a:bodyPr vert="horz" lIns="0" tIns="0" rIns="0" bIns="0" rtlCol="0" anchor="t" anchorCtr="0"/>
          <a:lstStyle>
            <a:lvl1pPr algn="l">
              <a:defRPr sz="1000" b="1">
                <a:solidFill>
                  <a:schemeClr val="accent5"/>
                </a:solidFill>
              </a:defRPr>
            </a:lvl1pPr>
          </a:lstStyle>
          <a:p>
            <a:fld id="{3B22B7C4-AFD1-7743-BBCA-4BB7396376EE}" type="slidenum">
              <a:rPr lang="fi-FI" smtClean="0"/>
              <a:pPr/>
              <a:t>‹#›</a:t>
            </a:fld>
            <a:endParaRPr lang="fi-FI" dirty="0"/>
          </a:p>
        </p:txBody>
      </p:sp>
    </p:spTree>
    <p:extLst>
      <p:ext uri="{BB962C8B-B14F-4D97-AF65-F5344CB8AC3E}">
        <p14:creationId xmlns:p14="http://schemas.microsoft.com/office/powerpoint/2010/main" val="293904238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Otsikko ja sisältö">
    <p:spTree>
      <p:nvGrpSpPr>
        <p:cNvPr id="1" name=""/>
        <p:cNvGrpSpPr/>
        <p:nvPr/>
      </p:nvGrpSpPr>
      <p:grpSpPr>
        <a:xfrm>
          <a:off x="0" y="0"/>
          <a:ext cx="0" cy="0"/>
          <a:chOff x="0" y="0"/>
          <a:chExt cx="0" cy="0"/>
        </a:xfrm>
      </p:grpSpPr>
      <p:sp>
        <p:nvSpPr>
          <p:cNvPr id="2" name="Rectangle 1"/>
          <p:cNvSpPr/>
          <p:nvPr userDrawn="1"/>
        </p:nvSpPr>
        <p:spPr>
          <a:xfrm>
            <a:off x="0" y="1"/>
            <a:ext cx="611560" cy="51426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a:p>
        </p:txBody>
      </p:sp>
      <p:sp>
        <p:nvSpPr>
          <p:cNvPr id="3" name="Sisällön paikkamerkki 2"/>
          <p:cNvSpPr>
            <a:spLocks noGrp="1"/>
          </p:cNvSpPr>
          <p:nvPr>
            <p:ph idx="1"/>
          </p:nvPr>
        </p:nvSpPr>
        <p:spPr>
          <a:xfrm>
            <a:off x="1113658" y="1410999"/>
            <a:ext cx="7490792" cy="3393001"/>
          </a:xfrm>
        </p:spPr>
        <p:txBody>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fi-FI" dirty="0"/>
          </a:p>
        </p:txBody>
      </p:sp>
      <p:sp>
        <p:nvSpPr>
          <p:cNvPr id="6" name="Dian numeron paikkamerkki 5"/>
          <p:cNvSpPr>
            <a:spLocks noGrp="1"/>
          </p:cNvSpPr>
          <p:nvPr>
            <p:ph type="sldNum" sz="quarter" idx="12"/>
          </p:nvPr>
        </p:nvSpPr>
        <p:spPr>
          <a:xfrm>
            <a:off x="8657139" y="4846183"/>
            <a:ext cx="395536" cy="201104"/>
          </a:xfrm>
          <a:prstGeom prst="rect">
            <a:avLst/>
          </a:prstGeom>
        </p:spPr>
        <p:txBody>
          <a:bodyPr/>
          <a:lstStyle>
            <a:lvl1pPr algn="l">
              <a:defRPr sz="900">
                <a:solidFill>
                  <a:schemeClr val="tx2"/>
                </a:solidFill>
              </a:defRPr>
            </a:lvl1pPr>
          </a:lstStyle>
          <a:p>
            <a:fld id="{1EA1DD0D-7089-48C5-B116-A19F892CF1D9}" type="slidenum">
              <a:rPr lang="fi-FI" smtClean="0"/>
              <a:pPr/>
              <a:t>‹#›</a:t>
            </a:fld>
            <a:endParaRPr lang="fi-FI" dirty="0"/>
          </a:p>
        </p:txBody>
      </p:sp>
      <p:sp>
        <p:nvSpPr>
          <p:cNvPr id="8" name="Otsikko 7"/>
          <p:cNvSpPr>
            <a:spLocks noGrp="1"/>
          </p:cNvSpPr>
          <p:nvPr>
            <p:ph type="title"/>
          </p:nvPr>
        </p:nvSpPr>
        <p:spPr>
          <a:xfrm>
            <a:off x="1113658" y="235342"/>
            <a:ext cx="7490792" cy="974270"/>
          </a:xfrm>
        </p:spPr>
        <p:txBody>
          <a:bodyPr/>
          <a:lstStyle>
            <a:lvl1pPr>
              <a:defRPr>
                <a:solidFill>
                  <a:schemeClr val="tx2"/>
                </a:solidFill>
              </a:defRPr>
            </a:lvl1pPr>
          </a:lstStyle>
          <a:p>
            <a:r>
              <a:rPr lang="fi-FI"/>
              <a:t>Muokkaa perustyyl. napsautt.</a:t>
            </a:r>
            <a:endParaRPr lang="fi-FI" dirty="0"/>
          </a:p>
        </p:txBody>
      </p:sp>
      <p:sp>
        <p:nvSpPr>
          <p:cNvPr id="10" name="Tekstiruutu 8"/>
          <p:cNvSpPr txBox="1"/>
          <p:nvPr userDrawn="1"/>
        </p:nvSpPr>
        <p:spPr>
          <a:xfrm>
            <a:off x="39814" y="4790474"/>
            <a:ext cx="539552" cy="202500"/>
          </a:xfrm>
          <a:prstGeom prst="rect">
            <a:avLst/>
          </a:prstGeom>
          <a:noFill/>
        </p:spPr>
        <p:txBody>
          <a:bodyPr wrap="square" lIns="0" tIns="0" rIns="0" bIns="0" rtlCol="0" anchor="ctr" anchorCtr="0">
            <a:noAutofit/>
          </a:bodyPr>
          <a:lstStyle/>
          <a:p>
            <a:pPr algn="ctr"/>
            <a:r>
              <a:rPr lang="fi-FI" sz="900" dirty="0">
                <a:solidFill>
                  <a:schemeClr val="bg1"/>
                </a:solidFill>
              </a:rPr>
              <a:t>VN.FI</a:t>
            </a:r>
          </a:p>
        </p:txBody>
      </p:sp>
      <p:cxnSp>
        <p:nvCxnSpPr>
          <p:cNvPr id="11" name="Straight Connector 10"/>
          <p:cNvCxnSpPr/>
          <p:nvPr userDrawn="1"/>
        </p:nvCxnSpPr>
        <p:spPr>
          <a:xfrm flipH="1">
            <a:off x="56704" y="4711419"/>
            <a:ext cx="504056"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2" name="Päivämäärän paikkamerkki 3"/>
          <p:cNvSpPr>
            <a:spLocks noGrp="1"/>
          </p:cNvSpPr>
          <p:nvPr>
            <p:ph type="dt" sz="half" idx="2"/>
          </p:nvPr>
        </p:nvSpPr>
        <p:spPr>
          <a:xfrm>
            <a:off x="59896" y="4458880"/>
            <a:ext cx="504056" cy="201104"/>
          </a:xfrm>
          <a:prstGeom prst="rect">
            <a:avLst/>
          </a:prstGeom>
        </p:spPr>
        <p:txBody>
          <a:bodyPr vert="horz" lIns="0" tIns="0" rIns="0" bIns="0" rtlCol="0" anchor="ctr"/>
          <a:lstStyle>
            <a:lvl1pPr algn="ctr">
              <a:defRPr sz="800" b="1">
                <a:solidFill>
                  <a:schemeClr val="bg1"/>
                </a:solidFill>
              </a:defRPr>
            </a:lvl1pPr>
          </a:lstStyle>
          <a:p>
            <a:fld id="{9504BABE-377C-4042-9CE4-D8BB0ACFBA08}" type="datetime1">
              <a:rPr lang="fi-FI" smtClean="0"/>
              <a:pPr/>
              <a:t>12.11.2021</a:t>
            </a:fld>
            <a:endParaRPr lang="fi-FI" dirty="0"/>
          </a:p>
        </p:txBody>
      </p:sp>
      <p:sp>
        <p:nvSpPr>
          <p:cNvPr id="13" name="Alatunnisteen paikkamerkki 4"/>
          <p:cNvSpPr>
            <a:spLocks noGrp="1"/>
          </p:cNvSpPr>
          <p:nvPr>
            <p:ph type="ftr" sz="quarter" idx="11"/>
          </p:nvPr>
        </p:nvSpPr>
        <p:spPr>
          <a:xfrm>
            <a:off x="3203850" y="4846183"/>
            <a:ext cx="2736304" cy="201104"/>
          </a:xfrm>
          <a:prstGeom prst="rect">
            <a:avLst/>
          </a:prstGeom>
        </p:spPr>
        <p:txBody>
          <a:bodyPr/>
          <a:lstStyle>
            <a:lvl1pPr algn="ctr">
              <a:defRPr sz="800">
                <a:solidFill>
                  <a:schemeClr val="tx1">
                    <a:lumMod val="50000"/>
                    <a:lumOff val="50000"/>
                  </a:schemeClr>
                </a:solidFill>
              </a:defRPr>
            </a:lvl1pPr>
          </a:lstStyle>
          <a:p>
            <a:endParaRPr lang="fi-FI" dirty="0"/>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4865" y="331649"/>
            <a:ext cx="267922" cy="367893"/>
          </a:xfrm>
          <a:prstGeom prst="rect">
            <a:avLst/>
          </a:prstGeom>
        </p:spPr>
      </p:pic>
    </p:spTree>
    <p:extLst>
      <p:ext uri="{BB962C8B-B14F-4D97-AF65-F5344CB8AC3E}">
        <p14:creationId xmlns:p14="http://schemas.microsoft.com/office/powerpoint/2010/main" val="17497777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apsi ja vanhempi">
    <p:spTree>
      <p:nvGrpSpPr>
        <p:cNvPr id="1" name=""/>
        <p:cNvGrpSpPr/>
        <p:nvPr/>
      </p:nvGrpSpPr>
      <p:grpSpPr>
        <a:xfrm>
          <a:off x="0" y="0"/>
          <a:ext cx="0" cy="0"/>
          <a:chOff x="0" y="0"/>
          <a:chExt cx="0" cy="0"/>
        </a:xfrm>
      </p:grpSpPr>
      <p:pic>
        <p:nvPicPr>
          <p:cNvPr id="2" name="Kuva 1" descr="Koristeellinen kuva."/>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915"/>
            <a:ext cx="9144000" cy="5142585"/>
          </a:xfrm>
          <a:prstGeom prst="rect">
            <a:avLst/>
          </a:prstGeom>
        </p:spPr>
      </p:pic>
      <p:pic>
        <p:nvPicPr>
          <p:cNvPr id="3" name="Picture 5" descr="Sote-uudistus-logo.">
            <a:extLst>
              <a:ext uri="{FF2B5EF4-FFF2-40B4-BE49-F238E27FC236}">
                <a16:creationId xmlns:a16="http://schemas.microsoft.com/office/drawing/2014/main" id="{54CBBF4F-860A-6245-8AAB-382104654A3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24328" y="4699762"/>
            <a:ext cx="1439764" cy="274348"/>
          </a:xfrm>
          <a:prstGeom prst="rect">
            <a:avLst/>
          </a:prstGeom>
        </p:spPr>
      </p:pic>
      <p:pic>
        <p:nvPicPr>
          <p:cNvPr id="4" name="Picture 6" descr="Valtioneuvoston leijona -logo.">
            <a:extLst>
              <a:ext uri="{FF2B5EF4-FFF2-40B4-BE49-F238E27FC236}">
                <a16:creationId xmlns:a16="http://schemas.microsoft.com/office/drawing/2014/main" id="{3AEFC440-453E-0D42-BF52-3C7282112DB0}"/>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04448" y="235340"/>
            <a:ext cx="305495" cy="419486"/>
          </a:xfrm>
          <a:prstGeom prst="rect">
            <a:avLst/>
          </a:prstGeom>
        </p:spPr>
      </p:pic>
    </p:spTree>
    <p:extLst>
      <p:ext uri="{BB962C8B-B14F-4D97-AF65-F5344CB8AC3E}">
        <p14:creationId xmlns:p14="http://schemas.microsoft.com/office/powerpoint/2010/main" val="3556277769"/>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Pääotsikko Sote">
    <p:spTree>
      <p:nvGrpSpPr>
        <p:cNvPr id="1" name=""/>
        <p:cNvGrpSpPr/>
        <p:nvPr/>
      </p:nvGrpSpPr>
      <p:grpSpPr>
        <a:xfrm>
          <a:off x="0" y="0"/>
          <a:ext cx="0" cy="0"/>
          <a:chOff x="0" y="0"/>
          <a:chExt cx="0" cy="0"/>
        </a:xfrm>
      </p:grpSpPr>
      <p:sp>
        <p:nvSpPr>
          <p:cNvPr id="7" name="Otsikko 1"/>
          <p:cNvSpPr>
            <a:spLocks noGrp="1"/>
          </p:cNvSpPr>
          <p:nvPr>
            <p:ph type="ctrTitle"/>
          </p:nvPr>
        </p:nvSpPr>
        <p:spPr>
          <a:xfrm>
            <a:off x="683568" y="1851671"/>
            <a:ext cx="5832648" cy="2095528"/>
          </a:xfrm>
        </p:spPr>
        <p:txBody>
          <a:bodyPr anchor="b" anchorCtr="0">
            <a:noAutofit/>
          </a:bodyPr>
          <a:lstStyle>
            <a:lvl1pPr algn="l">
              <a:defRPr sz="4000">
                <a:solidFill>
                  <a:srgbClr val="FFFFFF"/>
                </a:solidFill>
              </a:defRPr>
            </a:lvl1pPr>
          </a:lstStyle>
          <a:p>
            <a:r>
              <a:rPr lang="en-US" dirty="0"/>
              <a:t>Click to edit Master title style</a:t>
            </a:r>
            <a:endParaRPr lang="fi-FI" dirty="0"/>
          </a:p>
        </p:txBody>
      </p:sp>
      <p:sp>
        <p:nvSpPr>
          <p:cNvPr id="8" name="Alaotsikko 2"/>
          <p:cNvSpPr>
            <a:spLocks noGrp="1"/>
          </p:cNvSpPr>
          <p:nvPr>
            <p:ph type="subTitle" idx="1"/>
          </p:nvPr>
        </p:nvSpPr>
        <p:spPr>
          <a:xfrm>
            <a:off x="683568" y="4064578"/>
            <a:ext cx="5832648" cy="667413"/>
          </a:xfrm>
        </p:spPr>
        <p:txBody>
          <a:bodyPr>
            <a:normAutofit/>
          </a:bodyPr>
          <a:lstStyle>
            <a:lvl1pPr marL="0" indent="0" algn="l">
              <a:spcBef>
                <a:spcPts val="0"/>
              </a:spcBef>
              <a:buNone/>
              <a:defRPr sz="1800">
                <a:solidFill>
                  <a:srgbClr val="FFFFFF"/>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fi-FI" dirty="0"/>
          </a:p>
        </p:txBody>
      </p:sp>
      <p:pic>
        <p:nvPicPr>
          <p:cNvPr id="3" name="Picture 2">
            <a:extLst>
              <a:ext uri="{FF2B5EF4-FFF2-40B4-BE49-F238E27FC236}">
                <a16:creationId xmlns:a16="http://schemas.microsoft.com/office/drawing/2014/main" id="{DE92C5AF-A585-B247-8A1C-ABA6794D7A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512" y="0"/>
            <a:ext cx="9180512" cy="5164038"/>
          </a:xfrm>
          <a:prstGeom prst="rect">
            <a:avLst/>
          </a:prstGeom>
        </p:spPr>
      </p:pic>
      <p:pic>
        <p:nvPicPr>
          <p:cNvPr id="4" name="Picture 3">
            <a:extLst>
              <a:ext uri="{FF2B5EF4-FFF2-40B4-BE49-F238E27FC236}">
                <a16:creationId xmlns:a16="http://schemas.microsoft.com/office/drawing/2014/main" id="{F1689B57-8BAA-BF42-B648-10782572357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804249" y="4443959"/>
            <a:ext cx="2088034" cy="397877"/>
          </a:xfrm>
          <a:prstGeom prst="rect">
            <a:avLst/>
          </a:prstGeom>
        </p:spPr>
      </p:pic>
      <p:sp>
        <p:nvSpPr>
          <p:cNvPr id="53" name="Freeform 29">
            <a:extLst>
              <a:ext uri="{FF2B5EF4-FFF2-40B4-BE49-F238E27FC236}">
                <a16:creationId xmlns:a16="http://schemas.microsoft.com/office/drawing/2014/main" id="{72F12E7F-4413-244A-830A-CC060AC20C68}"/>
              </a:ext>
            </a:extLst>
          </p:cNvPr>
          <p:cNvSpPr>
            <a:spLocks noEditPoints="1"/>
          </p:cNvSpPr>
          <p:nvPr userDrawn="1"/>
        </p:nvSpPr>
        <p:spPr bwMode="auto">
          <a:xfrm>
            <a:off x="703264" y="627064"/>
            <a:ext cx="657225" cy="898525"/>
          </a:xfrm>
          <a:custGeom>
            <a:avLst/>
            <a:gdLst>
              <a:gd name="T0" fmla="*/ 3944 w 4973"/>
              <a:gd name="T1" fmla="*/ 6352 h 6792"/>
              <a:gd name="T2" fmla="*/ 1694 w 4973"/>
              <a:gd name="T3" fmla="*/ 6143 h 6792"/>
              <a:gd name="T4" fmla="*/ 2984 w 4973"/>
              <a:gd name="T5" fmla="*/ 3784 h 6792"/>
              <a:gd name="T6" fmla="*/ 2316 w 4973"/>
              <a:gd name="T7" fmla="*/ 4454 h 6792"/>
              <a:gd name="T8" fmla="*/ 1155 w 4973"/>
              <a:gd name="T9" fmla="*/ 4705 h 6792"/>
              <a:gd name="T10" fmla="*/ 1077 w 4973"/>
              <a:gd name="T11" fmla="*/ 4988 h 6792"/>
              <a:gd name="T12" fmla="*/ 910 w 4973"/>
              <a:gd name="T13" fmla="*/ 5245 h 6792"/>
              <a:gd name="T14" fmla="*/ 961 w 4973"/>
              <a:gd name="T15" fmla="*/ 5618 h 6792"/>
              <a:gd name="T16" fmla="*/ 1600 w 4973"/>
              <a:gd name="T17" fmla="*/ 5369 h 6792"/>
              <a:gd name="T18" fmla="*/ 1886 w 4973"/>
              <a:gd name="T19" fmla="*/ 5421 h 6792"/>
              <a:gd name="T20" fmla="*/ 2617 w 4973"/>
              <a:gd name="T21" fmla="*/ 5123 h 6792"/>
              <a:gd name="T22" fmla="*/ 2857 w 4973"/>
              <a:gd name="T23" fmla="*/ 4678 h 6792"/>
              <a:gd name="T24" fmla="*/ 489 w 4973"/>
              <a:gd name="T25" fmla="*/ 5877 h 6792"/>
              <a:gd name="T26" fmla="*/ 1233 w 4973"/>
              <a:gd name="T27" fmla="*/ 6668 h 6792"/>
              <a:gd name="T28" fmla="*/ 1527 w 4973"/>
              <a:gd name="T29" fmla="*/ 5749 h 6792"/>
              <a:gd name="T30" fmla="*/ 927 w 4973"/>
              <a:gd name="T31" fmla="*/ 5758 h 6792"/>
              <a:gd name="T32" fmla="*/ 429 w 4973"/>
              <a:gd name="T33" fmla="*/ 621 h 6792"/>
              <a:gd name="T34" fmla="*/ 914 w 4973"/>
              <a:gd name="T35" fmla="*/ 547 h 6792"/>
              <a:gd name="T36" fmla="*/ 829 w 4973"/>
              <a:gd name="T37" fmla="*/ 957 h 6792"/>
              <a:gd name="T38" fmla="*/ 1232 w 4973"/>
              <a:gd name="T39" fmla="*/ 762 h 6792"/>
              <a:gd name="T40" fmla="*/ 780 w 4973"/>
              <a:gd name="T41" fmla="*/ 1976 h 6792"/>
              <a:gd name="T42" fmla="*/ 1297 w 4973"/>
              <a:gd name="T43" fmla="*/ 319 h 6792"/>
              <a:gd name="T44" fmla="*/ 1481 w 4973"/>
              <a:gd name="T45" fmla="*/ 731 h 6792"/>
              <a:gd name="T46" fmla="*/ 3458 w 4973"/>
              <a:gd name="T47" fmla="*/ 480 h 6792"/>
              <a:gd name="T48" fmla="*/ 3084 w 4973"/>
              <a:gd name="T49" fmla="*/ 643 h 6792"/>
              <a:gd name="T50" fmla="*/ 2947 w 4973"/>
              <a:gd name="T51" fmla="*/ 214 h 6792"/>
              <a:gd name="T52" fmla="*/ 2541 w 4973"/>
              <a:gd name="T53" fmla="*/ 417 h 6792"/>
              <a:gd name="T54" fmla="*/ 2413 w 4973"/>
              <a:gd name="T55" fmla="*/ 28 h 6792"/>
              <a:gd name="T56" fmla="*/ 3900 w 4973"/>
              <a:gd name="T57" fmla="*/ 1991 h 6792"/>
              <a:gd name="T58" fmla="*/ 4172 w 4973"/>
              <a:gd name="T59" fmla="*/ 1335 h 6792"/>
              <a:gd name="T60" fmla="*/ 3970 w 4973"/>
              <a:gd name="T61" fmla="*/ 3382 h 6792"/>
              <a:gd name="T62" fmla="*/ 4830 w 4973"/>
              <a:gd name="T63" fmla="*/ 2682 h 6792"/>
              <a:gd name="T64" fmla="*/ 4551 w 4973"/>
              <a:gd name="T65" fmla="*/ 1246 h 6792"/>
              <a:gd name="T66" fmla="*/ 3641 w 4973"/>
              <a:gd name="T67" fmla="*/ 1994 h 6792"/>
              <a:gd name="T68" fmla="*/ 3910 w 4973"/>
              <a:gd name="T69" fmla="*/ 2958 h 6792"/>
              <a:gd name="T70" fmla="*/ 4286 w 4973"/>
              <a:gd name="T71" fmla="*/ 2402 h 6792"/>
              <a:gd name="T72" fmla="*/ 3965 w 4973"/>
              <a:gd name="T73" fmla="*/ 3379 h 6792"/>
              <a:gd name="T74" fmla="*/ 3169 w 4973"/>
              <a:gd name="T75" fmla="*/ 2142 h 6792"/>
              <a:gd name="T76" fmla="*/ 3399 w 4973"/>
              <a:gd name="T77" fmla="*/ 1285 h 6792"/>
              <a:gd name="T78" fmla="*/ 2604 w 4973"/>
              <a:gd name="T79" fmla="*/ 769 h 6792"/>
              <a:gd name="T80" fmla="*/ 2052 w 4973"/>
              <a:gd name="T81" fmla="*/ 1359 h 6792"/>
              <a:gd name="T82" fmla="*/ 1664 w 4973"/>
              <a:gd name="T83" fmla="*/ 1597 h 6792"/>
              <a:gd name="T84" fmla="*/ 2105 w 4973"/>
              <a:gd name="T85" fmla="*/ 1550 h 6792"/>
              <a:gd name="T86" fmla="*/ 1945 w 4973"/>
              <a:gd name="T87" fmla="*/ 1849 h 6792"/>
              <a:gd name="T88" fmla="*/ 1151 w 4973"/>
              <a:gd name="T89" fmla="*/ 2851 h 6792"/>
              <a:gd name="T90" fmla="*/ 331 w 4973"/>
              <a:gd name="T91" fmla="*/ 2774 h 6792"/>
              <a:gd name="T92" fmla="*/ 150 w 4973"/>
              <a:gd name="T93" fmla="*/ 2974 h 6792"/>
              <a:gd name="T94" fmla="*/ 554 w 4973"/>
              <a:gd name="T95" fmla="*/ 3191 h 6792"/>
              <a:gd name="T96" fmla="*/ 489 w 4973"/>
              <a:gd name="T97" fmla="*/ 3468 h 6792"/>
              <a:gd name="T98" fmla="*/ 935 w 4973"/>
              <a:gd name="T99" fmla="*/ 3451 h 6792"/>
              <a:gd name="T100" fmla="*/ 1725 w 4973"/>
              <a:gd name="T101" fmla="*/ 2972 h 6792"/>
              <a:gd name="T102" fmla="*/ 3397 w 4973"/>
              <a:gd name="T103" fmla="*/ 3673 h 6792"/>
              <a:gd name="T104" fmla="*/ 3711 w 4973"/>
              <a:gd name="T105" fmla="*/ 4812 h 6792"/>
              <a:gd name="T106" fmla="*/ 4356 w 4973"/>
              <a:gd name="T107" fmla="*/ 5526 h 6792"/>
              <a:gd name="T108" fmla="*/ 3835 w 4973"/>
              <a:gd name="T109" fmla="*/ 5815 h 6792"/>
              <a:gd name="T110" fmla="*/ 3750 w 4973"/>
              <a:gd name="T111" fmla="*/ 6147 h 6792"/>
              <a:gd name="T112" fmla="*/ 4262 w 4973"/>
              <a:gd name="T113" fmla="*/ 6036 h 6792"/>
              <a:gd name="T114" fmla="*/ 4324 w 4973"/>
              <a:gd name="T115" fmla="*/ 6374 h 6792"/>
              <a:gd name="T116" fmla="*/ 4692 w 4973"/>
              <a:gd name="T117" fmla="*/ 6210 h 6792"/>
              <a:gd name="T118" fmla="*/ 4659 w 4973"/>
              <a:gd name="T119" fmla="*/ 5487 h 6792"/>
              <a:gd name="T120" fmla="*/ 4786 w 4973"/>
              <a:gd name="T121" fmla="*/ 4785 h 6792"/>
              <a:gd name="T122" fmla="*/ 4362 w 4973"/>
              <a:gd name="T123" fmla="*/ 4115 h 6792"/>
              <a:gd name="T124" fmla="*/ 4803 w 4973"/>
              <a:gd name="T125" fmla="*/ 3237 h 6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973" h="6792">
                <a:moveTo>
                  <a:pt x="1358" y="6333"/>
                </a:moveTo>
                <a:lnTo>
                  <a:pt x="1358" y="6333"/>
                </a:lnTo>
                <a:lnTo>
                  <a:pt x="1445" y="6392"/>
                </a:lnTo>
                <a:lnTo>
                  <a:pt x="1485" y="6418"/>
                </a:lnTo>
                <a:lnTo>
                  <a:pt x="1524" y="6443"/>
                </a:lnTo>
                <a:lnTo>
                  <a:pt x="1561" y="6466"/>
                </a:lnTo>
                <a:lnTo>
                  <a:pt x="1599" y="6487"/>
                </a:lnTo>
                <a:lnTo>
                  <a:pt x="1638" y="6509"/>
                </a:lnTo>
                <a:lnTo>
                  <a:pt x="1677" y="6528"/>
                </a:lnTo>
                <a:lnTo>
                  <a:pt x="1677" y="6528"/>
                </a:lnTo>
                <a:lnTo>
                  <a:pt x="1730" y="6553"/>
                </a:lnTo>
                <a:lnTo>
                  <a:pt x="1788" y="6578"/>
                </a:lnTo>
                <a:lnTo>
                  <a:pt x="1853" y="6605"/>
                </a:lnTo>
                <a:lnTo>
                  <a:pt x="1923" y="6630"/>
                </a:lnTo>
                <a:lnTo>
                  <a:pt x="1961" y="6644"/>
                </a:lnTo>
                <a:lnTo>
                  <a:pt x="2000" y="6656"/>
                </a:lnTo>
                <a:lnTo>
                  <a:pt x="2040" y="6669"/>
                </a:lnTo>
                <a:lnTo>
                  <a:pt x="2082" y="6682"/>
                </a:lnTo>
                <a:lnTo>
                  <a:pt x="2125" y="6693"/>
                </a:lnTo>
                <a:lnTo>
                  <a:pt x="2169" y="6704"/>
                </a:lnTo>
                <a:lnTo>
                  <a:pt x="2215" y="6715"/>
                </a:lnTo>
                <a:lnTo>
                  <a:pt x="2261" y="6726"/>
                </a:lnTo>
                <a:lnTo>
                  <a:pt x="2310" y="6736"/>
                </a:lnTo>
                <a:lnTo>
                  <a:pt x="2359" y="6745"/>
                </a:lnTo>
                <a:lnTo>
                  <a:pt x="2410" y="6754"/>
                </a:lnTo>
                <a:lnTo>
                  <a:pt x="2462" y="6762"/>
                </a:lnTo>
                <a:lnTo>
                  <a:pt x="2515" y="6768"/>
                </a:lnTo>
                <a:lnTo>
                  <a:pt x="2570" y="6776"/>
                </a:lnTo>
                <a:lnTo>
                  <a:pt x="2625" y="6781"/>
                </a:lnTo>
                <a:lnTo>
                  <a:pt x="2682" y="6785"/>
                </a:lnTo>
                <a:lnTo>
                  <a:pt x="2740" y="6788"/>
                </a:lnTo>
                <a:lnTo>
                  <a:pt x="2800" y="6790"/>
                </a:lnTo>
                <a:lnTo>
                  <a:pt x="2860" y="6792"/>
                </a:lnTo>
                <a:lnTo>
                  <a:pt x="2921" y="6791"/>
                </a:lnTo>
                <a:lnTo>
                  <a:pt x="2984" y="6790"/>
                </a:lnTo>
                <a:lnTo>
                  <a:pt x="3047" y="6787"/>
                </a:lnTo>
                <a:lnTo>
                  <a:pt x="3112" y="6783"/>
                </a:lnTo>
                <a:lnTo>
                  <a:pt x="3177" y="6778"/>
                </a:lnTo>
                <a:lnTo>
                  <a:pt x="3177" y="6778"/>
                </a:lnTo>
                <a:lnTo>
                  <a:pt x="3239" y="6772"/>
                </a:lnTo>
                <a:lnTo>
                  <a:pt x="3299" y="6763"/>
                </a:lnTo>
                <a:lnTo>
                  <a:pt x="3357" y="6755"/>
                </a:lnTo>
                <a:lnTo>
                  <a:pt x="3412" y="6746"/>
                </a:lnTo>
                <a:lnTo>
                  <a:pt x="3466" y="6737"/>
                </a:lnTo>
                <a:lnTo>
                  <a:pt x="3517" y="6727"/>
                </a:lnTo>
                <a:lnTo>
                  <a:pt x="3567" y="6715"/>
                </a:lnTo>
                <a:lnTo>
                  <a:pt x="3615" y="6704"/>
                </a:lnTo>
                <a:lnTo>
                  <a:pt x="3660" y="6692"/>
                </a:lnTo>
                <a:lnTo>
                  <a:pt x="3704" y="6680"/>
                </a:lnTo>
                <a:lnTo>
                  <a:pt x="3745" y="6667"/>
                </a:lnTo>
                <a:lnTo>
                  <a:pt x="3784" y="6654"/>
                </a:lnTo>
                <a:lnTo>
                  <a:pt x="3822" y="6642"/>
                </a:lnTo>
                <a:lnTo>
                  <a:pt x="3858" y="6628"/>
                </a:lnTo>
                <a:lnTo>
                  <a:pt x="3891" y="6615"/>
                </a:lnTo>
                <a:lnTo>
                  <a:pt x="3922" y="6603"/>
                </a:lnTo>
                <a:lnTo>
                  <a:pt x="3980" y="6577"/>
                </a:lnTo>
                <a:lnTo>
                  <a:pt x="4030" y="6554"/>
                </a:lnTo>
                <a:lnTo>
                  <a:pt x="4071" y="6532"/>
                </a:lnTo>
                <a:lnTo>
                  <a:pt x="4105" y="6514"/>
                </a:lnTo>
                <a:lnTo>
                  <a:pt x="4131" y="6498"/>
                </a:lnTo>
                <a:lnTo>
                  <a:pt x="4150" y="6485"/>
                </a:lnTo>
                <a:lnTo>
                  <a:pt x="4165" y="6475"/>
                </a:lnTo>
                <a:lnTo>
                  <a:pt x="4165" y="6475"/>
                </a:lnTo>
                <a:lnTo>
                  <a:pt x="4144" y="6468"/>
                </a:lnTo>
                <a:lnTo>
                  <a:pt x="4124" y="6459"/>
                </a:lnTo>
                <a:lnTo>
                  <a:pt x="4103" y="6451"/>
                </a:lnTo>
                <a:lnTo>
                  <a:pt x="4084" y="6440"/>
                </a:lnTo>
                <a:lnTo>
                  <a:pt x="4064" y="6431"/>
                </a:lnTo>
                <a:lnTo>
                  <a:pt x="4046" y="6421"/>
                </a:lnTo>
                <a:lnTo>
                  <a:pt x="4009" y="6398"/>
                </a:lnTo>
                <a:lnTo>
                  <a:pt x="3976" y="6376"/>
                </a:lnTo>
                <a:lnTo>
                  <a:pt x="3944" y="6352"/>
                </a:lnTo>
                <a:lnTo>
                  <a:pt x="3914" y="6329"/>
                </a:lnTo>
                <a:lnTo>
                  <a:pt x="3887" y="6305"/>
                </a:lnTo>
                <a:lnTo>
                  <a:pt x="3887" y="6305"/>
                </a:lnTo>
                <a:lnTo>
                  <a:pt x="3882" y="6315"/>
                </a:lnTo>
                <a:lnTo>
                  <a:pt x="3879" y="6328"/>
                </a:lnTo>
                <a:lnTo>
                  <a:pt x="3876" y="6343"/>
                </a:lnTo>
                <a:lnTo>
                  <a:pt x="3873" y="6361"/>
                </a:lnTo>
                <a:lnTo>
                  <a:pt x="3873" y="6361"/>
                </a:lnTo>
                <a:lnTo>
                  <a:pt x="3865" y="6430"/>
                </a:lnTo>
                <a:lnTo>
                  <a:pt x="3861" y="6463"/>
                </a:lnTo>
                <a:lnTo>
                  <a:pt x="3861" y="6463"/>
                </a:lnTo>
                <a:lnTo>
                  <a:pt x="3857" y="6462"/>
                </a:lnTo>
                <a:lnTo>
                  <a:pt x="3847" y="6459"/>
                </a:lnTo>
                <a:lnTo>
                  <a:pt x="3828" y="6452"/>
                </a:lnTo>
                <a:lnTo>
                  <a:pt x="3801" y="6440"/>
                </a:lnTo>
                <a:lnTo>
                  <a:pt x="3801" y="6440"/>
                </a:lnTo>
                <a:lnTo>
                  <a:pt x="3791" y="6436"/>
                </a:lnTo>
                <a:lnTo>
                  <a:pt x="3781" y="6430"/>
                </a:lnTo>
                <a:lnTo>
                  <a:pt x="3771" y="6423"/>
                </a:lnTo>
                <a:lnTo>
                  <a:pt x="3761" y="6415"/>
                </a:lnTo>
                <a:lnTo>
                  <a:pt x="3750" y="6406"/>
                </a:lnTo>
                <a:lnTo>
                  <a:pt x="3739" y="6396"/>
                </a:lnTo>
                <a:lnTo>
                  <a:pt x="3729" y="6385"/>
                </a:lnTo>
                <a:lnTo>
                  <a:pt x="3719" y="6373"/>
                </a:lnTo>
                <a:lnTo>
                  <a:pt x="3709" y="6361"/>
                </a:lnTo>
                <a:lnTo>
                  <a:pt x="3700" y="6346"/>
                </a:lnTo>
                <a:lnTo>
                  <a:pt x="3692" y="6332"/>
                </a:lnTo>
                <a:lnTo>
                  <a:pt x="3684" y="6317"/>
                </a:lnTo>
                <a:lnTo>
                  <a:pt x="3678" y="6300"/>
                </a:lnTo>
                <a:lnTo>
                  <a:pt x="3674" y="6284"/>
                </a:lnTo>
                <a:lnTo>
                  <a:pt x="3670" y="6265"/>
                </a:lnTo>
                <a:lnTo>
                  <a:pt x="3668" y="6248"/>
                </a:lnTo>
                <a:lnTo>
                  <a:pt x="3668" y="6248"/>
                </a:lnTo>
                <a:lnTo>
                  <a:pt x="3667" y="6223"/>
                </a:lnTo>
                <a:lnTo>
                  <a:pt x="3667" y="6223"/>
                </a:lnTo>
                <a:lnTo>
                  <a:pt x="3610" y="6244"/>
                </a:lnTo>
                <a:lnTo>
                  <a:pt x="3544" y="6267"/>
                </a:lnTo>
                <a:lnTo>
                  <a:pt x="3507" y="6280"/>
                </a:lnTo>
                <a:lnTo>
                  <a:pt x="3468" y="6292"/>
                </a:lnTo>
                <a:lnTo>
                  <a:pt x="3427" y="6303"/>
                </a:lnTo>
                <a:lnTo>
                  <a:pt x="3386" y="6315"/>
                </a:lnTo>
                <a:lnTo>
                  <a:pt x="3342" y="6326"/>
                </a:lnTo>
                <a:lnTo>
                  <a:pt x="3296" y="6335"/>
                </a:lnTo>
                <a:lnTo>
                  <a:pt x="3250" y="6344"/>
                </a:lnTo>
                <a:lnTo>
                  <a:pt x="3201" y="6352"/>
                </a:lnTo>
                <a:lnTo>
                  <a:pt x="3153" y="6360"/>
                </a:lnTo>
                <a:lnTo>
                  <a:pt x="3104" y="6365"/>
                </a:lnTo>
                <a:lnTo>
                  <a:pt x="3055" y="6368"/>
                </a:lnTo>
                <a:lnTo>
                  <a:pt x="3005" y="6370"/>
                </a:lnTo>
                <a:lnTo>
                  <a:pt x="3005" y="6370"/>
                </a:lnTo>
                <a:lnTo>
                  <a:pt x="2916" y="6371"/>
                </a:lnTo>
                <a:lnTo>
                  <a:pt x="2828" y="6370"/>
                </a:lnTo>
                <a:lnTo>
                  <a:pt x="2740" y="6366"/>
                </a:lnTo>
                <a:lnTo>
                  <a:pt x="2651" y="6361"/>
                </a:lnTo>
                <a:lnTo>
                  <a:pt x="2563" y="6353"/>
                </a:lnTo>
                <a:lnTo>
                  <a:pt x="2476" y="6343"/>
                </a:lnTo>
                <a:lnTo>
                  <a:pt x="2388" y="6331"/>
                </a:lnTo>
                <a:lnTo>
                  <a:pt x="2301" y="6317"/>
                </a:lnTo>
                <a:lnTo>
                  <a:pt x="2257" y="6308"/>
                </a:lnTo>
                <a:lnTo>
                  <a:pt x="2213" y="6300"/>
                </a:lnTo>
                <a:lnTo>
                  <a:pt x="2170" y="6290"/>
                </a:lnTo>
                <a:lnTo>
                  <a:pt x="2126" y="6280"/>
                </a:lnTo>
                <a:lnTo>
                  <a:pt x="2083" y="6270"/>
                </a:lnTo>
                <a:lnTo>
                  <a:pt x="2039" y="6258"/>
                </a:lnTo>
                <a:lnTo>
                  <a:pt x="1996" y="6246"/>
                </a:lnTo>
                <a:lnTo>
                  <a:pt x="1952" y="6234"/>
                </a:lnTo>
                <a:lnTo>
                  <a:pt x="1909" y="6220"/>
                </a:lnTo>
                <a:lnTo>
                  <a:pt x="1866" y="6206"/>
                </a:lnTo>
                <a:lnTo>
                  <a:pt x="1823" y="6192"/>
                </a:lnTo>
                <a:lnTo>
                  <a:pt x="1780" y="6176"/>
                </a:lnTo>
                <a:lnTo>
                  <a:pt x="1737" y="6160"/>
                </a:lnTo>
                <a:lnTo>
                  <a:pt x="1694" y="6143"/>
                </a:lnTo>
                <a:lnTo>
                  <a:pt x="1652" y="6125"/>
                </a:lnTo>
                <a:lnTo>
                  <a:pt x="1609" y="6107"/>
                </a:lnTo>
                <a:lnTo>
                  <a:pt x="1609" y="6107"/>
                </a:lnTo>
                <a:lnTo>
                  <a:pt x="1523" y="6068"/>
                </a:lnTo>
                <a:lnTo>
                  <a:pt x="1480" y="6049"/>
                </a:lnTo>
                <a:lnTo>
                  <a:pt x="1480" y="6049"/>
                </a:lnTo>
                <a:lnTo>
                  <a:pt x="1479" y="6052"/>
                </a:lnTo>
                <a:lnTo>
                  <a:pt x="1477" y="6061"/>
                </a:lnTo>
                <a:lnTo>
                  <a:pt x="1477" y="6068"/>
                </a:lnTo>
                <a:lnTo>
                  <a:pt x="1477" y="6077"/>
                </a:lnTo>
                <a:lnTo>
                  <a:pt x="1477" y="6088"/>
                </a:lnTo>
                <a:lnTo>
                  <a:pt x="1479" y="6100"/>
                </a:lnTo>
                <a:lnTo>
                  <a:pt x="1483" y="6113"/>
                </a:lnTo>
                <a:lnTo>
                  <a:pt x="1487" y="6128"/>
                </a:lnTo>
                <a:lnTo>
                  <a:pt x="1494" y="6145"/>
                </a:lnTo>
                <a:lnTo>
                  <a:pt x="1503" y="6163"/>
                </a:lnTo>
                <a:lnTo>
                  <a:pt x="1514" y="6184"/>
                </a:lnTo>
                <a:lnTo>
                  <a:pt x="1529" y="6205"/>
                </a:lnTo>
                <a:lnTo>
                  <a:pt x="1545" y="6229"/>
                </a:lnTo>
                <a:lnTo>
                  <a:pt x="1565" y="6253"/>
                </a:lnTo>
                <a:lnTo>
                  <a:pt x="1565" y="6253"/>
                </a:lnTo>
                <a:lnTo>
                  <a:pt x="1547" y="6250"/>
                </a:lnTo>
                <a:lnTo>
                  <a:pt x="1528" y="6248"/>
                </a:lnTo>
                <a:lnTo>
                  <a:pt x="1509" y="6248"/>
                </a:lnTo>
                <a:lnTo>
                  <a:pt x="1490" y="6248"/>
                </a:lnTo>
                <a:lnTo>
                  <a:pt x="1472" y="6250"/>
                </a:lnTo>
                <a:lnTo>
                  <a:pt x="1456" y="6253"/>
                </a:lnTo>
                <a:lnTo>
                  <a:pt x="1441" y="6258"/>
                </a:lnTo>
                <a:lnTo>
                  <a:pt x="1427" y="6264"/>
                </a:lnTo>
                <a:lnTo>
                  <a:pt x="1427" y="6264"/>
                </a:lnTo>
                <a:lnTo>
                  <a:pt x="1413" y="6273"/>
                </a:lnTo>
                <a:lnTo>
                  <a:pt x="1400" y="6283"/>
                </a:lnTo>
                <a:lnTo>
                  <a:pt x="1390" y="6293"/>
                </a:lnTo>
                <a:lnTo>
                  <a:pt x="1379" y="6302"/>
                </a:lnTo>
                <a:lnTo>
                  <a:pt x="1371" y="6311"/>
                </a:lnTo>
                <a:lnTo>
                  <a:pt x="1365" y="6321"/>
                </a:lnTo>
                <a:lnTo>
                  <a:pt x="1358" y="6333"/>
                </a:lnTo>
                <a:close/>
                <a:moveTo>
                  <a:pt x="3487" y="3933"/>
                </a:moveTo>
                <a:lnTo>
                  <a:pt x="3487" y="3933"/>
                </a:lnTo>
                <a:lnTo>
                  <a:pt x="3470" y="3920"/>
                </a:lnTo>
                <a:lnTo>
                  <a:pt x="3453" y="3908"/>
                </a:lnTo>
                <a:lnTo>
                  <a:pt x="3436" y="3895"/>
                </a:lnTo>
                <a:lnTo>
                  <a:pt x="3418" y="3884"/>
                </a:lnTo>
                <a:lnTo>
                  <a:pt x="3383" y="3865"/>
                </a:lnTo>
                <a:lnTo>
                  <a:pt x="3349" y="3846"/>
                </a:lnTo>
                <a:lnTo>
                  <a:pt x="3314" y="3829"/>
                </a:lnTo>
                <a:lnTo>
                  <a:pt x="3281" y="3814"/>
                </a:lnTo>
                <a:lnTo>
                  <a:pt x="3250" y="3799"/>
                </a:lnTo>
                <a:lnTo>
                  <a:pt x="3219" y="3784"/>
                </a:lnTo>
                <a:lnTo>
                  <a:pt x="3219" y="3784"/>
                </a:lnTo>
                <a:lnTo>
                  <a:pt x="3235" y="3774"/>
                </a:lnTo>
                <a:lnTo>
                  <a:pt x="3251" y="3763"/>
                </a:lnTo>
                <a:lnTo>
                  <a:pt x="3268" y="3749"/>
                </a:lnTo>
                <a:lnTo>
                  <a:pt x="3284" y="3735"/>
                </a:lnTo>
                <a:lnTo>
                  <a:pt x="3298" y="3722"/>
                </a:lnTo>
                <a:lnTo>
                  <a:pt x="3302" y="3716"/>
                </a:lnTo>
                <a:lnTo>
                  <a:pt x="3305" y="3711"/>
                </a:lnTo>
                <a:lnTo>
                  <a:pt x="3305" y="3707"/>
                </a:lnTo>
                <a:lnTo>
                  <a:pt x="3305" y="3705"/>
                </a:lnTo>
                <a:lnTo>
                  <a:pt x="3303" y="3704"/>
                </a:lnTo>
                <a:lnTo>
                  <a:pt x="3303" y="3704"/>
                </a:lnTo>
                <a:lnTo>
                  <a:pt x="3290" y="3697"/>
                </a:lnTo>
                <a:lnTo>
                  <a:pt x="3278" y="3691"/>
                </a:lnTo>
                <a:lnTo>
                  <a:pt x="3266" y="3687"/>
                </a:lnTo>
                <a:lnTo>
                  <a:pt x="3255" y="3685"/>
                </a:lnTo>
                <a:lnTo>
                  <a:pt x="3236" y="3682"/>
                </a:lnTo>
                <a:lnTo>
                  <a:pt x="3229" y="3681"/>
                </a:lnTo>
                <a:lnTo>
                  <a:pt x="3229" y="3681"/>
                </a:lnTo>
                <a:lnTo>
                  <a:pt x="3168" y="3705"/>
                </a:lnTo>
                <a:lnTo>
                  <a:pt x="3105" y="3731"/>
                </a:lnTo>
                <a:lnTo>
                  <a:pt x="3045" y="3757"/>
                </a:lnTo>
                <a:lnTo>
                  <a:pt x="2984" y="3784"/>
                </a:lnTo>
                <a:lnTo>
                  <a:pt x="2924" y="3813"/>
                </a:lnTo>
                <a:lnTo>
                  <a:pt x="2866" y="3841"/>
                </a:lnTo>
                <a:lnTo>
                  <a:pt x="2809" y="3870"/>
                </a:lnTo>
                <a:lnTo>
                  <a:pt x="2754" y="3900"/>
                </a:lnTo>
                <a:lnTo>
                  <a:pt x="2700" y="3928"/>
                </a:lnTo>
                <a:lnTo>
                  <a:pt x="2649" y="3957"/>
                </a:lnTo>
                <a:lnTo>
                  <a:pt x="2600" y="3984"/>
                </a:lnTo>
                <a:lnTo>
                  <a:pt x="2553" y="4012"/>
                </a:lnTo>
                <a:lnTo>
                  <a:pt x="2510" y="4039"/>
                </a:lnTo>
                <a:lnTo>
                  <a:pt x="2469" y="4064"/>
                </a:lnTo>
                <a:lnTo>
                  <a:pt x="2433" y="4088"/>
                </a:lnTo>
                <a:lnTo>
                  <a:pt x="2399" y="4110"/>
                </a:lnTo>
                <a:lnTo>
                  <a:pt x="2399" y="4110"/>
                </a:lnTo>
                <a:lnTo>
                  <a:pt x="2394" y="4113"/>
                </a:lnTo>
                <a:lnTo>
                  <a:pt x="2394" y="4113"/>
                </a:lnTo>
                <a:lnTo>
                  <a:pt x="2382" y="4120"/>
                </a:lnTo>
                <a:lnTo>
                  <a:pt x="2371" y="4127"/>
                </a:lnTo>
                <a:lnTo>
                  <a:pt x="2360" y="4132"/>
                </a:lnTo>
                <a:lnTo>
                  <a:pt x="2348" y="4136"/>
                </a:lnTo>
                <a:lnTo>
                  <a:pt x="2336" y="4139"/>
                </a:lnTo>
                <a:lnTo>
                  <a:pt x="2325" y="4142"/>
                </a:lnTo>
                <a:lnTo>
                  <a:pt x="2313" y="4143"/>
                </a:lnTo>
                <a:lnTo>
                  <a:pt x="2302" y="4144"/>
                </a:lnTo>
                <a:lnTo>
                  <a:pt x="2278" y="4145"/>
                </a:lnTo>
                <a:lnTo>
                  <a:pt x="2256" y="4143"/>
                </a:lnTo>
                <a:lnTo>
                  <a:pt x="2233" y="4140"/>
                </a:lnTo>
                <a:lnTo>
                  <a:pt x="2213" y="4135"/>
                </a:lnTo>
                <a:lnTo>
                  <a:pt x="2193" y="4130"/>
                </a:lnTo>
                <a:lnTo>
                  <a:pt x="2176" y="4123"/>
                </a:lnTo>
                <a:lnTo>
                  <a:pt x="2161" y="4117"/>
                </a:lnTo>
                <a:lnTo>
                  <a:pt x="2146" y="4111"/>
                </a:lnTo>
                <a:lnTo>
                  <a:pt x="2127" y="4101"/>
                </a:lnTo>
                <a:lnTo>
                  <a:pt x="2121" y="4097"/>
                </a:lnTo>
                <a:lnTo>
                  <a:pt x="2100" y="4225"/>
                </a:lnTo>
                <a:lnTo>
                  <a:pt x="2100" y="4225"/>
                </a:lnTo>
                <a:lnTo>
                  <a:pt x="2123" y="4238"/>
                </a:lnTo>
                <a:lnTo>
                  <a:pt x="2144" y="4249"/>
                </a:lnTo>
                <a:lnTo>
                  <a:pt x="2165" y="4258"/>
                </a:lnTo>
                <a:lnTo>
                  <a:pt x="2182" y="4267"/>
                </a:lnTo>
                <a:lnTo>
                  <a:pt x="2198" y="4273"/>
                </a:lnTo>
                <a:lnTo>
                  <a:pt x="2214" y="4277"/>
                </a:lnTo>
                <a:lnTo>
                  <a:pt x="2227" y="4281"/>
                </a:lnTo>
                <a:lnTo>
                  <a:pt x="2238" y="4283"/>
                </a:lnTo>
                <a:lnTo>
                  <a:pt x="2238" y="4283"/>
                </a:lnTo>
                <a:lnTo>
                  <a:pt x="2219" y="4287"/>
                </a:lnTo>
                <a:lnTo>
                  <a:pt x="2198" y="4292"/>
                </a:lnTo>
                <a:lnTo>
                  <a:pt x="2178" y="4298"/>
                </a:lnTo>
                <a:lnTo>
                  <a:pt x="2156" y="4306"/>
                </a:lnTo>
                <a:lnTo>
                  <a:pt x="2137" y="4315"/>
                </a:lnTo>
                <a:lnTo>
                  <a:pt x="2119" y="4326"/>
                </a:lnTo>
                <a:lnTo>
                  <a:pt x="2109" y="4331"/>
                </a:lnTo>
                <a:lnTo>
                  <a:pt x="2101" y="4337"/>
                </a:lnTo>
                <a:lnTo>
                  <a:pt x="2094" y="4344"/>
                </a:lnTo>
                <a:lnTo>
                  <a:pt x="2088" y="4351"/>
                </a:lnTo>
                <a:lnTo>
                  <a:pt x="2132" y="4469"/>
                </a:lnTo>
                <a:lnTo>
                  <a:pt x="2132" y="4469"/>
                </a:lnTo>
                <a:lnTo>
                  <a:pt x="2144" y="4460"/>
                </a:lnTo>
                <a:lnTo>
                  <a:pt x="2160" y="4451"/>
                </a:lnTo>
                <a:lnTo>
                  <a:pt x="2181" y="4439"/>
                </a:lnTo>
                <a:lnTo>
                  <a:pt x="2193" y="4434"/>
                </a:lnTo>
                <a:lnTo>
                  <a:pt x="2207" y="4429"/>
                </a:lnTo>
                <a:lnTo>
                  <a:pt x="2222" y="4424"/>
                </a:lnTo>
                <a:lnTo>
                  <a:pt x="2237" y="4419"/>
                </a:lnTo>
                <a:lnTo>
                  <a:pt x="2255" y="4415"/>
                </a:lnTo>
                <a:lnTo>
                  <a:pt x="2273" y="4412"/>
                </a:lnTo>
                <a:lnTo>
                  <a:pt x="2292" y="4410"/>
                </a:lnTo>
                <a:lnTo>
                  <a:pt x="2313" y="4409"/>
                </a:lnTo>
                <a:lnTo>
                  <a:pt x="2313" y="4409"/>
                </a:lnTo>
                <a:lnTo>
                  <a:pt x="2316" y="4425"/>
                </a:lnTo>
                <a:lnTo>
                  <a:pt x="2316" y="4425"/>
                </a:lnTo>
                <a:lnTo>
                  <a:pt x="2316" y="4439"/>
                </a:lnTo>
                <a:lnTo>
                  <a:pt x="2316" y="4454"/>
                </a:lnTo>
                <a:lnTo>
                  <a:pt x="2314" y="4468"/>
                </a:lnTo>
                <a:lnTo>
                  <a:pt x="2311" y="4483"/>
                </a:lnTo>
                <a:lnTo>
                  <a:pt x="2306" y="4499"/>
                </a:lnTo>
                <a:lnTo>
                  <a:pt x="2301" y="4514"/>
                </a:lnTo>
                <a:lnTo>
                  <a:pt x="2293" y="4529"/>
                </a:lnTo>
                <a:lnTo>
                  <a:pt x="2285" y="4545"/>
                </a:lnTo>
                <a:lnTo>
                  <a:pt x="2277" y="4561"/>
                </a:lnTo>
                <a:lnTo>
                  <a:pt x="2267" y="4576"/>
                </a:lnTo>
                <a:lnTo>
                  <a:pt x="2256" y="4593"/>
                </a:lnTo>
                <a:lnTo>
                  <a:pt x="2244" y="4608"/>
                </a:lnTo>
                <a:lnTo>
                  <a:pt x="2231" y="4624"/>
                </a:lnTo>
                <a:lnTo>
                  <a:pt x="2218" y="4640"/>
                </a:lnTo>
                <a:lnTo>
                  <a:pt x="2204" y="4655"/>
                </a:lnTo>
                <a:lnTo>
                  <a:pt x="2189" y="4670"/>
                </a:lnTo>
                <a:lnTo>
                  <a:pt x="2157" y="4701"/>
                </a:lnTo>
                <a:lnTo>
                  <a:pt x="2124" y="4730"/>
                </a:lnTo>
                <a:lnTo>
                  <a:pt x="2088" y="4757"/>
                </a:lnTo>
                <a:lnTo>
                  <a:pt x="2051" y="4783"/>
                </a:lnTo>
                <a:lnTo>
                  <a:pt x="2013" y="4807"/>
                </a:lnTo>
                <a:lnTo>
                  <a:pt x="1975" y="4829"/>
                </a:lnTo>
                <a:lnTo>
                  <a:pt x="1937" y="4848"/>
                </a:lnTo>
                <a:lnTo>
                  <a:pt x="1917" y="4858"/>
                </a:lnTo>
                <a:lnTo>
                  <a:pt x="1899" y="4866"/>
                </a:lnTo>
                <a:lnTo>
                  <a:pt x="1899" y="4866"/>
                </a:lnTo>
                <a:lnTo>
                  <a:pt x="1861" y="4880"/>
                </a:lnTo>
                <a:lnTo>
                  <a:pt x="1823" y="4892"/>
                </a:lnTo>
                <a:lnTo>
                  <a:pt x="1788" y="4904"/>
                </a:lnTo>
                <a:lnTo>
                  <a:pt x="1754" y="4913"/>
                </a:lnTo>
                <a:lnTo>
                  <a:pt x="1721" y="4921"/>
                </a:lnTo>
                <a:lnTo>
                  <a:pt x="1690" y="4927"/>
                </a:lnTo>
                <a:lnTo>
                  <a:pt x="1661" y="4931"/>
                </a:lnTo>
                <a:lnTo>
                  <a:pt x="1633" y="4935"/>
                </a:lnTo>
                <a:lnTo>
                  <a:pt x="1607" y="4937"/>
                </a:lnTo>
                <a:lnTo>
                  <a:pt x="1584" y="4938"/>
                </a:lnTo>
                <a:lnTo>
                  <a:pt x="1562" y="4938"/>
                </a:lnTo>
                <a:lnTo>
                  <a:pt x="1543" y="4937"/>
                </a:lnTo>
                <a:lnTo>
                  <a:pt x="1527" y="4935"/>
                </a:lnTo>
                <a:lnTo>
                  <a:pt x="1513" y="4932"/>
                </a:lnTo>
                <a:lnTo>
                  <a:pt x="1502" y="4928"/>
                </a:lnTo>
                <a:lnTo>
                  <a:pt x="1493" y="4924"/>
                </a:lnTo>
                <a:lnTo>
                  <a:pt x="1493" y="4924"/>
                </a:lnTo>
                <a:lnTo>
                  <a:pt x="1469" y="4908"/>
                </a:lnTo>
                <a:lnTo>
                  <a:pt x="1448" y="4890"/>
                </a:lnTo>
                <a:lnTo>
                  <a:pt x="1429" y="4872"/>
                </a:lnTo>
                <a:lnTo>
                  <a:pt x="1413" y="4853"/>
                </a:lnTo>
                <a:lnTo>
                  <a:pt x="1398" y="4836"/>
                </a:lnTo>
                <a:lnTo>
                  <a:pt x="1384" y="4818"/>
                </a:lnTo>
                <a:lnTo>
                  <a:pt x="1373" y="4800"/>
                </a:lnTo>
                <a:lnTo>
                  <a:pt x="1362" y="4783"/>
                </a:lnTo>
                <a:lnTo>
                  <a:pt x="1343" y="4752"/>
                </a:lnTo>
                <a:lnTo>
                  <a:pt x="1333" y="4738"/>
                </a:lnTo>
                <a:lnTo>
                  <a:pt x="1324" y="4726"/>
                </a:lnTo>
                <a:lnTo>
                  <a:pt x="1315" y="4714"/>
                </a:lnTo>
                <a:lnTo>
                  <a:pt x="1305" y="4706"/>
                </a:lnTo>
                <a:lnTo>
                  <a:pt x="1293" y="4699"/>
                </a:lnTo>
                <a:lnTo>
                  <a:pt x="1287" y="4696"/>
                </a:lnTo>
                <a:lnTo>
                  <a:pt x="1281" y="4694"/>
                </a:lnTo>
                <a:lnTo>
                  <a:pt x="1281" y="4694"/>
                </a:lnTo>
                <a:lnTo>
                  <a:pt x="1277" y="4694"/>
                </a:lnTo>
                <a:lnTo>
                  <a:pt x="1274" y="4694"/>
                </a:lnTo>
                <a:lnTo>
                  <a:pt x="1267" y="4696"/>
                </a:lnTo>
                <a:lnTo>
                  <a:pt x="1260" y="4699"/>
                </a:lnTo>
                <a:lnTo>
                  <a:pt x="1252" y="4703"/>
                </a:lnTo>
                <a:lnTo>
                  <a:pt x="1244" y="4707"/>
                </a:lnTo>
                <a:lnTo>
                  <a:pt x="1235" y="4710"/>
                </a:lnTo>
                <a:lnTo>
                  <a:pt x="1227" y="4712"/>
                </a:lnTo>
                <a:lnTo>
                  <a:pt x="1222" y="4712"/>
                </a:lnTo>
                <a:lnTo>
                  <a:pt x="1217" y="4712"/>
                </a:lnTo>
                <a:lnTo>
                  <a:pt x="1217" y="4712"/>
                </a:lnTo>
                <a:lnTo>
                  <a:pt x="1196" y="4709"/>
                </a:lnTo>
                <a:lnTo>
                  <a:pt x="1176" y="4706"/>
                </a:lnTo>
                <a:lnTo>
                  <a:pt x="1155" y="4705"/>
                </a:lnTo>
                <a:lnTo>
                  <a:pt x="1134" y="4704"/>
                </a:lnTo>
                <a:lnTo>
                  <a:pt x="1114" y="4704"/>
                </a:lnTo>
                <a:lnTo>
                  <a:pt x="1094" y="4706"/>
                </a:lnTo>
                <a:lnTo>
                  <a:pt x="1075" y="4708"/>
                </a:lnTo>
                <a:lnTo>
                  <a:pt x="1055" y="4712"/>
                </a:lnTo>
                <a:lnTo>
                  <a:pt x="1037" y="4716"/>
                </a:lnTo>
                <a:lnTo>
                  <a:pt x="1020" y="4724"/>
                </a:lnTo>
                <a:lnTo>
                  <a:pt x="1004" y="4731"/>
                </a:lnTo>
                <a:lnTo>
                  <a:pt x="990" y="4740"/>
                </a:lnTo>
                <a:lnTo>
                  <a:pt x="976" y="4751"/>
                </a:lnTo>
                <a:lnTo>
                  <a:pt x="970" y="4757"/>
                </a:lnTo>
                <a:lnTo>
                  <a:pt x="964" y="4763"/>
                </a:lnTo>
                <a:lnTo>
                  <a:pt x="959" y="4771"/>
                </a:lnTo>
                <a:lnTo>
                  <a:pt x="955" y="4779"/>
                </a:lnTo>
                <a:lnTo>
                  <a:pt x="951" y="4786"/>
                </a:lnTo>
                <a:lnTo>
                  <a:pt x="947" y="4795"/>
                </a:lnTo>
                <a:lnTo>
                  <a:pt x="947" y="4795"/>
                </a:lnTo>
                <a:lnTo>
                  <a:pt x="985" y="4793"/>
                </a:lnTo>
                <a:lnTo>
                  <a:pt x="1020" y="4792"/>
                </a:lnTo>
                <a:lnTo>
                  <a:pt x="1040" y="4792"/>
                </a:lnTo>
                <a:lnTo>
                  <a:pt x="1059" y="4793"/>
                </a:lnTo>
                <a:lnTo>
                  <a:pt x="1077" y="4794"/>
                </a:lnTo>
                <a:lnTo>
                  <a:pt x="1092" y="4797"/>
                </a:lnTo>
                <a:lnTo>
                  <a:pt x="1105" y="4800"/>
                </a:lnTo>
                <a:lnTo>
                  <a:pt x="1110" y="4802"/>
                </a:lnTo>
                <a:lnTo>
                  <a:pt x="1115" y="4804"/>
                </a:lnTo>
                <a:lnTo>
                  <a:pt x="1117" y="4807"/>
                </a:lnTo>
                <a:lnTo>
                  <a:pt x="1119" y="4811"/>
                </a:lnTo>
                <a:lnTo>
                  <a:pt x="1119" y="4814"/>
                </a:lnTo>
                <a:lnTo>
                  <a:pt x="1117" y="4818"/>
                </a:lnTo>
                <a:lnTo>
                  <a:pt x="1114" y="4822"/>
                </a:lnTo>
                <a:lnTo>
                  <a:pt x="1109" y="4827"/>
                </a:lnTo>
                <a:lnTo>
                  <a:pt x="1102" y="4832"/>
                </a:lnTo>
                <a:lnTo>
                  <a:pt x="1094" y="4837"/>
                </a:lnTo>
                <a:lnTo>
                  <a:pt x="1094" y="4837"/>
                </a:lnTo>
                <a:lnTo>
                  <a:pt x="1085" y="4843"/>
                </a:lnTo>
                <a:lnTo>
                  <a:pt x="1079" y="4849"/>
                </a:lnTo>
                <a:lnTo>
                  <a:pt x="1074" y="4856"/>
                </a:lnTo>
                <a:lnTo>
                  <a:pt x="1072" y="4863"/>
                </a:lnTo>
                <a:lnTo>
                  <a:pt x="1071" y="4870"/>
                </a:lnTo>
                <a:lnTo>
                  <a:pt x="1072" y="4876"/>
                </a:lnTo>
                <a:lnTo>
                  <a:pt x="1074" y="4883"/>
                </a:lnTo>
                <a:lnTo>
                  <a:pt x="1077" y="4890"/>
                </a:lnTo>
                <a:lnTo>
                  <a:pt x="1082" y="4898"/>
                </a:lnTo>
                <a:lnTo>
                  <a:pt x="1088" y="4906"/>
                </a:lnTo>
                <a:lnTo>
                  <a:pt x="1096" y="4913"/>
                </a:lnTo>
                <a:lnTo>
                  <a:pt x="1104" y="4920"/>
                </a:lnTo>
                <a:lnTo>
                  <a:pt x="1124" y="4935"/>
                </a:lnTo>
                <a:lnTo>
                  <a:pt x="1146" y="4951"/>
                </a:lnTo>
                <a:lnTo>
                  <a:pt x="1170" y="4966"/>
                </a:lnTo>
                <a:lnTo>
                  <a:pt x="1195" y="4980"/>
                </a:lnTo>
                <a:lnTo>
                  <a:pt x="1247" y="5008"/>
                </a:lnTo>
                <a:lnTo>
                  <a:pt x="1293" y="5031"/>
                </a:lnTo>
                <a:lnTo>
                  <a:pt x="1313" y="5042"/>
                </a:lnTo>
                <a:lnTo>
                  <a:pt x="1329" y="5051"/>
                </a:lnTo>
                <a:lnTo>
                  <a:pt x="1329" y="5051"/>
                </a:lnTo>
                <a:lnTo>
                  <a:pt x="1336" y="5056"/>
                </a:lnTo>
                <a:lnTo>
                  <a:pt x="1339" y="5060"/>
                </a:lnTo>
                <a:lnTo>
                  <a:pt x="1341" y="5063"/>
                </a:lnTo>
                <a:lnTo>
                  <a:pt x="1339" y="5066"/>
                </a:lnTo>
                <a:lnTo>
                  <a:pt x="1336" y="5068"/>
                </a:lnTo>
                <a:lnTo>
                  <a:pt x="1332" y="5070"/>
                </a:lnTo>
                <a:lnTo>
                  <a:pt x="1326" y="5071"/>
                </a:lnTo>
                <a:lnTo>
                  <a:pt x="1326" y="5071"/>
                </a:lnTo>
                <a:lnTo>
                  <a:pt x="1316" y="5071"/>
                </a:lnTo>
                <a:lnTo>
                  <a:pt x="1304" y="5069"/>
                </a:lnTo>
                <a:lnTo>
                  <a:pt x="1289" y="5066"/>
                </a:lnTo>
                <a:lnTo>
                  <a:pt x="1273" y="5061"/>
                </a:lnTo>
                <a:lnTo>
                  <a:pt x="1237" y="5050"/>
                </a:lnTo>
                <a:lnTo>
                  <a:pt x="1197" y="5035"/>
                </a:lnTo>
                <a:lnTo>
                  <a:pt x="1115" y="5004"/>
                </a:lnTo>
                <a:lnTo>
                  <a:pt x="1077" y="4988"/>
                </a:lnTo>
                <a:lnTo>
                  <a:pt x="1042" y="4977"/>
                </a:lnTo>
                <a:lnTo>
                  <a:pt x="1042" y="4977"/>
                </a:lnTo>
                <a:lnTo>
                  <a:pt x="1031" y="4974"/>
                </a:lnTo>
                <a:lnTo>
                  <a:pt x="1020" y="4972"/>
                </a:lnTo>
                <a:lnTo>
                  <a:pt x="1011" y="4972"/>
                </a:lnTo>
                <a:lnTo>
                  <a:pt x="1003" y="4973"/>
                </a:lnTo>
                <a:lnTo>
                  <a:pt x="996" y="4975"/>
                </a:lnTo>
                <a:lnTo>
                  <a:pt x="990" y="4978"/>
                </a:lnTo>
                <a:lnTo>
                  <a:pt x="985" y="4981"/>
                </a:lnTo>
                <a:lnTo>
                  <a:pt x="981" y="4984"/>
                </a:lnTo>
                <a:lnTo>
                  <a:pt x="972" y="4993"/>
                </a:lnTo>
                <a:lnTo>
                  <a:pt x="966" y="5000"/>
                </a:lnTo>
                <a:lnTo>
                  <a:pt x="962" y="5005"/>
                </a:lnTo>
                <a:lnTo>
                  <a:pt x="959" y="5006"/>
                </a:lnTo>
                <a:lnTo>
                  <a:pt x="957" y="5007"/>
                </a:lnTo>
                <a:lnTo>
                  <a:pt x="957" y="5007"/>
                </a:lnTo>
                <a:lnTo>
                  <a:pt x="948" y="5006"/>
                </a:lnTo>
                <a:lnTo>
                  <a:pt x="938" y="5005"/>
                </a:lnTo>
                <a:lnTo>
                  <a:pt x="926" y="5006"/>
                </a:lnTo>
                <a:lnTo>
                  <a:pt x="916" y="5006"/>
                </a:lnTo>
                <a:lnTo>
                  <a:pt x="894" y="5010"/>
                </a:lnTo>
                <a:lnTo>
                  <a:pt x="871" y="5016"/>
                </a:lnTo>
                <a:lnTo>
                  <a:pt x="849" y="5024"/>
                </a:lnTo>
                <a:lnTo>
                  <a:pt x="826" y="5034"/>
                </a:lnTo>
                <a:lnTo>
                  <a:pt x="805" y="5048"/>
                </a:lnTo>
                <a:lnTo>
                  <a:pt x="794" y="5055"/>
                </a:lnTo>
                <a:lnTo>
                  <a:pt x="785" y="5062"/>
                </a:lnTo>
                <a:lnTo>
                  <a:pt x="776" y="5070"/>
                </a:lnTo>
                <a:lnTo>
                  <a:pt x="768" y="5078"/>
                </a:lnTo>
                <a:lnTo>
                  <a:pt x="760" y="5088"/>
                </a:lnTo>
                <a:lnTo>
                  <a:pt x="753" y="5097"/>
                </a:lnTo>
                <a:lnTo>
                  <a:pt x="746" y="5107"/>
                </a:lnTo>
                <a:lnTo>
                  <a:pt x="740" y="5116"/>
                </a:lnTo>
                <a:lnTo>
                  <a:pt x="736" y="5127"/>
                </a:lnTo>
                <a:lnTo>
                  <a:pt x="732" y="5139"/>
                </a:lnTo>
                <a:lnTo>
                  <a:pt x="730" y="5150"/>
                </a:lnTo>
                <a:lnTo>
                  <a:pt x="728" y="5161"/>
                </a:lnTo>
                <a:lnTo>
                  <a:pt x="728" y="5173"/>
                </a:lnTo>
                <a:lnTo>
                  <a:pt x="728" y="5186"/>
                </a:lnTo>
                <a:lnTo>
                  <a:pt x="731" y="5199"/>
                </a:lnTo>
                <a:lnTo>
                  <a:pt x="734" y="5211"/>
                </a:lnTo>
                <a:lnTo>
                  <a:pt x="739" y="5225"/>
                </a:lnTo>
                <a:lnTo>
                  <a:pt x="745" y="5239"/>
                </a:lnTo>
                <a:lnTo>
                  <a:pt x="745" y="5239"/>
                </a:lnTo>
                <a:lnTo>
                  <a:pt x="748" y="5234"/>
                </a:lnTo>
                <a:lnTo>
                  <a:pt x="758" y="5221"/>
                </a:lnTo>
                <a:lnTo>
                  <a:pt x="773" y="5202"/>
                </a:lnTo>
                <a:lnTo>
                  <a:pt x="781" y="5192"/>
                </a:lnTo>
                <a:lnTo>
                  <a:pt x="791" y="5182"/>
                </a:lnTo>
                <a:lnTo>
                  <a:pt x="803" y="5171"/>
                </a:lnTo>
                <a:lnTo>
                  <a:pt x="814" y="5162"/>
                </a:lnTo>
                <a:lnTo>
                  <a:pt x="826" y="5154"/>
                </a:lnTo>
                <a:lnTo>
                  <a:pt x="839" y="5147"/>
                </a:lnTo>
                <a:lnTo>
                  <a:pt x="853" y="5142"/>
                </a:lnTo>
                <a:lnTo>
                  <a:pt x="859" y="5140"/>
                </a:lnTo>
                <a:lnTo>
                  <a:pt x="866" y="5139"/>
                </a:lnTo>
                <a:lnTo>
                  <a:pt x="873" y="5139"/>
                </a:lnTo>
                <a:lnTo>
                  <a:pt x="879" y="5139"/>
                </a:lnTo>
                <a:lnTo>
                  <a:pt x="887" y="5140"/>
                </a:lnTo>
                <a:lnTo>
                  <a:pt x="894" y="5142"/>
                </a:lnTo>
                <a:lnTo>
                  <a:pt x="894" y="5142"/>
                </a:lnTo>
                <a:lnTo>
                  <a:pt x="899" y="5144"/>
                </a:lnTo>
                <a:lnTo>
                  <a:pt x="902" y="5148"/>
                </a:lnTo>
                <a:lnTo>
                  <a:pt x="903" y="5154"/>
                </a:lnTo>
                <a:lnTo>
                  <a:pt x="904" y="5160"/>
                </a:lnTo>
                <a:lnTo>
                  <a:pt x="904" y="5177"/>
                </a:lnTo>
                <a:lnTo>
                  <a:pt x="902" y="5195"/>
                </a:lnTo>
                <a:lnTo>
                  <a:pt x="902" y="5205"/>
                </a:lnTo>
                <a:lnTo>
                  <a:pt x="902" y="5215"/>
                </a:lnTo>
                <a:lnTo>
                  <a:pt x="904" y="5226"/>
                </a:lnTo>
                <a:lnTo>
                  <a:pt x="906" y="5235"/>
                </a:lnTo>
                <a:lnTo>
                  <a:pt x="910" y="5245"/>
                </a:lnTo>
                <a:lnTo>
                  <a:pt x="915" y="5254"/>
                </a:lnTo>
                <a:lnTo>
                  <a:pt x="923" y="5262"/>
                </a:lnTo>
                <a:lnTo>
                  <a:pt x="933" y="5270"/>
                </a:lnTo>
                <a:lnTo>
                  <a:pt x="933" y="5270"/>
                </a:lnTo>
                <a:lnTo>
                  <a:pt x="941" y="5274"/>
                </a:lnTo>
                <a:lnTo>
                  <a:pt x="949" y="5277"/>
                </a:lnTo>
                <a:lnTo>
                  <a:pt x="959" y="5280"/>
                </a:lnTo>
                <a:lnTo>
                  <a:pt x="970" y="5281"/>
                </a:lnTo>
                <a:lnTo>
                  <a:pt x="982" y="5283"/>
                </a:lnTo>
                <a:lnTo>
                  <a:pt x="995" y="5283"/>
                </a:lnTo>
                <a:lnTo>
                  <a:pt x="1021" y="5283"/>
                </a:lnTo>
                <a:lnTo>
                  <a:pt x="1051" y="5281"/>
                </a:lnTo>
                <a:lnTo>
                  <a:pt x="1082" y="5278"/>
                </a:lnTo>
                <a:lnTo>
                  <a:pt x="1146" y="5270"/>
                </a:lnTo>
                <a:lnTo>
                  <a:pt x="1209" y="5261"/>
                </a:lnTo>
                <a:lnTo>
                  <a:pt x="1238" y="5257"/>
                </a:lnTo>
                <a:lnTo>
                  <a:pt x="1266" y="5255"/>
                </a:lnTo>
                <a:lnTo>
                  <a:pt x="1290" y="5254"/>
                </a:lnTo>
                <a:lnTo>
                  <a:pt x="1311" y="5255"/>
                </a:lnTo>
                <a:lnTo>
                  <a:pt x="1320" y="5256"/>
                </a:lnTo>
                <a:lnTo>
                  <a:pt x="1328" y="5258"/>
                </a:lnTo>
                <a:lnTo>
                  <a:pt x="1335" y="5261"/>
                </a:lnTo>
                <a:lnTo>
                  <a:pt x="1341" y="5266"/>
                </a:lnTo>
                <a:lnTo>
                  <a:pt x="1341" y="5266"/>
                </a:lnTo>
                <a:lnTo>
                  <a:pt x="1344" y="5269"/>
                </a:lnTo>
                <a:lnTo>
                  <a:pt x="1345" y="5272"/>
                </a:lnTo>
                <a:lnTo>
                  <a:pt x="1344" y="5274"/>
                </a:lnTo>
                <a:lnTo>
                  <a:pt x="1339" y="5277"/>
                </a:lnTo>
                <a:lnTo>
                  <a:pt x="1335" y="5279"/>
                </a:lnTo>
                <a:lnTo>
                  <a:pt x="1328" y="5282"/>
                </a:lnTo>
                <a:lnTo>
                  <a:pt x="1311" y="5286"/>
                </a:lnTo>
                <a:lnTo>
                  <a:pt x="1288" y="5290"/>
                </a:lnTo>
                <a:lnTo>
                  <a:pt x="1263" y="5293"/>
                </a:lnTo>
                <a:lnTo>
                  <a:pt x="1202" y="5301"/>
                </a:lnTo>
                <a:lnTo>
                  <a:pt x="1171" y="5305"/>
                </a:lnTo>
                <a:lnTo>
                  <a:pt x="1140" y="5310"/>
                </a:lnTo>
                <a:lnTo>
                  <a:pt x="1110" y="5317"/>
                </a:lnTo>
                <a:lnTo>
                  <a:pt x="1084" y="5323"/>
                </a:lnTo>
                <a:lnTo>
                  <a:pt x="1072" y="5327"/>
                </a:lnTo>
                <a:lnTo>
                  <a:pt x="1060" y="5331"/>
                </a:lnTo>
                <a:lnTo>
                  <a:pt x="1050" y="5335"/>
                </a:lnTo>
                <a:lnTo>
                  <a:pt x="1042" y="5340"/>
                </a:lnTo>
                <a:lnTo>
                  <a:pt x="1035" y="5345"/>
                </a:lnTo>
                <a:lnTo>
                  <a:pt x="1030" y="5350"/>
                </a:lnTo>
                <a:lnTo>
                  <a:pt x="1026" y="5357"/>
                </a:lnTo>
                <a:lnTo>
                  <a:pt x="1024" y="5363"/>
                </a:lnTo>
                <a:lnTo>
                  <a:pt x="1024" y="5363"/>
                </a:lnTo>
                <a:lnTo>
                  <a:pt x="1023" y="5368"/>
                </a:lnTo>
                <a:lnTo>
                  <a:pt x="1023" y="5377"/>
                </a:lnTo>
                <a:lnTo>
                  <a:pt x="1024" y="5388"/>
                </a:lnTo>
                <a:lnTo>
                  <a:pt x="1026" y="5394"/>
                </a:lnTo>
                <a:lnTo>
                  <a:pt x="1028" y="5399"/>
                </a:lnTo>
                <a:lnTo>
                  <a:pt x="1028" y="5399"/>
                </a:lnTo>
                <a:lnTo>
                  <a:pt x="1029" y="5406"/>
                </a:lnTo>
                <a:lnTo>
                  <a:pt x="1029" y="5412"/>
                </a:lnTo>
                <a:lnTo>
                  <a:pt x="1026" y="5418"/>
                </a:lnTo>
                <a:lnTo>
                  <a:pt x="1021" y="5424"/>
                </a:lnTo>
                <a:lnTo>
                  <a:pt x="1011" y="5438"/>
                </a:lnTo>
                <a:lnTo>
                  <a:pt x="997" y="5456"/>
                </a:lnTo>
                <a:lnTo>
                  <a:pt x="989" y="5466"/>
                </a:lnTo>
                <a:lnTo>
                  <a:pt x="982" y="5476"/>
                </a:lnTo>
                <a:lnTo>
                  <a:pt x="974" y="5488"/>
                </a:lnTo>
                <a:lnTo>
                  <a:pt x="968" y="5501"/>
                </a:lnTo>
                <a:lnTo>
                  <a:pt x="962" y="5515"/>
                </a:lnTo>
                <a:lnTo>
                  <a:pt x="958" y="5530"/>
                </a:lnTo>
                <a:lnTo>
                  <a:pt x="954" y="5547"/>
                </a:lnTo>
                <a:lnTo>
                  <a:pt x="953" y="5565"/>
                </a:lnTo>
                <a:lnTo>
                  <a:pt x="953" y="5565"/>
                </a:lnTo>
                <a:lnTo>
                  <a:pt x="953" y="5574"/>
                </a:lnTo>
                <a:lnTo>
                  <a:pt x="953" y="5583"/>
                </a:lnTo>
                <a:lnTo>
                  <a:pt x="956" y="5601"/>
                </a:lnTo>
                <a:lnTo>
                  <a:pt x="961" y="5618"/>
                </a:lnTo>
                <a:lnTo>
                  <a:pt x="967" y="5634"/>
                </a:lnTo>
                <a:lnTo>
                  <a:pt x="975" y="5649"/>
                </a:lnTo>
                <a:lnTo>
                  <a:pt x="985" y="5663"/>
                </a:lnTo>
                <a:lnTo>
                  <a:pt x="995" y="5676"/>
                </a:lnTo>
                <a:lnTo>
                  <a:pt x="1005" y="5688"/>
                </a:lnTo>
                <a:lnTo>
                  <a:pt x="1015" y="5698"/>
                </a:lnTo>
                <a:lnTo>
                  <a:pt x="1026" y="5707"/>
                </a:lnTo>
                <a:lnTo>
                  <a:pt x="1043" y="5723"/>
                </a:lnTo>
                <a:lnTo>
                  <a:pt x="1055" y="5731"/>
                </a:lnTo>
                <a:lnTo>
                  <a:pt x="1060" y="5735"/>
                </a:lnTo>
                <a:lnTo>
                  <a:pt x="1060" y="5735"/>
                </a:lnTo>
                <a:lnTo>
                  <a:pt x="1062" y="5731"/>
                </a:lnTo>
                <a:lnTo>
                  <a:pt x="1063" y="5726"/>
                </a:lnTo>
                <a:lnTo>
                  <a:pt x="1063" y="5717"/>
                </a:lnTo>
                <a:lnTo>
                  <a:pt x="1062" y="5708"/>
                </a:lnTo>
                <a:lnTo>
                  <a:pt x="1059" y="5687"/>
                </a:lnTo>
                <a:lnTo>
                  <a:pt x="1056" y="5661"/>
                </a:lnTo>
                <a:lnTo>
                  <a:pt x="1055" y="5649"/>
                </a:lnTo>
                <a:lnTo>
                  <a:pt x="1054" y="5636"/>
                </a:lnTo>
                <a:lnTo>
                  <a:pt x="1054" y="5624"/>
                </a:lnTo>
                <a:lnTo>
                  <a:pt x="1056" y="5613"/>
                </a:lnTo>
                <a:lnTo>
                  <a:pt x="1058" y="5603"/>
                </a:lnTo>
                <a:lnTo>
                  <a:pt x="1062" y="5594"/>
                </a:lnTo>
                <a:lnTo>
                  <a:pt x="1065" y="5591"/>
                </a:lnTo>
                <a:lnTo>
                  <a:pt x="1069" y="5587"/>
                </a:lnTo>
                <a:lnTo>
                  <a:pt x="1072" y="5585"/>
                </a:lnTo>
                <a:lnTo>
                  <a:pt x="1076" y="5582"/>
                </a:lnTo>
                <a:lnTo>
                  <a:pt x="1076" y="5582"/>
                </a:lnTo>
                <a:lnTo>
                  <a:pt x="1081" y="5581"/>
                </a:lnTo>
                <a:lnTo>
                  <a:pt x="1085" y="5581"/>
                </a:lnTo>
                <a:lnTo>
                  <a:pt x="1090" y="5582"/>
                </a:lnTo>
                <a:lnTo>
                  <a:pt x="1094" y="5586"/>
                </a:lnTo>
                <a:lnTo>
                  <a:pt x="1103" y="5593"/>
                </a:lnTo>
                <a:lnTo>
                  <a:pt x="1114" y="5602"/>
                </a:lnTo>
                <a:lnTo>
                  <a:pt x="1125" y="5613"/>
                </a:lnTo>
                <a:lnTo>
                  <a:pt x="1138" y="5622"/>
                </a:lnTo>
                <a:lnTo>
                  <a:pt x="1145" y="5627"/>
                </a:lnTo>
                <a:lnTo>
                  <a:pt x="1152" y="5631"/>
                </a:lnTo>
                <a:lnTo>
                  <a:pt x="1162" y="5634"/>
                </a:lnTo>
                <a:lnTo>
                  <a:pt x="1170" y="5636"/>
                </a:lnTo>
                <a:lnTo>
                  <a:pt x="1170" y="5636"/>
                </a:lnTo>
                <a:lnTo>
                  <a:pt x="1179" y="5636"/>
                </a:lnTo>
                <a:lnTo>
                  <a:pt x="1188" y="5636"/>
                </a:lnTo>
                <a:lnTo>
                  <a:pt x="1196" y="5635"/>
                </a:lnTo>
                <a:lnTo>
                  <a:pt x="1206" y="5633"/>
                </a:lnTo>
                <a:lnTo>
                  <a:pt x="1214" y="5629"/>
                </a:lnTo>
                <a:lnTo>
                  <a:pt x="1222" y="5625"/>
                </a:lnTo>
                <a:lnTo>
                  <a:pt x="1229" y="5621"/>
                </a:lnTo>
                <a:lnTo>
                  <a:pt x="1237" y="5616"/>
                </a:lnTo>
                <a:lnTo>
                  <a:pt x="1253" y="5604"/>
                </a:lnTo>
                <a:lnTo>
                  <a:pt x="1267" y="5590"/>
                </a:lnTo>
                <a:lnTo>
                  <a:pt x="1282" y="5573"/>
                </a:lnTo>
                <a:lnTo>
                  <a:pt x="1299" y="5556"/>
                </a:lnTo>
                <a:lnTo>
                  <a:pt x="1332" y="5517"/>
                </a:lnTo>
                <a:lnTo>
                  <a:pt x="1352" y="5498"/>
                </a:lnTo>
                <a:lnTo>
                  <a:pt x="1372" y="5478"/>
                </a:lnTo>
                <a:lnTo>
                  <a:pt x="1395" y="5458"/>
                </a:lnTo>
                <a:lnTo>
                  <a:pt x="1419" y="5439"/>
                </a:lnTo>
                <a:lnTo>
                  <a:pt x="1433" y="5430"/>
                </a:lnTo>
                <a:lnTo>
                  <a:pt x="1446" y="5422"/>
                </a:lnTo>
                <a:lnTo>
                  <a:pt x="1460" y="5414"/>
                </a:lnTo>
                <a:lnTo>
                  <a:pt x="1475" y="5406"/>
                </a:lnTo>
                <a:lnTo>
                  <a:pt x="1475" y="5406"/>
                </a:lnTo>
                <a:lnTo>
                  <a:pt x="1515" y="5387"/>
                </a:lnTo>
                <a:lnTo>
                  <a:pt x="1547" y="5375"/>
                </a:lnTo>
                <a:lnTo>
                  <a:pt x="1559" y="5370"/>
                </a:lnTo>
                <a:lnTo>
                  <a:pt x="1571" y="5367"/>
                </a:lnTo>
                <a:lnTo>
                  <a:pt x="1580" y="5366"/>
                </a:lnTo>
                <a:lnTo>
                  <a:pt x="1587" y="5365"/>
                </a:lnTo>
                <a:lnTo>
                  <a:pt x="1593" y="5365"/>
                </a:lnTo>
                <a:lnTo>
                  <a:pt x="1597" y="5367"/>
                </a:lnTo>
                <a:lnTo>
                  <a:pt x="1600" y="5369"/>
                </a:lnTo>
                <a:lnTo>
                  <a:pt x="1602" y="5372"/>
                </a:lnTo>
                <a:lnTo>
                  <a:pt x="1604" y="5375"/>
                </a:lnTo>
                <a:lnTo>
                  <a:pt x="1604" y="5379"/>
                </a:lnTo>
                <a:lnTo>
                  <a:pt x="1603" y="5389"/>
                </a:lnTo>
                <a:lnTo>
                  <a:pt x="1600" y="5401"/>
                </a:lnTo>
                <a:lnTo>
                  <a:pt x="1596" y="5415"/>
                </a:lnTo>
                <a:lnTo>
                  <a:pt x="1593" y="5428"/>
                </a:lnTo>
                <a:lnTo>
                  <a:pt x="1591" y="5440"/>
                </a:lnTo>
                <a:lnTo>
                  <a:pt x="1591" y="5446"/>
                </a:lnTo>
                <a:lnTo>
                  <a:pt x="1591" y="5453"/>
                </a:lnTo>
                <a:lnTo>
                  <a:pt x="1593" y="5458"/>
                </a:lnTo>
                <a:lnTo>
                  <a:pt x="1595" y="5463"/>
                </a:lnTo>
                <a:lnTo>
                  <a:pt x="1598" y="5467"/>
                </a:lnTo>
                <a:lnTo>
                  <a:pt x="1603" y="5471"/>
                </a:lnTo>
                <a:lnTo>
                  <a:pt x="1609" y="5474"/>
                </a:lnTo>
                <a:lnTo>
                  <a:pt x="1617" y="5476"/>
                </a:lnTo>
                <a:lnTo>
                  <a:pt x="1617" y="5476"/>
                </a:lnTo>
                <a:lnTo>
                  <a:pt x="1629" y="5480"/>
                </a:lnTo>
                <a:lnTo>
                  <a:pt x="1640" y="5483"/>
                </a:lnTo>
                <a:lnTo>
                  <a:pt x="1649" y="5488"/>
                </a:lnTo>
                <a:lnTo>
                  <a:pt x="1656" y="5492"/>
                </a:lnTo>
                <a:lnTo>
                  <a:pt x="1663" y="5498"/>
                </a:lnTo>
                <a:lnTo>
                  <a:pt x="1668" y="5503"/>
                </a:lnTo>
                <a:lnTo>
                  <a:pt x="1671" y="5509"/>
                </a:lnTo>
                <a:lnTo>
                  <a:pt x="1673" y="5515"/>
                </a:lnTo>
                <a:lnTo>
                  <a:pt x="1675" y="5521"/>
                </a:lnTo>
                <a:lnTo>
                  <a:pt x="1675" y="5527"/>
                </a:lnTo>
                <a:lnTo>
                  <a:pt x="1674" y="5534"/>
                </a:lnTo>
                <a:lnTo>
                  <a:pt x="1673" y="5541"/>
                </a:lnTo>
                <a:lnTo>
                  <a:pt x="1671" y="5548"/>
                </a:lnTo>
                <a:lnTo>
                  <a:pt x="1668" y="5555"/>
                </a:lnTo>
                <a:lnTo>
                  <a:pt x="1660" y="5568"/>
                </a:lnTo>
                <a:lnTo>
                  <a:pt x="1650" y="5581"/>
                </a:lnTo>
                <a:lnTo>
                  <a:pt x="1640" y="5594"/>
                </a:lnTo>
                <a:lnTo>
                  <a:pt x="1630" y="5605"/>
                </a:lnTo>
                <a:lnTo>
                  <a:pt x="1620" y="5615"/>
                </a:lnTo>
                <a:lnTo>
                  <a:pt x="1603" y="5629"/>
                </a:lnTo>
                <a:lnTo>
                  <a:pt x="1597" y="5636"/>
                </a:lnTo>
                <a:lnTo>
                  <a:pt x="1597" y="5636"/>
                </a:lnTo>
                <a:lnTo>
                  <a:pt x="1605" y="5640"/>
                </a:lnTo>
                <a:lnTo>
                  <a:pt x="1616" y="5642"/>
                </a:lnTo>
                <a:lnTo>
                  <a:pt x="1627" y="5643"/>
                </a:lnTo>
                <a:lnTo>
                  <a:pt x="1640" y="5642"/>
                </a:lnTo>
                <a:lnTo>
                  <a:pt x="1654" y="5639"/>
                </a:lnTo>
                <a:lnTo>
                  <a:pt x="1669" y="5635"/>
                </a:lnTo>
                <a:lnTo>
                  <a:pt x="1685" y="5628"/>
                </a:lnTo>
                <a:lnTo>
                  <a:pt x="1700" y="5620"/>
                </a:lnTo>
                <a:lnTo>
                  <a:pt x="1717" y="5611"/>
                </a:lnTo>
                <a:lnTo>
                  <a:pt x="1732" y="5600"/>
                </a:lnTo>
                <a:lnTo>
                  <a:pt x="1747" y="5587"/>
                </a:lnTo>
                <a:lnTo>
                  <a:pt x="1763" y="5572"/>
                </a:lnTo>
                <a:lnTo>
                  <a:pt x="1776" y="5555"/>
                </a:lnTo>
                <a:lnTo>
                  <a:pt x="1789" y="5536"/>
                </a:lnTo>
                <a:lnTo>
                  <a:pt x="1801" y="5516"/>
                </a:lnTo>
                <a:lnTo>
                  <a:pt x="1811" y="5495"/>
                </a:lnTo>
                <a:lnTo>
                  <a:pt x="1811" y="5495"/>
                </a:lnTo>
                <a:lnTo>
                  <a:pt x="1814" y="5486"/>
                </a:lnTo>
                <a:lnTo>
                  <a:pt x="1817" y="5480"/>
                </a:lnTo>
                <a:lnTo>
                  <a:pt x="1820" y="5475"/>
                </a:lnTo>
                <a:lnTo>
                  <a:pt x="1824" y="5471"/>
                </a:lnTo>
                <a:lnTo>
                  <a:pt x="1828" y="5468"/>
                </a:lnTo>
                <a:lnTo>
                  <a:pt x="1831" y="5465"/>
                </a:lnTo>
                <a:lnTo>
                  <a:pt x="1839" y="5462"/>
                </a:lnTo>
                <a:lnTo>
                  <a:pt x="1848" y="5459"/>
                </a:lnTo>
                <a:lnTo>
                  <a:pt x="1857" y="5455"/>
                </a:lnTo>
                <a:lnTo>
                  <a:pt x="1866" y="5449"/>
                </a:lnTo>
                <a:lnTo>
                  <a:pt x="1871" y="5444"/>
                </a:lnTo>
                <a:lnTo>
                  <a:pt x="1876" y="5439"/>
                </a:lnTo>
                <a:lnTo>
                  <a:pt x="1876" y="5439"/>
                </a:lnTo>
                <a:lnTo>
                  <a:pt x="1879" y="5433"/>
                </a:lnTo>
                <a:lnTo>
                  <a:pt x="1882" y="5427"/>
                </a:lnTo>
                <a:lnTo>
                  <a:pt x="1886" y="5421"/>
                </a:lnTo>
                <a:lnTo>
                  <a:pt x="1887" y="5415"/>
                </a:lnTo>
                <a:lnTo>
                  <a:pt x="1888" y="5400"/>
                </a:lnTo>
                <a:lnTo>
                  <a:pt x="1888" y="5386"/>
                </a:lnTo>
                <a:lnTo>
                  <a:pt x="1888" y="5371"/>
                </a:lnTo>
                <a:lnTo>
                  <a:pt x="1888" y="5357"/>
                </a:lnTo>
                <a:lnTo>
                  <a:pt x="1890" y="5342"/>
                </a:lnTo>
                <a:lnTo>
                  <a:pt x="1892" y="5336"/>
                </a:lnTo>
                <a:lnTo>
                  <a:pt x="1894" y="5330"/>
                </a:lnTo>
                <a:lnTo>
                  <a:pt x="1894" y="5330"/>
                </a:lnTo>
                <a:lnTo>
                  <a:pt x="1898" y="5324"/>
                </a:lnTo>
                <a:lnTo>
                  <a:pt x="1902" y="5319"/>
                </a:lnTo>
                <a:lnTo>
                  <a:pt x="1906" y="5314"/>
                </a:lnTo>
                <a:lnTo>
                  <a:pt x="1911" y="5309"/>
                </a:lnTo>
                <a:lnTo>
                  <a:pt x="1923" y="5301"/>
                </a:lnTo>
                <a:lnTo>
                  <a:pt x="1937" y="5295"/>
                </a:lnTo>
                <a:lnTo>
                  <a:pt x="1951" y="5290"/>
                </a:lnTo>
                <a:lnTo>
                  <a:pt x="1965" y="5286"/>
                </a:lnTo>
                <a:lnTo>
                  <a:pt x="1996" y="5278"/>
                </a:lnTo>
                <a:lnTo>
                  <a:pt x="2026" y="5272"/>
                </a:lnTo>
                <a:lnTo>
                  <a:pt x="2038" y="5268"/>
                </a:lnTo>
                <a:lnTo>
                  <a:pt x="2049" y="5262"/>
                </a:lnTo>
                <a:lnTo>
                  <a:pt x="2057" y="5256"/>
                </a:lnTo>
                <a:lnTo>
                  <a:pt x="2061" y="5253"/>
                </a:lnTo>
                <a:lnTo>
                  <a:pt x="2063" y="5249"/>
                </a:lnTo>
                <a:lnTo>
                  <a:pt x="2066" y="5245"/>
                </a:lnTo>
                <a:lnTo>
                  <a:pt x="2068" y="5240"/>
                </a:lnTo>
                <a:lnTo>
                  <a:pt x="2068" y="5235"/>
                </a:lnTo>
                <a:lnTo>
                  <a:pt x="2068" y="5230"/>
                </a:lnTo>
                <a:lnTo>
                  <a:pt x="2068" y="5230"/>
                </a:lnTo>
                <a:lnTo>
                  <a:pt x="2066" y="5215"/>
                </a:lnTo>
                <a:lnTo>
                  <a:pt x="2066" y="5202"/>
                </a:lnTo>
                <a:lnTo>
                  <a:pt x="2069" y="5190"/>
                </a:lnTo>
                <a:lnTo>
                  <a:pt x="2073" y="5180"/>
                </a:lnTo>
                <a:lnTo>
                  <a:pt x="2078" y="5169"/>
                </a:lnTo>
                <a:lnTo>
                  <a:pt x="2083" y="5161"/>
                </a:lnTo>
                <a:lnTo>
                  <a:pt x="2090" y="5153"/>
                </a:lnTo>
                <a:lnTo>
                  <a:pt x="2098" y="5146"/>
                </a:lnTo>
                <a:lnTo>
                  <a:pt x="2106" y="5140"/>
                </a:lnTo>
                <a:lnTo>
                  <a:pt x="2116" y="5134"/>
                </a:lnTo>
                <a:lnTo>
                  <a:pt x="2134" y="5124"/>
                </a:lnTo>
                <a:lnTo>
                  <a:pt x="2152" y="5116"/>
                </a:lnTo>
                <a:lnTo>
                  <a:pt x="2169" y="5109"/>
                </a:lnTo>
                <a:lnTo>
                  <a:pt x="2169" y="5109"/>
                </a:lnTo>
                <a:lnTo>
                  <a:pt x="2171" y="5109"/>
                </a:lnTo>
                <a:lnTo>
                  <a:pt x="2172" y="5110"/>
                </a:lnTo>
                <a:lnTo>
                  <a:pt x="2175" y="5112"/>
                </a:lnTo>
                <a:lnTo>
                  <a:pt x="2177" y="5117"/>
                </a:lnTo>
                <a:lnTo>
                  <a:pt x="2181" y="5124"/>
                </a:lnTo>
                <a:lnTo>
                  <a:pt x="2189" y="5143"/>
                </a:lnTo>
                <a:lnTo>
                  <a:pt x="2195" y="5154"/>
                </a:lnTo>
                <a:lnTo>
                  <a:pt x="2202" y="5166"/>
                </a:lnTo>
                <a:lnTo>
                  <a:pt x="2212" y="5179"/>
                </a:lnTo>
                <a:lnTo>
                  <a:pt x="2222" y="5192"/>
                </a:lnTo>
                <a:lnTo>
                  <a:pt x="2234" y="5206"/>
                </a:lnTo>
                <a:lnTo>
                  <a:pt x="2250" y="5220"/>
                </a:lnTo>
                <a:lnTo>
                  <a:pt x="2267" y="5233"/>
                </a:lnTo>
                <a:lnTo>
                  <a:pt x="2287" y="5245"/>
                </a:lnTo>
                <a:lnTo>
                  <a:pt x="2311" y="5257"/>
                </a:lnTo>
                <a:lnTo>
                  <a:pt x="2337" y="5268"/>
                </a:lnTo>
                <a:lnTo>
                  <a:pt x="2337" y="5268"/>
                </a:lnTo>
                <a:lnTo>
                  <a:pt x="2412" y="5237"/>
                </a:lnTo>
                <a:lnTo>
                  <a:pt x="2458" y="5215"/>
                </a:lnTo>
                <a:lnTo>
                  <a:pt x="2485" y="5202"/>
                </a:lnTo>
                <a:lnTo>
                  <a:pt x="2514" y="5187"/>
                </a:lnTo>
                <a:lnTo>
                  <a:pt x="2514" y="5187"/>
                </a:lnTo>
                <a:lnTo>
                  <a:pt x="2546" y="5170"/>
                </a:lnTo>
                <a:lnTo>
                  <a:pt x="2576" y="5153"/>
                </a:lnTo>
                <a:lnTo>
                  <a:pt x="2588" y="5145"/>
                </a:lnTo>
                <a:lnTo>
                  <a:pt x="2599" y="5138"/>
                </a:lnTo>
                <a:lnTo>
                  <a:pt x="2609" y="5130"/>
                </a:lnTo>
                <a:lnTo>
                  <a:pt x="2617" y="5123"/>
                </a:lnTo>
                <a:lnTo>
                  <a:pt x="2617" y="5123"/>
                </a:lnTo>
                <a:lnTo>
                  <a:pt x="2616" y="5121"/>
                </a:lnTo>
                <a:lnTo>
                  <a:pt x="2615" y="5119"/>
                </a:lnTo>
                <a:lnTo>
                  <a:pt x="2607" y="5112"/>
                </a:lnTo>
                <a:lnTo>
                  <a:pt x="2596" y="5101"/>
                </a:lnTo>
                <a:lnTo>
                  <a:pt x="2583" y="5087"/>
                </a:lnTo>
                <a:lnTo>
                  <a:pt x="2568" y="5069"/>
                </a:lnTo>
                <a:lnTo>
                  <a:pt x="2553" y="5050"/>
                </a:lnTo>
                <a:lnTo>
                  <a:pt x="2546" y="5039"/>
                </a:lnTo>
                <a:lnTo>
                  <a:pt x="2540" y="5026"/>
                </a:lnTo>
                <a:lnTo>
                  <a:pt x="2535" y="5015"/>
                </a:lnTo>
                <a:lnTo>
                  <a:pt x="2530" y="5002"/>
                </a:lnTo>
                <a:lnTo>
                  <a:pt x="2530" y="5002"/>
                </a:lnTo>
                <a:lnTo>
                  <a:pt x="2527" y="4989"/>
                </a:lnTo>
                <a:lnTo>
                  <a:pt x="2524" y="4978"/>
                </a:lnTo>
                <a:lnTo>
                  <a:pt x="2522" y="4969"/>
                </a:lnTo>
                <a:lnTo>
                  <a:pt x="2522" y="4960"/>
                </a:lnTo>
                <a:lnTo>
                  <a:pt x="2522" y="4953"/>
                </a:lnTo>
                <a:lnTo>
                  <a:pt x="2522" y="4948"/>
                </a:lnTo>
                <a:lnTo>
                  <a:pt x="2523" y="4944"/>
                </a:lnTo>
                <a:lnTo>
                  <a:pt x="2524" y="4942"/>
                </a:lnTo>
                <a:lnTo>
                  <a:pt x="2524" y="4942"/>
                </a:lnTo>
                <a:lnTo>
                  <a:pt x="2537" y="4959"/>
                </a:lnTo>
                <a:lnTo>
                  <a:pt x="2552" y="4976"/>
                </a:lnTo>
                <a:lnTo>
                  <a:pt x="2573" y="4997"/>
                </a:lnTo>
                <a:lnTo>
                  <a:pt x="2585" y="5008"/>
                </a:lnTo>
                <a:lnTo>
                  <a:pt x="2597" y="5019"/>
                </a:lnTo>
                <a:lnTo>
                  <a:pt x="2611" y="5030"/>
                </a:lnTo>
                <a:lnTo>
                  <a:pt x="2627" y="5042"/>
                </a:lnTo>
                <a:lnTo>
                  <a:pt x="2643" y="5053"/>
                </a:lnTo>
                <a:lnTo>
                  <a:pt x="2660" y="5062"/>
                </a:lnTo>
                <a:lnTo>
                  <a:pt x="2677" y="5071"/>
                </a:lnTo>
                <a:lnTo>
                  <a:pt x="2695" y="5079"/>
                </a:lnTo>
                <a:lnTo>
                  <a:pt x="2695" y="5079"/>
                </a:lnTo>
                <a:lnTo>
                  <a:pt x="2749" y="5051"/>
                </a:lnTo>
                <a:lnTo>
                  <a:pt x="2803" y="5021"/>
                </a:lnTo>
                <a:lnTo>
                  <a:pt x="2857" y="4988"/>
                </a:lnTo>
                <a:lnTo>
                  <a:pt x="2911" y="4954"/>
                </a:lnTo>
                <a:lnTo>
                  <a:pt x="2911" y="4954"/>
                </a:lnTo>
                <a:lnTo>
                  <a:pt x="2946" y="4930"/>
                </a:lnTo>
                <a:lnTo>
                  <a:pt x="2946" y="4930"/>
                </a:lnTo>
                <a:lnTo>
                  <a:pt x="2947" y="4929"/>
                </a:lnTo>
                <a:lnTo>
                  <a:pt x="2947" y="4929"/>
                </a:lnTo>
                <a:lnTo>
                  <a:pt x="2948" y="4927"/>
                </a:lnTo>
                <a:lnTo>
                  <a:pt x="2947" y="4925"/>
                </a:lnTo>
                <a:lnTo>
                  <a:pt x="2943" y="4918"/>
                </a:lnTo>
                <a:lnTo>
                  <a:pt x="2935" y="4909"/>
                </a:lnTo>
                <a:lnTo>
                  <a:pt x="2924" y="4898"/>
                </a:lnTo>
                <a:lnTo>
                  <a:pt x="2899" y="4874"/>
                </a:lnTo>
                <a:lnTo>
                  <a:pt x="2870" y="4845"/>
                </a:lnTo>
                <a:lnTo>
                  <a:pt x="2857" y="4831"/>
                </a:lnTo>
                <a:lnTo>
                  <a:pt x="2846" y="4817"/>
                </a:lnTo>
                <a:lnTo>
                  <a:pt x="2836" y="4802"/>
                </a:lnTo>
                <a:lnTo>
                  <a:pt x="2832" y="4795"/>
                </a:lnTo>
                <a:lnTo>
                  <a:pt x="2829" y="4789"/>
                </a:lnTo>
                <a:lnTo>
                  <a:pt x="2828" y="4782"/>
                </a:lnTo>
                <a:lnTo>
                  <a:pt x="2827" y="4776"/>
                </a:lnTo>
                <a:lnTo>
                  <a:pt x="2827" y="4770"/>
                </a:lnTo>
                <a:lnTo>
                  <a:pt x="2828" y="4765"/>
                </a:lnTo>
                <a:lnTo>
                  <a:pt x="2830" y="4759"/>
                </a:lnTo>
                <a:lnTo>
                  <a:pt x="2834" y="4754"/>
                </a:lnTo>
                <a:lnTo>
                  <a:pt x="2840" y="4750"/>
                </a:lnTo>
                <a:lnTo>
                  <a:pt x="2847" y="4746"/>
                </a:lnTo>
                <a:lnTo>
                  <a:pt x="2847" y="4746"/>
                </a:lnTo>
                <a:lnTo>
                  <a:pt x="2853" y="4742"/>
                </a:lnTo>
                <a:lnTo>
                  <a:pt x="2858" y="4737"/>
                </a:lnTo>
                <a:lnTo>
                  <a:pt x="2861" y="4732"/>
                </a:lnTo>
                <a:lnTo>
                  <a:pt x="2863" y="4726"/>
                </a:lnTo>
                <a:lnTo>
                  <a:pt x="2864" y="4720"/>
                </a:lnTo>
                <a:lnTo>
                  <a:pt x="2864" y="4711"/>
                </a:lnTo>
                <a:lnTo>
                  <a:pt x="2864" y="4704"/>
                </a:lnTo>
                <a:lnTo>
                  <a:pt x="2862" y="4695"/>
                </a:lnTo>
                <a:lnTo>
                  <a:pt x="2857" y="4678"/>
                </a:lnTo>
                <a:lnTo>
                  <a:pt x="2849" y="4658"/>
                </a:lnTo>
                <a:lnTo>
                  <a:pt x="2830" y="4616"/>
                </a:lnTo>
                <a:lnTo>
                  <a:pt x="2821" y="4595"/>
                </a:lnTo>
                <a:lnTo>
                  <a:pt x="2813" y="4574"/>
                </a:lnTo>
                <a:lnTo>
                  <a:pt x="2806" y="4554"/>
                </a:lnTo>
                <a:lnTo>
                  <a:pt x="2804" y="4544"/>
                </a:lnTo>
                <a:lnTo>
                  <a:pt x="2802" y="4534"/>
                </a:lnTo>
                <a:lnTo>
                  <a:pt x="2802" y="4525"/>
                </a:lnTo>
                <a:lnTo>
                  <a:pt x="2802" y="4517"/>
                </a:lnTo>
                <a:lnTo>
                  <a:pt x="2803" y="4509"/>
                </a:lnTo>
                <a:lnTo>
                  <a:pt x="2805" y="4502"/>
                </a:lnTo>
                <a:lnTo>
                  <a:pt x="2808" y="4495"/>
                </a:lnTo>
                <a:lnTo>
                  <a:pt x="2813" y="4488"/>
                </a:lnTo>
                <a:lnTo>
                  <a:pt x="2819" y="4482"/>
                </a:lnTo>
                <a:lnTo>
                  <a:pt x="2827" y="4478"/>
                </a:lnTo>
                <a:lnTo>
                  <a:pt x="2827" y="4478"/>
                </a:lnTo>
                <a:lnTo>
                  <a:pt x="2928" y="4425"/>
                </a:lnTo>
                <a:lnTo>
                  <a:pt x="3034" y="4374"/>
                </a:lnTo>
                <a:lnTo>
                  <a:pt x="3138" y="4323"/>
                </a:lnTo>
                <a:lnTo>
                  <a:pt x="3241" y="4273"/>
                </a:lnTo>
                <a:lnTo>
                  <a:pt x="3433" y="4182"/>
                </a:lnTo>
                <a:lnTo>
                  <a:pt x="3516" y="4142"/>
                </a:lnTo>
                <a:lnTo>
                  <a:pt x="3591" y="4105"/>
                </a:lnTo>
                <a:lnTo>
                  <a:pt x="3591" y="4105"/>
                </a:lnTo>
                <a:lnTo>
                  <a:pt x="3587" y="4089"/>
                </a:lnTo>
                <a:lnTo>
                  <a:pt x="3581" y="4070"/>
                </a:lnTo>
                <a:lnTo>
                  <a:pt x="3571" y="4047"/>
                </a:lnTo>
                <a:lnTo>
                  <a:pt x="3564" y="4035"/>
                </a:lnTo>
                <a:lnTo>
                  <a:pt x="3557" y="4020"/>
                </a:lnTo>
                <a:lnTo>
                  <a:pt x="3549" y="4006"/>
                </a:lnTo>
                <a:lnTo>
                  <a:pt x="3540" y="3992"/>
                </a:lnTo>
                <a:lnTo>
                  <a:pt x="3529" y="3977"/>
                </a:lnTo>
                <a:lnTo>
                  <a:pt x="3516" y="3962"/>
                </a:lnTo>
                <a:lnTo>
                  <a:pt x="3502" y="3948"/>
                </a:lnTo>
                <a:lnTo>
                  <a:pt x="3487" y="3933"/>
                </a:lnTo>
                <a:close/>
                <a:moveTo>
                  <a:pt x="322" y="5867"/>
                </a:moveTo>
                <a:lnTo>
                  <a:pt x="322" y="5867"/>
                </a:lnTo>
                <a:lnTo>
                  <a:pt x="321" y="5881"/>
                </a:lnTo>
                <a:lnTo>
                  <a:pt x="321" y="5892"/>
                </a:lnTo>
                <a:lnTo>
                  <a:pt x="323" y="5908"/>
                </a:lnTo>
                <a:lnTo>
                  <a:pt x="326" y="5923"/>
                </a:lnTo>
                <a:lnTo>
                  <a:pt x="329" y="5931"/>
                </a:lnTo>
                <a:lnTo>
                  <a:pt x="332" y="5939"/>
                </a:lnTo>
                <a:lnTo>
                  <a:pt x="337" y="5947"/>
                </a:lnTo>
                <a:lnTo>
                  <a:pt x="343" y="5956"/>
                </a:lnTo>
                <a:lnTo>
                  <a:pt x="349" y="5964"/>
                </a:lnTo>
                <a:lnTo>
                  <a:pt x="357" y="5971"/>
                </a:lnTo>
                <a:lnTo>
                  <a:pt x="357" y="5971"/>
                </a:lnTo>
                <a:lnTo>
                  <a:pt x="369" y="5980"/>
                </a:lnTo>
                <a:lnTo>
                  <a:pt x="382" y="5988"/>
                </a:lnTo>
                <a:lnTo>
                  <a:pt x="397" y="5995"/>
                </a:lnTo>
                <a:lnTo>
                  <a:pt x="412" y="6000"/>
                </a:lnTo>
                <a:lnTo>
                  <a:pt x="426" y="6002"/>
                </a:lnTo>
                <a:lnTo>
                  <a:pt x="434" y="6002"/>
                </a:lnTo>
                <a:lnTo>
                  <a:pt x="441" y="6001"/>
                </a:lnTo>
                <a:lnTo>
                  <a:pt x="447" y="6000"/>
                </a:lnTo>
                <a:lnTo>
                  <a:pt x="453" y="5998"/>
                </a:lnTo>
                <a:lnTo>
                  <a:pt x="458" y="5995"/>
                </a:lnTo>
                <a:lnTo>
                  <a:pt x="463" y="5991"/>
                </a:lnTo>
                <a:lnTo>
                  <a:pt x="463" y="5991"/>
                </a:lnTo>
                <a:lnTo>
                  <a:pt x="468" y="5986"/>
                </a:lnTo>
                <a:lnTo>
                  <a:pt x="473" y="5979"/>
                </a:lnTo>
                <a:lnTo>
                  <a:pt x="476" y="5973"/>
                </a:lnTo>
                <a:lnTo>
                  <a:pt x="479" y="5966"/>
                </a:lnTo>
                <a:lnTo>
                  <a:pt x="481" y="5958"/>
                </a:lnTo>
                <a:lnTo>
                  <a:pt x="482" y="5950"/>
                </a:lnTo>
                <a:lnTo>
                  <a:pt x="483" y="5933"/>
                </a:lnTo>
                <a:lnTo>
                  <a:pt x="483" y="5917"/>
                </a:lnTo>
                <a:lnTo>
                  <a:pt x="484" y="5900"/>
                </a:lnTo>
                <a:lnTo>
                  <a:pt x="485" y="5892"/>
                </a:lnTo>
                <a:lnTo>
                  <a:pt x="487" y="5884"/>
                </a:lnTo>
                <a:lnTo>
                  <a:pt x="489" y="5877"/>
                </a:lnTo>
                <a:lnTo>
                  <a:pt x="493" y="5869"/>
                </a:lnTo>
                <a:lnTo>
                  <a:pt x="493" y="5869"/>
                </a:lnTo>
                <a:lnTo>
                  <a:pt x="495" y="5866"/>
                </a:lnTo>
                <a:lnTo>
                  <a:pt x="499" y="5863"/>
                </a:lnTo>
                <a:lnTo>
                  <a:pt x="508" y="5857"/>
                </a:lnTo>
                <a:lnTo>
                  <a:pt x="516" y="5854"/>
                </a:lnTo>
                <a:lnTo>
                  <a:pt x="519" y="5853"/>
                </a:lnTo>
                <a:lnTo>
                  <a:pt x="519" y="5853"/>
                </a:lnTo>
                <a:lnTo>
                  <a:pt x="526" y="5851"/>
                </a:lnTo>
                <a:lnTo>
                  <a:pt x="532" y="5848"/>
                </a:lnTo>
                <a:lnTo>
                  <a:pt x="538" y="5845"/>
                </a:lnTo>
                <a:lnTo>
                  <a:pt x="544" y="5840"/>
                </a:lnTo>
                <a:lnTo>
                  <a:pt x="544" y="5840"/>
                </a:lnTo>
                <a:lnTo>
                  <a:pt x="585" y="5859"/>
                </a:lnTo>
                <a:lnTo>
                  <a:pt x="626" y="5877"/>
                </a:lnTo>
                <a:lnTo>
                  <a:pt x="668" y="5896"/>
                </a:lnTo>
                <a:lnTo>
                  <a:pt x="709" y="5917"/>
                </a:lnTo>
                <a:lnTo>
                  <a:pt x="748" y="5938"/>
                </a:lnTo>
                <a:lnTo>
                  <a:pt x="789" y="5961"/>
                </a:lnTo>
                <a:lnTo>
                  <a:pt x="830" y="5983"/>
                </a:lnTo>
                <a:lnTo>
                  <a:pt x="870" y="6007"/>
                </a:lnTo>
                <a:lnTo>
                  <a:pt x="910" y="6031"/>
                </a:lnTo>
                <a:lnTo>
                  <a:pt x="949" y="6056"/>
                </a:lnTo>
                <a:lnTo>
                  <a:pt x="1027" y="6106"/>
                </a:lnTo>
                <a:lnTo>
                  <a:pt x="1103" y="6158"/>
                </a:lnTo>
                <a:lnTo>
                  <a:pt x="1178" y="6211"/>
                </a:lnTo>
                <a:lnTo>
                  <a:pt x="1178" y="6211"/>
                </a:lnTo>
                <a:lnTo>
                  <a:pt x="1197" y="6225"/>
                </a:lnTo>
                <a:lnTo>
                  <a:pt x="1215" y="6236"/>
                </a:lnTo>
                <a:lnTo>
                  <a:pt x="1215" y="6236"/>
                </a:lnTo>
                <a:lnTo>
                  <a:pt x="1208" y="6258"/>
                </a:lnTo>
                <a:lnTo>
                  <a:pt x="1199" y="6281"/>
                </a:lnTo>
                <a:lnTo>
                  <a:pt x="1189" y="6305"/>
                </a:lnTo>
                <a:lnTo>
                  <a:pt x="1177" y="6331"/>
                </a:lnTo>
                <a:lnTo>
                  <a:pt x="1177" y="6331"/>
                </a:lnTo>
                <a:lnTo>
                  <a:pt x="1137" y="6407"/>
                </a:lnTo>
                <a:lnTo>
                  <a:pt x="1118" y="6443"/>
                </a:lnTo>
                <a:lnTo>
                  <a:pt x="1100" y="6479"/>
                </a:lnTo>
                <a:lnTo>
                  <a:pt x="1093" y="6497"/>
                </a:lnTo>
                <a:lnTo>
                  <a:pt x="1087" y="6514"/>
                </a:lnTo>
                <a:lnTo>
                  <a:pt x="1081" y="6530"/>
                </a:lnTo>
                <a:lnTo>
                  <a:pt x="1077" y="6547"/>
                </a:lnTo>
                <a:lnTo>
                  <a:pt x="1074" y="6562"/>
                </a:lnTo>
                <a:lnTo>
                  <a:pt x="1072" y="6576"/>
                </a:lnTo>
                <a:lnTo>
                  <a:pt x="1072" y="6591"/>
                </a:lnTo>
                <a:lnTo>
                  <a:pt x="1073" y="6603"/>
                </a:lnTo>
                <a:lnTo>
                  <a:pt x="1073" y="6603"/>
                </a:lnTo>
                <a:lnTo>
                  <a:pt x="1075" y="6612"/>
                </a:lnTo>
                <a:lnTo>
                  <a:pt x="1077" y="6621"/>
                </a:lnTo>
                <a:lnTo>
                  <a:pt x="1080" y="6629"/>
                </a:lnTo>
                <a:lnTo>
                  <a:pt x="1083" y="6638"/>
                </a:lnTo>
                <a:lnTo>
                  <a:pt x="1087" y="6645"/>
                </a:lnTo>
                <a:lnTo>
                  <a:pt x="1092" y="6652"/>
                </a:lnTo>
                <a:lnTo>
                  <a:pt x="1097" y="6658"/>
                </a:lnTo>
                <a:lnTo>
                  <a:pt x="1102" y="6664"/>
                </a:lnTo>
                <a:lnTo>
                  <a:pt x="1108" y="6669"/>
                </a:lnTo>
                <a:lnTo>
                  <a:pt x="1115" y="6674"/>
                </a:lnTo>
                <a:lnTo>
                  <a:pt x="1122" y="6679"/>
                </a:lnTo>
                <a:lnTo>
                  <a:pt x="1129" y="6682"/>
                </a:lnTo>
                <a:lnTo>
                  <a:pt x="1137" y="6685"/>
                </a:lnTo>
                <a:lnTo>
                  <a:pt x="1145" y="6687"/>
                </a:lnTo>
                <a:lnTo>
                  <a:pt x="1154" y="6689"/>
                </a:lnTo>
                <a:lnTo>
                  <a:pt x="1163" y="6690"/>
                </a:lnTo>
                <a:lnTo>
                  <a:pt x="1163" y="6690"/>
                </a:lnTo>
                <a:lnTo>
                  <a:pt x="1173" y="6690"/>
                </a:lnTo>
                <a:lnTo>
                  <a:pt x="1183" y="6689"/>
                </a:lnTo>
                <a:lnTo>
                  <a:pt x="1192" y="6687"/>
                </a:lnTo>
                <a:lnTo>
                  <a:pt x="1201" y="6685"/>
                </a:lnTo>
                <a:lnTo>
                  <a:pt x="1210" y="6682"/>
                </a:lnTo>
                <a:lnTo>
                  <a:pt x="1218" y="6677"/>
                </a:lnTo>
                <a:lnTo>
                  <a:pt x="1226" y="6673"/>
                </a:lnTo>
                <a:lnTo>
                  <a:pt x="1233" y="6668"/>
                </a:lnTo>
                <a:lnTo>
                  <a:pt x="1240" y="6662"/>
                </a:lnTo>
                <a:lnTo>
                  <a:pt x="1246" y="6657"/>
                </a:lnTo>
                <a:lnTo>
                  <a:pt x="1252" y="6651"/>
                </a:lnTo>
                <a:lnTo>
                  <a:pt x="1257" y="6644"/>
                </a:lnTo>
                <a:lnTo>
                  <a:pt x="1261" y="6637"/>
                </a:lnTo>
                <a:lnTo>
                  <a:pt x="1265" y="6629"/>
                </a:lnTo>
                <a:lnTo>
                  <a:pt x="1268" y="6622"/>
                </a:lnTo>
                <a:lnTo>
                  <a:pt x="1270" y="6614"/>
                </a:lnTo>
                <a:lnTo>
                  <a:pt x="1270" y="6614"/>
                </a:lnTo>
                <a:lnTo>
                  <a:pt x="1272" y="6598"/>
                </a:lnTo>
                <a:lnTo>
                  <a:pt x="1273" y="6582"/>
                </a:lnTo>
                <a:lnTo>
                  <a:pt x="1271" y="6570"/>
                </a:lnTo>
                <a:lnTo>
                  <a:pt x="1268" y="6558"/>
                </a:lnTo>
                <a:lnTo>
                  <a:pt x="1263" y="6549"/>
                </a:lnTo>
                <a:lnTo>
                  <a:pt x="1258" y="6539"/>
                </a:lnTo>
                <a:lnTo>
                  <a:pt x="1251" y="6532"/>
                </a:lnTo>
                <a:lnTo>
                  <a:pt x="1243" y="6527"/>
                </a:lnTo>
                <a:lnTo>
                  <a:pt x="1236" y="6522"/>
                </a:lnTo>
                <a:lnTo>
                  <a:pt x="1229" y="6518"/>
                </a:lnTo>
                <a:lnTo>
                  <a:pt x="1215" y="6513"/>
                </a:lnTo>
                <a:lnTo>
                  <a:pt x="1206" y="6511"/>
                </a:lnTo>
                <a:lnTo>
                  <a:pt x="1201" y="6511"/>
                </a:lnTo>
                <a:lnTo>
                  <a:pt x="1201" y="6511"/>
                </a:lnTo>
                <a:lnTo>
                  <a:pt x="1217" y="6466"/>
                </a:lnTo>
                <a:lnTo>
                  <a:pt x="1229" y="6430"/>
                </a:lnTo>
                <a:lnTo>
                  <a:pt x="1240" y="6401"/>
                </a:lnTo>
                <a:lnTo>
                  <a:pt x="1240" y="6401"/>
                </a:lnTo>
                <a:lnTo>
                  <a:pt x="1248" y="6381"/>
                </a:lnTo>
                <a:lnTo>
                  <a:pt x="1258" y="6363"/>
                </a:lnTo>
                <a:lnTo>
                  <a:pt x="1266" y="6345"/>
                </a:lnTo>
                <a:lnTo>
                  <a:pt x="1275" y="6329"/>
                </a:lnTo>
                <a:lnTo>
                  <a:pt x="1283" y="6314"/>
                </a:lnTo>
                <a:lnTo>
                  <a:pt x="1292" y="6299"/>
                </a:lnTo>
                <a:lnTo>
                  <a:pt x="1310" y="6275"/>
                </a:lnTo>
                <a:lnTo>
                  <a:pt x="1327" y="6254"/>
                </a:lnTo>
                <a:lnTo>
                  <a:pt x="1345" y="6237"/>
                </a:lnTo>
                <a:lnTo>
                  <a:pt x="1361" y="6224"/>
                </a:lnTo>
                <a:lnTo>
                  <a:pt x="1376" y="6212"/>
                </a:lnTo>
                <a:lnTo>
                  <a:pt x="1391" y="6205"/>
                </a:lnTo>
                <a:lnTo>
                  <a:pt x="1404" y="6199"/>
                </a:lnTo>
                <a:lnTo>
                  <a:pt x="1416" y="6195"/>
                </a:lnTo>
                <a:lnTo>
                  <a:pt x="1426" y="6193"/>
                </a:lnTo>
                <a:lnTo>
                  <a:pt x="1435" y="6192"/>
                </a:lnTo>
                <a:lnTo>
                  <a:pt x="1441" y="6192"/>
                </a:lnTo>
                <a:lnTo>
                  <a:pt x="1446" y="6192"/>
                </a:lnTo>
                <a:lnTo>
                  <a:pt x="1446" y="6192"/>
                </a:lnTo>
                <a:lnTo>
                  <a:pt x="1442" y="6188"/>
                </a:lnTo>
                <a:lnTo>
                  <a:pt x="1437" y="6183"/>
                </a:lnTo>
                <a:lnTo>
                  <a:pt x="1432" y="6175"/>
                </a:lnTo>
                <a:lnTo>
                  <a:pt x="1425" y="6166"/>
                </a:lnTo>
                <a:lnTo>
                  <a:pt x="1420" y="6155"/>
                </a:lnTo>
                <a:lnTo>
                  <a:pt x="1414" y="6142"/>
                </a:lnTo>
                <a:lnTo>
                  <a:pt x="1409" y="6125"/>
                </a:lnTo>
                <a:lnTo>
                  <a:pt x="1406" y="6108"/>
                </a:lnTo>
                <a:lnTo>
                  <a:pt x="1404" y="6088"/>
                </a:lnTo>
                <a:lnTo>
                  <a:pt x="1404" y="6065"/>
                </a:lnTo>
                <a:lnTo>
                  <a:pt x="1405" y="6053"/>
                </a:lnTo>
                <a:lnTo>
                  <a:pt x="1407" y="6041"/>
                </a:lnTo>
                <a:lnTo>
                  <a:pt x="1409" y="6027"/>
                </a:lnTo>
                <a:lnTo>
                  <a:pt x="1413" y="6013"/>
                </a:lnTo>
                <a:lnTo>
                  <a:pt x="1417" y="5999"/>
                </a:lnTo>
                <a:lnTo>
                  <a:pt x="1422" y="5983"/>
                </a:lnTo>
                <a:lnTo>
                  <a:pt x="1428" y="5968"/>
                </a:lnTo>
                <a:lnTo>
                  <a:pt x="1436" y="5952"/>
                </a:lnTo>
                <a:lnTo>
                  <a:pt x="1444" y="5934"/>
                </a:lnTo>
                <a:lnTo>
                  <a:pt x="1453" y="5917"/>
                </a:lnTo>
                <a:lnTo>
                  <a:pt x="1453" y="5917"/>
                </a:lnTo>
                <a:lnTo>
                  <a:pt x="1473" y="5880"/>
                </a:lnTo>
                <a:lnTo>
                  <a:pt x="1490" y="5844"/>
                </a:lnTo>
                <a:lnTo>
                  <a:pt x="1505" y="5811"/>
                </a:lnTo>
                <a:lnTo>
                  <a:pt x="1516" y="5780"/>
                </a:lnTo>
                <a:lnTo>
                  <a:pt x="1527" y="5749"/>
                </a:lnTo>
                <a:lnTo>
                  <a:pt x="1535" y="5719"/>
                </a:lnTo>
                <a:lnTo>
                  <a:pt x="1541" y="5691"/>
                </a:lnTo>
                <a:lnTo>
                  <a:pt x="1546" y="5663"/>
                </a:lnTo>
                <a:lnTo>
                  <a:pt x="1546" y="5663"/>
                </a:lnTo>
                <a:lnTo>
                  <a:pt x="1547" y="5654"/>
                </a:lnTo>
                <a:lnTo>
                  <a:pt x="1546" y="5645"/>
                </a:lnTo>
                <a:lnTo>
                  <a:pt x="1545" y="5636"/>
                </a:lnTo>
                <a:lnTo>
                  <a:pt x="1542" y="5626"/>
                </a:lnTo>
                <a:lnTo>
                  <a:pt x="1538" y="5617"/>
                </a:lnTo>
                <a:lnTo>
                  <a:pt x="1534" y="5609"/>
                </a:lnTo>
                <a:lnTo>
                  <a:pt x="1529" y="5600"/>
                </a:lnTo>
                <a:lnTo>
                  <a:pt x="1523" y="5592"/>
                </a:lnTo>
                <a:lnTo>
                  <a:pt x="1515" y="5585"/>
                </a:lnTo>
                <a:lnTo>
                  <a:pt x="1508" y="5577"/>
                </a:lnTo>
                <a:lnTo>
                  <a:pt x="1500" y="5571"/>
                </a:lnTo>
                <a:lnTo>
                  <a:pt x="1492" y="5566"/>
                </a:lnTo>
                <a:lnTo>
                  <a:pt x="1484" y="5561"/>
                </a:lnTo>
                <a:lnTo>
                  <a:pt x="1474" y="5558"/>
                </a:lnTo>
                <a:lnTo>
                  <a:pt x="1465" y="5556"/>
                </a:lnTo>
                <a:lnTo>
                  <a:pt x="1455" y="5554"/>
                </a:lnTo>
                <a:lnTo>
                  <a:pt x="1455" y="5554"/>
                </a:lnTo>
                <a:lnTo>
                  <a:pt x="1445" y="5554"/>
                </a:lnTo>
                <a:lnTo>
                  <a:pt x="1436" y="5555"/>
                </a:lnTo>
                <a:lnTo>
                  <a:pt x="1425" y="5557"/>
                </a:lnTo>
                <a:lnTo>
                  <a:pt x="1416" y="5560"/>
                </a:lnTo>
                <a:lnTo>
                  <a:pt x="1407" y="5564"/>
                </a:lnTo>
                <a:lnTo>
                  <a:pt x="1399" y="5568"/>
                </a:lnTo>
                <a:lnTo>
                  <a:pt x="1391" y="5574"/>
                </a:lnTo>
                <a:lnTo>
                  <a:pt x="1382" y="5579"/>
                </a:lnTo>
                <a:lnTo>
                  <a:pt x="1375" y="5587"/>
                </a:lnTo>
                <a:lnTo>
                  <a:pt x="1369" y="5593"/>
                </a:lnTo>
                <a:lnTo>
                  <a:pt x="1363" y="5600"/>
                </a:lnTo>
                <a:lnTo>
                  <a:pt x="1358" y="5608"/>
                </a:lnTo>
                <a:lnTo>
                  <a:pt x="1354" y="5616"/>
                </a:lnTo>
                <a:lnTo>
                  <a:pt x="1350" y="5624"/>
                </a:lnTo>
                <a:lnTo>
                  <a:pt x="1348" y="5633"/>
                </a:lnTo>
                <a:lnTo>
                  <a:pt x="1347" y="5641"/>
                </a:lnTo>
                <a:lnTo>
                  <a:pt x="1347" y="5641"/>
                </a:lnTo>
                <a:lnTo>
                  <a:pt x="1346" y="5661"/>
                </a:lnTo>
                <a:lnTo>
                  <a:pt x="1347" y="5680"/>
                </a:lnTo>
                <a:lnTo>
                  <a:pt x="1351" y="5695"/>
                </a:lnTo>
                <a:lnTo>
                  <a:pt x="1356" y="5707"/>
                </a:lnTo>
                <a:lnTo>
                  <a:pt x="1362" y="5717"/>
                </a:lnTo>
                <a:lnTo>
                  <a:pt x="1369" y="5727"/>
                </a:lnTo>
                <a:lnTo>
                  <a:pt x="1377" y="5734"/>
                </a:lnTo>
                <a:lnTo>
                  <a:pt x="1386" y="5739"/>
                </a:lnTo>
                <a:lnTo>
                  <a:pt x="1394" y="5743"/>
                </a:lnTo>
                <a:lnTo>
                  <a:pt x="1402" y="5747"/>
                </a:lnTo>
                <a:lnTo>
                  <a:pt x="1416" y="5752"/>
                </a:lnTo>
                <a:lnTo>
                  <a:pt x="1422" y="5754"/>
                </a:lnTo>
                <a:lnTo>
                  <a:pt x="1425" y="5756"/>
                </a:lnTo>
                <a:lnTo>
                  <a:pt x="1428" y="5759"/>
                </a:lnTo>
                <a:lnTo>
                  <a:pt x="1428" y="5762"/>
                </a:lnTo>
                <a:lnTo>
                  <a:pt x="1428" y="5762"/>
                </a:lnTo>
                <a:lnTo>
                  <a:pt x="1417" y="5798"/>
                </a:lnTo>
                <a:lnTo>
                  <a:pt x="1405" y="5831"/>
                </a:lnTo>
                <a:lnTo>
                  <a:pt x="1392" y="5861"/>
                </a:lnTo>
                <a:lnTo>
                  <a:pt x="1378" y="5887"/>
                </a:lnTo>
                <a:lnTo>
                  <a:pt x="1365" y="5912"/>
                </a:lnTo>
                <a:lnTo>
                  <a:pt x="1352" y="5933"/>
                </a:lnTo>
                <a:lnTo>
                  <a:pt x="1337" y="5953"/>
                </a:lnTo>
                <a:lnTo>
                  <a:pt x="1323" y="5969"/>
                </a:lnTo>
                <a:lnTo>
                  <a:pt x="1323" y="5969"/>
                </a:lnTo>
                <a:lnTo>
                  <a:pt x="1296" y="5953"/>
                </a:lnTo>
                <a:lnTo>
                  <a:pt x="1263" y="5933"/>
                </a:lnTo>
                <a:lnTo>
                  <a:pt x="1263" y="5933"/>
                </a:lnTo>
                <a:lnTo>
                  <a:pt x="1186" y="5891"/>
                </a:lnTo>
                <a:lnTo>
                  <a:pt x="1111" y="5850"/>
                </a:lnTo>
                <a:lnTo>
                  <a:pt x="1038" y="5811"/>
                </a:lnTo>
                <a:lnTo>
                  <a:pt x="1001" y="5793"/>
                </a:lnTo>
                <a:lnTo>
                  <a:pt x="964" y="5776"/>
                </a:lnTo>
                <a:lnTo>
                  <a:pt x="927" y="5758"/>
                </a:lnTo>
                <a:lnTo>
                  <a:pt x="889" y="5743"/>
                </a:lnTo>
                <a:lnTo>
                  <a:pt x="850" y="5727"/>
                </a:lnTo>
                <a:lnTo>
                  <a:pt x="810" y="5712"/>
                </a:lnTo>
                <a:lnTo>
                  <a:pt x="769" y="5698"/>
                </a:lnTo>
                <a:lnTo>
                  <a:pt x="727" y="5686"/>
                </a:lnTo>
                <a:lnTo>
                  <a:pt x="683" y="5673"/>
                </a:lnTo>
                <a:lnTo>
                  <a:pt x="638" y="5662"/>
                </a:lnTo>
                <a:lnTo>
                  <a:pt x="638" y="5662"/>
                </a:lnTo>
                <a:lnTo>
                  <a:pt x="655" y="5629"/>
                </a:lnTo>
                <a:lnTo>
                  <a:pt x="655" y="5629"/>
                </a:lnTo>
                <a:lnTo>
                  <a:pt x="681" y="5585"/>
                </a:lnTo>
                <a:lnTo>
                  <a:pt x="699" y="5553"/>
                </a:lnTo>
                <a:lnTo>
                  <a:pt x="706" y="5542"/>
                </a:lnTo>
                <a:lnTo>
                  <a:pt x="710" y="5532"/>
                </a:lnTo>
                <a:lnTo>
                  <a:pt x="712" y="5526"/>
                </a:lnTo>
                <a:lnTo>
                  <a:pt x="711" y="5524"/>
                </a:lnTo>
                <a:lnTo>
                  <a:pt x="710" y="5522"/>
                </a:lnTo>
                <a:lnTo>
                  <a:pt x="710" y="5522"/>
                </a:lnTo>
                <a:lnTo>
                  <a:pt x="709" y="5522"/>
                </a:lnTo>
                <a:lnTo>
                  <a:pt x="708" y="5522"/>
                </a:lnTo>
                <a:lnTo>
                  <a:pt x="702" y="5523"/>
                </a:lnTo>
                <a:lnTo>
                  <a:pt x="688" y="5532"/>
                </a:lnTo>
                <a:lnTo>
                  <a:pt x="664" y="5548"/>
                </a:lnTo>
                <a:lnTo>
                  <a:pt x="647" y="5557"/>
                </a:lnTo>
                <a:lnTo>
                  <a:pt x="628" y="5568"/>
                </a:lnTo>
                <a:lnTo>
                  <a:pt x="628" y="5568"/>
                </a:lnTo>
                <a:lnTo>
                  <a:pt x="606" y="5579"/>
                </a:lnTo>
                <a:lnTo>
                  <a:pt x="588" y="5589"/>
                </a:lnTo>
                <a:lnTo>
                  <a:pt x="573" y="5595"/>
                </a:lnTo>
                <a:lnTo>
                  <a:pt x="558" y="5600"/>
                </a:lnTo>
                <a:lnTo>
                  <a:pt x="545" y="5604"/>
                </a:lnTo>
                <a:lnTo>
                  <a:pt x="532" y="5607"/>
                </a:lnTo>
                <a:lnTo>
                  <a:pt x="504" y="5611"/>
                </a:lnTo>
                <a:lnTo>
                  <a:pt x="504" y="5611"/>
                </a:lnTo>
                <a:lnTo>
                  <a:pt x="495" y="5611"/>
                </a:lnTo>
                <a:lnTo>
                  <a:pt x="486" y="5610"/>
                </a:lnTo>
                <a:lnTo>
                  <a:pt x="468" y="5607"/>
                </a:lnTo>
                <a:lnTo>
                  <a:pt x="453" y="5603"/>
                </a:lnTo>
                <a:lnTo>
                  <a:pt x="446" y="5603"/>
                </a:lnTo>
                <a:lnTo>
                  <a:pt x="441" y="5604"/>
                </a:lnTo>
                <a:lnTo>
                  <a:pt x="441" y="5604"/>
                </a:lnTo>
                <a:lnTo>
                  <a:pt x="435" y="5607"/>
                </a:lnTo>
                <a:lnTo>
                  <a:pt x="428" y="5613"/>
                </a:lnTo>
                <a:lnTo>
                  <a:pt x="423" y="5620"/>
                </a:lnTo>
                <a:lnTo>
                  <a:pt x="418" y="5629"/>
                </a:lnTo>
                <a:lnTo>
                  <a:pt x="413" y="5642"/>
                </a:lnTo>
                <a:lnTo>
                  <a:pt x="408" y="5656"/>
                </a:lnTo>
                <a:lnTo>
                  <a:pt x="395" y="5693"/>
                </a:lnTo>
                <a:lnTo>
                  <a:pt x="395" y="5693"/>
                </a:lnTo>
                <a:lnTo>
                  <a:pt x="370" y="5764"/>
                </a:lnTo>
                <a:lnTo>
                  <a:pt x="363" y="5783"/>
                </a:lnTo>
                <a:lnTo>
                  <a:pt x="363" y="5783"/>
                </a:lnTo>
                <a:lnTo>
                  <a:pt x="355" y="5801"/>
                </a:lnTo>
                <a:lnTo>
                  <a:pt x="348" y="5815"/>
                </a:lnTo>
                <a:lnTo>
                  <a:pt x="335" y="5834"/>
                </a:lnTo>
                <a:lnTo>
                  <a:pt x="331" y="5842"/>
                </a:lnTo>
                <a:lnTo>
                  <a:pt x="327" y="5849"/>
                </a:lnTo>
                <a:lnTo>
                  <a:pt x="324" y="5857"/>
                </a:lnTo>
                <a:lnTo>
                  <a:pt x="322" y="5867"/>
                </a:lnTo>
                <a:close/>
                <a:moveTo>
                  <a:pt x="390" y="969"/>
                </a:moveTo>
                <a:lnTo>
                  <a:pt x="390" y="969"/>
                </a:lnTo>
                <a:lnTo>
                  <a:pt x="419" y="968"/>
                </a:lnTo>
                <a:lnTo>
                  <a:pt x="451" y="965"/>
                </a:lnTo>
                <a:lnTo>
                  <a:pt x="483" y="962"/>
                </a:lnTo>
                <a:lnTo>
                  <a:pt x="513" y="958"/>
                </a:lnTo>
                <a:lnTo>
                  <a:pt x="563" y="952"/>
                </a:lnTo>
                <a:lnTo>
                  <a:pt x="583" y="948"/>
                </a:lnTo>
                <a:lnTo>
                  <a:pt x="580" y="644"/>
                </a:lnTo>
                <a:lnTo>
                  <a:pt x="580" y="644"/>
                </a:lnTo>
                <a:lnTo>
                  <a:pt x="531" y="637"/>
                </a:lnTo>
                <a:lnTo>
                  <a:pt x="429" y="621"/>
                </a:lnTo>
                <a:lnTo>
                  <a:pt x="429" y="621"/>
                </a:lnTo>
                <a:lnTo>
                  <a:pt x="416" y="620"/>
                </a:lnTo>
                <a:lnTo>
                  <a:pt x="404" y="619"/>
                </a:lnTo>
                <a:lnTo>
                  <a:pt x="392" y="619"/>
                </a:lnTo>
                <a:lnTo>
                  <a:pt x="381" y="620"/>
                </a:lnTo>
                <a:lnTo>
                  <a:pt x="371" y="622"/>
                </a:lnTo>
                <a:lnTo>
                  <a:pt x="362" y="625"/>
                </a:lnTo>
                <a:lnTo>
                  <a:pt x="353" y="628"/>
                </a:lnTo>
                <a:lnTo>
                  <a:pt x="346" y="632"/>
                </a:lnTo>
                <a:lnTo>
                  <a:pt x="338" y="636"/>
                </a:lnTo>
                <a:lnTo>
                  <a:pt x="331" y="641"/>
                </a:lnTo>
                <a:lnTo>
                  <a:pt x="325" y="646"/>
                </a:lnTo>
                <a:lnTo>
                  <a:pt x="320" y="651"/>
                </a:lnTo>
                <a:lnTo>
                  <a:pt x="311" y="664"/>
                </a:lnTo>
                <a:lnTo>
                  <a:pt x="304" y="676"/>
                </a:lnTo>
                <a:lnTo>
                  <a:pt x="298" y="689"/>
                </a:lnTo>
                <a:lnTo>
                  <a:pt x="293" y="702"/>
                </a:lnTo>
                <a:lnTo>
                  <a:pt x="290" y="715"/>
                </a:lnTo>
                <a:lnTo>
                  <a:pt x="288" y="725"/>
                </a:lnTo>
                <a:lnTo>
                  <a:pt x="287" y="742"/>
                </a:lnTo>
                <a:lnTo>
                  <a:pt x="287" y="748"/>
                </a:lnTo>
                <a:lnTo>
                  <a:pt x="291" y="832"/>
                </a:lnTo>
                <a:lnTo>
                  <a:pt x="291" y="832"/>
                </a:lnTo>
                <a:lnTo>
                  <a:pt x="291" y="838"/>
                </a:lnTo>
                <a:lnTo>
                  <a:pt x="293" y="854"/>
                </a:lnTo>
                <a:lnTo>
                  <a:pt x="298" y="875"/>
                </a:lnTo>
                <a:lnTo>
                  <a:pt x="302" y="887"/>
                </a:lnTo>
                <a:lnTo>
                  <a:pt x="306" y="901"/>
                </a:lnTo>
                <a:lnTo>
                  <a:pt x="311" y="913"/>
                </a:lnTo>
                <a:lnTo>
                  <a:pt x="318" y="925"/>
                </a:lnTo>
                <a:lnTo>
                  <a:pt x="326" y="938"/>
                </a:lnTo>
                <a:lnTo>
                  <a:pt x="335" y="948"/>
                </a:lnTo>
                <a:lnTo>
                  <a:pt x="340" y="952"/>
                </a:lnTo>
                <a:lnTo>
                  <a:pt x="347" y="956"/>
                </a:lnTo>
                <a:lnTo>
                  <a:pt x="353" y="960"/>
                </a:lnTo>
                <a:lnTo>
                  <a:pt x="359" y="963"/>
                </a:lnTo>
                <a:lnTo>
                  <a:pt x="366" y="965"/>
                </a:lnTo>
                <a:lnTo>
                  <a:pt x="373" y="967"/>
                </a:lnTo>
                <a:lnTo>
                  <a:pt x="381" y="968"/>
                </a:lnTo>
                <a:lnTo>
                  <a:pt x="390" y="969"/>
                </a:lnTo>
                <a:close/>
                <a:moveTo>
                  <a:pt x="1101" y="856"/>
                </a:moveTo>
                <a:lnTo>
                  <a:pt x="1101" y="856"/>
                </a:lnTo>
                <a:lnTo>
                  <a:pt x="1103" y="835"/>
                </a:lnTo>
                <a:lnTo>
                  <a:pt x="1103" y="813"/>
                </a:lnTo>
                <a:lnTo>
                  <a:pt x="1103" y="770"/>
                </a:lnTo>
                <a:lnTo>
                  <a:pt x="1103" y="770"/>
                </a:lnTo>
                <a:lnTo>
                  <a:pt x="1102" y="609"/>
                </a:lnTo>
                <a:lnTo>
                  <a:pt x="1102" y="609"/>
                </a:lnTo>
                <a:lnTo>
                  <a:pt x="1102" y="599"/>
                </a:lnTo>
                <a:lnTo>
                  <a:pt x="1101" y="589"/>
                </a:lnTo>
                <a:lnTo>
                  <a:pt x="1100" y="578"/>
                </a:lnTo>
                <a:lnTo>
                  <a:pt x="1097" y="565"/>
                </a:lnTo>
                <a:lnTo>
                  <a:pt x="1094" y="555"/>
                </a:lnTo>
                <a:lnTo>
                  <a:pt x="1092" y="551"/>
                </a:lnTo>
                <a:lnTo>
                  <a:pt x="1089" y="548"/>
                </a:lnTo>
                <a:lnTo>
                  <a:pt x="1086" y="546"/>
                </a:lnTo>
                <a:lnTo>
                  <a:pt x="1082" y="545"/>
                </a:lnTo>
                <a:lnTo>
                  <a:pt x="1082" y="545"/>
                </a:lnTo>
                <a:lnTo>
                  <a:pt x="1049" y="545"/>
                </a:lnTo>
                <a:lnTo>
                  <a:pt x="1031" y="546"/>
                </a:lnTo>
                <a:lnTo>
                  <a:pt x="1020" y="547"/>
                </a:lnTo>
                <a:lnTo>
                  <a:pt x="1020" y="547"/>
                </a:lnTo>
                <a:lnTo>
                  <a:pt x="1017" y="552"/>
                </a:lnTo>
                <a:lnTo>
                  <a:pt x="1015" y="559"/>
                </a:lnTo>
                <a:lnTo>
                  <a:pt x="1009" y="578"/>
                </a:lnTo>
                <a:lnTo>
                  <a:pt x="1003" y="597"/>
                </a:lnTo>
                <a:lnTo>
                  <a:pt x="1000" y="604"/>
                </a:lnTo>
                <a:lnTo>
                  <a:pt x="998" y="609"/>
                </a:lnTo>
                <a:lnTo>
                  <a:pt x="978" y="547"/>
                </a:lnTo>
                <a:lnTo>
                  <a:pt x="978" y="547"/>
                </a:lnTo>
                <a:lnTo>
                  <a:pt x="962" y="546"/>
                </a:lnTo>
                <a:lnTo>
                  <a:pt x="939" y="546"/>
                </a:lnTo>
                <a:lnTo>
                  <a:pt x="914" y="547"/>
                </a:lnTo>
                <a:lnTo>
                  <a:pt x="900" y="549"/>
                </a:lnTo>
                <a:lnTo>
                  <a:pt x="900" y="549"/>
                </a:lnTo>
                <a:lnTo>
                  <a:pt x="895" y="561"/>
                </a:lnTo>
                <a:lnTo>
                  <a:pt x="889" y="579"/>
                </a:lnTo>
                <a:lnTo>
                  <a:pt x="882" y="597"/>
                </a:lnTo>
                <a:lnTo>
                  <a:pt x="877" y="609"/>
                </a:lnTo>
                <a:lnTo>
                  <a:pt x="858" y="550"/>
                </a:lnTo>
                <a:lnTo>
                  <a:pt x="858" y="550"/>
                </a:lnTo>
                <a:lnTo>
                  <a:pt x="845" y="549"/>
                </a:lnTo>
                <a:lnTo>
                  <a:pt x="821" y="549"/>
                </a:lnTo>
                <a:lnTo>
                  <a:pt x="797" y="550"/>
                </a:lnTo>
                <a:lnTo>
                  <a:pt x="788" y="551"/>
                </a:lnTo>
                <a:lnTo>
                  <a:pt x="784" y="551"/>
                </a:lnTo>
                <a:lnTo>
                  <a:pt x="784" y="551"/>
                </a:lnTo>
                <a:lnTo>
                  <a:pt x="780" y="556"/>
                </a:lnTo>
                <a:lnTo>
                  <a:pt x="777" y="563"/>
                </a:lnTo>
                <a:lnTo>
                  <a:pt x="770" y="581"/>
                </a:lnTo>
                <a:lnTo>
                  <a:pt x="763" y="598"/>
                </a:lnTo>
                <a:lnTo>
                  <a:pt x="758" y="609"/>
                </a:lnTo>
                <a:lnTo>
                  <a:pt x="739" y="551"/>
                </a:lnTo>
                <a:lnTo>
                  <a:pt x="739" y="551"/>
                </a:lnTo>
                <a:lnTo>
                  <a:pt x="722" y="551"/>
                </a:lnTo>
                <a:lnTo>
                  <a:pt x="691" y="551"/>
                </a:lnTo>
                <a:lnTo>
                  <a:pt x="691" y="551"/>
                </a:lnTo>
                <a:lnTo>
                  <a:pt x="686" y="552"/>
                </a:lnTo>
                <a:lnTo>
                  <a:pt x="682" y="553"/>
                </a:lnTo>
                <a:lnTo>
                  <a:pt x="678" y="555"/>
                </a:lnTo>
                <a:lnTo>
                  <a:pt x="674" y="557"/>
                </a:lnTo>
                <a:lnTo>
                  <a:pt x="668" y="564"/>
                </a:lnTo>
                <a:lnTo>
                  <a:pt x="663" y="573"/>
                </a:lnTo>
                <a:lnTo>
                  <a:pt x="658" y="581"/>
                </a:lnTo>
                <a:lnTo>
                  <a:pt x="655" y="591"/>
                </a:lnTo>
                <a:lnTo>
                  <a:pt x="654" y="600"/>
                </a:lnTo>
                <a:lnTo>
                  <a:pt x="653" y="608"/>
                </a:lnTo>
                <a:lnTo>
                  <a:pt x="653" y="608"/>
                </a:lnTo>
                <a:lnTo>
                  <a:pt x="654" y="686"/>
                </a:lnTo>
                <a:lnTo>
                  <a:pt x="655" y="765"/>
                </a:lnTo>
                <a:lnTo>
                  <a:pt x="655" y="765"/>
                </a:lnTo>
                <a:lnTo>
                  <a:pt x="658" y="869"/>
                </a:lnTo>
                <a:lnTo>
                  <a:pt x="661" y="947"/>
                </a:lnTo>
                <a:lnTo>
                  <a:pt x="661" y="947"/>
                </a:lnTo>
                <a:lnTo>
                  <a:pt x="680" y="946"/>
                </a:lnTo>
                <a:lnTo>
                  <a:pt x="690" y="944"/>
                </a:lnTo>
                <a:lnTo>
                  <a:pt x="698" y="943"/>
                </a:lnTo>
                <a:lnTo>
                  <a:pt x="707" y="941"/>
                </a:lnTo>
                <a:lnTo>
                  <a:pt x="715" y="938"/>
                </a:lnTo>
                <a:lnTo>
                  <a:pt x="721" y="933"/>
                </a:lnTo>
                <a:lnTo>
                  <a:pt x="727" y="929"/>
                </a:lnTo>
                <a:lnTo>
                  <a:pt x="727" y="929"/>
                </a:lnTo>
                <a:lnTo>
                  <a:pt x="732" y="924"/>
                </a:lnTo>
                <a:lnTo>
                  <a:pt x="736" y="919"/>
                </a:lnTo>
                <a:lnTo>
                  <a:pt x="743" y="908"/>
                </a:lnTo>
                <a:lnTo>
                  <a:pt x="748" y="897"/>
                </a:lnTo>
                <a:lnTo>
                  <a:pt x="753" y="886"/>
                </a:lnTo>
                <a:lnTo>
                  <a:pt x="756" y="876"/>
                </a:lnTo>
                <a:lnTo>
                  <a:pt x="757" y="869"/>
                </a:lnTo>
                <a:lnTo>
                  <a:pt x="758" y="862"/>
                </a:lnTo>
                <a:lnTo>
                  <a:pt x="758" y="862"/>
                </a:lnTo>
                <a:lnTo>
                  <a:pt x="758" y="882"/>
                </a:lnTo>
                <a:lnTo>
                  <a:pt x="758" y="912"/>
                </a:lnTo>
                <a:lnTo>
                  <a:pt x="759" y="942"/>
                </a:lnTo>
                <a:lnTo>
                  <a:pt x="761" y="965"/>
                </a:lnTo>
                <a:lnTo>
                  <a:pt x="761" y="965"/>
                </a:lnTo>
                <a:lnTo>
                  <a:pt x="761" y="966"/>
                </a:lnTo>
                <a:lnTo>
                  <a:pt x="763" y="967"/>
                </a:lnTo>
                <a:lnTo>
                  <a:pt x="769" y="969"/>
                </a:lnTo>
                <a:lnTo>
                  <a:pt x="778" y="970"/>
                </a:lnTo>
                <a:lnTo>
                  <a:pt x="789" y="970"/>
                </a:lnTo>
                <a:lnTo>
                  <a:pt x="803" y="968"/>
                </a:lnTo>
                <a:lnTo>
                  <a:pt x="816" y="963"/>
                </a:lnTo>
                <a:lnTo>
                  <a:pt x="822" y="960"/>
                </a:lnTo>
                <a:lnTo>
                  <a:pt x="829" y="957"/>
                </a:lnTo>
                <a:lnTo>
                  <a:pt x="835" y="952"/>
                </a:lnTo>
                <a:lnTo>
                  <a:pt x="842" y="947"/>
                </a:lnTo>
                <a:lnTo>
                  <a:pt x="842" y="947"/>
                </a:lnTo>
                <a:lnTo>
                  <a:pt x="850" y="937"/>
                </a:lnTo>
                <a:lnTo>
                  <a:pt x="857" y="925"/>
                </a:lnTo>
                <a:lnTo>
                  <a:pt x="862" y="913"/>
                </a:lnTo>
                <a:lnTo>
                  <a:pt x="866" y="901"/>
                </a:lnTo>
                <a:lnTo>
                  <a:pt x="873" y="878"/>
                </a:lnTo>
                <a:lnTo>
                  <a:pt x="877" y="862"/>
                </a:lnTo>
                <a:lnTo>
                  <a:pt x="877" y="862"/>
                </a:lnTo>
                <a:lnTo>
                  <a:pt x="877" y="893"/>
                </a:lnTo>
                <a:lnTo>
                  <a:pt x="878" y="926"/>
                </a:lnTo>
                <a:lnTo>
                  <a:pt x="880" y="953"/>
                </a:lnTo>
                <a:lnTo>
                  <a:pt x="881" y="962"/>
                </a:lnTo>
                <a:lnTo>
                  <a:pt x="882" y="964"/>
                </a:lnTo>
                <a:lnTo>
                  <a:pt x="883" y="965"/>
                </a:lnTo>
                <a:lnTo>
                  <a:pt x="883" y="965"/>
                </a:lnTo>
                <a:lnTo>
                  <a:pt x="890" y="966"/>
                </a:lnTo>
                <a:lnTo>
                  <a:pt x="898" y="966"/>
                </a:lnTo>
                <a:lnTo>
                  <a:pt x="908" y="965"/>
                </a:lnTo>
                <a:lnTo>
                  <a:pt x="919" y="963"/>
                </a:lnTo>
                <a:lnTo>
                  <a:pt x="930" y="960"/>
                </a:lnTo>
                <a:lnTo>
                  <a:pt x="942" y="956"/>
                </a:lnTo>
                <a:lnTo>
                  <a:pt x="953" y="950"/>
                </a:lnTo>
                <a:lnTo>
                  <a:pt x="958" y="946"/>
                </a:lnTo>
                <a:lnTo>
                  <a:pt x="962" y="942"/>
                </a:lnTo>
                <a:lnTo>
                  <a:pt x="962" y="942"/>
                </a:lnTo>
                <a:lnTo>
                  <a:pt x="970" y="932"/>
                </a:lnTo>
                <a:lnTo>
                  <a:pt x="978" y="922"/>
                </a:lnTo>
                <a:lnTo>
                  <a:pt x="984" y="912"/>
                </a:lnTo>
                <a:lnTo>
                  <a:pt x="989" y="901"/>
                </a:lnTo>
                <a:lnTo>
                  <a:pt x="992" y="890"/>
                </a:lnTo>
                <a:lnTo>
                  <a:pt x="995" y="879"/>
                </a:lnTo>
                <a:lnTo>
                  <a:pt x="998" y="862"/>
                </a:lnTo>
                <a:lnTo>
                  <a:pt x="998" y="862"/>
                </a:lnTo>
                <a:lnTo>
                  <a:pt x="998" y="891"/>
                </a:lnTo>
                <a:lnTo>
                  <a:pt x="999" y="915"/>
                </a:lnTo>
                <a:lnTo>
                  <a:pt x="1001" y="936"/>
                </a:lnTo>
                <a:lnTo>
                  <a:pt x="1001" y="936"/>
                </a:lnTo>
                <a:lnTo>
                  <a:pt x="1015" y="935"/>
                </a:lnTo>
                <a:lnTo>
                  <a:pt x="1024" y="933"/>
                </a:lnTo>
                <a:lnTo>
                  <a:pt x="1032" y="931"/>
                </a:lnTo>
                <a:lnTo>
                  <a:pt x="1032" y="931"/>
                </a:lnTo>
                <a:lnTo>
                  <a:pt x="1046" y="925"/>
                </a:lnTo>
                <a:lnTo>
                  <a:pt x="1057" y="920"/>
                </a:lnTo>
                <a:lnTo>
                  <a:pt x="1068" y="913"/>
                </a:lnTo>
                <a:lnTo>
                  <a:pt x="1068" y="913"/>
                </a:lnTo>
                <a:lnTo>
                  <a:pt x="1078" y="905"/>
                </a:lnTo>
                <a:lnTo>
                  <a:pt x="1083" y="900"/>
                </a:lnTo>
                <a:lnTo>
                  <a:pt x="1088" y="894"/>
                </a:lnTo>
                <a:lnTo>
                  <a:pt x="1092" y="887"/>
                </a:lnTo>
                <a:lnTo>
                  <a:pt x="1096" y="878"/>
                </a:lnTo>
                <a:lnTo>
                  <a:pt x="1099" y="868"/>
                </a:lnTo>
                <a:lnTo>
                  <a:pt x="1101" y="856"/>
                </a:lnTo>
                <a:close/>
                <a:moveTo>
                  <a:pt x="1266" y="1010"/>
                </a:moveTo>
                <a:lnTo>
                  <a:pt x="1266" y="916"/>
                </a:lnTo>
                <a:lnTo>
                  <a:pt x="1266" y="916"/>
                </a:lnTo>
                <a:lnTo>
                  <a:pt x="1261" y="910"/>
                </a:lnTo>
                <a:lnTo>
                  <a:pt x="1255" y="902"/>
                </a:lnTo>
                <a:lnTo>
                  <a:pt x="1247" y="891"/>
                </a:lnTo>
                <a:lnTo>
                  <a:pt x="1240" y="875"/>
                </a:lnTo>
                <a:lnTo>
                  <a:pt x="1237" y="866"/>
                </a:lnTo>
                <a:lnTo>
                  <a:pt x="1234" y="856"/>
                </a:lnTo>
                <a:lnTo>
                  <a:pt x="1232" y="845"/>
                </a:lnTo>
                <a:lnTo>
                  <a:pt x="1229" y="831"/>
                </a:lnTo>
                <a:lnTo>
                  <a:pt x="1228" y="818"/>
                </a:lnTo>
                <a:lnTo>
                  <a:pt x="1227" y="803"/>
                </a:lnTo>
                <a:lnTo>
                  <a:pt x="1227" y="803"/>
                </a:lnTo>
                <a:lnTo>
                  <a:pt x="1227" y="792"/>
                </a:lnTo>
                <a:lnTo>
                  <a:pt x="1228" y="782"/>
                </a:lnTo>
                <a:lnTo>
                  <a:pt x="1229" y="772"/>
                </a:lnTo>
                <a:lnTo>
                  <a:pt x="1232" y="762"/>
                </a:lnTo>
                <a:lnTo>
                  <a:pt x="1238" y="743"/>
                </a:lnTo>
                <a:lnTo>
                  <a:pt x="1244" y="727"/>
                </a:lnTo>
                <a:lnTo>
                  <a:pt x="1252" y="714"/>
                </a:lnTo>
                <a:lnTo>
                  <a:pt x="1258" y="702"/>
                </a:lnTo>
                <a:lnTo>
                  <a:pt x="1264" y="693"/>
                </a:lnTo>
                <a:lnTo>
                  <a:pt x="1263" y="603"/>
                </a:lnTo>
                <a:lnTo>
                  <a:pt x="1263" y="603"/>
                </a:lnTo>
                <a:lnTo>
                  <a:pt x="1254" y="596"/>
                </a:lnTo>
                <a:lnTo>
                  <a:pt x="1230" y="581"/>
                </a:lnTo>
                <a:lnTo>
                  <a:pt x="1216" y="573"/>
                </a:lnTo>
                <a:lnTo>
                  <a:pt x="1201" y="565"/>
                </a:lnTo>
                <a:lnTo>
                  <a:pt x="1194" y="562"/>
                </a:lnTo>
                <a:lnTo>
                  <a:pt x="1188" y="561"/>
                </a:lnTo>
                <a:lnTo>
                  <a:pt x="1182" y="560"/>
                </a:lnTo>
                <a:lnTo>
                  <a:pt x="1176" y="560"/>
                </a:lnTo>
                <a:lnTo>
                  <a:pt x="1177" y="887"/>
                </a:lnTo>
                <a:lnTo>
                  <a:pt x="1177" y="887"/>
                </a:lnTo>
                <a:lnTo>
                  <a:pt x="1177" y="899"/>
                </a:lnTo>
                <a:lnTo>
                  <a:pt x="1174" y="909"/>
                </a:lnTo>
                <a:lnTo>
                  <a:pt x="1170" y="920"/>
                </a:lnTo>
                <a:lnTo>
                  <a:pt x="1164" y="930"/>
                </a:lnTo>
                <a:lnTo>
                  <a:pt x="1156" y="942"/>
                </a:lnTo>
                <a:lnTo>
                  <a:pt x="1148" y="952"/>
                </a:lnTo>
                <a:lnTo>
                  <a:pt x="1138" y="962"/>
                </a:lnTo>
                <a:lnTo>
                  <a:pt x="1128" y="971"/>
                </a:lnTo>
                <a:lnTo>
                  <a:pt x="1117" y="981"/>
                </a:lnTo>
                <a:lnTo>
                  <a:pt x="1104" y="989"/>
                </a:lnTo>
                <a:lnTo>
                  <a:pt x="1092" y="997"/>
                </a:lnTo>
                <a:lnTo>
                  <a:pt x="1079" y="1003"/>
                </a:lnTo>
                <a:lnTo>
                  <a:pt x="1065" y="1009"/>
                </a:lnTo>
                <a:lnTo>
                  <a:pt x="1052" y="1014"/>
                </a:lnTo>
                <a:lnTo>
                  <a:pt x="1039" y="1018"/>
                </a:lnTo>
                <a:lnTo>
                  <a:pt x="1026" y="1021"/>
                </a:lnTo>
                <a:lnTo>
                  <a:pt x="1026" y="1021"/>
                </a:lnTo>
                <a:lnTo>
                  <a:pt x="996" y="1027"/>
                </a:lnTo>
                <a:lnTo>
                  <a:pt x="967" y="1031"/>
                </a:lnTo>
                <a:lnTo>
                  <a:pt x="939" y="1034"/>
                </a:lnTo>
                <a:lnTo>
                  <a:pt x="911" y="1037"/>
                </a:lnTo>
                <a:lnTo>
                  <a:pt x="858" y="1040"/>
                </a:lnTo>
                <a:lnTo>
                  <a:pt x="810" y="1042"/>
                </a:lnTo>
                <a:lnTo>
                  <a:pt x="770" y="1042"/>
                </a:lnTo>
                <a:lnTo>
                  <a:pt x="739" y="1042"/>
                </a:lnTo>
                <a:lnTo>
                  <a:pt x="712" y="1041"/>
                </a:lnTo>
                <a:lnTo>
                  <a:pt x="712" y="1041"/>
                </a:lnTo>
                <a:lnTo>
                  <a:pt x="713" y="1048"/>
                </a:lnTo>
                <a:lnTo>
                  <a:pt x="716" y="1068"/>
                </a:lnTo>
                <a:lnTo>
                  <a:pt x="722" y="1095"/>
                </a:lnTo>
                <a:lnTo>
                  <a:pt x="725" y="1110"/>
                </a:lnTo>
                <a:lnTo>
                  <a:pt x="730" y="1126"/>
                </a:lnTo>
                <a:lnTo>
                  <a:pt x="730" y="1126"/>
                </a:lnTo>
                <a:lnTo>
                  <a:pt x="735" y="1136"/>
                </a:lnTo>
                <a:lnTo>
                  <a:pt x="741" y="1146"/>
                </a:lnTo>
                <a:lnTo>
                  <a:pt x="748" y="1155"/>
                </a:lnTo>
                <a:lnTo>
                  <a:pt x="756" y="1164"/>
                </a:lnTo>
                <a:lnTo>
                  <a:pt x="769" y="1176"/>
                </a:lnTo>
                <a:lnTo>
                  <a:pt x="774" y="1180"/>
                </a:lnTo>
                <a:lnTo>
                  <a:pt x="1163" y="1180"/>
                </a:lnTo>
                <a:lnTo>
                  <a:pt x="1266" y="1010"/>
                </a:lnTo>
                <a:close/>
                <a:moveTo>
                  <a:pt x="773" y="1398"/>
                </a:moveTo>
                <a:lnTo>
                  <a:pt x="1164" y="1398"/>
                </a:lnTo>
                <a:lnTo>
                  <a:pt x="1164" y="1398"/>
                </a:lnTo>
                <a:lnTo>
                  <a:pt x="1175" y="1365"/>
                </a:lnTo>
                <a:lnTo>
                  <a:pt x="1183" y="1339"/>
                </a:lnTo>
                <a:lnTo>
                  <a:pt x="1186" y="1328"/>
                </a:lnTo>
                <a:lnTo>
                  <a:pt x="1188" y="1319"/>
                </a:lnTo>
                <a:lnTo>
                  <a:pt x="1170" y="1256"/>
                </a:lnTo>
                <a:lnTo>
                  <a:pt x="775" y="1256"/>
                </a:lnTo>
                <a:lnTo>
                  <a:pt x="753" y="1321"/>
                </a:lnTo>
                <a:lnTo>
                  <a:pt x="773" y="1398"/>
                </a:lnTo>
                <a:close/>
                <a:moveTo>
                  <a:pt x="1164" y="1471"/>
                </a:moveTo>
                <a:lnTo>
                  <a:pt x="782" y="1471"/>
                </a:lnTo>
                <a:lnTo>
                  <a:pt x="780" y="1976"/>
                </a:lnTo>
                <a:lnTo>
                  <a:pt x="1111" y="1985"/>
                </a:lnTo>
                <a:lnTo>
                  <a:pt x="1216" y="1902"/>
                </a:lnTo>
                <a:lnTo>
                  <a:pt x="1164" y="1471"/>
                </a:lnTo>
                <a:close/>
                <a:moveTo>
                  <a:pt x="1343" y="2103"/>
                </a:moveTo>
                <a:lnTo>
                  <a:pt x="1343" y="2103"/>
                </a:lnTo>
                <a:lnTo>
                  <a:pt x="1309" y="2079"/>
                </a:lnTo>
                <a:lnTo>
                  <a:pt x="1284" y="2061"/>
                </a:lnTo>
                <a:lnTo>
                  <a:pt x="1276" y="2054"/>
                </a:lnTo>
                <a:lnTo>
                  <a:pt x="1271" y="2049"/>
                </a:lnTo>
                <a:lnTo>
                  <a:pt x="1271" y="2049"/>
                </a:lnTo>
                <a:lnTo>
                  <a:pt x="1269" y="2043"/>
                </a:lnTo>
                <a:lnTo>
                  <a:pt x="1267" y="2033"/>
                </a:lnTo>
                <a:lnTo>
                  <a:pt x="1263" y="2004"/>
                </a:lnTo>
                <a:lnTo>
                  <a:pt x="1260" y="1964"/>
                </a:lnTo>
                <a:lnTo>
                  <a:pt x="1138" y="2062"/>
                </a:lnTo>
                <a:lnTo>
                  <a:pt x="765" y="2061"/>
                </a:lnTo>
                <a:lnTo>
                  <a:pt x="765" y="2061"/>
                </a:lnTo>
                <a:lnTo>
                  <a:pt x="765" y="2062"/>
                </a:lnTo>
                <a:lnTo>
                  <a:pt x="764" y="2064"/>
                </a:lnTo>
                <a:lnTo>
                  <a:pt x="762" y="2072"/>
                </a:lnTo>
                <a:lnTo>
                  <a:pt x="760" y="2103"/>
                </a:lnTo>
                <a:lnTo>
                  <a:pt x="759" y="2147"/>
                </a:lnTo>
                <a:lnTo>
                  <a:pt x="758" y="2197"/>
                </a:lnTo>
                <a:lnTo>
                  <a:pt x="757" y="2291"/>
                </a:lnTo>
                <a:lnTo>
                  <a:pt x="757" y="2333"/>
                </a:lnTo>
                <a:lnTo>
                  <a:pt x="757" y="2333"/>
                </a:lnTo>
                <a:lnTo>
                  <a:pt x="786" y="2359"/>
                </a:lnTo>
                <a:lnTo>
                  <a:pt x="852" y="2412"/>
                </a:lnTo>
                <a:lnTo>
                  <a:pt x="888" y="2441"/>
                </a:lnTo>
                <a:lnTo>
                  <a:pt x="919" y="2465"/>
                </a:lnTo>
                <a:lnTo>
                  <a:pt x="943" y="2481"/>
                </a:lnTo>
                <a:lnTo>
                  <a:pt x="950" y="2486"/>
                </a:lnTo>
                <a:lnTo>
                  <a:pt x="952" y="2487"/>
                </a:lnTo>
                <a:lnTo>
                  <a:pt x="954" y="2487"/>
                </a:lnTo>
                <a:lnTo>
                  <a:pt x="1205" y="2170"/>
                </a:lnTo>
                <a:lnTo>
                  <a:pt x="1343" y="2103"/>
                </a:lnTo>
                <a:close/>
                <a:moveTo>
                  <a:pt x="1259" y="2225"/>
                </a:moveTo>
                <a:lnTo>
                  <a:pt x="1033" y="2515"/>
                </a:lnTo>
                <a:lnTo>
                  <a:pt x="1402" y="2669"/>
                </a:lnTo>
                <a:lnTo>
                  <a:pt x="1402" y="2669"/>
                </a:lnTo>
                <a:lnTo>
                  <a:pt x="1442" y="2647"/>
                </a:lnTo>
                <a:lnTo>
                  <a:pt x="1485" y="2624"/>
                </a:lnTo>
                <a:lnTo>
                  <a:pt x="1528" y="2599"/>
                </a:lnTo>
                <a:lnTo>
                  <a:pt x="1571" y="2573"/>
                </a:lnTo>
                <a:lnTo>
                  <a:pt x="1656" y="2521"/>
                </a:lnTo>
                <a:lnTo>
                  <a:pt x="1736" y="2471"/>
                </a:lnTo>
                <a:lnTo>
                  <a:pt x="1806" y="2426"/>
                </a:lnTo>
                <a:lnTo>
                  <a:pt x="1862" y="2389"/>
                </a:lnTo>
                <a:lnTo>
                  <a:pt x="1912" y="2356"/>
                </a:lnTo>
                <a:lnTo>
                  <a:pt x="1392" y="2160"/>
                </a:lnTo>
                <a:lnTo>
                  <a:pt x="1259" y="2225"/>
                </a:lnTo>
                <a:close/>
                <a:moveTo>
                  <a:pt x="1462" y="703"/>
                </a:moveTo>
                <a:lnTo>
                  <a:pt x="1462" y="703"/>
                </a:lnTo>
                <a:lnTo>
                  <a:pt x="1461" y="553"/>
                </a:lnTo>
                <a:lnTo>
                  <a:pt x="1461" y="448"/>
                </a:lnTo>
                <a:lnTo>
                  <a:pt x="1462" y="411"/>
                </a:lnTo>
                <a:lnTo>
                  <a:pt x="1463" y="399"/>
                </a:lnTo>
                <a:lnTo>
                  <a:pt x="1464" y="394"/>
                </a:lnTo>
                <a:lnTo>
                  <a:pt x="1464" y="394"/>
                </a:lnTo>
                <a:lnTo>
                  <a:pt x="1469" y="386"/>
                </a:lnTo>
                <a:lnTo>
                  <a:pt x="1474" y="379"/>
                </a:lnTo>
                <a:lnTo>
                  <a:pt x="1480" y="368"/>
                </a:lnTo>
                <a:lnTo>
                  <a:pt x="1480" y="368"/>
                </a:lnTo>
                <a:lnTo>
                  <a:pt x="1483" y="360"/>
                </a:lnTo>
                <a:lnTo>
                  <a:pt x="1484" y="351"/>
                </a:lnTo>
                <a:lnTo>
                  <a:pt x="1484" y="343"/>
                </a:lnTo>
                <a:lnTo>
                  <a:pt x="1483" y="333"/>
                </a:lnTo>
                <a:lnTo>
                  <a:pt x="1481" y="320"/>
                </a:lnTo>
                <a:lnTo>
                  <a:pt x="1480" y="315"/>
                </a:lnTo>
                <a:lnTo>
                  <a:pt x="1298" y="315"/>
                </a:lnTo>
                <a:lnTo>
                  <a:pt x="1298" y="315"/>
                </a:lnTo>
                <a:lnTo>
                  <a:pt x="1297" y="319"/>
                </a:lnTo>
                <a:lnTo>
                  <a:pt x="1296" y="323"/>
                </a:lnTo>
                <a:lnTo>
                  <a:pt x="1296" y="335"/>
                </a:lnTo>
                <a:lnTo>
                  <a:pt x="1297" y="348"/>
                </a:lnTo>
                <a:lnTo>
                  <a:pt x="1299" y="358"/>
                </a:lnTo>
                <a:lnTo>
                  <a:pt x="1299" y="358"/>
                </a:lnTo>
                <a:lnTo>
                  <a:pt x="1303" y="369"/>
                </a:lnTo>
                <a:lnTo>
                  <a:pt x="1309" y="380"/>
                </a:lnTo>
                <a:lnTo>
                  <a:pt x="1316" y="391"/>
                </a:lnTo>
                <a:lnTo>
                  <a:pt x="1320" y="395"/>
                </a:lnTo>
                <a:lnTo>
                  <a:pt x="1325" y="398"/>
                </a:lnTo>
                <a:lnTo>
                  <a:pt x="1325" y="703"/>
                </a:lnTo>
                <a:lnTo>
                  <a:pt x="1325" y="703"/>
                </a:lnTo>
                <a:lnTo>
                  <a:pt x="1321" y="710"/>
                </a:lnTo>
                <a:lnTo>
                  <a:pt x="1316" y="717"/>
                </a:lnTo>
                <a:lnTo>
                  <a:pt x="1311" y="727"/>
                </a:lnTo>
                <a:lnTo>
                  <a:pt x="1306" y="741"/>
                </a:lnTo>
                <a:lnTo>
                  <a:pt x="1301" y="758"/>
                </a:lnTo>
                <a:lnTo>
                  <a:pt x="1296" y="778"/>
                </a:lnTo>
                <a:lnTo>
                  <a:pt x="1292" y="802"/>
                </a:lnTo>
                <a:lnTo>
                  <a:pt x="1292" y="802"/>
                </a:lnTo>
                <a:lnTo>
                  <a:pt x="1292" y="813"/>
                </a:lnTo>
                <a:lnTo>
                  <a:pt x="1292" y="823"/>
                </a:lnTo>
                <a:lnTo>
                  <a:pt x="1293" y="833"/>
                </a:lnTo>
                <a:lnTo>
                  <a:pt x="1296" y="844"/>
                </a:lnTo>
                <a:lnTo>
                  <a:pt x="1302" y="861"/>
                </a:lnTo>
                <a:lnTo>
                  <a:pt x="1308" y="877"/>
                </a:lnTo>
                <a:lnTo>
                  <a:pt x="1315" y="891"/>
                </a:lnTo>
                <a:lnTo>
                  <a:pt x="1321" y="900"/>
                </a:lnTo>
                <a:lnTo>
                  <a:pt x="1327" y="909"/>
                </a:lnTo>
                <a:lnTo>
                  <a:pt x="1323" y="1165"/>
                </a:lnTo>
                <a:lnTo>
                  <a:pt x="1323" y="1165"/>
                </a:lnTo>
                <a:lnTo>
                  <a:pt x="1321" y="1167"/>
                </a:lnTo>
                <a:lnTo>
                  <a:pt x="1315" y="1174"/>
                </a:lnTo>
                <a:lnTo>
                  <a:pt x="1312" y="1179"/>
                </a:lnTo>
                <a:lnTo>
                  <a:pt x="1310" y="1186"/>
                </a:lnTo>
                <a:lnTo>
                  <a:pt x="1307" y="1194"/>
                </a:lnTo>
                <a:lnTo>
                  <a:pt x="1306" y="1203"/>
                </a:lnTo>
                <a:lnTo>
                  <a:pt x="1306" y="1203"/>
                </a:lnTo>
                <a:lnTo>
                  <a:pt x="1306" y="1213"/>
                </a:lnTo>
                <a:lnTo>
                  <a:pt x="1306" y="1221"/>
                </a:lnTo>
                <a:lnTo>
                  <a:pt x="1307" y="1234"/>
                </a:lnTo>
                <a:lnTo>
                  <a:pt x="1309" y="1241"/>
                </a:lnTo>
                <a:lnTo>
                  <a:pt x="1310" y="1243"/>
                </a:lnTo>
                <a:lnTo>
                  <a:pt x="1480" y="1243"/>
                </a:lnTo>
                <a:lnTo>
                  <a:pt x="1480" y="1243"/>
                </a:lnTo>
                <a:lnTo>
                  <a:pt x="1482" y="1235"/>
                </a:lnTo>
                <a:lnTo>
                  <a:pt x="1483" y="1221"/>
                </a:lnTo>
                <a:lnTo>
                  <a:pt x="1482" y="1204"/>
                </a:lnTo>
                <a:lnTo>
                  <a:pt x="1482" y="1196"/>
                </a:lnTo>
                <a:lnTo>
                  <a:pt x="1480" y="1188"/>
                </a:lnTo>
                <a:lnTo>
                  <a:pt x="1480" y="1188"/>
                </a:lnTo>
                <a:lnTo>
                  <a:pt x="1477" y="1179"/>
                </a:lnTo>
                <a:lnTo>
                  <a:pt x="1471" y="1172"/>
                </a:lnTo>
                <a:lnTo>
                  <a:pt x="1466" y="1166"/>
                </a:lnTo>
                <a:lnTo>
                  <a:pt x="1461" y="1161"/>
                </a:lnTo>
                <a:lnTo>
                  <a:pt x="1460" y="909"/>
                </a:lnTo>
                <a:lnTo>
                  <a:pt x="1460" y="909"/>
                </a:lnTo>
                <a:lnTo>
                  <a:pt x="1473" y="888"/>
                </a:lnTo>
                <a:lnTo>
                  <a:pt x="1482" y="876"/>
                </a:lnTo>
                <a:lnTo>
                  <a:pt x="1488" y="865"/>
                </a:lnTo>
                <a:lnTo>
                  <a:pt x="1494" y="852"/>
                </a:lnTo>
                <a:lnTo>
                  <a:pt x="1499" y="837"/>
                </a:lnTo>
                <a:lnTo>
                  <a:pt x="1502" y="822"/>
                </a:lnTo>
                <a:lnTo>
                  <a:pt x="1503" y="814"/>
                </a:lnTo>
                <a:lnTo>
                  <a:pt x="1503" y="806"/>
                </a:lnTo>
                <a:lnTo>
                  <a:pt x="1503" y="806"/>
                </a:lnTo>
                <a:lnTo>
                  <a:pt x="1503" y="797"/>
                </a:lnTo>
                <a:lnTo>
                  <a:pt x="1502" y="788"/>
                </a:lnTo>
                <a:lnTo>
                  <a:pt x="1498" y="773"/>
                </a:lnTo>
                <a:lnTo>
                  <a:pt x="1493" y="758"/>
                </a:lnTo>
                <a:lnTo>
                  <a:pt x="1487" y="743"/>
                </a:lnTo>
                <a:lnTo>
                  <a:pt x="1481" y="731"/>
                </a:lnTo>
                <a:lnTo>
                  <a:pt x="1473" y="720"/>
                </a:lnTo>
                <a:lnTo>
                  <a:pt x="1462" y="703"/>
                </a:lnTo>
                <a:close/>
                <a:moveTo>
                  <a:pt x="1843" y="953"/>
                </a:moveTo>
                <a:lnTo>
                  <a:pt x="2130" y="663"/>
                </a:lnTo>
                <a:lnTo>
                  <a:pt x="2130" y="663"/>
                </a:lnTo>
                <a:lnTo>
                  <a:pt x="1946" y="660"/>
                </a:lnTo>
                <a:lnTo>
                  <a:pt x="1837" y="659"/>
                </a:lnTo>
                <a:lnTo>
                  <a:pt x="1715" y="658"/>
                </a:lnTo>
                <a:lnTo>
                  <a:pt x="1715" y="658"/>
                </a:lnTo>
                <a:lnTo>
                  <a:pt x="1708" y="657"/>
                </a:lnTo>
                <a:lnTo>
                  <a:pt x="1698" y="655"/>
                </a:lnTo>
                <a:lnTo>
                  <a:pt x="1687" y="651"/>
                </a:lnTo>
                <a:lnTo>
                  <a:pt x="1676" y="646"/>
                </a:lnTo>
                <a:lnTo>
                  <a:pt x="1650" y="634"/>
                </a:lnTo>
                <a:lnTo>
                  <a:pt x="1623" y="620"/>
                </a:lnTo>
                <a:lnTo>
                  <a:pt x="1597" y="606"/>
                </a:lnTo>
                <a:lnTo>
                  <a:pt x="1576" y="596"/>
                </a:lnTo>
                <a:lnTo>
                  <a:pt x="1566" y="592"/>
                </a:lnTo>
                <a:lnTo>
                  <a:pt x="1558" y="591"/>
                </a:lnTo>
                <a:lnTo>
                  <a:pt x="1553" y="590"/>
                </a:lnTo>
                <a:lnTo>
                  <a:pt x="1551" y="591"/>
                </a:lnTo>
                <a:lnTo>
                  <a:pt x="1550" y="592"/>
                </a:lnTo>
                <a:lnTo>
                  <a:pt x="1550" y="592"/>
                </a:lnTo>
                <a:lnTo>
                  <a:pt x="1535" y="628"/>
                </a:lnTo>
                <a:lnTo>
                  <a:pt x="1514" y="681"/>
                </a:lnTo>
                <a:lnTo>
                  <a:pt x="1514" y="681"/>
                </a:lnTo>
                <a:lnTo>
                  <a:pt x="1523" y="691"/>
                </a:lnTo>
                <a:lnTo>
                  <a:pt x="1532" y="703"/>
                </a:lnTo>
                <a:lnTo>
                  <a:pt x="1542" y="719"/>
                </a:lnTo>
                <a:lnTo>
                  <a:pt x="1551" y="737"/>
                </a:lnTo>
                <a:lnTo>
                  <a:pt x="1556" y="747"/>
                </a:lnTo>
                <a:lnTo>
                  <a:pt x="1560" y="759"/>
                </a:lnTo>
                <a:lnTo>
                  <a:pt x="1563" y="770"/>
                </a:lnTo>
                <a:lnTo>
                  <a:pt x="1565" y="781"/>
                </a:lnTo>
                <a:lnTo>
                  <a:pt x="1568" y="793"/>
                </a:lnTo>
                <a:lnTo>
                  <a:pt x="1568" y="806"/>
                </a:lnTo>
                <a:lnTo>
                  <a:pt x="1568" y="806"/>
                </a:lnTo>
                <a:lnTo>
                  <a:pt x="1566" y="825"/>
                </a:lnTo>
                <a:lnTo>
                  <a:pt x="1564" y="838"/>
                </a:lnTo>
                <a:lnTo>
                  <a:pt x="1561" y="855"/>
                </a:lnTo>
                <a:lnTo>
                  <a:pt x="1558" y="864"/>
                </a:lnTo>
                <a:lnTo>
                  <a:pt x="1555" y="873"/>
                </a:lnTo>
                <a:lnTo>
                  <a:pt x="1551" y="883"/>
                </a:lnTo>
                <a:lnTo>
                  <a:pt x="1545" y="894"/>
                </a:lnTo>
                <a:lnTo>
                  <a:pt x="1539" y="903"/>
                </a:lnTo>
                <a:lnTo>
                  <a:pt x="1532" y="914"/>
                </a:lnTo>
                <a:lnTo>
                  <a:pt x="1524" y="924"/>
                </a:lnTo>
                <a:lnTo>
                  <a:pt x="1513" y="935"/>
                </a:lnTo>
                <a:lnTo>
                  <a:pt x="1513" y="935"/>
                </a:lnTo>
                <a:lnTo>
                  <a:pt x="1536" y="981"/>
                </a:lnTo>
                <a:lnTo>
                  <a:pt x="1553" y="1013"/>
                </a:lnTo>
                <a:lnTo>
                  <a:pt x="1560" y="1025"/>
                </a:lnTo>
                <a:lnTo>
                  <a:pt x="1565" y="1032"/>
                </a:lnTo>
                <a:lnTo>
                  <a:pt x="1565" y="1032"/>
                </a:lnTo>
                <a:lnTo>
                  <a:pt x="1580" y="1023"/>
                </a:lnTo>
                <a:lnTo>
                  <a:pt x="1597" y="1013"/>
                </a:lnTo>
                <a:lnTo>
                  <a:pt x="1618" y="1002"/>
                </a:lnTo>
                <a:lnTo>
                  <a:pt x="1642" y="990"/>
                </a:lnTo>
                <a:lnTo>
                  <a:pt x="1669" y="978"/>
                </a:lnTo>
                <a:lnTo>
                  <a:pt x="1696" y="968"/>
                </a:lnTo>
                <a:lnTo>
                  <a:pt x="1711" y="964"/>
                </a:lnTo>
                <a:lnTo>
                  <a:pt x="1724" y="961"/>
                </a:lnTo>
                <a:lnTo>
                  <a:pt x="1724" y="961"/>
                </a:lnTo>
                <a:lnTo>
                  <a:pt x="1737" y="959"/>
                </a:lnTo>
                <a:lnTo>
                  <a:pt x="1761" y="957"/>
                </a:lnTo>
                <a:lnTo>
                  <a:pt x="1843" y="953"/>
                </a:lnTo>
                <a:close/>
                <a:moveTo>
                  <a:pt x="3120" y="962"/>
                </a:moveTo>
                <a:lnTo>
                  <a:pt x="3486" y="484"/>
                </a:lnTo>
                <a:lnTo>
                  <a:pt x="3486" y="484"/>
                </a:lnTo>
                <a:lnTo>
                  <a:pt x="3479" y="482"/>
                </a:lnTo>
                <a:lnTo>
                  <a:pt x="3469" y="481"/>
                </a:lnTo>
                <a:lnTo>
                  <a:pt x="3458" y="480"/>
                </a:lnTo>
                <a:lnTo>
                  <a:pt x="3445" y="480"/>
                </a:lnTo>
                <a:lnTo>
                  <a:pt x="3428" y="483"/>
                </a:lnTo>
                <a:lnTo>
                  <a:pt x="3420" y="485"/>
                </a:lnTo>
                <a:lnTo>
                  <a:pt x="3412" y="488"/>
                </a:lnTo>
                <a:lnTo>
                  <a:pt x="3403" y="492"/>
                </a:lnTo>
                <a:lnTo>
                  <a:pt x="3394" y="496"/>
                </a:lnTo>
                <a:lnTo>
                  <a:pt x="3394" y="496"/>
                </a:lnTo>
                <a:lnTo>
                  <a:pt x="3385" y="502"/>
                </a:lnTo>
                <a:lnTo>
                  <a:pt x="3376" y="508"/>
                </a:lnTo>
                <a:lnTo>
                  <a:pt x="3369" y="515"/>
                </a:lnTo>
                <a:lnTo>
                  <a:pt x="3363" y="523"/>
                </a:lnTo>
                <a:lnTo>
                  <a:pt x="3358" y="532"/>
                </a:lnTo>
                <a:lnTo>
                  <a:pt x="3353" y="540"/>
                </a:lnTo>
                <a:lnTo>
                  <a:pt x="3349" y="548"/>
                </a:lnTo>
                <a:lnTo>
                  <a:pt x="3346" y="557"/>
                </a:lnTo>
                <a:lnTo>
                  <a:pt x="3341" y="574"/>
                </a:lnTo>
                <a:lnTo>
                  <a:pt x="3337" y="589"/>
                </a:lnTo>
                <a:lnTo>
                  <a:pt x="3336" y="600"/>
                </a:lnTo>
                <a:lnTo>
                  <a:pt x="3337" y="605"/>
                </a:lnTo>
                <a:lnTo>
                  <a:pt x="3338" y="608"/>
                </a:lnTo>
                <a:lnTo>
                  <a:pt x="3338" y="608"/>
                </a:lnTo>
                <a:lnTo>
                  <a:pt x="3334" y="599"/>
                </a:lnTo>
                <a:lnTo>
                  <a:pt x="3330" y="592"/>
                </a:lnTo>
                <a:lnTo>
                  <a:pt x="3325" y="585"/>
                </a:lnTo>
                <a:lnTo>
                  <a:pt x="3320" y="579"/>
                </a:lnTo>
                <a:lnTo>
                  <a:pt x="3315" y="574"/>
                </a:lnTo>
                <a:lnTo>
                  <a:pt x="3310" y="568"/>
                </a:lnTo>
                <a:lnTo>
                  <a:pt x="3304" y="564"/>
                </a:lnTo>
                <a:lnTo>
                  <a:pt x="3299" y="561"/>
                </a:lnTo>
                <a:lnTo>
                  <a:pt x="3286" y="556"/>
                </a:lnTo>
                <a:lnTo>
                  <a:pt x="3273" y="554"/>
                </a:lnTo>
                <a:lnTo>
                  <a:pt x="3261" y="553"/>
                </a:lnTo>
                <a:lnTo>
                  <a:pt x="3249" y="554"/>
                </a:lnTo>
                <a:lnTo>
                  <a:pt x="3236" y="556"/>
                </a:lnTo>
                <a:lnTo>
                  <a:pt x="3225" y="558"/>
                </a:lnTo>
                <a:lnTo>
                  <a:pt x="3214" y="562"/>
                </a:lnTo>
                <a:lnTo>
                  <a:pt x="3206" y="565"/>
                </a:lnTo>
                <a:lnTo>
                  <a:pt x="3192" y="572"/>
                </a:lnTo>
                <a:lnTo>
                  <a:pt x="3187" y="574"/>
                </a:lnTo>
                <a:lnTo>
                  <a:pt x="3187" y="574"/>
                </a:lnTo>
                <a:lnTo>
                  <a:pt x="3199" y="594"/>
                </a:lnTo>
                <a:lnTo>
                  <a:pt x="3209" y="613"/>
                </a:lnTo>
                <a:lnTo>
                  <a:pt x="3215" y="632"/>
                </a:lnTo>
                <a:lnTo>
                  <a:pt x="3219" y="647"/>
                </a:lnTo>
                <a:lnTo>
                  <a:pt x="3220" y="663"/>
                </a:lnTo>
                <a:lnTo>
                  <a:pt x="3220" y="675"/>
                </a:lnTo>
                <a:lnTo>
                  <a:pt x="3218" y="687"/>
                </a:lnTo>
                <a:lnTo>
                  <a:pt x="3214" y="696"/>
                </a:lnTo>
                <a:lnTo>
                  <a:pt x="3209" y="705"/>
                </a:lnTo>
                <a:lnTo>
                  <a:pt x="3203" y="712"/>
                </a:lnTo>
                <a:lnTo>
                  <a:pt x="3194" y="718"/>
                </a:lnTo>
                <a:lnTo>
                  <a:pt x="3186" y="722"/>
                </a:lnTo>
                <a:lnTo>
                  <a:pt x="3178" y="724"/>
                </a:lnTo>
                <a:lnTo>
                  <a:pt x="3169" y="725"/>
                </a:lnTo>
                <a:lnTo>
                  <a:pt x="3160" y="725"/>
                </a:lnTo>
                <a:lnTo>
                  <a:pt x="3150" y="724"/>
                </a:lnTo>
                <a:lnTo>
                  <a:pt x="3150" y="724"/>
                </a:lnTo>
                <a:lnTo>
                  <a:pt x="3138" y="720"/>
                </a:lnTo>
                <a:lnTo>
                  <a:pt x="3129" y="715"/>
                </a:lnTo>
                <a:lnTo>
                  <a:pt x="3121" y="709"/>
                </a:lnTo>
                <a:lnTo>
                  <a:pt x="3114" y="702"/>
                </a:lnTo>
                <a:lnTo>
                  <a:pt x="3108" y="695"/>
                </a:lnTo>
                <a:lnTo>
                  <a:pt x="3104" y="688"/>
                </a:lnTo>
                <a:lnTo>
                  <a:pt x="3100" y="680"/>
                </a:lnTo>
                <a:lnTo>
                  <a:pt x="3098" y="673"/>
                </a:lnTo>
                <a:lnTo>
                  <a:pt x="3095" y="658"/>
                </a:lnTo>
                <a:lnTo>
                  <a:pt x="3095" y="646"/>
                </a:lnTo>
                <a:lnTo>
                  <a:pt x="3095" y="638"/>
                </a:lnTo>
                <a:lnTo>
                  <a:pt x="3095" y="635"/>
                </a:lnTo>
                <a:lnTo>
                  <a:pt x="3095" y="635"/>
                </a:lnTo>
                <a:lnTo>
                  <a:pt x="3092" y="637"/>
                </a:lnTo>
                <a:lnTo>
                  <a:pt x="3084" y="643"/>
                </a:lnTo>
                <a:lnTo>
                  <a:pt x="3072" y="650"/>
                </a:lnTo>
                <a:lnTo>
                  <a:pt x="3064" y="653"/>
                </a:lnTo>
                <a:lnTo>
                  <a:pt x="3056" y="656"/>
                </a:lnTo>
                <a:lnTo>
                  <a:pt x="3047" y="658"/>
                </a:lnTo>
                <a:lnTo>
                  <a:pt x="3038" y="659"/>
                </a:lnTo>
                <a:lnTo>
                  <a:pt x="3028" y="659"/>
                </a:lnTo>
                <a:lnTo>
                  <a:pt x="3018" y="658"/>
                </a:lnTo>
                <a:lnTo>
                  <a:pt x="3008" y="655"/>
                </a:lnTo>
                <a:lnTo>
                  <a:pt x="2999" y="650"/>
                </a:lnTo>
                <a:lnTo>
                  <a:pt x="2989" y="643"/>
                </a:lnTo>
                <a:lnTo>
                  <a:pt x="2980" y="634"/>
                </a:lnTo>
                <a:lnTo>
                  <a:pt x="2980" y="634"/>
                </a:lnTo>
                <a:lnTo>
                  <a:pt x="2973" y="625"/>
                </a:lnTo>
                <a:lnTo>
                  <a:pt x="2969" y="616"/>
                </a:lnTo>
                <a:lnTo>
                  <a:pt x="2967" y="607"/>
                </a:lnTo>
                <a:lnTo>
                  <a:pt x="2968" y="598"/>
                </a:lnTo>
                <a:lnTo>
                  <a:pt x="2969" y="589"/>
                </a:lnTo>
                <a:lnTo>
                  <a:pt x="2973" y="581"/>
                </a:lnTo>
                <a:lnTo>
                  <a:pt x="2980" y="572"/>
                </a:lnTo>
                <a:lnTo>
                  <a:pt x="2987" y="564"/>
                </a:lnTo>
                <a:lnTo>
                  <a:pt x="2996" y="557"/>
                </a:lnTo>
                <a:lnTo>
                  <a:pt x="3006" y="550"/>
                </a:lnTo>
                <a:lnTo>
                  <a:pt x="3019" y="544"/>
                </a:lnTo>
                <a:lnTo>
                  <a:pt x="3033" y="540"/>
                </a:lnTo>
                <a:lnTo>
                  <a:pt x="3048" y="536"/>
                </a:lnTo>
                <a:lnTo>
                  <a:pt x="3065" y="533"/>
                </a:lnTo>
                <a:lnTo>
                  <a:pt x="3083" y="532"/>
                </a:lnTo>
                <a:lnTo>
                  <a:pt x="3102" y="531"/>
                </a:lnTo>
                <a:lnTo>
                  <a:pt x="3102" y="531"/>
                </a:lnTo>
                <a:lnTo>
                  <a:pt x="3103" y="520"/>
                </a:lnTo>
                <a:lnTo>
                  <a:pt x="3102" y="509"/>
                </a:lnTo>
                <a:lnTo>
                  <a:pt x="3099" y="494"/>
                </a:lnTo>
                <a:lnTo>
                  <a:pt x="3096" y="486"/>
                </a:lnTo>
                <a:lnTo>
                  <a:pt x="3093" y="477"/>
                </a:lnTo>
                <a:lnTo>
                  <a:pt x="3089" y="469"/>
                </a:lnTo>
                <a:lnTo>
                  <a:pt x="3084" y="460"/>
                </a:lnTo>
                <a:lnTo>
                  <a:pt x="3078" y="451"/>
                </a:lnTo>
                <a:lnTo>
                  <a:pt x="3071" y="443"/>
                </a:lnTo>
                <a:lnTo>
                  <a:pt x="3061" y="435"/>
                </a:lnTo>
                <a:lnTo>
                  <a:pt x="3051" y="426"/>
                </a:lnTo>
                <a:lnTo>
                  <a:pt x="3051" y="426"/>
                </a:lnTo>
                <a:lnTo>
                  <a:pt x="3043" y="421"/>
                </a:lnTo>
                <a:lnTo>
                  <a:pt x="3034" y="417"/>
                </a:lnTo>
                <a:lnTo>
                  <a:pt x="3024" y="415"/>
                </a:lnTo>
                <a:lnTo>
                  <a:pt x="3014" y="413"/>
                </a:lnTo>
                <a:lnTo>
                  <a:pt x="3004" y="412"/>
                </a:lnTo>
                <a:lnTo>
                  <a:pt x="2995" y="412"/>
                </a:lnTo>
                <a:lnTo>
                  <a:pt x="2977" y="414"/>
                </a:lnTo>
                <a:lnTo>
                  <a:pt x="2960" y="418"/>
                </a:lnTo>
                <a:lnTo>
                  <a:pt x="2947" y="421"/>
                </a:lnTo>
                <a:lnTo>
                  <a:pt x="2936" y="425"/>
                </a:lnTo>
                <a:lnTo>
                  <a:pt x="2936" y="425"/>
                </a:lnTo>
                <a:lnTo>
                  <a:pt x="2943" y="421"/>
                </a:lnTo>
                <a:lnTo>
                  <a:pt x="2951" y="415"/>
                </a:lnTo>
                <a:lnTo>
                  <a:pt x="2960" y="408"/>
                </a:lnTo>
                <a:lnTo>
                  <a:pt x="2970" y="397"/>
                </a:lnTo>
                <a:lnTo>
                  <a:pt x="2980" y="384"/>
                </a:lnTo>
                <a:lnTo>
                  <a:pt x="2984" y="376"/>
                </a:lnTo>
                <a:lnTo>
                  <a:pt x="2988" y="369"/>
                </a:lnTo>
                <a:lnTo>
                  <a:pt x="2991" y="360"/>
                </a:lnTo>
                <a:lnTo>
                  <a:pt x="2993" y="351"/>
                </a:lnTo>
                <a:lnTo>
                  <a:pt x="2993" y="351"/>
                </a:lnTo>
                <a:lnTo>
                  <a:pt x="2995" y="336"/>
                </a:lnTo>
                <a:lnTo>
                  <a:pt x="2994" y="320"/>
                </a:lnTo>
                <a:lnTo>
                  <a:pt x="2992" y="303"/>
                </a:lnTo>
                <a:lnTo>
                  <a:pt x="2988" y="285"/>
                </a:lnTo>
                <a:lnTo>
                  <a:pt x="2981" y="267"/>
                </a:lnTo>
                <a:lnTo>
                  <a:pt x="2972" y="249"/>
                </a:lnTo>
                <a:lnTo>
                  <a:pt x="2961" y="232"/>
                </a:lnTo>
                <a:lnTo>
                  <a:pt x="2955" y="223"/>
                </a:lnTo>
                <a:lnTo>
                  <a:pt x="2948" y="216"/>
                </a:lnTo>
                <a:lnTo>
                  <a:pt x="2947" y="214"/>
                </a:lnTo>
                <a:lnTo>
                  <a:pt x="2944" y="214"/>
                </a:lnTo>
                <a:lnTo>
                  <a:pt x="2944" y="214"/>
                </a:lnTo>
                <a:lnTo>
                  <a:pt x="2934" y="214"/>
                </a:lnTo>
                <a:lnTo>
                  <a:pt x="2923" y="215"/>
                </a:lnTo>
                <a:lnTo>
                  <a:pt x="2903" y="219"/>
                </a:lnTo>
                <a:lnTo>
                  <a:pt x="2885" y="224"/>
                </a:lnTo>
                <a:lnTo>
                  <a:pt x="2866" y="232"/>
                </a:lnTo>
                <a:lnTo>
                  <a:pt x="2851" y="240"/>
                </a:lnTo>
                <a:lnTo>
                  <a:pt x="2836" y="250"/>
                </a:lnTo>
                <a:lnTo>
                  <a:pt x="2824" y="261"/>
                </a:lnTo>
                <a:lnTo>
                  <a:pt x="2814" y="272"/>
                </a:lnTo>
                <a:lnTo>
                  <a:pt x="2814" y="272"/>
                </a:lnTo>
                <a:lnTo>
                  <a:pt x="2809" y="280"/>
                </a:lnTo>
                <a:lnTo>
                  <a:pt x="2805" y="288"/>
                </a:lnTo>
                <a:lnTo>
                  <a:pt x="2802" y="297"/>
                </a:lnTo>
                <a:lnTo>
                  <a:pt x="2799" y="305"/>
                </a:lnTo>
                <a:lnTo>
                  <a:pt x="2796" y="320"/>
                </a:lnTo>
                <a:lnTo>
                  <a:pt x="2795" y="334"/>
                </a:lnTo>
                <a:lnTo>
                  <a:pt x="2795" y="347"/>
                </a:lnTo>
                <a:lnTo>
                  <a:pt x="2796" y="357"/>
                </a:lnTo>
                <a:lnTo>
                  <a:pt x="2798" y="365"/>
                </a:lnTo>
                <a:lnTo>
                  <a:pt x="2798" y="365"/>
                </a:lnTo>
                <a:lnTo>
                  <a:pt x="2792" y="354"/>
                </a:lnTo>
                <a:lnTo>
                  <a:pt x="2787" y="341"/>
                </a:lnTo>
                <a:lnTo>
                  <a:pt x="2778" y="327"/>
                </a:lnTo>
                <a:lnTo>
                  <a:pt x="2767" y="313"/>
                </a:lnTo>
                <a:lnTo>
                  <a:pt x="2761" y="306"/>
                </a:lnTo>
                <a:lnTo>
                  <a:pt x="2754" y="299"/>
                </a:lnTo>
                <a:lnTo>
                  <a:pt x="2746" y="292"/>
                </a:lnTo>
                <a:lnTo>
                  <a:pt x="2737" y="287"/>
                </a:lnTo>
                <a:lnTo>
                  <a:pt x="2729" y="283"/>
                </a:lnTo>
                <a:lnTo>
                  <a:pt x="2719" y="281"/>
                </a:lnTo>
                <a:lnTo>
                  <a:pt x="2719" y="281"/>
                </a:lnTo>
                <a:lnTo>
                  <a:pt x="2707" y="278"/>
                </a:lnTo>
                <a:lnTo>
                  <a:pt x="2694" y="278"/>
                </a:lnTo>
                <a:lnTo>
                  <a:pt x="2683" y="278"/>
                </a:lnTo>
                <a:lnTo>
                  <a:pt x="2672" y="279"/>
                </a:lnTo>
                <a:lnTo>
                  <a:pt x="2663" y="281"/>
                </a:lnTo>
                <a:lnTo>
                  <a:pt x="2653" y="284"/>
                </a:lnTo>
                <a:lnTo>
                  <a:pt x="2644" y="287"/>
                </a:lnTo>
                <a:lnTo>
                  <a:pt x="2637" y="291"/>
                </a:lnTo>
                <a:lnTo>
                  <a:pt x="2624" y="300"/>
                </a:lnTo>
                <a:lnTo>
                  <a:pt x="2615" y="307"/>
                </a:lnTo>
                <a:lnTo>
                  <a:pt x="2607" y="314"/>
                </a:lnTo>
                <a:lnTo>
                  <a:pt x="2607" y="314"/>
                </a:lnTo>
                <a:lnTo>
                  <a:pt x="2621" y="328"/>
                </a:lnTo>
                <a:lnTo>
                  <a:pt x="2632" y="343"/>
                </a:lnTo>
                <a:lnTo>
                  <a:pt x="2641" y="357"/>
                </a:lnTo>
                <a:lnTo>
                  <a:pt x="2648" y="371"/>
                </a:lnTo>
                <a:lnTo>
                  <a:pt x="2654" y="384"/>
                </a:lnTo>
                <a:lnTo>
                  <a:pt x="2659" y="398"/>
                </a:lnTo>
                <a:lnTo>
                  <a:pt x="2661" y="410"/>
                </a:lnTo>
                <a:lnTo>
                  <a:pt x="2662" y="421"/>
                </a:lnTo>
                <a:lnTo>
                  <a:pt x="2661" y="432"/>
                </a:lnTo>
                <a:lnTo>
                  <a:pt x="2659" y="442"/>
                </a:lnTo>
                <a:lnTo>
                  <a:pt x="2654" y="451"/>
                </a:lnTo>
                <a:lnTo>
                  <a:pt x="2649" y="458"/>
                </a:lnTo>
                <a:lnTo>
                  <a:pt x="2642" y="464"/>
                </a:lnTo>
                <a:lnTo>
                  <a:pt x="2635" y="469"/>
                </a:lnTo>
                <a:lnTo>
                  <a:pt x="2626" y="472"/>
                </a:lnTo>
                <a:lnTo>
                  <a:pt x="2616" y="473"/>
                </a:lnTo>
                <a:lnTo>
                  <a:pt x="2616" y="473"/>
                </a:lnTo>
                <a:lnTo>
                  <a:pt x="2601" y="473"/>
                </a:lnTo>
                <a:lnTo>
                  <a:pt x="2590" y="471"/>
                </a:lnTo>
                <a:lnTo>
                  <a:pt x="2580" y="467"/>
                </a:lnTo>
                <a:lnTo>
                  <a:pt x="2571" y="462"/>
                </a:lnTo>
                <a:lnTo>
                  <a:pt x="2562" y="456"/>
                </a:lnTo>
                <a:lnTo>
                  <a:pt x="2556" y="449"/>
                </a:lnTo>
                <a:lnTo>
                  <a:pt x="2551" y="441"/>
                </a:lnTo>
                <a:lnTo>
                  <a:pt x="2547" y="432"/>
                </a:lnTo>
                <a:lnTo>
                  <a:pt x="2543" y="424"/>
                </a:lnTo>
                <a:lnTo>
                  <a:pt x="2541" y="417"/>
                </a:lnTo>
                <a:lnTo>
                  <a:pt x="2538" y="403"/>
                </a:lnTo>
                <a:lnTo>
                  <a:pt x="2536" y="393"/>
                </a:lnTo>
                <a:lnTo>
                  <a:pt x="2536" y="390"/>
                </a:lnTo>
                <a:lnTo>
                  <a:pt x="2536" y="390"/>
                </a:lnTo>
                <a:lnTo>
                  <a:pt x="2534" y="392"/>
                </a:lnTo>
                <a:lnTo>
                  <a:pt x="2528" y="398"/>
                </a:lnTo>
                <a:lnTo>
                  <a:pt x="2518" y="405"/>
                </a:lnTo>
                <a:lnTo>
                  <a:pt x="2506" y="413"/>
                </a:lnTo>
                <a:lnTo>
                  <a:pt x="2499" y="416"/>
                </a:lnTo>
                <a:lnTo>
                  <a:pt x="2491" y="419"/>
                </a:lnTo>
                <a:lnTo>
                  <a:pt x="2483" y="420"/>
                </a:lnTo>
                <a:lnTo>
                  <a:pt x="2473" y="421"/>
                </a:lnTo>
                <a:lnTo>
                  <a:pt x="2464" y="421"/>
                </a:lnTo>
                <a:lnTo>
                  <a:pt x="2454" y="419"/>
                </a:lnTo>
                <a:lnTo>
                  <a:pt x="2444" y="415"/>
                </a:lnTo>
                <a:lnTo>
                  <a:pt x="2434" y="409"/>
                </a:lnTo>
                <a:lnTo>
                  <a:pt x="2434" y="409"/>
                </a:lnTo>
                <a:lnTo>
                  <a:pt x="2426" y="404"/>
                </a:lnTo>
                <a:lnTo>
                  <a:pt x="2419" y="397"/>
                </a:lnTo>
                <a:lnTo>
                  <a:pt x="2414" y="390"/>
                </a:lnTo>
                <a:lnTo>
                  <a:pt x="2410" y="381"/>
                </a:lnTo>
                <a:lnTo>
                  <a:pt x="2408" y="372"/>
                </a:lnTo>
                <a:lnTo>
                  <a:pt x="2407" y="363"/>
                </a:lnTo>
                <a:lnTo>
                  <a:pt x="2407" y="354"/>
                </a:lnTo>
                <a:lnTo>
                  <a:pt x="2410" y="345"/>
                </a:lnTo>
                <a:lnTo>
                  <a:pt x="2415" y="334"/>
                </a:lnTo>
                <a:lnTo>
                  <a:pt x="2421" y="325"/>
                </a:lnTo>
                <a:lnTo>
                  <a:pt x="2432" y="316"/>
                </a:lnTo>
                <a:lnTo>
                  <a:pt x="2443" y="308"/>
                </a:lnTo>
                <a:lnTo>
                  <a:pt x="2457" y="300"/>
                </a:lnTo>
                <a:lnTo>
                  <a:pt x="2474" y="292"/>
                </a:lnTo>
                <a:lnTo>
                  <a:pt x="2495" y="286"/>
                </a:lnTo>
                <a:lnTo>
                  <a:pt x="2518" y="280"/>
                </a:lnTo>
                <a:lnTo>
                  <a:pt x="2518" y="280"/>
                </a:lnTo>
                <a:lnTo>
                  <a:pt x="2517" y="275"/>
                </a:lnTo>
                <a:lnTo>
                  <a:pt x="2512" y="262"/>
                </a:lnTo>
                <a:lnTo>
                  <a:pt x="2509" y="253"/>
                </a:lnTo>
                <a:lnTo>
                  <a:pt x="2504" y="242"/>
                </a:lnTo>
                <a:lnTo>
                  <a:pt x="2499" y="232"/>
                </a:lnTo>
                <a:lnTo>
                  <a:pt x="2492" y="222"/>
                </a:lnTo>
                <a:lnTo>
                  <a:pt x="2484" y="213"/>
                </a:lnTo>
                <a:lnTo>
                  <a:pt x="2474" y="203"/>
                </a:lnTo>
                <a:lnTo>
                  <a:pt x="2464" y="196"/>
                </a:lnTo>
                <a:lnTo>
                  <a:pt x="2452" y="190"/>
                </a:lnTo>
                <a:lnTo>
                  <a:pt x="2446" y="188"/>
                </a:lnTo>
                <a:lnTo>
                  <a:pt x="2440" y="187"/>
                </a:lnTo>
                <a:lnTo>
                  <a:pt x="2433" y="186"/>
                </a:lnTo>
                <a:lnTo>
                  <a:pt x="2424" y="185"/>
                </a:lnTo>
                <a:lnTo>
                  <a:pt x="2417" y="186"/>
                </a:lnTo>
                <a:lnTo>
                  <a:pt x="2408" y="187"/>
                </a:lnTo>
                <a:lnTo>
                  <a:pt x="2400" y="190"/>
                </a:lnTo>
                <a:lnTo>
                  <a:pt x="2391" y="193"/>
                </a:lnTo>
                <a:lnTo>
                  <a:pt x="2391" y="193"/>
                </a:lnTo>
                <a:lnTo>
                  <a:pt x="2394" y="191"/>
                </a:lnTo>
                <a:lnTo>
                  <a:pt x="2398" y="188"/>
                </a:lnTo>
                <a:lnTo>
                  <a:pt x="2406" y="180"/>
                </a:lnTo>
                <a:lnTo>
                  <a:pt x="2415" y="168"/>
                </a:lnTo>
                <a:lnTo>
                  <a:pt x="2423" y="153"/>
                </a:lnTo>
                <a:lnTo>
                  <a:pt x="2427" y="144"/>
                </a:lnTo>
                <a:lnTo>
                  <a:pt x="2432" y="136"/>
                </a:lnTo>
                <a:lnTo>
                  <a:pt x="2435" y="127"/>
                </a:lnTo>
                <a:lnTo>
                  <a:pt x="2437" y="117"/>
                </a:lnTo>
                <a:lnTo>
                  <a:pt x="2438" y="106"/>
                </a:lnTo>
                <a:lnTo>
                  <a:pt x="2439" y="97"/>
                </a:lnTo>
                <a:lnTo>
                  <a:pt x="2438" y="86"/>
                </a:lnTo>
                <a:lnTo>
                  <a:pt x="2436" y="76"/>
                </a:lnTo>
                <a:lnTo>
                  <a:pt x="2436" y="76"/>
                </a:lnTo>
                <a:lnTo>
                  <a:pt x="2434" y="66"/>
                </a:lnTo>
                <a:lnTo>
                  <a:pt x="2429" y="57"/>
                </a:lnTo>
                <a:lnTo>
                  <a:pt x="2426" y="49"/>
                </a:lnTo>
                <a:lnTo>
                  <a:pt x="2422" y="41"/>
                </a:lnTo>
                <a:lnTo>
                  <a:pt x="2413" y="28"/>
                </a:lnTo>
                <a:lnTo>
                  <a:pt x="2404" y="17"/>
                </a:lnTo>
                <a:lnTo>
                  <a:pt x="2396" y="9"/>
                </a:lnTo>
                <a:lnTo>
                  <a:pt x="2389" y="4"/>
                </a:lnTo>
                <a:lnTo>
                  <a:pt x="2382" y="0"/>
                </a:lnTo>
                <a:lnTo>
                  <a:pt x="2279" y="593"/>
                </a:lnTo>
                <a:lnTo>
                  <a:pt x="2548" y="712"/>
                </a:lnTo>
                <a:lnTo>
                  <a:pt x="2548" y="712"/>
                </a:lnTo>
                <a:lnTo>
                  <a:pt x="2572" y="693"/>
                </a:lnTo>
                <a:lnTo>
                  <a:pt x="2594" y="677"/>
                </a:lnTo>
                <a:lnTo>
                  <a:pt x="2615" y="665"/>
                </a:lnTo>
                <a:lnTo>
                  <a:pt x="2633" y="656"/>
                </a:lnTo>
                <a:lnTo>
                  <a:pt x="2633" y="656"/>
                </a:lnTo>
                <a:lnTo>
                  <a:pt x="2646" y="650"/>
                </a:lnTo>
                <a:lnTo>
                  <a:pt x="2661" y="646"/>
                </a:lnTo>
                <a:lnTo>
                  <a:pt x="2675" y="642"/>
                </a:lnTo>
                <a:lnTo>
                  <a:pt x="2688" y="639"/>
                </a:lnTo>
                <a:lnTo>
                  <a:pt x="2702" y="637"/>
                </a:lnTo>
                <a:lnTo>
                  <a:pt x="2716" y="636"/>
                </a:lnTo>
                <a:lnTo>
                  <a:pt x="2729" y="635"/>
                </a:lnTo>
                <a:lnTo>
                  <a:pt x="2743" y="635"/>
                </a:lnTo>
                <a:lnTo>
                  <a:pt x="2757" y="636"/>
                </a:lnTo>
                <a:lnTo>
                  <a:pt x="2770" y="638"/>
                </a:lnTo>
                <a:lnTo>
                  <a:pt x="2783" y="640"/>
                </a:lnTo>
                <a:lnTo>
                  <a:pt x="2796" y="643"/>
                </a:lnTo>
                <a:lnTo>
                  <a:pt x="2821" y="650"/>
                </a:lnTo>
                <a:lnTo>
                  <a:pt x="2845" y="658"/>
                </a:lnTo>
                <a:lnTo>
                  <a:pt x="2845" y="658"/>
                </a:lnTo>
                <a:lnTo>
                  <a:pt x="2861" y="667"/>
                </a:lnTo>
                <a:lnTo>
                  <a:pt x="2875" y="675"/>
                </a:lnTo>
                <a:lnTo>
                  <a:pt x="2889" y="683"/>
                </a:lnTo>
                <a:lnTo>
                  <a:pt x="2900" y="691"/>
                </a:lnTo>
                <a:lnTo>
                  <a:pt x="2910" y="699"/>
                </a:lnTo>
                <a:lnTo>
                  <a:pt x="2918" y="709"/>
                </a:lnTo>
                <a:lnTo>
                  <a:pt x="2925" y="717"/>
                </a:lnTo>
                <a:lnTo>
                  <a:pt x="2932" y="726"/>
                </a:lnTo>
                <a:lnTo>
                  <a:pt x="2937" y="735"/>
                </a:lnTo>
                <a:lnTo>
                  <a:pt x="2941" y="743"/>
                </a:lnTo>
                <a:lnTo>
                  <a:pt x="2944" y="753"/>
                </a:lnTo>
                <a:lnTo>
                  <a:pt x="2947" y="761"/>
                </a:lnTo>
                <a:lnTo>
                  <a:pt x="2950" y="778"/>
                </a:lnTo>
                <a:lnTo>
                  <a:pt x="2952" y="793"/>
                </a:lnTo>
                <a:lnTo>
                  <a:pt x="2952" y="793"/>
                </a:lnTo>
                <a:lnTo>
                  <a:pt x="2951" y="804"/>
                </a:lnTo>
                <a:lnTo>
                  <a:pt x="2949" y="815"/>
                </a:lnTo>
                <a:lnTo>
                  <a:pt x="2946" y="827"/>
                </a:lnTo>
                <a:lnTo>
                  <a:pt x="2942" y="839"/>
                </a:lnTo>
                <a:lnTo>
                  <a:pt x="2933" y="863"/>
                </a:lnTo>
                <a:lnTo>
                  <a:pt x="2925" y="877"/>
                </a:lnTo>
                <a:lnTo>
                  <a:pt x="3120" y="962"/>
                </a:lnTo>
                <a:close/>
                <a:moveTo>
                  <a:pt x="4480" y="887"/>
                </a:moveTo>
                <a:lnTo>
                  <a:pt x="4715" y="773"/>
                </a:lnTo>
                <a:lnTo>
                  <a:pt x="4477" y="674"/>
                </a:lnTo>
                <a:lnTo>
                  <a:pt x="4477" y="674"/>
                </a:lnTo>
                <a:lnTo>
                  <a:pt x="4404" y="675"/>
                </a:lnTo>
                <a:lnTo>
                  <a:pt x="4312" y="676"/>
                </a:lnTo>
                <a:lnTo>
                  <a:pt x="4201" y="675"/>
                </a:lnTo>
                <a:lnTo>
                  <a:pt x="4076" y="673"/>
                </a:lnTo>
                <a:lnTo>
                  <a:pt x="3783" y="667"/>
                </a:lnTo>
                <a:lnTo>
                  <a:pt x="3449" y="660"/>
                </a:lnTo>
                <a:lnTo>
                  <a:pt x="3252" y="916"/>
                </a:lnTo>
                <a:lnTo>
                  <a:pt x="3252" y="916"/>
                </a:lnTo>
                <a:lnTo>
                  <a:pt x="3986" y="900"/>
                </a:lnTo>
                <a:lnTo>
                  <a:pt x="4276" y="894"/>
                </a:lnTo>
                <a:lnTo>
                  <a:pt x="4480" y="887"/>
                </a:lnTo>
                <a:close/>
                <a:moveTo>
                  <a:pt x="4171" y="2139"/>
                </a:moveTo>
                <a:lnTo>
                  <a:pt x="4171" y="2139"/>
                </a:lnTo>
                <a:lnTo>
                  <a:pt x="4105" y="2106"/>
                </a:lnTo>
                <a:lnTo>
                  <a:pt x="4042" y="2073"/>
                </a:lnTo>
                <a:lnTo>
                  <a:pt x="3983" y="2042"/>
                </a:lnTo>
                <a:lnTo>
                  <a:pt x="3954" y="2025"/>
                </a:lnTo>
                <a:lnTo>
                  <a:pt x="3926" y="2008"/>
                </a:lnTo>
                <a:lnTo>
                  <a:pt x="3900" y="1991"/>
                </a:lnTo>
                <a:lnTo>
                  <a:pt x="3875" y="1973"/>
                </a:lnTo>
                <a:lnTo>
                  <a:pt x="3852" y="1954"/>
                </a:lnTo>
                <a:lnTo>
                  <a:pt x="3829" y="1934"/>
                </a:lnTo>
                <a:lnTo>
                  <a:pt x="3809" y="1914"/>
                </a:lnTo>
                <a:lnTo>
                  <a:pt x="3789" y="1893"/>
                </a:lnTo>
                <a:lnTo>
                  <a:pt x="3772" y="1869"/>
                </a:lnTo>
                <a:lnTo>
                  <a:pt x="3756" y="1845"/>
                </a:lnTo>
                <a:lnTo>
                  <a:pt x="3756" y="1845"/>
                </a:lnTo>
                <a:lnTo>
                  <a:pt x="3750" y="1832"/>
                </a:lnTo>
                <a:lnTo>
                  <a:pt x="3743" y="1819"/>
                </a:lnTo>
                <a:lnTo>
                  <a:pt x="3738" y="1805"/>
                </a:lnTo>
                <a:lnTo>
                  <a:pt x="3733" y="1790"/>
                </a:lnTo>
                <a:lnTo>
                  <a:pt x="3729" y="1775"/>
                </a:lnTo>
                <a:lnTo>
                  <a:pt x="3726" y="1760"/>
                </a:lnTo>
                <a:lnTo>
                  <a:pt x="3723" y="1743"/>
                </a:lnTo>
                <a:lnTo>
                  <a:pt x="3721" y="1727"/>
                </a:lnTo>
                <a:lnTo>
                  <a:pt x="3720" y="1711"/>
                </a:lnTo>
                <a:lnTo>
                  <a:pt x="3719" y="1693"/>
                </a:lnTo>
                <a:lnTo>
                  <a:pt x="3719" y="1677"/>
                </a:lnTo>
                <a:lnTo>
                  <a:pt x="3720" y="1659"/>
                </a:lnTo>
                <a:lnTo>
                  <a:pt x="3721" y="1641"/>
                </a:lnTo>
                <a:lnTo>
                  <a:pt x="3724" y="1624"/>
                </a:lnTo>
                <a:lnTo>
                  <a:pt x="3726" y="1606"/>
                </a:lnTo>
                <a:lnTo>
                  <a:pt x="3730" y="1589"/>
                </a:lnTo>
                <a:lnTo>
                  <a:pt x="3734" y="1571"/>
                </a:lnTo>
                <a:lnTo>
                  <a:pt x="3740" y="1554"/>
                </a:lnTo>
                <a:lnTo>
                  <a:pt x="3745" y="1537"/>
                </a:lnTo>
                <a:lnTo>
                  <a:pt x="3753" y="1519"/>
                </a:lnTo>
                <a:lnTo>
                  <a:pt x="3761" y="1503"/>
                </a:lnTo>
                <a:lnTo>
                  <a:pt x="3769" y="1487"/>
                </a:lnTo>
                <a:lnTo>
                  <a:pt x="3778" y="1470"/>
                </a:lnTo>
                <a:lnTo>
                  <a:pt x="3788" y="1454"/>
                </a:lnTo>
                <a:lnTo>
                  <a:pt x="3800" y="1439"/>
                </a:lnTo>
                <a:lnTo>
                  <a:pt x="3812" y="1424"/>
                </a:lnTo>
                <a:lnTo>
                  <a:pt x="3824" y="1410"/>
                </a:lnTo>
                <a:lnTo>
                  <a:pt x="3839" y="1396"/>
                </a:lnTo>
                <a:lnTo>
                  <a:pt x="3853" y="1382"/>
                </a:lnTo>
                <a:lnTo>
                  <a:pt x="3868" y="1370"/>
                </a:lnTo>
                <a:lnTo>
                  <a:pt x="3885" y="1358"/>
                </a:lnTo>
                <a:lnTo>
                  <a:pt x="3902" y="1347"/>
                </a:lnTo>
                <a:lnTo>
                  <a:pt x="3902" y="1347"/>
                </a:lnTo>
                <a:lnTo>
                  <a:pt x="3910" y="1355"/>
                </a:lnTo>
                <a:lnTo>
                  <a:pt x="3917" y="1363"/>
                </a:lnTo>
                <a:lnTo>
                  <a:pt x="3922" y="1370"/>
                </a:lnTo>
                <a:lnTo>
                  <a:pt x="3927" y="1378"/>
                </a:lnTo>
                <a:lnTo>
                  <a:pt x="3936" y="1394"/>
                </a:lnTo>
                <a:lnTo>
                  <a:pt x="3941" y="1408"/>
                </a:lnTo>
                <a:lnTo>
                  <a:pt x="3944" y="1420"/>
                </a:lnTo>
                <a:lnTo>
                  <a:pt x="3946" y="1429"/>
                </a:lnTo>
                <a:lnTo>
                  <a:pt x="3946" y="1438"/>
                </a:lnTo>
                <a:lnTo>
                  <a:pt x="3946" y="1438"/>
                </a:lnTo>
                <a:lnTo>
                  <a:pt x="3966" y="1438"/>
                </a:lnTo>
                <a:lnTo>
                  <a:pt x="3991" y="1438"/>
                </a:lnTo>
                <a:lnTo>
                  <a:pt x="4044" y="1434"/>
                </a:lnTo>
                <a:lnTo>
                  <a:pt x="4098" y="1432"/>
                </a:lnTo>
                <a:lnTo>
                  <a:pt x="4123" y="1431"/>
                </a:lnTo>
                <a:lnTo>
                  <a:pt x="4143" y="1431"/>
                </a:lnTo>
                <a:lnTo>
                  <a:pt x="4143" y="1431"/>
                </a:lnTo>
                <a:lnTo>
                  <a:pt x="4144" y="1417"/>
                </a:lnTo>
                <a:lnTo>
                  <a:pt x="4144" y="1400"/>
                </a:lnTo>
                <a:lnTo>
                  <a:pt x="4143" y="1382"/>
                </a:lnTo>
                <a:lnTo>
                  <a:pt x="4141" y="1364"/>
                </a:lnTo>
                <a:lnTo>
                  <a:pt x="4138" y="1344"/>
                </a:lnTo>
                <a:lnTo>
                  <a:pt x="4133" y="1325"/>
                </a:lnTo>
                <a:lnTo>
                  <a:pt x="4126" y="1307"/>
                </a:lnTo>
                <a:lnTo>
                  <a:pt x="4121" y="1297"/>
                </a:lnTo>
                <a:lnTo>
                  <a:pt x="4116" y="1288"/>
                </a:lnTo>
                <a:lnTo>
                  <a:pt x="4116" y="1288"/>
                </a:lnTo>
                <a:lnTo>
                  <a:pt x="4134" y="1302"/>
                </a:lnTo>
                <a:lnTo>
                  <a:pt x="4150" y="1315"/>
                </a:lnTo>
                <a:lnTo>
                  <a:pt x="4165" y="1328"/>
                </a:lnTo>
                <a:lnTo>
                  <a:pt x="4172" y="1335"/>
                </a:lnTo>
                <a:lnTo>
                  <a:pt x="4178" y="1343"/>
                </a:lnTo>
                <a:lnTo>
                  <a:pt x="4184" y="1352"/>
                </a:lnTo>
                <a:lnTo>
                  <a:pt x="4189" y="1361"/>
                </a:lnTo>
                <a:lnTo>
                  <a:pt x="4194" y="1370"/>
                </a:lnTo>
                <a:lnTo>
                  <a:pt x="4198" y="1380"/>
                </a:lnTo>
                <a:lnTo>
                  <a:pt x="4203" y="1392"/>
                </a:lnTo>
                <a:lnTo>
                  <a:pt x="4206" y="1404"/>
                </a:lnTo>
                <a:lnTo>
                  <a:pt x="4209" y="1417"/>
                </a:lnTo>
                <a:lnTo>
                  <a:pt x="4212" y="1431"/>
                </a:lnTo>
                <a:lnTo>
                  <a:pt x="4212" y="1431"/>
                </a:lnTo>
                <a:lnTo>
                  <a:pt x="4390" y="1438"/>
                </a:lnTo>
                <a:lnTo>
                  <a:pt x="4390" y="1438"/>
                </a:lnTo>
                <a:lnTo>
                  <a:pt x="4390" y="1421"/>
                </a:lnTo>
                <a:lnTo>
                  <a:pt x="4389" y="1406"/>
                </a:lnTo>
                <a:lnTo>
                  <a:pt x="4386" y="1391"/>
                </a:lnTo>
                <a:lnTo>
                  <a:pt x="4381" y="1376"/>
                </a:lnTo>
                <a:lnTo>
                  <a:pt x="4376" y="1363"/>
                </a:lnTo>
                <a:lnTo>
                  <a:pt x="4370" y="1350"/>
                </a:lnTo>
                <a:lnTo>
                  <a:pt x="4362" y="1338"/>
                </a:lnTo>
                <a:lnTo>
                  <a:pt x="4353" y="1326"/>
                </a:lnTo>
                <a:lnTo>
                  <a:pt x="4353" y="1326"/>
                </a:lnTo>
                <a:lnTo>
                  <a:pt x="4370" y="1334"/>
                </a:lnTo>
                <a:lnTo>
                  <a:pt x="4388" y="1342"/>
                </a:lnTo>
                <a:lnTo>
                  <a:pt x="4403" y="1352"/>
                </a:lnTo>
                <a:lnTo>
                  <a:pt x="4418" y="1361"/>
                </a:lnTo>
                <a:lnTo>
                  <a:pt x="4433" y="1371"/>
                </a:lnTo>
                <a:lnTo>
                  <a:pt x="4447" y="1381"/>
                </a:lnTo>
                <a:lnTo>
                  <a:pt x="4459" y="1392"/>
                </a:lnTo>
                <a:lnTo>
                  <a:pt x="4471" y="1403"/>
                </a:lnTo>
                <a:lnTo>
                  <a:pt x="4483" y="1414"/>
                </a:lnTo>
                <a:lnTo>
                  <a:pt x="4494" y="1426"/>
                </a:lnTo>
                <a:lnTo>
                  <a:pt x="4504" y="1439"/>
                </a:lnTo>
                <a:lnTo>
                  <a:pt x="4513" y="1451"/>
                </a:lnTo>
                <a:lnTo>
                  <a:pt x="4522" y="1463"/>
                </a:lnTo>
                <a:lnTo>
                  <a:pt x="4530" y="1475"/>
                </a:lnTo>
                <a:lnTo>
                  <a:pt x="4544" y="1501"/>
                </a:lnTo>
                <a:lnTo>
                  <a:pt x="4556" y="1526"/>
                </a:lnTo>
                <a:lnTo>
                  <a:pt x="4567" y="1551"/>
                </a:lnTo>
                <a:lnTo>
                  <a:pt x="4574" y="1577"/>
                </a:lnTo>
                <a:lnTo>
                  <a:pt x="4580" y="1600"/>
                </a:lnTo>
                <a:lnTo>
                  <a:pt x="4584" y="1624"/>
                </a:lnTo>
                <a:lnTo>
                  <a:pt x="4587" y="1646"/>
                </a:lnTo>
                <a:lnTo>
                  <a:pt x="4588" y="1667"/>
                </a:lnTo>
                <a:lnTo>
                  <a:pt x="4588" y="1685"/>
                </a:lnTo>
                <a:lnTo>
                  <a:pt x="4588" y="1685"/>
                </a:lnTo>
                <a:lnTo>
                  <a:pt x="4588" y="1711"/>
                </a:lnTo>
                <a:lnTo>
                  <a:pt x="4587" y="1737"/>
                </a:lnTo>
                <a:lnTo>
                  <a:pt x="4583" y="1762"/>
                </a:lnTo>
                <a:lnTo>
                  <a:pt x="4578" y="1787"/>
                </a:lnTo>
                <a:lnTo>
                  <a:pt x="4571" y="1811"/>
                </a:lnTo>
                <a:lnTo>
                  <a:pt x="4562" y="1834"/>
                </a:lnTo>
                <a:lnTo>
                  <a:pt x="4553" y="1857"/>
                </a:lnTo>
                <a:lnTo>
                  <a:pt x="4542" y="1878"/>
                </a:lnTo>
                <a:lnTo>
                  <a:pt x="4530" y="1900"/>
                </a:lnTo>
                <a:lnTo>
                  <a:pt x="4515" y="1919"/>
                </a:lnTo>
                <a:lnTo>
                  <a:pt x="4501" y="1939"/>
                </a:lnTo>
                <a:lnTo>
                  <a:pt x="4485" y="1956"/>
                </a:lnTo>
                <a:lnTo>
                  <a:pt x="4468" y="1972"/>
                </a:lnTo>
                <a:lnTo>
                  <a:pt x="4450" y="1988"/>
                </a:lnTo>
                <a:lnTo>
                  <a:pt x="4432" y="2002"/>
                </a:lnTo>
                <a:lnTo>
                  <a:pt x="4412" y="2015"/>
                </a:lnTo>
                <a:lnTo>
                  <a:pt x="4412" y="2015"/>
                </a:lnTo>
                <a:lnTo>
                  <a:pt x="4377" y="2036"/>
                </a:lnTo>
                <a:lnTo>
                  <a:pt x="4345" y="2054"/>
                </a:lnTo>
                <a:lnTo>
                  <a:pt x="4313" y="2071"/>
                </a:lnTo>
                <a:lnTo>
                  <a:pt x="4282" y="2087"/>
                </a:lnTo>
                <a:lnTo>
                  <a:pt x="4225" y="2114"/>
                </a:lnTo>
                <a:lnTo>
                  <a:pt x="4171" y="2139"/>
                </a:lnTo>
                <a:close/>
                <a:moveTo>
                  <a:pt x="3989" y="3389"/>
                </a:moveTo>
                <a:lnTo>
                  <a:pt x="3989" y="3389"/>
                </a:lnTo>
                <a:lnTo>
                  <a:pt x="3970" y="3382"/>
                </a:lnTo>
                <a:lnTo>
                  <a:pt x="3970" y="3382"/>
                </a:lnTo>
                <a:lnTo>
                  <a:pt x="3967" y="3380"/>
                </a:lnTo>
                <a:lnTo>
                  <a:pt x="3967" y="3380"/>
                </a:lnTo>
                <a:lnTo>
                  <a:pt x="3989" y="3389"/>
                </a:lnTo>
                <a:close/>
                <a:moveTo>
                  <a:pt x="2262" y="1056"/>
                </a:moveTo>
                <a:lnTo>
                  <a:pt x="2262" y="1056"/>
                </a:lnTo>
                <a:lnTo>
                  <a:pt x="2262" y="1057"/>
                </a:lnTo>
                <a:lnTo>
                  <a:pt x="2261" y="1059"/>
                </a:lnTo>
                <a:lnTo>
                  <a:pt x="2257" y="1061"/>
                </a:lnTo>
                <a:lnTo>
                  <a:pt x="2251" y="1064"/>
                </a:lnTo>
                <a:lnTo>
                  <a:pt x="2241" y="1066"/>
                </a:lnTo>
                <a:lnTo>
                  <a:pt x="2219" y="1072"/>
                </a:lnTo>
                <a:lnTo>
                  <a:pt x="2191" y="1077"/>
                </a:lnTo>
                <a:lnTo>
                  <a:pt x="2164" y="1081"/>
                </a:lnTo>
                <a:lnTo>
                  <a:pt x="2138" y="1083"/>
                </a:lnTo>
                <a:lnTo>
                  <a:pt x="2120" y="1083"/>
                </a:lnTo>
                <a:lnTo>
                  <a:pt x="2113" y="1082"/>
                </a:lnTo>
                <a:lnTo>
                  <a:pt x="2109" y="1081"/>
                </a:lnTo>
                <a:lnTo>
                  <a:pt x="2109" y="1081"/>
                </a:lnTo>
                <a:lnTo>
                  <a:pt x="2106" y="1079"/>
                </a:lnTo>
                <a:lnTo>
                  <a:pt x="2104" y="1075"/>
                </a:lnTo>
                <a:lnTo>
                  <a:pt x="2101" y="1064"/>
                </a:lnTo>
                <a:lnTo>
                  <a:pt x="2098" y="1052"/>
                </a:lnTo>
                <a:lnTo>
                  <a:pt x="2096" y="1038"/>
                </a:lnTo>
                <a:lnTo>
                  <a:pt x="2096" y="1023"/>
                </a:lnTo>
                <a:lnTo>
                  <a:pt x="2096" y="1010"/>
                </a:lnTo>
                <a:lnTo>
                  <a:pt x="2097" y="1000"/>
                </a:lnTo>
                <a:lnTo>
                  <a:pt x="2098" y="995"/>
                </a:lnTo>
                <a:lnTo>
                  <a:pt x="2100" y="992"/>
                </a:lnTo>
                <a:lnTo>
                  <a:pt x="2100" y="992"/>
                </a:lnTo>
                <a:lnTo>
                  <a:pt x="2101" y="991"/>
                </a:lnTo>
                <a:lnTo>
                  <a:pt x="2103" y="989"/>
                </a:lnTo>
                <a:lnTo>
                  <a:pt x="2109" y="988"/>
                </a:lnTo>
                <a:lnTo>
                  <a:pt x="2118" y="987"/>
                </a:lnTo>
                <a:lnTo>
                  <a:pt x="2128" y="987"/>
                </a:lnTo>
                <a:lnTo>
                  <a:pt x="2139" y="988"/>
                </a:lnTo>
                <a:lnTo>
                  <a:pt x="2151" y="990"/>
                </a:lnTo>
                <a:lnTo>
                  <a:pt x="2165" y="993"/>
                </a:lnTo>
                <a:lnTo>
                  <a:pt x="2179" y="997"/>
                </a:lnTo>
                <a:lnTo>
                  <a:pt x="2192" y="1002"/>
                </a:lnTo>
                <a:lnTo>
                  <a:pt x="2206" y="1007"/>
                </a:lnTo>
                <a:lnTo>
                  <a:pt x="2219" y="1014"/>
                </a:lnTo>
                <a:lnTo>
                  <a:pt x="2231" y="1021"/>
                </a:lnTo>
                <a:lnTo>
                  <a:pt x="2241" y="1029"/>
                </a:lnTo>
                <a:lnTo>
                  <a:pt x="2251" y="1038"/>
                </a:lnTo>
                <a:lnTo>
                  <a:pt x="2258" y="1047"/>
                </a:lnTo>
                <a:lnTo>
                  <a:pt x="2260" y="1051"/>
                </a:lnTo>
                <a:lnTo>
                  <a:pt x="2262" y="1056"/>
                </a:lnTo>
                <a:close/>
                <a:moveTo>
                  <a:pt x="4842" y="2915"/>
                </a:moveTo>
                <a:lnTo>
                  <a:pt x="4842" y="2915"/>
                </a:lnTo>
                <a:lnTo>
                  <a:pt x="4862" y="2919"/>
                </a:lnTo>
                <a:lnTo>
                  <a:pt x="4881" y="2921"/>
                </a:lnTo>
                <a:lnTo>
                  <a:pt x="4900" y="2922"/>
                </a:lnTo>
                <a:lnTo>
                  <a:pt x="4916" y="2921"/>
                </a:lnTo>
                <a:lnTo>
                  <a:pt x="4932" y="2919"/>
                </a:lnTo>
                <a:lnTo>
                  <a:pt x="4946" y="2916"/>
                </a:lnTo>
                <a:lnTo>
                  <a:pt x="4958" y="2911"/>
                </a:lnTo>
                <a:lnTo>
                  <a:pt x="4969" y="2905"/>
                </a:lnTo>
                <a:lnTo>
                  <a:pt x="4969" y="2905"/>
                </a:lnTo>
                <a:lnTo>
                  <a:pt x="4967" y="2879"/>
                </a:lnTo>
                <a:lnTo>
                  <a:pt x="4960" y="2819"/>
                </a:lnTo>
                <a:lnTo>
                  <a:pt x="4951" y="2746"/>
                </a:lnTo>
                <a:lnTo>
                  <a:pt x="4946" y="2714"/>
                </a:lnTo>
                <a:lnTo>
                  <a:pt x="4940" y="2686"/>
                </a:lnTo>
                <a:lnTo>
                  <a:pt x="4940" y="2686"/>
                </a:lnTo>
                <a:lnTo>
                  <a:pt x="4922" y="2689"/>
                </a:lnTo>
                <a:lnTo>
                  <a:pt x="4902" y="2692"/>
                </a:lnTo>
                <a:lnTo>
                  <a:pt x="4891" y="2692"/>
                </a:lnTo>
                <a:lnTo>
                  <a:pt x="4879" y="2692"/>
                </a:lnTo>
                <a:lnTo>
                  <a:pt x="4867" y="2691"/>
                </a:lnTo>
                <a:lnTo>
                  <a:pt x="4855" y="2689"/>
                </a:lnTo>
                <a:lnTo>
                  <a:pt x="4843" y="2686"/>
                </a:lnTo>
                <a:lnTo>
                  <a:pt x="4830" y="2682"/>
                </a:lnTo>
                <a:lnTo>
                  <a:pt x="4818" y="2677"/>
                </a:lnTo>
                <a:lnTo>
                  <a:pt x="4806" y="2670"/>
                </a:lnTo>
                <a:lnTo>
                  <a:pt x="4794" y="2660"/>
                </a:lnTo>
                <a:lnTo>
                  <a:pt x="4782" y="2650"/>
                </a:lnTo>
                <a:lnTo>
                  <a:pt x="4771" y="2638"/>
                </a:lnTo>
                <a:lnTo>
                  <a:pt x="4761" y="2624"/>
                </a:lnTo>
                <a:lnTo>
                  <a:pt x="4761" y="2624"/>
                </a:lnTo>
                <a:lnTo>
                  <a:pt x="4743" y="2595"/>
                </a:lnTo>
                <a:lnTo>
                  <a:pt x="4724" y="2567"/>
                </a:lnTo>
                <a:lnTo>
                  <a:pt x="4724" y="2567"/>
                </a:lnTo>
                <a:lnTo>
                  <a:pt x="4703" y="2539"/>
                </a:lnTo>
                <a:lnTo>
                  <a:pt x="4680" y="2511"/>
                </a:lnTo>
                <a:lnTo>
                  <a:pt x="4658" y="2485"/>
                </a:lnTo>
                <a:lnTo>
                  <a:pt x="4634" y="2459"/>
                </a:lnTo>
                <a:lnTo>
                  <a:pt x="4611" y="2435"/>
                </a:lnTo>
                <a:lnTo>
                  <a:pt x="4586" y="2412"/>
                </a:lnTo>
                <a:lnTo>
                  <a:pt x="4562" y="2389"/>
                </a:lnTo>
                <a:lnTo>
                  <a:pt x="4538" y="2369"/>
                </a:lnTo>
                <a:lnTo>
                  <a:pt x="4513" y="2349"/>
                </a:lnTo>
                <a:lnTo>
                  <a:pt x="4489" y="2329"/>
                </a:lnTo>
                <a:lnTo>
                  <a:pt x="4463" y="2311"/>
                </a:lnTo>
                <a:lnTo>
                  <a:pt x="4439" y="2292"/>
                </a:lnTo>
                <a:lnTo>
                  <a:pt x="4413" y="2276"/>
                </a:lnTo>
                <a:lnTo>
                  <a:pt x="4389" y="2260"/>
                </a:lnTo>
                <a:lnTo>
                  <a:pt x="4337" y="2228"/>
                </a:lnTo>
                <a:lnTo>
                  <a:pt x="4337" y="2228"/>
                </a:lnTo>
                <a:lnTo>
                  <a:pt x="4381" y="2205"/>
                </a:lnTo>
                <a:lnTo>
                  <a:pt x="4422" y="2183"/>
                </a:lnTo>
                <a:lnTo>
                  <a:pt x="4459" y="2160"/>
                </a:lnTo>
                <a:lnTo>
                  <a:pt x="4492" y="2139"/>
                </a:lnTo>
                <a:lnTo>
                  <a:pt x="4523" y="2117"/>
                </a:lnTo>
                <a:lnTo>
                  <a:pt x="4549" y="2096"/>
                </a:lnTo>
                <a:lnTo>
                  <a:pt x="4574" y="2076"/>
                </a:lnTo>
                <a:lnTo>
                  <a:pt x="4595" y="2055"/>
                </a:lnTo>
                <a:lnTo>
                  <a:pt x="4615" y="2036"/>
                </a:lnTo>
                <a:lnTo>
                  <a:pt x="4632" y="2017"/>
                </a:lnTo>
                <a:lnTo>
                  <a:pt x="4647" y="1999"/>
                </a:lnTo>
                <a:lnTo>
                  <a:pt x="4661" y="1981"/>
                </a:lnTo>
                <a:lnTo>
                  <a:pt x="4673" y="1965"/>
                </a:lnTo>
                <a:lnTo>
                  <a:pt x="4683" y="1950"/>
                </a:lnTo>
                <a:lnTo>
                  <a:pt x="4700" y="1922"/>
                </a:lnTo>
                <a:lnTo>
                  <a:pt x="4700" y="1922"/>
                </a:lnTo>
                <a:lnTo>
                  <a:pt x="4708" y="1910"/>
                </a:lnTo>
                <a:lnTo>
                  <a:pt x="4714" y="1896"/>
                </a:lnTo>
                <a:lnTo>
                  <a:pt x="4721" y="1880"/>
                </a:lnTo>
                <a:lnTo>
                  <a:pt x="4727" y="1864"/>
                </a:lnTo>
                <a:lnTo>
                  <a:pt x="4733" y="1845"/>
                </a:lnTo>
                <a:lnTo>
                  <a:pt x="4739" y="1826"/>
                </a:lnTo>
                <a:lnTo>
                  <a:pt x="4743" y="1806"/>
                </a:lnTo>
                <a:lnTo>
                  <a:pt x="4749" y="1785"/>
                </a:lnTo>
                <a:lnTo>
                  <a:pt x="4753" y="1763"/>
                </a:lnTo>
                <a:lnTo>
                  <a:pt x="4756" y="1740"/>
                </a:lnTo>
                <a:lnTo>
                  <a:pt x="4758" y="1716"/>
                </a:lnTo>
                <a:lnTo>
                  <a:pt x="4759" y="1692"/>
                </a:lnTo>
                <a:lnTo>
                  <a:pt x="4760" y="1667"/>
                </a:lnTo>
                <a:lnTo>
                  <a:pt x="4759" y="1642"/>
                </a:lnTo>
                <a:lnTo>
                  <a:pt x="4758" y="1616"/>
                </a:lnTo>
                <a:lnTo>
                  <a:pt x="4755" y="1590"/>
                </a:lnTo>
                <a:lnTo>
                  <a:pt x="4751" y="1564"/>
                </a:lnTo>
                <a:lnTo>
                  <a:pt x="4745" y="1538"/>
                </a:lnTo>
                <a:lnTo>
                  <a:pt x="4738" y="1511"/>
                </a:lnTo>
                <a:lnTo>
                  <a:pt x="4730" y="1486"/>
                </a:lnTo>
                <a:lnTo>
                  <a:pt x="4720" y="1459"/>
                </a:lnTo>
                <a:lnTo>
                  <a:pt x="4709" y="1433"/>
                </a:lnTo>
                <a:lnTo>
                  <a:pt x="4695" y="1408"/>
                </a:lnTo>
                <a:lnTo>
                  <a:pt x="4681" y="1383"/>
                </a:lnTo>
                <a:lnTo>
                  <a:pt x="4665" y="1359"/>
                </a:lnTo>
                <a:lnTo>
                  <a:pt x="4646" y="1334"/>
                </a:lnTo>
                <a:lnTo>
                  <a:pt x="4625" y="1311"/>
                </a:lnTo>
                <a:lnTo>
                  <a:pt x="4602" y="1288"/>
                </a:lnTo>
                <a:lnTo>
                  <a:pt x="4578" y="1267"/>
                </a:lnTo>
                <a:lnTo>
                  <a:pt x="4551" y="1246"/>
                </a:lnTo>
                <a:lnTo>
                  <a:pt x="4522" y="1227"/>
                </a:lnTo>
                <a:lnTo>
                  <a:pt x="4490" y="1207"/>
                </a:lnTo>
                <a:lnTo>
                  <a:pt x="4490" y="1207"/>
                </a:lnTo>
                <a:lnTo>
                  <a:pt x="4466" y="1195"/>
                </a:lnTo>
                <a:lnTo>
                  <a:pt x="4443" y="1184"/>
                </a:lnTo>
                <a:lnTo>
                  <a:pt x="4419" y="1174"/>
                </a:lnTo>
                <a:lnTo>
                  <a:pt x="4396" y="1165"/>
                </a:lnTo>
                <a:lnTo>
                  <a:pt x="4372" y="1156"/>
                </a:lnTo>
                <a:lnTo>
                  <a:pt x="4348" y="1149"/>
                </a:lnTo>
                <a:lnTo>
                  <a:pt x="4325" y="1143"/>
                </a:lnTo>
                <a:lnTo>
                  <a:pt x="4302" y="1138"/>
                </a:lnTo>
                <a:lnTo>
                  <a:pt x="4278" y="1133"/>
                </a:lnTo>
                <a:lnTo>
                  <a:pt x="4256" y="1130"/>
                </a:lnTo>
                <a:lnTo>
                  <a:pt x="4233" y="1127"/>
                </a:lnTo>
                <a:lnTo>
                  <a:pt x="4211" y="1125"/>
                </a:lnTo>
                <a:lnTo>
                  <a:pt x="4188" y="1123"/>
                </a:lnTo>
                <a:lnTo>
                  <a:pt x="4167" y="1123"/>
                </a:lnTo>
                <a:lnTo>
                  <a:pt x="4145" y="1123"/>
                </a:lnTo>
                <a:lnTo>
                  <a:pt x="4124" y="1123"/>
                </a:lnTo>
                <a:lnTo>
                  <a:pt x="4083" y="1126"/>
                </a:lnTo>
                <a:lnTo>
                  <a:pt x="4044" y="1130"/>
                </a:lnTo>
                <a:lnTo>
                  <a:pt x="4007" y="1136"/>
                </a:lnTo>
                <a:lnTo>
                  <a:pt x="3973" y="1144"/>
                </a:lnTo>
                <a:lnTo>
                  <a:pt x="3941" y="1152"/>
                </a:lnTo>
                <a:lnTo>
                  <a:pt x="3912" y="1161"/>
                </a:lnTo>
                <a:lnTo>
                  <a:pt x="3887" y="1172"/>
                </a:lnTo>
                <a:lnTo>
                  <a:pt x="3864" y="1181"/>
                </a:lnTo>
                <a:lnTo>
                  <a:pt x="3864" y="1181"/>
                </a:lnTo>
                <a:lnTo>
                  <a:pt x="3844" y="1191"/>
                </a:lnTo>
                <a:lnTo>
                  <a:pt x="3824" y="1201"/>
                </a:lnTo>
                <a:lnTo>
                  <a:pt x="3806" y="1213"/>
                </a:lnTo>
                <a:lnTo>
                  <a:pt x="3787" y="1224"/>
                </a:lnTo>
                <a:lnTo>
                  <a:pt x="3769" y="1237"/>
                </a:lnTo>
                <a:lnTo>
                  <a:pt x="3752" y="1249"/>
                </a:lnTo>
                <a:lnTo>
                  <a:pt x="3735" y="1264"/>
                </a:lnTo>
                <a:lnTo>
                  <a:pt x="3719" y="1278"/>
                </a:lnTo>
                <a:lnTo>
                  <a:pt x="3703" y="1293"/>
                </a:lnTo>
                <a:lnTo>
                  <a:pt x="3687" y="1309"/>
                </a:lnTo>
                <a:lnTo>
                  <a:pt x="3673" y="1325"/>
                </a:lnTo>
                <a:lnTo>
                  <a:pt x="3659" y="1341"/>
                </a:lnTo>
                <a:lnTo>
                  <a:pt x="3645" y="1359"/>
                </a:lnTo>
                <a:lnTo>
                  <a:pt x="3633" y="1377"/>
                </a:lnTo>
                <a:lnTo>
                  <a:pt x="3621" y="1396"/>
                </a:lnTo>
                <a:lnTo>
                  <a:pt x="3609" y="1415"/>
                </a:lnTo>
                <a:lnTo>
                  <a:pt x="3599" y="1434"/>
                </a:lnTo>
                <a:lnTo>
                  <a:pt x="3589" y="1455"/>
                </a:lnTo>
                <a:lnTo>
                  <a:pt x="3581" y="1475"/>
                </a:lnTo>
                <a:lnTo>
                  <a:pt x="3573" y="1497"/>
                </a:lnTo>
                <a:lnTo>
                  <a:pt x="3565" y="1518"/>
                </a:lnTo>
                <a:lnTo>
                  <a:pt x="3559" y="1541"/>
                </a:lnTo>
                <a:lnTo>
                  <a:pt x="3554" y="1563"/>
                </a:lnTo>
                <a:lnTo>
                  <a:pt x="3550" y="1586"/>
                </a:lnTo>
                <a:lnTo>
                  <a:pt x="3547" y="1609"/>
                </a:lnTo>
                <a:lnTo>
                  <a:pt x="3545" y="1634"/>
                </a:lnTo>
                <a:lnTo>
                  <a:pt x="3544" y="1658"/>
                </a:lnTo>
                <a:lnTo>
                  <a:pt x="3543" y="1683"/>
                </a:lnTo>
                <a:lnTo>
                  <a:pt x="3544" y="1708"/>
                </a:lnTo>
                <a:lnTo>
                  <a:pt x="3546" y="1734"/>
                </a:lnTo>
                <a:lnTo>
                  <a:pt x="3550" y="1760"/>
                </a:lnTo>
                <a:lnTo>
                  <a:pt x="3554" y="1786"/>
                </a:lnTo>
                <a:lnTo>
                  <a:pt x="3554" y="1786"/>
                </a:lnTo>
                <a:lnTo>
                  <a:pt x="3559" y="1810"/>
                </a:lnTo>
                <a:lnTo>
                  <a:pt x="3564" y="1831"/>
                </a:lnTo>
                <a:lnTo>
                  <a:pt x="3571" y="1853"/>
                </a:lnTo>
                <a:lnTo>
                  <a:pt x="3577" y="1873"/>
                </a:lnTo>
                <a:lnTo>
                  <a:pt x="3585" y="1893"/>
                </a:lnTo>
                <a:lnTo>
                  <a:pt x="3592" y="1911"/>
                </a:lnTo>
                <a:lnTo>
                  <a:pt x="3601" y="1929"/>
                </a:lnTo>
                <a:lnTo>
                  <a:pt x="3610" y="1947"/>
                </a:lnTo>
                <a:lnTo>
                  <a:pt x="3620" y="1963"/>
                </a:lnTo>
                <a:lnTo>
                  <a:pt x="3631" y="1978"/>
                </a:lnTo>
                <a:lnTo>
                  <a:pt x="3641" y="1994"/>
                </a:lnTo>
                <a:lnTo>
                  <a:pt x="3652" y="2009"/>
                </a:lnTo>
                <a:lnTo>
                  <a:pt x="3665" y="2023"/>
                </a:lnTo>
                <a:lnTo>
                  <a:pt x="3677" y="2037"/>
                </a:lnTo>
                <a:lnTo>
                  <a:pt x="3690" y="2050"/>
                </a:lnTo>
                <a:lnTo>
                  <a:pt x="3704" y="2062"/>
                </a:lnTo>
                <a:lnTo>
                  <a:pt x="3732" y="2087"/>
                </a:lnTo>
                <a:lnTo>
                  <a:pt x="3763" y="2109"/>
                </a:lnTo>
                <a:lnTo>
                  <a:pt x="3795" y="2131"/>
                </a:lnTo>
                <a:lnTo>
                  <a:pt x="3828" y="2151"/>
                </a:lnTo>
                <a:lnTo>
                  <a:pt x="3863" y="2172"/>
                </a:lnTo>
                <a:lnTo>
                  <a:pt x="3899" y="2191"/>
                </a:lnTo>
                <a:lnTo>
                  <a:pt x="3976" y="2229"/>
                </a:lnTo>
                <a:lnTo>
                  <a:pt x="3976" y="2229"/>
                </a:lnTo>
                <a:lnTo>
                  <a:pt x="3945" y="2246"/>
                </a:lnTo>
                <a:lnTo>
                  <a:pt x="3916" y="2263"/>
                </a:lnTo>
                <a:lnTo>
                  <a:pt x="3890" y="2280"/>
                </a:lnTo>
                <a:lnTo>
                  <a:pt x="3864" y="2298"/>
                </a:lnTo>
                <a:lnTo>
                  <a:pt x="3840" y="2318"/>
                </a:lnTo>
                <a:lnTo>
                  <a:pt x="3817" y="2337"/>
                </a:lnTo>
                <a:lnTo>
                  <a:pt x="3797" y="2358"/>
                </a:lnTo>
                <a:lnTo>
                  <a:pt x="3778" y="2379"/>
                </a:lnTo>
                <a:lnTo>
                  <a:pt x="3761" y="2403"/>
                </a:lnTo>
                <a:lnTo>
                  <a:pt x="3754" y="2415"/>
                </a:lnTo>
                <a:lnTo>
                  <a:pt x="3746" y="2427"/>
                </a:lnTo>
                <a:lnTo>
                  <a:pt x="3739" y="2440"/>
                </a:lnTo>
                <a:lnTo>
                  <a:pt x="3733" y="2453"/>
                </a:lnTo>
                <a:lnTo>
                  <a:pt x="3728" y="2466"/>
                </a:lnTo>
                <a:lnTo>
                  <a:pt x="3723" y="2480"/>
                </a:lnTo>
                <a:lnTo>
                  <a:pt x="3718" y="2495"/>
                </a:lnTo>
                <a:lnTo>
                  <a:pt x="3714" y="2510"/>
                </a:lnTo>
                <a:lnTo>
                  <a:pt x="3711" y="2525"/>
                </a:lnTo>
                <a:lnTo>
                  <a:pt x="3708" y="2541"/>
                </a:lnTo>
                <a:lnTo>
                  <a:pt x="3706" y="2557"/>
                </a:lnTo>
                <a:lnTo>
                  <a:pt x="3705" y="2574"/>
                </a:lnTo>
                <a:lnTo>
                  <a:pt x="3704" y="2592"/>
                </a:lnTo>
                <a:lnTo>
                  <a:pt x="3703" y="2609"/>
                </a:lnTo>
                <a:lnTo>
                  <a:pt x="3703" y="2609"/>
                </a:lnTo>
                <a:lnTo>
                  <a:pt x="3704" y="2632"/>
                </a:lnTo>
                <a:lnTo>
                  <a:pt x="3707" y="2655"/>
                </a:lnTo>
                <a:lnTo>
                  <a:pt x="3711" y="2678"/>
                </a:lnTo>
                <a:lnTo>
                  <a:pt x="3716" y="2701"/>
                </a:lnTo>
                <a:lnTo>
                  <a:pt x="3729" y="2749"/>
                </a:lnTo>
                <a:lnTo>
                  <a:pt x="3736" y="2775"/>
                </a:lnTo>
                <a:lnTo>
                  <a:pt x="3742" y="2801"/>
                </a:lnTo>
                <a:lnTo>
                  <a:pt x="3749" y="2830"/>
                </a:lnTo>
                <a:lnTo>
                  <a:pt x="3753" y="2859"/>
                </a:lnTo>
                <a:lnTo>
                  <a:pt x="3757" y="2889"/>
                </a:lnTo>
                <a:lnTo>
                  <a:pt x="3758" y="2922"/>
                </a:lnTo>
                <a:lnTo>
                  <a:pt x="3758" y="2957"/>
                </a:lnTo>
                <a:lnTo>
                  <a:pt x="3757" y="2975"/>
                </a:lnTo>
                <a:lnTo>
                  <a:pt x="3755" y="2994"/>
                </a:lnTo>
                <a:lnTo>
                  <a:pt x="3753" y="3012"/>
                </a:lnTo>
                <a:lnTo>
                  <a:pt x="3750" y="3033"/>
                </a:lnTo>
                <a:lnTo>
                  <a:pt x="3745" y="3053"/>
                </a:lnTo>
                <a:lnTo>
                  <a:pt x="3741" y="3073"/>
                </a:lnTo>
                <a:lnTo>
                  <a:pt x="3741" y="3073"/>
                </a:lnTo>
                <a:lnTo>
                  <a:pt x="3741" y="3075"/>
                </a:lnTo>
                <a:lnTo>
                  <a:pt x="3741" y="3076"/>
                </a:lnTo>
                <a:lnTo>
                  <a:pt x="3743" y="3076"/>
                </a:lnTo>
                <a:lnTo>
                  <a:pt x="3745" y="3078"/>
                </a:lnTo>
                <a:lnTo>
                  <a:pt x="3753" y="3075"/>
                </a:lnTo>
                <a:lnTo>
                  <a:pt x="3762" y="3073"/>
                </a:lnTo>
                <a:lnTo>
                  <a:pt x="3785" y="3063"/>
                </a:lnTo>
                <a:lnTo>
                  <a:pt x="3814" y="3051"/>
                </a:lnTo>
                <a:lnTo>
                  <a:pt x="3842" y="3036"/>
                </a:lnTo>
                <a:lnTo>
                  <a:pt x="3867" y="3022"/>
                </a:lnTo>
                <a:lnTo>
                  <a:pt x="3886" y="3011"/>
                </a:lnTo>
                <a:lnTo>
                  <a:pt x="3891" y="3007"/>
                </a:lnTo>
                <a:lnTo>
                  <a:pt x="3894" y="3005"/>
                </a:lnTo>
                <a:lnTo>
                  <a:pt x="3894" y="3005"/>
                </a:lnTo>
                <a:lnTo>
                  <a:pt x="3903" y="2981"/>
                </a:lnTo>
                <a:lnTo>
                  <a:pt x="3910" y="2958"/>
                </a:lnTo>
                <a:lnTo>
                  <a:pt x="3916" y="2934"/>
                </a:lnTo>
                <a:lnTo>
                  <a:pt x="3921" y="2910"/>
                </a:lnTo>
                <a:lnTo>
                  <a:pt x="3925" y="2886"/>
                </a:lnTo>
                <a:lnTo>
                  <a:pt x="3928" y="2863"/>
                </a:lnTo>
                <a:lnTo>
                  <a:pt x="3930" y="2840"/>
                </a:lnTo>
                <a:lnTo>
                  <a:pt x="3932" y="2818"/>
                </a:lnTo>
                <a:lnTo>
                  <a:pt x="3932" y="2779"/>
                </a:lnTo>
                <a:lnTo>
                  <a:pt x="3931" y="2748"/>
                </a:lnTo>
                <a:lnTo>
                  <a:pt x="3928" y="2721"/>
                </a:lnTo>
                <a:lnTo>
                  <a:pt x="3928" y="2721"/>
                </a:lnTo>
                <a:lnTo>
                  <a:pt x="3939" y="2730"/>
                </a:lnTo>
                <a:lnTo>
                  <a:pt x="3947" y="2741"/>
                </a:lnTo>
                <a:lnTo>
                  <a:pt x="3954" y="2753"/>
                </a:lnTo>
                <a:lnTo>
                  <a:pt x="3960" y="2767"/>
                </a:lnTo>
                <a:lnTo>
                  <a:pt x="3964" y="2782"/>
                </a:lnTo>
                <a:lnTo>
                  <a:pt x="3968" y="2797"/>
                </a:lnTo>
                <a:lnTo>
                  <a:pt x="3971" y="2814"/>
                </a:lnTo>
                <a:lnTo>
                  <a:pt x="3973" y="2830"/>
                </a:lnTo>
                <a:lnTo>
                  <a:pt x="3975" y="2847"/>
                </a:lnTo>
                <a:lnTo>
                  <a:pt x="3976" y="2865"/>
                </a:lnTo>
                <a:lnTo>
                  <a:pt x="3976" y="2881"/>
                </a:lnTo>
                <a:lnTo>
                  <a:pt x="3975" y="2899"/>
                </a:lnTo>
                <a:lnTo>
                  <a:pt x="3971" y="2930"/>
                </a:lnTo>
                <a:lnTo>
                  <a:pt x="3965" y="2959"/>
                </a:lnTo>
                <a:lnTo>
                  <a:pt x="3965" y="2959"/>
                </a:lnTo>
                <a:lnTo>
                  <a:pt x="3982" y="2950"/>
                </a:lnTo>
                <a:lnTo>
                  <a:pt x="3998" y="2938"/>
                </a:lnTo>
                <a:lnTo>
                  <a:pt x="4016" y="2925"/>
                </a:lnTo>
                <a:lnTo>
                  <a:pt x="4036" y="2911"/>
                </a:lnTo>
                <a:lnTo>
                  <a:pt x="4053" y="2896"/>
                </a:lnTo>
                <a:lnTo>
                  <a:pt x="4061" y="2888"/>
                </a:lnTo>
                <a:lnTo>
                  <a:pt x="4068" y="2881"/>
                </a:lnTo>
                <a:lnTo>
                  <a:pt x="4072" y="2874"/>
                </a:lnTo>
                <a:lnTo>
                  <a:pt x="4075" y="2868"/>
                </a:lnTo>
                <a:lnTo>
                  <a:pt x="4075" y="2868"/>
                </a:lnTo>
                <a:lnTo>
                  <a:pt x="4083" y="2838"/>
                </a:lnTo>
                <a:lnTo>
                  <a:pt x="4090" y="2810"/>
                </a:lnTo>
                <a:lnTo>
                  <a:pt x="4094" y="2783"/>
                </a:lnTo>
                <a:lnTo>
                  <a:pt x="4096" y="2757"/>
                </a:lnTo>
                <a:lnTo>
                  <a:pt x="4096" y="2733"/>
                </a:lnTo>
                <a:lnTo>
                  <a:pt x="4095" y="2709"/>
                </a:lnTo>
                <a:lnTo>
                  <a:pt x="4093" y="2687"/>
                </a:lnTo>
                <a:lnTo>
                  <a:pt x="4090" y="2665"/>
                </a:lnTo>
                <a:lnTo>
                  <a:pt x="4085" y="2645"/>
                </a:lnTo>
                <a:lnTo>
                  <a:pt x="4080" y="2626"/>
                </a:lnTo>
                <a:lnTo>
                  <a:pt x="4075" y="2607"/>
                </a:lnTo>
                <a:lnTo>
                  <a:pt x="4069" y="2590"/>
                </a:lnTo>
                <a:lnTo>
                  <a:pt x="4055" y="2556"/>
                </a:lnTo>
                <a:lnTo>
                  <a:pt x="4043" y="2524"/>
                </a:lnTo>
                <a:lnTo>
                  <a:pt x="4043" y="2524"/>
                </a:lnTo>
                <a:lnTo>
                  <a:pt x="4038" y="2509"/>
                </a:lnTo>
                <a:lnTo>
                  <a:pt x="4035" y="2494"/>
                </a:lnTo>
                <a:lnTo>
                  <a:pt x="4034" y="2479"/>
                </a:lnTo>
                <a:lnTo>
                  <a:pt x="4035" y="2464"/>
                </a:lnTo>
                <a:lnTo>
                  <a:pt x="4037" y="2450"/>
                </a:lnTo>
                <a:lnTo>
                  <a:pt x="4041" y="2435"/>
                </a:lnTo>
                <a:lnTo>
                  <a:pt x="4046" y="2421"/>
                </a:lnTo>
                <a:lnTo>
                  <a:pt x="4053" y="2408"/>
                </a:lnTo>
                <a:lnTo>
                  <a:pt x="4061" y="2395"/>
                </a:lnTo>
                <a:lnTo>
                  <a:pt x="4071" y="2381"/>
                </a:lnTo>
                <a:lnTo>
                  <a:pt x="4081" y="2369"/>
                </a:lnTo>
                <a:lnTo>
                  <a:pt x="4092" y="2358"/>
                </a:lnTo>
                <a:lnTo>
                  <a:pt x="4103" y="2346"/>
                </a:lnTo>
                <a:lnTo>
                  <a:pt x="4117" y="2335"/>
                </a:lnTo>
                <a:lnTo>
                  <a:pt x="4130" y="2326"/>
                </a:lnTo>
                <a:lnTo>
                  <a:pt x="4145" y="2317"/>
                </a:lnTo>
                <a:lnTo>
                  <a:pt x="4145" y="2317"/>
                </a:lnTo>
                <a:lnTo>
                  <a:pt x="4180" y="2336"/>
                </a:lnTo>
                <a:lnTo>
                  <a:pt x="4215" y="2357"/>
                </a:lnTo>
                <a:lnTo>
                  <a:pt x="4251" y="2378"/>
                </a:lnTo>
                <a:lnTo>
                  <a:pt x="4286" y="2402"/>
                </a:lnTo>
                <a:lnTo>
                  <a:pt x="4286" y="2402"/>
                </a:lnTo>
                <a:lnTo>
                  <a:pt x="4307" y="2416"/>
                </a:lnTo>
                <a:lnTo>
                  <a:pt x="4341" y="2441"/>
                </a:lnTo>
                <a:lnTo>
                  <a:pt x="4361" y="2456"/>
                </a:lnTo>
                <a:lnTo>
                  <a:pt x="4382" y="2474"/>
                </a:lnTo>
                <a:lnTo>
                  <a:pt x="4405" y="2494"/>
                </a:lnTo>
                <a:lnTo>
                  <a:pt x="4430" y="2515"/>
                </a:lnTo>
                <a:lnTo>
                  <a:pt x="4453" y="2539"/>
                </a:lnTo>
                <a:lnTo>
                  <a:pt x="4478" y="2563"/>
                </a:lnTo>
                <a:lnTo>
                  <a:pt x="4501" y="2590"/>
                </a:lnTo>
                <a:lnTo>
                  <a:pt x="4524" y="2618"/>
                </a:lnTo>
                <a:lnTo>
                  <a:pt x="4545" y="2647"/>
                </a:lnTo>
                <a:lnTo>
                  <a:pt x="4564" y="2678"/>
                </a:lnTo>
                <a:lnTo>
                  <a:pt x="4574" y="2693"/>
                </a:lnTo>
                <a:lnTo>
                  <a:pt x="4582" y="2709"/>
                </a:lnTo>
                <a:lnTo>
                  <a:pt x="4590" y="2726"/>
                </a:lnTo>
                <a:lnTo>
                  <a:pt x="4596" y="2742"/>
                </a:lnTo>
                <a:lnTo>
                  <a:pt x="4596" y="2742"/>
                </a:lnTo>
                <a:lnTo>
                  <a:pt x="4606" y="2768"/>
                </a:lnTo>
                <a:lnTo>
                  <a:pt x="4616" y="2792"/>
                </a:lnTo>
                <a:lnTo>
                  <a:pt x="4624" y="2817"/>
                </a:lnTo>
                <a:lnTo>
                  <a:pt x="4630" y="2840"/>
                </a:lnTo>
                <a:lnTo>
                  <a:pt x="4636" y="2864"/>
                </a:lnTo>
                <a:lnTo>
                  <a:pt x="4641" y="2886"/>
                </a:lnTo>
                <a:lnTo>
                  <a:pt x="4645" y="2908"/>
                </a:lnTo>
                <a:lnTo>
                  <a:pt x="4649" y="2928"/>
                </a:lnTo>
                <a:lnTo>
                  <a:pt x="4651" y="2949"/>
                </a:lnTo>
                <a:lnTo>
                  <a:pt x="4653" y="2968"/>
                </a:lnTo>
                <a:lnTo>
                  <a:pt x="4654" y="2987"/>
                </a:lnTo>
                <a:lnTo>
                  <a:pt x="4655" y="3005"/>
                </a:lnTo>
                <a:lnTo>
                  <a:pt x="4654" y="3039"/>
                </a:lnTo>
                <a:lnTo>
                  <a:pt x="4652" y="3070"/>
                </a:lnTo>
                <a:lnTo>
                  <a:pt x="4648" y="3099"/>
                </a:lnTo>
                <a:lnTo>
                  <a:pt x="4642" y="3126"/>
                </a:lnTo>
                <a:lnTo>
                  <a:pt x="4635" y="3149"/>
                </a:lnTo>
                <a:lnTo>
                  <a:pt x="4628" y="3171"/>
                </a:lnTo>
                <a:lnTo>
                  <a:pt x="4620" y="3189"/>
                </a:lnTo>
                <a:lnTo>
                  <a:pt x="4612" y="3206"/>
                </a:lnTo>
                <a:lnTo>
                  <a:pt x="4603" y="3221"/>
                </a:lnTo>
                <a:lnTo>
                  <a:pt x="4596" y="3232"/>
                </a:lnTo>
                <a:lnTo>
                  <a:pt x="4596" y="3232"/>
                </a:lnTo>
                <a:lnTo>
                  <a:pt x="4582" y="3252"/>
                </a:lnTo>
                <a:lnTo>
                  <a:pt x="4568" y="3273"/>
                </a:lnTo>
                <a:lnTo>
                  <a:pt x="4553" y="3291"/>
                </a:lnTo>
                <a:lnTo>
                  <a:pt x="4538" y="3310"/>
                </a:lnTo>
                <a:lnTo>
                  <a:pt x="4522" y="3327"/>
                </a:lnTo>
                <a:lnTo>
                  <a:pt x="4505" y="3343"/>
                </a:lnTo>
                <a:lnTo>
                  <a:pt x="4487" y="3359"/>
                </a:lnTo>
                <a:lnTo>
                  <a:pt x="4469" y="3373"/>
                </a:lnTo>
                <a:lnTo>
                  <a:pt x="4450" y="3386"/>
                </a:lnTo>
                <a:lnTo>
                  <a:pt x="4430" y="3398"/>
                </a:lnTo>
                <a:lnTo>
                  <a:pt x="4409" y="3409"/>
                </a:lnTo>
                <a:lnTo>
                  <a:pt x="4388" y="3418"/>
                </a:lnTo>
                <a:lnTo>
                  <a:pt x="4364" y="3426"/>
                </a:lnTo>
                <a:lnTo>
                  <a:pt x="4341" y="3433"/>
                </a:lnTo>
                <a:lnTo>
                  <a:pt x="4316" y="3438"/>
                </a:lnTo>
                <a:lnTo>
                  <a:pt x="4290" y="3441"/>
                </a:lnTo>
                <a:lnTo>
                  <a:pt x="4290" y="3441"/>
                </a:lnTo>
                <a:lnTo>
                  <a:pt x="4283" y="3440"/>
                </a:lnTo>
                <a:lnTo>
                  <a:pt x="4275" y="3440"/>
                </a:lnTo>
                <a:lnTo>
                  <a:pt x="4275" y="3440"/>
                </a:lnTo>
                <a:lnTo>
                  <a:pt x="4242" y="3441"/>
                </a:lnTo>
                <a:lnTo>
                  <a:pt x="4213" y="3441"/>
                </a:lnTo>
                <a:lnTo>
                  <a:pt x="4185" y="3440"/>
                </a:lnTo>
                <a:lnTo>
                  <a:pt x="4159" y="3437"/>
                </a:lnTo>
                <a:lnTo>
                  <a:pt x="4159" y="3437"/>
                </a:lnTo>
                <a:lnTo>
                  <a:pt x="4131" y="3432"/>
                </a:lnTo>
                <a:lnTo>
                  <a:pt x="4103" y="3427"/>
                </a:lnTo>
                <a:lnTo>
                  <a:pt x="4077" y="3420"/>
                </a:lnTo>
                <a:lnTo>
                  <a:pt x="4052" y="3413"/>
                </a:lnTo>
                <a:lnTo>
                  <a:pt x="4052" y="3413"/>
                </a:lnTo>
                <a:lnTo>
                  <a:pt x="4009" y="3398"/>
                </a:lnTo>
                <a:lnTo>
                  <a:pt x="3965" y="3379"/>
                </a:lnTo>
                <a:lnTo>
                  <a:pt x="3965" y="3379"/>
                </a:lnTo>
                <a:lnTo>
                  <a:pt x="3925" y="3359"/>
                </a:lnTo>
                <a:lnTo>
                  <a:pt x="3874" y="3331"/>
                </a:lnTo>
                <a:lnTo>
                  <a:pt x="3846" y="3314"/>
                </a:lnTo>
                <a:lnTo>
                  <a:pt x="3815" y="3294"/>
                </a:lnTo>
                <a:lnTo>
                  <a:pt x="3782" y="3274"/>
                </a:lnTo>
                <a:lnTo>
                  <a:pt x="3748" y="3250"/>
                </a:lnTo>
                <a:lnTo>
                  <a:pt x="3712" y="3226"/>
                </a:lnTo>
                <a:lnTo>
                  <a:pt x="3676" y="3198"/>
                </a:lnTo>
                <a:lnTo>
                  <a:pt x="3638" y="3170"/>
                </a:lnTo>
                <a:lnTo>
                  <a:pt x="3601" y="3139"/>
                </a:lnTo>
                <a:lnTo>
                  <a:pt x="3563" y="3106"/>
                </a:lnTo>
                <a:lnTo>
                  <a:pt x="3526" y="3071"/>
                </a:lnTo>
                <a:lnTo>
                  <a:pt x="3488" y="3035"/>
                </a:lnTo>
                <a:lnTo>
                  <a:pt x="3451" y="2997"/>
                </a:lnTo>
                <a:lnTo>
                  <a:pt x="3451" y="2997"/>
                </a:lnTo>
                <a:lnTo>
                  <a:pt x="3394" y="2933"/>
                </a:lnTo>
                <a:lnTo>
                  <a:pt x="3342" y="2874"/>
                </a:lnTo>
                <a:lnTo>
                  <a:pt x="3295" y="2819"/>
                </a:lnTo>
                <a:lnTo>
                  <a:pt x="3253" y="2769"/>
                </a:lnTo>
                <a:lnTo>
                  <a:pt x="3215" y="2722"/>
                </a:lnTo>
                <a:lnTo>
                  <a:pt x="3180" y="2679"/>
                </a:lnTo>
                <a:lnTo>
                  <a:pt x="3120" y="2602"/>
                </a:lnTo>
                <a:lnTo>
                  <a:pt x="3120" y="2602"/>
                </a:lnTo>
                <a:lnTo>
                  <a:pt x="3138" y="2609"/>
                </a:lnTo>
                <a:lnTo>
                  <a:pt x="3156" y="2615"/>
                </a:lnTo>
                <a:lnTo>
                  <a:pt x="3175" y="2620"/>
                </a:lnTo>
                <a:lnTo>
                  <a:pt x="3193" y="2625"/>
                </a:lnTo>
                <a:lnTo>
                  <a:pt x="3211" y="2628"/>
                </a:lnTo>
                <a:lnTo>
                  <a:pt x="3229" y="2630"/>
                </a:lnTo>
                <a:lnTo>
                  <a:pt x="3262" y="2633"/>
                </a:lnTo>
                <a:lnTo>
                  <a:pt x="3289" y="2633"/>
                </a:lnTo>
                <a:lnTo>
                  <a:pt x="3312" y="2632"/>
                </a:lnTo>
                <a:lnTo>
                  <a:pt x="3332" y="2630"/>
                </a:lnTo>
                <a:lnTo>
                  <a:pt x="3332" y="2630"/>
                </a:lnTo>
                <a:lnTo>
                  <a:pt x="3336" y="2580"/>
                </a:lnTo>
                <a:lnTo>
                  <a:pt x="3338" y="2535"/>
                </a:lnTo>
                <a:lnTo>
                  <a:pt x="3340" y="2495"/>
                </a:lnTo>
                <a:lnTo>
                  <a:pt x="3346" y="2360"/>
                </a:lnTo>
                <a:lnTo>
                  <a:pt x="3346" y="2360"/>
                </a:lnTo>
                <a:lnTo>
                  <a:pt x="3349" y="2323"/>
                </a:lnTo>
                <a:lnTo>
                  <a:pt x="3351" y="2288"/>
                </a:lnTo>
                <a:lnTo>
                  <a:pt x="3352" y="2251"/>
                </a:lnTo>
                <a:lnTo>
                  <a:pt x="3352" y="2251"/>
                </a:lnTo>
                <a:lnTo>
                  <a:pt x="3340" y="2250"/>
                </a:lnTo>
                <a:lnTo>
                  <a:pt x="3307" y="2246"/>
                </a:lnTo>
                <a:lnTo>
                  <a:pt x="3285" y="2243"/>
                </a:lnTo>
                <a:lnTo>
                  <a:pt x="3260" y="2238"/>
                </a:lnTo>
                <a:lnTo>
                  <a:pt x="3233" y="2233"/>
                </a:lnTo>
                <a:lnTo>
                  <a:pt x="3206" y="2226"/>
                </a:lnTo>
                <a:lnTo>
                  <a:pt x="3176" y="2217"/>
                </a:lnTo>
                <a:lnTo>
                  <a:pt x="3147" y="2206"/>
                </a:lnTo>
                <a:lnTo>
                  <a:pt x="3120" y="2194"/>
                </a:lnTo>
                <a:lnTo>
                  <a:pt x="3106" y="2188"/>
                </a:lnTo>
                <a:lnTo>
                  <a:pt x="3093" y="2181"/>
                </a:lnTo>
                <a:lnTo>
                  <a:pt x="3081" y="2173"/>
                </a:lnTo>
                <a:lnTo>
                  <a:pt x="3070" y="2164"/>
                </a:lnTo>
                <a:lnTo>
                  <a:pt x="3058" y="2155"/>
                </a:lnTo>
                <a:lnTo>
                  <a:pt x="3049" y="2146"/>
                </a:lnTo>
                <a:lnTo>
                  <a:pt x="3040" y="2136"/>
                </a:lnTo>
                <a:lnTo>
                  <a:pt x="3032" y="2125"/>
                </a:lnTo>
                <a:lnTo>
                  <a:pt x="3025" y="2113"/>
                </a:lnTo>
                <a:lnTo>
                  <a:pt x="3019" y="2101"/>
                </a:lnTo>
                <a:lnTo>
                  <a:pt x="3019" y="2101"/>
                </a:lnTo>
                <a:lnTo>
                  <a:pt x="3030" y="2107"/>
                </a:lnTo>
                <a:lnTo>
                  <a:pt x="3042" y="2112"/>
                </a:lnTo>
                <a:lnTo>
                  <a:pt x="3059" y="2119"/>
                </a:lnTo>
                <a:lnTo>
                  <a:pt x="3081" y="2127"/>
                </a:lnTo>
                <a:lnTo>
                  <a:pt x="3106" y="2134"/>
                </a:lnTo>
                <a:lnTo>
                  <a:pt x="3136" y="2139"/>
                </a:lnTo>
                <a:lnTo>
                  <a:pt x="3152" y="2141"/>
                </a:lnTo>
                <a:lnTo>
                  <a:pt x="3169" y="2142"/>
                </a:lnTo>
                <a:lnTo>
                  <a:pt x="3169" y="2142"/>
                </a:lnTo>
                <a:lnTo>
                  <a:pt x="3201" y="2143"/>
                </a:lnTo>
                <a:lnTo>
                  <a:pt x="3234" y="2143"/>
                </a:lnTo>
                <a:lnTo>
                  <a:pt x="3266" y="2141"/>
                </a:lnTo>
                <a:lnTo>
                  <a:pt x="3295" y="2139"/>
                </a:lnTo>
                <a:lnTo>
                  <a:pt x="3340" y="2133"/>
                </a:lnTo>
                <a:lnTo>
                  <a:pt x="3357" y="2131"/>
                </a:lnTo>
                <a:lnTo>
                  <a:pt x="3357" y="2131"/>
                </a:lnTo>
                <a:lnTo>
                  <a:pt x="3359" y="2125"/>
                </a:lnTo>
                <a:lnTo>
                  <a:pt x="3361" y="2113"/>
                </a:lnTo>
                <a:lnTo>
                  <a:pt x="3364" y="2083"/>
                </a:lnTo>
                <a:lnTo>
                  <a:pt x="3367" y="2043"/>
                </a:lnTo>
                <a:lnTo>
                  <a:pt x="3369" y="1999"/>
                </a:lnTo>
                <a:lnTo>
                  <a:pt x="3373" y="1919"/>
                </a:lnTo>
                <a:lnTo>
                  <a:pt x="3375" y="1884"/>
                </a:lnTo>
                <a:lnTo>
                  <a:pt x="3375" y="1884"/>
                </a:lnTo>
                <a:lnTo>
                  <a:pt x="3376" y="1856"/>
                </a:lnTo>
                <a:lnTo>
                  <a:pt x="3377" y="1816"/>
                </a:lnTo>
                <a:lnTo>
                  <a:pt x="3377" y="1767"/>
                </a:lnTo>
                <a:lnTo>
                  <a:pt x="3377" y="1767"/>
                </a:lnTo>
                <a:lnTo>
                  <a:pt x="3369" y="1769"/>
                </a:lnTo>
                <a:lnTo>
                  <a:pt x="3359" y="1770"/>
                </a:lnTo>
                <a:lnTo>
                  <a:pt x="3338" y="1772"/>
                </a:lnTo>
                <a:lnTo>
                  <a:pt x="3315" y="1771"/>
                </a:lnTo>
                <a:lnTo>
                  <a:pt x="3290" y="1769"/>
                </a:lnTo>
                <a:lnTo>
                  <a:pt x="3264" y="1766"/>
                </a:lnTo>
                <a:lnTo>
                  <a:pt x="3236" y="1762"/>
                </a:lnTo>
                <a:lnTo>
                  <a:pt x="3208" y="1756"/>
                </a:lnTo>
                <a:lnTo>
                  <a:pt x="3178" y="1748"/>
                </a:lnTo>
                <a:lnTo>
                  <a:pt x="3178" y="1748"/>
                </a:lnTo>
                <a:lnTo>
                  <a:pt x="3158" y="1742"/>
                </a:lnTo>
                <a:lnTo>
                  <a:pt x="3135" y="1733"/>
                </a:lnTo>
                <a:lnTo>
                  <a:pt x="3112" y="1721"/>
                </a:lnTo>
                <a:lnTo>
                  <a:pt x="3088" y="1706"/>
                </a:lnTo>
                <a:lnTo>
                  <a:pt x="3064" y="1690"/>
                </a:lnTo>
                <a:lnTo>
                  <a:pt x="3053" y="1681"/>
                </a:lnTo>
                <a:lnTo>
                  <a:pt x="3043" y="1672"/>
                </a:lnTo>
                <a:lnTo>
                  <a:pt x="3034" y="1661"/>
                </a:lnTo>
                <a:lnTo>
                  <a:pt x="3025" y="1652"/>
                </a:lnTo>
                <a:lnTo>
                  <a:pt x="3017" y="1642"/>
                </a:lnTo>
                <a:lnTo>
                  <a:pt x="3010" y="1631"/>
                </a:lnTo>
                <a:lnTo>
                  <a:pt x="3010" y="1631"/>
                </a:lnTo>
                <a:lnTo>
                  <a:pt x="3022" y="1636"/>
                </a:lnTo>
                <a:lnTo>
                  <a:pt x="3035" y="1640"/>
                </a:lnTo>
                <a:lnTo>
                  <a:pt x="3052" y="1646"/>
                </a:lnTo>
                <a:lnTo>
                  <a:pt x="3075" y="1652"/>
                </a:lnTo>
                <a:lnTo>
                  <a:pt x="3101" y="1658"/>
                </a:lnTo>
                <a:lnTo>
                  <a:pt x="3132" y="1665"/>
                </a:lnTo>
                <a:lnTo>
                  <a:pt x="3167" y="1670"/>
                </a:lnTo>
                <a:lnTo>
                  <a:pt x="3167" y="1670"/>
                </a:lnTo>
                <a:lnTo>
                  <a:pt x="3187" y="1672"/>
                </a:lnTo>
                <a:lnTo>
                  <a:pt x="3207" y="1673"/>
                </a:lnTo>
                <a:lnTo>
                  <a:pt x="3226" y="1674"/>
                </a:lnTo>
                <a:lnTo>
                  <a:pt x="3245" y="1674"/>
                </a:lnTo>
                <a:lnTo>
                  <a:pt x="3283" y="1672"/>
                </a:lnTo>
                <a:lnTo>
                  <a:pt x="3317" y="1669"/>
                </a:lnTo>
                <a:lnTo>
                  <a:pt x="3346" y="1663"/>
                </a:lnTo>
                <a:lnTo>
                  <a:pt x="3369" y="1658"/>
                </a:lnTo>
                <a:lnTo>
                  <a:pt x="3377" y="1655"/>
                </a:lnTo>
                <a:lnTo>
                  <a:pt x="3383" y="1653"/>
                </a:lnTo>
                <a:lnTo>
                  <a:pt x="3388" y="1650"/>
                </a:lnTo>
                <a:lnTo>
                  <a:pt x="3390" y="1647"/>
                </a:lnTo>
                <a:lnTo>
                  <a:pt x="3390" y="1647"/>
                </a:lnTo>
                <a:lnTo>
                  <a:pt x="3392" y="1621"/>
                </a:lnTo>
                <a:lnTo>
                  <a:pt x="3393" y="1587"/>
                </a:lnTo>
                <a:lnTo>
                  <a:pt x="3394" y="1510"/>
                </a:lnTo>
                <a:lnTo>
                  <a:pt x="3394" y="1412"/>
                </a:lnTo>
                <a:lnTo>
                  <a:pt x="3394" y="1412"/>
                </a:lnTo>
                <a:lnTo>
                  <a:pt x="3399" y="1348"/>
                </a:lnTo>
                <a:lnTo>
                  <a:pt x="3400" y="1304"/>
                </a:lnTo>
                <a:lnTo>
                  <a:pt x="3400" y="1289"/>
                </a:lnTo>
                <a:lnTo>
                  <a:pt x="3399" y="1285"/>
                </a:lnTo>
                <a:lnTo>
                  <a:pt x="3398" y="1284"/>
                </a:lnTo>
                <a:lnTo>
                  <a:pt x="3398" y="1284"/>
                </a:lnTo>
                <a:lnTo>
                  <a:pt x="3392" y="1284"/>
                </a:lnTo>
                <a:lnTo>
                  <a:pt x="3381" y="1285"/>
                </a:lnTo>
                <a:lnTo>
                  <a:pt x="3368" y="1285"/>
                </a:lnTo>
                <a:lnTo>
                  <a:pt x="3354" y="1284"/>
                </a:lnTo>
                <a:lnTo>
                  <a:pt x="3336" y="1282"/>
                </a:lnTo>
                <a:lnTo>
                  <a:pt x="3317" y="1279"/>
                </a:lnTo>
                <a:lnTo>
                  <a:pt x="3297" y="1274"/>
                </a:lnTo>
                <a:lnTo>
                  <a:pt x="3274" y="1269"/>
                </a:lnTo>
                <a:lnTo>
                  <a:pt x="3251" y="1261"/>
                </a:lnTo>
                <a:lnTo>
                  <a:pt x="3226" y="1251"/>
                </a:lnTo>
                <a:lnTo>
                  <a:pt x="3200" y="1240"/>
                </a:lnTo>
                <a:lnTo>
                  <a:pt x="3175" y="1226"/>
                </a:lnTo>
                <a:lnTo>
                  <a:pt x="3149" y="1210"/>
                </a:lnTo>
                <a:lnTo>
                  <a:pt x="3123" y="1191"/>
                </a:lnTo>
                <a:lnTo>
                  <a:pt x="3110" y="1181"/>
                </a:lnTo>
                <a:lnTo>
                  <a:pt x="3097" y="1170"/>
                </a:lnTo>
                <a:lnTo>
                  <a:pt x="3085" y="1157"/>
                </a:lnTo>
                <a:lnTo>
                  <a:pt x="3073" y="1145"/>
                </a:lnTo>
                <a:lnTo>
                  <a:pt x="3073" y="1145"/>
                </a:lnTo>
                <a:lnTo>
                  <a:pt x="3071" y="1143"/>
                </a:lnTo>
                <a:lnTo>
                  <a:pt x="3065" y="1138"/>
                </a:lnTo>
                <a:lnTo>
                  <a:pt x="3059" y="1129"/>
                </a:lnTo>
                <a:lnTo>
                  <a:pt x="3056" y="1123"/>
                </a:lnTo>
                <a:lnTo>
                  <a:pt x="3053" y="1116"/>
                </a:lnTo>
                <a:lnTo>
                  <a:pt x="3051" y="1109"/>
                </a:lnTo>
                <a:lnTo>
                  <a:pt x="3050" y="1101"/>
                </a:lnTo>
                <a:lnTo>
                  <a:pt x="3049" y="1092"/>
                </a:lnTo>
                <a:lnTo>
                  <a:pt x="3050" y="1082"/>
                </a:lnTo>
                <a:lnTo>
                  <a:pt x="3053" y="1072"/>
                </a:lnTo>
                <a:lnTo>
                  <a:pt x="3056" y="1060"/>
                </a:lnTo>
                <a:lnTo>
                  <a:pt x="3062" y="1048"/>
                </a:lnTo>
                <a:lnTo>
                  <a:pt x="3071" y="1035"/>
                </a:lnTo>
                <a:lnTo>
                  <a:pt x="3071" y="1035"/>
                </a:lnTo>
                <a:lnTo>
                  <a:pt x="2806" y="916"/>
                </a:lnTo>
                <a:lnTo>
                  <a:pt x="2806" y="916"/>
                </a:lnTo>
                <a:lnTo>
                  <a:pt x="2815" y="907"/>
                </a:lnTo>
                <a:lnTo>
                  <a:pt x="2824" y="896"/>
                </a:lnTo>
                <a:lnTo>
                  <a:pt x="2834" y="881"/>
                </a:lnTo>
                <a:lnTo>
                  <a:pt x="2845" y="865"/>
                </a:lnTo>
                <a:lnTo>
                  <a:pt x="2850" y="856"/>
                </a:lnTo>
                <a:lnTo>
                  <a:pt x="2854" y="847"/>
                </a:lnTo>
                <a:lnTo>
                  <a:pt x="2858" y="836"/>
                </a:lnTo>
                <a:lnTo>
                  <a:pt x="2861" y="826"/>
                </a:lnTo>
                <a:lnTo>
                  <a:pt x="2863" y="816"/>
                </a:lnTo>
                <a:lnTo>
                  <a:pt x="2863" y="806"/>
                </a:lnTo>
                <a:lnTo>
                  <a:pt x="2863" y="806"/>
                </a:lnTo>
                <a:lnTo>
                  <a:pt x="2863" y="794"/>
                </a:lnTo>
                <a:lnTo>
                  <a:pt x="2860" y="784"/>
                </a:lnTo>
                <a:lnTo>
                  <a:pt x="2855" y="774"/>
                </a:lnTo>
                <a:lnTo>
                  <a:pt x="2849" y="765"/>
                </a:lnTo>
                <a:lnTo>
                  <a:pt x="2841" y="756"/>
                </a:lnTo>
                <a:lnTo>
                  <a:pt x="2830" y="748"/>
                </a:lnTo>
                <a:lnTo>
                  <a:pt x="2820" y="741"/>
                </a:lnTo>
                <a:lnTo>
                  <a:pt x="2808" y="735"/>
                </a:lnTo>
                <a:lnTo>
                  <a:pt x="2795" y="730"/>
                </a:lnTo>
                <a:lnTo>
                  <a:pt x="2781" y="726"/>
                </a:lnTo>
                <a:lnTo>
                  <a:pt x="2767" y="722"/>
                </a:lnTo>
                <a:lnTo>
                  <a:pt x="2753" y="720"/>
                </a:lnTo>
                <a:lnTo>
                  <a:pt x="2738" y="718"/>
                </a:lnTo>
                <a:lnTo>
                  <a:pt x="2723" y="718"/>
                </a:lnTo>
                <a:lnTo>
                  <a:pt x="2709" y="719"/>
                </a:lnTo>
                <a:lnTo>
                  <a:pt x="2694" y="721"/>
                </a:lnTo>
                <a:lnTo>
                  <a:pt x="2694" y="721"/>
                </a:lnTo>
                <a:lnTo>
                  <a:pt x="2681" y="724"/>
                </a:lnTo>
                <a:lnTo>
                  <a:pt x="2669" y="728"/>
                </a:lnTo>
                <a:lnTo>
                  <a:pt x="2656" y="733"/>
                </a:lnTo>
                <a:lnTo>
                  <a:pt x="2644" y="739"/>
                </a:lnTo>
                <a:lnTo>
                  <a:pt x="2634" y="746"/>
                </a:lnTo>
                <a:lnTo>
                  <a:pt x="2623" y="754"/>
                </a:lnTo>
                <a:lnTo>
                  <a:pt x="2604" y="769"/>
                </a:lnTo>
                <a:lnTo>
                  <a:pt x="2589" y="784"/>
                </a:lnTo>
                <a:lnTo>
                  <a:pt x="2578" y="796"/>
                </a:lnTo>
                <a:lnTo>
                  <a:pt x="2569" y="809"/>
                </a:lnTo>
                <a:lnTo>
                  <a:pt x="2238" y="662"/>
                </a:lnTo>
                <a:lnTo>
                  <a:pt x="1977" y="925"/>
                </a:lnTo>
                <a:lnTo>
                  <a:pt x="1977" y="925"/>
                </a:lnTo>
                <a:lnTo>
                  <a:pt x="1972" y="930"/>
                </a:lnTo>
                <a:lnTo>
                  <a:pt x="1966" y="942"/>
                </a:lnTo>
                <a:lnTo>
                  <a:pt x="1963" y="949"/>
                </a:lnTo>
                <a:lnTo>
                  <a:pt x="1961" y="957"/>
                </a:lnTo>
                <a:lnTo>
                  <a:pt x="1960" y="966"/>
                </a:lnTo>
                <a:lnTo>
                  <a:pt x="1960" y="975"/>
                </a:lnTo>
                <a:lnTo>
                  <a:pt x="1964" y="999"/>
                </a:lnTo>
                <a:lnTo>
                  <a:pt x="1964" y="999"/>
                </a:lnTo>
                <a:lnTo>
                  <a:pt x="1964" y="1005"/>
                </a:lnTo>
                <a:lnTo>
                  <a:pt x="1963" y="1011"/>
                </a:lnTo>
                <a:lnTo>
                  <a:pt x="1962" y="1016"/>
                </a:lnTo>
                <a:lnTo>
                  <a:pt x="1961" y="1020"/>
                </a:lnTo>
                <a:lnTo>
                  <a:pt x="1957" y="1028"/>
                </a:lnTo>
                <a:lnTo>
                  <a:pt x="1955" y="1032"/>
                </a:lnTo>
                <a:lnTo>
                  <a:pt x="1955" y="1032"/>
                </a:lnTo>
                <a:lnTo>
                  <a:pt x="1936" y="1054"/>
                </a:lnTo>
                <a:lnTo>
                  <a:pt x="1916" y="1078"/>
                </a:lnTo>
                <a:lnTo>
                  <a:pt x="1896" y="1100"/>
                </a:lnTo>
                <a:lnTo>
                  <a:pt x="1876" y="1123"/>
                </a:lnTo>
                <a:lnTo>
                  <a:pt x="1876" y="1123"/>
                </a:lnTo>
                <a:lnTo>
                  <a:pt x="1847" y="1161"/>
                </a:lnTo>
                <a:lnTo>
                  <a:pt x="1836" y="1177"/>
                </a:lnTo>
                <a:lnTo>
                  <a:pt x="1828" y="1189"/>
                </a:lnTo>
                <a:lnTo>
                  <a:pt x="1828" y="1189"/>
                </a:lnTo>
                <a:lnTo>
                  <a:pt x="1819" y="1204"/>
                </a:lnTo>
                <a:lnTo>
                  <a:pt x="1811" y="1220"/>
                </a:lnTo>
                <a:lnTo>
                  <a:pt x="1799" y="1245"/>
                </a:lnTo>
                <a:lnTo>
                  <a:pt x="1789" y="1269"/>
                </a:lnTo>
                <a:lnTo>
                  <a:pt x="1781" y="1290"/>
                </a:lnTo>
                <a:lnTo>
                  <a:pt x="1781" y="1290"/>
                </a:lnTo>
                <a:lnTo>
                  <a:pt x="1780" y="1293"/>
                </a:lnTo>
                <a:lnTo>
                  <a:pt x="1778" y="1304"/>
                </a:lnTo>
                <a:lnTo>
                  <a:pt x="1778" y="1311"/>
                </a:lnTo>
                <a:lnTo>
                  <a:pt x="1777" y="1319"/>
                </a:lnTo>
                <a:lnTo>
                  <a:pt x="1778" y="1328"/>
                </a:lnTo>
                <a:lnTo>
                  <a:pt x="1780" y="1339"/>
                </a:lnTo>
                <a:lnTo>
                  <a:pt x="1784" y="1352"/>
                </a:lnTo>
                <a:lnTo>
                  <a:pt x="1789" y="1365"/>
                </a:lnTo>
                <a:lnTo>
                  <a:pt x="1797" y="1378"/>
                </a:lnTo>
                <a:lnTo>
                  <a:pt x="1807" y="1394"/>
                </a:lnTo>
                <a:lnTo>
                  <a:pt x="1819" y="1410"/>
                </a:lnTo>
                <a:lnTo>
                  <a:pt x="1833" y="1426"/>
                </a:lnTo>
                <a:lnTo>
                  <a:pt x="1852" y="1444"/>
                </a:lnTo>
                <a:lnTo>
                  <a:pt x="1874" y="1462"/>
                </a:lnTo>
                <a:lnTo>
                  <a:pt x="1881" y="1468"/>
                </a:lnTo>
                <a:lnTo>
                  <a:pt x="1881" y="1468"/>
                </a:lnTo>
                <a:lnTo>
                  <a:pt x="1894" y="1451"/>
                </a:lnTo>
                <a:lnTo>
                  <a:pt x="1905" y="1462"/>
                </a:lnTo>
                <a:lnTo>
                  <a:pt x="1905" y="1462"/>
                </a:lnTo>
                <a:lnTo>
                  <a:pt x="1914" y="1471"/>
                </a:lnTo>
                <a:lnTo>
                  <a:pt x="1926" y="1482"/>
                </a:lnTo>
                <a:lnTo>
                  <a:pt x="1941" y="1494"/>
                </a:lnTo>
                <a:lnTo>
                  <a:pt x="1957" y="1504"/>
                </a:lnTo>
                <a:lnTo>
                  <a:pt x="1957" y="1504"/>
                </a:lnTo>
                <a:lnTo>
                  <a:pt x="1959" y="1497"/>
                </a:lnTo>
                <a:lnTo>
                  <a:pt x="1964" y="1477"/>
                </a:lnTo>
                <a:lnTo>
                  <a:pt x="1969" y="1464"/>
                </a:lnTo>
                <a:lnTo>
                  <a:pt x="1975" y="1451"/>
                </a:lnTo>
                <a:lnTo>
                  <a:pt x="1983" y="1437"/>
                </a:lnTo>
                <a:lnTo>
                  <a:pt x="1991" y="1422"/>
                </a:lnTo>
                <a:lnTo>
                  <a:pt x="1991" y="1422"/>
                </a:lnTo>
                <a:lnTo>
                  <a:pt x="2000" y="1410"/>
                </a:lnTo>
                <a:lnTo>
                  <a:pt x="2011" y="1398"/>
                </a:lnTo>
                <a:lnTo>
                  <a:pt x="2025" y="1384"/>
                </a:lnTo>
                <a:lnTo>
                  <a:pt x="2038" y="1371"/>
                </a:lnTo>
                <a:lnTo>
                  <a:pt x="2052" y="1359"/>
                </a:lnTo>
                <a:lnTo>
                  <a:pt x="2065" y="1348"/>
                </a:lnTo>
                <a:lnTo>
                  <a:pt x="2080" y="1337"/>
                </a:lnTo>
                <a:lnTo>
                  <a:pt x="2092" y="1329"/>
                </a:lnTo>
                <a:lnTo>
                  <a:pt x="2092" y="1329"/>
                </a:lnTo>
                <a:lnTo>
                  <a:pt x="2107" y="1320"/>
                </a:lnTo>
                <a:lnTo>
                  <a:pt x="2123" y="1312"/>
                </a:lnTo>
                <a:lnTo>
                  <a:pt x="2138" y="1305"/>
                </a:lnTo>
                <a:lnTo>
                  <a:pt x="2154" y="1298"/>
                </a:lnTo>
                <a:lnTo>
                  <a:pt x="2170" y="1294"/>
                </a:lnTo>
                <a:lnTo>
                  <a:pt x="2186" y="1291"/>
                </a:lnTo>
                <a:lnTo>
                  <a:pt x="2202" y="1288"/>
                </a:lnTo>
                <a:lnTo>
                  <a:pt x="2220" y="1287"/>
                </a:lnTo>
                <a:lnTo>
                  <a:pt x="2220" y="1287"/>
                </a:lnTo>
                <a:lnTo>
                  <a:pt x="2234" y="1288"/>
                </a:lnTo>
                <a:lnTo>
                  <a:pt x="2247" y="1289"/>
                </a:lnTo>
                <a:lnTo>
                  <a:pt x="2261" y="1292"/>
                </a:lnTo>
                <a:lnTo>
                  <a:pt x="2272" y="1297"/>
                </a:lnTo>
                <a:lnTo>
                  <a:pt x="2283" y="1304"/>
                </a:lnTo>
                <a:lnTo>
                  <a:pt x="2295" y="1311"/>
                </a:lnTo>
                <a:lnTo>
                  <a:pt x="2305" y="1320"/>
                </a:lnTo>
                <a:lnTo>
                  <a:pt x="2316" y="1330"/>
                </a:lnTo>
                <a:lnTo>
                  <a:pt x="2316" y="1330"/>
                </a:lnTo>
                <a:lnTo>
                  <a:pt x="2323" y="1338"/>
                </a:lnTo>
                <a:lnTo>
                  <a:pt x="2330" y="1349"/>
                </a:lnTo>
                <a:lnTo>
                  <a:pt x="2336" y="1360"/>
                </a:lnTo>
                <a:lnTo>
                  <a:pt x="2342" y="1372"/>
                </a:lnTo>
                <a:lnTo>
                  <a:pt x="2347" y="1384"/>
                </a:lnTo>
                <a:lnTo>
                  <a:pt x="2351" y="1398"/>
                </a:lnTo>
                <a:lnTo>
                  <a:pt x="2355" y="1412"/>
                </a:lnTo>
                <a:lnTo>
                  <a:pt x="2358" y="1426"/>
                </a:lnTo>
                <a:lnTo>
                  <a:pt x="2360" y="1440"/>
                </a:lnTo>
                <a:lnTo>
                  <a:pt x="2362" y="1454"/>
                </a:lnTo>
                <a:lnTo>
                  <a:pt x="2363" y="1467"/>
                </a:lnTo>
                <a:lnTo>
                  <a:pt x="2364" y="1480"/>
                </a:lnTo>
                <a:lnTo>
                  <a:pt x="2364" y="1493"/>
                </a:lnTo>
                <a:lnTo>
                  <a:pt x="2363" y="1504"/>
                </a:lnTo>
                <a:lnTo>
                  <a:pt x="2361" y="1514"/>
                </a:lnTo>
                <a:lnTo>
                  <a:pt x="2359" y="1523"/>
                </a:lnTo>
                <a:lnTo>
                  <a:pt x="2359" y="1523"/>
                </a:lnTo>
                <a:lnTo>
                  <a:pt x="2330" y="1505"/>
                </a:lnTo>
                <a:lnTo>
                  <a:pt x="2330" y="1505"/>
                </a:lnTo>
                <a:lnTo>
                  <a:pt x="2309" y="1494"/>
                </a:lnTo>
                <a:lnTo>
                  <a:pt x="2281" y="1484"/>
                </a:lnTo>
                <a:lnTo>
                  <a:pt x="2266" y="1477"/>
                </a:lnTo>
                <a:lnTo>
                  <a:pt x="2251" y="1473"/>
                </a:lnTo>
                <a:lnTo>
                  <a:pt x="2233" y="1469"/>
                </a:lnTo>
                <a:lnTo>
                  <a:pt x="2215" y="1465"/>
                </a:lnTo>
                <a:lnTo>
                  <a:pt x="2195" y="1463"/>
                </a:lnTo>
                <a:lnTo>
                  <a:pt x="2175" y="1462"/>
                </a:lnTo>
                <a:lnTo>
                  <a:pt x="2154" y="1462"/>
                </a:lnTo>
                <a:lnTo>
                  <a:pt x="2132" y="1464"/>
                </a:lnTo>
                <a:lnTo>
                  <a:pt x="2109" y="1467"/>
                </a:lnTo>
                <a:lnTo>
                  <a:pt x="2086" y="1472"/>
                </a:lnTo>
                <a:lnTo>
                  <a:pt x="2062" y="1480"/>
                </a:lnTo>
                <a:lnTo>
                  <a:pt x="2037" y="1491"/>
                </a:lnTo>
                <a:lnTo>
                  <a:pt x="2037" y="1491"/>
                </a:lnTo>
                <a:lnTo>
                  <a:pt x="1995" y="1509"/>
                </a:lnTo>
                <a:lnTo>
                  <a:pt x="1967" y="1521"/>
                </a:lnTo>
                <a:lnTo>
                  <a:pt x="1936" y="1534"/>
                </a:lnTo>
                <a:lnTo>
                  <a:pt x="1900" y="1548"/>
                </a:lnTo>
                <a:lnTo>
                  <a:pt x="1860" y="1562"/>
                </a:lnTo>
                <a:lnTo>
                  <a:pt x="1814" y="1578"/>
                </a:lnTo>
                <a:lnTo>
                  <a:pt x="1764" y="1593"/>
                </a:lnTo>
                <a:lnTo>
                  <a:pt x="1764" y="1593"/>
                </a:lnTo>
                <a:lnTo>
                  <a:pt x="1737" y="1600"/>
                </a:lnTo>
                <a:lnTo>
                  <a:pt x="1725" y="1602"/>
                </a:lnTo>
                <a:lnTo>
                  <a:pt x="1713" y="1603"/>
                </a:lnTo>
                <a:lnTo>
                  <a:pt x="1701" y="1603"/>
                </a:lnTo>
                <a:lnTo>
                  <a:pt x="1691" y="1603"/>
                </a:lnTo>
                <a:lnTo>
                  <a:pt x="1681" y="1602"/>
                </a:lnTo>
                <a:lnTo>
                  <a:pt x="1672" y="1600"/>
                </a:lnTo>
                <a:lnTo>
                  <a:pt x="1664" y="1597"/>
                </a:lnTo>
                <a:lnTo>
                  <a:pt x="1655" y="1592"/>
                </a:lnTo>
                <a:lnTo>
                  <a:pt x="1649" y="1587"/>
                </a:lnTo>
                <a:lnTo>
                  <a:pt x="1642" y="1581"/>
                </a:lnTo>
                <a:lnTo>
                  <a:pt x="1637" y="1574"/>
                </a:lnTo>
                <a:lnTo>
                  <a:pt x="1633" y="1564"/>
                </a:lnTo>
                <a:lnTo>
                  <a:pt x="1629" y="1554"/>
                </a:lnTo>
                <a:lnTo>
                  <a:pt x="1626" y="1543"/>
                </a:lnTo>
                <a:lnTo>
                  <a:pt x="1626" y="1543"/>
                </a:lnTo>
                <a:lnTo>
                  <a:pt x="1624" y="1533"/>
                </a:lnTo>
                <a:lnTo>
                  <a:pt x="1623" y="1522"/>
                </a:lnTo>
                <a:lnTo>
                  <a:pt x="1623" y="1513"/>
                </a:lnTo>
                <a:lnTo>
                  <a:pt x="1623" y="1504"/>
                </a:lnTo>
                <a:lnTo>
                  <a:pt x="1625" y="1488"/>
                </a:lnTo>
                <a:lnTo>
                  <a:pt x="1629" y="1473"/>
                </a:lnTo>
                <a:lnTo>
                  <a:pt x="1633" y="1462"/>
                </a:lnTo>
                <a:lnTo>
                  <a:pt x="1636" y="1454"/>
                </a:lnTo>
                <a:lnTo>
                  <a:pt x="1640" y="1446"/>
                </a:lnTo>
                <a:lnTo>
                  <a:pt x="1640" y="1446"/>
                </a:lnTo>
                <a:lnTo>
                  <a:pt x="1636" y="1447"/>
                </a:lnTo>
                <a:lnTo>
                  <a:pt x="1626" y="1450"/>
                </a:lnTo>
                <a:lnTo>
                  <a:pt x="1610" y="1456"/>
                </a:lnTo>
                <a:lnTo>
                  <a:pt x="1601" y="1459"/>
                </a:lnTo>
                <a:lnTo>
                  <a:pt x="1592" y="1464"/>
                </a:lnTo>
                <a:lnTo>
                  <a:pt x="1582" y="1470"/>
                </a:lnTo>
                <a:lnTo>
                  <a:pt x="1573" y="1476"/>
                </a:lnTo>
                <a:lnTo>
                  <a:pt x="1563" y="1485"/>
                </a:lnTo>
                <a:lnTo>
                  <a:pt x="1554" y="1494"/>
                </a:lnTo>
                <a:lnTo>
                  <a:pt x="1546" y="1504"/>
                </a:lnTo>
                <a:lnTo>
                  <a:pt x="1539" y="1515"/>
                </a:lnTo>
                <a:lnTo>
                  <a:pt x="1533" y="1529"/>
                </a:lnTo>
                <a:lnTo>
                  <a:pt x="1528" y="1543"/>
                </a:lnTo>
                <a:lnTo>
                  <a:pt x="1528" y="1543"/>
                </a:lnTo>
                <a:lnTo>
                  <a:pt x="1525" y="1558"/>
                </a:lnTo>
                <a:lnTo>
                  <a:pt x="1523" y="1574"/>
                </a:lnTo>
                <a:lnTo>
                  <a:pt x="1523" y="1589"/>
                </a:lnTo>
                <a:lnTo>
                  <a:pt x="1523" y="1603"/>
                </a:lnTo>
                <a:lnTo>
                  <a:pt x="1524" y="1616"/>
                </a:lnTo>
                <a:lnTo>
                  <a:pt x="1527" y="1631"/>
                </a:lnTo>
                <a:lnTo>
                  <a:pt x="1531" y="1643"/>
                </a:lnTo>
                <a:lnTo>
                  <a:pt x="1536" y="1655"/>
                </a:lnTo>
                <a:lnTo>
                  <a:pt x="1542" y="1668"/>
                </a:lnTo>
                <a:lnTo>
                  <a:pt x="1549" y="1678"/>
                </a:lnTo>
                <a:lnTo>
                  <a:pt x="1557" y="1688"/>
                </a:lnTo>
                <a:lnTo>
                  <a:pt x="1568" y="1696"/>
                </a:lnTo>
                <a:lnTo>
                  <a:pt x="1578" y="1704"/>
                </a:lnTo>
                <a:lnTo>
                  <a:pt x="1590" y="1711"/>
                </a:lnTo>
                <a:lnTo>
                  <a:pt x="1602" y="1717"/>
                </a:lnTo>
                <a:lnTo>
                  <a:pt x="1617" y="1721"/>
                </a:lnTo>
                <a:lnTo>
                  <a:pt x="1617" y="1721"/>
                </a:lnTo>
                <a:lnTo>
                  <a:pt x="1630" y="1724"/>
                </a:lnTo>
                <a:lnTo>
                  <a:pt x="1644" y="1725"/>
                </a:lnTo>
                <a:lnTo>
                  <a:pt x="1660" y="1724"/>
                </a:lnTo>
                <a:lnTo>
                  <a:pt x="1676" y="1722"/>
                </a:lnTo>
                <a:lnTo>
                  <a:pt x="1692" y="1720"/>
                </a:lnTo>
                <a:lnTo>
                  <a:pt x="1710" y="1716"/>
                </a:lnTo>
                <a:lnTo>
                  <a:pt x="1727" y="1711"/>
                </a:lnTo>
                <a:lnTo>
                  <a:pt x="1744" y="1705"/>
                </a:lnTo>
                <a:lnTo>
                  <a:pt x="1779" y="1691"/>
                </a:lnTo>
                <a:lnTo>
                  <a:pt x="1815" y="1676"/>
                </a:lnTo>
                <a:lnTo>
                  <a:pt x="1849" y="1659"/>
                </a:lnTo>
                <a:lnTo>
                  <a:pt x="1880" y="1643"/>
                </a:lnTo>
                <a:lnTo>
                  <a:pt x="1880" y="1643"/>
                </a:lnTo>
                <a:lnTo>
                  <a:pt x="1942" y="1611"/>
                </a:lnTo>
                <a:lnTo>
                  <a:pt x="1979" y="1593"/>
                </a:lnTo>
                <a:lnTo>
                  <a:pt x="2013" y="1577"/>
                </a:lnTo>
                <a:lnTo>
                  <a:pt x="2013" y="1577"/>
                </a:lnTo>
                <a:lnTo>
                  <a:pt x="2041" y="1565"/>
                </a:lnTo>
                <a:lnTo>
                  <a:pt x="2054" y="1561"/>
                </a:lnTo>
                <a:lnTo>
                  <a:pt x="2068" y="1557"/>
                </a:lnTo>
                <a:lnTo>
                  <a:pt x="2081" y="1554"/>
                </a:lnTo>
                <a:lnTo>
                  <a:pt x="2093" y="1552"/>
                </a:lnTo>
                <a:lnTo>
                  <a:pt x="2105" y="1550"/>
                </a:lnTo>
                <a:lnTo>
                  <a:pt x="2119" y="1550"/>
                </a:lnTo>
                <a:lnTo>
                  <a:pt x="2131" y="1550"/>
                </a:lnTo>
                <a:lnTo>
                  <a:pt x="2143" y="1551"/>
                </a:lnTo>
                <a:lnTo>
                  <a:pt x="2156" y="1553"/>
                </a:lnTo>
                <a:lnTo>
                  <a:pt x="2170" y="1555"/>
                </a:lnTo>
                <a:lnTo>
                  <a:pt x="2183" y="1559"/>
                </a:lnTo>
                <a:lnTo>
                  <a:pt x="2196" y="1563"/>
                </a:lnTo>
                <a:lnTo>
                  <a:pt x="2211" y="1569"/>
                </a:lnTo>
                <a:lnTo>
                  <a:pt x="2226" y="1576"/>
                </a:lnTo>
                <a:lnTo>
                  <a:pt x="2226" y="1576"/>
                </a:lnTo>
                <a:lnTo>
                  <a:pt x="2246" y="1586"/>
                </a:lnTo>
                <a:lnTo>
                  <a:pt x="2265" y="1596"/>
                </a:lnTo>
                <a:lnTo>
                  <a:pt x="2281" y="1607"/>
                </a:lnTo>
                <a:lnTo>
                  <a:pt x="2295" y="1616"/>
                </a:lnTo>
                <a:lnTo>
                  <a:pt x="2305" y="1626"/>
                </a:lnTo>
                <a:lnTo>
                  <a:pt x="2312" y="1633"/>
                </a:lnTo>
                <a:lnTo>
                  <a:pt x="2319" y="1639"/>
                </a:lnTo>
                <a:lnTo>
                  <a:pt x="2319" y="1639"/>
                </a:lnTo>
                <a:lnTo>
                  <a:pt x="2317" y="1642"/>
                </a:lnTo>
                <a:lnTo>
                  <a:pt x="2313" y="1649"/>
                </a:lnTo>
                <a:lnTo>
                  <a:pt x="2305" y="1660"/>
                </a:lnTo>
                <a:lnTo>
                  <a:pt x="2300" y="1667"/>
                </a:lnTo>
                <a:lnTo>
                  <a:pt x="2293" y="1674"/>
                </a:lnTo>
                <a:lnTo>
                  <a:pt x="2285" y="1680"/>
                </a:lnTo>
                <a:lnTo>
                  <a:pt x="2276" y="1687"/>
                </a:lnTo>
                <a:lnTo>
                  <a:pt x="2267" y="1693"/>
                </a:lnTo>
                <a:lnTo>
                  <a:pt x="2255" y="1698"/>
                </a:lnTo>
                <a:lnTo>
                  <a:pt x="2242" y="1703"/>
                </a:lnTo>
                <a:lnTo>
                  <a:pt x="2228" y="1707"/>
                </a:lnTo>
                <a:lnTo>
                  <a:pt x="2212" y="1711"/>
                </a:lnTo>
                <a:lnTo>
                  <a:pt x="2194" y="1712"/>
                </a:lnTo>
                <a:lnTo>
                  <a:pt x="2194" y="1712"/>
                </a:lnTo>
                <a:lnTo>
                  <a:pt x="2180" y="1713"/>
                </a:lnTo>
                <a:lnTo>
                  <a:pt x="2166" y="1712"/>
                </a:lnTo>
                <a:lnTo>
                  <a:pt x="2152" y="1710"/>
                </a:lnTo>
                <a:lnTo>
                  <a:pt x="2139" y="1706"/>
                </a:lnTo>
                <a:lnTo>
                  <a:pt x="2127" y="1703"/>
                </a:lnTo>
                <a:lnTo>
                  <a:pt x="2115" y="1699"/>
                </a:lnTo>
                <a:lnTo>
                  <a:pt x="2103" y="1695"/>
                </a:lnTo>
                <a:lnTo>
                  <a:pt x="2092" y="1689"/>
                </a:lnTo>
                <a:lnTo>
                  <a:pt x="2082" y="1684"/>
                </a:lnTo>
                <a:lnTo>
                  <a:pt x="2073" y="1678"/>
                </a:lnTo>
                <a:lnTo>
                  <a:pt x="2064" y="1672"/>
                </a:lnTo>
                <a:lnTo>
                  <a:pt x="2056" y="1665"/>
                </a:lnTo>
                <a:lnTo>
                  <a:pt x="2048" y="1657"/>
                </a:lnTo>
                <a:lnTo>
                  <a:pt x="2042" y="1650"/>
                </a:lnTo>
                <a:lnTo>
                  <a:pt x="2036" y="1643"/>
                </a:lnTo>
                <a:lnTo>
                  <a:pt x="2031" y="1636"/>
                </a:lnTo>
                <a:lnTo>
                  <a:pt x="2031" y="1636"/>
                </a:lnTo>
                <a:lnTo>
                  <a:pt x="2022" y="1658"/>
                </a:lnTo>
                <a:lnTo>
                  <a:pt x="2013" y="1676"/>
                </a:lnTo>
                <a:lnTo>
                  <a:pt x="2007" y="1689"/>
                </a:lnTo>
                <a:lnTo>
                  <a:pt x="2007" y="1689"/>
                </a:lnTo>
                <a:lnTo>
                  <a:pt x="2003" y="1697"/>
                </a:lnTo>
                <a:lnTo>
                  <a:pt x="2000" y="1704"/>
                </a:lnTo>
                <a:lnTo>
                  <a:pt x="1998" y="1713"/>
                </a:lnTo>
                <a:lnTo>
                  <a:pt x="1997" y="1719"/>
                </a:lnTo>
                <a:lnTo>
                  <a:pt x="1997" y="1726"/>
                </a:lnTo>
                <a:lnTo>
                  <a:pt x="1997" y="1732"/>
                </a:lnTo>
                <a:lnTo>
                  <a:pt x="1999" y="1744"/>
                </a:lnTo>
                <a:lnTo>
                  <a:pt x="2001" y="1756"/>
                </a:lnTo>
                <a:lnTo>
                  <a:pt x="2003" y="1766"/>
                </a:lnTo>
                <a:lnTo>
                  <a:pt x="2004" y="1777"/>
                </a:lnTo>
                <a:lnTo>
                  <a:pt x="2003" y="1783"/>
                </a:lnTo>
                <a:lnTo>
                  <a:pt x="2001" y="1788"/>
                </a:lnTo>
                <a:lnTo>
                  <a:pt x="2001" y="1788"/>
                </a:lnTo>
                <a:lnTo>
                  <a:pt x="1999" y="1794"/>
                </a:lnTo>
                <a:lnTo>
                  <a:pt x="1995" y="1800"/>
                </a:lnTo>
                <a:lnTo>
                  <a:pt x="1986" y="1813"/>
                </a:lnTo>
                <a:lnTo>
                  <a:pt x="1973" y="1825"/>
                </a:lnTo>
                <a:lnTo>
                  <a:pt x="1960" y="1837"/>
                </a:lnTo>
                <a:lnTo>
                  <a:pt x="1945" y="1849"/>
                </a:lnTo>
                <a:lnTo>
                  <a:pt x="1931" y="1860"/>
                </a:lnTo>
                <a:lnTo>
                  <a:pt x="1904" y="1878"/>
                </a:lnTo>
                <a:lnTo>
                  <a:pt x="1904" y="1878"/>
                </a:lnTo>
                <a:lnTo>
                  <a:pt x="1886" y="1889"/>
                </a:lnTo>
                <a:lnTo>
                  <a:pt x="1864" y="1901"/>
                </a:lnTo>
                <a:lnTo>
                  <a:pt x="1842" y="1911"/>
                </a:lnTo>
                <a:lnTo>
                  <a:pt x="1819" y="1919"/>
                </a:lnTo>
                <a:lnTo>
                  <a:pt x="1798" y="1926"/>
                </a:lnTo>
                <a:lnTo>
                  <a:pt x="1779" y="1932"/>
                </a:lnTo>
                <a:lnTo>
                  <a:pt x="1754" y="1940"/>
                </a:lnTo>
                <a:lnTo>
                  <a:pt x="1754" y="1940"/>
                </a:lnTo>
                <a:lnTo>
                  <a:pt x="1779" y="1998"/>
                </a:lnTo>
                <a:lnTo>
                  <a:pt x="1811" y="2066"/>
                </a:lnTo>
                <a:lnTo>
                  <a:pt x="1811" y="2066"/>
                </a:lnTo>
                <a:lnTo>
                  <a:pt x="1833" y="2111"/>
                </a:lnTo>
                <a:lnTo>
                  <a:pt x="1862" y="2166"/>
                </a:lnTo>
                <a:lnTo>
                  <a:pt x="1877" y="2193"/>
                </a:lnTo>
                <a:lnTo>
                  <a:pt x="1893" y="2219"/>
                </a:lnTo>
                <a:lnTo>
                  <a:pt x="1909" y="2240"/>
                </a:lnTo>
                <a:lnTo>
                  <a:pt x="1916" y="2250"/>
                </a:lnTo>
                <a:lnTo>
                  <a:pt x="1924" y="2259"/>
                </a:lnTo>
                <a:lnTo>
                  <a:pt x="1924" y="2259"/>
                </a:lnTo>
                <a:lnTo>
                  <a:pt x="1940" y="2254"/>
                </a:lnTo>
                <a:lnTo>
                  <a:pt x="1957" y="2249"/>
                </a:lnTo>
                <a:lnTo>
                  <a:pt x="1980" y="2243"/>
                </a:lnTo>
                <a:lnTo>
                  <a:pt x="2004" y="2235"/>
                </a:lnTo>
                <a:lnTo>
                  <a:pt x="2031" y="2225"/>
                </a:lnTo>
                <a:lnTo>
                  <a:pt x="2057" y="2213"/>
                </a:lnTo>
                <a:lnTo>
                  <a:pt x="2071" y="2206"/>
                </a:lnTo>
                <a:lnTo>
                  <a:pt x="2083" y="2199"/>
                </a:lnTo>
                <a:lnTo>
                  <a:pt x="2083" y="2199"/>
                </a:lnTo>
                <a:lnTo>
                  <a:pt x="2105" y="2186"/>
                </a:lnTo>
                <a:lnTo>
                  <a:pt x="2126" y="2172"/>
                </a:lnTo>
                <a:lnTo>
                  <a:pt x="2145" y="2157"/>
                </a:lnTo>
                <a:lnTo>
                  <a:pt x="2162" y="2142"/>
                </a:lnTo>
                <a:lnTo>
                  <a:pt x="2177" y="2128"/>
                </a:lnTo>
                <a:lnTo>
                  <a:pt x="2189" y="2113"/>
                </a:lnTo>
                <a:lnTo>
                  <a:pt x="2199" y="2099"/>
                </a:lnTo>
                <a:lnTo>
                  <a:pt x="2207" y="2086"/>
                </a:lnTo>
                <a:lnTo>
                  <a:pt x="2207" y="2086"/>
                </a:lnTo>
                <a:lnTo>
                  <a:pt x="2190" y="2122"/>
                </a:lnTo>
                <a:lnTo>
                  <a:pt x="2175" y="2155"/>
                </a:lnTo>
                <a:lnTo>
                  <a:pt x="2161" y="2185"/>
                </a:lnTo>
                <a:lnTo>
                  <a:pt x="2146" y="2213"/>
                </a:lnTo>
                <a:lnTo>
                  <a:pt x="2132" y="2238"/>
                </a:lnTo>
                <a:lnTo>
                  <a:pt x="2119" y="2261"/>
                </a:lnTo>
                <a:lnTo>
                  <a:pt x="2105" y="2281"/>
                </a:lnTo>
                <a:lnTo>
                  <a:pt x="2092" y="2299"/>
                </a:lnTo>
                <a:lnTo>
                  <a:pt x="2080" y="2317"/>
                </a:lnTo>
                <a:lnTo>
                  <a:pt x="2068" y="2331"/>
                </a:lnTo>
                <a:lnTo>
                  <a:pt x="2055" y="2344"/>
                </a:lnTo>
                <a:lnTo>
                  <a:pt x="2044" y="2356"/>
                </a:lnTo>
                <a:lnTo>
                  <a:pt x="2033" y="2367"/>
                </a:lnTo>
                <a:lnTo>
                  <a:pt x="2022" y="2376"/>
                </a:lnTo>
                <a:lnTo>
                  <a:pt x="2011" y="2383"/>
                </a:lnTo>
                <a:lnTo>
                  <a:pt x="2000" y="2391"/>
                </a:lnTo>
                <a:lnTo>
                  <a:pt x="2000" y="2391"/>
                </a:lnTo>
                <a:lnTo>
                  <a:pt x="1907" y="2452"/>
                </a:lnTo>
                <a:lnTo>
                  <a:pt x="1797" y="2524"/>
                </a:lnTo>
                <a:lnTo>
                  <a:pt x="1735" y="2563"/>
                </a:lnTo>
                <a:lnTo>
                  <a:pt x="1671" y="2602"/>
                </a:lnTo>
                <a:lnTo>
                  <a:pt x="1602" y="2642"/>
                </a:lnTo>
                <a:lnTo>
                  <a:pt x="1532" y="2682"/>
                </a:lnTo>
                <a:lnTo>
                  <a:pt x="1459" y="2720"/>
                </a:lnTo>
                <a:lnTo>
                  <a:pt x="1422" y="2739"/>
                </a:lnTo>
                <a:lnTo>
                  <a:pt x="1384" y="2756"/>
                </a:lnTo>
                <a:lnTo>
                  <a:pt x="1347" y="2774"/>
                </a:lnTo>
                <a:lnTo>
                  <a:pt x="1308" y="2791"/>
                </a:lnTo>
                <a:lnTo>
                  <a:pt x="1269" y="2808"/>
                </a:lnTo>
                <a:lnTo>
                  <a:pt x="1230" y="2823"/>
                </a:lnTo>
                <a:lnTo>
                  <a:pt x="1190" y="2837"/>
                </a:lnTo>
                <a:lnTo>
                  <a:pt x="1151" y="2851"/>
                </a:lnTo>
                <a:lnTo>
                  <a:pt x="1111" y="2864"/>
                </a:lnTo>
                <a:lnTo>
                  <a:pt x="1072" y="2875"/>
                </a:lnTo>
                <a:lnTo>
                  <a:pt x="1032" y="2885"/>
                </a:lnTo>
                <a:lnTo>
                  <a:pt x="992" y="2893"/>
                </a:lnTo>
                <a:lnTo>
                  <a:pt x="952" y="2902"/>
                </a:lnTo>
                <a:lnTo>
                  <a:pt x="913" y="2908"/>
                </a:lnTo>
                <a:lnTo>
                  <a:pt x="913" y="2908"/>
                </a:lnTo>
                <a:lnTo>
                  <a:pt x="901" y="2908"/>
                </a:lnTo>
                <a:lnTo>
                  <a:pt x="889" y="2907"/>
                </a:lnTo>
                <a:lnTo>
                  <a:pt x="876" y="2904"/>
                </a:lnTo>
                <a:lnTo>
                  <a:pt x="863" y="2901"/>
                </a:lnTo>
                <a:lnTo>
                  <a:pt x="850" y="2898"/>
                </a:lnTo>
                <a:lnTo>
                  <a:pt x="836" y="2892"/>
                </a:lnTo>
                <a:lnTo>
                  <a:pt x="809" y="2880"/>
                </a:lnTo>
                <a:lnTo>
                  <a:pt x="781" y="2866"/>
                </a:lnTo>
                <a:lnTo>
                  <a:pt x="754" y="2850"/>
                </a:lnTo>
                <a:lnTo>
                  <a:pt x="726" y="2832"/>
                </a:lnTo>
                <a:lnTo>
                  <a:pt x="698" y="2813"/>
                </a:lnTo>
                <a:lnTo>
                  <a:pt x="672" y="2792"/>
                </a:lnTo>
                <a:lnTo>
                  <a:pt x="646" y="2772"/>
                </a:lnTo>
                <a:lnTo>
                  <a:pt x="623" y="2751"/>
                </a:lnTo>
                <a:lnTo>
                  <a:pt x="600" y="2731"/>
                </a:lnTo>
                <a:lnTo>
                  <a:pt x="581" y="2711"/>
                </a:lnTo>
                <a:lnTo>
                  <a:pt x="563" y="2694"/>
                </a:lnTo>
                <a:lnTo>
                  <a:pt x="548" y="2679"/>
                </a:lnTo>
                <a:lnTo>
                  <a:pt x="537" y="2665"/>
                </a:lnTo>
                <a:lnTo>
                  <a:pt x="537" y="2665"/>
                </a:lnTo>
                <a:lnTo>
                  <a:pt x="533" y="2661"/>
                </a:lnTo>
                <a:lnTo>
                  <a:pt x="530" y="2657"/>
                </a:lnTo>
                <a:lnTo>
                  <a:pt x="520" y="2652"/>
                </a:lnTo>
                <a:lnTo>
                  <a:pt x="512" y="2650"/>
                </a:lnTo>
                <a:lnTo>
                  <a:pt x="502" y="2649"/>
                </a:lnTo>
                <a:lnTo>
                  <a:pt x="493" y="2649"/>
                </a:lnTo>
                <a:lnTo>
                  <a:pt x="483" y="2651"/>
                </a:lnTo>
                <a:lnTo>
                  <a:pt x="473" y="2654"/>
                </a:lnTo>
                <a:lnTo>
                  <a:pt x="464" y="2658"/>
                </a:lnTo>
                <a:lnTo>
                  <a:pt x="447" y="2666"/>
                </a:lnTo>
                <a:lnTo>
                  <a:pt x="433" y="2676"/>
                </a:lnTo>
                <a:lnTo>
                  <a:pt x="419" y="2686"/>
                </a:lnTo>
                <a:lnTo>
                  <a:pt x="419" y="2686"/>
                </a:lnTo>
                <a:lnTo>
                  <a:pt x="412" y="2685"/>
                </a:lnTo>
                <a:lnTo>
                  <a:pt x="393" y="2683"/>
                </a:lnTo>
                <a:lnTo>
                  <a:pt x="379" y="2683"/>
                </a:lnTo>
                <a:lnTo>
                  <a:pt x="364" y="2683"/>
                </a:lnTo>
                <a:lnTo>
                  <a:pt x="348" y="2684"/>
                </a:lnTo>
                <a:lnTo>
                  <a:pt x="329" y="2686"/>
                </a:lnTo>
                <a:lnTo>
                  <a:pt x="310" y="2689"/>
                </a:lnTo>
                <a:lnTo>
                  <a:pt x="290" y="2694"/>
                </a:lnTo>
                <a:lnTo>
                  <a:pt x="271" y="2700"/>
                </a:lnTo>
                <a:lnTo>
                  <a:pt x="252" y="2709"/>
                </a:lnTo>
                <a:lnTo>
                  <a:pt x="242" y="2715"/>
                </a:lnTo>
                <a:lnTo>
                  <a:pt x="233" y="2720"/>
                </a:lnTo>
                <a:lnTo>
                  <a:pt x="224" y="2726"/>
                </a:lnTo>
                <a:lnTo>
                  <a:pt x="216" y="2733"/>
                </a:lnTo>
                <a:lnTo>
                  <a:pt x="207" y="2741"/>
                </a:lnTo>
                <a:lnTo>
                  <a:pt x="199" y="2749"/>
                </a:lnTo>
                <a:lnTo>
                  <a:pt x="191" y="2759"/>
                </a:lnTo>
                <a:lnTo>
                  <a:pt x="184" y="2768"/>
                </a:lnTo>
                <a:lnTo>
                  <a:pt x="184" y="2768"/>
                </a:lnTo>
                <a:lnTo>
                  <a:pt x="183" y="2771"/>
                </a:lnTo>
                <a:lnTo>
                  <a:pt x="185" y="2773"/>
                </a:lnTo>
                <a:lnTo>
                  <a:pt x="188" y="2774"/>
                </a:lnTo>
                <a:lnTo>
                  <a:pt x="193" y="2774"/>
                </a:lnTo>
                <a:lnTo>
                  <a:pt x="210" y="2772"/>
                </a:lnTo>
                <a:lnTo>
                  <a:pt x="230" y="2770"/>
                </a:lnTo>
                <a:lnTo>
                  <a:pt x="255" y="2768"/>
                </a:lnTo>
                <a:lnTo>
                  <a:pt x="280" y="2767"/>
                </a:lnTo>
                <a:lnTo>
                  <a:pt x="293" y="2768"/>
                </a:lnTo>
                <a:lnTo>
                  <a:pt x="307" y="2769"/>
                </a:lnTo>
                <a:lnTo>
                  <a:pt x="319" y="2771"/>
                </a:lnTo>
                <a:lnTo>
                  <a:pt x="331" y="2774"/>
                </a:lnTo>
                <a:lnTo>
                  <a:pt x="331" y="2774"/>
                </a:lnTo>
                <a:lnTo>
                  <a:pt x="338" y="2777"/>
                </a:lnTo>
                <a:lnTo>
                  <a:pt x="343" y="2780"/>
                </a:lnTo>
                <a:lnTo>
                  <a:pt x="346" y="2783"/>
                </a:lnTo>
                <a:lnTo>
                  <a:pt x="347" y="2786"/>
                </a:lnTo>
                <a:lnTo>
                  <a:pt x="347" y="2789"/>
                </a:lnTo>
                <a:lnTo>
                  <a:pt x="345" y="2793"/>
                </a:lnTo>
                <a:lnTo>
                  <a:pt x="339" y="2801"/>
                </a:lnTo>
                <a:lnTo>
                  <a:pt x="332" y="2811"/>
                </a:lnTo>
                <a:lnTo>
                  <a:pt x="325" y="2822"/>
                </a:lnTo>
                <a:lnTo>
                  <a:pt x="321" y="2828"/>
                </a:lnTo>
                <a:lnTo>
                  <a:pt x="319" y="2834"/>
                </a:lnTo>
                <a:lnTo>
                  <a:pt x="317" y="2840"/>
                </a:lnTo>
                <a:lnTo>
                  <a:pt x="317" y="2847"/>
                </a:lnTo>
                <a:lnTo>
                  <a:pt x="317" y="2847"/>
                </a:lnTo>
                <a:lnTo>
                  <a:pt x="317" y="2853"/>
                </a:lnTo>
                <a:lnTo>
                  <a:pt x="319" y="2859"/>
                </a:lnTo>
                <a:lnTo>
                  <a:pt x="321" y="2864"/>
                </a:lnTo>
                <a:lnTo>
                  <a:pt x="324" y="2869"/>
                </a:lnTo>
                <a:lnTo>
                  <a:pt x="328" y="2874"/>
                </a:lnTo>
                <a:lnTo>
                  <a:pt x="333" y="2879"/>
                </a:lnTo>
                <a:lnTo>
                  <a:pt x="346" y="2889"/>
                </a:lnTo>
                <a:lnTo>
                  <a:pt x="361" y="2899"/>
                </a:lnTo>
                <a:lnTo>
                  <a:pt x="377" y="2908"/>
                </a:lnTo>
                <a:lnTo>
                  <a:pt x="397" y="2917"/>
                </a:lnTo>
                <a:lnTo>
                  <a:pt x="416" y="2925"/>
                </a:lnTo>
                <a:lnTo>
                  <a:pt x="458" y="2941"/>
                </a:lnTo>
                <a:lnTo>
                  <a:pt x="500" y="2955"/>
                </a:lnTo>
                <a:lnTo>
                  <a:pt x="571" y="2976"/>
                </a:lnTo>
                <a:lnTo>
                  <a:pt x="571" y="2976"/>
                </a:lnTo>
                <a:lnTo>
                  <a:pt x="579" y="2980"/>
                </a:lnTo>
                <a:lnTo>
                  <a:pt x="585" y="2984"/>
                </a:lnTo>
                <a:lnTo>
                  <a:pt x="588" y="2990"/>
                </a:lnTo>
                <a:lnTo>
                  <a:pt x="590" y="2995"/>
                </a:lnTo>
                <a:lnTo>
                  <a:pt x="590" y="2999"/>
                </a:lnTo>
                <a:lnTo>
                  <a:pt x="588" y="3003"/>
                </a:lnTo>
                <a:lnTo>
                  <a:pt x="585" y="3005"/>
                </a:lnTo>
                <a:lnTo>
                  <a:pt x="581" y="3006"/>
                </a:lnTo>
                <a:lnTo>
                  <a:pt x="581" y="3006"/>
                </a:lnTo>
                <a:lnTo>
                  <a:pt x="556" y="3005"/>
                </a:lnTo>
                <a:lnTo>
                  <a:pt x="532" y="3002"/>
                </a:lnTo>
                <a:lnTo>
                  <a:pt x="509" y="2999"/>
                </a:lnTo>
                <a:lnTo>
                  <a:pt x="488" y="2994"/>
                </a:lnTo>
                <a:lnTo>
                  <a:pt x="467" y="2989"/>
                </a:lnTo>
                <a:lnTo>
                  <a:pt x="448" y="2982"/>
                </a:lnTo>
                <a:lnTo>
                  <a:pt x="429" y="2976"/>
                </a:lnTo>
                <a:lnTo>
                  <a:pt x="412" y="2970"/>
                </a:lnTo>
                <a:lnTo>
                  <a:pt x="380" y="2957"/>
                </a:lnTo>
                <a:lnTo>
                  <a:pt x="352" y="2945"/>
                </a:lnTo>
                <a:lnTo>
                  <a:pt x="327" y="2933"/>
                </a:lnTo>
                <a:lnTo>
                  <a:pt x="316" y="2929"/>
                </a:lnTo>
                <a:lnTo>
                  <a:pt x="305" y="2925"/>
                </a:lnTo>
                <a:lnTo>
                  <a:pt x="305" y="2925"/>
                </a:lnTo>
                <a:lnTo>
                  <a:pt x="286" y="2920"/>
                </a:lnTo>
                <a:lnTo>
                  <a:pt x="268" y="2916"/>
                </a:lnTo>
                <a:lnTo>
                  <a:pt x="253" y="2913"/>
                </a:lnTo>
                <a:lnTo>
                  <a:pt x="237" y="2911"/>
                </a:lnTo>
                <a:lnTo>
                  <a:pt x="224" y="2910"/>
                </a:lnTo>
                <a:lnTo>
                  <a:pt x="213" y="2911"/>
                </a:lnTo>
                <a:lnTo>
                  <a:pt x="202" y="2912"/>
                </a:lnTo>
                <a:lnTo>
                  <a:pt x="192" y="2914"/>
                </a:lnTo>
                <a:lnTo>
                  <a:pt x="185" y="2918"/>
                </a:lnTo>
                <a:lnTo>
                  <a:pt x="178" y="2922"/>
                </a:lnTo>
                <a:lnTo>
                  <a:pt x="172" y="2927"/>
                </a:lnTo>
                <a:lnTo>
                  <a:pt x="167" y="2933"/>
                </a:lnTo>
                <a:lnTo>
                  <a:pt x="163" y="2939"/>
                </a:lnTo>
                <a:lnTo>
                  <a:pt x="160" y="2948"/>
                </a:lnTo>
                <a:lnTo>
                  <a:pt x="156" y="2956"/>
                </a:lnTo>
                <a:lnTo>
                  <a:pt x="155" y="2965"/>
                </a:lnTo>
                <a:lnTo>
                  <a:pt x="155" y="2965"/>
                </a:lnTo>
                <a:lnTo>
                  <a:pt x="154" y="2968"/>
                </a:lnTo>
                <a:lnTo>
                  <a:pt x="152" y="2971"/>
                </a:lnTo>
                <a:lnTo>
                  <a:pt x="150" y="2974"/>
                </a:lnTo>
                <a:lnTo>
                  <a:pt x="147" y="2976"/>
                </a:lnTo>
                <a:lnTo>
                  <a:pt x="140" y="2980"/>
                </a:lnTo>
                <a:lnTo>
                  <a:pt x="132" y="2985"/>
                </a:lnTo>
                <a:lnTo>
                  <a:pt x="109" y="2995"/>
                </a:lnTo>
                <a:lnTo>
                  <a:pt x="97" y="3001"/>
                </a:lnTo>
                <a:lnTo>
                  <a:pt x="84" y="3009"/>
                </a:lnTo>
                <a:lnTo>
                  <a:pt x="71" y="3019"/>
                </a:lnTo>
                <a:lnTo>
                  <a:pt x="57" y="3033"/>
                </a:lnTo>
                <a:lnTo>
                  <a:pt x="51" y="3040"/>
                </a:lnTo>
                <a:lnTo>
                  <a:pt x="45" y="3048"/>
                </a:lnTo>
                <a:lnTo>
                  <a:pt x="39" y="3058"/>
                </a:lnTo>
                <a:lnTo>
                  <a:pt x="33" y="3068"/>
                </a:lnTo>
                <a:lnTo>
                  <a:pt x="28" y="3080"/>
                </a:lnTo>
                <a:lnTo>
                  <a:pt x="22" y="3092"/>
                </a:lnTo>
                <a:lnTo>
                  <a:pt x="17" y="3106"/>
                </a:lnTo>
                <a:lnTo>
                  <a:pt x="13" y="3120"/>
                </a:lnTo>
                <a:lnTo>
                  <a:pt x="9" y="3137"/>
                </a:lnTo>
                <a:lnTo>
                  <a:pt x="6" y="3154"/>
                </a:lnTo>
                <a:lnTo>
                  <a:pt x="3" y="3174"/>
                </a:lnTo>
                <a:lnTo>
                  <a:pt x="0" y="3194"/>
                </a:lnTo>
                <a:lnTo>
                  <a:pt x="0" y="3194"/>
                </a:lnTo>
                <a:lnTo>
                  <a:pt x="1" y="3195"/>
                </a:lnTo>
                <a:lnTo>
                  <a:pt x="2" y="3196"/>
                </a:lnTo>
                <a:lnTo>
                  <a:pt x="6" y="3194"/>
                </a:lnTo>
                <a:lnTo>
                  <a:pt x="12" y="3189"/>
                </a:lnTo>
                <a:lnTo>
                  <a:pt x="20" y="3181"/>
                </a:lnTo>
                <a:lnTo>
                  <a:pt x="43" y="3158"/>
                </a:lnTo>
                <a:lnTo>
                  <a:pt x="69" y="3134"/>
                </a:lnTo>
                <a:lnTo>
                  <a:pt x="82" y="3121"/>
                </a:lnTo>
                <a:lnTo>
                  <a:pt x="95" y="3110"/>
                </a:lnTo>
                <a:lnTo>
                  <a:pt x="107" y="3101"/>
                </a:lnTo>
                <a:lnTo>
                  <a:pt x="119" y="3094"/>
                </a:lnTo>
                <a:lnTo>
                  <a:pt x="124" y="3091"/>
                </a:lnTo>
                <a:lnTo>
                  <a:pt x="129" y="3090"/>
                </a:lnTo>
                <a:lnTo>
                  <a:pt x="133" y="3089"/>
                </a:lnTo>
                <a:lnTo>
                  <a:pt x="137" y="3089"/>
                </a:lnTo>
                <a:lnTo>
                  <a:pt x="140" y="3091"/>
                </a:lnTo>
                <a:lnTo>
                  <a:pt x="143" y="3093"/>
                </a:lnTo>
                <a:lnTo>
                  <a:pt x="144" y="3097"/>
                </a:lnTo>
                <a:lnTo>
                  <a:pt x="146" y="3101"/>
                </a:lnTo>
                <a:lnTo>
                  <a:pt x="146" y="3101"/>
                </a:lnTo>
                <a:lnTo>
                  <a:pt x="149" y="3117"/>
                </a:lnTo>
                <a:lnTo>
                  <a:pt x="154" y="3132"/>
                </a:lnTo>
                <a:lnTo>
                  <a:pt x="162" y="3145"/>
                </a:lnTo>
                <a:lnTo>
                  <a:pt x="170" y="3155"/>
                </a:lnTo>
                <a:lnTo>
                  <a:pt x="179" y="3165"/>
                </a:lnTo>
                <a:lnTo>
                  <a:pt x="189" y="3173"/>
                </a:lnTo>
                <a:lnTo>
                  <a:pt x="200" y="3180"/>
                </a:lnTo>
                <a:lnTo>
                  <a:pt x="214" y="3185"/>
                </a:lnTo>
                <a:lnTo>
                  <a:pt x="227" y="3189"/>
                </a:lnTo>
                <a:lnTo>
                  <a:pt x="241" y="3191"/>
                </a:lnTo>
                <a:lnTo>
                  <a:pt x="256" y="3193"/>
                </a:lnTo>
                <a:lnTo>
                  <a:pt x="271" y="3194"/>
                </a:lnTo>
                <a:lnTo>
                  <a:pt x="287" y="3195"/>
                </a:lnTo>
                <a:lnTo>
                  <a:pt x="304" y="3194"/>
                </a:lnTo>
                <a:lnTo>
                  <a:pt x="337" y="3192"/>
                </a:lnTo>
                <a:lnTo>
                  <a:pt x="371" y="3188"/>
                </a:lnTo>
                <a:lnTo>
                  <a:pt x="405" y="3183"/>
                </a:lnTo>
                <a:lnTo>
                  <a:pt x="438" y="3178"/>
                </a:lnTo>
                <a:lnTo>
                  <a:pt x="468" y="3174"/>
                </a:lnTo>
                <a:lnTo>
                  <a:pt x="496" y="3172"/>
                </a:lnTo>
                <a:lnTo>
                  <a:pt x="509" y="3171"/>
                </a:lnTo>
                <a:lnTo>
                  <a:pt x="520" y="3171"/>
                </a:lnTo>
                <a:lnTo>
                  <a:pt x="531" y="3172"/>
                </a:lnTo>
                <a:lnTo>
                  <a:pt x="541" y="3174"/>
                </a:lnTo>
                <a:lnTo>
                  <a:pt x="549" y="3177"/>
                </a:lnTo>
                <a:lnTo>
                  <a:pt x="555" y="3181"/>
                </a:lnTo>
                <a:lnTo>
                  <a:pt x="555" y="3181"/>
                </a:lnTo>
                <a:lnTo>
                  <a:pt x="558" y="3184"/>
                </a:lnTo>
                <a:lnTo>
                  <a:pt x="559" y="3186"/>
                </a:lnTo>
                <a:lnTo>
                  <a:pt x="557" y="3189"/>
                </a:lnTo>
                <a:lnTo>
                  <a:pt x="554" y="3191"/>
                </a:lnTo>
                <a:lnTo>
                  <a:pt x="549" y="3194"/>
                </a:lnTo>
                <a:lnTo>
                  <a:pt x="542" y="3196"/>
                </a:lnTo>
                <a:lnTo>
                  <a:pt x="525" y="3200"/>
                </a:lnTo>
                <a:lnTo>
                  <a:pt x="475" y="3209"/>
                </a:lnTo>
                <a:lnTo>
                  <a:pt x="447" y="3215"/>
                </a:lnTo>
                <a:lnTo>
                  <a:pt x="417" y="3221"/>
                </a:lnTo>
                <a:lnTo>
                  <a:pt x="388" y="3228"/>
                </a:lnTo>
                <a:lnTo>
                  <a:pt x="359" y="3236"/>
                </a:lnTo>
                <a:lnTo>
                  <a:pt x="346" y="3240"/>
                </a:lnTo>
                <a:lnTo>
                  <a:pt x="333" y="3245"/>
                </a:lnTo>
                <a:lnTo>
                  <a:pt x="322" y="3250"/>
                </a:lnTo>
                <a:lnTo>
                  <a:pt x="312" y="3256"/>
                </a:lnTo>
                <a:lnTo>
                  <a:pt x="303" y="3263"/>
                </a:lnTo>
                <a:lnTo>
                  <a:pt x="294" y="3269"/>
                </a:lnTo>
                <a:lnTo>
                  <a:pt x="288" y="3276"/>
                </a:lnTo>
                <a:lnTo>
                  <a:pt x="284" y="3284"/>
                </a:lnTo>
                <a:lnTo>
                  <a:pt x="282" y="3292"/>
                </a:lnTo>
                <a:lnTo>
                  <a:pt x="281" y="3300"/>
                </a:lnTo>
                <a:lnTo>
                  <a:pt x="283" y="3311"/>
                </a:lnTo>
                <a:lnTo>
                  <a:pt x="287" y="3321"/>
                </a:lnTo>
                <a:lnTo>
                  <a:pt x="287" y="3321"/>
                </a:lnTo>
                <a:lnTo>
                  <a:pt x="287" y="3322"/>
                </a:lnTo>
                <a:lnTo>
                  <a:pt x="286" y="3325"/>
                </a:lnTo>
                <a:lnTo>
                  <a:pt x="283" y="3331"/>
                </a:lnTo>
                <a:lnTo>
                  <a:pt x="268" y="3348"/>
                </a:lnTo>
                <a:lnTo>
                  <a:pt x="258" y="3361"/>
                </a:lnTo>
                <a:lnTo>
                  <a:pt x="247" y="3374"/>
                </a:lnTo>
                <a:lnTo>
                  <a:pt x="237" y="3389"/>
                </a:lnTo>
                <a:lnTo>
                  <a:pt x="228" y="3406"/>
                </a:lnTo>
                <a:lnTo>
                  <a:pt x="220" y="3423"/>
                </a:lnTo>
                <a:lnTo>
                  <a:pt x="217" y="3432"/>
                </a:lnTo>
                <a:lnTo>
                  <a:pt x="214" y="3443"/>
                </a:lnTo>
                <a:lnTo>
                  <a:pt x="213" y="3452"/>
                </a:lnTo>
                <a:lnTo>
                  <a:pt x="212" y="3463"/>
                </a:lnTo>
                <a:lnTo>
                  <a:pt x="212" y="3473"/>
                </a:lnTo>
                <a:lnTo>
                  <a:pt x="213" y="3483"/>
                </a:lnTo>
                <a:lnTo>
                  <a:pt x="215" y="3495"/>
                </a:lnTo>
                <a:lnTo>
                  <a:pt x="219" y="3506"/>
                </a:lnTo>
                <a:lnTo>
                  <a:pt x="223" y="3518"/>
                </a:lnTo>
                <a:lnTo>
                  <a:pt x="229" y="3529"/>
                </a:lnTo>
                <a:lnTo>
                  <a:pt x="237" y="3542"/>
                </a:lnTo>
                <a:lnTo>
                  <a:pt x="246" y="3554"/>
                </a:lnTo>
                <a:lnTo>
                  <a:pt x="257" y="3566"/>
                </a:lnTo>
                <a:lnTo>
                  <a:pt x="270" y="3579"/>
                </a:lnTo>
                <a:lnTo>
                  <a:pt x="270" y="3579"/>
                </a:lnTo>
                <a:lnTo>
                  <a:pt x="270" y="3572"/>
                </a:lnTo>
                <a:lnTo>
                  <a:pt x="272" y="3555"/>
                </a:lnTo>
                <a:lnTo>
                  <a:pt x="277" y="3530"/>
                </a:lnTo>
                <a:lnTo>
                  <a:pt x="281" y="3517"/>
                </a:lnTo>
                <a:lnTo>
                  <a:pt x="285" y="3503"/>
                </a:lnTo>
                <a:lnTo>
                  <a:pt x="291" y="3490"/>
                </a:lnTo>
                <a:lnTo>
                  <a:pt x="298" y="3476"/>
                </a:lnTo>
                <a:lnTo>
                  <a:pt x="306" y="3463"/>
                </a:lnTo>
                <a:lnTo>
                  <a:pt x="315" y="3453"/>
                </a:lnTo>
                <a:lnTo>
                  <a:pt x="321" y="3448"/>
                </a:lnTo>
                <a:lnTo>
                  <a:pt x="326" y="3444"/>
                </a:lnTo>
                <a:lnTo>
                  <a:pt x="332" y="3439"/>
                </a:lnTo>
                <a:lnTo>
                  <a:pt x="339" y="3436"/>
                </a:lnTo>
                <a:lnTo>
                  <a:pt x="346" y="3434"/>
                </a:lnTo>
                <a:lnTo>
                  <a:pt x="354" y="3432"/>
                </a:lnTo>
                <a:lnTo>
                  <a:pt x="361" y="3432"/>
                </a:lnTo>
                <a:lnTo>
                  <a:pt x="369" y="3432"/>
                </a:lnTo>
                <a:lnTo>
                  <a:pt x="369" y="3432"/>
                </a:lnTo>
                <a:lnTo>
                  <a:pt x="383" y="3433"/>
                </a:lnTo>
                <a:lnTo>
                  <a:pt x="396" y="3436"/>
                </a:lnTo>
                <a:lnTo>
                  <a:pt x="408" y="3440"/>
                </a:lnTo>
                <a:lnTo>
                  <a:pt x="420" y="3445"/>
                </a:lnTo>
                <a:lnTo>
                  <a:pt x="443" y="3455"/>
                </a:lnTo>
                <a:lnTo>
                  <a:pt x="454" y="3459"/>
                </a:lnTo>
                <a:lnTo>
                  <a:pt x="465" y="3463"/>
                </a:lnTo>
                <a:lnTo>
                  <a:pt x="476" y="3466"/>
                </a:lnTo>
                <a:lnTo>
                  <a:pt x="489" y="3468"/>
                </a:lnTo>
                <a:lnTo>
                  <a:pt x="501" y="3469"/>
                </a:lnTo>
                <a:lnTo>
                  <a:pt x="514" y="3467"/>
                </a:lnTo>
                <a:lnTo>
                  <a:pt x="528" y="3464"/>
                </a:lnTo>
                <a:lnTo>
                  <a:pt x="542" y="3458"/>
                </a:lnTo>
                <a:lnTo>
                  <a:pt x="558" y="3450"/>
                </a:lnTo>
                <a:lnTo>
                  <a:pt x="575" y="3437"/>
                </a:lnTo>
                <a:lnTo>
                  <a:pt x="575" y="3437"/>
                </a:lnTo>
                <a:lnTo>
                  <a:pt x="588" y="3428"/>
                </a:lnTo>
                <a:lnTo>
                  <a:pt x="600" y="3417"/>
                </a:lnTo>
                <a:lnTo>
                  <a:pt x="614" y="3405"/>
                </a:lnTo>
                <a:lnTo>
                  <a:pt x="630" y="3392"/>
                </a:lnTo>
                <a:lnTo>
                  <a:pt x="651" y="3380"/>
                </a:lnTo>
                <a:lnTo>
                  <a:pt x="664" y="3373"/>
                </a:lnTo>
                <a:lnTo>
                  <a:pt x="678" y="3367"/>
                </a:lnTo>
                <a:lnTo>
                  <a:pt x="693" y="3360"/>
                </a:lnTo>
                <a:lnTo>
                  <a:pt x="712" y="3354"/>
                </a:lnTo>
                <a:lnTo>
                  <a:pt x="732" y="3346"/>
                </a:lnTo>
                <a:lnTo>
                  <a:pt x="754" y="3339"/>
                </a:lnTo>
                <a:lnTo>
                  <a:pt x="754" y="3339"/>
                </a:lnTo>
                <a:lnTo>
                  <a:pt x="756" y="3339"/>
                </a:lnTo>
                <a:lnTo>
                  <a:pt x="757" y="3340"/>
                </a:lnTo>
                <a:lnTo>
                  <a:pt x="760" y="3345"/>
                </a:lnTo>
                <a:lnTo>
                  <a:pt x="762" y="3354"/>
                </a:lnTo>
                <a:lnTo>
                  <a:pt x="765" y="3363"/>
                </a:lnTo>
                <a:lnTo>
                  <a:pt x="768" y="3375"/>
                </a:lnTo>
                <a:lnTo>
                  <a:pt x="772" y="3387"/>
                </a:lnTo>
                <a:lnTo>
                  <a:pt x="777" y="3400"/>
                </a:lnTo>
                <a:lnTo>
                  <a:pt x="783" y="3412"/>
                </a:lnTo>
                <a:lnTo>
                  <a:pt x="783" y="3412"/>
                </a:lnTo>
                <a:lnTo>
                  <a:pt x="786" y="3415"/>
                </a:lnTo>
                <a:lnTo>
                  <a:pt x="789" y="3417"/>
                </a:lnTo>
                <a:lnTo>
                  <a:pt x="797" y="3422"/>
                </a:lnTo>
                <a:lnTo>
                  <a:pt x="805" y="3425"/>
                </a:lnTo>
                <a:lnTo>
                  <a:pt x="813" y="3429"/>
                </a:lnTo>
                <a:lnTo>
                  <a:pt x="821" y="3432"/>
                </a:lnTo>
                <a:lnTo>
                  <a:pt x="827" y="3435"/>
                </a:lnTo>
                <a:lnTo>
                  <a:pt x="830" y="3437"/>
                </a:lnTo>
                <a:lnTo>
                  <a:pt x="831" y="3439"/>
                </a:lnTo>
                <a:lnTo>
                  <a:pt x="833" y="3443"/>
                </a:lnTo>
                <a:lnTo>
                  <a:pt x="833" y="3446"/>
                </a:lnTo>
                <a:lnTo>
                  <a:pt x="833" y="3446"/>
                </a:lnTo>
                <a:lnTo>
                  <a:pt x="832" y="3456"/>
                </a:lnTo>
                <a:lnTo>
                  <a:pt x="830" y="3467"/>
                </a:lnTo>
                <a:lnTo>
                  <a:pt x="826" y="3477"/>
                </a:lnTo>
                <a:lnTo>
                  <a:pt x="822" y="3486"/>
                </a:lnTo>
                <a:lnTo>
                  <a:pt x="817" y="3496"/>
                </a:lnTo>
                <a:lnTo>
                  <a:pt x="811" y="3505"/>
                </a:lnTo>
                <a:lnTo>
                  <a:pt x="798" y="3521"/>
                </a:lnTo>
                <a:lnTo>
                  <a:pt x="784" y="3535"/>
                </a:lnTo>
                <a:lnTo>
                  <a:pt x="773" y="3546"/>
                </a:lnTo>
                <a:lnTo>
                  <a:pt x="765" y="3552"/>
                </a:lnTo>
                <a:lnTo>
                  <a:pt x="763" y="3555"/>
                </a:lnTo>
                <a:lnTo>
                  <a:pt x="763" y="3555"/>
                </a:lnTo>
                <a:lnTo>
                  <a:pt x="767" y="3558"/>
                </a:lnTo>
                <a:lnTo>
                  <a:pt x="778" y="3561"/>
                </a:lnTo>
                <a:lnTo>
                  <a:pt x="785" y="3562"/>
                </a:lnTo>
                <a:lnTo>
                  <a:pt x="794" y="3563"/>
                </a:lnTo>
                <a:lnTo>
                  <a:pt x="804" y="3563"/>
                </a:lnTo>
                <a:lnTo>
                  <a:pt x="815" y="3561"/>
                </a:lnTo>
                <a:lnTo>
                  <a:pt x="826" y="3558"/>
                </a:lnTo>
                <a:lnTo>
                  <a:pt x="839" y="3553"/>
                </a:lnTo>
                <a:lnTo>
                  <a:pt x="852" y="3546"/>
                </a:lnTo>
                <a:lnTo>
                  <a:pt x="865" y="3536"/>
                </a:lnTo>
                <a:lnTo>
                  <a:pt x="879" y="3522"/>
                </a:lnTo>
                <a:lnTo>
                  <a:pt x="894" y="3506"/>
                </a:lnTo>
                <a:lnTo>
                  <a:pt x="907" y="3486"/>
                </a:lnTo>
                <a:lnTo>
                  <a:pt x="921" y="3463"/>
                </a:lnTo>
                <a:lnTo>
                  <a:pt x="921" y="3463"/>
                </a:lnTo>
                <a:lnTo>
                  <a:pt x="924" y="3459"/>
                </a:lnTo>
                <a:lnTo>
                  <a:pt x="927" y="3455"/>
                </a:lnTo>
                <a:lnTo>
                  <a:pt x="930" y="3453"/>
                </a:lnTo>
                <a:lnTo>
                  <a:pt x="935" y="3451"/>
                </a:lnTo>
                <a:lnTo>
                  <a:pt x="939" y="3450"/>
                </a:lnTo>
                <a:lnTo>
                  <a:pt x="943" y="3450"/>
                </a:lnTo>
                <a:lnTo>
                  <a:pt x="951" y="3450"/>
                </a:lnTo>
                <a:lnTo>
                  <a:pt x="970" y="3452"/>
                </a:lnTo>
                <a:lnTo>
                  <a:pt x="982" y="3452"/>
                </a:lnTo>
                <a:lnTo>
                  <a:pt x="987" y="3451"/>
                </a:lnTo>
                <a:lnTo>
                  <a:pt x="992" y="3450"/>
                </a:lnTo>
                <a:lnTo>
                  <a:pt x="992" y="3450"/>
                </a:lnTo>
                <a:lnTo>
                  <a:pt x="1010" y="3444"/>
                </a:lnTo>
                <a:lnTo>
                  <a:pt x="1017" y="3439"/>
                </a:lnTo>
                <a:lnTo>
                  <a:pt x="1024" y="3435"/>
                </a:lnTo>
                <a:lnTo>
                  <a:pt x="1029" y="3432"/>
                </a:lnTo>
                <a:lnTo>
                  <a:pt x="1033" y="3428"/>
                </a:lnTo>
                <a:lnTo>
                  <a:pt x="1036" y="3424"/>
                </a:lnTo>
                <a:lnTo>
                  <a:pt x="1039" y="3419"/>
                </a:lnTo>
                <a:lnTo>
                  <a:pt x="1041" y="3415"/>
                </a:lnTo>
                <a:lnTo>
                  <a:pt x="1042" y="3410"/>
                </a:lnTo>
                <a:lnTo>
                  <a:pt x="1043" y="3401"/>
                </a:lnTo>
                <a:lnTo>
                  <a:pt x="1042" y="3390"/>
                </a:lnTo>
                <a:lnTo>
                  <a:pt x="1040" y="3380"/>
                </a:lnTo>
                <a:lnTo>
                  <a:pt x="1035" y="3358"/>
                </a:lnTo>
                <a:lnTo>
                  <a:pt x="1034" y="3347"/>
                </a:lnTo>
                <a:lnTo>
                  <a:pt x="1033" y="3335"/>
                </a:lnTo>
                <a:lnTo>
                  <a:pt x="1034" y="3324"/>
                </a:lnTo>
                <a:lnTo>
                  <a:pt x="1036" y="3319"/>
                </a:lnTo>
                <a:lnTo>
                  <a:pt x="1038" y="3313"/>
                </a:lnTo>
                <a:lnTo>
                  <a:pt x="1040" y="3308"/>
                </a:lnTo>
                <a:lnTo>
                  <a:pt x="1044" y="3302"/>
                </a:lnTo>
                <a:lnTo>
                  <a:pt x="1048" y="3296"/>
                </a:lnTo>
                <a:lnTo>
                  <a:pt x="1054" y="3291"/>
                </a:lnTo>
                <a:lnTo>
                  <a:pt x="1054" y="3291"/>
                </a:lnTo>
                <a:lnTo>
                  <a:pt x="1069" y="3278"/>
                </a:lnTo>
                <a:lnTo>
                  <a:pt x="1084" y="3265"/>
                </a:lnTo>
                <a:lnTo>
                  <a:pt x="1099" y="3253"/>
                </a:lnTo>
                <a:lnTo>
                  <a:pt x="1115" y="3241"/>
                </a:lnTo>
                <a:lnTo>
                  <a:pt x="1146" y="3221"/>
                </a:lnTo>
                <a:lnTo>
                  <a:pt x="1178" y="3202"/>
                </a:lnTo>
                <a:lnTo>
                  <a:pt x="1210" y="3186"/>
                </a:lnTo>
                <a:lnTo>
                  <a:pt x="1241" y="3171"/>
                </a:lnTo>
                <a:lnTo>
                  <a:pt x="1273" y="3156"/>
                </a:lnTo>
                <a:lnTo>
                  <a:pt x="1304" y="3144"/>
                </a:lnTo>
                <a:lnTo>
                  <a:pt x="1304" y="3144"/>
                </a:lnTo>
                <a:lnTo>
                  <a:pt x="1303" y="3148"/>
                </a:lnTo>
                <a:lnTo>
                  <a:pt x="1299" y="3160"/>
                </a:lnTo>
                <a:lnTo>
                  <a:pt x="1294" y="3180"/>
                </a:lnTo>
                <a:lnTo>
                  <a:pt x="1291" y="3203"/>
                </a:lnTo>
                <a:lnTo>
                  <a:pt x="1290" y="3218"/>
                </a:lnTo>
                <a:lnTo>
                  <a:pt x="1290" y="3232"/>
                </a:lnTo>
                <a:lnTo>
                  <a:pt x="1291" y="3247"/>
                </a:lnTo>
                <a:lnTo>
                  <a:pt x="1292" y="3264"/>
                </a:lnTo>
                <a:lnTo>
                  <a:pt x="1296" y="3280"/>
                </a:lnTo>
                <a:lnTo>
                  <a:pt x="1301" y="3296"/>
                </a:lnTo>
                <a:lnTo>
                  <a:pt x="1306" y="3314"/>
                </a:lnTo>
                <a:lnTo>
                  <a:pt x="1314" y="3331"/>
                </a:lnTo>
                <a:lnTo>
                  <a:pt x="1640" y="3247"/>
                </a:lnTo>
                <a:lnTo>
                  <a:pt x="1640" y="3247"/>
                </a:lnTo>
                <a:lnTo>
                  <a:pt x="1634" y="3231"/>
                </a:lnTo>
                <a:lnTo>
                  <a:pt x="1631" y="3215"/>
                </a:lnTo>
                <a:lnTo>
                  <a:pt x="1629" y="3197"/>
                </a:lnTo>
                <a:lnTo>
                  <a:pt x="1629" y="3180"/>
                </a:lnTo>
                <a:lnTo>
                  <a:pt x="1631" y="3162"/>
                </a:lnTo>
                <a:lnTo>
                  <a:pt x="1634" y="3145"/>
                </a:lnTo>
                <a:lnTo>
                  <a:pt x="1638" y="3128"/>
                </a:lnTo>
                <a:lnTo>
                  <a:pt x="1644" y="3109"/>
                </a:lnTo>
                <a:lnTo>
                  <a:pt x="1651" y="3092"/>
                </a:lnTo>
                <a:lnTo>
                  <a:pt x="1660" y="3073"/>
                </a:lnTo>
                <a:lnTo>
                  <a:pt x="1669" y="3056"/>
                </a:lnTo>
                <a:lnTo>
                  <a:pt x="1679" y="3039"/>
                </a:lnTo>
                <a:lnTo>
                  <a:pt x="1689" y="3021"/>
                </a:lnTo>
                <a:lnTo>
                  <a:pt x="1701" y="3004"/>
                </a:lnTo>
                <a:lnTo>
                  <a:pt x="1725" y="2972"/>
                </a:lnTo>
                <a:lnTo>
                  <a:pt x="1725" y="2972"/>
                </a:lnTo>
                <a:lnTo>
                  <a:pt x="1726" y="2971"/>
                </a:lnTo>
                <a:lnTo>
                  <a:pt x="1727" y="2971"/>
                </a:lnTo>
                <a:lnTo>
                  <a:pt x="1728" y="2975"/>
                </a:lnTo>
                <a:lnTo>
                  <a:pt x="1725" y="2997"/>
                </a:lnTo>
                <a:lnTo>
                  <a:pt x="1721" y="3030"/>
                </a:lnTo>
                <a:lnTo>
                  <a:pt x="1715" y="3072"/>
                </a:lnTo>
                <a:lnTo>
                  <a:pt x="1713" y="3095"/>
                </a:lnTo>
                <a:lnTo>
                  <a:pt x="1711" y="3118"/>
                </a:lnTo>
                <a:lnTo>
                  <a:pt x="1711" y="3140"/>
                </a:lnTo>
                <a:lnTo>
                  <a:pt x="1711" y="3161"/>
                </a:lnTo>
                <a:lnTo>
                  <a:pt x="1713" y="3181"/>
                </a:lnTo>
                <a:lnTo>
                  <a:pt x="1716" y="3198"/>
                </a:lnTo>
                <a:lnTo>
                  <a:pt x="1719" y="3206"/>
                </a:lnTo>
                <a:lnTo>
                  <a:pt x="1722" y="3213"/>
                </a:lnTo>
                <a:lnTo>
                  <a:pt x="1726" y="3219"/>
                </a:lnTo>
                <a:lnTo>
                  <a:pt x="1730" y="3224"/>
                </a:lnTo>
                <a:lnTo>
                  <a:pt x="2050" y="3141"/>
                </a:lnTo>
                <a:lnTo>
                  <a:pt x="2050" y="3141"/>
                </a:lnTo>
                <a:lnTo>
                  <a:pt x="2046" y="3131"/>
                </a:lnTo>
                <a:lnTo>
                  <a:pt x="2043" y="3119"/>
                </a:lnTo>
                <a:lnTo>
                  <a:pt x="2041" y="3108"/>
                </a:lnTo>
                <a:lnTo>
                  <a:pt x="2039" y="3096"/>
                </a:lnTo>
                <a:lnTo>
                  <a:pt x="2038" y="3084"/>
                </a:lnTo>
                <a:lnTo>
                  <a:pt x="2038" y="3071"/>
                </a:lnTo>
                <a:lnTo>
                  <a:pt x="2039" y="3045"/>
                </a:lnTo>
                <a:lnTo>
                  <a:pt x="2043" y="3018"/>
                </a:lnTo>
                <a:lnTo>
                  <a:pt x="2048" y="2992"/>
                </a:lnTo>
                <a:lnTo>
                  <a:pt x="2055" y="2965"/>
                </a:lnTo>
                <a:lnTo>
                  <a:pt x="2064" y="2941"/>
                </a:lnTo>
                <a:lnTo>
                  <a:pt x="2064" y="2941"/>
                </a:lnTo>
                <a:lnTo>
                  <a:pt x="2072" y="2968"/>
                </a:lnTo>
                <a:lnTo>
                  <a:pt x="2079" y="2997"/>
                </a:lnTo>
                <a:lnTo>
                  <a:pt x="2088" y="3024"/>
                </a:lnTo>
                <a:lnTo>
                  <a:pt x="2098" y="3052"/>
                </a:lnTo>
                <a:lnTo>
                  <a:pt x="2108" y="3079"/>
                </a:lnTo>
                <a:lnTo>
                  <a:pt x="2121" y="3105"/>
                </a:lnTo>
                <a:lnTo>
                  <a:pt x="2135" y="3131"/>
                </a:lnTo>
                <a:lnTo>
                  <a:pt x="2149" y="3156"/>
                </a:lnTo>
                <a:lnTo>
                  <a:pt x="2166" y="3181"/>
                </a:lnTo>
                <a:lnTo>
                  <a:pt x="2183" y="3203"/>
                </a:lnTo>
                <a:lnTo>
                  <a:pt x="2201" y="3225"/>
                </a:lnTo>
                <a:lnTo>
                  <a:pt x="2222" y="3245"/>
                </a:lnTo>
                <a:lnTo>
                  <a:pt x="2244" y="3265"/>
                </a:lnTo>
                <a:lnTo>
                  <a:pt x="2268" y="3281"/>
                </a:lnTo>
                <a:lnTo>
                  <a:pt x="2280" y="3289"/>
                </a:lnTo>
                <a:lnTo>
                  <a:pt x="2292" y="3296"/>
                </a:lnTo>
                <a:lnTo>
                  <a:pt x="2306" y="3303"/>
                </a:lnTo>
                <a:lnTo>
                  <a:pt x="2320" y="3310"/>
                </a:lnTo>
                <a:lnTo>
                  <a:pt x="2320" y="3310"/>
                </a:lnTo>
                <a:lnTo>
                  <a:pt x="2365" y="3329"/>
                </a:lnTo>
                <a:lnTo>
                  <a:pt x="2410" y="3347"/>
                </a:lnTo>
                <a:lnTo>
                  <a:pt x="2454" y="3364"/>
                </a:lnTo>
                <a:lnTo>
                  <a:pt x="2499" y="3380"/>
                </a:lnTo>
                <a:lnTo>
                  <a:pt x="2544" y="3395"/>
                </a:lnTo>
                <a:lnTo>
                  <a:pt x="2589" y="3411"/>
                </a:lnTo>
                <a:lnTo>
                  <a:pt x="2683" y="3440"/>
                </a:lnTo>
                <a:lnTo>
                  <a:pt x="2782" y="3469"/>
                </a:lnTo>
                <a:lnTo>
                  <a:pt x="2889" y="3500"/>
                </a:lnTo>
                <a:lnTo>
                  <a:pt x="3005" y="3534"/>
                </a:lnTo>
                <a:lnTo>
                  <a:pt x="3133" y="3570"/>
                </a:lnTo>
                <a:lnTo>
                  <a:pt x="3133" y="3570"/>
                </a:lnTo>
                <a:lnTo>
                  <a:pt x="3205" y="3593"/>
                </a:lnTo>
                <a:lnTo>
                  <a:pt x="3273" y="3616"/>
                </a:lnTo>
                <a:lnTo>
                  <a:pt x="3305" y="3628"/>
                </a:lnTo>
                <a:lnTo>
                  <a:pt x="3333" y="3639"/>
                </a:lnTo>
                <a:lnTo>
                  <a:pt x="3358" y="3649"/>
                </a:lnTo>
                <a:lnTo>
                  <a:pt x="3377" y="3658"/>
                </a:lnTo>
                <a:lnTo>
                  <a:pt x="3377" y="3658"/>
                </a:lnTo>
                <a:lnTo>
                  <a:pt x="3383" y="3661"/>
                </a:lnTo>
                <a:lnTo>
                  <a:pt x="3389" y="3665"/>
                </a:lnTo>
                <a:lnTo>
                  <a:pt x="3393" y="3668"/>
                </a:lnTo>
                <a:lnTo>
                  <a:pt x="3397" y="3673"/>
                </a:lnTo>
                <a:lnTo>
                  <a:pt x="3399" y="3677"/>
                </a:lnTo>
                <a:lnTo>
                  <a:pt x="3401" y="3682"/>
                </a:lnTo>
                <a:lnTo>
                  <a:pt x="3402" y="3686"/>
                </a:lnTo>
                <a:lnTo>
                  <a:pt x="3402" y="3690"/>
                </a:lnTo>
                <a:lnTo>
                  <a:pt x="3401" y="3699"/>
                </a:lnTo>
                <a:lnTo>
                  <a:pt x="3397" y="3708"/>
                </a:lnTo>
                <a:lnTo>
                  <a:pt x="3392" y="3717"/>
                </a:lnTo>
                <a:lnTo>
                  <a:pt x="3386" y="3726"/>
                </a:lnTo>
                <a:lnTo>
                  <a:pt x="3378" y="3734"/>
                </a:lnTo>
                <a:lnTo>
                  <a:pt x="3371" y="3742"/>
                </a:lnTo>
                <a:lnTo>
                  <a:pt x="3357" y="3754"/>
                </a:lnTo>
                <a:lnTo>
                  <a:pt x="3346" y="3764"/>
                </a:lnTo>
                <a:lnTo>
                  <a:pt x="3341" y="3767"/>
                </a:lnTo>
                <a:lnTo>
                  <a:pt x="3341" y="3767"/>
                </a:lnTo>
                <a:lnTo>
                  <a:pt x="3355" y="3775"/>
                </a:lnTo>
                <a:lnTo>
                  <a:pt x="3371" y="3783"/>
                </a:lnTo>
                <a:lnTo>
                  <a:pt x="3411" y="3801"/>
                </a:lnTo>
                <a:lnTo>
                  <a:pt x="3435" y="3814"/>
                </a:lnTo>
                <a:lnTo>
                  <a:pt x="3461" y="3829"/>
                </a:lnTo>
                <a:lnTo>
                  <a:pt x="3492" y="3848"/>
                </a:lnTo>
                <a:lnTo>
                  <a:pt x="3527" y="3873"/>
                </a:lnTo>
                <a:lnTo>
                  <a:pt x="3527" y="3873"/>
                </a:lnTo>
                <a:lnTo>
                  <a:pt x="3545" y="3888"/>
                </a:lnTo>
                <a:lnTo>
                  <a:pt x="3563" y="3906"/>
                </a:lnTo>
                <a:lnTo>
                  <a:pt x="3580" y="3925"/>
                </a:lnTo>
                <a:lnTo>
                  <a:pt x="3595" y="3946"/>
                </a:lnTo>
                <a:lnTo>
                  <a:pt x="3608" y="3967"/>
                </a:lnTo>
                <a:lnTo>
                  <a:pt x="3622" y="3991"/>
                </a:lnTo>
                <a:lnTo>
                  <a:pt x="3634" y="4014"/>
                </a:lnTo>
                <a:lnTo>
                  <a:pt x="3645" y="4040"/>
                </a:lnTo>
                <a:lnTo>
                  <a:pt x="3655" y="4066"/>
                </a:lnTo>
                <a:lnTo>
                  <a:pt x="3665" y="4094"/>
                </a:lnTo>
                <a:lnTo>
                  <a:pt x="3674" y="4122"/>
                </a:lnTo>
                <a:lnTo>
                  <a:pt x="3682" y="4151"/>
                </a:lnTo>
                <a:lnTo>
                  <a:pt x="3698" y="4211"/>
                </a:lnTo>
                <a:lnTo>
                  <a:pt x="3714" y="4274"/>
                </a:lnTo>
                <a:lnTo>
                  <a:pt x="3714" y="4274"/>
                </a:lnTo>
                <a:lnTo>
                  <a:pt x="3725" y="4324"/>
                </a:lnTo>
                <a:lnTo>
                  <a:pt x="3734" y="4377"/>
                </a:lnTo>
                <a:lnTo>
                  <a:pt x="3742" y="4430"/>
                </a:lnTo>
                <a:lnTo>
                  <a:pt x="3744" y="4457"/>
                </a:lnTo>
                <a:lnTo>
                  <a:pt x="3746" y="4481"/>
                </a:lnTo>
                <a:lnTo>
                  <a:pt x="3748" y="4506"/>
                </a:lnTo>
                <a:lnTo>
                  <a:pt x="3749" y="4529"/>
                </a:lnTo>
                <a:lnTo>
                  <a:pt x="3748" y="4551"/>
                </a:lnTo>
                <a:lnTo>
                  <a:pt x="3745" y="4571"/>
                </a:lnTo>
                <a:lnTo>
                  <a:pt x="3742" y="4590"/>
                </a:lnTo>
                <a:lnTo>
                  <a:pt x="3737" y="4606"/>
                </a:lnTo>
                <a:lnTo>
                  <a:pt x="3731" y="4619"/>
                </a:lnTo>
                <a:lnTo>
                  <a:pt x="3728" y="4625"/>
                </a:lnTo>
                <a:lnTo>
                  <a:pt x="3724" y="4631"/>
                </a:lnTo>
                <a:lnTo>
                  <a:pt x="3724" y="4631"/>
                </a:lnTo>
                <a:lnTo>
                  <a:pt x="3715" y="4641"/>
                </a:lnTo>
                <a:lnTo>
                  <a:pt x="3705" y="4651"/>
                </a:lnTo>
                <a:lnTo>
                  <a:pt x="3691" y="4660"/>
                </a:lnTo>
                <a:lnTo>
                  <a:pt x="3683" y="4665"/>
                </a:lnTo>
                <a:lnTo>
                  <a:pt x="3673" y="4670"/>
                </a:lnTo>
                <a:lnTo>
                  <a:pt x="3663" y="4676"/>
                </a:lnTo>
                <a:lnTo>
                  <a:pt x="3650" y="4681"/>
                </a:lnTo>
                <a:lnTo>
                  <a:pt x="3621" y="4690"/>
                </a:lnTo>
                <a:lnTo>
                  <a:pt x="3582" y="4700"/>
                </a:lnTo>
                <a:lnTo>
                  <a:pt x="3535" y="4710"/>
                </a:lnTo>
                <a:lnTo>
                  <a:pt x="3560" y="4833"/>
                </a:lnTo>
                <a:lnTo>
                  <a:pt x="3560" y="4833"/>
                </a:lnTo>
                <a:lnTo>
                  <a:pt x="3579" y="4834"/>
                </a:lnTo>
                <a:lnTo>
                  <a:pt x="3597" y="4834"/>
                </a:lnTo>
                <a:lnTo>
                  <a:pt x="3615" y="4833"/>
                </a:lnTo>
                <a:lnTo>
                  <a:pt x="3631" y="4831"/>
                </a:lnTo>
                <a:lnTo>
                  <a:pt x="3646" y="4829"/>
                </a:lnTo>
                <a:lnTo>
                  <a:pt x="3662" y="4826"/>
                </a:lnTo>
                <a:lnTo>
                  <a:pt x="3688" y="4819"/>
                </a:lnTo>
                <a:lnTo>
                  <a:pt x="3711" y="4812"/>
                </a:lnTo>
                <a:lnTo>
                  <a:pt x="3728" y="4805"/>
                </a:lnTo>
                <a:lnTo>
                  <a:pt x="3742" y="4799"/>
                </a:lnTo>
                <a:lnTo>
                  <a:pt x="3742" y="4799"/>
                </a:lnTo>
                <a:lnTo>
                  <a:pt x="3736" y="4805"/>
                </a:lnTo>
                <a:lnTo>
                  <a:pt x="3730" y="4813"/>
                </a:lnTo>
                <a:lnTo>
                  <a:pt x="3722" y="4823"/>
                </a:lnTo>
                <a:lnTo>
                  <a:pt x="3722" y="4823"/>
                </a:lnTo>
                <a:lnTo>
                  <a:pt x="3711" y="4839"/>
                </a:lnTo>
                <a:lnTo>
                  <a:pt x="3700" y="4856"/>
                </a:lnTo>
                <a:lnTo>
                  <a:pt x="3692" y="4871"/>
                </a:lnTo>
                <a:lnTo>
                  <a:pt x="3685" y="4886"/>
                </a:lnTo>
                <a:lnTo>
                  <a:pt x="3680" y="4902"/>
                </a:lnTo>
                <a:lnTo>
                  <a:pt x="3675" y="4919"/>
                </a:lnTo>
                <a:lnTo>
                  <a:pt x="3672" y="4936"/>
                </a:lnTo>
                <a:lnTo>
                  <a:pt x="3669" y="4957"/>
                </a:lnTo>
                <a:lnTo>
                  <a:pt x="3799" y="5041"/>
                </a:lnTo>
                <a:lnTo>
                  <a:pt x="3799" y="5041"/>
                </a:lnTo>
                <a:lnTo>
                  <a:pt x="3812" y="5000"/>
                </a:lnTo>
                <a:lnTo>
                  <a:pt x="3826" y="4960"/>
                </a:lnTo>
                <a:lnTo>
                  <a:pt x="3841" y="4924"/>
                </a:lnTo>
                <a:lnTo>
                  <a:pt x="3855" y="4891"/>
                </a:lnTo>
                <a:lnTo>
                  <a:pt x="3870" y="4864"/>
                </a:lnTo>
                <a:lnTo>
                  <a:pt x="3877" y="4851"/>
                </a:lnTo>
                <a:lnTo>
                  <a:pt x="3885" y="4841"/>
                </a:lnTo>
                <a:lnTo>
                  <a:pt x="3892" y="4832"/>
                </a:lnTo>
                <a:lnTo>
                  <a:pt x="3899" y="4825"/>
                </a:lnTo>
                <a:lnTo>
                  <a:pt x="3906" y="4820"/>
                </a:lnTo>
                <a:lnTo>
                  <a:pt x="3913" y="4816"/>
                </a:lnTo>
                <a:lnTo>
                  <a:pt x="3913" y="4816"/>
                </a:lnTo>
                <a:lnTo>
                  <a:pt x="3919" y="4814"/>
                </a:lnTo>
                <a:lnTo>
                  <a:pt x="3926" y="4814"/>
                </a:lnTo>
                <a:lnTo>
                  <a:pt x="3935" y="4814"/>
                </a:lnTo>
                <a:lnTo>
                  <a:pt x="3944" y="4815"/>
                </a:lnTo>
                <a:lnTo>
                  <a:pt x="3954" y="4817"/>
                </a:lnTo>
                <a:lnTo>
                  <a:pt x="3965" y="4819"/>
                </a:lnTo>
                <a:lnTo>
                  <a:pt x="3990" y="4828"/>
                </a:lnTo>
                <a:lnTo>
                  <a:pt x="4017" y="4839"/>
                </a:lnTo>
                <a:lnTo>
                  <a:pt x="4047" y="4854"/>
                </a:lnTo>
                <a:lnTo>
                  <a:pt x="4078" y="4874"/>
                </a:lnTo>
                <a:lnTo>
                  <a:pt x="4110" y="4895"/>
                </a:lnTo>
                <a:lnTo>
                  <a:pt x="4127" y="4908"/>
                </a:lnTo>
                <a:lnTo>
                  <a:pt x="4143" y="4921"/>
                </a:lnTo>
                <a:lnTo>
                  <a:pt x="4160" y="4935"/>
                </a:lnTo>
                <a:lnTo>
                  <a:pt x="4176" y="4950"/>
                </a:lnTo>
                <a:lnTo>
                  <a:pt x="4192" y="4965"/>
                </a:lnTo>
                <a:lnTo>
                  <a:pt x="4208" y="4981"/>
                </a:lnTo>
                <a:lnTo>
                  <a:pt x="4224" y="4999"/>
                </a:lnTo>
                <a:lnTo>
                  <a:pt x="4239" y="5017"/>
                </a:lnTo>
                <a:lnTo>
                  <a:pt x="4254" y="5035"/>
                </a:lnTo>
                <a:lnTo>
                  <a:pt x="4268" y="5055"/>
                </a:lnTo>
                <a:lnTo>
                  <a:pt x="4282" y="5075"/>
                </a:lnTo>
                <a:lnTo>
                  <a:pt x="4296" y="5097"/>
                </a:lnTo>
                <a:lnTo>
                  <a:pt x="4308" y="5118"/>
                </a:lnTo>
                <a:lnTo>
                  <a:pt x="4320" y="5141"/>
                </a:lnTo>
                <a:lnTo>
                  <a:pt x="4331" y="5164"/>
                </a:lnTo>
                <a:lnTo>
                  <a:pt x="4342" y="5189"/>
                </a:lnTo>
                <a:lnTo>
                  <a:pt x="4342" y="5189"/>
                </a:lnTo>
                <a:lnTo>
                  <a:pt x="4347" y="5203"/>
                </a:lnTo>
                <a:lnTo>
                  <a:pt x="4352" y="5220"/>
                </a:lnTo>
                <a:lnTo>
                  <a:pt x="4356" y="5236"/>
                </a:lnTo>
                <a:lnTo>
                  <a:pt x="4360" y="5253"/>
                </a:lnTo>
                <a:lnTo>
                  <a:pt x="4363" y="5272"/>
                </a:lnTo>
                <a:lnTo>
                  <a:pt x="4366" y="5290"/>
                </a:lnTo>
                <a:lnTo>
                  <a:pt x="4370" y="5329"/>
                </a:lnTo>
                <a:lnTo>
                  <a:pt x="4372" y="5368"/>
                </a:lnTo>
                <a:lnTo>
                  <a:pt x="4371" y="5409"/>
                </a:lnTo>
                <a:lnTo>
                  <a:pt x="4370" y="5429"/>
                </a:lnTo>
                <a:lnTo>
                  <a:pt x="4369" y="5449"/>
                </a:lnTo>
                <a:lnTo>
                  <a:pt x="4366" y="5469"/>
                </a:lnTo>
                <a:lnTo>
                  <a:pt x="4363" y="5488"/>
                </a:lnTo>
                <a:lnTo>
                  <a:pt x="4360" y="5508"/>
                </a:lnTo>
                <a:lnTo>
                  <a:pt x="4356" y="5526"/>
                </a:lnTo>
                <a:lnTo>
                  <a:pt x="4351" y="5545"/>
                </a:lnTo>
                <a:lnTo>
                  <a:pt x="4345" y="5562"/>
                </a:lnTo>
                <a:lnTo>
                  <a:pt x="4339" y="5579"/>
                </a:lnTo>
                <a:lnTo>
                  <a:pt x="4332" y="5595"/>
                </a:lnTo>
                <a:lnTo>
                  <a:pt x="4324" y="5610"/>
                </a:lnTo>
                <a:lnTo>
                  <a:pt x="4316" y="5624"/>
                </a:lnTo>
                <a:lnTo>
                  <a:pt x="4307" y="5638"/>
                </a:lnTo>
                <a:lnTo>
                  <a:pt x="4298" y="5650"/>
                </a:lnTo>
                <a:lnTo>
                  <a:pt x="4287" y="5661"/>
                </a:lnTo>
                <a:lnTo>
                  <a:pt x="4276" y="5670"/>
                </a:lnTo>
                <a:lnTo>
                  <a:pt x="4264" y="5679"/>
                </a:lnTo>
                <a:lnTo>
                  <a:pt x="4252" y="5686"/>
                </a:lnTo>
                <a:lnTo>
                  <a:pt x="4238" y="5691"/>
                </a:lnTo>
                <a:lnTo>
                  <a:pt x="4224" y="5694"/>
                </a:lnTo>
                <a:lnTo>
                  <a:pt x="4224" y="5694"/>
                </a:lnTo>
                <a:lnTo>
                  <a:pt x="4216" y="5695"/>
                </a:lnTo>
                <a:lnTo>
                  <a:pt x="4208" y="5695"/>
                </a:lnTo>
                <a:lnTo>
                  <a:pt x="4198" y="5694"/>
                </a:lnTo>
                <a:lnTo>
                  <a:pt x="4188" y="5692"/>
                </a:lnTo>
                <a:lnTo>
                  <a:pt x="4168" y="5687"/>
                </a:lnTo>
                <a:lnTo>
                  <a:pt x="4145" y="5679"/>
                </a:lnTo>
                <a:lnTo>
                  <a:pt x="4123" y="5668"/>
                </a:lnTo>
                <a:lnTo>
                  <a:pt x="4099" y="5657"/>
                </a:lnTo>
                <a:lnTo>
                  <a:pt x="4051" y="5635"/>
                </a:lnTo>
                <a:lnTo>
                  <a:pt x="4028" y="5623"/>
                </a:lnTo>
                <a:lnTo>
                  <a:pt x="4005" y="5614"/>
                </a:lnTo>
                <a:lnTo>
                  <a:pt x="3984" y="5607"/>
                </a:lnTo>
                <a:lnTo>
                  <a:pt x="3964" y="5602"/>
                </a:lnTo>
                <a:lnTo>
                  <a:pt x="3955" y="5601"/>
                </a:lnTo>
                <a:lnTo>
                  <a:pt x="3947" y="5600"/>
                </a:lnTo>
                <a:lnTo>
                  <a:pt x="3939" y="5601"/>
                </a:lnTo>
                <a:lnTo>
                  <a:pt x="3932" y="5602"/>
                </a:lnTo>
                <a:lnTo>
                  <a:pt x="3924" y="5605"/>
                </a:lnTo>
                <a:lnTo>
                  <a:pt x="3919" y="5609"/>
                </a:lnTo>
                <a:lnTo>
                  <a:pt x="3914" y="5614"/>
                </a:lnTo>
                <a:lnTo>
                  <a:pt x="3909" y="5620"/>
                </a:lnTo>
                <a:lnTo>
                  <a:pt x="3909" y="5620"/>
                </a:lnTo>
                <a:lnTo>
                  <a:pt x="3905" y="5627"/>
                </a:lnTo>
                <a:lnTo>
                  <a:pt x="3900" y="5635"/>
                </a:lnTo>
                <a:lnTo>
                  <a:pt x="3893" y="5641"/>
                </a:lnTo>
                <a:lnTo>
                  <a:pt x="3886" y="5647"/>
                </a:lnTo>
                <a:lnTo>
                  <a:pt x="3869" y="5658"/>
                </a:lnTo>
                <a:lnTo>
                  <a:pt x="3851" y="5668"/>
                </a:lnTo>
                <a:lnTo>
                  <a:pt x="3810" y="5690"/>
                </a:lnTo>
                <a:lnTo>
                  <a:pt x="3789" y="5701"/>
                </a:lnTo>
                <a:lnTo>
                  <a:pt x="3770" y="5714"/>
                </a:lnTo>
                <a:lnTo>
                  <a:pt x="3761" y="5720"/>
                </a:lnTo>
                <a:lnTo>
                  <a:pt x="3752" y="5729"/>
                </a:lnTo>
                <a:lnTo>
                  <a:pt x="3743" y="5736"/>
                </a:lnTo>
                <a:lnTo>
                  <a:pt x="3735" y="5745"/>
                </a:lnTo>
                <a:lnTo>
                  <a:pt x="3728" y="5754"/>
                </a:lnTo>
                <a:lnTo>
                  <a:pt x="3722" y="5764"/>
                </a:lnTo>
                <a:lnTo>
                  <a:pt x="3717" y="5775"/>
                </a:lnTo>
                <a:lnTo>
                  <a:pt x="3713" y="5787"/>
                </a:lnTo>
                <a:lnTo>
                  <a:pt x="3710" y="5799"/>
                </a:lnTo>
                <a:lnTo>
                  <a:pt x="3708" y="5813"/>
                </a:lnTo>
                <a:lnTo>
                  <a:pt x="3707" y="5827"/>
                </a:lnTo>
                <a:lnTo>
                  <a:pt x="3707" y="5843"/>
                </a:lnTo>
                <a:lnTo>
                  <a:pt x="3709" y="5860"/>
                </a:lnTo>
                <a:lnTo>
                  <a:pt x="3713" y="5877"/>
                </a:lnTo>
                <a:lnTo>
                  <a:pt x="3718" y="5896"/>
                </a:lnTo>
                <a:lnTo>
                  <a:pt x="3724" y="5917"/>
                </a:lnTo>
                <a:lnTo>
                  <a:pt x="3724" y="5917"/>
                </a:lnTo>
                <a:lnTo>
                  <a:pt x="3741" y="5896"/>
                </a:lnTo>
                <a:lnTo>
                  <a:pt x="3759" y="5875"/>
                </a:lnTo>
                <a:lnTo>
                  <a:pt x="3776" y="5856"/>
                </a:lnTo>
                <a:lnTo>
                  <a:pt x="3794" y="5840"/>
                </a:lnTo>
                <a:lnTo>
                  <a:pt x="3802" y="5833"/>
                </a:lnTo>
                <a:lnTo>
                  <a:pt x="3811" y="5827"/>
                </a:lnTo>
                <a:lnTo>
                  <a:pt x="3819" y="5821"/>
                </a:lnTo>
                <a:lnTo>
                  <a:pt x="3827" y="5817"/>
                </a:lnTo>
                <a:lnTo>
                  <a:pt x="3835" y="5815"/>
                </a:lnTo>
                <a:lnTo>
                  <a:pt x="3843" y="5813"/>
                </a:lnTo>
                <a:lnTo>
                  <a:pt x="3850" y="5813"/>
                </a:lnTo>
                <a:lnTo>
                  <a:pt x="3857" y="5815"/>
                </a:lnTo>
                <a:lnTo>
                  <a:pt x="3857" y="5815"/>
                </a:lnTo>
                <a:lnTo>
                  <a:pt x="3861" y="5817"/>
                </a:lnTo>
                <a:lnTo>
                  <a:pt x="3864" y="5819"/>
                </a:lnTo>
                <a:lnTo>
                  <a:pt x="3870" y="5825"/>
                </a:lnTo>
                <a:lnTo>
                  <a:pt x="3875" y="5833"/>
                </a:lnTo>
                <a:lnTo>
                  <a:pt x="3879" y="5841"/>
                </a:lnTo>
                <a:lnTo>
                  <a:pt x="3888" y="5862"/>
                </a:lnTo>
                <a:lnTo>
                  <a:pt x="3894" y="5872"/>
                </a:lnTo>
                <a:lnTo>
                  <a:pt x="3901" y="5882"/>
                </a:lnTo>
                <a:lnTo>
                  <a:pt x="3901" y="5882"/>
                </a:lnTo>
                <a:lnTo>
                  <a:pt x="3904" y="5885"/>
                </a:lnTo>
                <a:lnTo>
                  <a:pt x="3908" y="5887"/>
                </a:lnTo>
                <a:lnTo>
                  <a:pt x="3913" y="5889"/>
                </a:lnTo>
                <a:lnTo>
                  <a:pt x="3919" y="5890"/>
                </a:lnTo>
                <a:lnTo>
                  <a:pt x="3934" y="5892"/>
                </a:lnTo>
                <a:lnTo>
                  <a:pt x="3950" y="5892"/>
                </a:lnTo>
                <a:lnTo>
                  <a:pt x="3968" y="5891"/>
                </a:lnTo>
                <a:lnTo>
                  <a:pt x="3989" y="5889"/>
                </a:lnTo>
                <a:lnTo>
                  <a:pt x="4032" y="5885"/>
                </a:lnTo>
                <a:lnTo>
                  <a:pt x="4074" y="5881"/>
                </a:lnTo>
                <a:lnTo>
                  <a:pt x="4093" y="5879"/>
                </a:lnTo>
                <a:lnTo>
                  <a:pt x="4110" y="5879"/>
                </a:lnTo>
                <a:lnTo>
                  <a:pt x="4126" y="5879"/>
                </a:lnTo>
                <a:lnTo>
                  <a:pt x="4137" y="5881"/>
                </a:lnTo>
                <a:lnTo>
                  <a:pt x="4142" y="5883"/>
                </a:lnTo>
                <a:lnTo>
                  <a:pt x="4146" y="5885"/>
                </a:lnTo>
                <a:lnTo>
                  <a:pt x="4148" y="5887"/>
                </a:lnTo>
                <a:lnTo>
                  <a:pt x="4150" y="5890"/>
                </a:lnTo>
                <a:lnTo>
                  <a:pt x="4150" y="5890"/>
                </a:lnTo>
                <a:lnTo>
                  <a:pt x="4151" y="5893"/>
                </a:lnTo>
                <a:lnTo>
                  <a:pt x="4150" y="5896"/>
                </a:lnTo>
                <a:lnTo>
                  <a:pt x="4149" y="5898"/>
                </a:lnTo>
                <a:lnTo>
                  <a:pt x="4148" y="5900"/>
                </a:lnTo>
                <a:lnTo>
                  <a:pt x="4143" y="5904"/>
                </a:lnTo>
                <a:lnTo>
                  <a:pt x="4136" y="5905"/>
                </a:lnTo>
                <a:lnTo>
                  <a:pt x="4118" y="5908"/>
                </a:lnTo>
                <a:lnTo>
                  <a:pt x="4100" y="5910"/>
                </a:lnTo>
                <a:lnTo>
                  <a:pt x="4100" y="5910"/>
                </a:lnTo>
                <a:lnTo>
                  <a:pt x="4021" y="5924"/>
                </a:lnTo>
                <a:lnTo>
                  <a:pt x="3981" y="5931"/>
                </a:lnTo>
                <a:lnTo>
                  <a:pt x="3943" y="5939"/>
                </a:lnTo>
                <a:lnTo>
                  <a:pt x="3925" y="5944"/>
                </a:lnTo>
                <a:lnTo>
                  <a:pt x="3909" y="5950"/>
                </a:lnTo>
                <a:lnTo>
                  <a:pt x="3894" y="5956"/>
                </a:lnTo>
                <a:lnTo>
                  <a:pt x="3881" y="5962"/>
                </a:lnTo>
                <a:lnTo>
                  <a:pt x="3869" y="5968"/>
                </a:lnTo>
                <a:lnTo>
                  <a:pt x="3860" y="5976"/>
                </a:lnTo>
                <a:lnTo>
                  <a:pt x="3853" y="5984"/>
                </a:lnTo>
                <a:lnTo>
                  <a:pt x="3850" y="5988"/>
                </a:lnTo>
                <a:lnTo>
                  <a:pt x="3848" y="5993"/>
                </a:lnTo>
                <a:lnTo>
                  <a:pt x="3848" y="5993"/>
                </a:lnTo>
                <a:lnTo>
                  <a:pt x="3846" y="6000"/>
                </a:lnTo>
                <a:lnTo>
                  <a:pt x="3846" y="6004"/>
                </a:lnTo>
                <a:lnTo>
                  <a:pt x="3847" y="6014"/>
                </a:lnTo>
                <a:lnTo>
                  <a:pt x="3847" y="6019"/>
                </a:lnTo>
                <a:lnTo>
                  <a:pt x="3846" y="6025"/>
                </a:lnTo>
                <a:lnTo>
                  <a:pt x="3845" y="6033"/>
                </a:lnTo>
                <a:lnTo>
                  <a:pt x="3842" y="6044"/>
                </a:lnTo>
                <a:lnTo>
                  <a:pt x="3842" y="6044"/>
                </a:lnTo>
                <a:lnTo>
                  <a:pt x="3837" y="6055"/>
                </a:lnTo>
                <a:lnTo>
                  <a:pt x="3831" y="6064"/>
                </a:lnTo>
                <a:lnTo>
                  <a:pt x="3823" y="6072"/>
                </a:lnTo>
                <a:lnTo>
                  <a:pt x="3815" y="6080"/>
                </a:lnTo>
                <a:lnTo>
                  <a:pt x="3796" y="6096"/>
                </a:lnTo>
                <a:lnTo>
                  <a:pt x="3786" y="6104"/>
                </a:lnTo>
                <a:lnTo>
                  <a:pt x="3776" y="6113"/>
                </a:lnTo>
                <a:lnTo>
                  <a:pt x="3767" y="6122"/>
                </a:lnTo>
                <a:lnTo>
                  <a:pt x="3758" y="6134"/>
                </a:lnTo>
                <a:lnTo>
                  <a:pt x="3750" y="6147"/>
                </a:lnTo>
                <a:lnTo>
                  <a:pt x="3742" y="6161"/>
                </a:lnTo>
                <a:lnTo>
                  <a:pt x="3736" y="6179"/>
                </a:lnTo>
                <a:lnTo>
                  <a:pt x="3732" y="6198"/>
                </a:lnTo>
                <a:lnTo>
                  <a:pt x="3730" y="6220"/>
                </a:lnTo>
                <a:lnTo>
                  <a:pt x="3730" y="6246"/>
                </a:lnTo>
                <a:lnTo>
                  <a:pt x="3730" y="6246"/>
                </a:lnTo>
                <a:lnTo>
                  <a:pt x="3732" y="6259"/>
                </a:lnTo>
                <a:lnTo>
                  <a:pt x="3735" y="6272"/>
                </a:lnTo>
                <a:lnTo>
                  <a:pt x="3739" y="6284"/>
                </a:lnTo>
                <a:lnTo>
                  <a:pt x="3744" y="6296"/>
                </a:lnTo>
                <a:lnTo>
                  <a:pt x="3751" y="6306"/>
                </a:lnTo>
                <a:lnTo>
                  <a:pt x="3757" y="6318"/>
                </a:lnTo>
                <a:lnTo>
                  <a:pt x="3763" y="6327"/>
                </a:lnTo>
                <a:lnTo>
                  <a:pt x="3770" y="6336"/>
                </a:lnTo>
                <a:lnTo>
                  <a:pt x="3784" y="6351"/>
                </a:lnTo>
                <a:lnTo>
                  <a:pt x="3797" y="6363"/>
                </a:lnTo>
                <a:lnTo>
                  <a:pt x="3807" y="6370"/>
                </a:lnTo>
                <a:lnTo>
                  <a:pt x="3810" y="6372"/>
                </a:lnTo>
                <a:lnTo>
                  <a:pt x="3813" y="6373"/>
                </a:lnTo>
                <a:lnTo>
                  <a:pt x="3813" y="6373"/>
                </a:lnTo>
                <a:lnTo>
                  <a:pt x="3814" y="6372"/>
                </a:lnTo>
                <a:lnTo>
                  <a:pt x="3815" y="6371"/>
                </a:lnTo>
                <a:lnTo>
                  <a:pt x="3816" y="6366"/>
                </a:lnTo>
                <a:lnTo>
                  <a:pt x="3818" y="6358"/>
                </a:lnTo>
                <a:lnTo>
                  <a:pt x="3818" y="6348"/>
                </a:lnTo>
                <a:lnTo>
                  <a:pt x="3820" y="6324"/>
                </a:lnTo>
                <a:lnTo>
                  <a:pt x="3823" y="6295"/>
                </a:lnTo>
                <a:lnTo>
                  <a:pt x="3825" y="6281"/>
                </a:lnTo>
                <a:lnTo>
                  <a:pt x="3828" y="6265"/>
                </a:lnTo>
                <a:lnTo>
                  <a:pt x="3831" y="6252"/>
                </a:lnTo>
                <a:lnTo>
                  <a:pt x="3836" y="6239"/>
                </a:lnTo>
                <a:lnTo>
                  <a:pt x="3843" y="6228"/>
                </a:lnTo>
                <a:lnTo>
                  <a:pt x="3847" y="6224"/>
                </a:lnTo>
                <a:lnTo>
                  <a:pt x="3851" y="6218"/>
                </a:lnTo>
                <a:lnTo>
                  <a:pt x="3855" y="6215"/>
                </a:lnTo>
                <a:lnTo>
                  <a:pt x="3860" y="6212"/>
                </a:lnTo>
                <a:lnTo>
                  <a:pt x="3865" y="6209"/>
                </a:lnTo>
                <a:lnTo>
                  <a:pt x="3871" y="6208"/>
                </a:lnTo>
                <a:lnTo>
                  <a:pt x="3871" y="6208"/>
                </a:lnTo>
                <a:lnTo>
                  <a:pt x="3877" y="6207"/>
                </a:lnTo>
                <a:lnTo>
                  <a:pt x="3882" y="6208"/>
                </a:lnTo>
                <a:lnTo>
                  <a:pt x="3888" y="6210"/>
                </a:lnTo>
                <a:lnTo>
                  <a:pt x="3892" y="6214"/>
                </a:lnTo>
                <a:lnTo>
                  <a:pt x="3902" y="6223"/>
                </a:lnTo>
                <a:lnTo>
                  <a:pt x="3911" y="6233"/>
                </a:lnTo>
                <a:lnTo>
                  <a:pt x="3921" y="6243"/>
                </a:lnTo>
                <a:lnTo>
                  <a:pt x="3926" y="6248"/>
                </a:lnTo>
                <a:lnTo>
                  <a:pt x="3933" y="6252"/>
                </a:lnTo>
                <a:lnTo>
                  <a:pt x="3940" y="6256"/>
                </a:lnTo>
                <a:lnTo>
                  <a:pt x="3946" y="6259"/>
                </a:lnTo>
                <a:lnTo>
                  <a:pt x="3954" y="6260"/>
                </a:lnTo>
                <a:lnTo>
                  <a:pt x="3962" y="6261"/>
                </a:lnTo>
                <a:lnTo>
                  <a:pt x="3962" y="6261"/>
                </a:lnTo>
                <a:lnTo>
                  <a:pt x="3970" y="6260"/>
                </a:lnTo>
                <a:lnTo>
                  <a:pt x="3979" y="6257"/>
                </a:lnTo>
                <a:lnTo>
                  <a:pt x="3987" y="6254"/>
                </a:lnTo>
                <a:lnTo>
                  <a:pt x="3996" y="6250"/>
                </a:lnTo>
                <a:lnTo>
                  <a:pt x="4005" y="6244"/>
                </a:lnTo>
                <a:lnTo>
                  <a:pt x="4014" y="6238"/>
                </a:lnTo>
                <a:lnTo>
                  <a:pt x="4035" y="6221"/>
                </a:lnTo>
                <a:lnTo>
                  <a:pt x="4055" y="6204"/>
                </a:lnTo>
                <a:lnTo>
                  <a:pt x="4077" y="6184"/>
                </a:lnTo>
                <a:lnTo>
                  <a:pt x="4122" y="6141"/>
                </a:lnTo>
                <a:lnTo>
                  <a:pt x="4144" y="6119"/>
                </a:lnTo>
                <a:lnTo>
                  <a:pt x="4166" y="6099"/>
                </a:lnTo>
                <a:lnTo>
                  <a:pt x="4187" y="6079"/>
                </a:lnTo>
                <a:lnTo>
                  <a:pt x="4208" y="6064"/>
                </a:lnTo>
                <a:lnTo>
                  <a:pt x="4227" y="6051"/>
                </a:lnTo>
                <a:lnTo>
                  <a:pt x="4236" y="6046"/>
                </a:lnTo>
                <a:lnTo>
                  <a:pt x="4245" y="6042"/>
                </a:lnTo>
                <a:lnTo>
                  <a:pt x="4254" y="6038"/>
                </a:lnTo>
                <a:lnTo>
                  <a:pt x="4262" y="6036"/>
                </a:lnTo>
                <a:lnTo>
                  <a:pt x="4270" y="6036"/>
                </a:lnTo>
                <a:lnTo>
                  <a:pt x="4277" y="6037"/>
                </a:lnTo>
                <a:lnTo>
                  <a:pt x="4277" y="6037"/>
                </a:lnTo>
                <a:lnTo>
                  <a:pt x="4278" y="6038"/>
                </a:lnTo>
                <a:lnTo>
                  <a:pt x="4279" y="6041"/>
                </a:lnTo>
                <a:lnTo>
                  <a:pt x="4278" y="6044"/>
                </a:lnTo>
                <a:lnTo>
                  <a:pt x="4277" y="6046"/>
                </a:lnTo>
                <a:lnTo>
                  <a:pt x="4272" y="6053"/>
                </a:lnTo>
                <a:lnTo>
                  <a:pt x="4264" y="6061"/>
                </a:lnTo>
                <a:lnTo>
                  <a:pt x="4241" y="6082"/>
                </a:lnTo>
                <a:lnTo>
                  <a:pt x="4212" y="6109"/>
                </a:lnTo>
                <a:lnTo>
                  <a:pt x="4181" y="6139"/>
                </a:lnTo>
                <a:lnTo>
                  <a:pt x="4167" y="6154"/>
                </a:lnTo>
                <a:lnTo>
                  <a:pt x="4152" y="6170"/>
                </a:lnTo>
                <a:lnTo>
                  <a:pt x="4140" y="6187"/>
                </a:lnTo>
                <a:lnTo>
                  <a:pt x="4129" y="6204"/>
                </a:lnTo>
                <a:lnTo>
                  <a:pt x="4121" y="6220"/>
                </a:lnTo>
                <a:lnTo>
                  <a:pt x="4118" y="6229"/>
                </a:lnTo>
                <a:lnTo>
                  <a:pt x="4116" y="6238"/>
                </a:lnTo>
                <a:lnTo>
                  <a:pt x="4116" y="6238"/>
                </a:lnTo>
                <a:lnTo>
                  <a:pt x="4114" y="6250"/>
                </a:lnTo>
                <a:lnTo>
                  <a:pt x="4114" y="6261"/>
                </a:lnTo>
                <a:lnTo>
                  <a:pt x="4115" y="6273"/>
                </a:lnTo>
                <a:lnTo>
                  <a:pt x="4119" y="6282"/>
                </a:lnTo>
                <a:lnTo>
                  <a:pt x="4123" y="6290"/>
                </a:lnTo>
                <a:lnTo>
                  <a:pt x="4129" y="6298"/>
                </a:lnTo>
                <a:lnTo>
                  <a:pt x="4135" y="6305"/>
                </a:lnTo>
                <a:lnTo>
                  <a:pt x="4142" y="6311"/>
                </a:lnTo>
                <a:lnTo>
                  <a:pt x="4157" y="6325"/>
                </a:lnTo>
                <a:lnTo>
                  <a:pt x="4163" y="6331"/>
                </a:lnTo>
                <a:lnTo>
                  <a:pt x="4169" y="6338"/>
                </a:lnTo>
                <a:lnTo>
                  <a:pt x="4175" y="6345"/>
                </a:lnTo>
                <a:lnTo>
                  <a:pt x="4179" y="6352"/>
                </a:lnTo>
                <a:lnTo>
                  <a:pt x="4182" y="6361"/>
                </a:lnTo>
                <a:lnTo>
                  <a:pt x="4183" y="6370"/>
                </a:lnTo>
                <a:lnTo>
                  <a:pt x="4183" y="6370"/>
                </a:lnTo>
                <a:lnTo>
                  <a:pt x="4184" y="6380"/>
                </a:lnTo>
                <a:lnTo>
                  <a:pt x="4186" y="6391"/>
                </a:lnTo>
                <a:lnTo>
                  <a:pt x="4189" y="6400"/>
                </a:lnTo>
                <a:lnTo>
                  <a:pt x="4193" y="6411"/>
                </a:lnTo>
                <a:lnTo>
                  <a:pt x="4198" y="6420"/>
                </a:lnTo>
                <a:lnTo>
                  <a:pt x="4205" y="6429"/>
                </a:lnTo>
                <a:lnTo>
                  <a:pt x="4212" y="6437"/>
                </a:lnTo>
                <a:lnTo>
                  <a:pt x="4220" y="6445"/>
                </a:lnTo>
                <a:lnTo>
                  <a:pt x="4228" y="6454"/>
                </a:lnTo>
                <a:lnTo>
                  <a:pt x="4237" y="6461"/>
                </a:lnTo>
                <a:lnTo>
                  <a:pt x="4257" y="6474"/>
                </a:lnTo>
                <a:lnTo>
                  <a:pt x="4278" y="6486"/>
                </a:lnTo>
                <a:lnTo>
                  <a:pt x="4300" y="6497"/>
                </a:lnTo>
                <a:lnTo>
                  <a:pt x="4322" y="6506"/>
                </a:lnTo>
                <a:lnTo>
                  <a:pt x="4344" y="6514"/>
                </a:lnTo>
                <a:lnTo>
                  <a:pt x="4364" y="6519"/>
                </a:lnTo>
                <a:lnTo>
                  <a:pt x="4382" y="6524"/>
                </a:lnTo>
                <a:lnTo>
                  <a:pt x="4399" y="6526"/>
                </a:lnTo>
                <a:lnTo>
                  <a:pt x="4412" y="6527"/>
                </a:lnTo>
                <a:lnTo>
                  <a:pt x="4421" y="6527"/>
                </a:lnTo>
                <a:lnTo>
                  <a:pt x="4424" y="6526"/>
                </a:lnTo>
                <a:lnTo>
                  <a:pt x="4426" y="6525"/>
                </a:lnTo>
                <a:lnTo>
                  <a:pt x="4426" y="6525"/>
                </a:lnTo>
                <a:lnTo>
                  <a:pt x="4427" y="6523"/>
                </a:lnTo>
                <a:lnTo>
                  <a:pt x="4427" y="6521"/>
                </a:lnTo>
                <a:lnTo>
                  <a:pt x="4425" y="6515"/>
                </a:lnTo>
                <a:lnTo>
                  <a:pt x="4420" y="6508"/>
                </a:lnTo>
                <a:lnTo>
                  <a:pt x="4412" y="6498"/>
                </a:lnTo>
                <a:lnTo>
                  <a:pt x="4393" y="6475"/>
                </a:lnTo>
                <a:lnTo>
                  <a:pt x="4369" y="6448"/>
                </a:lnTo>
                <a:lnTo>
                  <a:pt x="4358" y="6435"/>
                </a:lnTo>
                <a:lnTo>
                  <a:pt x="4348" y="6421"/>
                </a:lnTo>
                <a:lnTo>
                  <a:pt x="4339" y="6407"/>
                </a:lnTo>
                <a:lnTo>
                  <a:pt x="4330" y="6393"/>
                </a:lnTo>
                <a:lnTo>
                  <a:pt x="4325" y="6380"/>
                </a:lnTo>
                <a:lnTo>
                  <a:pt x="4324" y="6374"/>
                </a:lnTo>
                <a:lnTo>
                  <a:pt x="4323" y="6368"/>
                </a:lnTo>
                <a:lnTo>
                  <a:pt x="4323" y="6362"/>
                </a:lnTo>
                <a:lnTo>
                  <a:pt x="4324" y="6356"/>
                </a:lnTo>
                <a:lnTo>
                  <a:pt x="4326" y="6351"/>
                </a:lnTo>
                <a:lnTo>
                  <a:pt x="4329" y="6346"/>
                </a:lnTo>
                <a:lnTo>
                  <a:pt x="4329" y="6346"/>
                </a:lnTo>
                <a:lnTo>
                  <a:pt x="4333" y="6342"/>
                </a:lnTo>
                <a:lnTo>
                  <a:pt x="4337" y="6339"/>
                </a:lnTo>
                <a:lnTo>
                  <a:pt x="4343" y="6338"/>
                </a:lnTo>
                <a:lnTo>
                  <a:pt x="4347" y="6337"/>
                </a:lnTo>
                <a:lnTo>
                  <a:pt x="4352" y="6337"/>
                </a:lnTo>
                <a:lnTo>
                  <a:pt x="4358" y="6338"/>
                </a:lnTo>
                <a:lnTo>
                  <a:pt x="4370" y="6340"/>
                </a:lnTo>
                <a:lnTo>
                  <a:pt x="4384" y="6343"/>
                </a:lnTo>
                <a:lnTo>
                  <a:pt x="4392" y="6344"/>
                </a:lnTo>
                <a:lnTo>
                  <a:pt x="4399" y="6344"/>
                </a:lnTo>
                <a:lnTo>
                  <a:pt x="4408" y="6344"/>
                </a:lnTo>
                <a:lnTo>
                  <a:pt x="4416" y="6343"/>
                </a:lnTo>
                <a:lnTo>
                  <a:pt x="4425" y="6341"/>
                </a:lnTo>
                <a:lnTo>
                  <a:pt x="4436" y="6337"/>
                </a:lnTo>
                <a:lnTo>
                  <a:pt x="4436" y="6337"/>
                </a:lnTo>
                <a:lnTo>
                  <a:pt x="4437" y="6335"/>
                </a:lnTo>
                <a:lnTo>
                  <a:pt x="4438" y="6332"/>
                </a:lnTo>
                <a:lnTo>
                  <a:pt x="4438" y="6325"/>
                </a:lnTo>
                <a:lnTo>
                  <a:pt x="4436" y="6314"/>
                </a:lnTo>
                <a:lnTo>
                  <a:pt x="4434" y="6299"/>
                </a:lnTo>
                <a:lnTo>
                  <a:pt x="4431" y="6283"/>
                </a:lnTo>
                <a:lnTo>
                  <a:pt x="4428" y="6264"/>
                </a:lnTo>
                <a:lnTo>
                  <a:pt x="4426" y="6243"/>
                </a:lnTo>
                <a:lnTo>
                  <a:pt x="4426" y="6219"/>
                </a:lnTo>
                <a:lnTo>
                  <a:pt x="4428" y="6195"/>
                </a:lnTo>
                <a:lnTo>
                  <a:pt x="4431" y="6182"/>
                </a:lnTo>
                <a:lnTo>
                  <a:pt x="4434" y="6167"/>
                </a:lnTo>
                <a:lnTo>
                  <a:pt x="4437" y="6154"/>
                </a:lnTo>
                <a:lnTo>
                  <a:pt x="4441" y="6139"/>
                </a:lnTo>
                <a:lnTo>
                  <a:pt x="4446" y="6124"/>
                </a:lnTo>
                <a:lnTo>
                  <a:pt x="4453" y="6109"/>
                </a:lnTo>
                <a:lnTo>
                  <a:pt x="4460" y="6094"/>
                </a:lnTo>
                <a:lnTo>
                  <a:pt x="4469" y="6078"/>
                </a:lnTo>
                <a:lnTo>
                  <a:pt x="4479" y="6062"/>
                </a:lnTo>
                <a:lnTo>
                  <a:pt x="4490" y="6046"/>
                </a:lnTo>
                <a:lnTo>
                  <a:pt x="4503" y="6029"/>
                </a:lnTo>
                <a:lnTo>
                  <a:pt x="4516" y="6013"/>
                </a:lnTo>
                <a:lnTo>
                  <a:pt x="4533" y="5996"/>
                </a:lnTo>
                <a:lnTo>
                  <a:pt x="4550" y="5979"/>
                </a:lnTo>
                <a:lnTo>
                  <a:pt x="4550" y="5979"/>
                </a:lnTo>
                <a:lnTo>
                  <a:pt x="4557" y="5990"/>
                </a:lnTo>
                <a:lnTo>
                  <a:pt x="4566" y="6002"/>
                </a:lnTo>
                <a:lnTo>
                  <a:pt x="4578" y="6015"/>
                </a:lnTo>
                <a:lnTo>
                  <a:pt x="4586" y="6022"/>
                </a:lnTo>
                <a:lnTo>
                  <a:pt x="4594" y="6029"/>
                </a:lnTo>
                <a:lnTo>
                  <a:pt x="4603" y="6035"/>
                </a:lnTo>
                <a:lnTo>
                  <a:pt x="4614" y="6043"/>
                </a:lnTo>
                <a:lnTo>
                  <a:pt x="4624" y="6048"/>
                </a:lnTo>
                <a:lnTo>
                  <a:pt x="4636" y="6052"/>
                </a:lnTo>
                <a:lnTo>
                  <a:pt x="4648" y="6056"/>
                </a:lnTo>
                <a:lnTo>
                  <a:pt x="4662" y="6058"/>
                </a:lnTo>
                <a:lnTo>
                  <a:pt x="4662" y="6058"/>
                </a:lnTo>
                <a:lnTo>
                  <a:pt x="4668" y="6059"/>
                </a:lnTo>
                <a:lnTo>
                  <a:pt x="4673" y="6061"/>
                </a:lnTo>
                <a:lnTo>
                  <a:pt x="4677" y="6064"/>
                </a:lnTo>
                <a:lnTo>
                  <a:pt x="4681" y="6067"/>
                </a:lnTo>
                <a:lnTo>
                  <a:pt x="4685" y="6071"/>
                </a:lnTo>
                <a:lnTo>
                  <a:pt x="4688" y="6075"/>
                </a:lnTo>
                <a:lnTo>
                  <a:pt x="4692" y="6087"/>
                </a:lnTo>
                <a:lnTo>
                  <a:pt x="4696" y="6099"/>
                </a:lnTo>
                <a:lnTo>
                  <a:pt x="4698" y="6112"/>
                </a:lnTo>
                <a:lnTo>
                  <a:pt x="4698" y="6125"/>
                </a:lnTo>
                <a:lnTo>
                  <a:pt x="4698" y="6140"/>
                </a:lnTo>
                <a:lnTo>
                  <a:pt x="4696" y="6168"/>
                </a:lnTo>
                <a:lnTo>
                  <a:pt x="4694" y="6193"/>
                </a:lnTo>
                <a:lnTo>
                  <a:pt x="4692" y="6210"/>
                </a:lnTo>
                <a:lnTo>
                  <a:pt x="4692" y="6215"/>
                </a:lnTo>
                <a:lnTo>
                  <a:pt x="4693" y="6216"/>
                </a:lnTo>
                <a:lnTo>
                  <a:pt x="4694" y="6216"/>
                </a:lnTo>
                <a:lnTo>
                  <a:pt x="4694" y="6216"/>
                </a:lnTo>
                <a:lnTo>
                  <a:pt x="4697" y="6215"/>
                </a:lnTo>
                <a:lnTo>
                  <a:pt x="4702" y="6212"/>
                </a:lnTo>
                <a:lnTo>
                  <a:pt x="4708" y="6207"/>
                </a:lnTo>
                <a:lnTo>
                  <a:pt x="4714" y="6200"/>
                </a:lnTo>
                <a:lnTo>
                  <a:pt x="4721" y="6191"/>
                </a:lnTo>
                <a:lnTo>
                  <a:pt x="4729" y="6181"/>
                </a:lnTo>
                <a:lnTo>
                  <a:pt x="4736" y="6167"/>
                </a:lnTo>
                <a:lnTo>
                  <a:pt x="4743" y="6154"/>
                </a:lnTo>
                <a:lnTo>
                  <a:pt x="4751" y="6139"/>
                </a:lnTo>
                <a:lnTo>
                  <a:pt x="4758" y="6121"/>
                </a:lnTo>
                <a:lnTo>
                  <a:pt x="4763" y="6104"/>
                </a:lnTo>
                <a:lnTo>
                  <a:pt x="4768" y="6084"/>
                </a:lnTo>
                <a:lnTo>
                  <a:pt x="4771" y="6064"/>
                </a:lnTo>
                <a:lnTo>
                  <a:pt x="4773" y="6044"/>
                </a:lnTo>
                <a:lnTo>
                  <a:pt x="4772" y="6022"/>
                </a:lnTo>
                <a:lnTo>
                  <a:pt x="4770" y="6000"/>
                </a:lnTo>
                <a:lnTo>
                  <a:pt x="4770" y="6000"/>
                </a:lnTo>
                <a:lnTo>
                  <a:pt x="4778" y="5992"/>
                </a:lnTo>
                <a:lnTo>
                  <a:pt x="4798" y="5975"/>
                </a:lnTo>
                <a:lnTo>
                  <a:pt x="4809" y="5964"/>
                </a:lnTo>
                <a:lnTo>
                  <a:pt x="4819" y="5952"/>
                </a:lnTo>
                <a:lnTo>
                  <a:pt x="4827" y="5938"/>
                </a:lnTo>
                <a:lnTo>
                  <a:pt x="4830" y="5932"/>
                </a:lnTo>
                <a:lnTo>
                  <a:pt x="4832" y="5926"/>
                </a:lnTo>
                <a:lnTo>
                  <a:pt x="4832" y="5926"/>
                </a:lnTo>
                <a:lnTo>
                  <a:pt x="4834" y="5917"/>
                </a:lnTo>
                <a:lnTo>
                  <a:pt x="4835" y="5908"/>
                </a:lnTo>
                <a:lnTo>
                  <a:pt x="4836" y="5899"/>
                </a:lnTo>
                <a:lnTo>
                  <a:pt x="4835" y="5892"/>
                </a:lnTo>
                <a:lnTo>
                  <a:pt x="4834" y="5886"/>
                </a:lnTo>
                <a:lnTo>
                  <a:pt x="4832" y="5880"/>
                </a:lnTo>
                <a:lnTo>
                  <a:pt x="4830" y="5875"/>
                </a:lnTo>
                <a:lnTo>
                  <a:pt x="4827" y="5870"/>
                </a:lnTo>
                <a:lnTo>
                  <a:pt x="4819" y="5861"/>
                </a:lnTo>
                <a:lnTo>
                  <a:pt x="4810" y="5851"/>
                </a:lnTo>
                <a:lnTo>
                  <a:pt x="4800" y="5842"/>
                </a:lnTo>
                <a:lnTo>
                  <a:pt x="4789" y="5831"/>
                </a:lnTo>
                <a:lnTo>
                  <a:pt x="4778" y="5818"/>
                </a:lnTo>
                <a:lnTo>
                  <a:pt x="4772" y="5810"/>
                </a:lnTo>
                <a:lnTo>
                  <a:pt x="4767" y="5801"/>
                </a:lnTo>
                <a:lnTo>
                  <a:pt x="4762" y="5792"/>
                </a:lnTo>
                <a:lnTo>
                  <a:pt x="4757" y="5782"/>
                </a:lnTo>
                <a:lnTo>
                  <a:pt x="4753" y="5770"/>
                </a:lnTo>
                <a:lnTo>
                  <a:pt x="4749" y="5757"/>
                </a:lnTo>
                <a:lnTo>
                  <a:pt x="4744" y="5743"/>
                </a:lnTo>
                <a:lnTo>
                  <a:pt x="4741" y="5727"/>
                </a:lnTo>
                <a:lnTo>
                  <a:pt x="4738" y="5710"/>
                </a:lnTo>
                <a:lnTo>
                  <a:pt x="4736" y="5691"/>
                </a:lnTo>
                <a:lnTo>
                  <a:pt x="4735" y="5670"/>
                </a:lnTo>
                <a:lnTo>
                  <a:pt x="4734" y="5648"/>
                </a:lnTo>
                <a:lnTo>
                  <a:pt x="4734" y="5623"/>
                </a:lnTo>
                <a:lnTo>
                  <a:pt x="4735" y="5597"/>
                </a:lnTo>
                <a:lnTo>
                  <a:pt x="4735" y="5597"/>
                </a:lnTo>
                <a:lnTo>
                  <a:pt x="4735" y="5579"/>
                </a:lnTo>
                <a:lnTo>
                  <a:pt x="4734" y="5573"/>
                </a:lnTo>
                <a:lnTo>
                  <a:pt x="4733" y="5568"/>
                </a:lnTo>
                <a:lnTo>
                  <a:pt x="4731" y="5563"/>
                </a:lnTo>
                <a:lnTo>
                  <a:pt x="4729" y="5559"/>
                </a:lnTo>
                <a:lnTo>
                  <a:pt x="4727" y="5556"/>
                </a:lnTo>
                <a:lnTo>
                  <a:pt x="4724" y="5553"/>
                </a:lnTo>
                <a:lnTo>
                  <a:pt x="4716" y="5547"/>
                </a:lnTo>
                <a:lnTo>
                  <a:pt x="4706" y="5540"/>
                </a:lnTo>
                <a:lnTo>
                  <a:pt x="4693" y="5530"/>
                </a:lnTo>
                <a:lnTo>
                  <a:pt x="4679" y="5518"/>
                </a:lnTo>
                <a:lnTo>
                  <a:pt x="4679" y="5518"/>
                </a:lnTo>
                <a:lnTo>
                  <a:pt x="4671" y="5508"/>
                </a:lnTo>
                <a:lnTo>
                  <a:pt x="4664" y="5498"/>
                </a:lnTo>
                <a:lnTo>
                  <a:pt x="4659" y="5487"/>
                </a:lnTo>
                <a:lnTo>
                  <a:pt x="4655" y="5477"/>
                </a:lnTo>
                <a:lnTo>
                  <a:pt x="4654" y="5469"/>
                </a:lnTo>
                <a:lnTo>
                  <a:pt x="4654" y="5466"/>
                </a:lnTo>
                <a:lnTo>
                  <a:pt x="4654" y="5464"/>
                </a:lnTo>
                <a:lnTo>
                  <a:pt x="4657" y="5462"/>
                </a:lnTo>
                <a:lnTo>
                  <a:pt x="4659" y="5461"/>
                </a:lnTo>
                <a:lnTo>
                  <a:pt x="4661" y="5461"/>
                </a:lnTo>
                <a:lnTo>
                  <a:pt x="4665" y="5462"/>
                </a:lnTo>
                <a:lnTo>
                  <a:pt x="4665" y="5462"/>
                </a:lnTo>
                <a:lnTo>
                  <a:pt x="4679" y="5468"/>
                </a:lnTo>
                <a:lnTo>
                  <a:pt x="4693" y="5472"/>
                </a:lnTo>
                <a:lnTo>
                  <a:pt x="4708" y="5475"/>
                </a:lnTo>
                <a:lnTo>
                  <a:pt x="4723" y="5476"/>
                </a:lnTo>
                <a:lnTo>
                  <a:pt x="4737" y="5477"/>
                </a:lnTo>
                <a:lnTo>
                  <a:pt x="4752" y="5478"/>
                </a:lnTo>
                <a:lnTo>
                  <a:pt x="4765" y="5477"/>
                </a:lnTo>
                <a:lnTo>
                  <a:pt x="4778" y="5476"/>
                </a:lnTo>
                <a:lnTo>
                  <a:pt x="4802" y="5473"/>
                </a:lnTo>
                <a:lnTo>
                  <a:pt x="4819" y="5469"/>
                </a:lnTo>
                <a:lnTo>
                  <a:pt x="4835" y="5465"/>
                </a:lnTo>
                <a:lnTo>
                  <a:pt x="4835" y="5465"/>
                </a:lnTo>
                <a:lnTo>
                  <a:pt x="4844" y="5369"/>
                </a:lnTo>
                <a:lnTo>
                  <a:pt x="4849" y="5294"/>
                </a:lnTo>
                <a:lnTo>
                  <a:pt x="4851" y="5239"/>
                </a:lnTo>
                <a:lnTo>
                  <a:pt x="4851" y="5201"/>
                </a:lnTo>
                <a:lnTo>
                  <a:pt x="4849" y="5176"/>
                </a:lnTo>
                <a:lnTo>
                  <a:pt x="4847" y="5161"/>
                </a:lnTo>
                <a:lnTo>
                  <a:pt x="4845" y="5155"/>
                </a:lnTo>
                <a:lnTo>
                  <a:pt x="4844" y="5153"/>
                </a:lnTo>
                <a:lnTo>
                  <a:pt x="4844" y="5153"/>
                </a:lnTo>
                <a:lnTo>
                  <a:pt x="4825" y="5154"/>
                </a:lnTo>
                <a:lnTo>
                  <a:pt x="4808" y="5153"/>
                </a:lnTo>
                <a:lnTo>
                  <a:pt x="4791" y="5152"/>
                </a:lnTo>
                <a:lnTo>
                  <a:pt x="4776" y="5151"/>
                </a:lnTo>
                <a:lnTo>
                  <a:pt x="4763" y="5149"/>
                </a:lnTo>
                <a:lnTo>
                  <a:pt x="4750" y="5146"/>
                </a:lnTo>
                <a:lnTo>
                  <a:pt x="4737" y="5143"/>
                </a:lnTo>
                <a:lnTo>
                  <a:pt x="4726" y="5139"/>
                </a:lnTo>
                <a:lnTo>
                  <a:pt x="4716" y="5135"/>
                </a:lnTo>
                <a:lnTo>
                  <a:pt x="4707" y="5131"/>
                </a:lnTo>
                <a:lnTo>
                  <a:pt x="4698" y="5125"/>
                </a:lnTo>
                <a:lnTo>
                  <a:pt x="4690" y="5120"/>
                </a:lnTo>
                <a:lnTo>
                  <a:pt x="4683" y="5114"/>
                </a:lnTo>
                <a:lnTo>
                  <a:pt x="4676" y="5109"/>
                </a:lnTo>
                <a:lnTo>
                  <a:pt x="4665" y="5096"/>
                </a:lnTo>
                <a:lnTo>
                  <a:pt x="4665" y="5096"/>
                </a:lnTo>
                <a:lnTo>
                  <a:pt x="4677" y="5099"/>
                </a:lnTo>
                <a:lnTo>
                  <a:pt x="4690" y="5101"/>
                </a:lnTo>
                <a:lnTo>
                  <a:pt x="4717" y="5103"/>
                </a:lnTo>
                <a:lnTo>
                  <a:pt x="4742" y="5103"/>
                </a:lnTo>
                <a:lnTo>
                  <a:pt x="4768" y="5101"/>
                </a:lnTo>
                <a:lnTo>
                  <a:pt x="4790" y="5097"/>
                </a:lnTo>
                <a:lnTo>
                  <a:pt x="4812" y="5091"/>
                </a:lnTo>
                <a:lnTo>
                  <a:pt x="4821" y="5088"/>
                </a:lnTo>
                <a:lnTo>
                  <a:pt x="4829" y="5084"/>
                </a:lnTo>
                <a:lnTo>
                  <a:pt x="4838" y="5078"/>
                </a:lnTo>
                <a:lnTo>
                  <a:pt x="4844" y="5074"/>
                </a:lnTo>
                <a:lnTo>
                  <a:pt x="4844" y="5074"/>
                </a:lnTo>
                <a:lnTo>
                  <a:pt x="4843" y="5026"/>
                </a:lnTo>
                <a:lnTo>
                  <a:pt x="4841" y="4978"/>
                </a:lnTo>
                <a:lnTo>
                  <a:pt x="4838" y="4923"/>
                </a:lnTo>
                <a:lnTo>
                  <a:pt x="4833" y="4868"/>
                </a:lnTo>
                <a:lnTo>
                  <a:pt x="4831" y="4843"/>
                </a:lnTo>
                <a:lnTo>
                  <a:pt x="4828" y="4821"/>
                </a:lnTo>
                <a:lnTo>
                  <a:pt x="4825" y="4802"/>
                </a:lnTo>
                <a:lnTo>
                  <a:pt x="4822" y="4788"/>
                </a:lnTo>
                <a:lnTo>
                  <a:pt x="4820" y="4783"/>
                </a:lnTo>
                <a:lnTo>
                  <a:pt x="4818" y="4780"/>
                </a:lnTo>
                <a:lnTo>
                  <a:pt x="4816" y="4778"/>
                </a:lnTo>
                <a:lnTo>
                  <a:pt x="4814" y="4778"/>
                </a:lnTo>
                <a:lnTo>
                  <a:pt x="4814" y="4778"/>
                </a:lnTo>
                <a:lnTo>
                  <a:pt x="4786" y="4785"/>
                </a:lnTo>
                <a:lnTo>
                  <a:pt x="4760" y="4790"/>
                </a:lnTo>
                <a:lnTo>
                  <a:pt x="4746" y="4791"/>
                </a:lnTo>
                <a:lnTo>
                  <a:pt x="4734" y="4792"/>
                </a:lnTo>
                <a:lnTo>
                  <a:pt x="4722" y="4792"/>
                </a:lnTo>
                <a:lnTo>
                  <a:pt x="4711" y="4791"/>
                </a:lnTo>
                <a:lnTo>
                  <a:pt x="4698" y="4789"/>
                </a:lnTo>
                <a:lnTo>
                  <a:pt x="4687" y="4787"/>
                </a:lnTo>
                <a:lnTo>
                  <a:pt x="4675" y="4784"/>
                </a:lnTo>
                <a:lnTo>
                  <a:pt x="4664" y="4780"/>
                </a:lnTo>
                <a:lnTo>
                  <a:pt x="4652" y="4775"/>
                </a:lnTo>
                <a:lnTo>
                  <a:pt x="4640" y="4770"/>
                </a:lnTo>
                <a:lnTo>
                  <a:pt x="4629" y="4762"/>
                </a:lnTo>
                <a:lnTo>
                  <a:pt x="4618" y="4755"/>
                </a:lnTo>
                <a:lnTo>
                  <a:pt x="4618" y="4755"/>
                </a:lnTo>
                <a:lnTo>
                  <a:pt x="4613" y="4752"/>
                </a:lnTo>
                <a:lnTo>
                  <a:pt x="4608" y="4748"/>
                </a:lnTo>
                <a:lnTo>
                  <a:pt x="4602" y="4740"/>
                </a:lnTo>
                <a:lnTo>
                  <a:pt x="4597" y="4731"/>
                </a:lnTo>
                <a:lnTo>
                  <a:pt x="4594" y="4721"/>
                </a:lnTo>
                <a:lnTo>
                  <a:pt x="4592" y="4709"/>
                </a:lnTo>
                <a:lnTo>
                  <a:pt x="4591" y="4699"/>
                </a:lnTo>
                <a:lnTo>
                  <a:pt x="4590" y="4677"/>
                </a:lnTo>
                <a:lnTo>
                  <a:pt x="4589" y="4655"/>
                </a:lnTo>
                <a:lnTo>
                  <a:pt x="4587" y="4646"/>
                </a:lnTo>
                <a:lnTo>
                  <a:pt x="4585" y="4638"/>
                </a:lnTo>
                <a:lnTo>
                  <a:pt x="4581" y="4631"/>
                </a:lnTo>
                <a:lnTo>
                  <a:pt x="4575" y="4624"/>
                </a:lnTo>
                <a:lnTo>
                  <a:pt x="4571" y="4621"/>
                </a:lnTo>
                <a:lnTo>
                  <a:pt x="4567" y="4619"/>
                </a:lnTo>
                <a:lnTo>
                  <a:pt x="4561" y="4618"/>
                </a:lnTo>
                <a:lnTo>
                  <a:pt x="4556" y="4617"/>
                </a:lnTo>
                <a:lnTo>
                  <a:pt x="4556" y="4617"/>
                </a:lnTo>
                <a:lnTo>
                  <a:pt x="4534" y="4610"/>
                </a:lnTo>
                <a:lnTo>
                  <a:pt x="4511" y="4603"/>
                </a:lnTo>
                <a:lnTo>
                  <a:pt x="4489" y="4595"/>
                </a:lnTo>
                <a:lnTo>
                  <a:pt x="4468" y="4585"/>
                </a:lnTo>
                <a:lnTo>
                  <a:pt x="4448" y="4575"/>
                </a:lnTo>
                <a:lnTo>
                  <a:pt x="4428" y="4564"/>
                </a:lnTo>
                <a:lnTo>
                  <a:pt x="4410" y="4554"/>
                </a:lnTo>
                <a:lnTo>
                  <a:pt x="4394" y="4543"/>
                </a:lnTo>
                <a:lnTo>
                  <a:pt x="4377" y="4531"/>
                </a:lnTo>
                <a:lnTo>
                  <a:pt x="4363" y="4521"/>
                </a:lnTo>
                <a:lnTo>
                  <a:pt x="4337" y="4501"/>
                </a:lnTo>
                <a:lnTo>
                  <a:pt x="4318" y="4482"/>
                </a:lnTo>
                <a:lnTo>
                  <a:pt x="4306" y="4467"/>
                </a:lnTo>
                <a:lnTo>
                  <a:pt x="4306" y="4467"/>
                </a:lnTo>
                <a:lnTo>
                  <a:pt x="4297" y="4455"/>
                </a:lnTo>
                <a:lnTo>
                  <a:pt x="4288" y="4442"/>
                </a:lnTo>
                <a:lnTo>
                  <a:pt x="4282" y="4431"/>
                </a:lnTo>
                <a:lnTo>
                  <a:pt x="4277" y="4420"/>
                </a:lnTo>
                <a:lnTo>
                  <a:pt x="4273" y="4410"/>
                </a:lnTo>
                <a:lnTo>
                  <a:pt x="4270" y="4401"/>
                </a:lnTo>
                <a:lnTo>
                  <a:pt x="4266" y="4384"/>
                </a:lnTo>
                <a:lnTo>
                  <a:pt x="4265" y="4371"/>
                </a:lnTo>
                <a:lnTo>
                  <a:pt x="4265" y="4361"/>
                </a:lnTo>
                <a:lnTo>
                  <a:pt x="4266" y="4352"/>
                </a:lnTo>
                <a:lnTo>
                  <a:pt x="4266" y="4352"/>
                </a:lnTo>
                <a:lnTo>
                  <a:pt x="4284" y="4362"/>
                </a:lnTo>
                <a:lnTo>
                  <a:pt x="4302" y="4368"/>
                </a:lnTo>
                <a:lnTo>
                  <a:pt x="4321" y="4373"/>
                </a:lnTo>
                <a:lnTo>
                  <a:pt x="4340" y="4376"/>
                </a:lnTo>
                <a:lnTo>
                  <a:pt x="4358" y="4378"/>
                </a:lnTo>
                <a:lnTo>
                  <a:pt x="4377" y="4377"/>
                </a:lnTo>
                <a:lnTo>
                  <a:pt x="4396" y="4374"/>
                </a:lnTo>
                <a:lnTo>
                  <a:pt x="4414" y="4370"/>
                </a:lnTo>
                <a:lnTo>
                  <a:pt x="4434" y="4130"/>
                </a:lnTo>
                <a:lnTo>
                  <a:pt x="4434" y="4130"/>
                </a:lnTo>
                <a:lnTo>
                  <a:pt x="4425" y="4129"/>
                </a:lnTo>
                <a:lnTo>
                  <a:pt x="4405" y="4126"/>
                </a:lnTo>
                <a:lnTo>
                  <a:pt x="4392" y="4123"/>
                </a:lnTo>
                <a:lnTo>
                  <a:pt x="4377" y="4119"/>
                </a:lnTo>
                <a:lnTo>
                  <a:pt x="4362" y="4115"/>
                </a:lnTo>
                <a:lnTo>
                  <a:pt x="4348" y="4109"/>
                </a:lnTo>
                <a:lnTo>
                  <a:pt x="4348" y="4109"/>
                </a:lnTo>
                <a:lnTo>
                  <a:pt x="4339" y="4105"/>
                </a:lnTo>
                <a:lnTo>
                  <a:pt x="4331" y="4100"/>
                </a:lnTo>
                <a:lnTo>
                  <a:pt x="4323" y="4094"/>
                </a:lnTo>
                <a:lnTo>
                  <a:pt x="4316" y="4088"/>
                </a:lnTo>
                <a:lnTo>
                  <a:pt x="4302" y="4074"/>
                </a:lnTo>
                <a:lnTo>
                  <a:pt x="4289" y="4061"/>
                </a:lnTo>
                <a:lnTo>
                  <a:pt x="4280" y="4048"/>
                </a:lnTo>
                <a:lnTo>
                  <a:pt x="4273" y="4038"/>
                </a:lnTo>
                <a:lnTo>
                  <a:pt x="4267" y="4028"/>
                </a:lnTo>
                <a:lnTo>
                  <a:pt x="4267" y="4028"/>
                </a:lnTo>
                <a:lnTo>
                  <a:pt x="4274" y="4031"/>
                </a:lnTo>
                <a:lnTo>
                  <a:pt x="4293" y="4039"/>
                </a:lnTo>
                <a:lnTo>
                  <a:pt x="4321" y="4047"/>
                </a:lnTo>
                <a:lnTo>
                  <a:pt x="4339" y="4051"/>
                </a:lnTo>
                <a:lnTo>
                  <a:pt x="4356" y="4054"/>
                </a:lnTo>
                <a:lnTo>
                  <a:pt x="4356" y="4054"/>
                </a:lnTo>
                <a:lnTo>
                  <a:pt x="4375" y="4056"/>
                </a:lnTo>
                <a:lnTo>
                  <a:pt x="4392" y="4057"/>
                </a:lnTo>
                <a:lnTo>
                  <a:pt x="4407" y="4055"/>
                </a:lnTo>
                <a:lnTo>
                  <a:pt x="4419" y="4053"/>
                </a:lnTo>
                <a:lnTo>
                  <a:pt x="4430" y="4051"/>
                </a:lnTo>
                <a:lnTo>
                  <a:pt x="4438" y="4049"/>
                </a:lnTo>
                <a:lnTo>
                  <a:pt x="4444" y="4046"/>
                </a:lnTo>
                <a:lnTo>
                  <a:pt x="4477" y="3775"/>
                </a:lnTo>
                <a:lnTo>
                  <a:pt x="4477" y="3775"/>
                </a:lnTo>
                <a:lnTo>
                  <a:pt x="4451" y="3776"/>
                </a:lnTo>
                <a:lnTo>
                  <a:pt x="4427" y="3775"/>
                </a:lnTo>
                <a:lnTo>
                  <a:pt x="4408" y="3773"/>
                </a:lnTo>
                <a:lnTo>
                  <a:pt x="4392" y="3768"/>
                </a:lnTo>
                <a:lnTo>
                  <a:pt x="4377" y="3762"/>
                </a:lnTo>
                <a:lnTo>
                  <a:pt x="4365" y="3755"/>
                </a:lnTo>
                <a:lnTo>
                  <a:pt x="4356" y="3747"/>
                </a:lnTo>
                <a:lnTo>
                  <a:pt x="4348" y="3739"/>
                </a:lnTo>
                <a:lnTo>
                  <a:pt x="4343" y="3731"/>
                </a:lnTo>
                <a:lnTo>
                  <a:pt x="4337" y="3722"/>
                </a:lnTo>
                <a:lnTo>
                  <a:pt x="4335" y="3713"/>
                </a:lnTo>
                <a:lnTo>
                  <a:pt x="4333" y="3705"/>
                </a:lnTo>
                <a:lnTo>
                  <a:pt x="4332" y="3697"/>
                </a:lnTo>
                <a:lnTo>
                  <a:pt x="4331" y="3691"/>
                </a:lnTo>
                <a:lnTo>
                  <a:pt x="4332" y="3682"/>
                </a:lnTo>
                <a:lnTo>
                  <a:pt x="4332" y="3682"/>
                </a:lnTo>
                <a:lnTo>
                  <a:pt x="4357" y="3677"/>
                </a:lnTo>
                <a:lnTo>
                  <a:pt x="4381" y="3671"/>
                </a:lnTo>
                <a:lnTo>
                  <a:pt x="4405" y="3663"/>
                </a:lnTo>
                <a:lnTo>
                  <a:pt x="4428" y="3656"/>
                </a:lnTo>
                <a:lnTo>
                  <a:pt x="4451" y="3647"/>
                </a:lnTo>
                <a:lnTo>
                  <a:pt x="4473" y="3637"/>
                </a:lnTo>
                <a:lnTo>
                  <a:pt x="4495" y="3626"/>
                </a:lnTo>
                <a:lnTo>
                  <a:pt x="4515" y="3613"/>
                </a:lnTo>
                <a:lnTo>
                  <a:pt x="4536" y="3601"/>
                </a:lnTo>
                <a:lnTo>
                  <a:pt x="4555" y="3588"/>
                </a:lnTo>
                <a:lnTo>
                  <a:pt x="4574" y="3573"/>
                </a:lnTo>
                <a:lnTo>
                  <a:pt x="4592" y="3558"/>
                </a:lnTo>
                <a:lnTo>
                  <a:pt x="4609" y="3543"/>
                </a:lnTo>
                <a:lnTo>
                  <a:pt x="4627" y="3526"/>
                </a:lnTo>
                <a:lnTo>
                  <a:pt x="4642" y="3510"/>
                </a:lnTo>
                <a:lnTo>
                  <a:pt x="4659" y="3493"/>
                </a:lnTo>
                <a:lnTo>
                  <a:pt x="4673" y="3474"/>
                </a:lnTo>
                <a:lnTo>
                  <a:pt x="4688" y="3456"/>
                </a:lnTo>
                <a:lnTo>
                  <a:pt x="4702" y="3437"/>
                </a:lnTo>
                <a:lnTo>
                  <a:pt x="4715" y="3418"/>
                </a:lnTo>
                <a:lnTo>
                  <a:pt x="4727" y="3399"/>
                </a:lnTo>
                <a:lnTo>
                  <a:pt x="4738" y="3379"/>
                </a:lnTo>
                <a:lnTo>
                  <a:pt x="4750" y="3360"/>
                </a:lnTo>
                <a:lnTo>
                  <a:pt x="4760" y="3339"/>
                </a:lnTo>
                <a:lnTo>
                  <a:pt x="4770" y="3319"/>
                </a:lnTo>
                <a:lnTo>
                  <a:pt x="4779" y="3298"/>
                </a:lnTo>
                <a:lnTo>
                  <a:pt x="4787" y="3278"/>
                </a:lnTo>
                <a:lnTo>
                  <a:pt x="4796" y="3257"/>
                </a:lnTo>
                <a:lnTo>
                  <a:pt x="4803" y="3237"/>
                </a:lnTo>
                <a:lnTo>
                  <a:pt x="4809" y="3217"/>
                </a:lnTo>
                <a:lnTo>
                  <a:pt x="4815" y="3196"/>
                </a:lnTo>
                <a:lnTo>
                  <a:pt x="4820" y="3177"/>
                </a:lnTo>
                <a:lnTo>
                  <a:pt x="4820" y="3177"/>
                </a:lnTo>
                <a:lnTo>
                  <a:pt x="4831" y="3183"/>
                </a:lnTo>
                <a:lnTo>
                  <a:pt x="4847" y="3189"/>
                </a:lnTo>
                <a:lnTo>
                  <a:pt x="4864" y="3195"/>
                </a:lnTo>
                <a:lnTo>
                  <a:pt x="4882" y="3200"/>
                </a:lnTo>
                <a:lnTo>
                  <a:pt x="4903" y="3203"/>
                </a:lnTo>
                <a:lnTo>
                  <a:pt x="4913" y="3204"/>
                </a:lnTo>
                <a:lnTo>
                  <a:pt x="4923" y="3205"/>
                </a:lnTo>
                <a:lnTo>
                  <a:pt x="4935" y="3204"/>
                </a:lnTo>
                <a:lnTo>
                  <a:pt x="4945" y="3203"/>
                </a:lnTo>
                <a:lnTo>
                  <a:pt x="4955" y="3201"/>
                </a:lnTo>
                <a:lnTo>
                  <a:pt x="4965" y="3198"/>
                </a:lnTo>
                <a:lnTo>
                  <a:pt x="4965" y="3198"/>
                </a:lnTo>
                <a:lnTo>
                  <a:pt x="4967" y="3170"/>
                </a:lnTo>
                <a:lnTo>
                  <a:pt x="4970" y="3103"/>
                </a:lnTo>
                <a:lnTo>
                  <a:pt x="4972" y="3067"/>
                </a:lnTo>
                <a:lnTo>
                  <a:pt x="4973" y="3033"/>
                </a:lnTo>
                <a:lnTo>
                  <a:pt x="4972" y="3005"/>
                </a:lnTo>
                <a:lnTo>
                  <a:pt x="4972" y="2995"/>
                </a:lnTo>
                <a:lnTo>
                  <a:pt x="4970" y="2989"/>
                </a:lnTo>
                <a:lnTo>
                  <a:pt x="4970" y="2989"/>
                </a:lnTo>
                <a:lnTo>
                  <a:pt x="4955" y="2987"/>
                </a:lnTo>
                <a:lnTo>
                  <a:pt x="4938" y="2984"/>
                </a:lnTo>
                <a:lnTo>
                  <a:pt x="4919" y="2979"/>
                </a:lnTo>
                <a:lnTo>
                  <a:pt x="4911" y="2976"/>
                </a:lnTo>
                <a:lnTo>
                  <a:pt x="4902" y="2973"/>
                </a:lnTo>
                <a:lnTo>
                  <a:pt x="4893" y="2968"/>
                </a:lnTo>
                <a:lnTo>
                  <a:pt x="4885" y="2964"/>
                </a:lnTo>
                <a:lnTo>
                  <a:pt x="4876" y="2958"/>
                </a:lnTo>
                <a:lnTo>
                  <a:pt x="4868" y="2951"/>
                </a:lnTo>
                <a:lnTo>
                  <a:pt x="4861" y="2944"/>
                </a:lnTo>
                <a:lnTo>
                  <a:pt x="4854" y="2935"/>
                </a:lnTo>
                <a:lnTo>
                  <a:pt x="4848" y="2926"/>
                </a:lnTo>
                <a:lnTo>
                  <a:pt x="4842" y="2915"/>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fi-FI" sz="1800"/>
          </a:p>
        </p:txBody>
      </p:sp>
      <p:sp>
        <p:nvSpPr>
          <p:cNvPr id="54" name="Freeform 5">
            <a:extLst>
              <a:ext uri="{FF2B5EF4-FFF2-40B4-BE49-F238E27FC236}">
                <a16:creationId xmlns:a16="http://schemas.microsoft.com/office/drawing/2014/main" id="{E518FEDE-29E1-4148-9DBF-C17BDBF2CB4F}"/>
              </a:ext>
            </a:extLst>
          </p:cNvPr>
          <p:cNvSpPr>
            <a:spLocks/>
          </p:cNvSpPr>
          <p:nvPr userDrawn="1"/>
        </p:nvSpPr>
        <p:spPr bwMode="auto">
          <a:xfrm>
            <a:off x="1528763" y="893763"/>
            <a:ext cx="160338" cy="141288"/>
          </a:xfrm>
          <a:custGeom>
            <a:avLst/>
            <a:gdLst>
              <a:gd name="T0" fmla="*/ 623 w 1210"/>
              <a:gd name="T1" fmla="*/ 1065 h 1065"/>
              <a:gd name="T2" fmla="*/ 211 w 1210"/>
              <a:gd name="T3" fmla="*/ 202 h 1065"/>
              <a:gd name="T4" fmla="*/ 194 w 1210"/>
              <a:gd name="T5" fmla="*/ 163 h 1065"/>
              <a:gd name="T6" fmla="*/ 177 w 1210"/>
              <a:gd name="T7" fmla="*/ 131 h 1065"/>
              <a:gd name="T8" fmla="*/ 160 w 1210"/>
              <a:gd name="T9" fmla="*/ 105 h 1065"/>
              <a:gd name="T10" fmla="*/ 139 w 1210"/>
              <a:gd name="T11" fmla="*/ 84 h 1065"/>
              <a:gd name="T12" fmla="*/ 115 w 1210"/>
              <a:gd name="T13" fmla="*/ 69 h 1065"/>
              <a:gd name="T14" fmla="*/ 84 w 1210"/>
              <a:gd name="T15" fmla="*/ 59 h 1065"/>
              <a:gd name="T16" fmla="*/ 47 w 1210"/>
              <a:gd name="T17" fmla="*/ 52 h 1065"/>
              <a:gd name="T18" fmla="*/ 0 w 1210"/>
              <a:gd name="T19" fmla="*/ 50 h 1065"/>
              <a:gd name="T20" fmla="*/ 566 w 1210"/>
              <a:gd name="T21" fmla="*/ 0 h 1065"/>
              <a:gd name="T22" fmla="*/ 566 w 1210"/>
              <a:gd name="T23" fmla="*/ 50 h 1065"/>
              <a:gd name="T24" fmla="*/ 516 w 1210"/>
              <a:gd name="T25" fmla="*/ 52 h 1065"/>
              <a:gd name="T26" fmla="*/ 477 w 1210"/>
              <a:gd name="T27" fmla="*/ 58 h 1065"/>
              <a:gd name="T28" fmla="*/ 448 w 1210"/>
              <a:gd name="T29" fmla="*/ 68 h 1065"/>
              <a:gd name="T30" fmla="*/ 430 w 1210"/>
              <a:gd name="T31" fmla="*/ 81 h 1065"/>
              <a:gd name="T32" fmla="*/ 421 w 1210"/>
              <a:gd name="T33" fmla="*/ 99 h 1065"/>
              <a:gd name="T34" fmla="*/ 419 w 1210"/>
              <a:gd name="T35" fmla="*/ 122 h 1065"/>
              <a:gd name="T36" fmla="*/ 425 w 1210"/>
              <a:gd name="T37" fmla="*/ 150 h 1065"/>
              <a:gd name="T38" fmla="*/ 437 w 1210"/>
              <a:gd name="T39" fmla="*/ 181 h 1065"/>
              <a:gd name="T40" fmla="*/ 922 w 1210"/>
              <a:gd name="T41" fmla="*/ 181 h 1065"/>
              <a:gd name="T42" fmla="*/ 928 w 1210"/>
              <a:gd name="T43" fmla="*/ 165 h 1065"/>
              <a:gd name="T44" fmla="*/ 937 w 1210"/>
              <a:gd name="T45" fmla="*/ 134 h 1065"/>
              <a:gd name="T46" fmla="*/ 938 w 1210"/>
              <a:gd name="T47" fmla="*/ 110 h 1065"/>
              <a:gd name="T48" fmla="*/ 932 w 1210"/>
              <a:gd name="T49" fmla="*/ 89 h 1065"/>
              <a:gd name="T50" fmla="*/ 918 w 1210"/>
              <a:gd name="T51" fmla="*/ 74 h 1065"/>
              <a:gd name="T52" fmla="*/ 894 w 1210"/>
              <a:gd name="T53" fmla="*/ 62 h 1065"/>
              <a:gd name="T54" fmla="*/ 860 w 1210"/>
              <a:gd name="T55" fmla="*/ 54 h 1065"/>
              <a:gd name="T56" fmla="*/ 817 w 1210"/>
              <a:gd name="T57" fmla="*/ 50 h 1065"/>
              <a:gd name="T58" fmla="*/ 792 w 1210"/>
              <a:gd name="T59" fmla="*/ 0 h 1065"/>
              <a:gd name="T60" fmla="*/ 1210 w 1210"/>
              <a:gd name="T61" fmla="*/ 50 h 1065"/>
              <a:gd name="T62" fmla="*/ 1189 w 1210"/>
              <a:gd name="T63" fmla="*/ 50 h 1065"/>
              <a:gd name="T64" fmla="*/ 1151 w 1210"/>
              <a:gd name="T65" fmla="*/ 53 h 1065"/>
              <a:gd name="T66" fmla="*/ 1119 w 1210"/>
              <a:gd name="T67" fmla="*/ 61 h 1065"/>
              <a:gd name="T68" fmla="*/ 1091 w 1210"/>
              <a:gd name="T69" fmla="*/ 73 h 1065"/>
              <a:gd name="T70" fmla="*/ 1068 w 1210"/>
              <a:gd name="T71" fmla="*/ 89 h 1065"/>
              <a:gd name="T72" fmla="*/ 1046 w 1210"/>
              <a:gd name="T73" fmla="*/ 113 h 1065"/>
              <a:gd name="T74" fmla="*/ 1027 w 1210"/>
              <a:gd name="T75" fmla="*/ 142 h 1065"/>
              <a:gd name="T76" fmla="*/ 1008 w 1210"/>
              <a:gd name="T77" fmla="*/ 180 h 1065"/>
              <a:gd name="T78" fmla="*/ 997 w 1210"/>
              <a:gd name="T79" fmla="*/ 202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10" h="1065">
                <a:moveTo>
                  <a:pt x="997" y="202"/>
                </a:moveTo>
                <a:lnTo>
                  <a:pt x="623" y="1065"/>
                </a:lnTo>
                <a:lnTo>
                  <a:pt x="587" y="1065"/>
                </a:lnTo>
                <a:lnTo>
                  <a:pt x="211" y="202"/>
                </a:lnTo>
                <a:lnTo>
                  <a:pt x="211" y="202"/>
                </a:lnTo>
                <a:lnTo>
                  <a:pt x="194" y="163"/>
                </a:lnTo>
                <a:lnTo>
                  <a:pt x="185" y="146"/>
                </a:lnTo>
                <a:lnTo>
                  <a:pt x="177" y="131"/>
                </a:lnTo>
                <a:lnTo>
                  <a:pt x="168" y="117"/>
                </a:lnTo>
                <a:lnTo>
                  <a:pt x="160" y="105"/>
                </a:lnTo>
                <a:lnTo>
                  <a:pt x="150" y="93"/>
                </a:lnTo>
                <a:lnTo>
                  <a:pt x="139" y="84"/>
                </a:lnTo>
                <a:lnTo>
                  <a:pt x="128" y="76"/>
                </a:lnTo>
                <a:lnTo>
                  <a:pt x="115" y="69"/>
                </a:lnTo>
                <a:lnTo>
                  <a:pt x="101" y="63"/>
                </a:lnTo>
                <a:lnTo>
                  <a:pt x="84" y="59"/>
                </a:lnTo>
                <a:lnTo>
                  <a:pt x="67" y="54"/>
                </a:lnTo>
                <a:lnTo>
                  <a:pt x="47" y="52"/>
                </a:lnTo>
                <a:lnTo>
                  <a:pt x="25" y="50"/>
                </a:lnTo>
                <a:lnTo>
                  <a:pt x="0" y="50"/>
                </a:lnTo>
                <a:lnTo>
                  <a:pt x="0" y="0"/>
                </a:lnTo>
                <a:lnTo>
                  <a:pt x="566" y="0"/>
                </a:lnTo>
                <a:lnTo>
                  <a:pt x="566" y="50"/>
                </a:lnTo>
                <a:lnTo>
                  <a:pt x="566" y="50"/>
                </a:lnTo>
                <a:lnTo>
                  <a:pt x="539" y="50"/>
                </a:lnTo>
                <a:lnTo>
                  <a:pt x="516" y="52"/>
                </a:lnTo>
                <a:lnTo>
                  <a:pt x="494" y="54"/>
                </a:lnTo>
                <a:lnTo>
                  <a:pt x="477" y="58"/>
                </a:lnTo>
                <a:lnTo>
                  <a:pt x="460" y="63"/>
                </a:lnTo>
                <a:lnTo>
                  <a:pt x="448" y="68"/>
                </a:lnTo>
                <a:lnTo>
                  <a:pt x="438" y="74"/>
                </a:lnTo>
                <a:lnTo>
                  <a:pt x="430" y="81"/>
                </a:lnTo>
                <a:lnTo>
                  <a:pt x="424" y="90"/>
                </a:lnTo>
                <a:lnTo>
                  <a:pt x="421" y="99"/>
                </a:lnTo>
                <a:lnTo>
                  <a:pt x="419" y="111"/>
                </a:lnTo>
                <a:lnTo>
                  <a:pt x="419" y="122"/>
                </a:lnTo>
                <a:lnTo>
                  <a:pt x="421" y="135"/>
                </a:lnTo>
                <a:lnTo>
                  <a:pt x="425" y="150"/>
                </a:lnTo>
                <a:lnTo>
                  <a:pt x="430" y="165"/>
                </a:lnTo>
                <a:lnTo>
                  <a:pt x="437" y="181"/>
                </a:lnTo>
                <a:lnTo>
                  <a:pt x="678" y="742"/>
                </a:lnTo>
                <a:lnTo>
                  <a:pt x="922" y="181"/>
                </a:lnTo>
                <a:lnTo>
                  <a:pt x="922" y="181"/>
                </a:lnTo>
                <a:lnTo>
                  <a:pt x="928" y="165"/>
                </a:lnTo>
                <a:lnTo>
                  <a:pt x="933" y="149"/>
                </a:lnTo>
                <a:lnTo>
                  <a:pt x="937" y="134"/>
                </a:lnTo>
                <a:lnTo>
                  <a:pt x="938" y="122"/>
                </a:lnTo>
                <a:lnTo>
                  <a:pt x="938" y="110"/>
                </a:lnTo>
                <a:lnTo>
                  <a:pt x="936" y="98"/>
                </a:lnTo>
                <a:lnTo>
                  <a:pt x="932" y="89"/>
                </a:lnTo>
                <a:lnTo>
                  <a:pt x="926" y="81"/>
                </a:lnTo>
                <a:lnTo>
                  <a:pt x="918" y="74"/>
                </a:lnTo>
                <a:lnTo>
                  <a:pt x="906" y="67"/>
                </a:lnTo>
                <a:lnTo>
                  <a:pt x="894" y="62"/>
                </a:lnTo>
                <a:lnTo>
                  <a:pt x="879" y="58"/>
                </a:lnTo>
                <a:lnTo>
                  <a:pt x="860" y="54"/>
                </a:lnTo>
                <a:lnTo>
                  <a:pt x="841" y="52"/>
                </a:lnTo>
                <a:lnTo>
                  <a:pt x="817" y="50"/>
                </a:lnTo>
                <a:lnTo>
                  <a:pt x="792" y="50"/>
                </a:lnTo>
                <a:lnTo>
                  <a:pt x="792" y="0"/>
                </a:lnTo>
                <a:lnTo>
                  <a:pt x="1210" y="0"/>
                </a:lnTo>
                <a:lnTo>
                  <a:pt x="1210" y="50"/>
                </a:lnTo>
                <a:lnTo>
                  <a:pt x="1210" y="50"/>
                </a:lnTo>
                <a:lnTo>
                  <a:pt x="1189" y="50"/>
                </a:lnTo>
                <a:lnTo>
                  <a:pt x="1169" y="51"/>
                </a:lnTo>
                <a:lnTo>
                  <a:pt x="1151" y="53"/>
                </a:lnTo>
                <a:lnTo>
                  <a:pt x="1134" y="57"/>
                </a:lnTo>
                <a:lnTo>
                  <a:pt x="1119" y="61"/>
                </a:lnTo>
                <a:lnTo>
                  <a:pt x="1105" y="66"/>
                </a:lnTo>
                <a:lnTo>
                  <a:pt x="1091" y="73"/>
                </a:lnTo>
                <a:lnTo>
                  <a:pt x="1079" y="80"/>
                </a:lnTo>
                <a:lnTo>
                  <a:pt x="1068" y="89"/>
                </a:lnTo>
                <a:lnTo>
                  <a:pt x="1057" y="100"/>
                </a:lnTo>
                <a:lnTo>
                  <a:pt x="1046" y="113"/>
                </a:lnTo>
                <a:lnTo>
                  <a:pt x="1036" y="127"/>
                </a:lnTo>
                <a:lnTo>
                  <a:pt x="1027" y="142"/>
                </a:lnTo>
                <a:lnTo>
                  <a:pt x="1017" y="161"/>
                </a:lnTo>
                <a:lnTo>
                  <a:pt x="1008" y="180"/>
                </a:lnTo>
                <a:lnTo>
                  <a:pt x="997" y="202"/>
                </a:lnTo>
                <a:lnTo>
                  <a:pt x="997" y="20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fi-FI" sz="1800"/>
          </a:p>
        </p:txBody>
      </p:sp>
      <p:sp>
        <p:nvSpPr>
          <p:cNvPr id="55" name="Freeform 6">
            <a:extLst>
              <a:ext uri="{FF2B5EF4-FFF2-40B4-BE49-F238E27FC236}">
                <a16:creationId xmlns:a16="http://schemas.microsoft.com/office/drawing/2014/main" id="{9CE8211D-F405-5B46-8655-DE27EA85F16F}"/>
              </a:ext>
            </a:extLst>
          </p:cNvPr>
          <p:cNvSpPr>
            <a:spLocks noEditPoints="1"/>
          </p:cNvSpPr>
          <p:nvPr userDrawn="1"/>
        </p:nvSpPr>
        <p:spPr bwMode="auto">
          <a:xfrm>
            <a:off x="1671638" y="890589"/>
            <a:ext cx="160338" cy="139700"/>
          </a:xfrm>
          <a:custGeom>
            <a:avLst/>
            <a:gdLst>
              <a:gd name="T0" fmla="*/ 289 w 1210"/>
              <a:gd name="T1" fmla="*/ 883 h 1064"/>
              <a:gd name="T2" fmla="*/ 276 w 1210"/>
              <a:gd name="T3" fmla="*/ 916 h 1064"/>
              <a:gd name="T4" fmla="*/ 271 w 1210"/>
              <a:gd name="T5" fmla="*/ 943 h 1064"/>
              <a:gd name="T6" fmla="*/ 274 w 1210"/>
              <a:gd name="T7" fmla="*/ 966 h 1064"/>
              <a:gd name="T8" fmla="*/ 284 w 1210"/>
              <a:gd name="T9" fmla="*/ 983 h 1064"/>
              <a:gd name="T10" fmla="*/ 303 w 1210"/>
              <a:gd name="T11" fmla="*/ 998 h 1064"/>
              <a:gd name="T12" fmla="*/ 331 w 1210"/>
              <a:gd name="T13" fmla="*/ 1007 h 1064"/>
              <a:gd name="T14" fmla="*/ 369 w 1210"/>
              <a:gd name="T15" fmla="*/ 1013 h 1064"/>
              <a:gd name="T16" fmla="*/ 417 w 1210"/>
              <a:gd name="T17" fmla="*/ 1014 h 1064"/>
              <a:gd name="T18" fmla="*/ 0 w 1210"/>
              <a:gd name="T19" fmla="*/ 1064 h 1064"/>
              <a:gd name="T20" fmla="*/ 0 w 1210"/>
              <a:gd name="T21" fmla="*/ 1014 h 1064"/>
              <a:gd name="T22" fmla="*/ 41 w 1210"/>
              <a:gd name="T23" fmla="*/ 1013 h 1064"/>
              <a:gd name="T24" fmla="*/ 76 w 1210"/>
              <a:gd name="T25" fmla="*/ 1008 h 1064"/>
              <a:gd name="T26" fmla="*/ 106 w 1210"/>
              <a:gd name="T27" fmla="*/ 999 h 1064"/>
              <a:gd name="T28" fmla="*/ 131 w 1210"/>
              <a:gd name="T29" fmla="*/ 984 h 1064"/>
              <a:gd name="T30" fmla="*/ 153 w 1210"/>
              <a:gd name="T31" fmla="*/ 964 h 1064"/>
              <a:gd name="T32" fmla="*/ 173 w 1210"/>
              <a:gd name="T33" fmla="*/ 938 h 1064"/>
              <a:gd name="T34" fmla="*/ 192 w 1210"/>
              <a:gd name="T35" fmla="*/ 904 h 1064"/>
              <a:gd name="T36" fmla="*/ 212 w 1210"/>
              <a:gd name="T37" fmla="*/ 863 h 1064"/>
              <a:gd name="T38" fmla="*/ 623 w 1210"/>
              <a:gd name="T39" fmla="*/ 0 h 1064"/>
              <a:gd name="T40" fmla="*/ 999 w 1210"/>
              <a:gd name="T41" fmla="*/ 863 h 1064"/>
              <a:gd name="T42" fmla="*/ 1025 w 1210"/>
              <a:gd name="T43" fmla="*/ 918 h 1064"/>
              <a:gd name="T44" fmla="*/ 1041 w 1210"/>
              <a:gd name="T45" fmla="*/ 946 h 1064"/>
              <a:gd name="T46" fmla="*/ 1060 w 1210"/>
              <a:gd name="T47" fmla="*/ 970 h 1064"/>
              <a:gd name="T48" fmla="*/ 1082 w 1210"/>
              <a:gd name="T49" fmla="*/ 988 h 1064"/>
              <a:gd name="T50" fmla="*/ 1110 w 1210"/>
              <a:gd name="T51" fmla="*/ 1002 h 1064"/>
              <a:gd name="T52" fmla="*/ 1142 w 1210"/>
              <a:gd name="T53" fmla="*/ 1010 h 1064"/>
              <a:gd name="T54" fmla="*/ 1185 w 1210"/>
              <a:gd name="T55" fmla="*/ 1014 h 1064"/>
              <a:gd name="T56" fmla="*/ 1210 w 1210"/>
              <a:gd name="T57" fmla="*/ 1064 h 1064"/>
              <a:gd name="T58" fmla="*/ 647 w 1210"/>
              <a:gd name="T59" fmla="*/ 1014 h 1064"/>
              <a:gd name="T60" fmla="*/ 674 w 1210"/>
              <a:gd name="T61" fmla="*/ 1014 h 1064"/>
              <a:gd name="T62" fmla="*/ 719 w 1210"/>
              <a:gd name="T63" fmla="*/ 1010 h 1064"/>
              <a:gd name="T64" fmla="*/ 752 w 1210"/>
              <a:gd name="T65" fmla="*/ 1003 h 1064"/>
              <a:gd name="T66" fmla="*/ 775 w 1210"/>
              <a:gd name="T67" fmla="*/ 990 h 1064"/>
              <a:gd name="T68" fmla="*/ 790 w 1210"/>
              <a:gd name="T69" fmla="*/ 974 h 1064"/>
              <a:gd name="T70" fmla="*/ 795 w 1210"/>
              <a:gd name="T71" fmla="*/ 954 h 1064"/>
              <a:gd name="T72" fmla="*/ 793 w 1210"/>
              <a:gd name="T73" fmla="*/ 929 h 1064"/>
              <a:gd name="T74" fmla="*/ 783 w 1210"/>
              <a:gd name="T75" fmla="*/ 899 h 1064"/>
              <a:gd name="T76" fmla="*/ 704 w 1210"/>
              <a:gd name="T77" fmla="*/ 719 h 1064"/>
              <a:gd name="T78" fmla="*/ 289 w 1210"/>
              <a:gd name="T79" fmla="*/ 883 h 1064"/>
              <a:gd name="T80" fmla="*/ 394 w 1210"/>
              <a:gd name="T81" fmla="*/ 642 h 1064"/>
              <a:gd name="T82" fmla="*/ 533 w 1210"/>
              <a:gd name="T83" fmla="*/ 318 h 1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10" h="1064">
                <a:moveTo>
                  <a:pt x="289" y="883"/>
                </a:moveTo>
                <a:lnTo>
                  <a:pt x="289" y="883"/>
                </a:lnTo>
                <a:lnTo>
                  <a:pt x="281" y="900"/>
                </a:lnTo>
                <a:lnTo>
                  <a:pt x="276" y="916"/>
                </a:lnTo>
                <a:lnTo>
                  <a:pt x="273" y="930"/>
                </a:lnTo>
                <a:lnTo>
                  <a:pt x="271" y="943"/>
                </a:lnTo>
                <a:lnTo>
                  <a:pt x="272" y="955"/>
                </a:lnTo>
                <a:lnTo>
                  <a:pt x="274" y="966"/>
                </a:lnTo>
                <a:lnTo>
                  <a:pt x="278" y="975"/>
                </a:lnTo>
                <a:lnTo>
                  <a:pt x="284" y="983"/>
                </a:lnTo>
                <a:lnTo>
                  <a:pt x="293" y="991"/>
                </a:lnTo>
                <a:lnTo>
                  <a:pt x="303" y="998"/>
                </a:lnTo>
                <a:lnTo>
                  <a:pt x="316" y="1003"/>
                </a:lnTo>
                <a:lnTo>
                  <a:pt x="331" y="1007"/>
                </a:lnTo>
                <a:lnTo>
                  <a:pt x="349" y="1010"/>
                </a:lnTo>
                <a:lnTo>
                  <a:pt x="369" y="1013"/>
                </a:lnTo>
                <a:lnTo>
                  <a:pt x="392" y="1014"/>
                </a:lnTo>
                <a:lnTo>
                  <a:pt x="417" y="1014"/>
                </a:lnTo>
                <a:lnTo>
                  <a:pt x="417" y="1064"/>
                </a:lnTo>
                <a:lnTo>
                  <a:pt x="0" y="1064"/>
                </a:lnTo>
                <a:lnTo>
                  <a:pt x="0" y="1014"/>
                </a:lnTo>
                <a:lnTo>
                  <a:pt x="0" y="1014"/>
                </a:lnTo>
                <a:lnTo>
                  <a:pt x="22" y="1014"/>
                </a:lnTo>
                <a:lnTo>
                  <a:pt x="41" y="1013"/>
                </a:lnTo>
                <a:lnTo>
                  <a:pt x="59" y="1011"/>
                </a:lnTo>
                <a:lnTo>
                  <a:pt x="76" y="1008"/>
                </a:lnTo>
                <a:lnTo>
                  <a:pt x="91" y="1004"/>
                </a:lnTo>
                <a:lnTo>
                  <a:pt x="106" y="999"/>
                </a:lnTo>
                <a:lnTo>
                  <a:pt x="119" y="992"/>
                </a:lnTo>
                <a:lnTo>
                  <a:pt x="131" y="984"/>
                </a:lnTo>
                <a:lnTo>
                  <a:pt x="142" y="975"/>
                </a:lnTo>
                <a:lnTo>
                  <a:pt x="153" y="964"/>
                </a:lnTo>
                <a:lnTo>
                  <a:pt x="164" y="952"/>
                </a:lnTo>
                <a:lnTo>
                  <a:pt x="173" y="938"/>
                </a:lnTo>
                <a:lnTo>
                  <a:pt x="183" y="922"/>
                </a:lnTo>
                <a:lnTo>
                  <a:pt x="192" y="904"/>
                </a:lnTo>
                <a:lnTo>
                  <a:pt x="203" y="884"/>
                </a:lnTo>
                <a:lnTo>
                  <a:pt x="212" y="863"/>
                </a:lnTo>
                <a:lnTo>
                  <a:pt x="586" y="0"/>
                </a:lnTo>
                <a:lnTo>
                  <a:pt x="623" y="0"/>
                </a:lnTo>
                <a:lnTo>
                  <a:pt x="999" y="863"/>
                </a:lnTo>
                <a:lnTo>
                  <a:pt x="999" y="863"/>
                </a:lnTo>
                <a:lnTo>
                  <a:pt x="1017" y="900"/>
                </a:lnTo>
                <a:lnTo>
                  <a:pt x="1025" y="918"/>
                </a:lnTo>
                <a:lnTo>
                  <a:pt x="1033" y="933"/>
                </a:lnTo>
                <a:lnTo>
                  <a:pt x="1041" y="946"/>
                </a:lnTo>
                <a:lnTo>
                  <a:pt x="1050" y="959"/>
                </a:lnTo>
                <a:lnTo>
                  <a:pt x="1060" y="970"/>
                </a:lnTo>
                <a:lnTo>
                  <a:pt x="1071" y="980"/>
                </a:lnTo>
                <a:lnTo>
                  <a:pt x="1082" y="988"/>
                </a:lnTo>
                <a:lnTo>
                  <a:pt x="1095" y="995"/>
                </a:lnTo>
                <a:lnTo>
                  <a:pt x="1110" y="1002"/>
                </a:lnTo>
                <a:lnTo>
                  <a:pt x="1125" y="1006"/>
                </a:lnTo>
                <a:lnTo>
                  <a:pt x="1142" y="1010"/>
                </a:lnTo>
                <a:lnTo>
                  <a:pt x="1163" y="1012"/>
                </a:lnTo>
                <a:lnTo>
                  <a:pt x="1185" y="1014"/>
                </a:lnTo>
                <a:lnTo>
                  <a:pt x="1210" y="1014"/>
                </a:lnTo>
                <a:lnTo>
                  <a:pt x="1210" y="1064"/>
                </a:lnTo>
                <a:lnTo>
                  <a:pt x="647" y="1064"/>
                </a:lnTo>
                <a:lnTo>
                  <a:pt x="647" y="1014"/>
                </a:lnTo>
                <a:lnTo>
                  <a:pt x="647" y="1014"/>
                </a:lnTo>
                <a:lnTo>
                  <a:pt x="674" y="1014"/>
                </a:lnTo>
                <a:lnTo>
                  <a:pt x="698" y="1012"/>
                </a:lnTo>
                <a:lnTo>
                  <a:pt x="719" y="1010"/>
                </a:lnTo>
                <a:lnTo>
                  <a:pt x="736" y="1007"/>
                </a:lnTo>
                <a:lnTo>
                  <a:pt x="752" y="1003"/>
                </a:lnTo>
                <a:lnTo>
                  <a:pt x="765" y="996"/>
                </a:lnTo>
                <a:lnTo>
                  <a:pt x="775" y="990"/>
                </a:lnTo>
                <a:lnTo>
                  <a:pt x="783" y="983"/>
                </a:lnTo>
                <a:lnTo>
                  <a:pt x="790" y="974"/>
                </a:lnTo>
                <a:lnTo>
                  <a:pt x="793" y="965"/>
                </a:lnTo>
                <a:lnTo>
                  <a:pt x="795" y="954"/>
                </a:lnTo>
                <a:lnTo>
                  <a:pt x="795" y="942"/>
                </a:lnTo>
                <a:lnTo>
                  <a:pt x="793" y="929"/>
                </a:lnTo>
                <a:lnTo>
                  <a:pt x="789" y="915"/>
                </a:lnTo>
                <a:lnTo>
                  <a:pt x="783" y="899"/>
                </a:lnTo>
                <a:lnTo>
                  <a:pt x="776" y="883"/>
                </a:lnTo>
                <a:lnTo>
                  <a:pt x="704" y="719"/>
                </a:lnTo>
                <a:lnTo>
                  <a:pt x="359" y="719"/>
                </a:lnTo>
                <a:lnTo>
                  <a:pt x="289" y="883"/>
                </a:lnTo>
                <a:close/>
                <a:moveTo>
                  <a:pt x="533" y="318"/>
                </a:moveTo>
                <a:lnTo>
                  <a:pt x="394" y="642"/>
                </a:lnTo>
                <a:lnTo>
                  <a:pt x="671" y="642"/>
                </a:lnTo>
                <a:lnTo>
                  <a:pt x="533" y="31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fi-FI" sz="1800"/>
          </a:p>
        </p:txBody>
      </p:sp>
      <p:sp>
        <p:nvSpPr>
          <p:cNvPr id="56" name="Freeform 7">
            <a:extLst>
              <a:ext uri="{FF2B5EF4-FFF2-40B4-BE49-F238E27FC236}">
                <a16:creationId xmlns:a16="http://schemas.microsoft.com/office/drawing/2014/main" id="{D9067B2B-2829-7444-8B91-CC44818880A8}"/>
              </a:ext>
            </a:extLst>
          </p:cNvPr>
          <p:cNvSpPr>
            <a:spLocks/>
          </p:cNvSpPr>
          <p:nvPr userDrawn="1"/>
        </p:nvSpPr>
        <p:spPr bwMode="auto">
          <a:xfrm>
            <a:off x="1849439" y="893764"/>
            <a:ext cx="131763" cy="136525"/>
          </a:xfrm>
          <a:custGeom>
            <a:avLst/>
            <a:gdLst>
              <a:gd name="T0" fmla="*/ 0 w 1002"/>
              <a:gd name="T1" fmla="*/ 0 h 1035"/>
              <a:gd name="T2" fmla="*/ 545 w 1002"/>
              <a:gd name="T3" fmla="*/ 50 h 1035"/>
              <a:gd name="T4" fmla="*/ 519 w 1002"/>
              <a:gd name="T5" fmla="*/ 50 h 1035"/>
              <a:gd name="T6" fmla="*/ 476 w 1002"/>
              <a:gd name="T7" fmla="*/ 54 h 1035"/>
              <a:gd name="T8" fmla="*/ 443 w 1002"/>
              <a:gd name="T9" fmla="*/ 63 h 1035"/>
              <a:gd name="T10" fmla="*/ 424 w 1002"/>
              <a:gd name="T11" fmla="*/ 73 h 1035"/>
              <a:gd name="T12" fmla="*/ 413 w 1002"/>
              <a:gd name="T13" fmla="*/ 81 h 1035"/>
              <a:gd name="T14" fmla="*/ 405 w 1002"/>
              <a:gd name="T15" fmla="*/ 92 h 1035"/>
              <a:gd name="T16" fmla="*/ 394 w 1002"/>
              <a:gd name="T17" fmla="*/ 113 h 1035"/>
              <a:gd name="T18" fmla="*/ 385 w 1002"/>
              <a:gd name="T19" fmla="*/ 148 h 1035"/>
              <a:gd name="T20" fmla="*/ 380 w 1002"/>
              <a:gd name="T21" fmla="*/ 194 h 1035"/>
              <a:gd name="T22" fmla="*/ 379 w 1002"/>
              <a:gd name="T23" fmla="*/ 252 h 1035"/>
              <a:gd name="T24" fmla="*/ 379 w 1002"/>
              <a:gd name="T25" fmla="*/ 756 h 1035"/>
              <a:gd name="T26" fmla="*/ 380 w 1002"/>
              <a:gd name="T27" fmla="*/ 814 h 1035"/>
              <a:gd name="T28" fmla="*/ 385 w 1002"/>
              <a:gd name="T29" fmla="*/ 860 h 1035"/>
              <a:gd name="T30" fmla="*/ 394 w 1002"/>
              <a:gd name="T31" fmla="*/ 896 h 1035"/>
              <a:gd name="T32" fmla="*/ 405 w 1002"/>
              <a:gd name="T33" fmla="*/ 915 h 1035"/>
              <a:gd name="T34" fmla="*/ 413 w 1002"/>
              <a:gd name="T35" fmla="*/ 927 h 1035"/>
              <a:gd name="T36" fmla="*/ 424 w 1002"/>
              <a:gd name="T37" fmla="*/ 936 h 1035"/>
              <a:gd name="T38" fmla="*/ 443 w 1002"/>
              <a:gd name="T39" fmla="*/ 946 h 1035"/>
              <a:gd name="T40" fmla="*/ 476 w 1002"/>
              <a:gd name="T41" fmla="*/ 954 h 1035"/>
              <a:gd name="T42" fmla="*/ 519 w 1002"/>
              <a:gd name="T43" fmla="*/ 957 h 1035"/>
              <a:gd name="T44" fmla="*/ 743 w 1002"/>
              <a:gd name="T45" fmla="*/ 957 h 1035"/>
              <a:gd name="T46" fmla="*/ 772 w 1002"/>
              <a:gd name="T47" fmla="*/ 957 h 1035"/>
              <a:gd name="T48" fmla="*/ 819 w 1002"/>
              <a:gd name="T49" fmla="*/ 953 h 1035"/>
              <a:gd name="T50" fmla="*/ 855 w 1002"/>
              <a:gd name="T51" fmla="*/ 946 h 1035"/>
              <a:gd name="T52" fmla="*/ 883 w 1002"/>
              <a:gd name="T53" fmla="*/ 934 h 1035"/>
              <a:gd name="T54" fmla="*/ 904 w 1002"/>
              <a:gd name="T55" fmla="*/ 917 h 1035"/>
              <a:gd name="T56" fmla="*/ 919 w 1002"/>
              <a:gd name="T57" fmla="*/ 897 h 1035"/>
              <a:gd name="T58" fmla="*/ 930 w 1002"/>
              <a:gd name="T59" fmla="*/ 872 h 1035"/>
              <a:gd name="T60" fmla="*/ 943 w 1002"/>
              <a:gd name="T61" fmla="*/ 826 h 1035"/>
              <a:gd name="T62" fmla="*/ 1002 w 1002"/>
              <a:gd name="T63" fmla="*/ 792 h 1035"/>
              <a:gd name="T64" fmla="*/ 0 w 1002"/>
              <a:gd name="T65" fmla="*/ 1035 h 1035"/>
              <a:gd name="T66" fmla="*/ 0 w 1002"/>
              <a:gd name="T67" fmla="*/ 985 h 1035"/>
              <a:gd name="T68" fmla="*/ 48 w 1002"/>
              <a:gd name="T69" fmla="*/ 984 h 1035"/>
              <a:gd name="T70" fmla="*/ 86 w 1002"/>
              <a:gd name="T71" fmla="*/ 978 h 1035"/>
              <a:gd name="T72" fmla="*/ 114 w 1002"/>
              <a:gd name="T73" fmla="*/ 966 h 1035"/>
              <a:gd name="T74" fmla="*/ 125 w 1002"/>
              <a:gd name="T75" fmla="*/ 958 h 1035"/>
              <a:gd name="T76" fmla="*/ 136 w 1002"/>
              <a:gd name="T77" fmla="*/ 949 h 1035"/>
              <a:gd name="T78" fmla="*/ 143 w 1002"/>
              <a:gd name="T79" fmla="*/ 937 h 1035"/>
              <a:gd name="T80" fmla="*/ 154 w 1002"/>
              <a:gd name="T81" fmla="*/ 906 h 1035"/>
              <a:gd name="T82" fmla="*/ 161 w 1002"/>
              <a:gd name="T83" fmla="*/ 866 h 1035"/>
              <a:gd name="T84" fmla="*/ 163 w 1002"/>
              <a:gd name="T85" fmla="*/ 814 h 1035"/>
              <a:gd name="T86" fmla="*/ 163 w 1002"/>
              <a:gd name="T87" fmla="*/ 252 h 1035"/>
              <a:gd name="T88" fmla="*/ 163 w 1002"/>
              <a:gd name="T89" fmla="*/ 221 h 1035"/>
              <a:gd name="T90" fmla="*/ 161 w 1002"/>
              <a:gd name="T91" fmla="*/ 169 h 1035"/>
              <a:gd name="T92" fmla="*/ 154 w 1002"/>
              <a:gd name="T93" fmla="*/ 129 h 1035"/>
              <a:gd name="T94" fmla="*/ 143 w 1002"/>
              <a:gd name="T95" fmla="*/ 98 h 1035"/>
              <a:gd name="T96" fmla="*/ 136 w 1002"/>
              <a:gd name="T97" fmla="*/ 86 h 1035"/>
              <a:gd name="T98" fmla="*/ 125 w 1002"/>
              <a:gd name="T99" fmla="*/ 77 h 1035"/>
              <a:gd name="T100" fmla="*/ 114 w 1002"/>
              <a:gd name="T101" fmla="*/ 69 h 1035"/>
              <a:gd name="T102" fmla="*/ 86 w 1002"/>
              <a:gd name="T103" fmla="*/ 58 h 1035"/>
              <a:gd name="T104" fmla="*/ 48 w 1002"/>
              <a:gd name="T105" fmla="*/ 51 h 1035"/>
              <a:gd name="T106" fmla="*/ 0 w 1002"/>
              <a:gd name="T107" fmla="*/ 50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02" h="1035">
                <a:moveTo>
                  <a:pt x="0" y="50"/>
                </a:moveTo>
                <a:lnTo>
                  <a:pt x="0" y="0"/>
                </a:lnTo>
                <a:lnTo>
                  <a:pt x="545" y="0"/>
                </a:lnTo>
                <a:lnTo>
                  <a:pt x="545" y="50"/>
                </a:lnTo>
                <a:lnTo>
                  <a:pt x="545" y="50"/>
                </a:lnTo>
                <a:lnTo>
                  <a:pt x="519" y="50"/>
                </a:lnTo>
                <a:lnTo>
                  <a:pt x="497" y="51"/>
                </a:lnTo>
                <a:lnTo>
                  <a:pt x="476" y="54"/>
                </a:lnTo>
                <a:lnTo>
                  <a:pt x="459" y="58"/>
                </a:lnTo>
                <a:lnTo>
                  <a:pt x="443" y="63"/>
                </a:lnTo>
                <a:lnTo>
                  <a:pt x="429" y="69"/>
                </a:lnTo>
                <a:lnTo>
                  <a:pt x="424" y="73"/>
                </a:lnTo>
                <a:lnTo>
                  <a:pt x="418" y="77"/>
                </a:lnTo>
                <a:lnTo>
                  <a:pt x="413" y="81"/>
                </a:lnTo>
                <a:lnTo>
                  <a:pt x="409" y="86"/>
                </a:lnTo>
                <a:lnTo>
                  <a:pt x="405" y="92"/>
                </a:lnTo>
                <a:lnTo>
                  <a:pt x="400" y="98"/>
                </a:lnTo>
                <a:lnTo>
                  <a:pt x="394" y="113"/>
                </a:lnTo>
                <a:lnTo>
                  <a:pt x="389" y="129"/>
                </a:lnTo>
                <a:lnTo>
                  <a:pt x="385" y="148"/>
                </a:lnTo>
                <a:lnTo>
                  <a:pt x="382" y="169"/>
                </a:lnTo>
                <a:lnTo>
                  <a:pt x="380" y="194"/>
                </a:lnTo>
                <a:lnTo>
                  <a:pt x="379" y="221"/>
                </a:lnTo>
                <a:lnTo>
                  <a:pt x="379" y="252"/>
                </a:lnTo>
                <a:lnTo>
                  <a:pt x="379" y="756"/>
                </a:lnTo>
                <a:lnTo>
                  <a:pt x="379" y="756"/>
                </a:lnTo>
                <a:lnTo>
                  <a:pt x="379" y="787"/>
                </a:lnTo>
                <a:lnTo>
                  <a:pt x="380" y="814"/>
                </a:lnTo>
                <a:lnTo>
                  <a:pt x="382" y="839"/>
                </a:lnTo>
                <a:lnTo>
                  <a:pt x="385" y="860"/>
                </a:lnTo>
                <a:lnTo>
                  <a:pt x="389" y="879"/>
                </a:lnTo>
                <a:lnTo>
                  <a:pt x="394" y="896"/>
                </a:lnTo>
                <a:lnTo>
                  <a:pt x="400" y="909"/>
                </a:lnTo>
                <a:lnTo>
                  <a:pt x="405" y="915"/>
                </a:lnTo>
                <a:lnTo>
                  <a:pt x="409" y="921"/>
                </a:lnTo>
                <a:lnTo>
                  <a:pt x="413" y="927"/>
                </a:lnTo>
                <a:lnTo>
                  <a:pt x="418" y="932"/>
                </a:lnTo>
                <a:lnTo>
                  <a:pt x="424" y="936"/>
                </a:lnTo>
                <a:lnTo>
                  <a:pt x="429" y="939"/>
                </a:lnTo>
                <a:lnTo>
                  <a:pt x="443" y="946"/>
                </a:lnTo>
                <a:lnTo>
                  <a:pt x="459" y="950"/>
                </a:lnTo>
                <a:lnTo>
                  <a:pt x="476" y="954"/>
                </a:lnTo>
                <a:lnTo>
                  <a:pt x="497" y="956"/>
                </a:lnTo>
                <a:lnTo>
                  <a:pt x="519" y="957"/>
                </a:lnTo>
                <a:lnTo>
                  <a:pt x="545" y="957"/>
                </a:lnTo>
                <a:lnTo>
                  <a:pt x="743" y="957"/>
                </a:lnTo>
                <a:lnTo>
                  <a:pt x="743" y="957"/>
                </a:lnTo>
                <a:lnTo>
                  <a:pt x="772" y="957"/>
                </a:lnTo>
                <a:lnTo>
                  <a:pt x="796" y="955"/>
                </a:lnTo>
                <a:lnTo>
                  <a:pt x="819" y="953"/>
                </a:lnTo>
                <a:lnTo>
                  <a:pt x="838" y="950"/>
                </a:lnTo>
                <a:lnTo>
                  <a:pt x="855" y="946"/>
                </a:lnTo>
                <a:lnTo>
                  <a:pt x="871" y="940"/>
                </a:lnTo>
                <a:lnTo>
                  <a:pt x="883" y="934"/>
                </a:lnTo>
                <a:lnTo>
                  <a:pt x="894" y="927"/>
                </a:lnTo>
                <a:lnTo>
                  <a:pt x="904" y="917"/>
                </a:lnTo>
                <a:lnTo>
                  <a:pt x="912" y="908"/>
                </a:lnTo>
                <a:lnTo>
                  <a:pt x="919" y="897"/>
                </a:lnTo>
                <a:lnTo>
                  <a:pt x="925" y="886"/>
                </a:lnTo>
                <a:lnTo>
                  <a:pt x="930" y="872"/>
                </a:lnTo>
                <a:lnTo>
                  <a:pt x="935" y="858"/>
                </a:lnTo>
                <a:lnTo>
                  <a:pt x="943" y="826"/>
                </a:lnTo>
                <a:lnTo>
                  <a:pt x="952" y="792"/>
                </a:lnTo>
                <a:lnTo>
                  <a:pt x="1002" y="792"/>
                </a:lnTo>
                <a:lnTo>
                  <a:pt x="988" y="1035"/>
                </a:lnTo>
                <a:lnTo>
                  <a:pt x="0" y="1035"/>
                </a:lnTo>
                <a:lnTo>
                  <a:pt x="0" y="985"/>
                </a:lnTo>
                <a:lnTo>
                  <a:pt x="0" y="985"/>
                </a:lnTo>
                <a:lnTo>
                  <a:pt x="25" y="985"/>
                </a:lnTo>
                <a:lnTo>
                  <a:pt x="48" y="984"/>
                </a:lnTo>
                <a:lnTo>
                  <a:pt x="68" y="982"/>
                </a:lnTo>
                <a:lnTo>
                  <a:pt x="86" y="978"/>
                </a:lnTo>
                <a:lnTo>
                  <a:pt x="101" y="973"/>
                </a:lnTo>
                <a:lnTo>
                  <a:pt x="114" y="966"/>
                </a:lnTo>
                <a:lnTo>
                  <a:pt x="120" y="963"/>
                </a:lnTo>
                <a:lnTo>
                  <a:pt x="125" y="958"/>
                </a:lnTo>
                <a:lnTo>
                  <a:pt x="131" y="954"/>
                </a:lnTo>
                <a:lnTo>
                  <a:pt x="136" y="949"/>
                </a:lnTo>
                <a:lnTo>
                  <a:pt x="140" y="943"/>
                </a:lnTo>
                <a:lnTo>
                  <a:pt x="143" y="937"/>
                </a:lnTo>
                <a:lnTo>
                  <a:pt x="150" y="923"/>
                </a:lnTo>
                <a:lnTo>
                  <a:pt x="154" y="906"/>
                </a:lnTo>
                <a:lnTo>
                  <a:pt x="158" y="888"/>
                </a:lnTo>
                <a:lnTo>
                  <a:pt x="161" y="866"/>
                </a:lnTo>
                <a:lnTo>
                  <a:pt x="162" y="842"/>
                </a:lnTo>
                <a:lnTo>
                  <a:pt x="163" y="814"/>
                </a:lnTo>
                <a:lnTo>
                  <a:pt x="163" y="783"/>
                </a:lnTo>
                <a:lnTo>
                  <a:pt x="163" y="252"/>
                </a:lnTo>
                <a:lnTo>
                  <a:pt x="163" y="252"/>
                </a:lnTo>
                <a:lnTo>
                  <a:pt x="163" y="221"/>
                </a:lnTo>
                <a:lnTo>
                  <a:pt x="162" y="194"/>
                </a:lnTo>
                <a:lnTo>
                  <a:pt x="161" y="169"/>
                </a:lnTo>
                <a:lnTo>
                  <a:pt x="158" y="148"/>
                </a:lnTo>
                <a:lnTo>
                  <a:pt x="154" y="129"/>
                </a:lnTo>
                <a:lnTo>
                  <a:pt x="150" y="113"/>
                </a:lnTo>
                <a:lnTo>
                  <a:pt x="143" y="98"/>
                </a:lnTo>
                <a:lnTo>
                  <a:pt x="140" y="92"/>
                </a:lnTo>
                <a:lnTo>
                  <a:pt x="136" y="86"/>
                </a:lnTo>
                <a:lnTo>
                  <a:pt x="131" y="81"/>
                </a:lnTo>
                <a:lnTo>
                  <a:pt x="125" y="77"/>
                </a:lnTo>
                <a:lnTo>
                  <a:pt x="120" y="73"/>
                </a:lnTo>
                <a:lnTo>
                  <a:pt x="114" y="69"/>
                </a:lnTo>
                <a:lnTo>
                  <a:pt x="101" y="63"/>
                </a:lnTo>
                <a:lnTo>
                  <a:pt x="86" y="58"/>
                </a:lnTo>
                <a:lnTo>
                  <a:pt x="68" y="54"/>
                </a:lnTo>
                <a:lnTo>
                  <a:pt x="48" y="51"/>
                </a:lnTo>
                <a:lnTo>
                  <a:pt x="25" y="50"/>
                </a:lnTo>
                <a:lnTo>
                  <a:pt x="0" y="50"/>
                </a:lnTo>
                <a:lnTo>
                  <a:pt x="0" y="5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fi-FI" sz="1800"/>
          </a:p>
        </p:txBody>
      </p:sp>
      <p:sp>
        <p:nvSpPr>
          <p:cNvPr id="57" name="Freeform 8">
            <a:extLst>
              <a:ext uri="{FF2B5EF4-FFF2-40B4-BE49-F238E27FC236}">
                <a16:creationId xmlns:a16="http://schemas.microsoft.com/office/drawing/2014/main" id="{1D2160BE-DEA1-534A-A109-C55F9A86EF32}"/>
              </a:ext>
            </a:extLst>
          </p:cNvPr>
          <p:cNvSpPr>
            <a:spLocks/>
          </p:cNvSpPr>
          <p:nvPr userDrawn="1"/>
        </p:nvSpPr>
        <p:spPr bwMode="auto">
          <a:xfrm>
            <a:off x="1982789" y="893764"/>
            <a:ext cx="142875" cy="136525"/>
          </a:xfrm>
          <a:custGeom>
            <a:avLst/>
            <a:gdLst>
              <a:gd name="T0" fmla="*/ 1028 w 1078"/>
              <a:gd name="T1" fmla="*/ 244 h 1035"/>
              <a:gd name="T2" fmla="*/ 1019 w 1078"/>
              <a:gd name="T3" fmla="*/ 209 h 1035"/>
              <a:gd name="T4" fmla="*/ 1006 w 1078"/>
              <a:gd name="T5" fmla="*/ 163 h 1035"/>
              <a:gd name="T6" fmla="*/ 995 w 1078"/>
              <a:gd name="T7" fmla="*/ 138 h 1035"/>
              <a:gd name="T8" fmla="*/ 979 w 1078"/>
              <a:gd name="T9" fmla="*/ 118 h 1035"/>
              <a:gd name="T10" fmla="*/ 959 w 1078"/>
              <a:gd name="T11" fmla="*/ 101 h 1035"/>
              <a:gd name="T12" fmla="*/ 931 w 1078"/>
              <a:gd name="T13" fmla="*/ 90 h 1035"/>
              <a:gd name="T14" fmla="*/ 895 w 1078"/>
              <a:gd name="T15" fmla="*/ 82 h 1035"/>
              <a:gd name="T16" fmla="*/ 848 w 1078"/>
              <a:gd name="T17" fmla="*/ 78 h 1035"/>
              <a:gd name="T18" fmla="*/ 646 w 1078"/>
              <a:gd name="T19" fmla="*/ 78 h 1035"/>
              <a:gd name="T20" fmla="*/ 646 w 1078"/>
              <a:gd name="T21" fmla="*/ 783 h 1035"/>
              <a:gd name="T22" fmla="*/ 648 w 1078"/>
              <a:gd name="T23" fmla="*/ 842 h 1035"/>
              <a:gd name="T24" fmla="*/ 652 w 1078"/>
              <a:gd name="T25" fmla="*/ 888 h 1035"/>
              <a:gd name="T26" fmla="*/ 661 w 1078"/>
              <a:gd name="T27" fmla="*/ 923 h 1035"/>
              <a:gd name="T28" fmla="*/ 672 w 1078"/>
              <a:gd name="T29" fmla="*/ 943 h 1035"/>
              <a:gd name="T30" fmla="*/ 680 w 1078"/>
              <a:gd name="T31" fmla="*/ 954 h 1035"/>
              <a:gd name="T32" fmla="*/ 691 w 1078"/>
              <a:gd name="T33" fmla="*/ 963 h 1035"/>
              <a:gd name="T34" fmla="*/ 711 w 1078"/>
              <a:gd name="T35" fmla="*/ 973 h 1035"/>
              <a:gd name="T36" fmla="*/ 743 w 1078"/>
              <a:gd name="T37" fmla="*/ 982 h 1035"/>
              <a:gd name="T38" fmla="*/ 786 w 1078"/>
              <a:gd name="T39" fmla="*/ 985 h 1035"/>
              <a:gd name="T40" fmla="*/ 812 w 1078"/>
              <a:gd name="T41" fmla="*/ 1035 h 1035"/>
              <a:gd name="T42" fmla="*/ 267 w 1078"/>
              <a:gd name="T43" fmla="*/ 985 h 1035"/>
              <a:gd name="T44" fmla="*/ 292 w 1078"/>
              <a:gd name="T45" fmla="*/ 985 h 1035"/>
              <a:gd name="T46" fmla="*/ 335 w 1078"/>
              <a:gd name="T47" fmla="*/ 982 h 1035"/>
              <a:gd name="T48" fmla="*/ 368 w 1078"/>
              <a:gd name="T49" fmla="*/ 973 h 1035"/>
              <a:gd name="T50" fmla="*/ 387 w 1078"/>
              <a:gd name="T51" fmla="*/ 963 h 1035"/>
              <a:gd name="T52" fmla="*/ 398 w 1078"/>
              <a:gd name="T53" fmla="*/ 954 h 1035"/>
              <a:gd name="T54" fmla="*/ 407 w 1078"/>
              <a:gd name="T55" fmla="*/ 943 h 1035"/>
              <a:gd name="T56" fmla="*/ 417 w 1078"/>
              <a:gd name="T57" fmla="*/ 923 h 1035"/>
              <a:gd name="T58" fmla="*/ 425 w 1078"/>
              <a:gd name="T59" fmla="*/ 888 h 1035"/>
              <a:gd name="T60" fmla="*/ 429 w 1078"/>
              <a:gd name="T61" fmla="*/ 842 h 1035"/>
              <a:gd name="T62" fmla="*/ 431 w 1078"/>
              <a:gd name="T63" fmla="*/ 783 h 1035"/>
              <a:gd name="T64" fmla="*/ 259 w 1078"/>
              <a:gd name="T65" fmla="*/ 78 h 1035"/>
              <a:gd name="T66" fmla="*/ 231 w 1078"/>
              <a:gd name="T67" fmla="*/ 78 h 1035"/>
              <a:gd name="T68" fmla="*/ 184 w 1078"/>
              <a:gd name="T69" fmla="*/ 82 h 1035"/>
              <a:gd name="T70" fmla="*/ 147 w 1078"/>
              <a:gd name="T71" fmla="*/ 90 h 1035"/>
              <a:gd name="T72" fmla="*/ 120 w 1078"/>
              <a:gd name="T73" fmla="*/ 101 h 1035"/>
              <a:gd name="T74" fmla="*/ 99 w 1078"/>
              <a:gd name="T75" fmla="*/ 118 h 1035"/>
              <a:gd name="T76" fmla="*/ 85 w 1078"/>
              <a:gd name="T77" fmla="*/ 138 h 1035"/>
              <a:gd name="T78" fmla="*/ 74 w 1078"/>
              <a:gd name="T79" fmla="*/ 163 h 1035"/>
              <a:gd name="T80" fmla="*/ 60 w 1078"/>
              <a:gd name="T81" fmla="*/ 209 h 1035"/>
              <a:gd name="T82" fmla="*/ 0 w 1078"/>
              <a:gd name="T83" fmla="*/ 244 h 1035"/>
              <a:gd name="T84" fmla="*/ 1064 w 1078"/>
              <a:gd name="T85" fmla="*/ 0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8" h="1035">
                <a:moveTo>
                  <a:pt x="1078" y="244"/>
                </a:moveTo>
                <a:lnTo>
                  <a:pt x="1028" y="244"/>
                </a:lnTo>
                <a:lnTo>
                  <a:pt x="1019" y="209"/>
                </a:lnTo>
                <a:lnTo>
                  <a:pt x="1019" y="209"/>
                </a:lnTo>
                <a:lnTo>
                  <a:pt x="1011" y="177"/>
                </a:lnTo>
                <a:lnTo>
                  <a:pt x="1006" y="163"/>
                </a:lnTo>
                <a:lnTo>
                  <a:pt x="1001" y="150"/>
                </a:lnTo>
                <a:lnTo>
                  <a:pt x="995" y="138"/>
                </a:lnTo>
                <a:lnTo>
                  <a:pt x="988" y="127"/>
                </a:lnTo>
                <a:lnTo>
                  <a:pt x="979" y="118"/>
                </a:lnTo>
                <a:lnTo>
                  <a:pt x="970" y="109"/>
                </a:lnTo>
                <a:lnTo>
                  <a:pt x="959" y="101"/>
                </a:lnTo>
                <a:lnTo>
                  <a:pt x="946" y="95"/>
                </a:lnTo>
                <a:lnTo>
                  <a:pt x="931" y="90"/>
                </a:lnTo>
                <a:lnTo>
                  <a:pt x="914" y="85"/>
                </a:lnTo>
                <a:lnTo>
                  <a:pt x="895" y="82"/>
                </a:lnTo>
                <a:lnTo>
                  <a:pt x="872" y="80"/>
                </a:lnTo>
                <a:lnTo>
                  <a:pt x="848" y="78"/>
                </a:lnTo>
                <a:lnTo>
                  <a:pt x="819" y="78"/>
                </a:lnTo>
                <a:lnTo>
                  <a:pt x="646" y="78"/>
                </a:lnTo>
                <a:lnTo>
                  <a:pt x="646" y="783"/>
                </a:lnTo>
                <a:lnTo>
                  <a:pt x="646" y="783"/>
                </a:lnTo>
                <a:lnTo>
                  <a:pt x="647" y="814"/>
                </a:lnTo>
                <a:lnTo>
                  <a:pt x="648" y="842"/>
                </a:lnTo>
                <a:lnTo>
                  <a:pt x="649" y="866"/>
                </a:lnTo>
                <a:lnTo>
                  <a:pt x="652" y="888"/>
                </a:lnTo>
                <a:lnTo>
                  <a:pt x="656" y="906"/>
                </a:lnTo>
                <a:lnTo>
                  <a:pt x="661" y="923"/>
                </a:lnTo>
                <a:lnTo>
                  <a:pt x="668" y="937"/>
                </a:lnTo>
                <a:lnTo>
                  <a:pt x="672" y="943"/>
                </a:lnTo>
                <a:lnTo>
                  <a:pt x="676" y="949"/>
                </a:lnTo>
                <a:lnTo>
                  <a:pt x="680" y="954"/>
                </a:lnTo>
                <a:lnTo>
                  <a:pt x="685" y="958"/>
                </a:lnTo>
                <a:lnTo>
                  <a:pt x="691" y="963"/>
                </a:lnTo>
                <a:lnTo>
                  <a:pt x="697" y="966"/>
                </a:lnTo>
                <a:lnTo>
                  <a:pt x="711" y="973"/>
                </a:lnTo>
                <a:lnTo>
                  <a:pt x="726" y="978"/>
                </a:lnTo>
                <a:lnTo>
                  <a:pt x="743" y="982"/>
                </a:lnTo>
                <a:lnTo>
                  <a:pt x="764" y="984"/>
                </a:lnTo>
                <a:lnTo>
                  <a:pt x="786" y="985"/>
                </a:lnTo>
                <a:lnTo>
                  <a:pt x="812" y="985"/>
                </a:lnTo>
                <a:lnTo>
                  <a:pt x="812" y="1035"/>
                </a:lnTo>
                <a:lnTo>
                  <a:pt x="267" y="1035"/>
                </a:lnTo>
                <a:lnTo>
                  <a:pt x="267" y="985"/>
                </a:lnTo>
                <a:lnTo>
                  <a:pt x="267" y="985"/>
                </a:lnTo>
                <a:lnTo>
                  <a:pt x="292" y="985"/>
                </a:lnTo>
                <a:lnTo>
                  <a:pt x="315" y="984"/>
                </a:lnTo>
                <a:lnTo>
                  <a:pt x="335" y="982"/>
                </a:lnTo>
                <a:lnTo>
                  <a:pt x="353" y="978"/>
                </a:lnTo>
                <a:lnTo>
                  <a:pt x="368" y="973"/>
                </a:lnTo>
                <a:lnTo>
                  <a:pt x="381" y="966"/>
                </a:lnTo>
                <a:lnTo>
                  <a:pt x="387" y="963"/>
                </a:lnTo>
                <a:lnTo>
                  <a:pt x="394" y="958"/>
                </a:lnTo>
                <a:lnTo>
                  <a:pt x="398" y="954"/>
                </a:lnTo>
                <a:lnTo>
                  <a:pt x="403" y="949"/>
                </a:lnTo>
                <a:lnTo>
                  <a:pt x="407" y="943"/>
                </a:lnTo>
                <a:lnTo>
                  <a:pt x="411" y="937"/>
                </a:lnTo>
                <a:lnTo>
                  <a:pt x="417" y="923"/>
                </a:lnTo>
                <a:lnTo>
                  <a:pt x="422" y="906"/>
                </a:lnTo>
                <a:lnTo>
                  <a:pt x="425" y="888"/>
                </a:lnTo>
                <a:lnTo>
                  <a:pt x="428" y="866"/>
                </a:lnTo>
                <a:lnTo>
                  <a:pt x="429" y="842"/>
                </a:lnTo>
                <a:lnTo>
                  <a:pt x="430" y="814"/>
                </a:lnTo>
                <a:lnTo>
                  <a:pt x="431" y="783"/>
                </a:lnTo>
                <a:lnTo>
                  <a:pt x="431" y="78"/>
                </a:lnTo>
                <a:lnTo>
                  <a:pt x="259" y="78"/>
                </a:lnTo>
                <a:lnTo>
                  <a:pt x="259" y="78"/>
                </a:lnTo>
                <a:lnTo>
                  <a:pt x="231" y="78"/>
                </a:lnTo>
                <a:lnTo>
                  <a:pt x="205" y="80"/>
                </a:lnTo>
                <a:lnTo>
                  <a:pt x="184" y="82"/>
                </a:lnTo>
                <a:lnTo>
                  <a:pt x="165" y="85"/>
                </a:lnTo>
                <a:lnTo>
                  <a:pt x="147" y="90"/>
                </a:lnTo>
                <a:lnTo>
                  <a:pt x="133" y="95"/>
                </a:lnTo>
                <a:lnTo>
                  <a:pt x="120" y="101"/>
                </a:lnTo>
                <a:lnTo>
                  <a:pt x="108" y="109"/>
                </a:lnTo>
                <a:lnTo>
                  <a:pt x="99" y="118"/>
                </a:lnTo>
                <a:lnTo>
                  <a:pt x="91" y="127"/>
                </a:lnTo>
                <a:lnTo>
                  <a:pt x="85" y="138"/>
                </a:lnTo>
                <a:lnTo>
                  <a:pt x="79" y="150"/>
                </a:lnTo>
                <a:lnTo>
                  <a:pt x="74" y="163"/>
                </a:lnTo>
                <a:lnTo>
                  <a:pt x="68" y="177"/>
                </a:lnTo>
                <a:lnTo>
                  <a:pt x="60" y="209"/>
                </a:lnTo>
                <a:lnTo>
                  <a:pt x="51" y="244"/>
                </a:lnTo>
                <a:lnTo>
                  <a:pt x="0" y="244"/>
                </a:lnTo>
                <a:lnTo>
                  <a:pt x="15" y="0"/>
                </a:lnTo>
                <a:lnTo>
                  <a:pt x="1064" y="0"/>
                </a:lnTo>
                <a:lnTo>
                  <a:pt x="1078" y="24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fi-FI" sz="1800"/>
          </a:p>
        </p:txBody>
      </p:sp>
      <p:sp>
        <p:nvSpPr>
          <p:cNvPr id="58" name="Freeform 9">
            <a:extLst>
              <a:ext uri="{FF2B5EF4-FFF2-40B4-BE49-F238E27FC236}">
                <a16:creationId xmlns:a16="http://schemas.microsoft.com/office/drawing/2014/main" id="{7DCC9B10-BD4A-BD4C-B031-9A4754EF4F53}"/>
              </a:ext>
            </a:extLst>
          </p:cNvPr>
          <p:cNvSpPr>
            <a:spLocks/>
          </p:cNvSpPr>
          <p:nvPr userDrawn="1"/>
        </p:nvSpPr>
        <p:spPr bwMode="auto">
          <a:xfrm>
            <a:off x="2152652" y="893764"/>
            <a:ext cx="73025" cy="136525"/>
          </a:xfrm>
          <a:custGeom>
            <a:avLst/>
            <a:gdLst>
              <a:gd name="T0" fmla="*/ 0 w 545"/>
              <a:gd name="T1" fmla="*/ 985 h 1035"/>
              <a:gd name="T2" fmla="*/ 26 w 545"/>
              <a:gd name="T3" fmla="*/ 985 h 1035"/>
              <a:gd name="T4" fmla="*/ 69 w 545"/>
              <a:gd name="T5" fmla="*/ 982 h 1035"/>
              <a:gd name="T6" fmla="*/ 102 w 545"/>
              <a:gd name="T7" fmla="*/ 973 h 1035"/>
              <a:gd name="T8" fmla="*/ 121 w 545"/>
              <a:gd name="T9" fmla="*/ 963 h 1035"/>
              <a:gd name="T10" fmla="*/ 131 w 545"/>
              <a:gd name="T11" fmla="*/ 954 h 1035"/>
              <a:gd name="T12" fmla="*/ 140 w 545"/>
              <a:gd name="T13" fmla="*/ 943 h 1035"/>
              <a:gd name="T14" fmla="*/ 151 w 545"/>
              <a:gd name="T15" fmla="*/ 923 h 1035"/>
              <a:gd name="T16" fmla="*/ 159 w 545"/>
              <a:gd name="T17" fmla="*/ 888 h 1035"/>
              <a:gd name="T18" fmla="*/ 163 w 545"/>
              <a:gd name="T19" fmla="*/ 842 h 1035"/>
              <a:gd name="T20" fmla="*/ 164 w 545"/>
              <a:gd name="T21" fmla="*/ 783 h 1035"/>
              <a:gd name="T22" fmla="*/ 164 w 545"/>
              <a:gd name="T23" fmla="*/ 252 h 1035"/>
              <a:gd name="T24" fmla="*/ 163 w 545"/>
              <a:gd name="T25" fmla="*/ 194 h 1035"/>
              <a:gd name="T26" fmla="*/ 159 w 545"/>
              <a:gd name="T27" fmla="*/ 148 h 1035"/>
              <a:gd name="T28" fmla="*/ 151 w 545"/>
              <a:gd name="T29" fmla="*/ 113 h 1035"/>
              <a:gd name="T30" fmla="*/ 140 w 545"/>
              <a:gd name="T31" fmla="*/ 92 h 1035"/>
              <a:gd name="T32" fmla="*/ 131 w 545"/>
              <a:gd name="T33" fmla="*/ 81 h 1035"/>
              <a:gd name="T34" fmla="*/ 121 w 545"/>
              <a:gd name="T35" fmla="*/ 73 h 1035"/>
              <a:gd name="T36" fmla="*/ 102 w 545"/>
              <a:gd name="T37" fmla="*/ 63 h 1035"/>
              <a:gd name="T38" fmla="*/ 69 w 545"/>
              <a:gd name="T39" fmla="*/ 54 h 1035"/>
              <a:gd name="T40" fmla="*/ 26 w 545"/>
              <a:gd name="T41" fmla="*/ 50 h 1035"/>
              <a:gd name="T42" fmla="*/ 0 w 545"/>
              <a:gd name="T43" fmla="*/ 0 h 1035"/>
              <a:gd name="T44" fmla="*/ 545 w 545"/>
              <a:gd name="T45" fmla="*/ 50 h 1035"/>
              <a:gd name="T46" fmla="*/ 520 w 545"/>
              <a:gd name="T47" fmla="*/ 50 h 1035"/>
              <a:gd name="T48" fmla="*/ 477 w 545"/>
              <a:gd name="T49" fmla="*/ 54 h 1035"/>
              <a:gd name="T50" fmla="*/ 444 w 545"/>
              <a:gd name="T51" fmla="*/ 63 h 1035"/>
              <a:gd name="T52" fmla="*/ 425 w 545"/>
              <a:gd name="T53" fmla="*/ 73 h 1035"/>
              <a:gd name="T54" fmla="*/ 413 w 545"/>
              <a:gd name="T55" fmla="*/ 81 h 1035"/>
              <a:gd name="T56" fmla="*/ 405 w 545"/>
              <a:gd name="T57" fmla="*/ 92 h 1035"/>
              <a:gd name="T58" fmla="*/ 395 w 545"/>
              <a:gd name="T59" fmla="*/ 113 h 1035"/>
              <a:gd name="T60" fmla="*/ 386 w 545"/>
              <a:gd name="T61" fmla="*/ 148 h 1035"/>
              <a:gd name="T62" fmla="*/ 381 w 545"/>
              <a:gd name="T63" fmla="*/ 194 h 1035"/>
              <a:gd name="T64" fmla="*/ 380 w 545"/>
              <a:gd name="T65" fmla="*/ 252 h 1035"/>
              <a:gd name="T66" fmla="*/ 380 w 545"/>
              <a:gd name="T67" fmla="*/ 783 h 1035"/>
              <a:gd name="T68" fmla="*/ 381 w 545"/>
              <a:gd name="T69" fmla="*/ 842 h 1035"/>
              <a:gd name="T70" fmla="*/ 386 w 545"/>
              <a:gd name="T71" fmla="*/ 888 h 1035"/>
              <a:gd name="T72" fmla="*/ 395 w 545"/>
              <a:gd name="T73" fmla="*/ 923 h 1035"/>
              <a:gd name="T74" fmla="*/ 405 w 545"/>
              <a:gd name="T75" fmla="*/ 943 h 1035"/>
              <a:gd name="T76" fmla="*/ 413 w 545"/>
              <a:gd name="T77" fmla="*/ 954 h 1035"/>
              <a:gd name="T78" fmla="*/ 425 w 545"/>
              <a:gd name="T79" fmla="*/ 963 h 1035"/>
              <a:gd name="T80" fmla="*/ 444 w 545"/>
              <a:gd name="T81" fmla="*/ 973 h 1035"/>
              <a:gd name="T82" fmla="*/ 477 w 545"/>
              <a:gd name="T83" fmla="*/ 982 h 1035"/>
              <a:gd name="T84" fmla="*/ 520 w 545"/>
              <a:gd name="T85" fmla="*/ 985 h 1035"/>
              <a:gd name="T86" fmla="*/ 545 w 545"/>
              <a:gd name="T87" fmla="*/ 1035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5" h="1035">
                <a:moveTo>
                  <a:pt x="0" y="1035"/>
                </a:moveTo>
                <a:lnTo>
                  <a:pt x="0" y="985"/>
                </a:lnTo>
                <a:lnTo>
                  <a:pt x="0" y="985"/>
                </a:lnTo>
                <a:lnTo>
                  <a:pt x="26" y="985"/>
                </a:lnTo>
                <a:lnTo>
                  <a:pt x="48" y="984"/>
                </a:lnTo>
                <a:lnTo>
                  <a:pt x="69" y="982"/>
                </a:lnTo>
                <a:lnTo>
                  <a:pt x="86" y="978"/>
                </a:lnTo>
                <a:lnTo>
                  <a:pt x="102" y="973"/>
                </a:lnTo>
                <a:lnTo>
                  <a:pt x="115" y="966"/>
                </a:lnTo>
                <a:lnTo>
                  <a:pt x="121" y="963"/>
                </a:lnTo>
                <a:lnTo>
                  <a:pt x="126" y="958"/>
                </a:lnTo>
                <a:lnTo>
                  <a:pt x="131" y="954"/>
                </a:lnTo>
                <a:lnTo>
                  <a:pt x="136" y="949"/>
                </a:lnTo>
                <a:lnTo>
                  <a:pt x="140" y="943"/>
                </a:lnTo>
                <a:lnTo>
                  <a:pt x="143" y="937"/>
                </a:lnTo>
                <a:lnTo>
                  <a:pt x="151" y="923"/>
                </a:lnTo>
                <a:lnTo>
                  <a:pt x="155" y="906"/>
                </a:lnTo>
                <a:lnTo>
                  <a:pt x="159" y="888"/>
                </a:lnTo>
                <a:lnTo>
                  <a:pt x="162" y="866"/>
                </a:lnTo>
                <a:lnTo>
                  <a:pt x="163" y="842"/>
                </a:lnTo>
                <a:lnTo>
                  <a:pt x="164" y="814"/>
                </a:lnTo>
                <a:lnTo>
                  <a:pt x="164" y="783"/>
                </a:lnTo>
                <a:lnTo>
                  <a:pt x="164" y="252"/>
                </a:lnTo>
                <a:lnTo>
                  <a:pt x="164" y="252"/>
                </a:lnTo>
                <a:lnTo>
                  <a:pt x="164" y="221"/>
                </a:lnTo>
                <a:lnTo>
                  <a:pt x="163" y="194"/>
                </a:lnTo>
                <a:lnTo>
                  <a:pt x="162" y="169"/>
                </a:lnTo>
                <a:lnTo>
                  <a:pt x="159" y="148"/>
                </a:lnTo>
                <a:lnTo>
                  <a:pt x="155" y="129"/>
                </a:lnTo>
                <a:lnTo>
                  <a:pt x="151" y="113"/>
                </a:lnTo>
                <a:lnTo>
                  <a:pt x="143" y="98"/>
                </a:lnTo>
                <a:lnTo>
                  <a:pt x="140" y="92"/>
                </a:lnTo>
                <a:lnTo>
                  <a:pt x="136" y="86"/>
                </a:lnTo>
                <a:lnTo>
                  <a:pt x="131" y="81"/>
                </a:lnTo>
                <a:lnTo>
                  <a:pt x="126" y="77"/>
                </a:lnTo>
                <a:lnTo>
                  <a:pt x="121" y="73"/>
                </a:lnTo>
                <a:lnTo>
                  <a:pt x="115" y="69"/>
                </a:lnTo>
                <a:lnTo>
                  <a:pt x="102" y="63"/>
                </a:lnTo>
                <a:lnTo>
                  <a:pt x="86" y="58"/>
                </a:lnTo>
                <a:lnTo>
                  <a:pt x="69" y="54"/>
                </a:lnTo>
                <a:lnTo>
                  <a:pt x="48" y="51"/>
                </a:lnTo>
                <a:lnTo>
                  <a:pt x="26" y="50"/>
                </a:lnTo>
                <a:lnTo>
                  <a:pt x="0" y="50"/>
                </a:lnTo>
                <a:lnTo>
                  <a:pt x="0" y="0"/>
                </a:lnTo>
                <a:lnTo>
                  <a:pt x="545" y="0"/>
                </a:lnTo>
                <a:lnTo>
                  <a:pt x="545" y="50"/>
                </a:lnTo>
                <a:lnTo>
                  <a:pt x="545" y="50"/>
                </a:lnTo>
                <a:lnTo>
                  <a:pt x="520" y="50"/>
                </a:lnTo>
                <a:lnTo>
                  <a:pt x="497" y="51"/>
                </a:lnTo>
                <a:lnTo>
                  <a:pt x="477" y="54"/>
                </a:lnTo>
                <a:lnTo>
                  <a:pt x="459" y="58"/>
                </a:lnTo>
                <a:lnTo>
                  <a:pt x="444" y="63"/>
                </a:lnTo>
                <a:lnTo>
                  <a:pt x="430" y="69"/>
                </a:lnTo>
                <a:lnTo>
                  <a:pt x="425" y="73"/>
                </a:lnTo>
                <a:lnTo>
                  <a:pt x="418" y="77"/>
                </a:lnTo>
                <a:lnTo>
                  <a:pt x="413" y="81"/>
                </a:lnTo>
                <a:lnTo>
                  <a:pt x="409" y="86"/>
                </a:lnTo>
                <a:lnTo>
                  <a:pt x="405" y="92"/>
                </a:lnTo>
                <a:lnTo>
                  <a:pt x="401" y="98"/>
                </a:lnTo>
                <a:lnTo>
                  <a:pt x="395" y="113"/>
                </a:lnTo>
                <a:lnTo>
                  <a:pt x="390" y="129"/>
                </a:lnTo>
                <a:lnTo>
                  <a:pt x="386" y="148"/>
                </a:lnTo>
                <a:lnTo>
                  <a:pt x="383" y="169"/>
                </a:lnTo>
                <a:lnTo>
                  <a:pt x="381" y="194"/>
                </a:lnTo>
                <a:lnTo>
                  <a:pt x="380" y="221"/>
                </a:lnTo>
                <a:lnTo>
                  <a:pt x="380" y="252"/>
                </a:lnTo>
                <a:lnTo>
                  <a:pt x="380" y="783"/>
                </a:lnTo>
                <a:lnTo>
                  <a:pt x="380" y="783"/>
                </a:lnTo>
                <a:lnTo>
                  <a:pt x="380" y="814"/>
                </a:lnTo>
                <a:lnTo>
                  <a:pt x="381" y="842"/>
                </a:lnTo>
                <a:lnTo>
                  <a:pt x="383" y="866"/>
                </a:lnTo>
                <a:lnTo>
                  <a:pt x="386" y="888"/>
                </a:lnTo>
                <a:lnTo>
                  <a:pt x="390" y="906"/>
                </a:lnTo>
                <a:lnTo>
                  <a:pt x="395" y="923"/>
                </a:lnTo>
                <a:lnTo>
                  <a:pt x="401" y="937"/>
                </a:lnTo>
                <a:lnTo>
                  <a:pt x="405" y="943"/>
                </a:lnTo>
                <a:lnTo>
                  <a:pt x="409" y="949"/>
                </a:lnTo>
                <a:lnTo>
                  <a:pt x="413" y="954"/>
                </a:lnTo>
                <a:lnTo>
                  <a:pt x="418" y="958"/>
                </a:lnTo>
                <a:lnTo>
                  <a:pt x="425" y="963"/>
                </a:lnTo>
                <a:lnTo>
                  <a:pt x="430" y="966"/>
                </a:lnTo>
                <a:lnTo>
                  <a:pt x="444" y="973"/>
                </a:lnTo>
                <a:lnTo>
                  <a:pt x="459" y="978"/>
                </a:lnTo>
                <a:lnTo>
                  <a:pt x="477" y="982"/>
                </a:lnTo>
                <a:lnTo>
                  <a:pt x="497" y="984"/>
                </a:lnTo>
                <a:lnTo>
                  <a:pt x="520" y="985"/>
                </a:lnTo>
                <a:lnTo>
                  <a:pt x="545" y="985"/>
                </a:lnTo>
                <a:lnTo>
                  <a:pt x="545" y="1035"/>
                </a:lnTo>
                <a:lnTo>
                  <a:pt x="0" y="1035"/>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fi-FI" sz="1800"/>
          </a:p>
        </p:txBody>
      </p:sp>
      <p:sp>
        <p:nvSpPr>
          <p:cNvPr id="59" name="Freeform 10">
            <a:extLst>
              <a:ext uri="{FF2B5EF4-FFF2-40B4-BE49-F238E27FC236}">
                <a16:creationId xmlns:a16="http://schemas.microsoft.com/office/drawing/2014/main" id="{3D333A13-76A2-BF4F-8FFB-06086F336512}"/>
              </a:ext>
            </a:extLst>
          </p:cNvPr>
          <p:cNvSpPr>
            <a:spLocks noEditPoints="1"/>
          </p:cNvSpPr>
          <p:nvPr userDrawn="1"/>
        </p:nvSpPr>
        <p:spPr bwMode="auto">
          <a:xfrm>
            <a:off x="2260601" y="890589"/>
            <a:ext cx="152400" cy="144463"/>
          </a:xfrm>
          <a:custGeom>
            <a:avLst/>
            <a:gdLst>
              <a:gd name="T0" fmla="*/ 489 w 1152"/>
              <a:gd name="T1" fmla="*/ 1087 h 1094"/>
              <a:gd name="T2" fmla="*/ 353 w 1152"/>
              <a:gd name="T3" fmla="*/ 1051 h 1094"/>
              <a:gd name="T4" fmla="*/ 232 w 1152"/>
              <a:gd name="T5" fmla="*/ 984 h 1094"/>
              <a:gd name="T6" fmla="*/ 132 w 1152"/>
              <a:gd name="T7" fmla="*/ 894 h 1094"/>
              <a:gd name="T8" fmla="*/ 57 w 1152"/>
              <a:gd name="T9" fmla="*/ 783 h 1094"/>
              <a:gd name="T10" fmla="*/ 12 w 1152"/>
              <a:gd name="T11" fmla="*/ 656 h 1094"/>
              <a:gd name="T12" fmla="*/ 0 w 1152"/>
              <a:gd name="T13" fmla="*/ 547 h 1094"/>
              <a:gd name="T14" fmla="*/ 19 w 1152"/>
              <a:gd name="T15" fmla="*/ 411 h 1094"/>
              <a:gd name="T16" fmla="*/ 70 w 1152"/>
              <a:gd name="T17" fmla="*/ 287 h 1094"/>
              <a:gd name="T18" fmla="*/ 151 w 1152"/>
              <a:gd name="T19" fmla="*/ 180 h 1094"/>
              <a:gd name="T20" fmla="*/ 255 w 1152"/>
              <a:gd name="T21" fmla="*/ 94 h 1094"/>
              <a:gd name="T22" fmla="*/ 379 w 1152"/>
              <a:gd name="T23" fmla="*/ 33 h 1094"/>
              <a:gd name="T24" fmla="*/ 518 w 1152"/>
              <a:gd name="T25" fmla="*/ 3 h 1094"/>
              <a:gd name="T26" fmla="*/ 635 w 1152"/>
              <a:gd name="T27" fmla="*/ 3 h 1094"/>
              <a:gd name="T28" fmla="*/ 773 w 1152"/>
              <a:gd name="T29" fmla="*/ 33 h 1094"/>
              <a:gd name="T30" fmla="*/ 897 w 1152"/>
              <a:gd name="T31" fmla="*/ 94 h 1094"/>
              <a:gd name="T32" fmla="*/ 1001 w 1152"/>
              <a:gd name="T33" fmla="*/ 180 h 1094"/>
              <a:gd name="T34" fmla="*/ 1082 w 1152"/>
              <a:gd name="T35" fmla="*/ 287 h 1094"/>
              <a:gd name="T36" fmla="*/ 1133 w 1152"/>
              <a:gd name="T37" fmla="*/ 411 h 1094"/>
              <a:gd name="T38" fmla="*/ 1152 w 1152"/>
              <a:gd name="T39" fmla="*/ 547 h 1094"/>
              <a:gd name="T40" fmla="*/ 1139 w 1152"/>
              <a:gd name="T41" fmla="*/ 656 h 1094"/>
              <a:gd name="T42" fmla="*/ 1094 w 1152"/>
              <a:gd name="T43" fmla="*/ 783 h 1094"/>
              <a:gd name="T44" fmla="*/ 1020 w 1152"/>
              <a:gd name="T45" fmla="*/ 894 h 1094"/>
              <a:gd name="T46" fmla="*/ 919 w 1152"/>
              <a:gd name="T47" fmla="*/ 984 h 1094"/>
              <a:gd name="T48" fmla="*/ 800 w 1152"/>
              <a:gd name="T49" fmla="*/ 1051 h 1094"/>
              <a:gd name="T50" fmla="*/ 664 w 1152"/>
              <a:gd name="T51" fmla="*/ 1087 h 1094"/>
              <a:gd name="T52" fmla="*/ 577 w 1152"/>
              <a:gd name="T53" fmla="*/ 82 h 1094"/>
              <a:gd name="T54" fmla="*/ 492 w 1152"/>
              <a:gd name="T55" fmla="*/ 94 h 1094"/>
              <a:gd name="T56" fmla="*/ 404 w 1152"/>
              <a:gd name="T57" fmla="*/ 137 h 1094"/>
              <a:gd name="T58" fmla="*/ 336 w 1152"/>
              <a:gd name="T59" fmla="*/ 204 h 1094"/>
              <a:gd name="T60" fmla="*/ 285 w 1152"/>
              <a:gd name="T61" fmla="*/ 290 h 1094"/>
              <a:gd name="T62" fmla="*/ 253 w 1152"/>
              <a:gd name="T63" fmla="*/ 386 h 1094"/>
              <a:gd name="T64" fmla="*/ 234 w 1152"/>
              <a:gd name="T65" fmla="*/ 507 h 1094"/>
              <a:gd name="T66" fmla="*/ 240 w 1152"/>
              <a:gd name="T67" fmla="*/ 647 h 1094"/>
              <a:gd name="T68" fmla="*/ 264 w 1152"/>
              <a:gd name="T69" fmla="*/ 747 h 1094"/>
              <a:gd name="T70" fmla="*/ 303 w 1152"/>
              <a:gd name="T71" fmla="*/ 840 h 1094"/>
              <a:gd name="T72" fmla="*/ 360 w 1152"/>
              <a:gd name="T73" fmla="*/ 919 h 1094"/>
              <a:gd name="T74" fmla="*/ 437 w 1152"/>
              <a:gd name="T75" fmla="*/ 977 h 1094"/>
              <a:gd name="T76" fmla="*/ 533 w 1152"/>
              <a:gd name="T77" fmla="*/ 1008 h 1094"/>
              <a:gd name="T78" fmla="*/ 621 w 1152"/>
              <a:gd name="T79" fmla="*/ 1008 h 1094"/>
              <a:gd name="T80" fmla="*/ 716 w 1152"/>
              <a:gd name="T81" fmla="*/ 977 h 1094"/>
              <a:gd name="T82" fmla="*/ 793 w 1152"/>
              <a:gd name="T83" fmla="*/ 919 h 1094"/>
              <a:gd name="T84" fmla="*/ 850 w 1152"/>
              <a:gd name="T85" fmla="*/ 840 h 1094"/>
              <a:gd name="T86" fmla="*/ 890 w 1152"/>
              <a:gd name="T87" fmla="*/ 747 h 1094"/>
              <a:gd name="T88" fmla="*/ 912 w 1152"/>
              <a:gd name="T89" fmla="*/ 647 h 1094"/>
              <a:gd name="T90" fmla="*/ 918 w 1152"/>
              <a:gd name="T91" fmla="*/ 507 h 1094"/>
              <a:gd name="T92" fmla="*/ 901 w 1152"/>
              <a:gd name="T93" fmla="*/ 386 h 1094"/>
              <a:gd name="T94" fmla="*/ 867 w 1152"/>
              <a:gd name="T95" fmla="*/ 290 h 1094"/>
              <a:gd name="T96" fmla="*/ 817 w 1152"/>
              <a:gd name="T97" fmla="*/ 204 h 1094"/>
              <a:gd name="T98" fmla="*/ 749 w 1152"/>
              <a:gd name="T99" fmla="*/ 137 h 1094"/>
              <a:gd name="T100" fmla="*/ 662 w 1152"/>
              <a:gd name="T101" fmla="*/ 94 h 1094"/>
              <a:gd name="T102" fmla="*/ 577 w 1152"/>
              <a:gd name="T103" fmla="*/ 82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52" h="1094">
                <a:moveTo>
                  <a:pt x="577" y="1094"/>
                </a:moveTo>
                <a:lnTo>
                  <a:pt x="577" y="1094"/>
                </a:lnTo>
                <a:lnTo>
                  <a:pt x="547" y="1093"/>
                </a:lnTo>
                <a:lnTo>
                  <a:pt x="518" y="1091"/>
                </a:lnTo>
                <a:lnTo>
                  <a:pt x="489" y="1087"/>
                </a:lnTo>
                <a:lnTo>
                  <a:pt x="460" y="1082"/>
                </a:lnTo>
                <a:lnTo>
                  <a:pt x="433" y="1076"/>
                </a:lnTo>
                <a:lnTo>
                  <a:pt x="406" y="1069"/>
                </a:lnTo>
                <a:lnTo>
                  <a:pt x="379" y="1060"/>
                </a:lnTo>
                <a:lnTo>
                  <a:pt x="353" y="1051"/>
                </a:lnTo>
                <a:lnTo>
                  <a:pt x="327" y="1039"/>
                </a:lnTo>
                <a:lnTo>
                  <a:pt x="303" y="1027"/>
                </a:lnTo>
                <a:lnTo>
                  <a:pt x="278" y="1014"/>
                </a:lnTo>
                <a:lnTo>
                  <a:pt x="255" y="1000"/>
                </a:lnTo>
                <a:lnTo>
                  <a:pt x="232" y="984"/>
                </a:lnTo>
                <a:lnTo>
                  <a:pt x="211" y="968"/>
                </a:lnTo>
                <a:lnTo>
                  <a:pt x="189" y="950"/>
                </a:lnTo>
                <a:lnTo>
                  <a:pt x="170" y="933"/>
                </a:lnTo>
                <a:lnTo>
                  <a:pt x="151" y="914"/>
                </a:lnTo>
                <a:lnTo>
                  <a:pt x="132" y="894"/>
                </a:lnTo>
                <a:lnTo>
                  <a:pt x="115" y="873"/>
                </a:lnTo>
                <a:lnTo>
                  <a:pt x="99" y="851"/>
                </a:lnTo>
                <a:lnTo>
                  <a:pt x="84" y="830"/>
                </a:lnTo>
                <a:lnTo>
                  <a:pt x="70" y="806"/>
                </a:lnTo>
                <a:lnTo>
                  <a:pt x="57" y="783"/>
                </a:lnTo>
                <a:lnTo>
                  <a:pt x="46" y="758"/>
                </a:lnTo>
                <a:lnTo>
                  <a:pt x="36" y="734"/>
                </a:lnTo>
                <a:lnTo>
                  <a:pt x="27" y="708"/>
                </a:lnTo>
                <a:lnTo>
                  <a:pt x="19" y="683"/>
                </a:lnTo>
                <a:lnTo>
                  <a:pt x="12" y="656"/>
                </a:lnTo>
                <a:lnTo>
                  <a:pt x="7" y="629"/>
                </a:lnTo>
                <a:lnTo>
                  <a:pt x="3" y="602"/>
                </a:lnTo>
                <a:lnTo>
                  <a:pt x="1" y="574"/>
                </a:lnTo>
                <a:lnTo>
                  <a:pt x="0" y="547"/>
                </a:lnTo>
                <a:lnTo>
                  <a:pt x="0" y="547"/>
                </a:lnTo>
                <a:lnTo>
                  <a:pt x="1" y="519"/>
                </a:lnTo>
                <a:lnTo>
                  <a:pt x="3" y="491"/>
                </a:lnTo>
                <a:lnTo>
                  <a:pt x="7" y="464"/>
                </a:lnTo>
                <a:lnTo>
                  <a:pt x="12" y="437"/>
                </a:lnTo>
                <a:lnTo>
                  <a:pt x="19" y="411"/>
                </a:lnTo>
                <a:lnTo>
                  <a:pt x="27" y="385"/>
                </a:lnTo>
                <a:lnTo>
                  <a:pt x="36" y="360"/>
                </a:lnTo>
                <a:lnTo>
                  <a:pt x="46" y="335"/>
                </a:lnTo>
                <a:lnTo>
                  <a:pt x="57" y="310"/>
                </a:lnTo>
                <a:lnTo>
                  <a:pt x="70" y="287"/>
                </a:lnTo>
                <a:lnTo>
                  <a:pt x="84" y="264"/>
                </a:lnTo>
                <a:lnTo>
                  <a:pt x="99" y="242"/>
                </a:lnTo>
                <a:lnTo>
                  <a:pt x="115" y="220"/>
                </a:lnTo>
                <a:lnTo>
                  <a:pt x="132" y="200"/>
                </a:lnTo>
                <a:lnTo>
                  <a:pt x="151" y="180"/>
                </a:lnTo>
                <a:lnTo>
                  <a:pt x="170" y="161"/>
                </a:lnTo>
                <a:lnTo>
                  <a:pt x="189" y="143"/>
                </a:lnTo>
                <a:lnTo>
                  <a:pt x="211" y="125"/>
                </a:lnTo>
                <a:lnTo>
                  <a:pt x="232" y="109"/>
                </a:lnTo>
                <a:lnTo>
                  <a:pt x="255" y="94"/>
                </a:lnTo>
                <a:lnTo>
                  <a:pt x="278" y="79"/>
                </a:lnTo>
                <a:lnTo>
                  <a:pt x="303" y="66"/>
                </a:lnTo>
                <a:lnTo>
                  <a:pt x="327" y="54"/>
                </a:lnTo>
                <a:lnTo>
                  <a:pt x="353" y="44"/>
                </a:lnTo>
                <a:lnTo>
                  <a:pt x="379" y="33"/>
                </a:lnTo>
                <a:lnTo>
                  <a:pt x="406" y="24"/>
                </a:lnTo>
                <a:lnTo>
                  <a:pt x="433" y="17"/>
                </a:lnTo>
                <a:lnTo>
                  <a:pt x="460" y="11"/>
                </a:lnTo>
                <a:lnTo>
                  <a:pt x="489" y="6"/>
                </a:lnTo>
                <a:lnTo>
                  <a:pt x="518" y="3"/>
                </a:lnTo>
                <a:lnTo>
                  <a:pt x="547" y="1"/>
                </a:lnTo>
                <a:lnTo>
                  <a:pt x="577" y="0"/>
                </a:lnTo>
                <a:lnTo>
                  <a:pt x="577" y="0"/>
                </a:lnTo>
                <a:lnTo>
                  <a:pt x="607" y="1"/>
                </a:lnTo>
                <a:lnTo>
                  <a:pt x="635" y="3"/>
                </a:lnTo>
                <a:lnTo>
                  <a:pt x="664" y="6"/>
                </a:lnTo>
                <a:lnTo>
                  <a:pt x="692" y="11"/>
                </a:lnTo>
                <a:lnTo>
                  <a:pt x="720" y="17"/>
                </a:lnTo>
                <a:lnTo>
                  <a:pt x="747" y="24"/>
                </a:lnTo>
                <a:lnTo>
                  <a:pt x="773" y="33"/>
                </a:lnTo>
                <a:lnTo>
                  <a:pt x="800" y="44"/>
                </a:lnTo>
                <a:lnTo>
                  <a:pt x="825" y="54"/>
                </a:lnTo>
                <a:lnTo>
                  <a:pt x="850" y="66"/>
                </a:lnTo>
                <a:lnTo>
                  <a:pt x="873" y="79"/>
                </a:lnTo>
                <a:lnTo>
                  <a:pt x="897" y="94"/>
                </a:lnTo>
                <a:lnTo>
                  <a:pt x="919" y="109"/>
                </a:lnTo>
                <a:lnTo>
                  <a:pt x="942" y="125"/>
                </a:lnTo>
                <a:lnTo>
                  <a:pt x="962" y="143"/>
                </a:lnTo>
                <a:lnTo>
                  <a:pt x="983" y="161"/>
                </a:lnTo>
                <a:lnTo>
                  <a:pt x="1001" y="180"/>
                </a:lnTo>
                <a:lnTo>
                  <a:pt x="1020" y="200"/>
                </a:lnTo>
                <a:lnTo>
                  <a:pt x="1037" y="220"/>
                </a:lnTo>
                <a:lnTo>
                  <a:pt x="1052" y="242"/>
                </a:lnTo>
                <a:lnTo>
                  <a:pt x="1068" y="264"/>
                </a:lnTo>
                <a:lnTo>
                  <a:pt x="1082" y="287"/>
                </a:lnTo>
                <a:lnTo>
                  <a:pt x="1094" y="310"/>
                </a:lnTo>
                <a:lnTo>
                  <a:pt x="1106" y="335"/>
                </a:lnTo>
                <a:lnTo>
                  <a:pt x="1116" y="360"/>
                </a:lnTo>
                <a:lnTo>
                  <a:pt x="1125" y="385"/>
                </a:lnTo>
                <a:lnTo>
                  <a:pt x="1133" y="411"/>
                </a:lnTo>
                <a:lnTo>
                  <a:pt x="1139" y="437"/>
                </a:lnTo>
                <a:lnTo>
                  <a:pt x="1144" y="464"/>
                </a:lnTo>
                <a:lnTo>
                  <a:pt x="1148" y="491"/>
                </a:lnTo>
                <a:lnTo>
                  <a:pt x="1151" y="519"/>
                </a:lnTo>
                <a:lnTo>
                  <a:pt x="1152" y="547"/>
                </a:lnTo>
                <a:lnTo>
                  <a:pt x="1152" y="547"/>
                </a:lnTo>
                <a:lnTo>
                  <a:pt x="1151" y="574"/>
                </a:lnTo>
                <a:lnTo>
                  <a:pt x="1148" y="602"/>
                </a:lnTo>
                <a:lnTo>
                  <a:pt x="1144" y="629"/>
                </a:lnTo>
                <a:lnTo>
                  <a:pt x="1139" y="656"/>
                </a:lnTo>
                <a:lnTo>
                  <a:pt x="1133" y="683"/>
                </a:lnTo>
                <a:lnTo>
                  <a:pt x="1125" y="708"/>
                </a:lnTo>
                <a:lnTo>
                  <a:pt x="1116" y="734"/>
                </a:lnTo>
                <a:lnTo>
                  <a:pt x="1106" y="758"/>
                </a:lnTo>
                <a:lnTo>
                  <a:pt x="1094" y="783"/>
                </a:lnTo>
                <a:lnTo>
                  <a:pt x="1082" y="806"/>
                </a:lnTo>
                <a:lnTo>
                  <a:pt x="1068" y="830"/>
                </a:lnTo>
                <a:lnTo>
                  <a:pt x="1052" y="851"/>
                </a:lnTo>
                <a:lnTo>
                  <a:pt x="1037" y="873"/>
                </a:lnTo>
                <a:lnTo>
                  <a:pt x="1020" y="894"/>
                </a:lnTo>
                <a:lnTo>
                  <a:pt x="1001" y="914"/>
                </a:lnTo>
                <a:lnTo>
                  <a:pt x="983" y="933"/>
                </a:lnTo>
                <a:lnTo>
                  <a:pt x="962" y="950"/>
                </a:lnTo>
                <a:lnTo>
                  <a:pt x="942" y="968"/>
                </a:lnTo>
                <a:lnTo>
                  <a:pt x="919" y="984"/>
                </a:lnTo>
                <a:lnTo>
                  <a:pt x="897" y="1000"/>
                </a:lnTo>
                <a:lnTo>
                  <a:pt x="873" y="1014"/>
                </a:lnTo>
                <a:lnTo>
                  <a:pt x="850" y="1027"/>
                </a:lnTo>
                <a:lnTo>
                  <a:pt x="825" y="1039"/>
                </a:lnTo>
                <a:lnTo>
                  <a:pt x="800" y="1051"/>
                </a:lnTo>
                <a:lnTo>
                  <a:pt x="773" y="1060"/>
                </a:lnTo>
                <a:lnTo>
                  <a:pt x="747" y="1069"/>
                </a:lnTo>
                <a:lnTo>
                  <a:pt x="720" y="1076"/>
                </a:lnTo>
                <a:lnTo>
                  <a:pt x="692" y="1082"/>
                </a:lnTo>
                <a:lnTo>
                  <a:pt x="664" y="1087"/>
                </a:lnTo>
                <a:lnTo>
                  <a:pt x="635" y="1091"/>
                </a:lnTo>
                <a:lnTo>
                  <a:pt x="607" y="1093"/>
                </a:lnTo>
                <a:lnTo>
                  <a:pt x="577" y="1094"/>
                </a:lnTo>
                <a:lnTo>
                  <a:pt x="577" y="1094"/>
                </a:lnTo>
                <a:close/>
                <a:moveTo>
                  <a:pt x="577" y="82"/>
                </a:moveTo>
                <a:lnTo>
                  <a:pt x="577" y="82"/>
                </a:lnTo>
                <a:lnTo>
                  <a:pt x="554" y="83"/>
                </a:lnTo>
                <a:lnTo>
                  <a:pt x="533" y="86"/>
                </a:lnTo>
                <a:lnTo>
                  <a:pt x="511" y="90"/>
                </a:lnTo>
                <a:lnTo>
                  <a:pt x="492" y="94"/>
                </a:lnTo>
                <a:lnTo>
                  <a:pt x="473" y="100"/>
                </a:lnTo>
                <a:lnTo>
                  <a:pt x="454" y="108"/>
                </a:lnTo>
                <a:lnTo>
                  <a:pt x="437" y="116"/>
                </a:lnTo>
                <a:lnTo>
                  <a:pt x="419" y="125"/>
                </a:lnTo>
                <a:lnTo>
                  <a:pt x="404" y="137"/>
                </a:lnTo>
                <a:lnTo>
                  <a:pt x="389" y="148"/>
                </a:lnTo>
                <a:lnTo>
                  <a:pt x="374" y="161"/>
                </a:lnTo>
                <a:lnTo>
                  <a:pt x="360" y="174"/>
                </a:lnTo>
                <a:lnTo>
                  <a:pt x="348" y="189"/>
                </a:lnTo>
                <a:lnTo>
                  <a:pt x="336" y="204"/>
                </a:lnTo>
                <a:lnTo>
                  <a:pt x="324" y="219"/>
                </a:lnTo>
                <a:lnTo>
                  <a:pt x="313" y="237"/>
                </a:lnTo>
                <a:lnTo>
                  <a:pt x="303" y="253"/>
                </a:lnTo>
                <a:lnTo>
                  <a:pt x="294" y="272"/>
                </a:lnTo>
                <a:lnTo>
                  <a:pt x="285" y="290"/>
                </a:lnTo>
                <a:lnTo>
                  <a:pt x="277" y="308"/>
                </a:lnTo>
                <a:lnTo>
                  <a:pt x="270" y="327"/>
                </a:lnTo>
                <a:lnTo>
                  <a:pt x="264" y="346"/>
                </a:lnTo>
                <a:lnTo>
                  <a:pt x="258" y="367"/>
                </a:lnTo>
                <a:lnTo>
                  <a:pt x="253" y="386"/>
                </a:lnTo>
                <a:lnTo>
                  <a:pt x="248" y="407"/>
                </a:lnTo>
                <a:lnTo>
                  <a:pt x="245" y="426"/>
                </a:lnTo>
                <a:lnTo>
                  <a:pt x="240" y="446"/>
                </a:lnTo>
                <a:lnTo>
                  <a:pt x="238" y="467"/>
                </a:lnTo>
                <a:lnTo>
                  <a:pt x="234" y="507"/>
                </a:lnTo>
                <a:lnTo>
                  <a:pt x="233" y="547"/>
                </a:lnTo>
                <a:lnTo>
                  <a:pt x="233" y="547"/>
                </a:lnTo>
                <a:lnTo>
                  <a:pt x="234" y="587"/>
                </a:lnTo>
                <a:lnTo>
                  <a:pt x="238" y="626"/>
                </a:lnTo>
                <a:lnTo>
                  <a:pt x="240" y="647"/>
                </a:lnTo>
                <a:lnTo>
                  <a:pt x="245" y="667"/>
                </a:lnTo>
                <a:lnTo>
                  <a:pt x="248" y="687"/>
                </a:lnTo>
                <a:lnTo>
                  <a:pt x="253" y="707"/>
                </a:lnTo>
                <a:lnTo>
                  <a:pt x="258" y="728"/>
                </a:lnTo>
                <a:lnTo>
                  <a:pt x="264" y="747"/>
                </a:lnTo>
                <a:lnTo>
                  <a:pt x="270" y="766"/>
                </a:lnTo>
                <a:lnTo>
                  <a:pt x="277" y="785"/>
                </a:lnTo>
                <a:lnTo>
                  <a:pt x="285" y="804"/>
                </a:lnTo>
                <a:lnTo>
                  <a:pt x="294" y="822"/>
                </a:lnTo>
                <a:lnTo>
                  <a:pt x="303" y="840"/>
                </a:lnTo>
                <a:lnTo>
                  <a:pt x="313" y="857"/>
                </a:lnTo>
                <a:lnTo>
                  <a:pt x="324" y="874"/>
                </a:lnTo>
                <a:lnTo>
                  <a:pt x="336" y="889"/>
                </a:lnTo>
                <a:lnTo>
                  <a:pt x="348" y="904"/>
                </a:lnTo>
                <a:lnTo>
                  <a:pt x="360" y="919"/>
                </a:lnTo>
                <a:lnTo>
                  <a:pt x="374" y="932"/>
                </a:lnTo>
                <a:lnTo>
                  <a:pt x="389" y="945"/>
                </a:lnTo>
                <a:lnTo>
                  <a:pt x="404" y="957"/>
                </a:lnTo>
                <a:lnTo>
                  <a:pt x="419" y="968"/>
                </a:lnTo>
                <a:lnTo>
                  <a:pt x="437" y="977"/>
                </a:lnTo>
                <a:lnTo>
                  <a:pt x="454" y="986"/>
                </a:lnTo>
                <a:lnTo>
                  <a:pt x="473" y="993"/>
                </a:lnTo>
                <a:lnTo>
                  <a:pt x="492" y="1000"/>
                </a:lnTo>
                <a:lnTo>
                  <a:pt x="511" y="1005"/>
                </a:lnTo>
                <a:lnTo>
                  <a:pt x="533" y="1008"/>
                </a:lnTo>
                <a:lnTo>
                  <a:pt x="554" y="1010"/>
                </a:lnTo>
                <a:lnTo>
                  <a:pt x="577" y="1011"/>
                </a:lnTo>
                <a:lnTo>
                  <a:pt x="577" y="1011"/>
                </a:lnTo>
                <a:lnTo>
                  <a:pt x="599" y="1010"/>
                </a:lnTo>
                <a:lnTo>
                  <a:pt x="621" y="1008"/>
                </a:lnTo>
                <a:lnTo>
                  <a:pt x="641" y="1005"/>
                </a:lnTo>
                <a:lnTo>
                  <a:pt x="662" y="1000"/>
                </a:lnTo>
                <a:lnTo>
                  <a:pt x="680" y="993"/>
                </a:lnTo>
                <a:lnTo>
                  <a:pt x="699" y="986"/>
                </a:lnTo>
                <a:lnTo>
                  <a:pt x="716" y="977"/>
                </a:lnTo>
                <a:lnTo>
                  <a:pt x="733" y="968"/>
                </a:lnTo>
                <a:lnTo>
                  <a:pt x="749" y="957"/>
                </a:lnTo>
                <a:lnTo>
                  <a:pt x="764" y="945"/>
                </a:lnTo>
                <a:lnTo>
                  <a:pt x="778" y="932"/>
                </a:lnTo>
                <a:lnTo>
                  <a:pt x="793" y="919"/>
                </a:lnTo>
                <a:lnTo>
                  <a:pt x="805" y="904"/>
                </a:lnTo>
                <a:lnTo>
                  <a:pt x="817" y="889"/>
                </a:lnTo>
                <a:lnTo>
                  <a:pt x="828" y="874"/>
                </a:lnTo>
                <a:lnTo>
                  <a:pt x="840" y="857"/>
                </a:lnTo>
                <a:lnTo>
                  <a:pt x="850" y="840"/>
                </a:lnTo>
                <a:lnTo>
                  <a:pt x="859" y="822"/>
                </a:lnTo>
                <a:lnTo>
                  <a:pt x="867" y="804"/>
                </a:lnTo>
                <a:lnTo>
                  <a:pt x="875" y="785"/>
                </a:lnTo>
                <a:lnTo>
                  <a:pt x="883" y="766"/>
                </a:lnTo>
                <a:lnTo>
                  <a:pt x="890" y="747"/>
                </a:lnTo>
                <a:lnTo>
                  <a:pt x="895" y="728"/>
                </a:lnTo>
                <a:lnTo>
                  <a:pt x="901" y="707"/>
                </a:lnTo>
                <a:lnTo>
                  <a:pt x="905" y="687"/>
                </a:lnTo>
                <a:lnTo>
                  <a:pt x="909" y="667"/>
                </a:lnTo>
                <a:lnTo>
                  <a:pt x="912" y="647"/>
                </a:lnTo>
                <a:lnTo>
                  <a:pt x="915" y="626"/>
                </a:lnTo>
                <a:lnTo>
                  <a:pt x="918" y="587"/>
                </a:lnTo>
                <a:lnTo>
                  <a:pt x="920" y="547"/>
                </a:lnTo>
                <a:lnTo>
                  <a:pt x="920" y="547"/>
                </a:lnTo>
                <a:lnTo>
                  <a:pt x="918" y="507"/>
                </a:lnTo>
                <a:lnTo>
                  <a:pt x="915" y="467"/>
                </a:lnTo>
                <a:lnTo>
                  <a:pt x="912" y="446"/>
                </a:lnTo>
                <a:lnTo>
                  <a:pt x="909" y="426"/>
                </a:lnTo>
                <a:lnTo>
                  <a:pt x="905" y="407"/>
                </a:lnTo>
                <a:lnTo>
                  <a:pt x="901" y="386"/>
                </a:lnTo>
                <a:lnTo>
                  <a:pt x="895" y="367"/>
                </a:lnTo>
                <a:lnTo>
                  <a:pt x="890" y="346"/>
                </a:lnTo>
                <a:lnTo>
                  <a:pt x="883" y="327"/>
                </a:lnTo>
                <a:lnTo>
                  <a:pt x="875" y="308"/>
                </a:lnTo>
                <a:lnTo>
                  <a:pt x="867" y="290"/>
                </a:lnTo>
                <a:lnTo>
                  <a:pt x="859" y="272"/>
                </a:lnTo>
                <a:lnTo>
                  <a:pt x="850" y="253"/>
                </a:lnTo>
                <a:lnTo>
                  <a:pt x="840" y="237"/>
                </a:lnTo>
                <a:lnTo>
                  <a:pt x="828" y="219"/>
                </a:lnTo>
                <a:lnTo>
                  <a:pt x="817" y="204"/>
                </a:lnTo>
                <a:lnTo>
                  <a:pt x="805" y="189"/>
                </a:lnTo>
                <a:lnTo>
                  <a:pt x="793" y="174"/>
                </a:lnTo>
                <a:lnTo>
                  <a:pt x="778" y="161"/>
                </a:lnTo>
                <a:lnTo>
                  <a:pt x="764" y="148"/>
                </a:lnTo>
                <a:lnTo>
                  <a:pt x="749" y="137"/>
                </a:lnTo>
                <a:lnTo>
                  <a:pt x="733" y="125"/>
                </a:lnTo>
                <a:lnTo>
                  <a:pt x="716" y="116"/>
                </a:lnTo>
                <a:lnTo>
                  <a:pt x="699" y="108"/>
                </a:lnTo>
                <a:lnTo>
                  <a:pt x="680" y="100"/>
                </a:lnTo>
                <a:lnTo>
                  <a:pt x="662" y="94"/>
                </a:lnTo>
                <a:lnTo>
                  <a:pt x="641" y="90"/>
                </a:lnTo>
                <a:lnTo>
                  <a:pt x="621" y="86"/>
                </a:lnTo>
                <a:lnTo>
                  <a:pt x="599" y="83"/>
                </a:lnTo>
                <a:lnTo>
                  <a:pt x="577" y="82"/>
                </a:lnTo>
                <a:lnTo>
                  <a:pt x="577" y="8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fi-FI" sz="1800"/>
          </a:p>
        </p:txBody>
      </p:sp>
      <p:sp>
        <p:nvSpPr>
          <p:cNvPr id="60" name="Freeform 11">
            <a:extLst>
              <a:ext uri="{FF2B5EF4-FFF2-40B4-BE49-F238E27FC236}">
                <a16:creationId xmlns:a16="http://schemas.microsoft.com/office/drawing/2014/main" id="{005AF851-6FDD-2A46-B43C-A5A3736B10A1}"/>
              </a:ext>
            </a:extLst>
          </p:cNvPr>
          <p:cNvSpPr>
            <a:spLocks/>
          </p:cNvSpPr>
          <p:nvPr userDrawn="1"/>
        </p:nvSpPr>
        <p:spPr bwMode="auto">
          <a:xfrm>
            <a:off x="2447927" y="893763"/>
            <a:ext cx="155575" cy="141288"/>
          </a:xfrm>
          <a:custGeom>
            <a:avLst/>
            <a:gdLst>
              <a:gd name="T0" fmla="*/ 922 w 1165"/>
              <a:gd name="T1" fmla="*/ 252 h 1065"/>
              <a:gd name="T2" fmla="*/ 921 w 1165"/>
              <a:gd name="T3" fmla="*/ 194 h 1065"/>
              <a:gd name="T4" fmla="*/ 916 w 1165"/>
              <a:gd name="T5" fmla="*/ 148 h 1065"/>
              <a:gd name="T6" fmla="*/ 906 w 1165"/>
              <a:gd name="T7" fmla="*/ 113 h 1065"/>
              <a:gd name="T8" fmla="*/ 896 w 1165"/>
              <a:gd name="T9" fmla="*/ 92 h 1065"/>
              <a:gd name="T10" fmla="*/ 888 w 1165"/>
              <a:gd name="T11" fmla="*/ 81 h 1065"/>
              <a:gd name="T12" fmla="*/ 877 w 1165"/>
              <a:gd name="T13" fmla="*/ 73 h 1065"/>
              <a:gd name="T14" fmla="*/ 857 w 1165"/>
              <a:gd name="T15" fmla="*/ 63 h 1065"/>
              <a:gd name="T16" fmla="*/ 825 w 1165"/>
              <a:gd name="T17" fmla="*/ 54 h 1065"/>
              <a:gd name="T18" fmla="*/ 782 w 1165"/>
              <a:gd name="T19" fmla="*/ 50 h 1065"/>
              <a:gd name="T20" fmla="*/ 756 w 1165"/>
              <a:gd name="T21" fmla="*/ 0 h 1065"/>
              <a:gd name="T22" fmla="*/ 1165 w 1165"/>
              <a:gd name="T23" fmla="*/ 50 h 1065"/>
              <a:gd name="T24" fmla="*/ 1139 w 1165"/>
              <a:gd name="T25" fmla="*/ 50 h 1065"/>
              <a:gd name="T26" fmla="*/ 1096 w 1165"/>
              <a:gd name="T27" fmla="*/ 54 h 1065"/>
              <a:gd name="T28" fmla="*/ 1062 w 1165"/>
              <a:gd name="T29" fmla="*/ 63 h 1065"/>
              <a:gd name="T30" fmla="*/ 1042 w 1165"/>
              <a:gd name="T31" fmla="*/ 73 h 1065"/>
              <a:gd name="T32" fmla="*/ 1032 w 1165"/>
              <a:gd name="T33" fmla="*/ 81 h 1065"/>
              <a:gd name="T34" fmla="*/ 1023 w 1165"/>
              <a:gd name="T35" fmla="*/ 92 h 1065"/>
              <a:gd name="T36" fmla="*/ 1014 w 1165"/>
              <a:gd name="T37" fmla="*/ 113 h 1065"/>
              <a:gd name="T38" fmla="*/ 1005 w 1165"/>
              <a:gd name="T39" fmla="*/ 148 h 1065"/>
              <a:gd name="T40" fmla="*/ 1000 w 1165"/>
              <a:gd name="T41" fmla="*/ 194 h 1065"/>
              <a:gd name="T42" fmla="*/ 999 w 1165"/>
              <a:gd name="T43" fmla="*/ 252 h 1065"/>
              <a:gd name="T44" fmla="*/ 955 w 1165"/>
              <a:gd name="T45" fmla="*/ 1065 h 1065"/>
              <a:gd name="T46" fmla="*/ 242 w 1165"/>
              <a:gd name="T47" fmla="*/ 783 h 1065"/>
              <a:gd name="T48" fmla="*/ 242 w 1165"/>
              <a:gd name="T49" fmla="*/ 814 h 1065"/>
              <a:gd name="T50" fmla="*/ 245 w 1165"/>
              <a:gd name="T51" fmla="*/ 866 h 1065"/>
              <a:gd name="T52" fmla="*/ 251 w 1165"/>
              <a:gd name="T53" fmla="*/ 906 h 1065"/>
              <a:gd name="T54" fmla="*/ 263 w 1165"/>
              <a:gd name="T55" fmla="*/ 937 h 1065"/>
              <a:gd name="T56" fmla="*/ 271 w 1165"/>
              <a:gd name="T57" fmla="*/ 949 h 1065"/>
              <a:gd name="T58" fmla="*/ 281 w 1165"/>
              <a:gd name="T59" fmla="*/ 958 h 1065"/>
              <a:gd name="T60" fmla="*/ 292 w 1165"/>
              <a:gd name="T61" fmla="*/ 966 h 1065"/>
              <a:gd name="T62" fmla="*/ 322 w 1165"/>
              <a:gd name="T63" fmla="*/ 978 h 1065"/>
              <a:gd name="T64" fmla="*/ 359 w 1165"/>
              <a:gd name="T65" fmla="*/ 984 h 1065"/>
              <a:gd name="T66" fmla="*/ 407 w 1165"/>
              <a:gd name="T67" fmla="*/ 985 h 1065"/>
              <a:gd name="T68" fmla="*/ 0 w 1165"/>
              <a:gd name="T69" fmla="*/ 1035 h 1065"/>
              <a:gd name="T70" fmla="*/ 0 w 1165"/>
              <a:gd name="T71" fmla="*/ 985 h 1065"/>
              <a:gd name="T72" fmla="*/ 49 w 1165"/>
              <a:gd name="T73" fmla="*/ 984 h 1065"/>
              <a:gd name="T74" fmla="*/ 86 w 1165"/>
              <a:gd name="T75" fmla="*/ 978 h 1065"/>
              <a:gd name="T76" fmla="*/ 115 w 1165"/>
              <a:gd name="T77" fmla="*/ 966 h 1065"/>
              <a:gd name="T78" fmla="*/ 126 w 1165"/>
              <a:gd name="T79" fmla="*/ 958 h 1065"/>
              <a:gd name="T80" fmla="*/ 135 w 1165"/>
              <a:gd name="T81" fmla="*/ 949 h 1065"/>
              <a:gd name="T82" fmla="*/ 144 w 1165"/>
              <a:gd name="T83" fmla="*/ 937 h 1065"/>
              <a:gd name="T84" fmla="*/ 155 w 1165"/>
              <a:gd name="T85" fmla="*/ 906 h 1065"/>
              <a:gd name="T86" fmla="*/ 161 w 1165"/>
              <a:gd name="T87" fmla="*/ 866 h 1065"/>
              <a:gd name="T88" fmla="*/ 164 w 1165"/>
              <a:gd name="T89" fmla="*/ 814 h 1065"/>
              <a:gd name="T90" fmla="*/ 164 w 1165"/>
              <a:gd name="T91" fmla="*/ 252 h 1065"/>
              <a:gd name="T92" fmla="*/ 164 w 1165"/>
              <a:gd name="T93" fmla="*/ 221 h 1065"/>
              <a:gd name="T94" fmla="*/ 161 w 1165"/>
              <a:gd name="T95" fmla="*/ 169 h 1065"/>
              <a:gd name="T96" fmla="*/ 155 w 1165"/>
              <a:gd name="T97" fmla="*/ 129 h 1065"/>
              <a:gd name="T98" fmla="*/ 144 w 1165"/>
              <a:gd name="T99" fmla="*/ 98 h 1065"/>
              <a:gd name="T100" fmla="*/ 135 w 1165"/>
              <a:gd name="T101" fmla="*/ 86 h 1065"/>
              <a:gd name="T102" fmla="*/ 126 w 1165"/>
              <a:gd name="T103" fmla="*/ 77 h 1065"/>
              <a:gd name="T104" fmla="*/ 115 w 1165"/>
              <a:gd name="T105" fmla="*/ 69 h 1065"/>
              <a:gd name="T106" fmla="*/ 86 w 1165"/>
              <a:gd name="T107" fmla="*/ 58 h 1065"/>
              <a:gd name="T108" fmla="*/ 49 w 1165"/>
              <a:gd name="T109" fmla="*/ 51 h 1065"/>
              <a:gd name="T110" fmla="*/ 0 w 1165"/>
              <a:gd name="T111" fmla="*/ 50 h 1065"/>
              <a:gd name="T112" fmla="*/ 345 w 1165"/>
              <a:gd name="T113" fmla="*/ 0 h 1065"/>
              <a:gd name="T114" fmla="*/ 922 w 1165"/>
              <a:gd name="T115" fmla="*/ 252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65" h="1065">
                <a:moveTo>
                  <a:pt x="922" y="252"/>
                </a:moveTo>
                <a:lnTo>
                  <a:pt x="922" y="252"/>
                </a:lnTo>
                <a:lnTo>
                  <a:pt x="921" y="221"/>
                </a:lnTo>
                <a:lnTo>
                  <a:pt x="921" y="194"/>
                </a:lnTo>
                <a:lnTo>
                  <a:pt x="919" y="169"/>
                </a:lnTo>
                <a:lnTo>
                  <a:pt x="916" y="148"/>
                </a:lnTo>
                <a:lnTo>
                  <a:pt x="912" y="129"/>
                </a:lnTo>
                <a:lnTo>
                  <a:pt x="906" y="113"/>
                </a:lnTo>
                <a:lnTo>
                  <a:pt x="900" y="98"/>
                </a:lnTo>
                <a:lnTo>
                  <a:pt x="896" y="92"/>
                </a:lnTo>
                <a:lnTo>
                  <a:pt x="892" y="86"/>
                </a:lnTo>
                <a:lnTo>
                  <a:pt x="888" y="81"/>
                </a:lnTo>
                <a:lnTo>
                  <a:pt x="883" y="77"/>
                </a:lnTo>
                <a:lnTo>
                  <a:pt x="877" y="73"/>
                </a:lnTo>
                <a:lnTo>
                  <a:pt x="872" y="69"/>
                </a:lnTo>
                <a:lnTo>
                  <a:pt x="857" y="63"/>
                </a:lnTo>
                <a:lnTo>
                  <a:pt x="842" y="58"/>
                </a:lnTo>
                <a:lnTo>
                  <a:pt x="825" y="54"/>
                </a:lnTo>
                <a:lnTo>
                  <a:pt x="804" y="51"/>
                </a:lnTo>
                <a:lnTo>
                  <a:pt x="782" y="50"/>
                </a:lnTo>
                <a:lnTo>
                  <a:pt x="756" y="50"/>
                </a:lnTo>
                <a:lnTo>
                  <a:pt x="756" y="0"/>
                </a:lnTo>
                <a:lnTo>
                  <a:pt x="1165" y="0"/>
                </a:lnTo>
                <a:lnTo>
                  <a:pt x="1165" y="50"/>
                </a:lnTo>
                <a:lnTo>
                  <a:pt x="1165" y="50"/>
                </a:lnTo>
                <a:lnTo>
                  <a:pt x="1139" y="50"/>
                </a:lnTo>
                <a:lnTo>
                  <a:pt x="1116" y="51"/>
                </a:lnTo>
                <a:lnTo>
                  <a:pt x="1096" y="54"/>
                </a:lnTo>
                <a:lnTo>
                  <a:pt x="1078" y="58"/>
                </a:lnTo>
                <a:lnTo>
                  <a:pt x="1062" y="63"/>
                </a:lnTo>
                <a:lnTo>
                  <a:pt x="1049" y="69"/>
                </a:lnTo>
                <a:lnTo>
                  <a:pt x="1042" y="73"/>
                </a:lnTo>
                <a:lnTo>
                  <a:pt x="1037" y="77"/>
                </a:lnTo>
                <a:lnTo>
                  <a:pt x="1032" y="81"/>
                </a:lnTo>
                <a:lnTo>
                  <a:pt x="1028" y="86"/>
                </a:lnTo>
                <a:lnTo>
                  <a:pt x="1023" y="92"/>
                </a:lnTo>
                <a:lnTo>
                  <a:pt x="1020" y="98"/>
                </a:lnTo>
                <a:lnTo>
                  <a:pt x="1014" y="113"/>
                </a:lnTo>
                <a:lnTo>
                  <a:pt x="1009" y="129"/>
                </a:lnTo>
                <a:lnTo>
                  <a:pt x="1005" y="148"/>
                </a:lnTo>
                <a:lnTo>
                  <a:pt x="1002" y="169"/>
                </a:lnTo>
                <a:lnTo>
                  <a:pt x="1000" y="194"/>
                </a:lnTo>
                <a:lnTo>
                  <a:pt x="999" y="221"/>
                </a:lnTo>
                <a:lnTo>
                  <a:pt x="999" y="252"/>
                </a:lnTo>
                <a:lnTo>
                  <a:pt x="999" y="1065"/>
                </a:lnTo>
                <a:lnTo>
                  <a:pt x="955" y="1065"/>
                </a:lnTo>
                <a:lnTo>
                  <a:pt x="242" y="212"/>
                </a:lnTo>
                <a:lnTo>
                  <a:pt x="242" y="783"/>
                </a:lnTo>
                <a:lnTo>
                  <a:pt x="242" y="783"/>
                </a:lnTo>
                <a:lnTo>
                  <a:pt x="242" y="814"/>
                </a:lnTo>
                <a:lnTo>
                  <a:pt x="243" y="842"/>
                </a:lnTo>
                <a:lnTo>
                  <a:pt x="245" y="866"/>
                </a:lnTo>
                <a:lnTo>
                  <a:pt x="248" y="888"/>
                </a:lnTo>
                <a:lnTo>
                  <a:pt x="251" y="906"/>
                </a:lnTo>
                <a:lnTo>
                  <a:pt x="256" y="923"/>
                </a:lnTo>
                <a:lnTo>
                  <a:pt x="263" y="937"/>
                </a:lnTo>
                <a:lnTo>
                  <a:pt x="266" y="943"/>
                </a:lnTo>
                <a:lnTo>
                  <a:pt x="271" y="949"/>
                </a:lnTo>
                <a:lnTo>
                  <a:pt x="276" y="954"/>
                </a:lnTo>
                <a:lnTo>
                  <a:pt x="281" y="958"/>
                </a:lnTo>
                <a:lnTo>
                  <a:pt x="286" y="963"/>
                </a:lnTo>
                <a:lnTo>
                  <a:pt x="292" y="966"/>
                </a:lnTo>
                <a:lnTo>
                  <a:pt x="305" y="973"/>
                </a:lnTo>
                <a:lnTo>
                  <a:pt x="322" y="978"/>
                </a:lnTo>
                <a:lnTo>
                  <a:pt x="339" y="982"/>
                </a:lnTo>
                <a:lnTo>
                  <a:pt x="359" y="984"/>
                </a:lnTo>
                <a:lnTo>
                  <a:pt x="382" y="985"/>
                </a:lnTo>
                <a:lnTo>
                  <a:pt x="407" y="985"/>
                </a:lnTo>
                <a:lnTo>
                  <a:pt x="407" y="1035"/>
                </a:lnTo>
                <a:lnTo>
                  <a:pt x="0" y="1035"/>
                </a:lnTo>
                <a:lnTo>
                  <a:pt x="0" y="985"/>
                </a:lnTo>
                <a:lnTo>
                  <a:pt x="0" y="985"/>
                </a:lnTo>
                <a:lnTo>
                  <a:pt x="26" y="985"/>
                </a:lnTo>
                <a:lnTo>
                  <a:pt x="49" y="984"/>
                </a:lnTo>
                <a:lnTo>
                  <a:pt x="69" y="982"/>
                </a:lnTo>
                <a:lnTo>
                  <a:pt x="86" y="978"/>
                </a:lnTo>
                <a:lnTo>
                  <a:pt x="102" y="973"/>
                </a:lnTo>
                <a:lnTo>
                  <a:pt x="115" y="966"/>
                </a:lnTo>
                <a:lnTo>
                  <a:pt x="121" y="963"/>
                </a:lnTo>
                <a:lnTo>
                  <a:pt x="126" y="958"/>
                </a:lnTo>
                <a:lnTo>
                  <a:pt x="131" y="954"/>
                </a:lnTo>
                <a:lnTo>
                  <a:pt x="135" y="949"/>
                </a:lnTo>
                <a:lnTo>
                  <a:pt x="141" y="943"/>
                </a:lnTo>
                <a:lnTo>
                  <a:pt x="144" y="937"/>
                </a:lnTo>
                <a:lnTo>
                  <a:pt x="150" y="923"/>
                </a:lnTo>
                <a:lnTo>
                  <a:pt x="155" y="906"/>
                </a:lnTo>
                <a:lnTo>
                  <a:pt x="159" y="888"/>
                </a:lnTo>
                <a:lnTo>
                  <a:pt x="161" y="866"/>
                </a:lnTo>
                <a:lnTo>
                  <a:pt x="163" y="842"/>
                </a:lnTo>
                <a:lnTo>
                  <a:pt x="164" y="814"/>
                </a:lnTo>
                <a:lnTo>
                  <a:pt x="164" y="783"/>
                </a:lnTo>
                <a:lnTo>
                  <a:pt x="164" y="252"/>
                </a:lnTo>
                <a:lnTo>
                  <a:pt x="164" y="252"/>
                </a:lnTo>
                <a:lnTo>
                  <a:pt x="164" y="221"/>
                </a:lnTo>
                <a:lnTo>
                  <a:pt x="163" y="194"/>
                </a:lnTo>
                <a:lnTo>
                  <a:pt x="161" y="169"/>
                </a:lnTo>
                <a:lnTo>
                  <a:pt x="159" y="148"/>
                </a:lnTo>
                <a:lnTo>
                  <a:pt x="155" y="129"/>
                </a:lnTo>
                <a:lnTo>
                  <a:pt x="150" y="113"/>
                </a:lnTo>
                <a:lnTo>
                  <a:pt x="144" y="98"/>
                </a:lnTo>
                <a:lnTo>
                  <a:pt x="141" y="92"/>
                </a:lnTo>
                <a:lnTo>
                  <a:pt x="135" y="86"/>
                </a:lnTo>
                <a:lnTo>
                  <a:pt x="131" y="81"/>
                </a:lnTo>
                <a:lnTo>
                  <a:pt x="126" y="77"/>
                </a:lnTo>
                <a:lnTo>
                  <a:pt x="121" y="73"/>
                </a:lnTo>
                <a:lnTo>
                  <a:pt x="115" y="69"/>
                </a:lnTo>
                <a:lnTo>
                  <a:pt x="102" y="63"/>
                </a:lnTo>
                <a:lnTo>
                  <a:pt x="86" y="58"/>
                </a:lnTo>
                <a:lnTo>
                  <a:pt x="69" y="54"/>
                </a:lnTo>
                <a:lnTo>
                  <a:pt x="49" y="51"/>
                </a:lnTo>
                <a:lnTo>
                  <a:pt x="26" y="50"/>
                </a:lnTo>
                <a:lnTo>
                  <a:pt x="0" y="50"/>
                </a:lnTo>
                <a:lnTo>
                  <a:pt x="0" y="0"/>
                </a:lnTo>
                <a:lnTo>
                  <a:pt x="345" y="0"/>
                </a:lnTo>
                <a:lnTo>
                  <a:pt x="922" y="686"/>
                </a:lnTo>
                <a:lnTo>
                  <a:pt x="922" y="25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fi-FI" sz="1800"/>
          </a:p>
        </p:txBody>
      </p:sp>
      <p:sp>
        <p:nvSpPr>
          <p:cNvPr id="61" name="Freeform 12">
            <a:extLst>
              <a:ext uri="{FF2B5EF4-FFF2-40B4-BE49-F238E27FC236}">
                <a16:creationId xmlns:a16="http://schemas.microsoft.com/office/drawing/2014/main" id="{C4E87749-D64C-2547-9F7D-FD3F337B06D0}"/>
              </a:ext>
            </a:extLst>
          </p:cNvPr>
          <p:cNvSpPr>
            <a:spLocks/>
          </p:cNvSpPr>
          <p:nvPr userDrawn="1"/>
        </p:nvSpPr>
        <p:spPr bwMode="auto">
          <a:xfrm>
            <a:off x="2636838" y="893764"/>
            <a:ext cx="127000" cy="136525"/>
          </a:xfrm>
          <a:custGeom>
            <a:avLst/>
            <a:gdLst>
              <a:gd name="T0" fmla="*/ 25 w 959"/>
              <a:gd name="T1" fmla="*/ 985 h 1035"/>
              <a:gd name="T2" fmla="*/ 86 w 959"/>
              <a:gd name="T3" fmla="*/ 978 h 1035"/>
              <a:gd name="T4" fmla="*/ 120 w 959"/>
              <a:gd name="T5" fmla="*/ 963 h 1035"/>
              <a:gd name="T6" fmla="*/ 136 w 959"/>
              <a:gd name="T7" fmla="*/ 949 h 1035"/>
              <a:gd name="T8" fmla="*/ 150 w 959"/>
              <a:gd name="T9" fmla="*/ 923 h 1035"/>
              <a:gd name="T10" fmla="*/ 161 w 959"/>
              <a:gd name="T11" fmla="*/ 866 h 1035"/>
              <a:gd name="T12" fmla="*/ 163 w 959"/>
              <a:gd name="T13" fmla="*/ 783 h 1035"/>
              <a:gd name="T14" fmla="*/ 163 w 959"/>
              <a:gd name="T15" fmla="*/ 221 h 1035"/>
              <a:gd name="T16" fmla="*/ 158 w 959"/>
              <a:gd name="T17" fmla="*/ 148 h 1035"/>
              <a:gd name="T18" fmla="*/ 143 w 959"/>
              <a:gd name="T19" fmla="*/ 98 h 1035"/>
              <a:gd name="T20" fmla="*/ 131 w 959"/>
              <a:gd name="T21" fmla="*/ 81 h 1035"/>
              <a:gd name="T22" fmla="*/ 114 w 959"/>
              <a:gd name="T23" fmla="*/ 69 h 1035"/>
              <a:gd name="T24" fmla="*/ 68 w 959"/>
              <a:gd name="T25" fmla="*/ 54 h 1035"/>
              <a:gd name="T26" fmla="*/ 0 w 959"/>
              <a:gd name="T27" fmla="*/ 50 h 1035"/>
              <a:gd name="T28" fmla="*/ 902 w 959"/>
              <a:gd name="T29" fmla="*/ 244 h 1035"/>
              <a:gd name="T30" fmla="*/ 843 w 959"/>
              <a:gd name="T31" fmla="*/ 209 h 1035"/>
              <a:gd name="T32" fmla="*/ 824 w 959"/>
              <a:gd name="T33" fmla="*/ 150 h 1035"/>
              <a:gd name="T34" fmla="*/ 803 w 959"/>
              <a:gd name="T35" fmla="*/ 118 h 1035"/>
              <a:gd name="T36" fmla="*/ 770 w 959"/>
              <a:gd name="T37" fmla="*/ 95 h 1035"/>
              <a:gd name="T38" fmla="*/ 719 w 959"/>
              <a:gd name="T39" fmla="*/ 82 h 1035"/>
              <a:gd name="T40" fmla="*/ 643 w 959"/>
              <a:gd name="T41" fmla="*/ 78 h 1035"/>
              <a:gd name="T42" fmla="*/ 474 w 959"/>
              <a:gd name="T43" fmla="*/ 449 h 1035"/>
              <a:gd name="T44" fmla="*/ 532 w 959"/>
              <a:gd name="T45" fmla="*/ 447 h 1035"/>
              <a:gd name="T46" fmla="*/ 597 w 959"/>
              <a:gd name="T47" fmla="*/ 439 h 1035"/>
              <a:gd name="T48" fmla="*/ 634 w 959"/>
              <a:gd name="T49" fmla="*/ 424 h 1035"/>
              <a:gd name="T50" fmla="*/ 649 w 959"/>
              <a:gd name="T51" fmla="*/ 410 h 1035"/>
              <a:gd name="T52" fmla="*/ 662 w 959"/>
              <a:gd name="T53" fmla="*/ 385 h 1035"/>
              <a:gd name="T54" fmla="*/ 673 w 959"/>
              <a:gd name="T55" fmla="*/ 332 h 1035"/>
              <a:gd name="T56" fmla="*/ 725 w 959"/>
              <a:gd name="T57" fmla="*/ 283 h 1035"/>
              <a:gd name="T58" fmla="*/ 675 w 959"/>
              <a:gd name="T59" fmla="*/ 691 h 1035"/>
              <a:gd name="T60" fmla="*/ 671 w 959"/>
              <a:gd name="T61" fmla="*/ 623 h 1035"/>
              <a:gd name="T62" fmla="*/ 656 w 959"/>
              <a:gd name="T63" fmla="*/ 576 h 1035"/>
              <a:gd name="T64" fmla="*/ 644 w 959"/>
              <a:gd name="T65" fmla="*/ 560 h 1035"/>
              <a:gd name="T66" fmla="*/ 628 w 959"/>
              <a:gd name="T67" fmla="*/ 547 h 1035"/>
              <a:gd name="T68" fmla="*/ 578 w 959"/>
              <a:gd name="T69" fmla="*/ 532 h 1035"/>
              <a:gd name="T70" fmla="*/ 505 w 959"/>
              <a:gd name="T71" fmla="*/ 527 h 1035"/>
              <a:gd name="T72" fmla="*/ 379 w 959"/>
              <a:gd name="T73" fmla="*/ 756 h 1035"/>
              <a:gd name="T74" fmla="*/ 380 w 959"/>
              <a:gd name="T75" fmla="*/ 814 h 1035"/>
              <a:gd name="T76" fmla="*/ 389 w 959"/>
              <a:gd name="T77" fmla="*/ 879 h 1035"/>
              <a:gd name="T78" fmla="*/ 405 w 959"/>
              <a:gd name="T79" fmla="*/ 915 h 1035"/>
              <a:gd name="T80" fmla="*/ 418 w 959"/>
              <a:gd name="T81" fmla="*/ 932 h 1035"/>
              <a:gd name="T82" fmla="*/ 444 w 959"/>
              <a:gd name="T83" fmla="*/ 946 h 1035"/>
              <a:gd name="T84" fmla="*/ 497 w 959"/>
              <a:gd name="T85" fmla="*/ 956 h 1035"/>
              <a:gd name="T86" fmla="*/ 700 w 959"/>
              <a:gd name="T87" fmla="*/ 957 h 1035"/>
              <a:gd name="T88" fmla="*/ 753 w 959"/>
              <a:gd name="T89" fmla="*/ 955 h 1035"/>
              <a:gd name="T90" fmla="*/ 813 w 959"/>
              <a:gd name="T91" fmla="*/ 946 h 1035"/>
              <a:gd name="T92" fmla="*/ 852 w 959"/>
              <a:gd name="T93" fmla="*/ 927 h 1035"/>
              <a:gd name="T94" fmla="*/ 876 w 959"/>
              <a:gd name="T95" fmla="*/ 897 h 1035"/>
              <a:gd name="T96" fmla="*/ 891 w 959"/>
              <a:gd name="T97" fmla="*/ 858 h 1035"/>
              <a:gd name="T98" fmla="*/ 959 w 959"/>
              <a:gd name="T99" fmla="*/ 792 h 1035"/>
              <a:gd name="T100" fmla="*/ 0 w 959"/>
              <a:gd name="T101" fmla="*/ 985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59" h="1035">
                <a:moveTo>
                  <a:pt x="0" y="985"/>
                </a:moveTo>
                <a:lnTo>
                  <a:pt x="0" y="985"/>
                </a:lnTo>
                <a:lnTo>
                  <a:pt x="25" y="985"/>
                </a:lnTo>
                <a:lnTo>
                  <a:pt x="48" y="984"/>
                </a:lnTo>
                <a:lnTo>
                  <a:pt x="68" y="982"/>
                </a:lnTo>
                <a:lnTo>
                  <a:pt x="86" y="978"/>
                </a:lnTo>
                <a:lnTo>
                  <a:pt x="101" y="973"/>
                </a:lnTo>
                <a:lnTo>
                  <a:pt x="114" y="966"/>
                </a:lnTo>
                <a:lnTo>
                  <a:pt x="120" y="963"/>
                </a:lnTo>
                <a:lnTo>
                  <a:pt x="126" y="958"/>
                </a:lnTo>
                <a:lnTo>
                  <a:pt x="131" y="954"/>
                </a:lnTo>
                <a:lnTo>
                  <a:pt x="136" y="949"/>
                </a:lnTo>
                <a:lnTo>
                  <a:pt x="140" y="943"/>
                </a:lnTo>
                <a:lnTo>
                  <a:pt x="143" y="937"/>
                </a:lnTo>
                <a:lnTo>
                  <a:pt x="150" y="923"/>
                </a:lnTo>
                <a:lnTo>
                  <a:pt x="154" y="906"/>
                </a:lnTo>
                <a:lnTo>
                  <a:pt x="158" y="888"/>
                </a:lnTo>
                <a:lnTo>
                  <a:pt x="161" y="866"/>
                </a:lnTo>
                <a:lnTo>
                  <a:pt x="162" y="842"/>
                </a:lnTo>
                <a:lnTo>
                  <a:pt x="163" y="814"/>
                </a:lnTo>
                <a:lnTo>
                  <a:pt x="163" y="783"/>
                </a:lnTo>
                <a:lnTo>
                  <a:pt x="163" y="252"/>
                </a:lnTo>
                <a:lnTo>
                  <a:pt x="163" y="252"/>
                </a:lnTo>
                <a:lnTo>
                  <a:pt x="163" y="221"/>
                </a:lnTo>
                <a:lnTo>
                  <a:pt x="162" y="194"/>
                </a:lnTo>
                <a:lnTo>
                  <a:pt x="161" y="169"/>
                </a:lnTo>
                <a:lnTo>
                  <a:pt x="158" y="148"/>
                </a:lnTo>
                <a:lnTo>
                  <a:pt x="154" y="129"/>
                </a:lnTo>
                <a:lnTo>
                  <a:pt x="150" y="113"/>
                </a:lnTo>
                <a:lnTo>
                  <a:pt x="143" y="98"/>
                </a:lnTo>
                <a:lnTo>
                  <a:pt x="140" y="92"/>
                </a:lnTo>
                <a:lnTo>
                  <a:pt x="136" y="86"/>
                </a:lnTo>
                <a:lnTo>
                  <a:pt x="131" y="81"/>
                </a:lnTo>
                <a:lnTo>
                  <a:pt x="126" y="77"/>
                </a:lnTo>
                <a:lnTo>
                  <a:pt x="120" y="73"/>
                </a:lnTo>
                <a:lnTo>
                  <a:pt x="114" y="69"/>
                </a:lnTo>
                <a:lnTo>
                  <a:pt x="101" y="63"/>
                </a:lnTo>
                <a:lnTo>
                  <a:pt x="86" y="58"/>
                </a:lnTo>
                <a:lnTo>
                  <a:pt x="68" y="54"/>
                </a:lnTo>
                <a:lnTo>
                  <a:pt x="48" y="51"/>
                </a:lnTo>
                <a:lnTo>
                  <a:pt x="25" y="50"/>
                </a:lnTo>
                <a:lnTo>
                  <a:pt x="0" y="50"/>
                </a:lnTo>
                <a:lnTo>
                  <a:pt x="0" y="0"/>
                </a:lnTo>
                <a:lnTo>
                  <a:pt x="888" y="0"/>
                </a:lnTo>
                <a:lnTo>
                  <a:pt x="902" y="244"/>
                </a:lnTo>
                <a:lnTo>
                  <a:pt x="852" y="244"/>
                </a:lnTo>
                <a:lnTo>
                  <a:pt x="843" y="209"/>
                </a:lnTo>
                <a:lnTo>
                  <a:pt x="843" y="209"/>
                </a:lnTo>
                <a:lnTo>
                  <a:pt x="834" y="177"/>
                </a:lnTo>
                <a:lnTo>
                  <a:pt x="830" y="163"/>
                </a:lnTo>
                <a:lnTo>
                  <a:pt x="824" y="150"/>
                </a:lnTo>
                <a:lnTo>
                  <a:pt x="818" y="138"/>
                </a:lnTo>
                <a:lnTo>
                  <a:pt x="812" y="127"/>
                </a:lnTo>
                <a:lnTo>
                  <a:pt x="803" y="118"/>
                </a:lnTo>
                <a:lnTo>
                  <a:pt x="794" y="109"/>
                </a:lnTo>
                <a:lnTo>
                  <a:pt x="783" y="101"/>
                </a:lnTo>
                <a:lnTo>
                  <a:pt x="770" y="95"/>
                </a:lnTo>
                <a:lnTo>
                  <a:pt x="755" y="90"/>
                </a:lnTo>
                <a:lnTo>
                  <a:pt x="738" y="85"/>
                </a:lnTo>
                <a:lnTo>
                  <a:pt x="719" y="82"/>
                </a:lnTo>
                <a:lnTo>
                  <a:pt x="696" y="80"/>
                </a:lnTo>
                <a:lnTo>
                  <a:pt x="672" y="78"/>
                </a:lnTo>
                <a:lnTo>
                  <a:pt x="643" y="78"/>
                </a:lnTo>
                <a:lnTo>
                  <a:pt x="379" y="78"/>
                </a:lnTo>
                <a:lnTo>
                  <a:pt x="379" y="449"/>
                </a:lnTo>
                <a:lnTo>
                  <a:pt x="474" y="449"/>
                </a:lnTo>
                <a:lnTo>
                  <a:pt x="474" y="449"/>
                </a:lnTo>
                <a:lnTo>
                  <a:pt x="505" y="448"/>
                </a:lnTo>
                <a:lnTo>
                  <a:pt x="532" y="447"/>
                </a:lnTo>
                <a:lnTo>
                  <a:pt x="557" y="446"/>
                </a:lnTo>
                <a:lnTo>
                  <a:pt x="578" y="443"/>
                </a:lnTo>
                <a:lnTo>
                  <a:pt x="597" y="439"/>
                </a:lnTo>
                <a:lnTo>
                  <a:pt x="613" y="434"/>
                </a:lnTo>
                <a:lnTo>
                  <a:pt x="628" y="428"/>
                </a:lnTo>
                <a:lnTo>
                  <a:pt x="634" y="424"/>
                </a:lnTo>
                <a:lnTo>
                  <a:pt x="639" y="419"/>
                </a:lnTo>
                <a:lnTo>
                  <a:pt x="644" y="415"/>
                </a:lnTo>
                <a:lnTo>
                  <a:pt x="649" y="410"/>
                </a:lnTo>
                <a:lnTo>
                  <a:pt x="653" y="404"/>
                </a:lnTo>
                <a:lnTo>
                  <a:pt x="656" y="398"/>
                </a:lnTo>
                <a:lnTo>
                  <a:pt x="662" y="385"/>
                </a:lnTo>
                <a:lnTo>
                  <a:pt x="667" y="369"/>
                </a:lnTo>
                <a:lnTo>
                  <a:pt x="671" y="352"/>
                </a:lnTo>
                <a:lnTo>
                  <a:pt x="673" y="332"/>
                </a:lnTo>
                <a:lnTo>
                  <a:pt x="674" y="309"/>
                </a:lnTo>
                <a:lnTo>
                  <a:pt x="675" y="283"/>
                </a:lnTo>
                <a:lnTo>
                  <a:pt x="725" y="283"/>
                </a:lnTo>
                <a:lnTo>
                  <a:pt x="725" y="691"/>
                </a:lnTo>
                <a:lnTo>
                  <a:pt x="675" y="691"/>
                </a:lnTo>
                <a:lnTo>
                  <a:pt x="675" y="691"/>
                </a:lnTo>
                <a:lnTo>
                  <a:pt x="674" y="666"/>
                </a:lnTo>
                <a:lnTo>
                  <a:pt x="673" y="643"/>
                </a:lnTo>
                <a:lnTo>
                  <a:pt x="671" y="623"/>
                </a:lnTo>
                <a:lnTo>
                  <a:pt x="667" y="605"/>
                </a:lnTo>
                <a:lnTo>
                  <a:pt x="662" y="589"/>
                </a:lnTo>
                <a:lnTo>
                  <a:pt x="656" y="576"/>
                </a:lnTo>
                <a:lnTo>
                  <a:pt x="653" y="570"/>
                </a:lnTo>
                <a:lnTo>
                  <a:pt x="649" y="565"/>
                </a:lnTo>
                <a:lnTo>
                  <a:pt x="644" y="560"/>
                </a:lnTo>
                <a:lnTo>
                  <a:pt x="639" y="554"/>
                </a:lnTo>
                <a:lnTo>
                  <a:pt x="634" y="550"/>
                </a:lnTo>
                <a:lnTo>
                  <a:pt x="628" y="547"/>
                </a:lnTo>
                <a:lnTo>
                  <a:pt x="613" y="540"/>
                </a:lnTo>
                <a:lnTo>
                  <a:pt x="597" y="536"/>
                </a:lnTo>
                <a:lnTo>
                  <a:pt x="578" y="532"/>
                </a:lnTo>
                <a:lnTo>
                  <a:pt x="557" y="529"/>
                </a:lnTo>
                <a:lnTo>
                  <a:pt x="532" y="528"/>
                </a:lnTo>
                <a:lnTo>
                  <a:pt x="505" y="527"/>
                </a:lnTo>
                <a:lnTo>
                  <a:pt x="474" y="527"/>
                </a:lnTo>
                <a:lnTo>
                  <a:pt x="379" y="527"/>
                </a:lnTo>
                <a:lnTo>
                  <a:pt x="379" y="756"/>
                </a:lnTo>
                <a:lnTo>
                  <a:pt x="379" y="756"/>
                </a:lnTo>
                <a:lnTo>
                  <a:pt x="379" y="787"/>
                </a:lnTo>
                <a:lnTo>
                  <a:pt x="380" y="814"/>
                </a:lnTo>
                <a:lnTo>
                  <a:pt x="382" y="839"/>
                </a:lnTo>
                <a:lnTo>
                  <a:pt x="385" y="860"/>
                </a:lnTo>
                <a:lnTo>
                  <a:pt x="389" y="879"/>
                </a:lnTo>
                <a:lnTo>
                  <a:pt x="394" y="896"/>
                </a:lnTo>
                <a:lnTo>
                  <a:pt x="401" y="909"/>
                </a:lnTo>
                <a:lnTo>
                  <a:pt x="405" y="915"/>
                </a:lnTo>
                <a:lnTo>
                  <a:pt x="409" y="921"/>
                </a:lnTo>
                <a:lnTo>
                  <a:pt x="413" y="927"/>
                </a:lnTo>
                <a:lnTo>
                  <a:pt x="418" y="932"/>
                </a:lnTo>
                <a:lnTo>
                  <a:pt x="424" y="936"/>
                </a:lnTo>
                <a:lnTo>
                  <a:pt x="429" y="939"/>
                </a:lnTo>
                <a:lnTo>
                  <a:pt x="444" y="946"/>
                </a:lnTo>
                <a:lnTo>
                  <a:pt x="459" y="950"/>
                </a:lnTo>
                <a:lnTo>
                  <a:pt x="476" y="954"/>
                </a:lnTo>
                <a:lnTo>
                  <a:pt x="497" y="956"/>
                </a:lnTo>
                <a:lnTo>
                  <a:pt x="519" y="957"/>
                </a:lnTo>
                <a:lnTo>
                  <a:pt x="545" y="957"/>
                </a:lnTo>
                <a:lnTo>
                  <a:pt x="700" y="957"/>
                </a:lnTo>
                <a:lnTo>
                  <a:pt x="700" y="957"/>
                </a:lnTo>
                <a:lnTo>
                  <a:pt x="729" y="957"/>
                </a:lnTo>
                <a:lnTo>
                  <a:pt x="753" y="955"/>
                </a:lnTo>
                <a:lnTo>
                  <a:pt x="776" y="953"/>
                </a:lnTo>
                <a:lnTo>
                  <a:pt x="795" y="950"/>
                </a:lnTo>
                <a:lnTo>
                  <a:pt x="813" y="946"/>
                </a:lnTo>
                <a:lnTo>
                  <a:pt x="827" y="940"/>
                </a:lnTo>
                <a:lnTo>
                  <a:pt x="840" y="934"/>
                </a:lnTo>
                <a:lnTo>
                  <a:pt x="852" y="927"/>
                </a:lnTo>
                <a:lnTo>
                  <a:pt x="861" y="917"/>
                </a:lnTo>
                <a:lnTo>
                  <a:pt x="869" y="908"/>
                </a:lnTo>
                <a:lnTo>
                  <a:pt x="876" y="897"/>
                </a:lnTo>
                <a:lnTo>
                  <a:pt x="882" y="886"/>
                </a:lnTo>
                <a:lnTo>
                  <a:pt x="887" y="872"/>
                </a:lnTo>
                <a:lnTo>
                  <a:pt x="891" y="858"/>
                </a:lnTo>
                <a:lnTo>
                  <a:pt x="901" y="826"/>
                </a:lnTo>
                <a:lnTo>
                  <a:pt x="909" y="792"/>
                </a:lnTo>
                <a:lnTo>
                  <a:pt x="959" y="792"/>
                </a:lnTo>
                <a:lnTo>
                  <a:pt x="946" y="1035"/>
                </a:lnTo>
                <a:lnTo>
                  <a:pt x="0" y="1035"/>
                </a:lnTo>
                <a:lnTo>
                  <a:pt x="0" y="985"/>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fi-FI" sz="1800"/>
          </a:p>
        </p:txBody>
      </p:sp>
      <p:sp>
        <p:nvSpPr>
          <p:cNvPr id="62" name="Freeform 13">
            <a:extLst>
              <a:ext uri="{FF2B5EF4-FFF2-40B4-BE49-F238E27FC236}">
                <a16:creationId xmlns:a16="http://schemas.microsoft.com/office/drawing/2014/main" id="{985C0882-23D9-8349-8EFD-8B68F98ECE6E}"/>
              </a:ext>
            </a:extLst>
          </p:cNvPr>
          <p:cNvSpPr>
            <a:spLocks/>
          </p:cNvSpPr>
          <p:nvPr userDrawn="1"/>
        </p:nvSpPr>
        <p:spPr bwMode="auto">
          <a:xfrm>
            <a:off x="2798763" y="893763"/>
            <a:ext cx="152400" cy="141288"/>
          </a:xfrm>
          <a:custGeom>
            <a:avLst/>
            <a:gdLst>
              <a:gd name="T0" fmla="*/ 1159 w 1159"/>
              <a:gd name="T1" fmla="*/ 50 h 1065"/>
              <a:gd name="T2" fmla="*/ 1091 w 1159"/>
              <a:gd name="T3" fmla="*/ 54 h 1065"/>
              <a:gd name="T4" fmla="*/ 1039 w 1159"/>
              <a:gd name="T5" fmla="*/ 73 h 1065"/>
              <a:gd name="T6" fmla="*/ 1019 w 1159"/>
              <a:gd name="T7" fmla="*/ 92 h 1065"/>
              <a:gd name="T8" fmla="*/ 1001 w 1159"/>
              <a:gd name="T9" fmla="*/ 148 h 1065"/>
              <a:gd name="T10" fmla="*/ 996 w 1159"/>
              <a:gd name="T11" fmla="*/ 252 h 1065"/>
              <a:gd name="T12" fmla="*/ 994 w 1159"/>
              <a:gd name="T13" fmla="*/ 700 h 1065"/>
              <a:gd name="T14" fmla="*/ 976 w 1159"/>
              <a:gd name="T15" fmla="*/ 790 h 1065"/>
              <a:gd name="T16" fmla="*/ 944 w 1159"/>
              <a:gd name="T17" fmla="*/ 866 h 1065"/>
              <a:gd name="T18" fmla="*/ 899 w 1159"/>
              <a:gd name="T19" fmla="*/ 932 h 1065"/>
              <a:gd name="T20" fmla="*/ 843 w 1159"/>
              <a:gd name="T21" fmla="*/ 984 h 1065"/>
              <a:gd name="T22" fmla="*/ 777 w 1159"/>
              <a:gd name="T23" fmla="*/ 1023 h 1065"/>
              <a:gd name="T24" fmla="*/ 702 w 1159"/>
              <a:gd name="T25" fmla="*/ 1049 h 1065"/>
              <a:gd name="T26" fmla="*/ 621 w 1159"/>
              <a:gd name="T27" fmla="*/ 1063 h 1065"/>
              <a:gd name="T28" fmla="*/ 558 w 1159"/>
              <a:gd name="T29" fmla="*/ 1065 h 1065"/>
              <a:gd name="T30" fmla="*/ 476 w 1159"/>
              <a:gd name="T31" fmla="*/ 1054 h 1065"/>
              <a:gd name="T32" fmla="*/ 399 w 1159"/>
              <a:gd name="T33" fmla="*/ 1031 h 1065"/>
              <a:gd name="T34" fmla="*/ 331 w 1159"/>
              <a:gd name="T35" fmla="*/ 995 h 1065"/>
              <a:gd name="T36" fmla="*/ 273 w 1159"/>
              <a:gd name="T37" fmla="*/ 946 h 1065"/>
              <a:gd name="T38" fmla="*/ 226 w 1159"/>
              <a:gd name="T39" fmla="*/ 884 h 1065"/>
              <a:gd name="T40" fmla="*/ 191 w 1159"/>
              <a:gd name="T41" fmla="*/ 810 h 1065"/>
              <a:gd name="T42" fmla="*/ 170 w 1159"/>
              <a:gd name="T43" fmla="*/ 723 h 1065"/>
              <a:gd name="T44" fmla="*/ 165 w 1159"/>
              <a:gd name="T45" fmla="*/ 252 h 1065"/>
              <a:gd name="T46" fmla="*/ 162 w 1159"/>
              <a:gd name="T47" fmla="*/ 169 h 1065"/>
              <a:gd name="T48" fmla="*/ 145 w 1159"/>
              <a:gd name="T49" fmla="*/ 98 h 1065"/>
              <a:gd name="T50" fmla="*/ 126 w 1159"/>
              <a:gd name="T51" fmla="*/ 77 h 1065"/>
              <a:gd name="T52" fmla="*/ 87 w 1159"/>
              <a:gd name="T53" fmla="*/ 58 h 1065"/>
              <a:gd name="T54" fmla="*/ 0 w 1159"/>
              <a:gd name="T55" fmla="*/ 50 h 1065"/>
              <a:gd name="T56" fmla="*/ 547 w 1159"/>
              <a:gd name="T57" fmla="*/ 50 h 1065"/>
              <a:gd name="T58" fmla="*/ 460 w 1159"/>
              <a:gd name="T59" fmla="*/ 58 h 1065"/>
              <a:gd name="T60" fmla="*/ 419 w 1159"/>
              <a:gd name="T61" fmla="*/ 77 h 1065"/>
              <a:gd name="T62" fmla="*/ 402 w 1159"/>
              <a:gd name="T63" fmla="*/ 98 h 1065"/>
              <a:gd name="T64" fmla="*/ 384 w 1159"/>
              <a:gd name="T65" fmla="*/ 169 h 1065"/>
              <a:gd name="T66" fmla="*/ 381 w 1159"/>
              <a:gd name="T67" fmla="*/ 631 h 1065"/>
              <a:gd name="T68" fmla="*/ 384 w 1159"/>
              <a:gd name="T69" fmla="*/ 691 h 1065"/>
              <a:gd name="T70" fmla="*/ 397 w 1159"/>
              <a:gd name="T71" fmla="*/ 761 h 1065"/>
              <a:gd name="T72" fmla="*/ 420 w 1159"/>
              <a:gd name="T73" fmla="*/ 819 h 1065"/>
              <a:gd name="T74" fmla="*/ 451 w 1159"/>
              <a:gd name="T75" fmla="*/ 867 h 1065"/>
              <a:gd name="T76" fmla="*/ 488 w 1159"/>
              <a:gd name="T77" fmla="*/ 905 h 1065"/>
              <a:gd name="T78" fmla="*/ 532 w 1159"/>
              <a:gd name="T79" fmla="*/ 933 h 1065"/>
              <a:gd name="T80" fmla="*/ 581 w 1159"/>
              <a:gd name="T81" fmla="*/ 950 h 1065"/>
              <a:gd name="T82" fmla="*/ 635 w 1159"/>
              <a:gd name="T83" fmla="*/ 957 h 1065"/>
              <a:gd name="T84" fmla="*/ 676 w 1159"/>
              <a:gd name="T85" fmla="*/ 956 h 1065"/>
              <a:gd name="T86" fmla="*/ 727 w 1159"/>
              <a:gd name="T87" fmla="*/ 947 h 1065"/>
              <a:gd name="T88" fmla="*/ 773 w 1159"/>
              <a:gd name="T89" fmla="*/ 927 h 1065"/>
              <a:gd name="T90" fmla="*/ 814 w 1159"/>
              <a:gd name="T91" fmla="*/ 897 h 1065"/>
              <a:gd name="T92" fmla="*/ 847 w 1159"/>
              <a:gd name="T93" fmla="*/ 857 h 1065"/>
              <a:gd name="T94" fmla="*/ 873 w 1159"/>
              <a:gd name="T95" fmla="*/ 806 h 1065"/>
              <a:gd name="T96" fmla="*/ 891 w 1159"/>
              <a:gd name="T97" fmla="*/ 745 h 1065"/>
              <a:gd name="T98" fmla="*/ 901 w 1159"/>
              <a:gd name="T99" fmla="*/ 672 h 1065"/>
              <a:gd name="T100" fmla="*/ 903 w 1159"/>
              <a:gd name="T101" fmla="*/ 252 h 1065"/>
              <a:gd name="T102" fmla="*/ 896 w 1159"/>
              <a:gd name="T103" fmla="*/ 148 h 1065"/>
              <a:gd name="T104" fmla="*/ 878 w 1159"/>
              <a:gd name="T105" fmla="*/ 92 h 1065"/>
              <a:gd name="T106" fmla="*/ 859 w 1159"/>
              <a:gd name="T107" fmla="*/ 73 h 1065"/>
              <a:gd name="T108" fmla="*/ 805 w 1159"/>
              <a:gd name="T109" fmla="*/ 54 h 1065"/>
              <a:gd name="T110" fmla="*/ 737 w 1159"/>
              <a:gd name="T111" fmla="*/ 50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59" h="1065">
                <a:moveTo>
                  <a:pt x="737" y="50"/>
                </a:moveTo>
                <a:lnTo>
                  <a:pt x="737" y="0"/>
                </a:lnTo>
                <a:lnTo>
                  <a:pt x="1159" y="0"/>
                </a:lnTo>
                <a:lnTo>
                  <a:pt x="1159" y="50"/>
                </a:lnTo>
                <a:lnTo>
                  <a:pt x="1159" y="50"/>
                </a:lnTo>
                <a:lnTo>
                  <a:pt x="1134" y="50"/>
                </a:lnTo>
                <a:lnTo>
                  <a:pt x="1111" y="51"/>
                </a:lnTo>
                <a:lnTo>
                  <a:pt x="1091" y="54"/>
                </a:lnTo>
                <a:lnTo>
                  <a:pt x="1073" y="58"/>
                </a:lnTo>
                <a:lnTo>
                  <a:pt x="1058" y="63"/>
                </a:lnTo>
                <a:lnTo>
                  <a:pt x="1045" y="69"/>
                </a:lnTo>
                <a:lnTo>
                  <a:pt x="1039" y="73"/>
                </a:lnTo>
                <a:lnTo>
                  <a:pt x="1033" y="77"/>
                </a:lnTo>
                <a:lnTo>
                  <a:pt x="1028" y="81"/>
                </a:lnTo>
                <a:lnTo>
                  <a:pt x="1023" y="86"/>
                </a:lnTo>
                <a:lnTo>
                  <a:pt x="1019" y="92"/>
                </a:lnTo>
                <a:lnTo>
                  <a:pt x="1016" y="98"/>
                </a:lnTo>
                <a:lnTo>
                  <a:pt x="1009" y="113"/>
                </a:lnTo>
                <a:lnTo>
                  <a:pt x="1005" y="129"/>
                </a:lnTo>
                <a:lnTo>
                  <a:pt x="1001" y="148"/>
                </a:lnTo>
                <a:lnTo>
                  <a:pt x="998" y="169"/>
                </a:lnTo>
                <a:lnTo>
                  <a:pt x="997" y="194"/>
                </a:lnTo>
                <a:lnTo>
                  <a:pt x="996" y="221"/>
                </a:lnTo>
                <a:lnTo>
                  <a:pt x="996" y="252"/>
                </a:lnTo>
                <a:lnTo>
                  <a:pt x="996" y="651"/>
                </a:lnTo>
                <a:lnTo>
                  <a:pt x="996" y="651"/>
                </a:lnTo>
                <a:lnTo>
                  <a:pt x="995" y="675"/>
                </a:lnTo>
                <a:lnTo>
                  <a:pt x="994" y="700"/>
                </a:lnTo>
                <a:lnTo>
                  <a:pt x="990" y="723"/>
                </a:lnTo>
                <a:lnTo>
                  <a:pt x="986" y="746"/>
                </a:lnTo>
                <a:lnTo>
                  <a:pt x="982" y="768"/>
                </a:lnTo>
                <a:lnTo>
                  <a:pt x="976" y="790"/>
                </a:lnTo>
                <a:lnTo>
                  <a:pt x="970" y="810"/>
                </a:lnTo>
                <a:lnTo>
                  <a:pt x="962" y="829"/>
                </a:lnTo>
                <a:lnTo>
                  <a:pt x="954" y="849"/>
                </a:lnTo>
                <a:lnTo>
                  <a:pt x="944" y="866"/>
                </a:lnTo>
                <a:lnTo>
                  <a:pt x="934" y="884"/>
                </a:lnTo>
                <a:lnTo>
                  <a:pt x="924" y="901"/>
                </a:lnTo>
                <a:lnTo>
                  <a:pt x="912" y="916"/>
                </a:lnTo>
                <a:lnTo>
                  <a:pt x="899" y="932"/>
                </a:lnTo>
                <a:lnTo>
                  <a:pt x="886" y="946"/>
                </a:lnTo>
                <a:lnTo>
                  <a:pt x="873" y="959"/>
                </a:lnTo>
                <a:lnTo>
                  <a:pt x="859" y="972"/>
                </a:lnTo>
                <a:lnTo>
                  <a:pt x="843" y="984"/>
                </a:lnTo>
                <a:lnTo>
                  <a:pt x="828" y="995"/>
                </a:lnTo>
                <a:lnTo>
                  <a:pt x="812" y="1005"/>
                </a:lnTo>
                <a:lnTo>
                  <a:pt x="794" y="1015"/>
                </a:lnTo>
                <a:lnTo>
                  <a:pt x="777" y="1023"/>
                </a:lnTo>
                <a:lnTo>
                  <a:pt x="759" y="1031"/>
                </a:lnTo>
                <a:lnTo>
                  <a:pt x="741" y="1038"/>
                </a:lnTo>
                <a:lnTo>
                  <a:pt x="722" y="1044"/>
                </a:lnTo>
                <a:lnTo>
                  <a:pt x="702" y="1049"/>
                </a:lnTo>
                <a:lnTo>
                  <a:pt x="683" y="1054"/>
                </a:lnTo>
                <a:lnTo>
                  <a:pt x="662" y="1057"/>
                </a:lnTo>
                <a:lnTo>
                  <a:pt x="643" y="1061"/>
                </a:lnTo>
                <a:lnTo>
                  <a:pt x="621" y="1063"/>
                </a:lnTo>
                <a:lnTo>
                  <a:pt x="601" y="1065"/>
                </a:lnTo>
                <a:lnTo>
                  <a:pt x="579" y="1065"/>
                </a:lnTo>
                <a:lnTo>
                  <a:pt x="579" y="1065"/>
                </a:lnTo>
                <a:lnTo>
                  <a:pt x="558" y="1065"/>
                </a:lnTo>
                <a:lnTo>
                  <a:pt x="538" y="1063"/>
                </a:lnTo>
                <a:lnTo>
                  <a:pt x="516" y="1061"/>
                </a:lnTo>
                <a:lnTo>
                  <a:pt x="496" y="1057"/>
                </a:lnTo>
                <a:lnTo>
                  <a:pt x="476" y="1054"/>
                </a:lnTo>
                <a:lnTo>
                  <a:pt x="456" y="1049"/>
                </a:lnTo>
                <a:lnTo>
                  <a:pt x="437" y="1044"/>
                </a:lnTo>
                <a:lnTo>
                  <a:pt x="418" y="1038"/>
                </a:lnTo>
                <a:lnTo>
                  <a:pt x="399" y="1031"/>
                </a:lnTo>
                <a:lnTo>
                  <a:pt x="382" y="1023"/>
                </a:lnTo>
                <a:lnTo>
                  <a:pt x="365" y="1015"/>
                </a:lnTo>
                <a:lnTo>
                  <a:pt x="347" y="1005"/>
                </a:lnTo>
                <a:lnTo>
                  <a:pt x="331" y="995"/>
                </a:lnTo>
                <a:lnTo>
                  <a:pt x="316" y="984"/>
                </a:lnTo>
                <a:lnTo>
                  <a:pt x="301" y="972"/>
                </a:lnTo>
                <a:lnTo>
                  <a:pt x="286" y="959"/>
                </a:lnTo>
                <a:lnTo>
                  <a:pt x="273" y="946"/>
                </a:lnTo>
                <a:lnTo>
                  <a:pt x="259" y="932"/>
                </a:lnTo>
                <a:lnTo>
                  <a:pt x="247" y="916"/>
                </a:lnTo>
                <a:lnTo>
                  <a:pt x="236" y="901"/>
                </a:lnTo>
                <a:lnTo>
                  <a:pt x="226" y="884"/>
                </a:lnTo>
                <a:lnTo>
                  <a:pt x="215" y="866"/>
                </a:lnTo>
                <a:lnTo>
                  <a:pt x="206" y="849"/>
                </a:lnTo>
                <a:lnTo>
                  <a:pt x="198" y="829"/>
                </a:lnTo>
                <a:lnTo>
                  <a:pt x="191" y="810"/>
                </a:lnTo>
                <a:lnTo>
                  <a:pt x="184" y="790"/>
                </a:lnTo>
                <a:lnTo>
                  <a:pt x="179" y="768"/>
                </a:lnTo>
                <a:lnTo>
                  <a:pt x="174" y="746"/>
                </a:lnTo>
                <a:lnTo>
                  <a:pt x="170" y="723"/>
                </a:lnTo>
                <a:lnTo>
                  <a:pt x="167" y="700"/>
                </a:lnTo>
                <a:lnTo>
                  <a:pt x="166" y="675"/>
                </a:lnTo>
                <a:lnTo>
                  <a:pt x="165" y="651"/>
                </a:lnTo>
                <a:lnTo>
                  <a:pt x="165" y="252"/>
                </a:lnTo>
                <a:lnTo>
                  <a:pt x="165" y="252"/>
                </a:lnTo>
                <a:lnTo>
                  <a:pt x="165" y="221"/>
                </a:lnTo>
                <a:lnTo>
                  <a:pt x="164" y="194"/>
                </a:lnTo>
                <a:lnTo>
                  <a:pt x="162" y="169"/>
                </a:lnTo>
                <a:lnTo>
                  <a:pt x="160" y="148"/>
                </a:lnTo>
                <a:lnTo>
                  <a:pt x="156" y="129"/>
                </a:lnTo>
                <a:lnTo>
                  <a:pt x="151" y="113"/>
                </a:lnTo>
                <a:lnTo>
                  <a:pt x="145" y="98"/>
                </a:lnTo>
                <a:lnTo>
                  <a:pt x="141" y="92"/>
                </a:lnTo>
                <a:lnTo>
                  <a:pt x="137" y="86"/>
                </a:lnTo>
                <a:lnTo>
                  <a:pt x="132" y="81"/>
                </a:lnTo>
                <a:lnTo>
                  <a:pt x="126" y="77"/>
                </a:lnTo>
                <a:lnTo>
                  <a:pt x="121" y="73"/>
                </a:lnTo>
                <a:lnTo>
                  <a:pt x="115" y="69"/>
                </a:lnTo>
                <a:lnTo>
                  <a:pt x="102" y="63"/>
                </a:lnTo>
                <a:lnTo>
                  <a:pt x="87" y="58"/>
                </a:lnTo>
                <a:lnTo>
                  <a:pt x="68" y="54"/>
                </a:lnTo>
                <a:lnTo>
                  <a:pt x="48" y="51"/>
                </a:lnTo>
                <a:lnTo>
                  <a:pt x="25" y="50"/>
                </a:lnTo>
                <a:lnTo>
                  <a:pt x="0" y="50"/>
                </a:lnTo>
                <a:lnTo>
                  <a:pt x="0" y="0"/>
                </a:lnTo>
                <a:lnTo>
                  <a:pt x="547" y="0"/>
                </a:lnTo>
                <a:lnTo>
                  <a:pt x="547" y="50"/>
                </a:lnTo>
                <a:lnTo>
                  <a:pt x="547" y="50"/>
                </a:lnTo>
                <a:lnTo>
                  <a:pt x="521" y="50"/>
                </a:lnTo>
                <a:lnTo>
                  <a:pt x="498" y="51"/>
                </a:lnTo>
                <a:lnTo>
                  <a:pt x="477" y="54"/>
                </a:lnTo>
                <a:lnTo>
                  <a:pt x="460" y="58"/>
                </a:lnTo>
                <a:lnTo>
                  <a:pt x="444" y="63"/>
                </a:lnTo>
                <a:lnTo>
                  <a:pt x="430" y="69"/>
                </a:lnTo>
                <a:lnTo>
                  <a:pt x="425" y="73"/>
                </a:lnTo>
                <a:lnTo>
                  <a:pt x="419" y="77"/>
                </a:lnTo>
                <a:lnTo>
                  <a:pt x="414" y="81"/>
                </a:lnTo>
                <a:lnTo>
                  <a:pt x="410" y="86"/>
                </a:lnTo>
                <a:lnTo>
                  <a:pt x="406" y="92"/>
                </a:lnTo>
                <a:lnTo>
                  <a:pt x="402" y="98"/>
                </a:lnTo>
                <a:lnTo>
                  <a:pt x="395" y="113"/>
                </a:lnTo>
                <a:lnTo>
                  <a:pt x="390" y="129"/>
                </a:lnTo>
                <a:lnTo>
                  <a:pt x="386" y="148"/>
                </a:lnTo>
                <a:lnTo>
                  <a:pt x="384" y="169"/>
                </a:lnTo>
                <a:lnTo>
                  <a:pt x="382" y="194"/>
                </a:lnTo>
                <a:lnTo>
                  <a:pt x="381" y="221"/>
                </a:lnTo>
                <a:lnTo>
                  <a:pt x="381" y="252"/>
                </a:lnTo>
                <a:lnTo>
                  <a:pt x="381" y="631"/>
                </a:lnTo>
                <a:lnTo>
                  <a:pt x="381" y="631"/>
                </a:lnTo>
                <a:lnTo>
                  <a:pt x="381" y="652"/>
                </a:lnTo>
                <a:lnTo>
                  <a:pt x="382" y="672"/>
                </a:lnTo>
                <a:lnTo>
                  <a:pt x="384" y="691"/>
                </a:lnTo>
                <a:lnTo>
                  <a:pt x="386" y="710"/>
                </a:lnTo>
                <a:lnTo>
                  <a:pt x="389" y="727"/>
                </a:lnTo>
                <a:lnTo>
                  <a:pt x="393" y="745"/>
                </a:lnTo>
                <a:lnTo>
                  <a:pt x="397" y="761"/>
                </a:lnTo>
                <a:lnTo>
                  <a:pt x="403" y="776"/>
                </a:lnTo>
                <a:lnTo>
                  <a:pt x="408" y="792"/>
                </a:lnTo>
                <a:lnTo>
                  <a:pt x="413" y="806"/>
                </a:lnTo>
                <a:lnTo>
                  <a:pt x="420" y="819"/>
                </a:lnTo>
                <a:lnTo>
                  <a:pt x="427" y="833"/>
                </a:lnTo>
                <a:lnTo>
                  <a:pt x="434" y="845"/>
                </a:lnTo>
                <a:lnTo>
                  <a:pt x="442" y="857"/>
                </a:lnTo>
                <a:lnTo>
                  <a:pt x="451" y="867"/>
                </a:lnTo>
                <a:lnTo>
                  <a:pt x="459" y="878"/>
                </a:lnTo>
                <a:lnTo>
                  <a:pt x="468" y="888"/>
                </a:lnTo>
                <a:lnTo>
                  <a:pt x="478" y="897"/>
                </a:lnTo>
                <a:lnTo>
                  <a:pt x="488" y="905"/>
                </a:lnTo>
                <a:lnTo>
                  <a:pt x="499" y="913"/>
                </a:lnTo>
                <a:lnTo>
                  <a:pt x="510" y="920"/>
                </a:lnTo>
                <a:lnTo>
                  <a:pt x="521" y="927"/>
                </a:lnTo>
                <a:lnTo>
                  <a:pt x="532" y="933"/>
                </a:lnTo>
                <a:lnTo>
                  <a:pt x="544" y="938"/>
                </a:lnTo>
                <a:lnTo>
                  <a:pt x="556" y="943"/>
                </a:lnTo>
                <a:lnTo>
                  <a:pt x="569" y="947"/>
                </a:lnTo>
                <a:lnTo>
                  <a:pt x="581" y="950"/>
                </a:lnTo>
                <a:lnTo>
                  <a:pt x="595" y="953"/>
                </a:lnTo>
                <a:lnTo>
                  <a:pt x="608" y="955"/>
                </a:lnTo>
                <a:lnTo>
                  <a:pt x="621" y="956"/>
                </a:lnTo>
                <a:lnTo>
                  <a:pt x="635" y="957"/>
                </a:lnTo>
                <a:lnTo>
                  <a:pt x="649" y="957"/>
                </a:lnTo>
                <a:lnTo>
                  <a:pt x="649" y="957"/>
                </a:lnTo>
                <a:lnTo>
                  <a:pt x="662" y="957"/>
                </a:lnTo>
                <a:lnTo>
                  <a:pt x="676" y="956"/>
                </a:lnTo>
                <a:lnTo>
                  <a:pt x="689" y="955"/>
                </a:lnTo>
                <a:lnTo>
                  <a:pt x="702" y="953"/>
                </a:lnTo>
                <a:lnTo>
                  <a:pt x="714" y="950"/>
                </a:lnTo>
                <a:lnTo>
                  <a:pt x="727" y="947"/>
                </a:lnTo>
                <a:lnTo>
                  <a:pt x="739" y="943"/>
                </a:lnTo>
                <a:lnTo>
                  <a:pt x="751" y="938"/>
                </a:lnTo>
                <a:lnTo>
                  <a:pt x="762" y="933"/>
                </a:lnTo>
                <a:lnTo>
                  <a:pt x="773" y="927"/>
                </a:lnTo>
                <a:lnTo>
                  <a:pt x="784" y="920"/>
                </a:lnTo>
                <a:lnTo>
                  <a:pt x="794" y="913"/>
                </a:lnTo>
                <a:lnTo>
                  <a:pt x="803" y="905"/>
                </a:lnTo>
                <a:lnTo>
                  <a:pt x="814" y="897"/>
                </a:lnTo>
                <a:lnTo>
                  <a:pt x="823" y="888"/>
                </a:lnTo>
                <a:lnTo>
                  <a:pt x="831" y="878"/>
                </a:lnTo>
                <a:lnTo>
                  <a:pt x="839" y="867"/>
                </a:lnTo>
                <a:lnTo>
                  <a:pt x="847" y="857"/>
                </a:lnTo>
                <a:lnTo>
                  <a:pt x="854" y="845"/>
                </a:lnTo>
                <a:lnTo>
                  <a:pt x="861" y="833"/>
                </a:lnTo>
                <a:lnTo>
                  <a:pt x="868" y="819"/>
                </a:lnTo>
                <a:lnTo>
                  <a:pt x="873" y="806"/>
                </a:lnTo>
                <a:lnTo>
                  <a:pt x="879" y="792"/>
                </a:lnTo>
                <a:lnTo>
                  <a:pt x="883" y="776"/>
                </a:lnTo>
                <a:lnTo>
                  <a:pt x="887" y="761"/>
                </a:lnTo>
                <a:lnTo>
                  <a:pt x="891" y="745"/>
                </a:lnTo>
                <a:lnTo>
                  <a:pt x="894" y="727"/>
                </a:lnTo>
                <a:lnTo>
                  <a:pt x="897" y="710"/>
                </a:lnTo>
                <a:lnTo>
                  <a:pt x="899" y="691"/>
                </a:lnTo>
                <a:lnTo>
                  <a:pt x="901" y="672"/>
                </a:lnTo>
                <a:lnTo>
                  <a:pt x="902" y="652"/>
                </a:lnTo>
                <a:lnTo>
                  <a:pt x="903" y="631"/>
                </a:lnTo>
                <a:lnTo>
                  <a:pt x="903" y="252"/>
                </a:lnTo>
                <a:lnTo>
                  <a:pt x="903" y="252"/>
                </a:lnTo>
                <a:lnTo>
                  <a:pt x="902" y="221"/>
                </a:lnTo>
                <a:lnTo>
                  <a:pt x="901" y="194"/>
                </a:lnTo>
                <a:lnTo>
                  <a:pt x="899" y="169"/>
                </a:lnTo>
                <a:lnTo>
                  <a:pt x="896" y="148"/>
                </a:lnTo>
                <a:lnTo>
                  <a:pt x="893" y="129"/>
                </a:lnTo>
                <a:lnTo>
                  <a:pt x="888" y="113"/>
                </a:lnTo>
                <a:lnTo>
                  <a:pt x="881" y="98"/>
                </a:lnTo>
                <a:lnTo>
                  <a:pt x="878" y="92"/>
                </a:lnTo>
                <a:lnTo>
                  <a:pt x="874" y="86"/>
                </a:lnTo>
                <a:lnTo>
                  <a:pt x="869" y="81"/>
                </a:lnTo>
                <a:lnTo>
                  <a:pt x="864" y="77"/>
                </a:lnTo>
                <a:lnTo>
                  <a:pt x="859" y="73"/>
                </a:lnTo>
                <a:lnTo>
                  <a:pt x="852" y="69"/>
                </a:lnTo>
                <a:lnTo>
                  <a:pt x="839" y="63"/>
                </a:lnTo>
                <a:lnTo>
                  <a:pt x="824" y="58"/>
                </a:lnTo>
                <a:lnTo>
                  <a:pt x="805" y="54"/>
                </a:lnTo>
                <a:lnTo>
                  <a:pt x="785" y="51"/>
                </a:lnTo>
                <a:lnTo>
                  <a:pt x="762" y="50"/>
                </a:lnTo>
                <a:lnTo>
                  <a:pt x="737" y="50"/>
                </a:lnTo>
                <a:lnTo>
                  <a:pt x="737" y="5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fi-FI" sz="1800"/>
          </a:p>
        </p:txBody>
      </p:sp>
      <p:sp>
        <p:nvSpPr>
          <p:cNvPr id="63" name="Freeform 14">
            <a:extLst>
              <a:ext uri="{FF2B5EF4-FFF2-40B4-BE49-F238E27FC236}">
                <a16:creationId xmlns:a16="http://schemas.microsoft.com/office/drawing/2014/main" id="{06E49BB8-6ACF-B54E-8E60-142D9EF181D5}"/>
              </a:ext>
            </a:extLst>
          </p:cNvPr>
          <p:cNvSpPr>
            <a:spLocks/>
          </p:cNvSpPr>
          <p:nvPr userDrawn="1"/>
        </p:nvSpPr>
        <p:spPr bwMode="auto">
          <a:xfrm>
            <a:off x="2962276" y="893763"/>
            <a:ext cx="160338" cy="141288"/>
          </a:xfrm>
          <a:custGeom>
            <a:avLst/>
            <a:gdLst>
              <a:gd name="T0" fmla="*/ 623 w 1210"/>
              <a:gd name="T1" fmla="*/ 1065 h 1065"/>
              <a:gd name="T2" fmla="*/ 211 w 1210"/>
              <a:gd name="T3" fmla="*/ 202 h 1065"/>
              <a:gd name="T4" fmla="*/ 193 w 1210"/>
              <a:gd name="T5" fmla="*/ 163 h 1065"/>
              <a:gd name="T6" fmla="*/ 177 w 1210"/>
              <a:gd name="T7" fmla="*/ 131 h 1065"/>
              <a:gd name="T8" fmla="*/ 159 w 1210"/>
              <a:gd name="T9" fmla="*/ 105 h 1065"/>
              <a:gd name="T10" fmla="*/ 139 w 1210"/>
              <a:gd name="T11" fmla="*/ 84 h 1065"/>
              <a:gd name="T12" fmla="*/ 114 w 1210"/>
              <a:gd name="T13" fmla="*/ 69 h 1065"/>
              <a:gd name="T14" fmla="*/ 85 w 1210"/>
              <a:gd name="T15" fmla="*/ 59 h 1065"/>
              <a:gd name="T16" fmla="*/ 47 w 1210"/>
              <a:gd name="T17" fmla="*/ 52 h 1065"/>
              <a:gd name="T18" fmla="*/ 0 w 1210"/>
              <a:gd name="T19" fmla="*/ 50 h 1065"/>
              <a:gd name="T20" fmla="*/ 566 w 1210"/>
              <a:gd name="T21" fmla="*/ 0 h 1065"/>
              <a:gd name="T22" fmla="*/ 566 w 1210"/>
              <a:gd name="T23" fmla="*/ 50 h 1065"/>
              <a:gd name="T24" fmla="*/ 515 w 1210"/>
              <a:gd name="T25" fmla="*/ 52 h 1065"/>
              <a:gd name="T26" fmla="*/ 476 w 1210"/>
              <a:gd name="T27" fmla="*/ 58 h 1065"/>
              <a:gd name="T28" fmla="*/ 448 w 1210"/>
              <a:gd name="T29" fmla="*/ 68 h 1065"/>
              <a:gd name="T30" fmla="*/ 429 w 1210"/>
              <a:gd name="T31" fmla="*/ 81 h 1065"/>
              <a:gd name="T32" fmla="*/ 420 w 1210"/>
              <a:gd name="T33" fmla="*/ 99 h 1065"/>
              <a:gd name="T34" fmla="*/ 419 w 1210"/>
              <a:gd name="T35" fmla="*/ 122 h 1065"/>
              <a:gd name="T36" fmla="*/ 424 w 1210"/>
              <a:gd name="T37" fmla="*/ 150 h 1065"/>
              <a:gd name="T38" fmla="*/ 436 w 1210"/>
              <a:gd name="T39" fmla="*/ 181 h 1065"/>
              <a:gd name="T40" fmla="*/ 921 w 1210"/>
              <a:gd name="T41" fmla="*/ 181 h 1065"/>
              <a:gd name="T42" fmla="*/ 928 w 1210"/>
              <a:gd name="T43" fmla="*/ 165 h 1065"/>
              <a:gd name="T44" fmla="*/ 936 w 1210"/>
              <a:gd name="T45" fmla="*/ 134 h 1065"/>
              <a:gd name="T46" fmla="*/ 938 w 1210"/>
              <a:gd name="T47" fmla="*/ 110 h 1065"/>
              <a:gd name="T48" fmla="*/ 931 w 1210"/>
              <a:gd name="T49" fmla="*/ 89 h 1065"/>
              <a:gd name="T50" fmla="*/ 917 w 1210"/>
              <a:gd name="T51" fmla="*/ 74 h 1065"/>
              <a:gd name="T52" fmla="*/ 894 w 1210"/>
              <a:gd name="T53" fmla="*/ 62 h 1065"/>
              <a:gd name="T54" fmla="*/ 861 w 1210"/>
              <a:gd name="T55" fmla="*/ 54 h 1065"/>
              <a:gd name="T56" fmla="*/ 817 w 1210"/>
              <a:gd name="T57" fmla="*/ 50 h 1065"/>
              <a:gd name="T58" fmla="*/ 792 w 1210"/>
              <a:gd name="T59" fmla="*/ 0 h 1065"/>
              <a:gd name="T60" fmla="*/ 1210 w 1210"/>
              <a:gd name="T61" fmla="*/ 50 h 1065"/>
              <a:gd name="T62" fmla="*/ 1188 w 1210"/>
              <a:gd name="T63" fmla="*/ 50 h 1065"/>
              <a:gd name="T64" fmla="*/ 1150 w 1210"/>
              <a:gd name="T65" fmla="*/ 53 h 1065"/>
              <a:gd name="T66" fmla="*/ 1119 w 1210"/>
              <a:gd name="T67" fmla="*/ 61 h 1065"/>
              <a:gd name="T68" fmla="*/ 1091 w 1210"/>
              <a:gd name="T69" fmla="*/ 73 h 1065"/>
              <a:gd name="T70" fmla="*/ 1067 w 1210"/>
              <a:gd name="T71" fmla="*/ 89 h 1065"/>
              <a:gd name="T72" fmla="*/ 1046 w 1210"/>
              <a:gd name="T73" fmla="*/ 113 h 1065"/>
              <a:gd name="T74" fmla="*/ 1026 w 1210"/>
              <a:gd name="T75" fmla="*/ 142 h 1065"/>
              <a:gd name="T76" fmla="*/ 1007 w 1210"/>
              <a:gd name="T77" fmla="*/ 180 h 1065"/>
              <a:gd name="T78" fmla="*/ 997 w 1210"/>
              <a:gd name="T79" fmla="*/ 202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10" h="1065">
                <a:moveTo>
                  <a:pt x="997" y="202"/>
                </a:moveTo>
                <a:lnTo>
                  <a:pt x="623" y="1065"/>
                </a:lnTo>
                <a:lnTo>
                  <a:pt x="587" y="1065"/>
                </a:lnTo>
                <a:lnTo>
                  <a:pt x="211" y="202"/>
                </a:lnTo>
                <a:lnTo>
                  <a:pt x="211" y="202"/>
                </a:lnTo>
                <a:lnTo>
                  <a:pt x="193" y="163"/>
                </a:lnTo>
                <a:lnTo>
                  <a:pt x="185" y="146"/>
                </a:lnTo>
                <a:lnTo>
                  <a:pt x="177" y="131"/>
                </a:lnTo>
                <a:lnTo>
                  <a:pt x="169" y="117"/>
                </a:lnTo>
                <a:lnTo>
                  <a:pt x="159" y="105"/>
                </a:lnTo>
                <a:lnTo>
                  <a:pt x="149" y="93"/>
                </a:lnTo>
                <a:lnTo>
                  <a:pt x="139" y="84"/>
                </a:lnTo>
                <a:lnTo>
                  <a:pt x="128" y="76"/>
                </a:lnTo>
                <a:lnTo>
                  <a:pt x="114" y="69"/>
                </a:lnTo>
                <a:lnTo>
                  <a:pt x="100" y="63"/>
                </a:lnTo>
                <a:lnTo>
                  <a:pt x="85" y="59"/>
                </a:lnTo>
                <a:lnTo>
                  <a:pt x="66" y="54"/>
                </a:lnTo>
                <a:lnTo>
                  <a:pt x="47" y="52"/>
                </a:lnTo>
                <a:lnTo>
                  <a:pt x="24" y="50"/>
                </a:lnTo>
                <a:lnTo>
                  <a:pt x="0" y="50"/>
                </a:lnTo>
                <a:lnTo>
                  <a:pt x="0" y="0"/>
                </a:lnTo>
                <a:lnTo>
                  <a:pt x="566" y="0"/>
                </a:lnTo>
                <a:lnTo>
                  <a:pt x="566" y="50"/>
                </a:lnTo>
                <a:lnTo>
                  <a:pt x="566" y="50"/>
                </a:lnTo>
                <a:lnTo>
                  <a:pt x="539" y="50"/>
                </a:lnTo>
                <a:lnTo>
                  <a:pt x="515" y="52"/>
                </a:lnTo>
                <a:lnTo>
                  <a:pt x="494" y="54"/>
                </a:lnTo>
                <a:lnTo>
                  <a:pt x="476" y="58"/>
                </a:lnTo>
                <a:lnTo>
                  <a:pt x="461" y="63"/>
                </a:lnTo>
                <a:lnTo>
                  <a:pt x="448" y="68"/>
                </a:lnTo>
                <a:lnTo>
                  <a:pt x="438" y="74"/>
                </a:lnTo>
                <a:lnTo>
                  <a:pt x="429" y="81"/>
                </a:lnTo>
                <a:lnTo>
                  <a:pt x="423" y="90"/>
                </a:lnTo>
                <a:lnTo>
                  <a:pt x="420" y="99"/>
                </a:lnTo>
                <a:lnTo>
                  <a:pt x="418" y="111"/>
                </a:lnTo>
                <a:lnTo>
                  <a:pt x="419" y="122"/>
                </a:lnTo>
                <a:lnTo>
                  <a:pt x="421" y="135"/>
                </a:lnTo>
                <a:lnTo>
                  <a:pt x="424" y="150"/>
                </a:lnTo>
                <a:lnTo>
                  <a:pt x="429" y="165"/>
                </a:lnTo>
                <a:lnTo>
                  <a:pt x="436" y="181"/>
                </a:lnTo>
                <a:lnTo>
                  <a:pt x="678" y="742"/>
                </a:lnTo>
                <a:lnTo>
                  <a:pt x="921" y="181"/>
                </a:lnTo>
                <a:lnTo>
                  <a:pt x="921" y="181"/>
                </a:lnTo>
                <a:lnTo>
                  <a:pt x="928" y="165"/>
                </a:lnTo>
                <a:lnTo>
                  <a:pt x="933" y="149"/>
                </a:lnTo>
                <a:lnTo>
                  <a:pt x="936" y="134"/>
                </a:lnTo>
                <a:lnTo>
                  <a:pt x="938" y="122"/>
                </a:lnTo>
                <a:lnTo>
                  <a:pt x="938" y="110"/>
                </a:lnTo>
                <a:lnTo>
                  <a:pt x="935" y="98"/>
                </a:lnTo>
                <a:lnTo>
                  <a:pt x="931" y="89"/>
                </a:lnTo>
                <a:lnTo>
                  <a:pt x="925" y="81"/>
                </a:lnTo>
                <a:lnTo>
                  <a:pt x="917" y="74"/>
                </a:lnTo>
                <a:lnTo>
                  <a:pt x="906" y="67"/>
                </a:lnTo>
                <a:lnTo>
                  <a:pt x="894" y="62"/>
                </a:lnTo>
                <a:lnTo>
                  <a:pt x="878" y="58"/>
                </a:lnTo>
                <a:lnTo>
                  <a:pt x="861" y="54"/>
                </a:lnTo>
                <a:lnTo>
                  <a:pt x="840" y="52"/>
                </a:lnTo>
                <a:lnTo>
                  <a:pt x="817" y="50"/>
                </a:lnTo>
                <a:lnTo>
                  <a:pt x="792" y="50"/>
                </a:lnTo>
                <a:lnTo>
                  <a:pt x="792" y="0"/>
                </a:lnTo>
                <a:lnTo>
                  <a:pt x="1210" y="0"/>
                </a:lnTo>
                <a:lnTo>
                  <a:pt x="1210" y="50"/>
                </a:lnTo>
                <a:lnTo>
                  <a:pt x="1210" y="50"/>
                </a:lnTo>
                <a:lnTo>
                  <a:pt x="1188" y="50"/>
                </a:lnTo>
                <a:lnTo>
                  <a:pt x="1169" y="51"/>
                </a:lnTo>
                <a:lnTo>
                  <a:pt x="1150" y="53"/>
                </a:lnTo>
                <a:lnTo>
                  <a:pt x="1134" y="57"/>
                </a:lnTo>
                <a:lnTo>
                  <a:pt x="1119" y="61"/>
                </a:lnTo>
                <a:lnTo>
                  <a:pt x="1104" y="66"/>
                </a:lnTo>
                <a:lnTo>
                  <a:pt x="1091" y="73"/>
                </a:lnTo>
                <a:lnTo>
                  <a:pt x="1079" y="80"/>
                </a:lnTo>
                <a:lnTo>
                  <a:pt x="1067" y="89"/>
                </a:lnTo>
                <a:lnTo>
                  <a:pt x="1056" y="100"/>
                </a:lnTo>
                <a:lnTo>
                  <a:pt x="1046" y="113"/>
                </a:lnTo>
                <a:lnTo>
                  <a:pt x="1036" y="127"/>
                </a:lnTo>
                <a:lnTo>
                  <a:pt x="1026" y="142"/>
                </a:lnTo>
                <a:lnTo>
                  <a:pt x="1016" y="161"/>
                </a:lnTo>
                <a:lnTo>
                  <a:pt x="1007" y="180"/>
                </a:lnTo>
                <a:lnTo>
                  <a:pt x="997" y="202"/>
                </a:lnTo>
                <a:lnTo>
                  <a:pt x="997" y="20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fi-FI" sz="1800"/>
          </a:p>
        </p:txBody>
      </p:sp>
      <p:sp>
        <p:nvSpPr>
          <p:cNvPr id="64" name="Freeform 15">
            <a:extLst>
              <a:ext uri="{FF2B5EF4-FFF2-40B4-BE49-F238E27FC236}">
                <a16:creationId xmlns:a16="http://schemas.microsoft.com/office/drawing/2014/main" id="{B0AC8484-A2F8-3247-83AA-7687014EB007}"/>
              </a:ext>
            </a:extLst>
          </p:cNvPr>
          <p:cNvSpPr>
            <a:spLocks noEditPoints="1"/>
          </p:cNvSpPr>
          <p:nvPr userDrawn="1"/>
        </p:nvSpPr>
        <p:spPr bwMode="auto">
          <a:xfrm>
            <a:off x="3135313" y="890589"/>
            <a:ext cx="152400" cy="144463"/>
          </a:xfrm>
          <a:custGeom>
            <a:avLst/>
            <a:gdLst>
              <a:gd name="T0" fmla="*/ 489 w 1151"/>
              <a:gd name="T1" fmla="*/ 1087 h 1094"/>
              <a:gd name="T2" fmla="*/ 353 w 1151"/>
              <a:gd name="T3" fmla="*/ 1051 h 1094"/>
              <a:gd name="T4" fmla="*/ 232 w 1151"/>
              <a:gd name="T5" fmla="*/ 984 h 1094"/>
              <a:gd name="T6" fmla="*/ 132 w 1151"/>
              <a:gd name="T7" fmla="*/ 894 h 1094"/>
              <a:gd name="T8" fmla="*/ 57 w 1151"/>
              <a:gd name="T9" fmla="*/ 783 h 1094"/>
              <a:gd name="T10" fmla="*/ 12 w 1151"/>
              <a:gd name="T11" fmla="*/ 656 h 1094"/>
              <a:gd name="T12" fmla="*/ 0 w 1151"/>
              <a:gd name="T13" fmla="*/ 547 h 1094"/>
              <a:gd name="T14" fmla="*/ 18 w 1151"/>
              <a:gd name="T15" fmla="*/ 411 h 1094"/>
              <a:gd name="T16" fmla="*/ 70 w 1151"/>
              <a:gd name="T17" fmla="*/ 287 h 1094"/>
              <a:gd name="T18" fmla="*/ 150 w 1151"/>
              <a:gd name="T19" fmla="*/ 180 h 1094"/>
              <a:gd name="T20" fmla="*/ 254 w 1151"/>
              <a:gd name="T21" fmla="*/ 94 h 1094"/>
              <a:gd name="T22" fmla="*/ 379 w 1151"/>
              <a:gd name="T23" fmla="*/ 33 h 1094"/>
              <a:gd name="T24" fmla="*/ 517 w 1151"/>
              <a:gd name="T25" fmla="*/ 3 h 1094"/>
              <a:gd name="T26" fmla="*/ 635 w 1151"/>
              <a:gd name="T27" fmla="*/ 3 h 1094"/>
              <a:gd name="T28" fmla="*/ 774 w 1151"/>
              <a:gd name="T29" fmla="*/ 33 h 1094"/>
              <a:gd name="T30" fmla="*/ 897 w 1151"/>
              <a:gd name="T31" fmla="*/ 94 h 1094"/>
              <a:gd name="T32" fmla="*/ 1001 w 1151"/>
              <a:gd name="T33" fmla="*/ 180 h 1094"/>
              <a:gd name="T34" fmla="*/ 1082 w 1151"/>
              <a:gd name="T35" fmla="*/ 287 h 1094"/>
              <a:gd name="T36" fmla="*/ 1133 w 1151"/>
              <a:gd name="T37" fmla="*/ 411 h 1094"/>
              <a:gd name="T38" fmla="*/ 1151 w 1151"/>
              <a:gd name="T39" fmla="*/ 547 h 1094"/>
              <a:gd name="T40" fmla="*/ 1139 w 1151"/>
              <a:gd name="T41" fmla="*/ 656 h 1094"/>
              <a:gd name="T42" fmla="*/ 1094 w 1151"/>
              <a:gd name="T43" fmla="*/ 783 h 1094"/>
              <a:gd name="T44" fmla="*/ 1019 w 1151"/>
              <a:gd name="T45" fmla="*/ 894 h 1094"/>
              <a:gd name="T46" fmla="*/ 919 w 1151"/>
              <a:gd name="T47" fmla="*/ 984 h 1094"/>
              <a:gd name="T48" fmla="*/ 799 w 1151"/>
              <a:gd name="T49" fmla="*/ 1051 h 1094"/>
              <a:gd name="T50" fmla="*/ 663 w 1151"/>
              <a:gd name="T51" fmla="*/ 1087 h 1094"/>
              <a:gd name="T52" fmla="*/ 577 w 1151"/>
              <a:gd name="T53" fmla="*/ 82 h 1094"/>
              <a:gd name="T54" fmla="*/ 492 w 1151"/>
              <a:gd name="T55" fmla="*/ 94 h 1094"/>
              <a:gd name="T56" fmla="*/ 404 w 1151"/>
              <a:gd name="T57" fmla="*/ 137 h 1094"/>
              <a:gd name="T58" fmla="*/ 335 w 1151"/>
              <a:gd name="T59" fmla="*/ 204 h 1094"/>
              <a:gd name="T60" fmla="*/ 285 w 1151"/>
              <a:gd name="T61" fmla="*/ 290 h 1094"/>
              <a:gd name="T62" fmla="*/ 252 w 1151"/>
              <a:gd name="T63" fmla="*/ 386 h 1094"/>
              <a:gd name="T64" fmla="*/ 234 w 1151"/>
              <a:gd name="T65" fmla="*/ 507 h 1094"/>
              <a:gd name="T66" fmla="*/ 240 w 1151"/>
              <a:gd name="T67" fmla="*/ 647 h 1094"/>
              <a:gd name="T68" fmla="*/ 264 w 1151"/>
              <a:gd name="T69" fmla="*/ 747 h 1094"/>
              <a:gd name="T70" fmla="*/ 303 w 1151"/>
              <a:gd name="T71" fmla="*/ 840 h 1094"/>
              <a:gd name="T72" fmla="*/ 360 w 1151"/>
              <a:gd name="T73" fmla="*/ 919 h 1094"/>
              <a:gd name="T74" fmla="*/ 436 w 1151"/>
              <a:gd name="T75" fmla="*/ 977 h 1094"/>
              <a:gd name="T76" fmla="*/ 533 w 1151"/>
              <a:gd name="T77" fmla="*/ 1008 h 1094"/>
              <a:gd name="T78" fmla="*/ 621 w 1151"/>
              <a:gd name="T79" fmla="*/ 1008 h 1094"/>
              <a:gd name="T80" fmla="*/ 716 w 1151"/>
              <a:gd name="T81" fmla="*/ 977 h 1094"/>
              <a:gd name="T82" fmla="*/ 792 w 1151"/>
              <a:gd name="T83" fmla="*/ 919 h 1094"/>
              <a:gd name="T84" fmla="*/ 850 w 1151"/>
              <a:gd name="T85" fmla="*/ 840 h 1094"/>
              <a:gd name="T86" fmla="*/ 889 w 1151"/>
              <a:gd name="T87" fmla="*/ 747 h 1094"/>
              <a:gd name="T88" fmla="*/ 912 w 1151"/>
              <a:gd name="T89" fmla="*/ 647 h 1094"/>
              <a:gd name="T90" fmla="*/ 919 w 1151"/>
              <a:gd name="T91" fmla="*/ 507 h 1094"/>
              <a:gd name="T92" fmla="*/ 901 w 1151"/>
              <a:gd name="T93" fmla="*/ 386 h 1094"/>
              <a:gd name="T94" fmla="*/ 867 w 1151"/>
              <a:gd name="T95" fmla="*/ 290 h 1094"/>
              <a:gd name="T96" fmla="*/ 817 w 1151"/>
              <a:gd name="T97" fmla="*/ 204 h 1094"/>
              <a:gd name="T98" fmla="*/ 748 w 1151"/>
              <a:gd name="T99" fmla="*/ 137 h 1094"/>
              <a:gd name="T100" fmla="*/ 661 w 1151"/>
              <a:gd name="T101" fmla="*/ 94 h 1094"/>
              <a:gd name="T102" fmla="*/ 577 w 1151"/>
              <a:gd name="T103" fmla="*/ 82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51" h="1094">
                <a:moveTo>
                  <a:pt x="577" y="1094"/>
                </a:moveTo>
                <a:lnTo>
                  <a:pt x="577" y="1094"/>
                </a:lnTo>
                <a:lnTo>
                  <a:pt x="547" y="1093"/>
                </a:lnTo>
                <a:lnTo>
                  <a:pt x="517" y="1091"/>
                </a:lnTo>
                <a:lnTo>
                  <a:pt x="489" y="1087"/>
                </a:lnTo>
                <a:lnTo>
                  <a:pt x="461" y="1082"/>
                </a:lnTo>
                <a:lnTo>
                  <a:pt x="432" y="1076"/>
                </a:lnTo>
                <a:lnTo>
                  <a:pt x="406" y="1069"/>
                </a:lnTo>
                <a:lnTo>
                  <a:pt x="379" y="1060"/>
                </a:lnTo>
                <a:lnTo>
                  <a:pt x="353" y="1051"/>
                </a:lnTo>
                <a:lnTo>
                  <a:pt x="327" y="1039"/>
                </a:lnTo>
                <a:lnTo>
                  <a:pt x="303" y="1027"/>
                </a:lnTo>
                <a:lnTo>
                  <a:pt x="278" y="1014"/>
                </a:lnTo>
                <a:lnTo>
                  <a:pt x="254" y="1000"/>
                </a:lnTo>
                <a:lnTo>
                  <a:pt x="232" y="984"/>
                </a:lnTo>
                <a:lnTo>
                  <a:pt x="210" y="968"/>
                </a:lnTo>
                <a:lnTo>
                  <a:pt x="189" y="950"/>
                </a:lnTo>
                <a:lnTo>
                  <a:pt x="170" y="933"/>
                </a:lnTo>
                <a:lnTo>
                  <a:pt x="150" y="914"/>
                </a:lnTo>
                <a:lnTo>
                  <a:pt x="132" y="894"/>
                </a:lnTo>
                <a:lnTo>
                  <a:pt x="115" y="873"/>
                </a:lnTo>
                <a:lnTo>
                  <a:pt x="99" y="851"/>
                </a:lnTo>
                <a:lnTo>
                  <a:pt x="84" y="830"/>
                </a:lnTo>
                <a:lnTo>
                  <a:pt x="70" y="806"/>
                </a:lnTo>
                <a:lnTo>
                  <a:pt x="57" y="783"/>
                </a:lnTo>
                <a:lnTo>
                  <a:pt x="46" y="758"/>
                </a:lnTo>
                <a:lnTo>
                  <a:pt x="36" y="734"/>
                </a:lnTo>
                <a:lnTo>
                  <a:pt x="26" y="708"/>
                </a:lnTo>
                <a:lnTo>
                  <a:pt x="18" y="683"/>
                </a:lnTo>
                <a:lnTo>
                  <a:pt x="12" y="656"/>
                </a:lnTo>
                <a:lnTo>
                  <a:pt x="7" y="629"/>
                </a:lnTo>
                <a:lnTo>
                  <a:pt x="3" y="602"/>
                </a:lnTo>
                <a:lnTo>
                  <a:pt x="1" y="574"/>
                </a:lnTo>
                <a:lnTo>
                  <a:pt x="0" y="547"/>
                </a:lnTo>
                <a:lnTo>
                  <a:pt x="0" y="547"/>
                </a:lnTo>
                <a:lnTo>
                  <a:pt x="1" y="519"/>
                </a:lnTo>
                <a:lnTo>
                  <a:pt x="3" y="491"/>
                </a:lnTo>
                <a:lnTo>
                  <a:pt x="7" y="464"/>
                </a:lnTo>
                <a:lnTo>
                  <a:pt x="12" y="437"/>
                </a:lnTo>
                <a:lnTo>
                  <a:pt x="18" y="411"/>
                </a:lnTo>
                <a:lnTo>
                  <a:pt x="26" y="385"/>
                </a:lnTo>
                <a:lnTo>
                  <a:pt x="36" y="360"/>
                </a:lnTo>
                <a:lnTo>
                  <a:pt x="46" y="335"/>
                </a:lnTo>
                <a:lnTo>
                  <a:pt x="57" y="310"/>
                </a:lnTo>
                <a:lnTo>
                  <a:pt x="70" y="287"/>
                </a:lnTo>
                <a:lnTo>
                  <a:pt x="84" y="264"/>
                </a:lnTo>
                <a:lnTo>
                  <a:pt x="99" y="242"/>
                </a:lnTo>
                <a:lnTo>
                  <a:pt x="115" y="220"/>
                </a:lnTo>
                <a:lnTo>
                  <a:pt x="132" y="200"/>
                </a:lnTo>
                <a:lnTo>
                  <a:pt x="150" y="180"/>
                </a:lnTo>
                <a:lnTo>
                  <a:pt x="170" y="161"/>
                </a:lnTo>
                <a:lnTo>
                  <a:pt x="189" y="143"/>
                </a:lnTo>
                <a:lnTo>
                  <a:pt x="210" y="125"/>
                </a:lnTo>
                <a:lnTo>
                  <a:pt x="232" y="109"/>
                </a:lnTo>
                <a:lnTo>
                  <a:pt x="254" y="94"/>
                </a:lnTo>
                <a:lnTo>
                  <a:pt x="278" y="79"/>
                </a:lnTo>
                <a:lnTo>
                  <a:pt x="303" y="66"/>
                </a:lnTo>
                <a:lnTo>
                  <a:pt x="327" y="54"/>
                </a:lnTo>
                <a:lnTo>
                  <a:pt x="353" y="44"/>
                </a:lnTo>
                <a:lnTo>
                  <a:pt x="379" y="33"/>
                </a:lnTo>
                <a:lnTo>
                  <a:pt x="406" y="24"/>
                </a:lnTo>
                <a:lnTo>
                  <a:pt x="432" y="17"/>
                </a:lnTo>
                <a:lnTo>
                  <a:pt x="461" y="11"/>
                </a:lnTo>
                <a:lnTo>
                  <a:pt x="489" y="6"/>
                </a:lnTo>
                <a:lnTo>
                  <a:pt x="517" y="3"/>
                </a:lnTo>
                <a:lnTo>
                  <a:pt x="547" y="1"/>
                </a:lnTo>
                <a:lnTo>
                  <a:pt x="577" y="0"/>
                </a:lnTo>
                <a:lnTo>
                  <a:pt x="577" y="0"/>
                </a:lnTo>
                <a:lnTo>
                  <a:pt x="606" y="1"/>
                </a:lnTo>
                <a:lnTo>
                  <a:pt x="635" y="3"/>
                </a:lnTo>
                <a:lnTo>
                  <a:pt x="663" y="6"/>
                </a:lnTo>
                <a:lnTo>
                  <a:pt x="692" y="11"/>
                </a:lnTo>
                <a:lnTo>
                  <a:pt x="720" y="17"/>
                </a:lnTo>
                <a:lnTo>
                  <a:pt x="746" y="24"/>
                </a:lnTo>
                <a:lnTo>
                  <a:pt x="774" y="33"/>
                </a:lnTo>
                <a:lnTo>
                  <a:pt x="799" y="44"/>
                </a:lnTo>
                <a:lnTo>
                  <a:pt x="825" y="54"/>
                </a:lnTo>
                <a:lnTo>
                  <a:pt x="850" y="66"/>
                </a:lnTo>
                <a:lnTo>
                  <a:pt x="874" y="79"/>
                </a:lnTo>
                <a:lnTo>
                  <a:pt x="897" y="94"/>
                </a:lnTo>
                <a:lnTo>
                  <a:pt x="919" y="109"/>
                </a:lnTo>
                <a:lnTo>
                  <a:pt x="942" y="125"/>
                </a:lnTo>
                <a:lnTo>
                  <a:pt x="962" y="143"/>
                </a:lnTo>
                <a:lnTo>
                  <a:pt x="982" y="161"/>
                </a:lnTo>
                <a:lnTo>
                  <a:pt x="1001" y="180"/>
                </a:lnTo>
                <a:lnTo>
                  <a:pt x="1019" y="200"/>
                </a:lnTo>
                <a:lnTo>
                  <a:pt x="1037" y="220"/>
                </a:lnTo>
                <a:lnTo>
                  <a:pt x="1052" y="242"/>
                </a:lnTo>
                <a:lnTo>
                  <a:pt x="1067" y="264"/>
                </a:lnTo>
                <a:lnTo>
                  <a:pt x="1082" y="287"/>
                </a:lnTo>
                <a:lnTo>
                  <a:pt x="1094" y="310"/>
                </a:lnTo>
                <a:lnTo>
                  <a:pt x="1105" y="335"/>
                </a:lnTo>
                <a:lnTo>
                  <a:pt x="1116" y="360"/>
                </a:lnTo>
                <a:lnTo>
                  <a:pt x="1125" y="385"/>
                </a:lnTo>
                <a:lnTo>
                  <a:pt x="1133" y="411"/>
                </a:lnTo>
                <a:lnTo>
                  <a:pt x="1139" y="437"/>
                </a:lnTo>
                <a:lnTo>
                  <a:pt x="1144" y="464"/>
                </a:lnTo>
                <a:lnTo>
                  <a:pt x="1148" y="491"/>
                </a:lnTo>
                <a:lnTo>
                  <a:pt x="1150" y="519"/>
                </a:lnTo>
                <a:lnTo>
                  <a:pt x="1151" y="547"/>
                </a:lnTo>
                <a:lnTo>
                  <a:pt x="1151" y="547"/>
                </a:lnTo>
                <a:lnTo>
                  <a:pt x="1150" y="574"/>
                </a:lnTo>
                <a:lnTo>
                  <a:pt x="1148" y="602"/>
                </a:lnTo>
                <a:lnTo>
                  <a:pt x="1144" y="629"/>
                </a:lnTo>
                <a:lnTo>
                  <a:pt x="1139" y="656"/>
                </a:lnTo>
                <a:lnTo>
                  <a:pt x="1133" y="683"/>
                </a:lnTo>
                <a:lnTo>
                  <a:pt x="1125" y="708"/>
                </a:lnTo>
                <a:lnTo>
                  <a:pt x="1116" y="734"/>
                </a:lnTo>
                <a:lnTo>
                  <a:pt x="1105" y="758"/>
                </a:lnTo>
                <a:lnTo>
                  <a:pt x="1094" y="783"/>
                </a:lnTo>
                <a:lnTo>
                  <a:pt x="1082" y="806"/>
                </a:lnTo>
                <a:lnTo>
                  <a:pt x="1067" y="830"/>
                </a:lnTo>
                <a:lnTo>
                  <a:pt x="1052" y="851"/>
                </a:lnTo>
                <a:lnTo>
                  <a:pt x="1037" y="873"/>
                </a:lnTo>
                <a:lnTo>
                  <a:pt x="1019" y="894"/>
                </a:lnTo>
                <a:lnTo>
                  <a:pt x="1001" y="914"/>
                </a:lnTo>
                <a:lnTo>
                  <a:pt x="982" y="933"/>
                </a:lnTo>
                <a:lnTo>
                  <a:pt x="962" y="950"/>
                </a:lnTo>
                <a:lnTo>
                  <a:pt x="942" y="968"/>
                </a:lnTo>
                <a:lnTo>
                  <a:pt x="919" y="984"/>
                </a:lnTo>
                <a:lnTo>
                  <a:pt x="897" y="1000"/>
                </a:lnTo>
                <a:lnTo>
                  <a:pt x="874" y="1014"/>
                </a:lnTo>
                <a:lnTo>
                  <a:pt x="850" y="1027"/>
                </a:lnTo>
                <a:lnTo>
                  <a:pt x="825" y="1039"/>
                </a:lnTo>
                <a:lnTo>
                  <a:pt x="799" y="1051"/>
                </a:lnTo>
                <a:lnTo>
                  <a:pt x="774" y="1060"/>
                </a:lnTo>
                <a:lnTo>
                  <a:pt x="746" y="1069"/>
                </a:lnTo>
                <a:lnTo>
                  <a:pt x="720" y="1076"/>
                </a:lnTo>
                <a:lnTo>
                  <a:pt x="692" y="1082"/>
                </a:lnTo>
                <a:lnTo>
                  <a:pt x="663" y="1087"/>
                </a:lnTo>
                <a:lnTo>
                  <a:pt x="635" y="1091"/>
                </a:lnTo>
                <a:lnTo>
                  <a:pt x="606" y="1093"/>
                </a:lnTo>
                <a:lnTo>
                  <a:pt x="577" y="1094"/>
                </a:lnTo>
                <a:lnTo>
                  <a:pt x="577" y="1094"/>
                </a:lnTo>
                <a:close/>
                <a:moveTo>
                  <a:pt x="577" y="82"/>
                </a:moveTo>
                <a:lnTo>
                  <a:pt x="577" y="82"/>
                </a:lnTo>
                <a:lnTo>
                  <a:pt x="554" y="83"/>
                </a:lnTo>
                <a:lnTo>
                  <a:pt x="533" y="86"/>
                </a:lnTo>
                <a:lnTo>
                  <a:pt x="511" y="90"/>
                </a:lnTo>
                <a:lnTo>
                  <a:pt x="492" y="94"/>
                </a:lnTo>
                <a:lnTo>
                  <a:pt x="472" y="100"/>
                </a:lnTo>
                <a:lnTo>
                  <a:pt x="454" y="108"/>
                </a:lnTo>
                <a:lnTo>
                  <a:pt x="436" y="116"/>
                </a:lnTo>
                <a:lnTo>
                  <a:pt x="419" y="125"/>
                </a:lnTo>
                <a:lnTo>
                  <a:pt x="404" y="137"/>
                </a:lnTo>
                <a:lnTo>
                  <a:pt x="388" y="148"/>
                </a:lnTo>
                <a:lnTo>
                  <a:pt x="374" y="161"/>
                </a:lnTo>
                <a:lnTo>
                  <a:pt x="360" y="174"/>
                </a:lnTo>
                <a:lnTo>
                  <a:pt x="347" y="189"/>
                </a:lnTo>
                <a:lnTo>
                  <a:pt x="335" y="204"/>
                </a:lnTo>
                <a:lnTo>
                  <a:pt x="324" y="219"/>
                </a:lnTo>
                <a:lnTo>
                  <a:pt x="313" y="237"/>
                </a:lnTo>
                <a:lnTo>
                  <a:pt x="303" y="253"/>
                </a:lnTo>
                <a:lnTo>
                  <a:pt x="293" y="272"/>
                </a:lnTo>
                <a:lnTo>
                  <a:pt x="285" y="290"/>
                </a:lnTo>
                <a:lnTo>
                  <a:pt x="277" y="308"/>
                </a:lnTo>
                <a:lnTo>
                  <a:pt x="270" y="327"/>
                </a:lnTo>
                <a:lnTo>
                  <a:pt x="264" y="346"/>
                </a:lnTo>
                <a:lnTo>
                  <a:pt x="258" y="367"/>
                </a:lnTo>
                <a:lnTo>
                  <a:pt x="252" y="386"/>
                </a:lnTo>
                <a:lnTo>
                  <a:pt x="248" y="407"/>
                </a:lnTo>
                <a:lnTo>
                  <a:pt x="244" y="426"/>
                </a:lnTo>
                <a:lnTo>
                  <a:pt x="240" y="446"/>
                </a:lnTo>
                <a:lnTo>
                  <a:pt x="238" y="467"/>
                </a:lnTo>
                <a:lnTo>
                  <a:pt x="234" y="507"/>
                </a:lnTo>
                <a:lnTo>
                  <a:pt x="233" y="547"/>
                </a:lnTo>
                <a:lnTo>
                  <a:pt x="233" y="547"/>
                </a:lnTo>
                <a:lnTo>
                  <a:pt x="234" y="587"/>
                </a:lnTo>
                <a:lnTo>
                  <a:pt x="238" y="626"/>
                </a:lnTo>
                <a:lnTo>
                  <a:pt x="240" y="647"/>
                </a:lnTo>
                <a:lnTo>
                  <a:pt x="244" y="667"/>
                </a:lnTo>
                <a:lnTo>
                  <a:pt x="248" y="687"/>
                </a:lnTo>
                <a:lnTo>
                  <a:pt x="252" y="707"/>
                </a:lnTo>
                <a:lnTo>
                  <a:pt x="258" y="728"/>
                </a:lnTo>
                <a:lnTo>
                  <a:pt x="264" y="747"/>
                </a:lnTo>
                <a:lnTo>
                  <a:pt x="270" y="766"/>
                </a:lnTo>
                <a:lnTo>
                  <a:pt x="277" y="785"/>
                </a:lnTo>
                <a:lnTo>
                  <a:pt x="285" y="804"/>
                </a:lnTo>
                <a:lnTo>
                  <a:pt x="293" y="822"/>
                </a:lnTo>
                <a:lnTo>
                  <a:pt x="303" y="840"/>
                </a:lnTo>
                <a:lnTo>
                  <a:pt x="313" y="857"/>
                </a:lnTo>
                <a:lnTo>
                  <a:pt x="324" y="874"/>
                </a:lnTo>
                <a:lnTo>
                  <a:pt x="335" y="889"/>
                </a:lnTo>
                <a:lnTo>
                  <a:pt x="347" y="904"/>
                </a:lnTo>
                <a:lnTo>
                  <a:pt x="360" y="919"/>
                </a:lnTo>
                <a:lnTo>
                  <a:pt x="374" y="932"/>
                </a:lnTo>
                <a:lnTo>
                  <a:pt x="388" y="945"/>
                </a:lnTo>
                <a:lnTo>
                  <a:pt x="404" y="957"/>
                </a:lnTo>
                <a:lnTo>
                  <a:pt x="419" y="968"/>
                </a:lnTo>
                <a:lnTo>
                  <a:pt x="436" y="977"/>
                </a:lnTo>
                <a:lnTo>
                  <a:pt x="454" y="986"/>
                </a:lnTo>
                <a:lnTo>
                  <a:pt x="472" y="993"/>
                </a:lnTo>
                <a:lnTo>
                  <a:pt x="492" y="1000"/>
                </a:lnTo>
                <a:lnTo>
                  <a:pt x="511" y="1005"/>
                </a:lnTo>
                <a:lnTo>
                  <a:pt x="533" y="1008"/>
                </a:lnTo>
                <a:lnTo>
                  <a:pt x="554" y="1010"/>
                </a:lnTo>
                <a:lnTo>
                  <a:pt x="577" y="1011"/>
                </a:lnTo>
                <a:lnTo>
                  <a:pt x="577" y="1011"/>
                </a:lnTo>
                <a:lnTo>
                  <a:pt x="599" y="1010"/>
                </a:lnTo>
                <a:lnTo>
                  <a:pt x="621" y="1008"/>
                </a:lnTo>
                <a:lnTo>
                  <a:pt x="641" y="1005"/>
                </a:lnTo>
                <a:lnTo>
                  <a:pt x="661" y="1000"/>
                </a:lnTo>
                <a:lnTo>
                  <a:pt x="680" y="993"/>
                </a:lnTo>
                <a:lnTo>
                  <a:pt x="698" y="986"/>
                </a:lnTo>
                <a:lnTo>
                  <a:pt x="716" y="977"/>
                </a:lnTo>
                <a:lnTo>
                  <a:pt x="733" y="968"/>
                </a:lnTo>
                <a:lnTo>
                  <a:pt x="748" y="957"/>
                </a:lnTo>
                <a:lnTo>
                  <a:pt x="764" y="945"/>
                </a:lnTo>
                <a:lnTo>
                  <a:pt x="778" y="932"/>
                </a:lnTo>
                <a:lnTo>
                  <a:pt x="792" y="919"/>
                </a:lnTo>
                <a:lnTo>
                  <a:pt x="805" y="904"/>
                </a:lnTo>
                <a:lnTo>
                  <a:pt x="817" y="889"/>
                </a:lnTo>
                <a:lnTo>
                  <a:pt x="829" y="874"/>
                </a:lnTo>
                <a:lnTo>
                  <a:pt x="839" y="857"/>
                </a:lnTo>
                <a:lnTo>
                  <a:pt x="850" y="840"/>
                </a:lnTo>
                <a:lnTo>
                  <a:pt x="859" y="822"/>
                </a:lnTo>
                <a:lnTo>
                  <a:pt x="867" y="804"/>
                </a:lnTo>
                <a:lnTo>
                  <a:pt x="875" y="785"/>
                </a:lnTo>
                <a:lnTo>
                  <a:pt x="882" y="766"/>
                </a:lnTo>
                <a:lnTo>
                  <a:pt x="889" y="747"/>
                </a:lnTo>
                <a:lnTo>
                  <a:pt x="896" y="728"/>
                </a:lnTo>
                <a:lnTo>
                  <a:pt x="901" y="707"/>
                </a:lnTo>
                <a:lnTo>
                  <a:pt x="905" y="687"/>
                </a:lnTo>
                <a:lnTo>
                  <a:pt x="909" y="667"/>
                </a:lnTo>
                <a:lnTo>
                  <a:pt x="912" y="647"/>
                </a:lnTo>
                <a:lnTo>
                  <a:pt x="915" y="626"/>
                </a:lnTo>
                <a:lnTo>
                  <a:pt x="919" y="587"/>
                </a:lnTo>
                <a:lnTo>
                  <a:pt x="920" y="547"/>
                </a:lnTo>
                <a:lnTo>
                  <a:pt x="920" y="547"/>
                </a:lnTo>
                <a:lnTo>
                  <a:pt x="919" y="507"/>
                </a:lnTo>
                <a:lnTo>
                  <a:pt x="915" y="467"/>
                </a:lnTo>
                <a:lnTo>
                  <a:pt x="912" y="446"/>
                </a:lnTo>
                <a:lnTo>
                  <a:pt x="909" y="426"/>
                </a:lnTo>
                <a:lnTo>
                  <a:pt x="905" y="407"/>
                </a:lnTo>
                <a:lnTo>
                  <a:pt x="901" y="386"/>
                </a:lnTo>
                <a:lnTo>
                  <a:pt x="896" y="367"/>
                </a:lnTo>
                <a:lnTo>
                  <a:pt x="889" y="346"/>
                </a:lnTo>
                <a:lnTo>
                  <a:pt x="882" y="327"/>
                </a:lnTo>
                <a:lnTo>
                  <a:pt x="875" y="308"/>
                </a:lnTo>
                <a:lnTo>
                  <a:pt x="867" y="290"/>
                </a:lnTo>
                <a:lnTo>
                  <a:pt x="859" y="272"/>
                </a:lnTo>
                <a:lnTo>
                  <a:pt x="850" y="253"/>
                </a:lnTo>
                <a:lnTo>
                  <a:pt x="839" y="237"/>
                </a:lnTo>
                <a:lnTo>
                  <a:pt x="829" y="219"/>
                </a:lnTo>
                <a:lnTo>
                  <a:pt x="817" y="204"/>
                </a:lnTo>
                <a:lnTo>
                  <a:pt x="805" y="189"/>
                </a:lnTo>
                <a:lnTo>
                  <a:pt x="792" y="174"/>
                </a:lnTo>
                <a:lnTo>
                  <a:pt x="778" y="161"/>
                </a:lnTo>
                <a:lnTo>
                  <a:pt x="764" y="148"/>
                </a:lnTo>
                <a:lnTo>
                  <a:pt x="748" y="137"/>
                </a:lnTo>
                <a:lnTo>
                  <a:pt x="733" y="125"/>
                </a:lnTo>
                <a:lnTo>
                  <a:pt x="716" y="116"/>
                </a:lnTo>
                <a:lnTo>
                  <a:pt x="698" y="108"/>
                </a:lnTo>
                <a:lnTo>
                  <a:pt x="680" y="100"/>
                </a:lnTo>
                <a:lnTo>
                  <a:pt x="661" y="94"/>
                </a:lnTo>
                <a:lnTo>
                  <a:pt x="641" y="90"/>
                </a:lnTo>
                <a:lnTo>
                  <a:pt x="621" y="86"/>
                </a:lnTo>
                <a:lnTo>
                  <a:pt x="599" y="83"/>
                </a:lnTo>
                <a:lnTo>
                  <a:pt x="577" y="82"/>
                </a:lnTo>
                <a:lnTo>
                  <a:pt x="577" y="8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fi-FI" sz="1800"/>
          </a:p>
        </p:txBody>
      </p:sp>
      <p:sp>
        <p:nvSpPr>
          <p:cNvPr id="65" name="Freeform 16">
            <a:extLst>
              <a:ext uri="{FF2B5EF4-FFF2-40B4-BE49-F238E27FC236}">
                <a16:creationId xmlns:a16="http://schemas.microsoft.com/office/drawing/2014/main" id="{B5D68C21-7AED-414B-9238-BC99BD377826}"/>
              </a:ext>
            </a:extLst>
          </p:cNvPr>
          <p:cNvSpPr>
            <a:spLocks/>
          </p:cNvSpPr>
          <p:nvPr userDrawn="1"/>
        </p:nvSpPr>
        <p:spPr bwMode="auto">
          <a:xfrm>
            <a:off x="3332164" y="889002"/>
            <a:ext cx="93663" cy="146050"/>
          </a:xfrm>
          <a:custGeom>
            <a:avLst/>
            <a:gdLst>
              <a:gd name="T0" fmla="*/ 52 w 712"/>
              <a:gd name="T1" fmla="*/ 723 h 1103"/>
              <a:gd name="T2" fmla="*/ 75 w 712"/>
              <a:gd name="T3" fmla="*/ 804 h 1103"/>
              <a:gd name="T4" fmla="*/ 112 w 712"/>
              <a:gd name="T5" fmla="*/ 875 h 1103"/>
              <a:gd name="T6" fmla="*/ 159 w 712"/>
              <a:gd name="T7" fmla="*/ 933 h 1103"/>
              <a:gd name="T8" fmla="*/ 215 w 712"/>
              <a:gd name="T9" fmla="*/ 978 h 1103"/>
              <a:gd name="T10" fmla="*/ 278 w 712"/>
              <a:gd name="T11" fmla="*/ 1009 h 1103"/>
              <a:gd name="T12" fmla="*/ 343 w 712"/>
              <a:gd name="T13" fmla="*/ 1024 h 1103"/>
              <a:gd name="T14" fmla="*/ 405 w 712"/>
              <a:gd name="T15" fmla="*/ 1022 h 1103"/>
              <a:gd name="T16" fmla="*/ 481 w 712"/>
              <a:gd name="T17" fmla="*/ 992 h 1103"/>
              <a:gd name="T18" fmla="*/ 529 w 712"/>
              <a:gd name="T19" fmla="*/ 929 h 1103"/>
              <a:gd name="T20" fmla="*/ 541 w 712"/>
              <a:gd name="T21" fmla="*/ 854 h 1103"/>
              <a:gd name="T22" fmla="*/ 528 w 712"/>
              <a:gd name="T23" fmla="*/ 795 h 1103"/>
              <a:gd name="T24" fmla="*/ 490 w 712"/>
              <a:gd name="T25" fmla="*/ 737 h 1103"/>
              <a:gd name="T26" fmla="*/ 429 w 712"/>
              <a:gd name="T27" fmla="*/ 688 h 1103"/>
              <a:gd name="T28" fmla="*/ 198 w 712"/>
              <a:gd name="T29" fmla="*/ 566 h 1103"/>
              <a:gd name="T30" fmla="*/ 94 w 712"/>
              <a:gd name="T31" fmla="*/ 485 h 1103"/>
              <a:gd name="T32" fmla="*/ 32 w 712"/>
              <a:gd name="T33" fmla="*/ 380 h 1103"/>
              <a:gd name="T34" fmla="*/ 16 w 712"/>
              <a:gd name="T35" fmla="*/ 267 h 1103"/>
              <a:gd name="T36" fmla="*/ 25 w 712"/>
              <a:gd name="T37" fmla="*/ 204 h 1103"/>
              <a:gd name="T38" fmla="*/ 52 w 712"/>
              <a:gd name="T39" fmla="*/ 145 h 1103"/>
              <a:gd name="T40" fmla="*/ 94 w 712"/>
              <a:gd name="T41" fmla="*/ 95 h 1103"/>
              <a:gd name="T42" fmla="*/ 148 w 712"/>
              <a:gd name="T43" fmla="*/ 54 h 1103"/>
              <a:gd name="T44" fmla="*/ 212 w 712"/>
              <a:gd name="T45" fmla="*/ 25 h 1103"/>
              <a:gd name="T46" fmla="*/ 285 w 712"/>
              <a:gd name="T47" fmla="*/ 11 h 1103"/>
              <a:gd name="T48" fmla="*/ 352 w 712"/>
              <a:gd name="T49" fmla="*/ 11 h 1103"/>
              <a:gd name="T50" fmla="*/ 427 w 712"/>
              <a:gd name="T51" fmla="*/ 25 h 1103"/>
              <a:gd name="T52" fmla="*/ 526 w 712"/>
              <a:gd name="T53" fmla="*/ 79 h 1103"/>
              <a:gd name="T54" fmla="*/ 556 w 712"/>
              <a:gd name="T55" fmla="*/ 47 h 1103"/>
              <a:gd name="T56" fmla="*/ 624 w 712"/>
              <a:gd name="T57" fmla="*/ 0 h 1103"/>
              <a:gd name="T58" fmla="*/ 568 w 712"/>
              <a:gd name="T59" fmla="*/ 328 h 1103"/>
              <a:gd name="T60" fmla="*/ 527 w 712"/>
              <a:gd name="T61" fmla="*/ 203 h 1103"/>
              <a:gd name="T62" fmla="*/ 481 w 712"/>
              <a:gd name="T63" fmla="*/ 142 h 1103"/>
              <a:gd name="T64" fmla="*/ 428 w 712"/>
              <a:gd name="T65" fmla="*/ 106 h 1103"/>
              <a:gd name="T66" fmla="*/ 358 w 712"/>
              <a:gd name="T67" fmla="*/ 86 h 1103"/>
              <a:gd name="T68" fmla="*/ 300 w 712"/>
              <a:gd name="T69" fmla="*/ 87 h 1103"/>
              <a:gd name="T70" fmla="*/ 240 w 712"/>
              <a:gd name="T71" fmla="*/ 113 h 1103"/>
              <a:gd name="T72" fmla="*/ 199 w 712"/>
              <a:gd name="T73" fmla="*/ 165 h 1103"/>
              <a:gd name="T74" fmla="*/ 187 w 712"/>
              <a:gd name="T75" fmla="*/ 222 h 1103"/>
              <a:gd name="T76" fmla="*/ 200 w 712"/>
              <a:gd name="T77" fmla="*/ 278 h 1103"/>
              <a:gd name="T78" fmla="*/ 241 w 712"/>
              <a:gd name="T79" fmla="*/ 336 h 1103"/>
              <a:gd name="T80" fmla="*/ 308 w 712"/>
              <a:gd name="T81" fmla="*/ 390 h 1103"/>
              <a:gd name="T82" fmla="*/ 535 w 712"/>
              <a:gd name="T83" fmla="*/ 510 h 1103"/>
              <a:gd name="T84" fmla="*/ 631 w 712"/>
              <a:gd name="T85" fmla="*/ 590 h 1103"/>
              <a:gd name="T86" fmla="*/ 695 w 712"/>
              <a:gd name="T87" fmla="*/ 693 h 1103"/>
              <a:gd name="T88" fmla="*/ 712 w 712"/>
              <a:gd name="T89" fmla="*/ 789 h 1103"/>
              <a:gd name="T90" fmla="*/ 701 w 712"/>
              <a:gd name="T91" fmla="*/ 872 h 1103"/>
              <a:gd name="T92" fmla="*/ 669 w 712"/>
              <a:gd name="T93" fmla="*/ 945 h 1103"/>
              <a:gd name="T94" fmla="*/ 619 w 712"/>
              <a:gd name="T95" fmla="*/ 1005 h 1103"/>
              <a:gd name="T96" fmla="*/ 556 w 712"/>
              <a:gd name="T97" fmla="*/ 1053 h 1103"/>
              <a:gd name="T98" fmla="*/ 483 w 712"/>
              <a:gd name="T99" fmla="*/ 1085 h 1103"/>
              <a:gd name="T100" fmla="*/ 402 w 712"/>
              <a:gd name="T101" fmla="*/ 1101 h 1103"/>
              <a:gd name="T102" fmla="*/ 323 w 712"/>
              <a:gd name="T103" fmla="*/ 1100 h 1103"/>
              <a:gd name="T104" fmla="*/ 223 w 712"/>
              <a:gd name="T105" fmla="*/ 1073 h 1103"/>
              <a:gd name="T106" fmla="*/ 111 w 712"/>
              <a:gd name="T107" fmla="*/ 1024 h 1103"/>
              <a:gd name="T108" fmla="*/ 77 w 712"/>
              <a:gd name="T109" fmla="*/ 1044 h 1103"/>
              <a:gd name="T110" fmla="*/ 51 w 712"/>
              <a:gd name="T111" fmla="*/ 1103 h 1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2" h="1103">
                <a:moveTo>
                  <a:pt x="51" y="1103"/>
                </a:moveTo>
                <a:lnTo>
                  <a:pt x="0" y="1103"/>
                </a:lnTo>
                <a:lnTo>
                  <a:pt x="0" y="723"/>
                </a:lnTo>
                <a:lnTo>
                  <a:pt x="52" y="723"/>
                </a:lnTo>
                <a:lnTo>
                  <a:pt x="52" y="723"/>
                </a:lnTo>
                <a:lnTo>
                  <a:pt x="56" y="740"/>
                </a:lnTo>
                <a:lnTo>
                  <a:pt x="60" y="757"/>
                </a:lnTo>
                <a:lnTo>
                  <a:pt x="64" y="773"/>
                </a:lnTo>
                <a:lnTo>
                  <a:pt x="69" y="789"/>
                </a:lnTo>
                <a:lnTo>
                  <a:pt x="75" y="804"/>
                </a:lnTo>
                <a:lnTo>
                  <a:pt x="81" y="819"/>
                </a:lnTo>
                <a:lnTo>
                  <a:pt x="88" y="834"/>
                </a:lnTo>
                <a:lnTo>
                  <a:pt x="96" y="848"/>
                </a:lnTo>
                <a:lnTo>
                  <a:pt x="104" y="861"/>
                </a:lnTo>
                <a:lnTo>
                  <a:pt x="112" y="875"/>
                </a:lnTo>
                <a:lnTo>
                  <a:pt x="120" y="888"/>
                </a:lnTo>
                <a:lnTo>
                  <a:pt x="129" y="899"/>
                </a:lnTo>
                <a:lnTo>
                  <a:pt x="139" y="911"/>
                </a:lnTo>
                <a:lnTo>
                  <a:pt x="149" y="923"/>
                </a:lnTo>
                <a:lnTo>
                  <a:pt x="159" y="933"/>
                </a:lnTo>
                <a:lnTo>
                  <a:pt x="170" y="943"/>
                </a:lnTo>
                <a:lnTo>
                  <a:pt x="180" y="952"/>
                </a:lnTo>
                <a:lnTo>
                  <a:pt x="192" y="962"/>
                </a:lnTo>
                <a:lnTo>
                  <a:pt x="204" y="970"/>
                </a:lnTo>
                <a:lnTo>
                  <a:pt x="215" y="978"/>
                </a:lnTo>
                <a:lnTo>
                  <a:pt x="227" y="985"/>
                </a:lnTo>
                <a:lnTo>
                  <a:pt x="240" y="992"/>
                </a:lnTo>
                <a:lnTo>
                  <a:pt x="252" y="998"/>
                </a:lnTo>
                <a:lnTo>
                  <a:pt x="264" y="1003"/>
                </a:lnTo>
                <a:lnTo>
                  <a:pt x="278" y="1009"/>
                </a:lnTo>
                <a:lnTo>
                  <a:pt x="290" y="1013"/>
                </a:lnTo>
                <a:lnTo>
                  <a:pt x="303" y="1017"/>
                </a:lnTo>
                <a:lnTo>
                  <a:pt x="316" y="1020"/>
                </a:lnTo>
                <a:lnTo>
                  <a:pt x="330" y="1022"/>
                </a:lnTo>
                <a:lnTo>
                  <a:pt x="343" y="1024"/>
                </a:lnTo>
                <a:lnTo>
                  <a:pt x="356" y="1025"/>
                </a:lnTo>
                <a:lnTo>
                  <a:pt x="370" y="1025"/>
                </a:lnTo>
                <a:lnTo>
                  <a:pt x="370" y="1025"/>
                </a:lnTo>
                <a:lnTo>
                  <a:pt x="388" y="1024"/>
                </a:lnTo>
                <a:lnTo>
                  <a:pt x="405" y="1022"/>
                </a:lnTo>
                <a:lnTo>
                  <a:pt x="423" y="1019"/>
                </a:lnTo>
                <a:lnTo>
                  <a:pt x="438" y="1015"/>
                </a:lnTo>
                <a:lnTo>
                  <a:pt x="453" y="1009"/>
                </a:lnTo>
                <a:lnTo>
                  <a:pt x="468" y="1000"/>
                </a:lnTo>
                <a:lnTo>
                  <a:pt x="481" y="992"/>
                </a:lnTo>
                <a:lnTo>
                  <a:pt x="493" y="982"/>
                </a:lnTo>
                <a:lnTo>
                  <a:pt x="504" y="971"/>
                </a:lnTo>
                <a:lnTo>
                  <a:pt x="514" y="958"/>
                </a:lnTo>
                <a:lnTo>
                  <a:pt x="522" y="944"/>
                </a:lnTo>
                <a:lnTo>
                  <a:pt x="529" y="929"/>
                </a:lnTo>
                <a:lnTo>
                  <a:pt x="534" y="912"/>
                </a:lnTo>
                <a:lnTo>
                  <a:pt x="538" y="894"/>
                </a:lnTo>
                <a:lnTo>
                  <a:pt x="541" y="875"/>
                </a:lnTo>
                <a:lnTo>
                  <a:pt x="541" y="854"/>
                </a:lnTo>
                <a:lnTo>
                  <a:pt x="541" y="854"/>
                </a:lnTo>
                <a:lnTo>
                  <a:pt x="541" y="842"/>
                </a:lnTo>
                <a:lnTo>
                  <a:pt x="539" y="831"/>
                </a:lnTo>
                <a:lnTo>
                  <a:pt x="537" y="818"/>
                </a:lnTo>
                <a:lnTo>
                  <a:pt x="533" y="806"/>
                </a:lnTo>
                <a:lnTo>
                  <a:pt x="528" y="795"/>
                </a:lnTo>
                <a:lnTo>
                  <a:pt x="523" y="783"/>
                </a:lnTo>
                <a:lnTo>
                  <a:pt x="516" y="771"/>
                </a:lnTo>
                <a:lnTo>
                  <a:pt x="509" y="759"/>
                </a:lnTo>
                <a:lnTo>
                  <a:pt x="499" y="748"/>
                </a:lnTo>
                <a:lnTo>
                  <a:pt x="490" y="737"/>
                </a:lnTo>
                <a:lnTo>
                  <a:pt x="480" y="726"/>
                </a:lnTo>
                <a:lnTo>
                  <a:pt x="469" y="716"/>
                </a:lnTo>
                <a:lnTo>
                  <a:pt x="457" y="706"/>
                </a:lnTo>
                <a:lnTo>
                  <a:pt x="443" y="697"/>
                </a:lnTo>
                <a:lnTo>
                  <a:pt x="429" y="688"/>
                </a:lnTo>
                <a:lnTo>
                  <a:pt x="415" y="680"/>
                </a:lnTo>
                <a:lnTo>
                  <a:pt x="250" y="593"/>
                </a:lnTo>
                <a:lnTo>
                  <a:pt x="250" y="593"/>
                </a:lnTo>
                <a:lnTo>
                  <a:pt x="223" y="580"/>
                </a:lnTo>
                <a:lnTo>
                  <a:pt x="198" y="566"/>
                </a:lnTo>
                <a:lnTo>
                  <a:pt x="174" y="551"/>
                </a:lnTo>
                <a:lnTo>
                  <a:pt x="152" y="535"/>
                </a:lnTo>
                <a:lnTo>
                  <a:pt x="131" y="520"/>
                </a:lnTo>
                <a:lnTo>
                  <a:pt x="112" y="502"/>
                </a:lnTo>
                <a:lnTo>
                  <a:pt x="94" y="485"/>
                </a:lnTo>
                <a:lnTo>
                  <a:pt x="78" y="467"/>
                </a:lnTo>
                <a:lnTo>
                  <a:pt x="64" y="447"/>
                </a:lnTo>
                <a:lnTo>
                  <a:pt x="52" y="426"/>
                </a:lnTo>
                <a:lnTo>
                  <a:pt x="40" y="404"/>
                </a:lnTo>
                <a:lnTo>
                  <a:pt x="32" y="380"/>
                </a:lnTo>
                <a:lnTo>
                  <a:pt x="25" y="355"/>
                </a:lnTo>
                <a:lnTo>
                  <a:pt x="20" y="328"/>
                </a:lnTo>
                <a:lnTo>
                  <a:pt x="17" y="299"/>
                </a:lnTo>
                <a:lnTo>
                  <a:pt x="16" y="267"/>
                </a:lnTo>
                <a:lnTo>
                  <a:pt x="16" y="267"/>
                </a:lnTo>
                <a:lnTo>
                  <a:pt x="16" y="254"/>
                </a:lnTo>
                <a:lnTo>
                  <a:pt x="17" y="242"/>
                </a:lnTo>
                <a:lnTo>
                  <a:pt x="19" y="228"/>
                </a:lnTo>
                <a:lnTo>
                  <a:pt x="22" y="216"/>
                </a:lnTo>
                <a:lnTo>
                  <a:pt x="25" y="204"/>
                </a:lnTo>
                <a:lnTo>
                  <a:pt x="29" y="192"/>
                </a:lnTo>
                <a:lnTo>
                  <a:pt x="34" y="179"/>
                </a:lnTo>
                <a:lnTo>
                  <a:pt x="39" y="167"/>
                </a:lnTo>
                <a:lnTo>
                  <a:pt x="45" y="156"/>
                </a:lnTo>
                <a:lnTo>
                  <a:pt x="52" y="145"/>
                </a:lnTo>
                <a:lnTo>
                  <a:pt x="59" y="134"/>
                </a:lnTo>
                <a:lnTo>
                  <a:pt x="67" y="123"/>
                </a:lnTo>
                <a:lnTo>
                  <a:pt x="75" y="114"/>
                </a:lnTo>
                <a:lnTo>
                  <a:pt x="83" y="104"/>
                </a:lnTo>
                <a:lnTo>
                  <a:pt x="94" y="95"/>
                </a:lnTo>
                <a:lnTo>
                  <a:pt x="103" y="85"/>
                </a:lnTo>
                <a:lnTo>
                  <a:pt x="113" y="76"/>
                </a:lnTo>
                <a:lnTo>
                  <a:pt x="124" y="69"/>
                </a:lnTo>
                <a:lnTo>
                  <a:pt x="135" y="61"/>
                </a:lnTo>
                <a:lnTo>
                  <a:pt x="148" y="54"/>
                </a:lnTo>
                <a:lnTo>
                  <a:pt x="160" y="46"/>
                </a:lnTo>
                <a:lnTo>
                  <a:pt x="172" y="40"/>
                </a:lnTo>
                <a:lnTo>
                  <a:pt x="186" y="34"/>
                </a:lnTo>
                <a:lnTo>
                  <a:pt x="199" y="29"/>
                </a:lnTo>
                <a:lnTo>
                  <a:pt x="212" y="25"/>
                </a:lnTo>
                <a:lnTo>
                  <a:pt x="226" y="21"/>
                </a:lnTo>
                <a:lnTo>
                  <a:pt x="241" y="17"/>
                </a:lnTo>
                <a:lnTo>
                  <a:pt x="255" y="14"/>
                </a:lnTo>
                <a:lnTo>
                  <a:pt x="269" y="12"/>
                </a:lnTo>
                <a:lnTo>
                  <a:pt x="285" y="11"/>
                </a:lnTo>
                <a:lnTo>
                  <a:pt x="300" y="10"/>
                </a:lnTo>
                <a:lnTo>
                  <a:pt x="315" y="9"/>
                </a:lnTo>
                <a:lnTo>
                  <a:pt x="315" y="9"/>
                </a:lnTo>
                <a:lnTo>
                  <a:pt x="335" y="10"/>
                </a:lnTo>
                <a:lnTo>
                  <a:pt x="352" y="11"/>
                </a:lnTo>
                <a:lnTo>
                  <a:pt x="369" y="12"/>
                </a:lnTo>
                <a:lnTo>
                  <a:pt x="384" y="15"/>
                </a:lnTo>
                <a:lnTo>
                  <a:pt x="399" y="18"/>
                </a:lnTo>
                <a:lnTo>
                  <a:pt x="414" y="21"/>
                </a:lnTo>
                <a:lnTo>
                  <a:pt x="427" y="25"/>
                </a:lnTo>
                <a:lnTo>
                  <a:pt x="440" y="30"/>
                </a:lnTo>
                <a:lnTo>
                  <a:pt x="464" y="40"/>
                </a:lnTo>
                <a:lnTo>
                  <a:pt x="486" y="53"/>
                </a:lnTo>
                <a:lnTo>
                  <a:pt x="507" y="66"/>
                </a:lnTo>
                <a:lnTo>
                  <a:pt x="526" y="79"/>
                </a:lnTo>
                <a:lnTo>
                  <a:pt x="526" y="79"/>
                </a:lnTo>
                <a:lnTo>
                  <a:pt x="534" y="73"/>
                </a:lnTo>
                <a:lnTo>
                  <a:pt x="541" y="65"/>
                </a:lnTo>
                <a:lnTo>
                  <a:pt x="549" y="57"/>
                </a:lnTo>
                <a:lnTo>
                  <a:pt x="556" y="47"/>
                </a:lnTo>
                <a:lnTo>
                  <a:pt x="562" y="36"/>
                </a:lnTo>
                <a:lnTo>
                  <a:pt x="568" y="26"/>
                </a:lnTo>
                <a:lnTo>
                  <a:pt x="572" y="14"/>
                </a:lnTo>
                <a:lnTo>
                  <a:pt x="576" y="0"/>
                </a:lnTo>
                <a:lnTo>
                  <a:pt x="624" y="0"/>
                </a:lnTo>
                <a:lnTo>
                  <a:pt x="624" y="380"/>
                </a:lnTo>
                <a:lnTo>
                  <a:pt x="575" y="380"/>
                </a:lnTo>
                <a:lnTo>
                  <a:pt x="575" y="380"/>
                </a:lnTo>
                <a:lnTo>
                  <a:pt x="572" y="354"/>
                </a:lnTo>
                <a:lnTo>
                  <a:pt x="568" y="328"/>
                </a:lnTo>
                <a:lnTo>
                  <a:pt x="563" y="301"/>
                </a:lnTo>
                <a:lnTo>
                  <a:pt x="556" y="275"/>
                </a:lnTo>
                <a:lnTo>
                  <a:pt x="549" y="250"/>
                </a:lnTo>
                <a:lnTo>
                  <a:pt x="538" y="225"/>
                </a:lnTo>
                <a:lnTo>
                  <a:pt x="527" y="203"/>
                </a:lnTo>
                <a:lnTo>
                  <a:pt x="514" y="180"/>
                </a:lnTo>
                <a:lnTo>
                  <a:pt x="507" y="170"/>
                </a:lnTo>
                <a:lnTo>
                  <a:pt x="498" y="160"/>
                </a:lnTo>
                <a:lnTo>
                  <a:pt x="490" y="151"/>
                </a:lnTo>
                <a:lnTo>
                  <a:pt x="481" y="142"/>
                </a:lnTo>
                <a:lnTo>
                  <a:pt x="472" y="133"/>
                </a:lnTo>
                <a:lnTo>
                  <a:pt x="462" y="125"/>
                </a:lnTo>
                <a:lnTo>
                  <a:pt x="451" y="118"/>
                </a:lnTo>
                <a:lnTo>
                  <a:pt x="440" y="112"/>
                </a:lnTo>
                <a:lnTo>
                  <a:pt x="428" y="106"/>
                </a:lnTo>
                <a:lnTo>
                  <a:pt x="416" y="101"/>
                </a:lnTo>
                <a:lnTo>
                  <a:pt x="402" y="96"/>
                </a:lnTo>
                <a:lnTo>
                  <a:pt x="388" y="91"/>
                </a:lnTo>
                <a:lnTo>
                  <a:pt x="374" y="88"/>
                </a:lnTo>
                <a:lnTo>
                  <a:pt x="358" y="86"/>
                </a:lnTo>
                <a:lnTo>
                  <a:pt x="343" y="85"/>
                </a:lnTo>
                <a:lnTo>
                  <a:pt x="327" y="84"/>
                </a:lnTo>
                <a:lnTo>
                  <a:pt x="327" y="84"/>
                </a:lnTo>
                <a:lnTo>
                  <a:pt x="313" y="85"/>
                </a:lnTo>
                <a:lnTo>
                  <a:pt x="300" y="87"/>
                </a:lnTo>
                <a:lnTo>
                  <a:pt x="287" y="90"/>
                </a:lnTo>
                <a:lnTo>
                  <a:pt x="275" y="95"/>
                </a:lnTo>
                <a:lnTo>
                  <a:pt x="262" y="100"/>
                </a:lnTo>
                <a:lnTo>
                  <a:pt x="251" y="106"/>
                </a:lnTo>
                <a:lnTo>
                  <a:pt x="240" y="113"/>
                </a:lnTo>
                <a:lnTo>
                  <a:pt x="230" y="121"/>
                </a:lnTo>
                <a:lnTo>
                  <a:pt x="220" y="131"/>
                </a:lnTo>
                <a:lnTo>
                  <a:pt x="212" y="142"/>
                </a:lnTo>
                <a:lnTo>
                  <a:pt x="205" y="153"/>
                </a:lnTo>
                <a:lnTo>
                  <a:pt x="199" y="165"/>
                </a:lnTo>
                <a:lnTo>
                  <a:pt x="194" y="178"/>
                </a:lnTo>
                <a:lnTo>
                  <a:pt x="190" y="192"/>
                </a:lnTo>
                <a:lnTo>
                  <a:pt x="188" y="207"/>
                </a:lnTo>
                <a:lnTo>
                  <a:pt x="187" y="222"/>
                </a:lnTo>
                <a:lnTo>
                  <a:pt x="187" y="222"/>
                </a:lnTo>
                <a:lnTo>
                  <a:pt x="187" y="233"/>
                </a:lnTo>
                <a:lnTo>
                  <a:pt x="189" y="244"/>
                </a:lnTo>
                <a:lnTo>
                  <a:pt x="192" y="254"/>
                </a:lnTo>
                <a:lnTo>
                  <a:pt x="195" y="265"/>
                </a:lnTo>
                <a:lnTo>
                  <a:pt x="200" y="278"/>
                </a:lnTo>
                <a:lnTo>
                  <a:pt x="206" y="289"/>
                </a:lnTo>
                <a:lnTo>
                  <a:pt x="213" y="301"/>
                </a:lnTo>
                <a:lnTo>
                  <a:pt x="221" y="312"/>
                </a:lnTo>
                <a:lnTo>
                  <a:pt x="231" y="325"/>
                </a:lnTo>
                <a:lnTo>
                  <a:pt x="241" y="336"/>
                </a:lnTo>
                <a:lnTo>
                  <a:pt x="252" y="348"/>
                </a:lnTo>
                <a:lnTo>
                  <a:pt x="264" y="359"/>
                </a:lnTo>
                <a:lnTo>
                  <a:pt x="278" y="370"/>
                </a:lnTo>
                <a:lnTo>
                  <a:pt x="292" y="380"/>
                </a:lnTo>
                <a:lnTo>
                  <a:pt x="308" y="390"/>
                </a:lnTo>
                <a:lnTo>
                  <a:pt x="325" y="399"/>
                </a:lnTo>
                <a:lnTo>
                  <a:pt x="490" y="483"/>
                </a:lnTo>
                <a:lnTo>
                  <a:pt x="490" y="483"/>
                </a:lnTo>
                <a:lnTo>
                  <a:pt x="513" y="495"/>
                </a:lnTo>
                <a:lnTo>
                  <a:pt x="535" y="510"/>
                </a:lnTo>
                <a:lnTo>
                  <a:pt x="556" y="524"/>
                </a:lnTo>
                <a:lnTo>
                  <a:pt x="576" y="538"/>
                </a:lnTo>
                <a:lnTo>
                  <a:pt x="596" y="555"/>
                </a:lnTo>
                <a:lnTo>
                  <a:pt x="614" y="572"/>
                </a:lnTo>
                <a:lnTo>
                  <a:pt x="631" y="590"/>
                </a:lnTo>
                <a:lnTo>
                  <a:pt x="648" y="609"/>
                </a:lnTo>
                <a:lnTo>
                  <a:pt x="662" y="628"/>
                </a:lnTo>
                <a:lnTo>
                  <a:pt x="674" y="649"/>
                </a:lnTo>
                <a:lnTo>
                  <a:pt x="686" y="670"/>
                </a:lnTo>
                <a:lnTo>
                  <a:pt x="695" y="693"/>
                </a:lnTo>
                <a:lnTo>
                  <a:pt x="703" y="715"/>
                </a:lnTo>
                <a:lnTo>
                  <a:pt x="708" y="739"/>
                </a:lnTo>
                <a:lnTo>
                  <a:pt x="711" y="763"/>
                </a:lnTo>
                <a:lnTo>
                  <a:pt x="712" y="789"/>
                </a:lnTo>
                <a:lnTo>
                  <a:pt x="712" y="789"/>
                </a:lnTo>
                <a:lnTo>
                  <a:pt x="712" y="806"/>
                </a:lnTo>
                <a:lnTo>
                  <a:pt x="711" y="824"/>
                </a:lnTo>
                <a:lnTo>
                  <a:pt x="708" y="840"/>
                </a:lnTo>
                <a:lnTo>
                  <a:pt x="705" y="856"/>
                </a:lnTo>
                <a:lnTo>
                  <a:pt x="701" y="872"/>
                </a:lnTo>
                <a:lnTo>
                  <a:pt x="696" y="887"/>
                </a:lnTo>
                <a:lnTo>
                  <a:pt x="691" y="902"/>
                </a:lnTo>
                <a:lnTo>
                  <a:pt x="684" y="917"/>
                </a:lnTo>
                <a:lnTo>
                  <a:pt x="676" y="931"/>
                </a:lnTo>
                <a:lnTo>
                  <a:pt x="669" y="945"/>
                </a:lnTo>
                <a:lnTo>
                  <a:pt x="660" y="957"/>
                </a:lnTo>
                <a:lnTo>
                  <a:pt x="651" y="971"/>
                </a:lnTo>
                <a:lnTo>
                  <a:pt x="641" y="983"/>
                </a:lnTo>
                <a:lnTo>
                  <a:pt x="630" y="994"/>
                </a:lnTo>
                <a:lnTo>
                  <a:pt x="619" y="1005"/>
                </a:lnTo>
                <a:lnTo>
                  <a:pt x="608" y="1016"/>
                </a:lnTo>
                <a:lnTo>
                  <a:pt x="596" y="1026"/>
                </a:lnTo>
                <a:lnTo>
                  <a:pt x="582" y="1035"/>
                </a:lnTo>
                <a:lnTo>
                  <a:pt x="570" y="1044"/>
                </a:lnTo>
                <a:lnTo>
                  <a:pt x="556" y="1053"/>
                </a:lnTo>
                <a:lnTo>
                  <a:pt x="542" y="1061"/>
                </a:lnTo>
                <a:lnTo>
                  <a:pt x="528" y="1068"/>
                </a:lnTo>
                <a:lnTo>
                  <a:pt x="513" y="1074"/>
                </a:lnTo>
                <a:lnTo>
                  <a:pt x="498" y="1080"/>
                </a:lnTo>
                <a:lnTo>
                  <a:pt x="483" y="1085"/>
                </a:lnTo>
                <a:lnTo>
                  <a:pt x="467" y="1089"/>
                </a:lnTo>
                <a:lnTo>
                  <a:pt x="451" y="1093"/>
                </a:lnTo>
                <a:lnTo>
                  <a:pt x="435" y="1096"/>
                </a:lnTo>
                <a:lnTo>
                  <a:pt x="419" y="1100"/>
                </a:lnTo>
                <a:lnTo>
                  <a:pt x="402" y="1101"/>
                </a:lnTo>
                <a:lnTo>
                  <a:pt x="386" y="1103"/>
                </a:lnTo>
                <a:lnTo>
                  <a:pt x="370" y="1103"/>
                </a:lnTo>
                <a:lnTo>
                  <a:pt x="370" y="1103"/>
                </a:lnTo>
                <a:lnTo>
                  <a:pt x="345" y="1102"/>
                </a:lnTo>
                <a:lnTo>
                  <a:pt x="323" y="1100"/>
                </a:lnTo>
                <a:lnTo>
                  <a:pt x="300" y="1096"/>
                </a:lnTo>
                <a:lnTo>
                  <a:pt x="280" y="1091"/>
                </a:lnTo>
                <a:lnTo>
                  <a:pt x="260" y="1086"/>
                </a:lnTo>
                <a:lnTo>
                  <a:pt x="241" y="1080"/>
                </a:lnTo>
                <a:lnTo>
                  <a:pt x="223" y="1073"/>
                </a:lnTo>
                <a:lnTo>
                  <a:pt x="206" y="1067"/>
                </a:lnTo>
                <a:lnTo>
                  <a:pt x="175" y="1053"/>
                </a:lnTo>
                <a:lnTo>
                  <a:pt x="147" y="1039"/>
                </a:lnTo>
                <a:lnTo>
                  <a:pt x="122" y="1028"/>
                </a:lnTo>
                <a:lnTo>
                  <a:pt x="111" y="1024"/>
                </a:lnTo>
                <a:lnTo>
                  <a:pt x="101" y="1022"/>
                </a:lnTo>
                <a:lnTo>
                  <a:pt x="101" y="1022"/>
                </a:lnTo>
                <a:lnTo>
                  <a:pt x="93" y="1028"/>
                </a:lnTo>
                <a:lnTo>
                  <a:pt x="85" y="1036"/>
                </a:lnTo>
                <a:lnTo>
                  <a:pt x="77" y="1044"/>
                </a:lnTo>
                <a:lnTo>
                  <a:pt x="71" y="1055"/>
                </a:lnTo>
                <a:lnTo>
                  <a:pt x="64" y="1065"/>
                </a:lnTo>
                <a:lnTo>
                  <a:pt x="59" y="1076"/>
                </a:lnTo>
                <a:lnTo>
                  <a:pt x="54" y="1089"/>
                </a:lnTo>
                <a:lnTo>
                  <a:pt x="51" y="1103"/>
                </a:lnTo>
                <a:lnTo>
                  <a:pt x="51" y="1103"/>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fi-FI" sz="1800"/>
          </a:p>
        </p:txBody>
      </p:sp>
      <p:sp>
        <p:nvSpPr>
          <p:cNvPr id="66" name="Freeform 17">
            <a:extLst>
              <a:ext uri="{FF2B5EF4-FFF2-40B4-BE49-F238E27FC236}">
                <a16:creationId xmlns:a16="http://schemas.microsoft.com/office/drawing/2014/main" id="{66C73EC7-6D1D-844B-A699-5AF0D250FD86}"/>
              </a:ext>
            </a:extLst>
          </p:cNvPr>
          <p:cNvSpPr>
            <a:spLocks/>
          </p:cNvSpPr>
          <p:nvPr userDrawn="1"/>
        </p:nvSpPr>
        <p:spPr bwMode="auto">
          <a:xfrm>
            <a:off x="3455989" y="893764"/>
            <a:ext cx="142875" cy="136525"/>
          </a:xfrm>
          <a:custGeom>
            <a:avLst/>
            <a:gdLst>
              <a:gd name="T0" fmla="*/ 1028 w 1078"/>
              <a:gd name="T1" fmla="*/ 244 h 1035"/>
              <a:gd name="T2" fmla="*/ 1020 w 1078"/>
              <a:gd name="T3" fmla="*/ 209 h 1035"/>
              <a:gd name="T4" fmla="*/ 1006 w 1078"/>
              <a:gd name="T5" fmla="*/ 163 h 1035"/>
              <a:gd name="T6" fmla="*/ 995 w 1078"/>
              <a:gd name="T7" fmla="*/ 138 h 1035"/>
              <a:gd name="T8" fmla="*/ 980 w 1078"/>
              <a:gd name="T9" fmla="*/ 118 h 1035"/>
              <a:gd name="T10" fmla="*/ 959 w 1078"/>
              <a:gd name="T11" fmla="*/ 101 h 1035"/>
              <a:gd name="T12" fmla="*/ 932 w 1078"/>
              <a:gd name="T13" fmla="*/ 90 h 1035"/>
              <a:gd name="T14" fmla="*/ 895 w 1078"/>
              <a:gd name="T15" fmla="*/ 82 h 1035"/>
              <a:gd name="T16" fmla="*/ 848 w 1078"/>
              <a:gd name="T17" fmla="*/ 78 h 1035"/>
              <a:gd name="T18" fmla="*/ 646 w 1078"/>
              <a:gd name="T19" fmla="*/ 78 h 1035"/>
              <a:gd name="T20" fmla="*/ 646 w 1078"/>
              <a:gd name="T21" fmla="*/ 783 h 1035"/>
              <a:gd name="T22" fmla="*/ 648 w 1078"/>
              <a:gd name="T23" fmla="*/ 842 h 1035"/>
              <a:gd name="T24" fmla="*/ 652 w 1078"/>
              <a:gd name="T25" fmla="*/ 888 h 1035"/>
              <a:gd name="T26" fmla="*/ 662 w 1078"/>
              <a:gd name="T27" fmla="*/ 923 h 1035"/>
              <a:gd name="T28" fmla="*/ 672 w 1078"/>
              <a:gd name="T29" fmla="*/ 943 h 1035"/>
              <a:gd name="T30" fmla="*/ 680 w 1078"/>
              <a:gd name="T31" fmla="*/ 954 h 1035"/>
              <a:gd name="T32" fmla="*/ 691 w 1078"/>
              <a:gd name="T33" fmla="*/ 963 h 1035"/>
              <a:gd name="T34" fmla="*/ 711 w 1078"/>
              <a:gd name="T35" fmla="*/ 973 h 1035"/>
              <a:gd name="T36" fmla="*/ 743 w 1078"/>
              <a:gd name="T37" fmla="*/ 982 h 1035"/>
              <a:gd name="T38" fmla="*/ 787 w 1078"/>
              <a:gd name="T39" fmla="*/ 985 h 1035"/>
              <a:gd name="T40" fmla="*/ 812 w 1078"/>
              <a:gd name="T41" fmla="*/ 1035 h 1035"/>
              <a:gd name="T42" fmla="*/ 267 w 1078"/>
              <a:gd name="T43" fmla="*/ 985 h 1035"/>
              <a:gd name="T44" fmla="*/ 293 w 1078"/>
              <a:gd name="T45" fmla="*/ 985 h 1035"/>
              <a:gd name="T46" fmla="*/ 335 w 1078"/>
              <a:gd name="T47" fmla="*/ 982 h 1035"/>
              <a:gd name="T48" fmla="*/ 369 w 1078"/>
              <a:gd name="T49" fmla="*/ 973 h 1035"/>
              <a:gd name="T50" fmla="*/ 388 w 1078"/>
              <a:gd name="T51" fmla="*/ 963 h 1035"/>
              <a:gd name="T52" fmla="*/ 399 w 1078"/>
              <a:gd name="T53" fmla="*/ 954 h 1035"/>
              <a:gd name="T54" fmla="*/ 407 w 1078"/>
              <a:gd name="T55" fmla="*/ 943 h 1035"/>
              <a:gd name="T56" fmla="*/ 417 w 1078"/>
              <a:gd name="T57" fmla="*/ 923 h 1035"/>
              <a:gd name="T58" fmla="*/ 425 w 1078"/>
              <a:gd name="T59" fmla="*/ 888 h 1035"/>
              <a:gd name="T60" fmla="*/ 430 w 1078"/>
              <a:gd name="T61" fmla="*/ 842 h 1035"/>
              <a:gd name="T62" fmla="*/ 432 w 1078"/>
              <a:gd name="T63" fmla="*/ 783 h 1035"/>
              <a:gd name="T64" fmla="*/ 259 w 1078"/>
              <a:gd name="T65" fmla="*/ 78 h 1035"/>
              <a:gd name="T66" fmla="*/ 231 w 1078"/>
              <a:gd name="T67" fmla="*/ 78 h 1035"/>
              <a:gd name="T68" fmla="*/ 184 w 1078"/>
              <a:gd name="T69" fmla="*/ 82 h 1035"/>
              <a:gd name="T70" fmla="*/ 147 w 1078"/>
              <a:gd name="T71" fmla="*/ 90 h 1035"/>
              <a:gd name="T72" fmla="*/ 120 w 1078"/>
              <a:gd name="T73" fmla="*/ 101 h 1035"/>
              <a:gd name="T74" fmla="*/ 99 w 1078"/>
              <a:gd name="T75" fmla="*/ 118 h 1035"/>
              <a:gd name="T76" fmla="*/ 85 w 1078"/>
              <a:gd name="T77" fmla="*/ 138 h 1035"/>
              <a:gd name="T78" fmla="*/ 74 w 1078"/>
              <a:gd name="T79" fmla="*/ 163 h 1035"/>
              <a:gd name="T80" fmla="*/ 60 w 1078"/>
              <a:gd name="T81" fmla="*/ 209 h 1035"/>
              <a:gd name="T82" fmla="*/ 0 w 1078"/>
              <a:gd name="T83" fmla="*/ 244 h 1035"/>
              <a:gd name="T84" fmla="*/ 1065 w 1078"/>
              <a:gd name="T85" fmla="*/ 0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8" h="1035">
                <a:moveTo>
                  <a:pt x="1078" y="244"/>
                </a:moveTo>
                <a:lnTo>
                  <a:pt x="1028" y="244"/>
                </a:lnTo>
                <a:lnTo>
                  <a:pt x="1020" y="209"/>
                </a:lnTo>
                <a:lnTo>
                  <a:pt x="1020" y="209"/>
                </a:lnTo>
                <a:lnTo>
                  <a:pt x="1011" y="177"/>
                </a:lnTo>
                <a:lnTo>
                  <a:pt x="1006" y="163"/>
                </a:lnTo>
                <a:lnTo>
                  <a:pt x="1001" y="150"/>
                </a:lnTo>
                <a:lnTo>
                  <a:pt x="995" y="138"/>
                </a:lnTo>
                <a:lnTo>
                  <a:pt x="988" y="127"/>
                </a:lnTo>
                <a:lnTo>
                  <a:pt x="980" y="118"/>
                </a:lnTo>
                <a:lnTo>
                  <a:pt x="970" y="109"/>
                </a:lnTo>
                <a:lnTo>
                  <a:pt x="959" y="101"/>
                </a:lnTo>
                <a:lnTo>
                  <a:pt x="947" y="95"/>
                </a:lnTo>
                <a:lnTo>
                  <a:pt x="932" y="90"/>
                </a:lnTo>
                <a:lnTo>
                  <a:pt x="914" y="85"/>
                </a:lnTo>
                <a:lnTo>
                  <a:pt x="895" y="82"/>
                </a:lnTo>
                <a:lnTo>
                  <a:pt x="872" y="80"/>
                </a:lnTo>
                <a:lnTo>
                  <a:pt x="848" y="78"/>
                </a:lnTo>
                <a:lnTo>
                  <a:pt x="819" y="78"/>
                </a:lnTo>
                <a:lnTo>
                  <a:pt x="646" y="78"/>
                </a:lnTo>
                <a:lnTo>
                  <a:pt x="646" y="783"/>
                </a:lnTo>
                <a:lnTo>
                  <a:pt x="646" y="783"/>
                </a:lnTo>
                <a:lnTo>
                  <a:pt x="647" y="814"/>
                </a:lnTo>
                <a:lnTo>
                  <a:pt x="648" y="842"/>
                </a:lnTo>
                <a:lnTo>
                  <a:pt x="649" y="866"/>
                </a:lnTo>
                <a:lnTo>
                  <a:pt x="652" y="888"/>
                </a:lnTo>
                <a:lnTo>
                  <a:pt x="657" y="906"/>
                </a:lnTo>
                <a:lnTo>
                  <a:pt x="662" y="923"/>
                </a:lnTo>
                <a:lnTo>
                  <a:pt x="668" y="937"/>
                </a:lnTo>
                <a:lnTo>
                  <a:pt x="672" y="943"/>
                </a:lnTo>
                <a:lnTo>
                  <a:pt x="676" y="949"/>
                </a:lnTo>
                <a:lnTo>
                  <a:pt x="680" y="954"/>
                </a:lnTo>
                <a:lnTo>
                  <a:pt x="685" y="958"/>
                </a:lnTo>
                <a:lnTo>
                  <a:pt x="691" y="963"/>
                </a:lnTo>
                <a:lnTo>
                  <a:pt x="697" y="966"/>
                </a:lnTo>
                <a:lnTo>
                  <a:pt x="711" y="973"/>
                </a:lnTo>
                <a:lnTo>
                  <a:pt x="726" y="978"/>
                </a:lnTo>
                <a:lnTo>
                  <a:pt x="743" y="982"/>
                </a:lnTo>
                <a:lnTo>
                  <a:pt x="764" y="984"/>
                </a:lnTo>
                <a:lnTo>
                  <a:pt x="787" y="985"/>
                </a:lnTo>
                <a:lnTo>
                  <a:pt x="812" y="985"/>
                </a:lnTo>
                <a:lnTo>
                  <a:pt x="812" y="1035"/>
                </a:lnTo>
                <a:lnTo>
                  <a:pt x="267" y="1035"/>
                </a:lnTo>
                <a:lnTo>
                  <a:pt x="267" y="985"/>
                </a:lnTo>
                <a:lnTo>
                  <a:pt x="267" y="985"/>
                </a:lnTo>
                <a:lnTo>
                  <a:pt x="293" y="985"/>
                </a:lnTo>
                <a:lnTo>
                  <a:pt x="315" y="984"/>
                </a:lnTo>
                <a:lnTo>
                  <a:pt x="335" y="982"/>
                </a:lnTo>
                <a:lnTo>
                  <a:pt x="353" y="978"/>
                </a:lnTo>
                <a:lnTo>
                  <a:pt x="369" y="973"/>
                </a:lnTo>
                <a:lnTo>
                  <a:pt x="383" y="966"/>
                </a:lnTo>
                <a:lnTo>
                  <a:pt x="388" y="963"/>
                </a:lnTo>
                <a:lnTo>
                  <a:pt x="394" y="958"/>
                </a:lnTo>
                <a:lnTo>
                  <a:pt x="399" y="954"/>
                </a:lnTo>
                <a:lnTo>
                  <a:pt x="403" y="949"/>
                </a:lnTo>
                <a:lnTo>
                  <a:pt x="407" y="943"/>
                </a:lnTo>
                <a:lnTo>
                  <a:pt x="411" y="937"/>
                </a:lnTo>
                <a:lnTo>
                  <a:pt x="417" y="923"/>
                </a:lnTo>
                <a:lnTo>
                  <a:pt x="422" y="906"/>
                </a:lnTo>
                <a:lnTo>
                  <a:pt x="425" y="888"/>
                </a:lnTo>
                <a:lnTo>
                  <a:pt x="429" y="866"/>
                </a:lnTo>
                <a:lnTo>
                  <a:pt x="430" y="842"/>
                </a:lnTo>
                <a:lnTo>
                  <a:pt x="431" y="814"/>
                </a:lnTo>
                <a:lnTo>
                  <a:pt x="432" y="783"/>
                </a:lnTo>
                <a:lnTo>
                  <a:pt x="432" y="78"/>
                </a:lnTo>
                <a:lnTo>
                  <a:pt x="259" y="78"/>
                </a:lnTo>
                <a:lnTo>
                  <a:pt x="259" y="78"/>
                </a:lnTo>
                <a:lnTo>
                  <a:pt x="231" y="78"/>
                </a:lnTo>
                <a:lnTo>
                  <a:pt x="206" y="80"/>
                </a:lnTo>
                <a:lnTo>
                  <a:pt x="184" y="82"/>
                </a:lnTo>
                <a:lnTo>
                  <a:pt x="165" y="85"/>
                </a:lnTo>
                <a:lnTo>
                  <a:pt x="147" y="90"/>
                </a:lnTo>
                <a:lnTo>
                  <a:pt x="133" y="95"/>
                </a:lnTo>
                <a:lnTo>
                  <a:pt x="120" y="101"/>
                </a:lnTo>
                <a:lnTo>
                  <a:pt x="110" y="109"/>
                </a:lnTo>
                <a:lnTo>
                  <a:pt x="99" y="118"/>
                </a:lnTo>
                <a:lnTo>
                  <a:pt x="91" y="127"/>
                </a:lnTo>
                <a:lnTo>
                  <a:pt x="85" y="138"/>
                </a:lnTo>
                <a:lnTo>
                  <a:pt x="79" y="150"/>
                </a:lnTo>
                <a:lnTo>
                  <a:pt x="74" y="163"/>
                </a:lnTo>
                <a:lnTo>
                  <a:pt x="69" y="177"/>
                </a:lnTo>
                <a:lnTo>
                  <a:pt x="60" y="209"/>
                </a:lnTo>
                <a:lnTo>
                  <a:pt x="51" y="244"/>
                </a:lnTo>
                <a:lnTo>
                  <a:pt x="0" y="244"/>
                </a:lnTo>
                <a:lnTo>
                  <a:pt x="15" y="0"/>
                </a:lnTo>
                <a:lnTo>
                  <a:pt x="1065" y="0"/>
                </a:lnTo>
                <a:lnTo>
                  <a:pt x="1078" y="24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fi-FI" sz="1800"/>
          </a:p>
        </p:txBody>
      </p:sp>
      <p:sp>
        <p:nvSpPr>
          <p:cNvPr id="67" name="Freeform 18">
            <a:extLst>
              <a:ext uri="{FF2B5EF4-FFF2-40B4-BE49-F238E27FC236}">
                <a16:creationId xmlns:a16="http://schemas.microsoft.com/office/drawing/2014/main" id="{C59FF6E7-70B2-104B-BA19-464BCC297FEA}"/>
              </a:ext>
            </a:extLst>
          </p:cNvPr>
          <p:cNvSpPr>
            <a:spLocks noEditPoints="1"/>
          </p:cNvSpPr>
          <p:nvPr userDrawn="1"/>
        </p:nvSpPr>
        <p:spPr bwMode="auto">
          <a:xfrm>
            <a:off x="3627438" y="890589"/>
            <a:ext cx="152400" cy="144463"/>
          </a:xfrm>
          <a:custGeom>
            <a:avLst/>
            <a:gdLst>
              <a:gd name="T0" fmla="*/ 487 w 1150"/>
              <a:gd name="T1" fmla="*/ 1087 h 1094"/>
              <a:gd name="T2" fmla="*/ 351 w 1150"/>
              <a:gd name="T3" fmla="*/ 1051 h 1094"/>
              <a:gd name="T4" fmla="*/ 231 w 1150"/>
              <a:gd name="T5" fmla="*/ 984 h 1094"/>
              <a:gd name="T6" fmla="*/ 131 w 1150"/>
              <a:gd name="T7" fmla="*/ 894 h 1094"/>
              <a:gd name="T8" fmla="*/ 56 w 1150"/>
              <a:gd name="T9" fmla="*/ 783 h 1094"/>
              <a:gd name="T10" fmla="*/ 11 w 1150"/>
              <a:gd name="T11" fmla="*/ 656 h 1094"/>
              <a:gd name="T12" fmla="*/ 0 w 1150"/>
              <a:gd name="T13" fmla="*/ 547 h 1094"/>
              <a:gd name="T14" fmla="*/ 17 w 1150"/>
              <a:gd name="T15" fmla="*/ 411 h 1094"/>
              <a:gd name="T16" fmla="*/ 69 w 1150"/>
              <a:gd name="T17" fmla="*/ 287 h 1094"/>
              <a:gd name="T18" fmla="*/ 149 w 1150"/>
              <a:gd name="T19" fmla="*/ 180 h 1094"/>
              <a:gd name="T20" fmla="*/ 253 w 1150"/>
              <a:gd name="T21" fmla="*/ 94 h 1094"/>
              <a:gd name="T22" fmla="*/ 378 w 1150"/>
              <a:gd name="T23" fmla="*/ 33 h 1094"/>
              <a:gd name="T24" fmla="*/ 517 w 1150"/>
              <a:gd name="T25" fmla="*/ 3 h 1094"/>
              <a:gd name="T26" fmla="*/ 634 w 1150"/>
              <a:gd name="T27" fmla="*/ 3 h 1094"/>
              <a:gd name="T28" fmla="*/ 773 w 1150"/>
              <a:gd name="T29" fmla="*/ 33 h 1094"/>
              <a:gd name="T30" fmla="*/ 895 w 1150"/>
              <a:gd name="T31" fmla="*/ 94 h 1094"/>
              <a:gd name="T32" fmla="*/ 1000 w 1150"/>
              <a:gd name="T33" fmla="*/ 180 h 1094"/>
              <a:gd name="T34" fmla="*/ 1080 w 1150"/>
              <a:gd name="T35" fmla="*/ 287 h 1094"/>
              <a:gd name="T36" fmla="*/ 1132 w 1150"/>
              <a:gd name="T37" fmla="*/ 411 h 1094"/>
              <a:gd name="T38" fmla="*/ 1150 w 1150"/>
              <a:gd name="T39" fmla="*/ 547 h 1094"/>
              <a:gd name="T40" fmla="*/ 1138 w 1150"/>
              <a:gd name="T41" fmla="*/ 656 h 1094"/>
              <a:gd name="T42" fmla="*/ 1093 w 1150"/>
              <a:gd name="T43" fmla="*/ 783 h 1094"/>
              <a:gd name="T44" fmla="*/ 1018 w 1150"/>
              <a:gd name="T45" fmla="*/ 894 h 1094"/>
              <a:gd name="T46" fmla="*/ 919 w 1150"/>
              <a:gd name="T47" fmla="*/ 984 h 1094"/>
              <a:gd name="T48" fmla="*/ 798 w 1150"/>
              <a:gd name="T49" fmla="*/ 1051 h 1094"/>
              <a:gd name="T50" fmla="*/ 662 w 1150"/>
              <a:gd name="T51" fmla="*/ 1087 h 1094"/>
              <a:gd name="T52" fmla="*/ 575 w 1150"/>
              <a:gd name="T53" fmla="*/ 82 h 1094"/>
              <a:gd name="T54" fmla="*/ 490 w 1150"/>
              <a:gd name="T55" fmla="*/ 94 h 1094"/>
              <a:gd name="T56" fmla="*/ 403 w 1150"/>
              <a:gd name="T57" fmla="*/ 137 h 1094"/>
              <a:gd name="T58" fmla="*/ 334 w 1150"/>
              <a:gd name="T59" fmla="*/ 204 h 1094"/>
              <a:gd name="T60" fmla="*/ 284 w 1150"/>
              <a:gd name="T61" fmla="*/ 290 h 1094"/>
              <a:gd name="T62" fmla="*/ 251 w 1150"/>
              <a:gd name="T63" fmla="*/ 386 h 1094"/>
              <a:gd name="T64" fmla="*/ 233 w 1150"/>
              <a:gd name="T65" fmla="*/ 507 h 1094"/>
              <a:gd name="T66" fmla="*/ 240 w 1150"/>
              <a:gd name="T67" fmla="*/ 647 h 1094"/>
              <a:gd name="T68" fmla="*/ 262 w 1150"/>
              <a:gd name="T69" fmla="*/ 747 h 1094"/>
              <a:gd name="T70" fmla="*/ 302 w 1150"/>
              <a:gd name="T71" fmla="*/ 840 h 1094"/>
              <a:gd name="T72" fmla="*/ 360 w 1150"/>
              <a:gd name="T73" fmla="*/ 919 h 1094"/>
              <a:gd name="T74" fmla="*/ 435 w 1150"/>
              <a:gd name="T75" fmla="*/ 977 h 1094"/>
              <a:gd name="T76" fmla="*/ 531 w 1150"/>
              <a:gd name="T77" fmla="*/ 1008 h 1094"/>
              <a:gd name="T78" fmla="*/ 619 w 1150"/>
              <a:gd name="T79" fmla="*/ 1008 h 1094"/>
              <a:gd name="T80" fmla="*/ 715 w 1150"/>
              <a:gd name="T81" fmla="*/ 977 h 1094"/>
              <a:gd name="T82" fmla="*/ 791 w 1150"/>
              <a:gd name="T83" fmla="*/ 919 h 1094"/>
              <a:gd name="T84" fmla="*/ 848 w 1150"/>
              <a:gd name="T85" fmla="*/ 840 h 1094"/>
              <a:gd name="T86" fmla="*/ 888 w 1150"/>
              <a:gd name="T87" fmla="*/ 747 h 1094"/>
              <a:gd name="T88" fmla="*/ 911 w 1150"/>
              <a:gd name="T89" fmla="*/ 647 h 1094"/>
              <a:gd name="T90" fmla="*/ 918 w 1150"/>
              <a:gd name="T91" fmla="*/ 507 h 1094"/>
              <a:gd name="T92" fmla="*/ 899 w 1150"/>
              <a:gd name="T93" fmla="*/ 386 h 1094"/>
              <a:gd name="T94" fmla="*/ 867 w 1150"/>
              <a:gd name="T95" fmla="*/ 290 h 1094"/>
              <a:gd name="T96" fmla="*/ 816 w 1150"/>
              <a:gd name="T97" fmla="*/ 204 h 1094"/>
              <a:gd name="T98" fmla="*/ 747 w 1150"/>
              <a:gd name="T99" fmla="*/ 137 h 1094"/>
              <a:gd name="T100" fmla="*/ 660 w 1150"/>
              <a:gd name="T101" fmla="*/ 94 h 1094"/>
              <a:gd name="T102" fmla="*/ 575 w 1150"/>
              <a:gd name="T103" fmla="*/ 82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50" h="1094">
                <a:moveTo>
                  <a:pt x="575" y="1094"/>
                </a:moveTo>
                <a:lnTo>
                  <a:pt x="575" y="1094"/>
                </a:lnTo>
                <a:lnTo>
                  <a:pt x="546" y="1093"/>
                </a:lnTo>
                <a:lnTo>
                  <a:pt x="517" y="1091"/>
                </a:lnTo>
                <a:lnTo>
                  <a:pt x="487" y="1087"/>
                </a:lnTo>
                <a:lnTo>
                  <a:pt x="460" y="1082"/>
                </a:lnTo>
                <a:lnTo>
                  <a:pt x="431" y="1076"/>
                </a:lnTo>
                <a:lnTo>
                  <a:pt x="405" y="1069"/>
                </a:lnTo>
                <a:lnTo>
                  <a:pt x="378" y="1060"/>
                </a:lnTo>
                <a:lnTo>
                  <a:pt x="351" y="1051"/>
                </a:lnTo>
                <a:lnTo>
                  <a:pt x="326" y="1039"/>
                </a:lnTo>
                <a:lnTo>
                  <a:pt x="301" y="1027"/>
                </a:lnTo>
                <a:lnTo>
                  <a:pt x="277" y="1014"/>
                </a:lnTo>
                <a:lnTo>
                  <a:pt x="253" y="1000"/>
                </a:lnTo>
                <a:lnTo>
                  <a:pt x="231" y="984"/>
                </a:lnTo>
                <a:lnTo>
                  <a:pt x="209" y="968"/>
                </a:lnTo>
                <a:lnTo>
                  <a:pt x="188" y="950"/>
                </a:lnTo>
                <a:lnTo>
                  <a:pt x="168" y="933"/>
                </a:lnTo>
                <a:lnTo>
                  <a:pt x="149" y="914"/>
                </a:lnTo>
                <a:lnTo>
                  <a:pt x="131" y="894"/>
                </a:lnTo>
                <a:lnTo>
                  <a:pt x="114" y="873"/>
                </a:lnTo>
                <a:lnTo>
                  <a:pt x="98" y="851"/>
                </a:lnTo>
                <a:lnTo>
                  <a:pt x="82" y="830"/>
                </a:lnTo>
                <a:lnTo>
                  <a:pt x="69" y="806"/>
                </a:lnTo>
                <a:lnTo>
                  <a:pt x="56" y="783"/>
                </a:lnTo>
                <a:lnTo>
                  <a:pt x="45" y="758"/>
                </a:lnTo>
                <a:lnTo>
                  <a:pt x="34" y="734"/>
                </a:lnTo>
                <a:lnTo>
                  <a:pt x="25" y="708"/>
                </a:lnTo>
                <a:lnTo>
                  <a:pt x="17" y="683"/>
                </a:lnTo>
                <a:lnTo>
                  <a:pt x="11" y="656"/>
                </a:lnTo>
                <a:lnTo>
                  <a:pt x="6" y="629"/>
                </a:lnTo>
                <a:lnTo>
                  <a:pt x="2" y="602"/>
                </a:lnTo>
                <a:lnTo>
                  <a:pt x="0" y="574"/>
                </a:lnTo>
                <a:lnTo>
                  <a:pt x="0" y="547"/>
                </a:lnTo>
                <a:lnTo>
                  <a:pt x="0" y="547"/>
                </a:lnTo>
                <a:lnTo>
                  <a:pt x="0" y="519"/>
                </a:lnTo>
                <a:lnTo>
                  <a:pt x="2" y="491"/>
                </a:lnTo>
                <a:lnTo>
                  <a:pt x="6" y="464"/>
                </a:lnTo>
                <a:lnTo>
                  <a:pt x="11" y="437"/>
                </a:lnTo>
                <a:lnTo>
                  <a:pt x="17" y="411"/>
                </a:lnTo>
                <a:lnTo>
                  <a:pt x="25" y="385"/>
                </a:lnTo>
                <a:lnTo>
                  <a:pt x="34" y="360"/>
                </a:lnTo>
                <a:lnTo>
                  <a:pt x="45" y="335"/>
                </a:lnTo>
                <a:lnTo>
                  <a:pt x="56" y="310"/>
                </a:lnTo>
                <a:lnTo>
                  <a:pt x="69" y="287"/>
                </a:lnTo>
                <a:lnTo>
                  <a:pt x="82" y="264"/>
                </a:lnTo>
                <a:lnTo>
                  <a:pt x="98" y="242"/>
                </a:lnTo>
                <a:lnTo>
                  <a:pt x="114" y="220"/>
                </a:lnTo>
                <a:lnTo>
                  <a:pt x="131" y="200"/>
                </a:lnTo>
                <a:lnTo>
                  <a:pt x="149" y="180"/>
                </a:lnTo>
                <a:lnTo>
                  <a:pt x="168" y="161"/>
                </a:lnTo>
                <a:lnTo>
                  <a:pt x="188" y="143"/>
                </a:lnTo>
                <a:lnTo>
                  <a:pt x="209" y="125"/>
                </a:lnTo>
                <a:lnTo>
                  <a:pt x="231" y="109"/>
                </a:lnTo>
                <a:lnTo>
                  <a:pt x="253" y="94"/>
                </a:lnTo>
                <a:lnTo>
                  <a:pt x="277" y="79"/>
                </a:lnTo>
                <a:lnTo>
                  <a:pt x="301" y="66"/>
                </a:lnTo>
                <a:lnTo>
                  <a:pt x="326" y="54"/>
                </a:lnTo>
                <a:lnTo>
                  <a:pt x="351" y="44"/>
                </a:lnTo>
                <a:lnTo>
                  <a:pt x="378" y="33"/>
                </a:lnTo>
                <a:lnTo>
                  <a:pt x="405" y="24"/>
                </a:lnTo>
                <a:lnTo>
                  <a:pt x="431" y="17"/>
                </a:lnTo>
                <a:lnTo>
                  <a:pt x="460" y="11"/>
                </a:lnTo>
                <a:lnTo>
                  <a:pt x="487" y="6"/>
                </a:lnTo>
                <a:lnTo>
                  <a:pt x="517" y="3"/>
                </a:lnTo>
                <a:lnTo>
                  <a:pt x="546" y="1"/>
                </a:lnTo>
                <a:lnTo>
                  <a:pt x="575" y="0"/>
                </a:lnTo>
                <a:lnTo>
                  <a:pt x="575" y="0"/>
                </a:lnTo>
                <a:lnTo>
                  <a:pt x="605" y="1"/>
                </a:lnTo>
                <a:lnTo>
                  <a:pt x="634" y="3"/>
                </a:lnTo>
                <a:lnTo>
                  <a:pt x="662" y="6"/>
                </a:lnTo>
                <a:lnTo>
                  <a:pt x="691" y="11"/>
                </a:lnTo>
                <a:lnTo>
                  <a:pt x="719" y="17"/>
                </a:lnTo>
                <a:lnTo>
                  <a:pt x="746" y="24"/>
                </a:lnTo>
                <a:lnTo>
                  <a:pt x="773" y="33"/>
                </a:lnTo>
                <a:lnTo>
                  <a:pt x="798" y="44"/>
                </a:lnTo>
                <a:lnTo>
                  <a:pt x="824" y="54"/>
                </a:lnTo>
                <a:lnTo>
                  <a:pt x="848" y="66"/>
                </a:lnTo>
                <a:lnTo>
                  <a:pt x="873" y="79"/>
                </a:lnTo>
                <a:lnTo>
                  <a:pt x="895" y="94"/>
                </a:lnTo>
                <a:lnTo>
                  <a:pt x="919" y="109"/>
                </a:lnTo>
                <a:lnTo>
                  <a:pt x="940" y="125"/>
                </a:lnTo>
                <a:lnTo>
                  <a:pt x="961" y="143"/>
                </a:lnTo>
                <a:lnTo>
                  <a:pt x="981" y="161"/>
                </a:lnTo>
                <a:lnTo>
                  <a:pt x="1000" y="180"/>
                </a:lnTo>
                <a:lnTo>
                  <a:pt x="1018" y="200"/>
                </a:lnTo>
                <a:lnTo>
                  <a:pt x="1035" y="220"/>
                </a:lnTo>
                <a:lnTo>
                  <a:pt x="1052" y="242"/>
                </a:lnTo>
                <a:lnTo>
                  <a:pt x="1066" y="264"/>
                </a:lnTo>
                <a:lnTo>
                  <a:pt x="1080" y="287"/>
                </a:lnTo>
                <a:lnTo>
                  <a:pt x="1093" y="310"/>
                </a:lnTo>
                <a:lnTo>
                  <a:pt x="1104" y="335"/>
                </a:lnTo>
                <a:lnTo>
                  <a:pt x="1115" y="360"/>
                </a:lnTo>
                <a:lnTo>
                  <a:pt x="1123" y="385"/>
                </a:lnTo>
                <a:lnTo>
                  <a:pt x="1132" y="411"/>
                </a:lnTo>
                <a:lnTo>
                  <a:pt x="1138" y="437"/>
                </a:lnTo>
                <a:lnTo>
                  <a:pt x="1143" y="464"/>
                </a:lnTo>
                <a:lnTo>
                  <a:pt x="1147" y="491"/>
                </a:lnTo>
                <a:lnTo>
                  <a:pt x="1149" y="519"/>
                </a:lnTo>
                <a:lnTo>
                  <a:pt x="1150" y="547"/>
                </a:lnTo>
                <a:lnTo>
                  <a:pt x="1150" y="547"/>
                </a:lnTo>
                <a:lnTo>
                  <a:pt x="1149" y="574"/>
                </a:lnTo>
                <a:lnTo>
                  <a:pt x="1147" y="602"/>
                </a:lnTo>
                <a:lnTo>
                  <a:pt x="1143" y="629"/>
                </a:lnTo>
                <a:lnTo>
                  <a:pt x="1138" y="656"/>
                </a:lnTo>
                <a:lnTo>
                  <a:pt x="1132" y="683"/>
                </a:lnTo>
                <a:lnTo>
                  <a:pt x="1123" y="708"/>
                </a:lnTo>
                <a:lnTo>
                  <a:pt x="1115" y="734"/>
                </a:lnTo>
                <a:lnTo>
                  <a:pt x="1104" y="758"/>
                </a:lnTo>
                <a:lnTo>
                  <a:pt x="1093" y="783"/>
                </a:lnTo>
                <a:lnTo>
                  <a:pt x="1080" y="806"/>
                </a:lnTo>
                <a:lnTo>
                  <a:pt x="1066" y="830"/>
                </a:lnTo>
                <a:lnTo>
                  <a:pt x="1052" y="851"/>
                </a:lnTo>
                <a:lnTo>
                  <a:pt x="1035" y="873"/>
                </a:lnTo>
                <a:lnTo>
                  <a:pt x="1018" y="894"/>
                </a:lnTo>
                <a:lnTo>
                  <a:pt x="1000" y="914"/>
                </a:lnTo>
                <a:lnTo>
                  <a:pt x="981" y="933"/>
                </a:lnTo>
                <a:lnTo>
                  <a:pt x="961" y="950"/>
                </a:lnTo>
                <a:lnTo>
                  <a:pt x="940" y="968"/>
                </a:lnTo>
                <a:lnTo>
                  <a:pt x="919" y="984"/>
                </a:lnTo>
                <a:lnTo>
                  <a:pt x="895" y="1000"/>
                </a:lnTo>
                <a:lnTo>
                  <a:pt x="873" y="1014"/>
                </a:lnTo>
                <a:lnTo>
                  <a:pt x="848" y="1027"/>
                </a:lnTo>
                <a:lnTo>
                  <a:pt x="824" y="1039"/>
                </a:lnTo>
                <a:lnTo>
                  <a:pt x="798" y="1051"/>
                </a:lnTo>
                <a:lnTo>
                  <a:pt x="773" y="1060"/>
                </a:lnTo>
                <a:lnTo>
                  <a:pt x="746" y="1069"/>
                </a:lnTo>
                <a:lnTo>
                  <a:pt x="719" y="1076"/>
                </a:lnTo>
                <a:lnTo>
                  <a:pt x="691" y="1082"/>
                </a:lnTo>
                <a:lnTo>
                  <a:pt x="662" y="1087"/>
                </a:lnTo>
                <a:lnTo>
                  <a:pt x="634" y="1091"/>
                </a:lnTo>
                <a:lnTo>
                  <a:pt x="605" y="1093"/>
                </a:lnTo>
                <a:lnTo>
                  <a:pt x="575" y="1094"/>
                </a:lnTo>
                <a:lnTo>
                  <a:pt x="575" y="1094"/>
                </a:lnTo>
                <a:close/>
                <a:moveTo>
                  <a:pt x="575" y="82"/>
                </a:moveTo>
                <a:lnTo>
                  <a:pt x="575" y="82"/>
                </a:lnTo>
                <a:lnTo>
                  <a:pt x="553" y="83"/>
                </a:lnTo>
                <a:lnTo>
                  <a:pt x="531" y="86"/>
                </a:lnTo>
                <a:lnTo>
                  <a:pt x="510" y="90"/>
                </a:lnTo>
                <a:lnTo>
                  <a:pt x="490" y="94"/>
                </a:lnTo>
                <a:lnTo>
                  <a:pt x="471" y="100"/>
                </a:lnTo>
                <a:lnTo>
                  <a:pt x="453" y="108"/>
                </a:lnTo>
                <a:lnTo>
                  <a:pt x="435" y="116"/>
                </a:lnTo>
                <a:lnTo>
                  <a:pt x="419" y="125"/>
                </a:lnTo>
                <a:lnTo>
                  <a:pt x="403" y="137"/>
                </a:lnTo>
                <a:lnTo>
                  <a:pt x="387" y="148"/>
                </a:lnTo>
                <a:lnTo>
                  <a:pt x="373" y="161"/>
                </a:lnTo>
                <a:lnTo>
                  <a:pt x="360" y="174"/>
                </a:lnTo>
                <a:lnTo>
                  <a:pt x="346" y="189"/>
                </a:lnTo>
                <a:lnTo>
                  <a:pt x="334" y="204"/>
                </a:lnTo>
                <a:lnTo>
                  <a:pt x="323" y="219"/>
                </a:lnTo>
                <a:lnTo>
                  <a:pt x="312" y="237"/>
                </a:lnTo>
                <a:lnTo>
                  <a:pt x="302" y="253"/>
                </a:lnTo>
                <a:lnTo>
                  <a:pt x="292" y="272"/>
                </a:lnTo>
                <a:lnTo>
                  <a:pt x="284" y="290"/>
                </a:lnTo>
                <a:lnTo>
                  <a:pt x="276" y="308"/>
                </a:lnTo>
                <a:lnTo>
                  <a:pt x="269" y="327"/>
                </a:lnTo>
                <a:lnTo>
                  <a:pt x="262" y="346"/>
                </a:lnTo>
                <a:lnTo>
                  <a:pt x="256" y="367"/>
                </a:lnTo>
                <a:lnTo>
                  <a:pt x="251" y="386"/>
                </a:lnTo>
                <a:lnTo>
                  <a:pt x="247" y="407"/>
                </a:lnTo>
                <a:lnTo>
                  <a:pt x="243" y="426"/>
                </a:lnTo>
                <a:lnTo>
                  <a:pt x="240" y="446"/>
                </a:lnTo>
                <a:lnTo>
                  <a:pt x="237" y="467"/>
                </a:lnTo>
                <a:lnTo>
                  <a:pt x="233" y="507"/>
                </a:lnTo>
                <a:lnTo>
                  <a:pt x="232" y="547"/>
                </a:lnTo>
                <a:lnTo>
                  <a:pt x="232" y="547"/>
                </a:lnTo>
                <a:lnTo>
                  <a:pt x="233" y="587"/>
                </a:lnTo>
                <a:lnTo>
                  <a:pt x="237" y="626"/>
                </a:lnTo>
                <a:lnTo>
                  <a:pt x="240" y="647"/>
                </a:lnTo>
                <a:lnTo>
                  <a:pt x="243" y="667"/>
                </a:lnTo>
                <a:lnTo>
                  <a:pt x="247" y="687"/>
                </a:lnTo>
                <a:lnTo>
                  <a:pt x="251" y="707"/>
                </a:lnTo>
                <a:lnTo>
                  <a:pt x="256" y="728"/>
                </a:lnTo>
                <a:lnTo>
                  <a:pt x="262" y="747"/>
                </a:lnTo>
                <a:lnTo>
                  <a:pt x="269" y="766"/>
                </a:lnTo>
                <a:lnTo>
                  <a:pt x="276" y="785"/>
                </a:lnTo>
                <a:lnTo>
                  <a:pt x="284" y="804"/>
                </a:lnTo>
                <a:lnTo>
                  <a:pt x="292" y="822"/>
                </a:lnTo>
                <a:lnTo>
                  <a:pt x="302" y="840"/>
                </a:lnTo>
                <a:lnTo>
                  <a:pt x="312" y="857"/>
                </a:lnTo>
                <a:lnTo>
                  <a:pt x="323" y="874"/>
                </a:lnTo>
                <a:lnTo>
                  <a:pt x="334" y="889"/>
                </a:lnTo>
                <a:lnTo>
                  <a:pt x="346" y="904"/>
                </a:lnTo>
                <a:lnTo>
                  <a:pt x="360" y="919"/>
                </a:lnTo>
                <a:lnTo>
                  <a:pt x="373" y="932"/>
                </a:lnTo>
                <a:lnTo>
                  <a:pt x="387" y="945"/>
                </a:lnTo>
                <a:lnTo>
                  <a:pt x="403" y="957"/>
                </a:lnTo>
                <a:lnTo>
                  <a:pt x="419" y="968"/>
                </a:lnTo>
                <a:lnTo>
                  <a:pt x="435" y="977"/>
                </a:lnTo>
                <a:lnTo>
                  <a:pt x="453" y="986"/>
                </a:lnTo>
                <a:lnTo>
                  <a:pt x="471" y="993"/>
                </a:lnTo>
                <a:lnTo>
                  <a:pt x="490" y="1000"/>
                </a:lnTo>
                <a:lnTo>
                  <a:pt x="510" y="1005"/>
                </a:lnTo>
                <a:lnTo>
                  <a:pt x="531" y="1008"/>
                </a:lnTo>
                <a:lnTo>
                  <a:pt x="553" y="1010"/>
                </a:lnTo>
                <a:lnTo>
                  <a:pt x="575" y="1011"/>
                </a:lnTo>
                <a:lnTo>
                  <a:pt x="575" y="1011"/>
                </a:lnTo>
                <a:lnTo>
                  <a:pt x="598" y="1010"/>
                </a:lnTo>
                <a:lnTo>
                  <a:pt x="619" y="1008"/>
                </a:lnTo>
                <a:lnTo>
                  <a:pt x="640" y="1005"/>
                </a:lnTo>
                <a:lnTo>
                  <a:pt x="660" y="1000"/>
                </a:lnTo>
                <a:lnTo>
                  <a:pt x="679" y="993"/>
                </a:lnTo>
                <a:lnTo>
                  <a:pt x="697" y="986"/>
                </a:lnTo>
                <a:lnTo>
                  <a:pt x="715" y="977"/>
                </a:lnTo>
                <a:lnTo>
                  <a:pt x="732" y="968"/>
                </a:lnTo>
                <a:lnTo>
                  <a:pt x="747" y="957"/>
                </a:lnTo>
                <a:lnTo>
                  <a:pt x="762" y="945"/>
                </a:lnTo>
                <a:lnTo>
                  <a:pt x="777" y="932"/>
                </a:lnTo>
                <a:lnTo>
                  <a:pt x="791" y="919"/>
                </a:lnTo>
                <a:lnTo>
                  <a:pt x="803" y="904"/>
                </a:lnTo>
                <a:lnTo>
                  <a:pt x="816" y="889"/>
                </a:lnTo>
                <a:lnTo>
                  <a:pt x="828" y="874"/>
                </a:lnTo>
                <a:lnTo>
                  <a:pt x="838" y="857"/>
                </a:lnTo>
                <a:lnTo>
                  <a:pt x="848" y="840"/>
                </a:lnTo>
                <a:lnTo>
                  <a:pt x="858" y="822"/>
                </a:lnTo>
                <a:lnTo>
                  <a:pt x="867" y="804"/>
                </a:lnTo>
                <a:lnTo>
                  <a:pt x="874" y="785"/>
                </a:lnTo>
                <a:lnTo>
                  <a:pt x="881" y="766"/>
                </a:lnTo>
                <a:lnTo>
                  <a:pt x="888" y="747"/>
                </a:lnTo>
                <a:lnTo>
                  <a:pt x="894" y="728"/>
                </a:lnTo>
                <a:lnTo>
                  <a:pt x="899" y="707"/>
                </a:lnTo>
                <a:lnTo>
                  <a:pt x="904" y="687"/>
                </a:lnTo>
                <a:lnTo>
                  <a:pt x="908" y="667"/>
                </a:lnTo>
                <a:lnTo>
                  <a:pt x="911" y="647"/>
                </a:lnTo>
                <a:lnTo>
                  <a:pt x="914" y="626"/>
                </a:lnTo>
                <a:lnTo>
                  <a:pt x="918" y="587"/>
                </a:lnTo>
                <a:lnTo>
                  <a:pt x="919" y="547"/>
                </a:lnTo>
                <a:lnTo>
                  <a:pt x="919" y="547"/>
                </a:lnTo>
                <a:lnTo>
                  <a:pt x="918" y="507"/>
                </a:lnTo>
                <a:lnTo>
                  <a:pt x="914" y="467"/>
                </a:lnTo>
                <a:lnTo>
                  <a:pt x="911" y="446"/>
                </a:lnTo>
                <a:lnTo>
                  <a:pt x="908" y="426"/>
                </a:lnTo>
                <a:lnTo>
                  <a:pt x="904" y="407"/>
                </a:lnTo>
                <a:lnTo>
                  <a:pt x="899" y="386"/>
                </a:lnTo>
                <a:lnTo>
                  <a:pt x="894" y="367"/>
                </a:lnTo>
                <a:lnTo>
                  <a:pt x="888" y="346"/>
                </a:lnTo>
                <a:lnTo>
                  <a:pt x="881" y="327"/>
                </a:lnTo>
                <a:lnTo>
                  <a:pt x="874" y="308"/>
                </a:lnTo>
                <a:lnTo>
                  <a:pt x="867" y="290"/>
                </a:lnTo>
                <a:lnTo>
                  <a:pt x="858" y="272"/>
                </a:lnTo>
                <a:lnTo>
                  <a:pt x="848" y="253"/>
                </a:lnTo>
                <a:lnTo>
                  <a:pt x="838" y="237"/>
                </a:lnTo>
                <a:lnTo>
                  <a:pt x="828" y="219"/>
                </a:lnTo>
                <a:lnTo>
                  <a:pt x="816" y="204"/>
                </a:lnTo>
                <a:lnTo>
                  <a:pt x="803" y="189"/>
                </a:lnTo>
                <a:lnTo>
                  <a:pt x="791" y="174"/>
                </a:lnTo>
                <a:lnTo>
                  <a:pt x="777" y="161"/>
                </a:lnTo>
                <a:lnTo>
                  <a:pt x="762" y="148"/>
                </a:lnTo>
                <a:lnTo>
                  <a:pt x="747" y="137"/>
                </a:lnTo>
                <a:lnTo>
                  <a:pt x="732" y="125"/>
                </a:lnTo>
                <a:lnTo>
                  <a:pt x="715" y="116"/>
                </a:lnTo>
                <a:lnTo>
                  <a:pt x="697" y="108"/>
                </a:lnTo>
                <a:lnTo>
                  <a:pt x="679" y="100"/>
                </a:lnTo>
                <a:lnTo>
                  <a:pt x="660" y="94"/>
                </a:lnTo>
                <a:lnTo>
                  <a:pt x="640" y="90"/>
                </a:lnTo>
                <a:lnTo>
                  <a:pt x="619" y="86"/>
                </a:lnTo>
                <a:lnTo>
                  <a:pt x="598" y="83"/>
                </a:lnTo>
                <a:lnTo>
                  <a:pt x="575" y="82"/>
                </a:lnTo>
                <a:lnTo>
                  <a:pt x="575" y="8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fi-FI" sz="1800"/>
          </a:p>
        </p:txBody>
      </p:sp>
      <p:sp>
        <p:nvSpPr>
          <p:cNvPr id="68" name="Freeform 19">
            <a:extLst>
              <a:ext uri="{FF2B5EF4-FFF2-40B4-BE49-F238E27FC236}">
                <a16:creationId xmlns:a16="http://schemas.microsoft.com/office/drawing/2014/main" id="{54877859-8FA6-8348-BA35-6A9AE7383771}"/>
              </a:ext>
            </a:extLst>
          </p:cNvPr>
          <p:cNvSpPr>
            <a:spLocks/>
          </p:cNvSpPr>
          <p:nvPr userDrawn="1"/>
        </p:nvSpPr>
        <p:spPr bwMode="auto">
          <a:xfrm>
            <a:off x="1552576" y="1154114"/>
            <a:ext cx="90488" cy="144463"/>
          </a:xfrm>
          <a:custGeom>
            <a:avLst/>
            <a:gdLst>
              <a:gd name="T0" fmla="*/ 38 w 683"/>
              <a:gd name="T1" fmla="*/ 752 h 1102"/>
              <a:gd name="T2" fmla="*/ 64 w 683"/>
              <a:gd name="T3" fmla="*/ 849 h 1102"/>
              <a:gd name="T4" fmla="*/ 104 w 683"/>
              <a:gd name="T5" fmla="*/ 921 h 1102"/>
              <a:gd name="T6" fmla="*/ 171 w 683"/>
              <a:gd name="T7" fmla="*/ 985 h 1102"/>
              <a:gd name="T8" fmla="*/ 273 w 683"/>
              <a:gd name="T9" fmla="*/ 1026 h 1102"/>
              <a:gd name="T10" fmla="*/ 377 w 683"/>
              <a:gd name="T11" fmla="*/ 1032 h 1102"/>
              <a:gd name="T12" fmla="*/ 476 w 683"/>
              <a:gd name="T13" fmla="*/ 1002 h 1102"/>
              <a:gd name="T14" fmla="*/ 544 w 683"/>
              <a:gd name="T15" fmla="*/ 937 h 1102"/>
              <a:gd name="T16" fmla="*/ 570 w 683"/>
              <a:gd name="T17" fmla="*/ 844 h 1102"/>
              <a:gd name="T18" fmla="*/ 556 w 683"/>
              <a:gd name="T19" fmla="*/ 787 h 1102"/>
              <a:gd name="T20" fmla="*/ 501 w 683"/>
              <a:gd name="T21" fmla="*/ 720 h 1102"/>
              <a:gd name="T22" fmla="*/ 413 w 683"/>
              <a:gd name="T23" fmla="*/ 659 h 1102"/>
              <a:gd name="T24" fmla="*/ 168 w 683"/>
              <a:gd name="T25" fmla="*/ 529 h 1102"/>
              <a:gd name="T26" fmla="*/ 86 w 683"/>
              <a:gd name="T27" fmla="*/ 455 h 1102"/>
              <a:gd name="T28" fmla="*/ 30 w 683"/>
              <a:gd name="T29" fmla="*/ 358 h 1102"/>
              <a:gd name="T30" fmla="*/ 14 w 683"/>
              <a:gd name="T31" fmla="*/ 265 h 1102"/>
              <a:gd name="T32" fmla="*/ 23 w 683"/>
              <a:gd name="T33" fmla="*/ 201 h 1102"/>
              <a:gd name="T34" fmla="*/ 46 w 683"/>
              <a:gd name="T35" fmla="*/ 142 h 1102"/>
              <a:gd name="T36" fmla="*/ 85 w 683"/>
              <a:gd name="T37" fmla="*/ 92 h 1102"/>
              <a:gd name="T38" fmla="*/ 136 w 683"/>
              <a:gd name="T39" fmla="*/ 52 h 1102"/>
              <a:gd name="T40" fmla="*/ 199 w 683"/>
              <a:gd name="T41" fmla="*/ 24 h 1102"/>
              <a:gd name="T42" fmla="*/ 269 w 683"/>
              <a:gd name="T43" fmla="*/ 9 h 1102"/>
              <a:gd name="T44" fmla="*/ 337 w 683"/>
              <a:gd name="T45" fmla="*/ 10 h 1102"/>
              <a:gd name="T46" fmla="*/ 411 w 683"/>
              <a:gd name="T47" fmla="*/ 25 h 1102"/>
              <a:gd name="T48" fmla="*/ 511 w 683"/>
              <a:gd name="T49" fmla="*/ 79 h 1102"/>
              <a:gd name="T50" fmla="*/ 540 w 683"/>
              <a:gd name="T51" fmla="*/ 46 h 1102"/>
              <a:gd name="T52" fmla="*/ 595 w 683"/>
              <a:gd name="T53" fmla="*/ 0 h 1102"/>
              <a:gd name="T54" fmla="*/ 553 w 683"/>
              <a:gd name="T55" fmla="*/ 326 h 1102"/>
              <a:gd name="T56" fmla="*/ 512 w 683"/>
              <a:gd name="T57" fmla="*/ 200 h 1102"/>
              <a:gd name="T58" fmla="*/ 473 w 683"/>
              <a:gd name="T59" fmla="*/ 145 h 1102"/>
              <a:gd name="T60" fmla="*/ 420 w 683"/>
              <a:gd name="T61" fmla="*/ 106 h 1102"/>
              <a:gd name="T62" fmla="*/ 348 w 683"/>
              <a:gd name="T63" fmla="*/ 82 h 1102"/>
              <a:gd name="T64" fmla="*/ 277 w 683"/>
              <a:gd name="T65" fmla="*/ 78 h 1102"/>
              <a:gd name="T66" fmla="*/ 200 w 683"/>
              <a:gd name="T67" fmla="*/ 104 h 1102"/>
              <a:gd name="T68" fmla="*/ 148 w 683"/>
              <a:gd name="T69" fmla="*/ 158 h 1102"/>
              <a:gd name="T70" fmla="*/ 128 w 683"/>
              <a:gd name="T71" fmla="*/ 231 h 1102"/>
              <a:gd name="T72" fmla="*/ 139 w 683"/>
              <a:gd name="T73" fmla="*/ 292 h 1102"/>
              <a:gd name="T74" fmla="*/ 191 w 683"/>
              <a:gd name="T75" fmla="*/ 355 h 1102"/>
              <a:gd name="T76" fmla="*/ 287 w 683"/>
              <a:gd name="T77" fmla="*/ 417 h 1102"/>
              <a:gd name="T78" fmla="*/ 548 w 683"/>
              <a:gd name="T79" fmla="*/ 556 h 1102"/>
              <a:gd name="T80" fmla="*/ 631 w 683"/>
              <a:gd name="T81" fmla="*/ 633 h 1102"/>
              <a:gd name="T82" fmla="*/ 674 w 683"/>
              <a:gd name="T83" fmla="*/ 720 h 1102"/>
              <a:gd name="T84" fmla="*/ 683 w 683"/>
              <a:gd name="T85" fmla="*/ 792 h 1102"/>
              <a:gd name="T86" fmla="*/ 673 w 683"/>
              <a:gd name="T87" fmla="*/ 874 h 1102"/>
              <a:gd name="T88" fmla="*/ 643 w 683"/>
              <a:gd name="T89" fmla="*/ 947 h 1102"/>
              <a:gd name="T90" fmla="*/ 597 w 683"/>
              <a:gd name="T91" fmla="*/ 1007 h 1102"/>
              <a:gd name="T92" fmla="*/ 536 w 683"/>
              <a:gd name="T93" fmla="*/ 1053 h 1102"/>
              <a:gd name="T94" fmla="*/ 466 w 683"/>
              <a:gd name="T95" fmla="*/ 1085 h 1102"/>
              <a:gd name="T96" fmla="*/ 387 w 683"/>
              <a:gd name="T97" fmla="*/ 1100 h 1102"/>
              <a:gd name="T98" fmla="*/ 307 w 683"/>
              <a:gd name="T99" fmla="*/ 1099 h 1102"/>
              <a:gd name="T100" fmla="*/ 208 w 683"/>
              <a:gd name="T101" fmla="*/ 1073 h 1102"/>
              <a:gd name="T102" fmla="*/ 95 w 683"/>
              <a:gd name="T103" fmla="*/ 1024 h 1102"/>
              <a:gd name="T104" fmla="*/ 62 w 683"/>
              <a:gd name="T105" fmla="*/ 1044 h 1102"/>
              <a:gd name="T106" fmla="*/ 35 w 683"/>
              <a:gd name="T107" fmla="*/ 1102 h 1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83" h="1102">
                <a:moveTo>
                  <a:pt x="0" y="723"/>
                </a:moveTo>
                <a:lnTo>
                  <a:pt x="36" y="723"/>
                </a:lnTo>
                <a:lnTo>
                  <a:pt x="36" y="723"/>
                </a:lnTo>
                <a:lnTo>
                  <a:pt x="37" y="736"/>
                </a:lnTo>
                <a:lnTo>
                  <a:pt x="38" y="752"/>
                </a:lnTo>
                <a:lnTo>
                  <a:pt x="41" y="771"/>
                </a:lnTo>
                <a:lnTo>
                  <a:pt x="46" y="795"/>
                </a:lnTo>
                <a:lnTo>
                  <a:pt x="54" y="821"/>
                </a:lnTo>
                <a:lnTo>
                  <a:pt x="59" y="835"/>
                </a:lnTo>
                <a:lnTo>
                  <a:pt x="64" y="849"/>
                </a:lnTo>
                <a:lnTo>
                  <a:pt x="70" y="863"/>
                </a:lnTo>
                <a:lnTo>
                  <a:pt x="77" y="878"/>
                </a:lnTo>
                <a:lnTo>
                  <a:pt x="84" y="893"/>
                </a:lnTo>
                <a:lnTo>
                  <a:pt x="93" y="907"/>
                </a:lnTo>
                <a:lnTo>
                  <a:pt x="104" y="921"/>
                </a:lnTo>
                <a:lnTo>
                  <a:pt x="115" y="935"/>
                </a:lnTo>
                <a:lnTo>
                  <a:pt x="127" y="948"/>
                </a:lnTo>
                <a:lnTo>
                  <a:pt x="140" y="961"/>
                </a:lnTo>
                <a:lnTo>
                  <a:pt x="155" y="974"/>
                </a:lnTo>
                <a:lnTo>
                  <a:pt x="171" y="985"/>
                </a:lnTo>
                <a:lnTo>
                  <a:pt x="189" y="995"/>
                </a:lnTo>
                <a:lnTo>
                  <a:pt x="207" y="1004"/>
                </a:lnTo>
                <a:lnTo>
                  <a:pt x="227" y="1012"/>
                </a:lnTo>
                <a:lnTo>
                  <a:pt x="250" y="1020"/>
                </a:lnTo>
                <a:lnTo>
                  <a:pt x="273" y="1026"/>
                </a:lnTo>
                <a:lnTo>
                  <a:pt x="298" y="1030"/>
                </a:lnTo>
                <a:lnTo>
                  <a:pt x="326" y="1032"/>
                </a:lnTo>
                <a:lnTo>
                  <a:pt x="354" y="1033"/>
                </a:lnTo>
                <a:lnTo>
                  <a:pt x="354" y="1033"/>
                </a:lnTo>
                <a:lnTo>
                  <a:pt x="377" y="1032"/>
                </a:lnTo>
                <a:lnTo>
                  <a:pt x="398" y="1030"/>
                </a:lnTo>
                <a:lnTo>
                  <a:pt x="420" y="1025"/>
                </a:lnTo>
                <a:lnTo>
                  <a:pt x="439" y="1019"/>
                </a:lnTo>
                <a:lnTo>
                  <a:pt x="458" y="1011"/>
                </a:lnTo>
                <a:lnTo>
                  <a:pt x="476" y="1002"/>
                </a:lnTo>
                <a:lnTo>
                  <a:pt x="492" y="992"/>
                </a:lnTo>
                <a:lnTo>
                  <a:pt x="508" y="980"/>
                </a:lnTo>
                <a:lnTo>
                  <a:pt x="522" y="966"/>
                </a:lnTo>
                <a:lnTo>
                  <a:pt x="533" y="952"/>
                </a:lnTo>
                <a:lnTo>
                  <a:pt x="544" y="937"/>
                </a:lnTo>
                <a:lnTo>
                  <a:pt x="553" y="919"/>
                </a:lnTo>
                <a:lnTo>
                  <a:pt x="560" y="902"/>
                </a:lnTo>
                <a:lnTo>
                  <a:pt x="565" y="884"/>
                </a:lnTo>
                <a:lnTo>
                  <a:pt x="569" y="864"/>
                </a:lnTo>
                <a:lnTo>
                  <a:pt x="570" y="844"/>
                </a:lnTo>
                <a:lnTo>
                  <a:pt x="570" y="844"/>
                </a:lnTo>
                <a:lnTo>
                  <a:pt x="569" y="828"/>
                </a:lnTo>
                <a:lnTo>
                  <a:pt x="566" y="814"/>
                </a:lnTo>
                <a:lnTo>
                  <a:pt x="562" y="800"/>
                </a:lnTo>
                <a:lnTo>
                  <a:pt x="556" y="787"/>
                </a:lnTo>
                <a:lnTo>
                  <a:pt x="547" y="772"/>
                </a:lnTo>
                <a:lnTo>
                  <a:pt x="538" y="759"/>
                </a:lnTo>
                <a:lnTo>
                  <a:pt x="527" y="746"/>
                </a:lnTo>
                <a:lnTo>
                  <a:pt x="515" y="732"/>
                </a:lnTo>
                <a:lnTo>
                  <a:pt x="501" y="720"/>
                </a:lnTo>
                <a:lnTo>
                  <a:pt x="486" y="707"/>
                </a:lnTo>
                <a:lnTo>
                  <a:pt x="470" y="695"/>
                </a:lnTo>
                <a:lnTo>
                  <a:pt x="452" y="682"/>
                </a:lnTo>
                <a:lnTo>
                  <a:pt x="434" y="670"/>
                </a:lnTo>
                <a:lnTo>
                  <a:pt x="413" y="659"/>
                </a:lnTo>
                <a:lnTo>
                  <a:pt x="372" y="634"/>
                </a:lnTo>
                <a:lnTo>
                  <a:pt x="206" y="550"/>
                </a:lnTo>
                <a:lnTo>
                  <a:pt x="206" y="550"/>
                </a:lnTo>
                <a:lnTo>
                  <a:pt x="186" y="540"/>
                </a:lnTo>
                <a:lnTo>
                  <a:pt x="168" y="529"/>
                </a:lnTo>
                <a:lnTo>
                  <a:pt x="151" y="516"/>
                </a:lnTo>
                <a:lnTo>
                  <a:pt x="133" y="502"/>
                </a:lnTo>
                <a:lnTo>
                  <a:pt x="117" y="488"/>
                </a:lnTo>
                <a:lnTo>
                  <a:pt x="101" y="472"/>
                </a:lnTo>
                <a:lnTo>
                  <a:pt x="86" y="455"/>
                </a:lnTo>
                <a:lnTo>
                  <a:pt x="72" y="438"/>
                </a:lnTo>
                <a:lnTo>
                  <a:pt x="60" y="419"/>
                </a:lnTo>
                <a:lnTo>
                  <a:pt x="48" y="400"/>
                </a:lnTo>
                <a:lnTo>
                  <a:pt x="38" y="380"/>
                </a:lnTo>
                <a:lnTo>
                  <a:pt x="30" y="358"/>
                </a:lnTo>
                <a:lnTo>
                  <a:pt x="23" y="336"/>
                </a:lnTo>
                <a:lnTo>
                  <a:pt x="18" y="313"/>
                </a:lnTo>
                <a:lnTo>
                  <a:pt x="15" y="290"/>
                </a:lnTo>
                <a:lnTo>
                  <a:pt x="14" y="265"/>
                </a:lnTo>
                <a:lnTo>
                  <a:pt x="14" y="265"/>
                </a:lnTo>
                <a:lnTo>
                  <a:pt x="15" y="252"/>
                </a:lnTo>
                <a:lnTo>
                  <a:pt x="16" y="240"/>
                </a:lnTo>
                <a:lnTo>
                  <a:pt x="17" y="226"/>
                </a:lnTo>
                <a:lnTo>
                  <a:pt x="20" y="213"/>
                </a:lnTo>
                <a:lnTo>
                  <a:pt x="23" y="201"/>
                </a:lnTo>
                <a:lnTo>
                  <a:pt x="26" y="188"/>
                </a:lnTo>
                <a:lnTo>
                  <a:pt x="30" y="177"/>
                </a:lnTo>
                <a:lnTo>
                  <a:pt x="35" y="165"/>
                </a:lnTo>
                <a:lnTo>
                  <a:pt x="40" y="154"/>
                </a:lnTo>
                <a:lnTo>
                  <a:pt x="46" y="142"/>
                </a:lnTo>
                <a:lnTo>
                  <a:pt x="54" y="132"/>
                </a:lnTo>
                <a:lnTo>
                  <a:pt x="61" y="121"/>
                </a:lnTo>
                <a:lnTo>
                  <a:pt x="68" y="112"/>
                </a:lnTo>
                <a:lnTo>
                  <a:pt x="76" y="101"/>
                </a:lnTo>
                <a:lnTo>
                  <a:pt x="85" y="92"/>
                </a:lnTo>
                <a:lnTo>
                  <a:pt x="94" y="83"/>
                </a:lnTo>
                <a:lnTo>
                  <a:pt x="105" y="75"/>
                </a:lnTo>
                <a:lnTo>
                  <a:pt x="115" y="67"/>
                </a:lnTo>
                <a:lnTo>
                  <a:pt x="125" y="60"/>
                </a:lnTo>
                <a:lnTo>
                  <a:pt x="136" y="52"/>
                </a:lnTo>
                <a:lnTo>
                  <a:pt x="148" y="45"/>
                </a:lnTo>
                <a:lnTo>
                  <a:pt x="160" y="39"/>
                </a:lnTo>
                <a:lnTo>
                  <a:pt x="172" y="34"/>
                </a:lnTo>
                <a:lnTo>
                  <a:pt x="185" y="29"/>
                </a:lnTo>
                <a:lnTo>
                  <a:pt x="199" y="24"/>
                </a:lnTo>
                <a:lnTo>
                  <a:pt x="212" y="20"/>
                </a:lnTo>
                <a:lnTo>
                  <a:pt x="225" y="17"/>
                </a:lnTo>
                <a:lnTo>
                  <a:pt x="240" y="14"/>
                </a:lnTo>
                <a:lnTo>
                  <a:pt x="255" y="12"/>
                </a:lnTo>
                <a:lnTo>
                  <a:pt x="269" y="9"/>
                </a:lnTo>
                <a:lnTo>
                  <a:pt x="285" y="8"/>
                </a:lnTo>
                <a:lnTo>
                  <a:pt x="300" y="8"/>
                </a:lnTo>
                <a:lnTo>
                  <a:pt x="300" y="8"/>
                </a:lnTo>
                <a:lnTo>
                  <a:pt x="319" y="8"/>
                </a:lnTo>
                <a:lnTo>
                  <a:pt x="337" y="10"/>
                </a:lnTo>
                <a:lnTo>
                  <a:pt x="353" y="12"/>
                </a:lnTo>
                <a:lnTo>
                  <a:pt x="368" y="15"/>
                </a:lnTo>
                <a:lnTo>
                  <a:pt x="384" y="18"/>
                </a:lnTo>
                <a:lnTo>
                  <a:pt x="398" y="21"/>
                </a:lnTo>
                <a:lnTo>
                  <a:pt x="411" y="25"/>
                </a:lnTo>
                <a:lnTo>
                  <a:pt x="425" y="30"/>
                </a:lnTo>
                <a:lnTo>
                  <a:pt x="448" y="40"/>
                </a:lnTo>
                <a:lnTo>
                  <a:pt x="471" y="52"/>
                </a:lnTo>
                <a:lnTo>
                  <a:pt x="491" y="66"/>
                </a:lnTo>
                <a:lnTo>
                  <a:pt x="511" y="79"/>
                </a:lnTo>
                <a:lnTo>
                  <a:pt x="511" y="79"/>
                </a:lnTo>
                <a:lnTo>
                  <a:pt x="519" y="73"/>
                </a:lnTo>
                <a:lnTo>
                  <a:pt x="526" y="65"/>
                </a:lnTo>
                <a:lnTo>
                  <a:pt x="533" y="57"/>
                </a:lnTo>
                <a:lnTo>
                  <a:pt x="540" y="46"/>
                </a:lnTo>
                <a:lnTo>
                  <a:pt x="546" y="36"/>
                </a:lnTo>
                <a:lnTo>
                  <a:pt x="553" y="25"/>
                </a:lnTo>
                <a:lnTo>
                  <a:pt x="557" y="13"/>
                </a:lnTo>
                <a:lnTo>
                  <a:pt x="561" y="0"/>
                </a:lnTo>
                <a:lnTo>
                  <a:pt x="595" y="0"/>
                </a:lnTo>
                <a:lnTo>
                  <a:pt x="595" y="380"/>
                </a:lnTo>
                <a:lnTo>
                  <a:pt x="559" y="380"/>
                </a:lnTo>
                <a:lnTo>
                  <a:pt x="559" y="380"/>
                </a:lnTo>
                <a:lnTo>
                  <a:pt x="557" y="353"/>
                </a:lnTo>
                <a:lnTo>
                  <a:pt x="553" y="326"/>
                </a:lnTo>
                <a:lnTo>
                  <a:pt x="547" y="300"/>
                </a:lnTo>
                <a:lnTo>
                  <a:pt x="541" y="274"/>
                </a:lnTo>
                <a:lnTo>
                  <a:pt x="533" y="249"/>
                </a:lnTo>
                <a:lnTo>
                  <a:pt x="523" y="223"/>
                </a:lnTo>
                <a:lnTo>
                  <a:pt x="512" y="200"/>
                </a:lnTo>
                <a:lnTo>
                  <a:pt x="504" y="187"/>
                </a:lnTo>
                <a:lnTo>
                  <a:pt x="497" y="177"/>
                </a:lnTo>
                <a:lnTo>
                  <a:pt x="490" y="166"/>
                </a:lnTo>
                <a:lnTo>
                  <a:pt x="482" y="156"/>
                </a:lnTo>
                <a:lnTo>
                  <a:pt x="473" y="145"/>
                </a:lnTo>
                <a:lnTo>
                  <a:pt x="464" y="136"/>
                </a:lnTo>
                <a:lnTo>
                  <a:pt x="453" y="128"/>
                </a:lnTo>
                <a:lnTo>
                  <a:pt x="443" y="120"/>
                </a:lnTo>
                <a:lnTo>
                  <a:pt x="431" y="112"/>
                </a:lnTo>
                <a:lnTo>
                  <a:pt x="420" y="106"/>
                </a:lnTo>
                <a:lnTo>
                  <a:pt x="406" y="99"/>
                </a:lnTo>
                <a:lnTo>
                  <a:pt x="393" y="93"/>
                </a:lnTo>
                <a:lnTo>
                  <a:pt x="379" y="89"/>
                </a:lnTo>
                <a:lnTo>
                  <a:pt x="363" y="85"/>
                </a:lnTo>
                <a:lnTo>
                  <a:pt x="348" y="82"/>
                </a:lnTo>
                <a:lnTo>
                  <a:pt x="331" y="79"/>
                </a:lnTo>
                <a:lnTo>
                  <a:pt x="313" y="78"/>
                </a:lnTo>
                <a:lnTo>
                  <a:pt x="295" y="78"/>
                </a:lnTo>
                <a:lnTo>
                  <a:pt x="295" y="78"/>
                </a:lnTo>
                <a:lnTo>
                  <a:pt x="277" y="78"/>
                </a:lnTo>
                <a:lnTo>
                  <a:pt x="260" y="81"/>
                </a:lnTo>
                <a:lnTo>
                  <a:pt x="244" y="84"/>
                </a:lnTo>
                <a:lnTo>
                  <a:pt x="228" y="89"/>
                </a:lnTo>
                <a:lnTo>
                  <a:pt x="214" y="95"/>
                </a:lnTo>
                <a:lnTo>
                  <a:pt x="200" y="104"/>
                </a:lnTo>
                <a:lnTo>
                  <a:pt x="188" y="112"/>
                </a:lnTo>
                <a:lnTo>
                  <a:pt x="175" y="122"/>
                </a:lnTo>
                <a:lnTo>
                  <a:pt x="165" y="133"/>
                </a:lnTo>
                <a:lnTo>
                  <a:pt x="156" y="144"/>
                </a:lnTo>
                <a:lnTo>
                  <a:pt x="148" y="158"/>
                </a:lnTo>
                <a:lnTo>
                  <a:pt x="140" y="171"/>
                </a:lnTo>
                <a:lnTo>
                  <a:pt x="135" y="185"/>
                </a:lnTo>
                <a:lnTo>
                  <a:pt x="131" y="200"/>
                </a:lnTo>
                <a:lnTo>
                  <a:pt x="128" y="215"/>
                </a:lnTo>
                <a:lnTo>
                  <a:pt x="128" y="231"/>
                </a:lnTo>
                <a:lnTo>
                  <a:pt x="128" y="231"/>
                </a:lnTo>
                <a:lnTo>
                  <a:pt x="128" y="248"/>
                </a:lnTo>
                <a:lnTo>
                  <a:pt x="131" y="263"/>
                </a:lnTo>
                <a:lnTo>
                  <a:pt x="134" y="277"/>
                </a:lnTo>
                <a:lnTo>
                  <a:pt x="139" y="292"/>
                </a:lnTo>
                <a:lnTo>
                  <a:pt x="147" y="305"/>
                </a:lnTo>
                <a:lnTo>
                  <a:pt x="155" y="317"/>
                </a:lnTo>
                <a:lnTo>
                  <a:pt x="165" y="331"/>
                </a:lnTo>
                <a:lnTo>
                  <a:pt x="177" y="343"/>
                </a:lnTo>
                <a:lnTo>
                  <a:pt x="191" y="355"/>
                </a:lnTo>
                <a:lnTo>
                  <a:pt x="206" y="366"/>
                </a:lnTo>
                <a:lnTo>
                  <a:pt x="223" y="379"/>
                </a:lnTo>
                <a:lnTo>
                  <a:pt x="242" y="392"/>
                </a:lnTo>
                <a:lnTo>
                  <a:pt x="263" y="404"/>
                </a:lnTo>
                <a:lnTo>
                  <a:pt x="287" y="417"/>
                </a:lnTo>
                <a:lnTo>
                  <a:pt x="339" y="445"/>
                </a:lnTo>
                <a:lnTo>
                  <a:pt x="502" y="530"/>
                </a:lnTo>
                <a:lnTo>
                  <a:pt x="502" y="530"/>
                </a:lnTo>
                <a:lnTo>
                  <a:pt x="526" y="542"/>
                </a:lnTo>
                <a:lnTo>
                  <a:pt x="548" y="556"/>
                </a:lnTo>
                <a:lnTo>
                  <a:pt x="568" y="571"/>
                </a:lnTo>
                <a:lnTo>
                  <a:pt x="586" y="585"/>
                </a:lnTo>
                <a:lnTo>
                  <a:pt x="603" y="601"/>
                </a:lnTo>
                <a:lnTo>
                  <a:pt x="618" y="617"/>
                </a:lnTo>
                <a:lnTo>
                  <a:pt x="631" y="633"/>
                </a:lnTo>
                <a:lnTo>
                  <a:pt x="643" y="651"/>
                </a:lnTo>
                <a:lnTo>
                  <a:pt x="653" y="667"/>
                </a:lnTo>
                <a:lnTo>
                  <a:pt x="661" y="684"/>
                </a:lnTo>
                <a:lnTo>
                  <a:pt x="668" y="703"/>
                </a:lnTo>
                <a:lnTo>
                  <a:pt x="674" y="720"/>
                </a:lnTo>
                <a:lnTo>
                  <a:pt x="678" y="738"/>
                </a:lnTo>
                <a:lnTo>
                  <a:pt x="681" y="756"/>
                </a:lnTo>
                <a:lnTo>
                  <a:pt x="682" y="774"/>
                </a:lnTo>
                <a:lnTo>
                  <a:pt x="683" y="792"/>
                </a:lnTo>
                <a:lnTo>
                  <a:pt x="683" y="792"/>
                </a:lnTo>
                <a:lnTo>
                  <a:pt x="683" y="809"/>
                </a:lnTo>
                <a:lnTo>
                  <a:pt x="681" y="826"/>
                </a:lnTo>
                <a:lnTo>
                  <a:pt x="679" y="843"/>
                </a:lnTo>
                <a:lnTo>
                  <a:pt x="676" y="859"/>
                </a:lnTo>
                <a:lnTo>
                  <a:pt x="673" y="874"/>
                </a:lnTo>
                <a:lnTo>
                  <a:pt x="668" y="890"/>
                </a:lnTo>
                <a:lnTo>
                  <a:pt x="663" y="905"/>
                </a:lnTo>
                <a:lnTo>
                  <a:pt x="657" y="919"/>
                </a:lnTo>
                <a:lnTo>
                  <a:pt x="650" y="934"/>
                </a:lnTo>
                <a:lnTo>
                  <a:pt x="643" y="947"/>
                </a:lnTo>
                <a:lnTo>
                  <a:pt x="634" y="960"/>
                </a:lnTo>
                <a:lnTo>
                  <a:pt x="626" y="973"/>
                </a:lnTo>
                <a:lnTo>
                  <a:pt x="617" y="985"/>
                </a:lnTo>
                <a:lnTo>
                  <a:pt x="607" y="996"/>
                </a:lnTo>
                <a:lnTo>
                  <a:pt x="597" y="1007"/>
                </a:lnTo>
                <a:lnTo>
                  <a:pt x="585" y="1018"/>
                </a:lnTo>
                <a:lnTo>
                  <a:pt x="574" y="1028"/>
                </a:lnTo>
                <a:lnTo>
                  <a:pt x="562" y="1037"/>
                </a:lnTo>
                <a:lnTo>
                  <a:pt x="549" y="1045"/>
                </a:lnTo>
                <a:lnTo>
                  <a:pt x="536" y="1053"/>
                </a:lnTo>
                <a:lnTo>
                  <a:pt x="523" y="1062"/>
                </a:lnTo>
                <a:lnTo>
                  <a:pt x="509" y="1068"/>
                </a:lnTo>
                <a:lnTo>
                  <a:pt x="495" y="1075"/>
                </a:lnTo>
                <a:lnTo>
                  <a:pt x="480" y="1080"/>
                </a:lnTo>
                <a:lnTo>
                  <a:pt x="466" y="1085"/>
                </a:lnTo>
                <a:lnTo>
                  <a:pt x="450" y="1089"/>
                </a:lnTo>
                <a:lnTo>
                  <a:pt x="435" y="1093"/>
                </a:lnTo>
                <a:lnTo>
                  <a:pt x="419" y="1096"/>
                </a:lnTo>
                <a:lnTo>
                  <a:pt x="403" y="1099"/>
                </a:lnTo>
                <a:lnTo>
                  <a:pt x="387" y="1100"/>
                </a:lnTo>
                <a:lnTo>
                  <a:pt x="371" y="1101"/>
                </a:lnTo>
                <a:lnTo>
                  <a:pt x="354" y="1102"/>
                </a:lnTo>
                <a:lnTo>
                  <a:pt x="354" y="1102"/>
                </a:lnTo>
                <a:lnTo>
                  <a:pt x="330" y="1101"/>
                </a:lnTo>
                <a:lnTo>
                  <a:pt x="307" y="1099"/>
                </a:lnTo>
                <a:lnTo>
                  <a:pt x="285" y="1095"/>
                </a:lnTo>
                <a:lnTo>
                  <a:pt x="264" y="1091"/>
                </a:lnTo>
                <a:lnTo>
                  <a:pt x="245" y="1086"/>
                </a:lnTo>
                <a:lnTo>
                  <a:pt x="225" y="1080"/>
                </a:lnTo>
                <a:lnTo>
                  <a:pt x="208" y="1073"/>
                </a:lnTo>
                <a:lnTo>
                  <a:pt x="191" y="1067"/>
                </a:lnTo>
                <a:lnTo>
                  <a:pt x="160" y="1052"/>
                </a:lnTo>
                <a:lnTo>
                  <a:pt x="131" y="1039"/>
                </a:lnTo>
                <a:lnTo>
                  <a:pt x="107" y="1028"/>
                </a:lnTo>
                <a:lnTo>
                  <a:pt x="95" y="1024"/>
                </a:lnTo>
                <a:lnTo>
                  <a:pt x="85" y="1021"/>
                </a:lnTo>
                <a:lnTo>
                  <a:pt x="85" y="1021"/>
                </a:lnTo>
                <a:lnTo>
                  <a:pt x="77" y="1028"/>
                </a:lnTo>
                <a:lnTo>
                  <a:pt x="70" y="1036"/>
                </a:lnTo>
                <a:lnTo>
                  <a:pt x="62" y="1044"/>
                </a:lnTo>
                <a:lnTo>
                  <a:pt x="56" y="1053"/>
                </a:lnTo>
                <a:lnTo>
                  <a:pt x="48" y="1065"/>
                </a:lnTo>
                <a:lnTo>
                  <a:pt x="43" y="1076"/>
                </a:lnTo>
                <a:lnTo>
                  <a:pt x="38" y="1088"/>
                </a:lnTo>
                <a:lnTo>
                  <a:pt x="35" y="1102"/>
                </a:lnTo>
                <a:lnTo>
                  <a:pt x="0" y="1102"/>
                </a:lnTo>
                <a:lnTo>
                  <a:pt x="0" y="723"/>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fi-FI" sz="1800"/>
          </a:p>
        </p:txBody>
      </p:sp>
      <p:sp>
        <p:nvSpPr>
          <p:cNvPr id="69" name="Freeform 20">
            <a:extLst>
              <a:ext uri="{FF2B5EF4-FFF2-40B4-BE49-F238E27FC236}">
                <a16:creationId xmlns:a16="http://schemas.microsoft.com/office/drawing/2014/main" id="{A84706CA-E44B-774B-BAA9-508708757137}"/>
              </a:ext>
            </a:extLst>
          </p:cNvPr>
          <p:cNvSpPr>
            <a:spLocks/>
          </p:cNvSpPr>
          <p:nvPr userDrawn="1"/>
        </p:nvSpPr>
        <p:spPr bwMode="auto">
          <a:xfrm>
            <a:off x="1671638" y="1158877"/>
            <a:ext cx="141288" cy="136525"/>
          </a:xfrm>
          <a:custGeom>
            <a:avLst/>
            <a:gdLst>
              <a:gd name="T0" fmla="*/ 304 w 1077"/>
              <a:gd name="T1" fmla="*/ 999 h 1035"/>
              <a:gd name="T2" fmla="*/ 352 w 1077"/>
              <a:gd name="T3" fmla="*/ 997 h 1035"/>
              <a:gd name="T4" fmla="*/ 390 w 1077"/>
              <a:gd name="T5" fmla="*/ 991 h 1035"/>
              <a:gd name="T6" fmla="*/ 419 w 1077"/>
              <a:gd name="T7" fmla="*/ 981 h 1035"/>
              <a:gd name="T8" fmla="*/ 431 w 1077"/>
              <a:gd name="T9" fmla="*/ 972 h 1035"/>
              <a:gd name="T10" fmla="*/ 441 w 1077"/>
              <a:gd name="T11" fmla="*/ 962 h 1035"/>
              <a:gd name="T12" fmla="*/ 448 w 1077"/>
              <a:gd name="T13" fmla="*/ 951 h 1035"/>
              <a:gd name="T14" fmla="*/ 460 w 1077"/>
              <a:gd name="T15" fmla="*/ 920 h 1035"/>
              <a:gd name="T16" fmla="*/ 466 w 1077"/>
              <a:gd name="T17" fmla="*/ 879 h 1035"/>
              <a:gd name="T18" fmla="*/ 469 w 1077"/>
              <a:gd name="T19" fmla="*/ 827 h 1035"/>
              <a:gd name="T20" fmla="*/ 469 w 1077"/>
              <a:gd name="T21" fmla="*/ 68 h 1035"/>
              <a:gd name="T22" fmla="*/ 245 w 1077"/>
              <a:gd name="T23" fmla="*/ 68 h 1035"/>
              <a:gd name="T24" fmla="*/ 192 w 1077"/>
              <a:gd name="T25" fmla="*/ 69 h 1035"/>
              <a:gd name="T26" fmla="*/ 150 w 1077"/>
              <a:gd name="T27" fmla="*/ 75 h 1035"/>
              <a:gd name="T28" fmla="*/ 119 w 1077"/>
              <a:gd name="T29" fmla="*/ 85 h 1035"/>
              <a:gd name="T30" fmla="*/ 94 w 1077"/>
              <a:gd name="T31" fmla="*/ 98 h 1035"/>
              <a:gd name="T32" fmla="*/ 77 w 1077"/>
              <a:gd name="T33" fmla="*/ 117 h 1035"/>
              <a:gd name="T34" fmla="*/ 64 w 1077"/>
              <a:gd name="T35" fmla="*/ 139 h 1035"/>
              <a:gd name="T36" fmla="*/ 54 w 1077"/>
              <a:gd name="T37" fmla="*/ 167 h 1035"/>
              <a:gd name="T38" fmla="*/ 37 w 1077"/>
              <a:gd name="T39" fmla="*/ 233 h 1035"/>
              <a:gd name="T40" fmla="*/ 15 w 1077"/>
              <a:gd name="T41" fmla="*/ 0 h 1035"/>
              <a:gd name="T42" fmla="*/ 1077 w 1077"/>
              <a:gd name="T43" fmla="*/ 233 h 1035"/>
              <a:gd name="T44" fmla="*/ 1032 w 1077"/>
              <a:gd name="T45" fmla="*/ 198 h 1035"/>
              <a:gd name="T46" fmla="*/ 1023 w 1077"/>
              <a:gd name="T47" fmla="*/ 167 h 1035"/>
              <a:gd name="T48" fmla="*/ 1012 w 1077"/>
              <a:gd name="T49" fmla="*/ 139 h 1035"/>
              <a:gd name="T50" fmla="*/ 1000 w 1077"/>
              <a:gd name="T51" fmla="*/ 117 h 1035"/>
              <a:gd name="T52" fmla="*/ 983 w 1077"/>
              <a:gd name="T53" fmla="*/ 98 h 1035"/>
              <a:gd name="T54" fmla="*/ 958 w 1077"/>
              <a:gd name="T55" fmla="*/ 85 h 1035"/>
              <a:gd name="T56" fmla="*/ 926 w 1077"/>
              <a:gd name="T57" fmla="*/ 75 h 1035"/>
              <a:gd name="T58" fmla="*/ 884 w 1077"/>
              <a:gd name="T59" fmla="*/ 69 h 1035"/>
              <a:gd name="T60" fmla="*/ 831 w 1077"/>
              <a:gd name="T61" fmla="*/ 68 h 1035"/>
              <a:gd name="T62" fmla="*/ 607 w 1077"/>
              <a:gd name="T63" fmla="*/ 797 h 1035"/>
              <a:gd name="T64" fmla="*/ 607 w 1077"/>
              <a:gd name="T65" fmla="*/ 827 h 1035"/>
              <a:gd name="T66" fmla="*/ 610 w 1077"/>
              <a:gd name="T67" fmla="*/ 879 h 1035"/>
              <a:gd name="T68" fmla="*/ 617 w 1077"/>
              <a:gd name="T69" fmla="*/ 920 h 1035"/>
              <a:gd name="T70" fmla="*/ 629 w 1077"/>
              <a:gd name="T71" fmla="*/ 951 h 1035"/>
              <a:gd name="T72" fmla="*/ 636 w 1077"/>
              <a:gd name="T73" fmla="*/ 962 h 1035"/>
              <a:gd name="T74" fmla="*/ 646 w 1077"/>
              <a:gd name="T75" fmla="*/ 972 h 1035"/>
              <a:gd name="T76" fmla="*/ 657 w 1077"/>
              <a:gd name="T77" fmla="*/ 981 h 1035"/>
              <a:gd name="T78" fmla="*/ 687 w 1077"/>
              <a:gd name="T79" fmla="*/ 991 h 1035"/>
              <a:gd name="T80" fmla="*/ 725 w 1077"/>
              <a:gd name="T81" fmla="*/ 997 h 1035"/>
              <a:gd name="T82" fmla="*/ 773 w 1077"/>
              <a:gd name="T83" fmla="*/ 999 h 1035"/>
              <a:gd name="T84" fmla="*/ 304 w 1077"/>
              <a:gd name="T85" fmla="*/ 1035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7" h="1035">
                <a:moveTo>
                  <a:pt x="304" y="999"/>
                </a:moveTo>
                <a:lnTo>
                  <a:pt x="304" y="999"/>
                </a:lnTo>
                <a:lnTo>
                  <a:pt x="329" y="998"/>
                </a:lnTo>
                <a:lnTo>
                  <a:pt x="352" y="997"/>
                </a:lnTo>
                <a:lnTo>
                  <a:pt x="372" y="995"/>
                </a:lnTo>
                <a:lnTo>
                  <a:pt x="390" y="991"/>
                </a:lnTo>
                <a:lnTo>
                  <a:pt x="406" y="987"/>
                </a:lnTo>
                <a:lnTo>
                  <a:pt x="419" y="981"/>
                </a:lnTo>
                <a:lnTo>
                  <a:pt x="425" y="977"/>
                </a:lnTo>
                <a:lnTo>
                  <a:pt x="431" y="972"/>
                </a:lnTo>
                <a:lnTo>
                  <a:pt x="436" y="967"/>
                </a:lnTo>
                <a:lnTo>
                  <a:pt x="441" y="962"/>
                </a:lnTo>
                <a:lnTo>
                  <a:pt x="445" y="957"/>
                </a:lnTo>
                <a:lnTo>
                  <a:pt x="448" y="951"/>
                </a:lnTo>
                <a:lnTo>
                  <a:pt x="455" y="937"/>
                </a:lnTo>
                <a:lnTo>
                  <a:pt x="460" y="920"/>
                </a:lnTo>
                <a:lnTo>
                  <a:pt x="463" y="901"/>
                </a:lnTo>
                <a:lnTo>
                  <a:pt x="466" y="879"/>
                </a:lnTo>
                <a:lnTo>
                  <a:pt x="468" y="855"/>
                </a:lnTo>
                <a:lnTo>
                  <a:pt x="469" y="827"/>
                </a:lnTo>
                <a:lnTo>
                  <a:pt x="469" y="797"/>
                </a:lnTo>
                <a:lnTo>
                  <a:pt x="469" y="68"/>
                </a:lnTo>
                <a:lnTo>
                  <a:pt x="245" y="68"/>
                </a:lnTo>
                <a:lnTo>
                  <a:pt x="245" y="68"/>
                </a:lnTo>
                <a:lnTo>
                  <a:pt x="217" y="68"/>
                </a:lnTo>
                <a:lnTo>
                  <a:pt x="192" y="69"/>
                </a:lnTo>
                <a:lnTo>
                  <a:pt x="170" y="72"/>
                </a:lnTo>
                <a:lnTo>
                  <a:pt x="150" y="75"/>
                </a:lnTo>
                <a:lnTo>
                  <a:pt x="133" y="79"/>
                </a:lnTo>
                <a:lnTo>
                  <a:pt x="119" y="85"/>
                </a:lnTo>
                <a:lnTo>
                  <a:pt x="105" y="91"/>
                </a:lnTo>
                <a:lnTo>
                  <a:pt x="94" y="98"/>
                </a:lnTo>
                <a:lnTo>
                  <a:pt x="85" y="106"/>
                </a:lnTo>
                <a:lnTo>
                  <a:pt x="77" y="117"/>
                </a:lnTo>
                <a:lnTo>
                  <a:pt x="71" y="127"/>
                </a:lnTo>
                <a:lnTo>
                  <a:pt x="64" y="139"/>
                </a:lnTo>
                <a:lnTo>
                  <a:pt x="59" y="152"/>
                </a:lnTo>
                <a:lnTo>
                  <a:pt x="54" y="167"/>
                </a:lnTo>
                <a:lnTo>
                  <a:pt x="45" y="198"/>
                </a:lnTo>
                <a:lnTo>
                  <a:pt x="37" y="233"/>
                </a:lnTo>
                <a:lnTo>
                  <a:pt x="0" y="233"/>
                </a:lnTo>
                <a:lnTo>
                  <a:pt x="15" y="0"/>
                </a:lnTo>
                <a:lnTo>
                  <a:pt x="1061" y="0"/>
                </a:lnTo>
                <a:lnTo>
                  <a:pt x="1077" y="233"/>
                </a:lnTo>
                <a:lnTo>
                  <a:pt x="1040" y="233"/>
                </a:lnTo>
                <a:lnTo>
                  <a:pt x="1032" y="198"/>
                </a:lnTo>
                <a:lnTo>
                  <a:pt x="1032" y="198"/>
                </a:lnTo>
                <a:lnTo>
                  <a:pt x="1023" y="167"/>
                </a:lnTo>
                <a:lnTo>
                  <a:pt x="1017" y="152"/>
                </a:lnTo>
                <a:lnTo>
                  <a:pt x="1012" y="139"/>
                </a:lnTo>
                <a:lnTo>
                  <a:pt x="1006" y="127"/>
                </a:lnTo>
                <a:lnTo>
                  <a:pt x="1000" y="117"/>
                </a:lnTo>
                <a:lnTo>
                  <a:pt x="992" y="106"/>
                </a:lnTo>
                <a:lnTo>
                  <a:pt x="983" y="98"/>
                </a:lnTo>
                <a:lnTo>
                  <a:pt x="971" y="91"/>
                </a:lnTo>
                <a:lnTo>
                  <a:pt x="958" y="85"/>
                </a:lnTo>
                <a:lnTo>
                  <a:pt x="944" y="79"/>
                </a:lnTo>
                <a:lnTo>
                  <a:pt x="926" y="75"/>
                </a:lnTo>
                <a:lnTo>
                  <a:pt x="907" y="72"/>
                </a:lnTo>
                <a:lnTo>
                  <a:pt x="884" y="69"/>
                </a:lnTo>
                <a:lnTo>
                  <a:pt x="860" y="68"/>
                </a:lnTo>
                <a:lnTo>
                  <a:pt x="831" y="68"/>
                </a:lnTo>
                <a:lnTo>
                  <a:pt x="607" y="68"/>
                </a:lnTo>
                <a:lnTo>
                  <a:pt x="607" y="797"/>
                </a:lnTo>
                <a:lnTo>
                  <a:pt x="607" y="797"/>
                </a:lnTo>
                <a:lnTo>
                  <a:pt x="607" y="827"/>
                </a:lnTo>
                <a:lnTo>
                  <a:pt x="608" y="855"/>
                </a:lnTo>
                <a:lnTo>
                  <a:pt x="610" y="879"/>
                </a:lnTo>
                <a:lnTo>
                  <a:pt x="614" y="901"/>
                </a:lnTo>
                <a:lnTo>
                  <a:pt x="617" y="920"/>
                </a:lnTo>
                <a:lnTo>
                  <a:pt x="622" y="937"/>
                </a:lnTo>
                <a:lnTo>
                  <a:pt x="629" y="951"/>
                </a:lnTo>
                <a:lnTo>
                  <a:pt x="632" y="957"/>
                </a:lnTo>
                <a:lnTo>
                  <a:pt x="636" y="962"/>
                </a:lnTo>
                <a:lnTo>
                  <a:pt x="641" y="967"/>
                </a:lnTo>
                <a:lnTo>
                  <a:pt x="646" y="972"/>
                </a:lnTo>
                <a:lnTo>
                  <a:pt x="651" y="977"/>
                </a:lnTo>
                <a:lnTo>
                  <a:pt x="657" y="981"/>
                </a:lnTo>
                <a:lnTo>
                  <a:pt x="671" y="987"/>
                </a:lnTo>
                <a:lnTo>
                  <a:pt x="687" y="991"/>
                </a:lnTo>
                <a:lnTo>
                  <a:pt x="705" y="995"/>
                </a:lnTo>
                <a:lnTo>
                  <a:pt x="725" y="997"/>
                </a:lnTo>
                <a:lnTo>
                  <a:pt x="747" y="998"/>
                </a:lnTo>
                <a:lnTo>
                  <a:pt x="773" y="999"/>
                </a:lnTo>
                <a:lnTo>
                  <a:pt x="773" y="1035"/>
                </a:lnTo>
                <a:lnTo>
                  <a:pt x="304" y="1035"/>
                </a:lnTo>
                <a:lnTo>
                  <a:pt x="304" y="99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fi-FI" sz="1800"/>
          </a:p>
        </p:txBody>
      </p:sp>
      <p:sp>
        <p:nvSpPr>
          <p:cNvPr id="70" name="Freeform 21">
            <a:extLst>
              <a:ext uri="{FF2B5EF4-FFF2-40B4-BE49-F238E27FC236}">
                <a16:creationId xmlns:a16="http://schemas.microsoft.com/office/drawing/2014/main" id="{624144CE-E5A6-D842-BB2E-FE41CEB927EB}"/>
              </a:ext>
            </a:extLst>
          </p:cNvPr>
          <p:cNvSpPr>
            <a:spLocks noEditPoints="1"/>
          </p:cNvSpPr>
          <p:nvPr userDrawn="1"/>
        </p:nvSpPr>
        <p:spPr bwMode="auto">
          <a:xfrm>
            <a:off x="1811339" y="1154113"/>
            <a:ext cx="157163" cy="141288"/>
          </a:xfrm>
          <a:custGeom>
            <a:avLst/>
            <a:gdLst>
              <a:gd name="T0" fmla="*/ 0 w 1196"/>
              <a:gd name="T1" fmla="*/ 1029 h 1065"/>
              <a:gd name="T2" fmla="*/ 48 w 1196"/>
              <a:gd name="T3" fmla="*/ 1027 h 1065"/>
              <a:gd name="T4" fmla="*/ 86 w 1196"/>
              <a:gd name="T5" fmla="*/ 1022 h 1065"/>
              <a:gd name="T6" fmla="*/ 115 w 1196"/>
              <a:gd name="T7" fmla="*/ 1013 h 1065"/>
              <a:gd name="T8" fmla="*/ 137 w 1196"/>
              <a:gd name="T9" fmla="*/ 999 h 1065"/>
              <a:gd name="T10" fmla="*/ 156 w 1196"/>
              <a:gd name="T11" fmla="*/ 979 h 1065"/>
              <a:gd name="T12" fmla="*/ 172 w 1196"/>
              <a:gd name="T13" fmla="*/ 953 h 1065"/>
              <a:gd name="T14" fmla="*/ 188 w 1196"/>
              <a:gd name="T15" fmla="*/ 920 h 1065"/>
              <a:gd name="T16" fmla="*/ 586 w 1196"/>
              <a:gd name="T17" fmla="*/ 0 h 1065"/>
              <a:gd name="T18" fmla="*/ 990 w 1196"/>
              <a:gd name="T19" fmla="*/ 879 h 1065"/>
              <a:gd name="T20" fmla="*/ 1008 w 1196"/>
              <a:gd name="T21" fmla="*/ 920 h 1065"/>
              <a:gd name="T22" fmla="*/ 1025 w 1196"/>
              <a:gd name="T23" fmla="*/ 953 h 1065"/>
              <a:gd name="T24" fmla="*/ 1041 w 1196"/>
              <a:gd name="T25" fmla="*/ 979 h 1065"/>
              <a:gd name="T26" fmla="*/ 1060 w 1196"/>
              <a:gd name="T27" fmla="*/ 999 h 1065"/>
              <a:gd name="T28" fmla="*/ 1082 w 1196"/>
              <a:gd name="T29" fmla="*/ 1013 h 1065"/>
              <a:gd name="T30" fmla="*/ 1111 w 1196"/>
              <a:gd name="T31" fmla="*/ 1022 h 1065"/>
              <a:gd name="T32" fmla="*/ 1148 w 1196"/>
              <a:gd name="T33" fmla="*/ 1027 h 1065"/>
              <a:gd name="T34" fmla="*/ 1196 w 1196"/>
              <a:gd name="T35" fmla="*/ 1029 h 1065"/>
              <a:gd name="T36" fmla="*/ 717 w 1196"/>
              <a:gd name="T37" fmla="*/ 1065 h 1065"/>
              <a:gd name="T38" fmla="*/ 717 w 1196"/>
              <a:gd name="T39" fmla="*/ 1029 h 1065"/>
              <a:gd name="T40" fmla="*/ 766 w 1196"/>
              <a:gd name="T41" fmla="*/ 1027 h 1065"/>
              <a:gd name="T42" fmla="*/ 805 w 1196"/>
              <a:gd name="T43" fmla="*/ 1022 h 1065"/>
              <a:gd name="T44" fmla="*/ 834 w 1196"/>
              <a:gd name="T45" fmla="*/ 1013 h 1065"/>
              <a:gd name="T46" fmla="*/ 854 w 1196"/>
              <a:gd name="T47" fmla="*/ 998 h 1065"/>
              <a:gd name="T48" fmla="*/ 865 w 1196"/>
              <a:gd name="T49" fmla="*/ 981 h 1065"/>
              <a:gd name="T50" fmla="*/ 868 w 1196"/>
              <a:gd name="T51" fmla="*/ 958 h 1065"/>
              <a:gd name="T52" fmla="*/ 864 w 1196"/>
              <a:gd name="T53" fmla="*/ 931 h 1065"/>
              <a:gd name="T54" fmla="*/ 852 w 1196"/>
              <a:gd name="T55" fmla="*/ 897 h 1065"/>
              <a:gd name="T56" fmla="*/ 352 w 1196"/>
              <a:gd name="T57" fmla="*/ 706 h 1065"/>
              <a:gd name="T58" fmla="*/ 269 w 1196"/>
              <a:gd name="T59" fmla="*/ 897 h 1065"/>
              <a:gd name="T60" fmla="*/ 257 w 1196"/>
              <a:gd name="T61" fmla="*/ 930 h 1065"/>
              <a:gd name="T62" fmla="*/ 253 w 1196"/>
              <a:gd name="T63" fmla="*/ 957 h 1065"/>
              <a:gd name="T64" fmla="*/ 256 w 1196"/>
              <a:gd name="T65" fmla="*/ 980 h 1065"/>
              <a:gd name="T66" fmla="*/ 267 w 1196"/>
              <a:gd name="T67" fmla="*/ 998 h 1065"/>
              <a:gd name="T68" fmla="*/ 288 w 1196"/>
              <a:gd name="T69" fmla="*/ 1012 h 1065"/>
              <a:gd name="T70" fmla="*/ 316 w 1196"/>
              <a:gd name="T71" fmla="*/ 1021 h 1065"/>
              <a:gd name="T72" fmla="*/ 355 w 1196"/>
              <a:gd name="T73" fmla="*/ 1027 h 1065"/>
              <a:gd name="T74" fmla="*/ 403 w 1196"/>
              <a:gd name="T75" fmla="*/ 1029 h 1065"/>
              <a:gd name="T76" fmla="*/ 0 w 1196"/>
              <a:gd name="T77" fmla="*/ 1065 h 1065"/>
              <a:gd name="T78" fmla="*/ 740 w 1196"/>
              <a:gd name="T79" fmla="*/ 643 h 1065"/>
              <a:gd name="T80" fmla="*/ 380 w 1196"/>
              <a:gd name="T81" fmla="*/ 643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96" h="1065">
                <a:moveTo>
                  <a:pt x="0" y="1029"/>
                </a:moveTo>
                <a:lnTo>
                  <a:pt x="0" y="1029"/>
                </a:lnTo>
                <a:lnTo>
                  <a:pt x="26" y="1028"/>
                </a:lnTo>
                <a:lnTo>
                  <a:pt x="48" y="1027"/>
                </a:lnTo>
                <a:lnTo>
                  <a:pt x="68" y="1025"/>
                </a:lnTo>
                <a:lnTo>
                  <a:pt x="86" y="1022"/>
                </a:lnTo>
                <a:lnTo>
                  <a:pt x="102" y="1018"/>
                </a:lnTo>
                <a:lnTo>
                  <a:pt x="115" y="1013"/>
                </a:lnTo>
                <a:lnTo>
                  <a:pt x="127" y="1007"/>
                </a:lnTo>
                <a:lnTo>
                  <a:pt x="137" y="999"/>
                </a:lnTo>
                <a:lnTo>
                  <a:pt x="148" y="990"/>
                </a:lnTo>
                <a:lnTo>
                  <a:pt x="156" y="979"/>
                </a:lnTo>
                <a:lnTo>
                  <a:pt x="164" y="967"/>
                </a:lnTo>
                <a:lnTo>
                  <a:pt x="172" y="953"/>
                </a:lnTo>
                <a:lnTo>
                  <a:pt x="180" y="937"/>
                </a:lnTo>
                <a:lnTo>
                  <a:pt x="188" y="920"/>
                </a:lnTo>
                <a:lnTo>
                  <a:pt x="207" y="879"/>
                </a:lnTo>
                <a:lnTo>
                  <a:pt x="586" y="0"/>
                </a:lnTo>
                <a:lnTo>
                  <a:pt x="609" y="0"/>
                </a:lnTo>
                <a:lnTo>
                  <a:pt x="990" y="879"/>
                </a:lnTo>
                <a:lnTo>
                  <a:pt x="990" y="879"/>
                </a:lnTo>
                <a:lnTo>
                  <a:pt x="1008" y="920"/>
                </a:lnTo>
                <a:lnTo>
                  <a:pt x="1017" y="937"/>
                </a:lnTo>
                <a:lnTo>
                  <a:pt x="1025" y="953"/>
                </a:lnTo>
                <a:lnTo>
                  <a:pt x="1033" y="967"/>
                </a:lnTo>
                <a:lnTo>
                  <a:pt x="1041" y="979"/>
                </a:lnTo>
                <a:lnTo>
                  <a:pt x="1049" y="990"/>
                </a:lnTo>
                <a:lnTo>
                  <a:pt x="1060" y="999"/>
                </a:lnTo>
                <a:lnTo>
                  <a:pt x="1070" y="1007"/>
                </a:lnTo>
                <a:lnTo>
                  <a:pt x="1082" y="1013"/>
                </a:lnTo>
                <a:lnTo>
                  <a:pt x="1095" y="1018"/>
                </a:lnTo>
                <a:lnTo>
                  <a:pt x="1111" y="1022"/>
                </a:lnTo>
                <a:lnTo>
                  <a:pt x="1128" y="1025"/>
                </a:lnTo>
                <a:lnTo>
                  <a:pt x="1148" y="1027"/>
                </a:lnTo>
                <a:lnTo>
                  <a:pt x="1170" y="1028"/>
                </a:lnTo>
                <a:lnTo>
                  <a:pt x="1196" y="1029"/>
                </a:lnTo>
                <a:lnTo>
                  <a:pt x="1196" y="1065"/>
                </a:lnTo>
                <a:lnTo>
                  <a:pt x="717" y="1065"/>
                </a:lnTo>
                <a:lnTo>
                  <a:pt x="717" y="1029"/>
                </a:lnTo>
                <a:lnTo>
                  <a:pt x="717" y="1029"/>
                </a:lnTo>
                <a:lnTo>
                  <a:pt x="743" y="1028"/>
                </a:lnTo>
                <a:lnTo>
                  <a:pt x="766" y="1027"/>
                </a:lnTo>
                <a:lnTo>
                  <a:pt x="787" y="1025"/>
                </a:lnTo>
                <a:lnTo>
                  <a:pt x="805" y="1022"/>
                </a:lnTo>
                <a:lnTo>
                  <a:pt x="820" y="1018"/>
                </a:lnTo>
                <a:lnTo>
                  <a:pt x="834" y="1013"/>
                </a:lnTo>
                <a:lnTo>
                  <a:pt x="845" y="1006"/>
                </a:lnTo>
                <a:lnTo>
                  <a:pt x="854" y="998"/>
                </a:lnTo>
                <a:lnTo>
                  <a:pt x="861" y="990"/>
                </a:lnTo>
                <a:lnTo>
                  <a:pt x="865" y="981"/>
                </a:lnTo>
                <a:lnTo>
                  <a:pt x="868" y="970"/>
                </a:lnTo>
                <a:lnTo>
                  <a:pt x="868" y="958"/>
                </a:lnTo>
                <a:lnTo>
                  <a:pt x="867" y="945"/>
                </a:lnTo>
                <a:lnTo>
                  <a:pt x="864" y="931"/>
                </a:lnTo>
                <a:lnTo>
                  <a:pt x="859" y="915"/>
                </a:lnTo>
                <a:lnTo>
                  <a:pt x="852" y="897"/>
                </a:lnTo>
                <a:lnTo>
                  <a:pt x="769" y="706"/>
                </a:lnTo>
                <a:lnTo>
                  <a:pt x="352" y="706"/>
                </a:lnTo>
                <a:lnTo>
                  <a:pt x="269" y="897"/>
                </a:lnTo>
                <a:lnTo>
                  <a:pt x="269" y="897"/>
                </a:lnTo>
                <a:lnTo>
                  <a:pt x="262" y="915"/>
                </a:lnTo>
                <a:lnTo>
                  <a:pt x="257" y="930"/>
                </a:lnTo>
                <a:lnTo>
                  <a:pt x="254" y="944"/>
                </a:lnTo>
                <a:lnTo>
                  <a:pt x="253" y="957"/>
                </a:lnTo>
                <a:lnTo>
                  <a:pt x="253" y="969"/>
                </a:lnTo>
                <a:lnTo>
                  <a:pt x="256" y="980"/>
                </a:lnTo>
                <a:lnTo>
                  <a:pt x="260" y="989"/>
                </a:lnTo>
                <a:lnTo>
                  <a:pt x="267" y="998"/>
                </a:lnTo>
                <a:lnTo>
                  <a:pt x="276" y="1006"/>
                </a:lnTo>
                <a:lnTo>
                  <a:pt x="288" y="1012"/>
                </a:lnTo>
                <a:lnTo>
                  <a:pt x="301" y="1017"/>
                </a:lnTo>
                <a:lnTo>
                  <a:pt x="316" y="1021"/>
                </a:lnTo>
                <a:lnTo>
                  <a:pt x="335" y="1025"/>
                </a:lnTo>
                <a:lnTo>
                  <a:pt x="355" y="1027"/>
                </a:lnTo>
                <a:lnTo>
                  <a:pt x="378" y="1028"/>
                </a:lnTo>
                <a:lnTo>
                  <a:pt x="403" y="1029"/>
                </a:lnTo>
                <a:lnTo>
                  <a:pt x="403" y="1065"/>
                </a:lnTo>
                <a:lnTo>
                  <a:pt x="0" y="1065"/>
                </a:lnTo>
                <a:lnTo>
                  <a:pt x="0" y="1029"/>
                </a:lnTo>
                <a:close/>
                <a:moveTo>
                  <a:pt x="740" y="643"/>
                </a:moveTo>
                <a:lnTo>
                  <a:pt x="559" y="226"/>
                </a:lnTo>
                <a:lnTo>
                  <a:pt x="380" y="643"/>
                </a:lnTo>
                <a:lnTo>
                  <a:pt x="740" y="643"/>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fi-FI" sz="1800"/>
          </a:p>
        </p:txBody>
      </p:sp>
      <p:sp>
        <p:nvSpPr>
          <p:cNvPr id="71" name="Freeform 22">
            <a:extLst>
              <a:ext uri="{FF2B5EF4-FFF2-40B4-BE49-F238E27FC236}">
                <a16:creationId xmlns:a16="http://schemas.microsoft.com/office/drawing/2014/main" id="{A387DB3F-83D5-0A40-B69D-A25DB16F3840}"/>
              </a:ext>
            </a:extLst>
          </p:cNvPr>
          <p:cNvSpPr>
            <a:spLocks/>
          </p:cNvSpPr>
          <p:nvPr userDrawn="1"/>
        </p:nvSpPr>
        <p:spPr bwMode="auto">
          <a:xfrm>
            <a:off x="1966913" y="1158877"/>
            <a:ext cx="142875" cy="136525"/>
          </a:xfrm>
          <a:custGeom>
            <a:avLst/>
            <a:gdLst>
              <a:gd name="T0" fmla="*/ 304 w 1077"/>
              <a:gd name="T1" fmla="*/ 999 h 1035"/>
              <a:gd name="T2" fmla="*/ 353 w 1077"/>
              <a:gd name="T3" fmla="*/ 997 h 1035"/>
              <a:gd name="T4" fmla="*/ 391 w 1077"/>
              <a:gd name="T5" fmla="*/ 991 h 1035"/>
              <a:gd name="T6" fmla="*/ 420 w 1077"/>
              <a:gd name="T7" fmla="*/ 981 h 1035"/>
              <a:gd name="T8" fmla="*/ 431 w 1077"/>
              <a:gd name="T9" fmla="*/ 972 h 1035"/>
              <a:gd name="T10" fmla="*/ 441 w 1077"/>
              <a:gd name="T11" fmla="*/ 962 h 1035"/>
              <a:gd name="T12" fmla="*/ 449 w 1077"/>
              <a:gd name="T13" fmla="*/ 951 h 1035"/>
              <a:gd name="T14" fmla="*/ 461 w 1077"/>
              <a:gd name="T15" fmla="*/ 920 h 1035"/>
              <a:gd name="T16" fmla="*/ 467 w 1077"/>
              <a:gd name="T17" fmla="*/ 879 h 1035"/>
              <a:gd name="T18" fmla="*/ 470 w 1077"/>
              <a:gd name="T19" fmla="*/ 827 h 1035"/>
              <a:gd name="T20" fmla="*/ 470 w 1077"/>
              <a:gd name="T21" fmla="*/ 68 h 1035"/>
              <a:gd name="T22" fmla="*/ 246 w 1077"/>
              <a:gd name="T23" fmla="*/ 68 h 1035"/>
              <a:gd name="T24" fmla="*/ 193 w 1077"/>
              <a:gd name="T25" fmla="*/ 69 h 1035"/>
              <a:gd name="T26" fmla="*/ 151 w 1077"/>
              <a:gd name="T27" fmla="*/ 75 h 1035"/>
              <a:gd name="T28" fmla="*/ 119 w 1077"/>
              <a:gd name="T29" fmla="*/ 85 h 1035"/>
              <a:gd name="T30" fmla="*/ 95 w 1077"/>
              <a:gd name="T31" fmla="*/ 98 h 1035"/>
              <a:gd name="T32" fmla="*/ 78 w 1077"/>
              <a:gd name="T33" fmla="*/ 117 h 1035"/>
              <a:gd name="T34" fmla="*/ 65 w 1077"/>
              <a:gd name="T35" fmla="*/ 139 h 1035"/>
              <a:gd name="T36" fmla="*/ 55 w 1077"/>
              <a:gd name="T37" fmla="*/ 167 h 1035"/>
              <a:gd name="T38" fmla="*/ 37 w 1077"/>
              <a:gd name="T39" fmla="*/ 233 h 1035"/>
              <a:gd name="T40" fmla="*/ 17 w 1077"/>
              <a:gd name="T41" fmla="*/ 0 h 1035"/>
              <a:gd name="T42" fmla="*/ 1077 w 1077"/>
              <a:gd name="T43" fmla="*/ 233 h 1035"/>
              <a:gd name="T44" fmla="*/ 1032 w 1077"/>
              <a:gd name="T45" fmla="*/ 198 h 1035"/>
              <a:gd name="T46" fmla="*/ 1024 w 1077"/>
              <a:gd name="T47" fmla="*/ 167 h 1035"/>
              <a:gd name="T48" fmla="*/ 1014 w 1077"/>
              <a:gd name="T49" fmla="*/ 139 h 1035"/>
              <a:gd name="T50" fmla="*/ 1000 w 1077"/>
              <a:gd name="T51" fmla="*/ 117 h 1035"/>
              <a:gd name="T52" fmla="*/ 983 w 1077"/>
              <a:gd name="T53" fmla="*/ 98 h 1035"/>
              <a:gd name="T54" fmla="*/ 960 w 1077"/>
              <a:gd name="T55" fmla="*/ 85 h 1035"/>
              <a:gd name="T56" fmla="*/ 927 w 1077"/>
              <a:gd name="T57" fmla="*/ 75 h 1035"/>
              <a:gd name="T58" fmla="*/ 886 w 1077"/>
              <a:gd name="T59" fmla="*/ 69 h 1035"/>
              <a:gd name="T60" fmla="*/ 833 w 1077"/>
              <a:gd name="T61" fmla="*/ 68 h 1035"/>
              <a:gd name="T62" fmla="*/ 608 w 1077"/>
              <a:gd name="T63" fmla="*/ 797 h 1035"/>
              <a:gd name="T64" fmla="*/ 609 w 1077"/>
              <a:gd name="T65" fmla="*/ 827 h 1035"/>
              <a:gd name="T66" fmla="*/ 611 w 1077"/>
              <a:gd name="T67" fmla="*/ 879 h 1035"/>
              <a:gd name="T68" fmla="*/ 618 w 1077"/>
              <a:gd name="T69" fmla="*/ 920 h 1035"/>
              <a:gd name="T70" fmla="*/ 629 w 1077"/>
              <a:gd name="T71" fmla="*/ 951 h 1035"/>
              <a:gd name="T72" fmla="*/ 637 w 1077"/>
              <a:gd name="T73" fmla="*/ 962 h 1035"/>
              <a:gd name="T74" fmla="*/ 647 w 1077"/>
              <a:gd name="T75" fmla="*/ 972 h 1035"/>
              <a:gd name="T76" fmla="*/ 658 w 1077"/>
              <a:gd name="T77" fmla="*/ 981 h 1035"/>
              <a:gd name="T78" fmla="*/ 688 w 1077"/>
              <a:gd name="T79" fmla="*/ 991 h 1035"/>
              <a:gd name="T80" fmla="*/ 725 w 1077"/>
              <a:gd name="T81" fmla="*/ 997 h 1035"/>
              <a:gd name="T82" fmla="*/ 773 w 1077"/>
              <a:gd name="T83" fmla="*/ 999 h 1035"/>
              <a:gd name="T84" fmla="*/ 304 w 1077"/>
              <a:gd name="T85" fmla="*/ 1035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7" h="1035">
                <a:moveTo>
                  <a:pt x="304" y="999"/>
                </a:moveTo>
                <a:lnTo>
                  <a:pt x="304" y="999"/>
                </a:lnTo>
                <a:lnTo>
                  <a:pt x="330" y="998"/>
                </a:lnTo>
                <a:lnTo>
                  <a:pt x="353" y="997"/>
                </a:lnTo>
                <a:lnTo>
                  <a:pt x="373" y="995"/>
                </a:lnTo>
                <a:lnTo>
                  <a:pt x="391" y="991"/>
                </a:lnTo>
                <a:lnTo>
                  <a:pt x="406" y="987"/>
                </a:lnTo>
                <a:lnTo>
                  <a:pt x="420" y="981"/>
                </a:lnTo>
                <a:lnTo>
                  <a:pt x="426" y="977"/>
                </a:lnTo>
                <a:lnTo>
                  <a:pt x="431" y="972"/>
                </a:lnTo>
                <a:lnTo>
                  <a:pt x="436" y="967"/>
                </a:lnTo>
                <a:lnTo>
                  <a:pt x="441" y="962"/>
                </a:lnTo>
                <a:lnTo>
                  <a:pt x="445" y="957"/>
                </a:lnTo>
                <a:lnTo>
                  <a:pt x="449" y="951"/>
                </a:lnTo>
                <a:lnTo>
                  <a:pt x="455" y="937"/>
                </a:lnTo>
                <a:lnTo>
                  <a:pt x="461" y="920"/>
                </a:lnTo>
                <a:lnTo>
                  <a:pt x="465" y="901"/>
                </a:lnTo>
                <a:lnTo>
                  <a:pt x="467" y="879"/>
                </a:lnTo>
                <a:lnTo>
                  <a:pt x="469" y="855"/>
                </a:lnTo>
                <a:lnTo>
                  <a:pt x="470" y="827"/>
                </a:lnTo>
                <a:lnTo>
                  <a:pt x="470" y="797"/>
                </a:lnTo>
                <a:lnTo>
                  <a:pt x="470" y="68"/>
                </a:lnTo>
                <a:lnTo>
                  <a:pt x="246" y="68"/>
                </a:lnTo>
                <a:lnTo>
                  <a:pt x="246" y="68"/>
                </a:lnTo>
                <a:lnTo>
                  <a:pt x="217" y="68"/>
                </a:lnTo>
                <a:lnTo>
                  <a:pt x="193" y="69"/>
                </a:lnTo>
                <a:lnTo>
                  <a:pt x="170" y="72"/>
                </a:lnTo>
                <a:lnTo>
                  <a:pt x="151" y="75"/>
                </a:lnTo>
                <a:lnTo>
                  <a:pt x="134" y="79"/>
                </a:lnTo>
                <a:lnTo>
                  <a:pt x="119" y="85"/>
                </a:lnTo>
                <a:lnTo>
                  <a:pt x="107" y="91"/>
                </a:lnTo>
                <a:lnTo>
                  <a:pt x="95" y="98"/>
                </a:lnTo>
                <a:lnTo>
                  <a:pt x="86" y="106"/>
                </a:lnTo>
                <a:lnTo>
                  <a:pt x="78" y="117"/>
                </a:lnTo>
                <a:lnTo>
                  <a:pt x="71" y="127"/>
                </a:lnTo>
                <a:lnTo>
                  <a:pt x="65" y="139"/>
                </a:lnTo>
                <a:lnTo>
                  <a:pt x="60" y="152"/>
                </a:lnTo>
                <a:lnTo>
                  <a:pt x="55" y="167"/>
                </a:lnTo>
                <a:lnTo>
                  <a:pt x="45" y="198"/>
                </a:lnTo>
                <a:lnTo>
                  <a:pt x="37" y="233"/>
                </a:lnTo>
                <a:lnTo>
                  <a:pt x="0" y="233"/>
                </a:lnTo>
                <a:lnTo>
                  <a:pt x="17" y="0"/>
                </a:lnTo>
                <a:lnTo>
                  <a:pt x="1062" y="0"/>
                </a:lnTo>
                <a:lnTo>
                  <a:pt x="1077" y="233"/>
                </a:lnTo>
                <a:lnTo>
                  <a:pt x="1041" y="233"/>
                </a:lnTo>
                <a:lnTo>
                  <a:pt x="1032" y="198"/>
                </a:lnTo>
                <a:lnTo>
                  <a:pt x="1032" y="198"/>
                </a:lnTo>
                <a:lnTo>
                  <a:pt x="1024" y="167"/>
                </a:lnTo>
                <a:lnTo>
                  <a:pt x="1019" y="152"/>
                </a:lnTo>
                <a:lnTo>
                  <a:pt x="1014" y="139"/>
                </a:lnTo>
                <a:lnTo>
                  <a:pt x="1008" y="127"/>
                </a:lnTo>
                <a:lnTo>
                  <a:pt x="1000" y="117"/>
                </a:lnTo>
                <a:lnTo>
                  <a:pt x="992" y="106"/>
                </a:lnTo>
                <a:lnTo>
                  <a:pt x="983" y="98"/>
                </a:lnTo>
                <a:lnTo>
                  <a:pt x="972" y="91"/>
                </a:lnTo>
                <a:lnTo>
                  <a:pt x="960" y="85"/>
                </a:lnTo>
                <a:lnTo>
                  <a:pt x="944" y="79"/>
                </a:lnTo>
                <a:lnTo>
                  <a:pt x="927" y="75"/>
                </a:lnTo>
                <a:lnTo>
                  <a:pt x="907" y="72"/>
                </a:lnTo>
                <a:lnTo>
                  <a:pt x="886" y="69"/>
                </a:lnTo>
                <a:lnTo>
                  <a:pt x="860" y="68"/>
                </a:lnTo>
                <a:lnTo>
                  <a:pt x="833" y="68"/>
                </a:lnTo>
                <a:lnTo>
                  <a:pt x="608" y="68"/>
                </a:lnTo>
                <a:lnTo>
                  <a:pt x="608" y="797"/>
                </a:lnTo>
                <a:lnTo>
                  <a:pt x="608" y="797"/>
                </a:lnTo>
                <a:lnTo>
                  <a:pt x="609" y="827"/>
                </a:lnTo>
                <a:lnTo>
                  <a:pt x="609" y="855"/>
                </a:lnTo>
                <a:lnTo>
                  <a:pt x="611" y="879"/>
                </a:lnTo>
                <a:lnTo>
                  <a:pt x="614" y="901"/>
                </a:lnTo>
                <a:lnTo>
                  <a:pt x="618" y="920"/>
                </a:lnTo>
                <a:lnTo>
                  <a:pt x="623" y="937"/>
                </a:lnTo>
                <a:lnTo>
                  <a:pt x="629" y="951"/>
                </a:lnTo>
                <a:lnTo>
                  <a:pt x="633" y="957"/>
                </a:lnTo>
                <a:lnTo>
                  <a:pt x="637" y="962"/>
                </a:lnTo>
                <a:lnTo>
                  <a:pt x="642" y="967"/>
                </a:lnTo>
                <a:lnTo>
                  <a:pt x="647" y="972"/>
                </a:lnTo>
                <a:lnTo>
                  <a:pt x="653" y="977"/>
                </a:lnTo>
                <a:lnTo>
                  <a:pt x="658" y="981"/>
                </a:lnTo>
                <a:lnTo>
                  <a:pt x="672" y="987"/>
                </a:lnTo>
                <a:lnTo>
                  <a:pt x="688" y="991"/>
                </a:lnTo>
                <a:lnTo>
                  <a:pt x="705" y="995"/>
                </a:lnTo>
                <a:lnTo>
                  <a:pt x="725" y="997"/>
                </a:lnTo>
                <a:lnTo>
                  <a:pt x="748" y="998"/>
                </a:lnTo>
                <a:lnTo>
                  <a:pt x="773" y="999"/>
                </a:lnTo>
                <a:lnTo>
                  <a:pt x="773" y="1035"/>
                </a:lnTo>
                <a:lnTo>
                  <a:pt x="304" y="1035"/>
                </a:lnTo>
                <a:lnTo>
                  <a:pt x="304" y="99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fi-FI" sz="1800"/>
          </a:p>
        </p:txBody>
      </p:sp>
      <p:sp>
        <p:nvSpPr>
          <p:cNvPr id="72" name="Freeform 23">
            <a:extLst>
              <a:ext uri="{FF2B5EF4-FFF2-40B4-BE49-F238E27FC236}">
                <a16:creationId xmlns:a16="http://schemas.microsoft.com/office/drawing/2014/main" id="{5E0A04C1-F1DF-C14C-AE96-48E5572CFC9C}"/>
              </a:ext>
            </a:extLst>
          </p:cNvPr>
          <p:cNvSpPr>
            <a:spLocks/>
          </p:cNvSpPr>
          <p:nvPr userDrawn="1"/>
        </p:nvSpPr>
        <p:spPr bwMode="auto">
          <a:xfrm>
            <a:off x="2141538" y="1154114"/>
            <a:ext cx="88900" cy="144463"/>
          </a:xfrm>
          <a:custGeom>
            <a:avLst/>
            <a:gdLst>
              <a:gd name="T0" fmla="*/ 39 w 683"/>
              <a:gd name="T1" fmla="*/ 752 h 1102"/>
              <a:gd name="T2" fmla="*/ 64 w 683"/>
              <a:gd name="T3" fmla="*/ 849 h 1102"/>
              <a:gd name="T4" fmla="*/ 104 w 683"/>
              <a:gd name="T5" fmla="*/ 921 h 1102"/>
              <a:gd name="T6" fmla="*/ 171 w 683"/>
              <a:gd name="T7" fmla="*/ 985 h 1102"/>
              <a:gd name="T8" fmla="*/ 273 w 683"/>
              <a:gd name="T9" fmla="*/ 1026 h 1102"/>
              <a:gd name="T10" fmla="*/ 377 w 683"/>
              <a:gd name="T11" fmla="*/ 1032 h 1102"/>
              <a:gd name="T12" fmla="*/ 476 w 683"/>
              <a:gd name="T13" fmla="*/ 1002 h 1102"/>
              <a:gd name="T14" fmla="*/ 544 w 683"/>
              <a:gd name="T15" fmla="*/ 937 h 1102"/>
              <a:gd name="T16" fmla="*/ 570 w 683"/>
              <a:gd name="T17" fmla="*/ 844 h 1102"/>
              <a:gd name="T18" fmla="*/ 555 w 683"/>
              <a:gd name="T19" fmla="*/ 787 h 1102"/>
              <a:gd name="T20" fmla="*/ 501 w 683"/>
              <a:gd name="T21" fmla="*/ 720 h 1102"/>
              <a:gd name="T22" fmla="*/ 413 w 683"/>
              <a:gd name="T23" fmla="*/ 659 h 1102"/>
              <a:gd name="T24" fmla="*/ 169 w 683"/>
              <a:gd name="T25" fmla="*/ 529 h 1102"/>
              <a:gd name="T26" fmla="*/ 86 w 683"/>
              <a:gd name="T27" fmla="*/ 455 h 1102"/>
              <a:gd name="T28" fmla="*/ 30 w 683"/>
              <a:gd name="T29" fmla="*/ 358 h 1102"/>
              <a:gd name="T30" fmla="*/ 14 w 683"/>
              <a:gd name="T31" fmla="*/ 265 h 1102"/>
              <a:gd name="T32" fmla="*/ 23 w 683"/>
              <a:gd name="T33" fmla="*/ 201 h 1102"/>
              <a:gd name="T34" fmla="*/ 46 w 683"/>
              <a:gd name="T35" fmla="*/ 142 h 1102"/>
              <a:gd name="T36" fmla="*/ 85 w 683"/>
              <a:gd name="T37" fmla="*/ 92 h 1102"/>
              <a:gd name="T38" fmla="*/ 136 w 683"/>
              <a:gd name="T39" fmla="*/ 52 h 1102"/>
              <a:gd name="T40" fmla="*/ 199 w 683"/>
              <a:gd name="T41" fmla="*/ 24 h 1102"/>
              <a:gd name="T42" fmla="*/ 269 w 683"/>
              <a:gd name="T43" fmla="*/ 9 h 1102"/>
              <a:gd name="T44" fmla="*/ 337 w 683"/>
              <a:gd name="T45" fmla="*/ 10 h 1102"/>
              <a:gd name="T46" fmla="*/ 411 w 683"/>
              <a:gd name="T47" fmla="*/ 25 h 1102"/>
              <a:gd name="T48" fmla="*/ 510 w 683"/>
              <a:gd name="T49" fmla="*/ 79 h 1102"/>
              <a:gd name="T50" fmla="*/ 540 w 683"/>
              <a:gd name="T51" fmla="*/ 46 h 1102"/>
              <a:gd name="T52" fmla="*/ 595 w 683"/>
              <a:gd name="T53" fmla="*/ 0 h 1102"/>
              <a:gd name="T54" fmla="*/ 552 w 683"/>
              <a:gd name="T55" fmla="*/ 326 h 1102"/>
              <a:gd name="T56" fmla="*/ 511 w 683"/>
              <a:gd name="T57" fmla="*/ 200 h 1102"/>
              <a:gd name="T58" fmla="*/ 473 w 683"/>
              <a:gd name="T59" fmla="*/ 145 h 1102"/>
              <a:gd name="T60" fmla="*/ 419 w 683"/>
              <a:gd name="T61" fmla="*/ 106 h 1102"/>
              <a:gd name="T62" fmla="*/ 348 w 683"/>
              <a:gd name="T63" fmla="*/ 82 h 1102"/>
              <a:gd name="T64" fmla="*/ 277 w 683"/>
              <a:gd name="T65" fmla="*/ 78 h 1102"/>
              <a:gd name="T66" fmla="*/ 200 w 683"/>
              <a:gd name="T67" fmla="*/ 104 h 1102"/>
              <a:gd name="T68" fmla="*/ 147 w 683"/>
              <a:gd name="T69" fmla="*/ 158 h 1102"/>
              <a:gd name="T70" fmla="*/ 128 w 683"/>
              <a:gd name="T71" fmla="*/ 231 h 1102"/>
              <a:gd name="T72" fmla="*/ 139 w 683"/>
              <a:gd name="T73" fmla="*/ 292 h 1102"/>
              <a:gd name="T74" fmla="*/ 190 w 683"/>
              <a:gd name="T75" fmla="*/ 355 h 1102"/>
              <a:gd name="T76" fmla="*/ 287 w 683"/>
              <a:gd name="T77" fmla="*/ 417 h 1102"/>
              <a:gd name="T78" fmla="*/ 548 w 683"/>
              <a:gd name="T79" fmla="*/ 556 h 1102"/>
              <a:gd name="T80" fmla="*/ 631 w 683"/>
              <a:gd name="T81" fmla="*/ 633 h 1102"/>
              <a:gd name="T82" fmla="*/ 674 w 683"/>
              <a:gd name="T83" fmla="*/ 720 h 1102"/>
              <a:gd name="T84" fmla="*/ 683 w 683"/>
              <a:gd name="T85" fmla="*/ 792 h 1102"/>
              <a:gd name="T86" fmla="*/ 673 w 683"/>
              <a:gd name="T87" fmla="*/ 874 h 1102"/>
              <a:gd name="T88" fmla="*/ 642 w 683"/>
              <a:gd name="T89" fmla="*/ 947 h 1102"/>
              <a:gd name="T90" fmla="*/ 596 w 683"/>
              <a:gd name="T91" fmla="*/ 1007 h 1102"/>
              <a:gd name="T92" fmla="*/ 536 w 683"/>
              <a:gd name="T93" fmla="*/ 1053 h 1102"/>
              <a:gd name="T94" fmla="*/ 465 w 683"/>
              <a:gd name="T95" fmla="*/ 1085 h 1102"/>
              <a:gd name="T96" fmla="*/ 387 w 683"/>
              <a:gd name="T97" fmla="*/ 1100 h 1102"/>
              <a:gd name="T98" fmla="*/ 307 w 683"/>
              <a:gd name="T99" fmla="*/ 1099 h 1102"/>
              <a:gd name="T100" fmla="*/ 208 w 683"/>
              <a:gd name="T101" fmla="*/ 1073 h 1102"/>
              <a:gd name="T102" fmla="*/ 95 w 683"/>
              <a:gd name="T103" fmla="*/ 1024 h 1102"/>
              <a:gd name="T104" fmla="*/ 62 w 683"/>
              <a:gd name="T105" fmla="*/ 1044 h 1102"/>
              <a:gd name="T106" fmla="*/ 35 w 683"/>
              <a:gd name="T107" fmla="*/ 1102 h 1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83" h="1102">
                <a:moveTo>
                  <a:pt x="0" y="723"/>
                </a:moveTo>
                <a:lnTo>
                  <a:pt x="36" y="723"/>
                </a:lnTo>
                <a:lnTo>
                  <a:pt x="36" y="723"/>
                </a:lnTo>
                <a:lnTo>
                  <a:pt x="37" y="736"/>
                </a:lnTo>
                <a:lnTo>
                  <a:pt x="39" y="752"/>
                </a:lnTo>
                <a:lnTo>
                  <a:pt x="41" y="771"/>
                </a:lnTo>
                <a:lnTo>
                  <a:pt x="46" y="795"/>
                </a:lnTo>
                <a:lnTo>
                  <a:pt x="53" y="821"/>
                </a:lnTo>
                <a:lnTo>
                  <a:pt x="59" y="835"/>
                </a:lnTo>
                <a:lnTo>
                  <a:pt x="64" y="849"/>
                </a:lnTo>
                <a:lnTo>
                  <a:pt x="70" y="863"/>
                </a:lnTo>
                <a:lnTo>
                  <a:pt x="77" y="878"/>
                </a:lnTo>
                <a:lnTo>
                  <a:pt x="85" y="893"/>
                </a:lnTo>
                <a:lnTo>
                  <a:pt x="93" y="907"/>
                </a:lnTo>
                <a:lnTo>
                  <a:pt x="104" y="921"/>
                </a:lnTo>
                <a:lnTo>
                  <a:pt x="115" y="935"/>
                </a:lnTo>
                <a:lnTo>
                  <a:pt x="127" y="948"/>
                </a:lnTo>
                <a:lnTo>
                  <a:pt x="140" y="961"/>
                </a:lnTo>
                <a:lnTo>
                  <a:pt x="155" y="974"/>
                </a:lnTo>
                <a:lnTo>
                  <a:pt x="171" y="985"/>
                </a:lnTo>
                <a:lnTo>
                  <a:pt x="188" y="995"/>
                </a:lnTo>
                <a:lnTo>
                  <a:pt x="207" y="1004"/>
                </a:lnTo>
                <a:lnTo>
                  <a:pt x="227" y="1012"/>
                </a:lnTo>
                <a:lnTo>
                  <a:pt x="250" y="1020"/>
                </a:lnTo>
                <a:lnTo>
                  <a:pt x="273" y="1026"/>
                </a:lnTo>
                <a:lnTo>
                  <a:pt x="298" y="1030"/>
                </a:lnTo>
                <a:lnTo>
                  <a:pt x="325" y="1032"/>
                </a:lnTo>
                <a:lnTo>
                  <a:pt x="354" y="1033"/>
                </a:lnTo>
                <a:lnTo>
                  <a:pt x="354" y="1033"/>
                </a:lnTo>
                <a:lnTo>
                  <a:pt x="377" y="1032"/>
                </a:lnTo>
                <a:lnTo>
                  <a:pt x="398" y="1030"/>
                </a:lnTo>
                <a:lnTo>
                  <a:pt x="419" y="1025"/>
                </a:lnTo>
                <a:lnTo>
                  <a:pt x="439" y="1019"/>
                </a:lnTo>
                <a:lnTo>
                  <a:pt x="458" y="1011"/>
                </a:lnTo>
                <a:lnTo>
                  <a:pt x="476" y="1002"/>
                </a:lnTo>
                <a:lnTo>
                  <a:pt x="492" y="992"/>
                </a:lnTo>
                <a:lnTo>
                  <a:pt x="507" y="980"/>
                </a:lnTo>
                <a:lnTo>
                  <a:pt x="522" y="966"/>
                </a:lnTo>
                <a:lnTo>
                  <a:pt x="534" y="952"/>
                </a:lnTo>
                <a:lnTo>
                  <a:pt x="544" y="937"/>
                </a:lnTo>
                <a:lnTo>
                  <a:pt x="553" y="919"/>
                </a:lnTo>
                <a:lnTo>
                  <a:pt x="560" y="902"/>
                </a:lnTo>
                <a:lnTo>
                  <a:pt x="566" y="884"/>
                </a:lnTo>
                <a:lnTo>
                  <a:pt x="569" y="864"/>
                </a:lnTo>
                <a:lnTo>
                  <a:pt x="570" y="844"/>
                </a:lnTo>
                <a:lnTo>
                  <a:pt x="570" y="844"/>
                </a:lnTo>
                <a:lnTo>
                  <a:pt x="569" y="828"/>
                </a:lnTo>
                <a:lnTo>
                  <a:pt x="566" y="814"/>
                </a:lnTo>
                <a:lnTo>
                  <a:pt x="562" y="800"/>
                </a:lnTo>
                <a:lnTo>
                  <a:pt x="555" y="787"/>
                </a:lnTo>
                <a:lnTo>
                  <a:pt x="547" y="772"/>
                </a:lnTo>
                <a:lnTo>
                  <a:pt x="538" y="759"/>
                </a:lnTo>
                <a:lnTo>
                  <a:pt x="527" y="746"/>
                </a:lnTo>
                <a:lnTo>
                  <a:pt x="515" y="732"/>
                </a:lnTo>
                <a:lnTo>
                  <a:pt x="501" y="720"/>
                </a:lnTo>
                <a:lnTo>
                  <a:pt x="486" y="707"/>
                </a:lnTo>
                <a:lnTo>
                  <a:pt x="470" y="695"/>
                </a:lnTo>
                <a:lnTo>
                  <a:pt x="452" y="682"/>
                </a:lnTo>
                <a:lnTo>
                  <a:pt x="434" y="670"/>
                </a:lnTo>
                <a:lnTo>
                  <a:pt x="413" y="659"/>
                </a:lnTo>
                <a:lnTo>
                  <a:pt x="371" y="634"/>
                </a:lnTo>
                <a:lnTo>
                  <a:pt x="206" y="550"/>
                </a:lnTo>
                <a:lnTo>
                  <a:pt x="206" y="550"/>
                </a:lnTo>
                <a:lnTo>
                  <a:pt x="186" y="540"/>
                </a:lnTo>
                <a:lnTo>
                  <a:pt x="169" y="529"/>
                </a:lnTo>
                <a:lnTo>
                  <a:pt x="151" y="516"/>
                </a:lnTo>
                <a:lnTo>
                  <a:pt x="133" y="502"/>
                </a:lnTo>
                <a:lnTo>
                  <a:pt x="117" y="488"/>
                </a:lnTo>
                <a:lnTo>
                  <a:pt x="100" y="472"/>
                </a:lnTo>
                <a:lnTo>
                  <a:pt x="86" y="455"/>
                </a:lnTo>
                <a:lnTo>
                  <a:pt x="72" y="438"/>
                </a:lnTo>
                <a:lnTo>
                  <a:pt x="60" y="419"/>
                </a:lnTo>
                <a:lnTo>
                  <a:pt x="48" y="400"/>
                </a:lnTo>
                <a:lnTo>
                  <a:pt x="38" y="380"/>
                </a:lnTo>
                <a:lnTo>
                  <a:pt x="30" y="358"/>
                </a:lnTo>
                <a:lnTo>
                  <a:pt x="23" y="336"/>
                </a:lnTo>
                <a:lnTo>
                  <a:pt x="18" y="313"/>
                </a:lnTo>
                <a:lnTo>
                  <a:pt x="15" y="290"/>
                </a:lnTo>
                <a:lnTo>
                  <a:pt x="14" y="265"/>
                </a:lnTo>
                <a:lnTo>
                  <a:pt x="14" y="265"/>
                </a:lnTo>
                <a:lnTo>
                  <a:pt x="15" y="252"/>
                </a:lnTo>
                <a:lnTo>
                  <a:pt x="16" y="240"/>
                </a:lnTo>
                <a:lnTo>
                  <a:pt x="17" y="226"/>
                </a:lnTo>
                <a:lnTo>
                  <a:pt x="20" y="213"/>
                </a:lnTo>
                <a:lnTo>
                  <a:pt x="23" y="201"/>
                </a:lnTo>
                <a:lnTo>
                  <a:pt x="26" y="188"/>
                </a:lnTo>
                <a:lnTo>
                  <a:pt x="30" y="177"/>
                </a:lnTo>
                <a:lnTo>
                  <a:pt x="35" y="165"/>
                </a:lnTo>
                <a:lnTo>
                  <a:pt x="41" y="154"/>
                </a:lnTo>
                <a:lnTo>
                  <a:pt x="46" y="142"/>
                </a:lnTo>
                <a:lnTo>
                  <a:pt x="53" y="132"/>
                </a:lnTo>
                <a:lnTo>
                  <a:pt x="61" y="121"/>
                </a:lnTo>
                <a:lnTo>
                  <a:pt x="68" y="112"/>
                </a:lnTo>
                <a:lnTo>
                  <a:pt x="76" y="101"/>
                </a:lnTo>
                <a:lnTo>
                  <a:pt x="85" y="92"/>
                </a:lnTo>
                <a:lnTo>
                  <a:pt x="94" y="83"/>
                </a:lnTo>
                <a:lnTo>
                  <a:pt x="105" y="75"/>
                </a:lnTo>
                <a:lnTo>
                  <a:pt x="115" y="67"/>
                </a:lnTo>
                <a:lnTo>
                  <a:pt x="125" y="60"/>
                </a:lnTo>
                <a:lnTo>
                  <a:pt x="136" y="52"/>
                </a:lnTo>
                <a:lnTo>
                  <a:pt x="147" y="45"/>
                </a:lnTo>
                <a:lnTo>
                  <a:pt x="160" y="39"/>
                </a:lnTo>
                <a:lnTo>
                  <a:pt x="172" y="34"/>
                </a:lnTo>
                <a:lnTo>
                  <a:pt x="185" y="29"/>
                </a:lnTo>
                <a:lnTo>
                  <a:pt x="199" y="24"/>
                </a:lnTo>
                <a:lnTo>
                  <a:pt x="212" y="20"/>
                </a:lnTo>
                <a:lnTo>
                  <a:pt x="226" y="17"/>
                </a:lnTo>
                <a:lnTo>
                  <a:pt x="239" y="14"/>
                </a:lnTo>
                <a:lnTo>
                  <a:pt x="255" y="12"/>
                </a:lnTo>
                <a:lnTo>
                  <a:pt x="269" y="9"/>
                </a:lnTo>
                <a:lnTo>
                  <a:pt x="284" y="8"/>
                </a:lnTo>
                <a:lnTo>
                  <a:pt x="300" y="8"/>
                </a:lnTo>
                <a:lnTo>
                  <a:pt x="300" y="8"/>
                </a:lnTo>
                <a:lnTo>
                  <a:pt x="319" y="8"/>
                </a:lnTo>
                <a:lnTo>
                  <a:pt x="337" y="10"/>
                </a:lnTo>
                <a:lnTo>
                  <a:pt x="353" y="12"/>
                </a:lnTo>
                <a:lnTo>
                  <a:pt x="369" y="15"/>
                </a:lnTo>
                <a:lnTo>
                  <a:pt x="384" y="18"/>
                </a:lnTo>
                <a:lnTo>
                  <a:pt x="398" y="21"/>
                </a:lnTo>
                <a:lnTo>
                  <a:pt x="411" y="25"/>
                </a:lnTo>
                <a:lnTo>
                  <a:pt x="425" y="30"/>
                </a:lnTo>
                <a:lnTo>
                  <a:pt x="448" y="40"/>
                </a:lnTo>
                <a:lnTo>
                  <a:pt x="471" y="52"/>
                </a:lnTo>
                <a:lnTo>
                  <a:pt x="491" y="66"/>
                </a:lnTo>
                <a:lnTo>
                  <a:pt x="510" y="79"/>
                </a:lnTo>
                <a:lnTo>
                  <a:pt x="510" y="79"/>
                </a:lnTo>
                <a:lnTo>
                  <a:pt x="519" y="73"/>
                </a:lnTo>
                <a:lnTo>
                  <a:pt x="526" y="65"/>
                </a:lnTo>
                <a:lnTo>
                  <a:pt x="533" y="57"/>
                </a:lnTo>
                <a:lnTo>
                  <a:pt x="540" y="46"/>
                </a:lnTo>
                <a:lnTo>
                  <a:pt x="546" y="36"/>
                </a:lnTo>
                <a:lnTo>
                  <a:pt x="552" y="25"/>
                </a:lnTo>
                <a:lnTo>
                  <a:pt x="557" y="13"/>
                </a:lnTo>
                <a:lnTo>
                  <a:pt x="561" y="0"/>
                </a:lnTo>
                <a:lnTo>
                  <a:pt x="595" y="0"/>
                </a:lnTo>
                <a:lnTo>
                  <a:pt x="595" y="380"/>
                </a:lnTo>
                <a:lnTo>
                  <a:pt x="560" y="380"/>
                </a:lnTo>
                <a:lnTo>
                  <a:pt x="560" y="380"/>
                </a:lnTo>
                <a:lnTo>
                  <a:pt x="556" y="353"/>
                </a:lnTo>
                <a:lnTo>
                  <a:pt x="552" y="326"/>
                </a:lnTo>
                <a:lnTo>
                  <a:pt x="547" y="300"/>
                </a:lnTo>
                <a:lnTo>
                  <a:pt x="541" y="274"/>
                </a:lnTo>
                <a:lnTo>
                  <a:pt x="533" y="249"/>
                </a:lnTo>
                <a:lnTo>
                  <a:pt x="523" y="223"/>
                </a:lnTo>
                <a:lnTo>
                  <a:pt x="511" y="200"/>
                </a:lnTo>
                <a:lnTo>
                  <a:pt x="504" y="187"/>
                </a:lnTo>
                <a:lnTo>
                  <a:pt x="497" y="177"/>
                </a:lnTo>
                <a:lnTo>
                  <a:pt x="490" y="166"/>
                </a:lnTo>
                <a:lnTo>
                  <a:pt x="482" y="156"/>
                </a:lnTo>
                <a:lnTo>
                  <a:pt x="473" y="145"/>
                </a:lnTo>
                <a:lnTo>
                  <a:pt x="463" y="136"/>
                </a:lnTo>
                <a:lnTo>
                  <a:pt x="453" y="128"/>
                </a:lnTo>
                <a:lnTo>
                  <a:pt x="443" y="120"/>
                </a:lnTo>
                <a:lnTo>
                  <a:pt x="431" y="112"/>
                </a:lnTo>
                <a:lnTo>
                  <a:pt x="419" y="106"/>
                </a:lnTo>
                <a:lnTo>
                  <a:pt x="406" y="99"/>
                </a:lnTo>
                <a:lnTo>
                  <a:pt x="393" y="93"/>
                </a:lnTo>
                <a:lnTo>
                  <a:pt x="379" y="89"/>
                </a:lnTo>
                <a:lnTo>
                  <a:pt x="363" y="85"/>
                </a:lnTo>
                <a:lnTo>
                  <a:pt x="348" y="82"/>
                </a:lnTo>
                <a:lnTo>
                  <a:pt x="331" y="79"/>
                </a:lnTo>
                <a:lnTo>
                  <a:pt x="313" y="78"/>
                </a:lnTo>
                <a:lnTo>
                  <a:pt x="295" y="78"/>
                </a:lnTo>
                <a:lnTo>
                  <a:pt x="295" y="78"/>
                </a:lnTo>
                <a:lnTo>
                  <a:pt x="277" y="78"/>
                </a:lnTo>
                <a:lnTo>
                  <a:pt x="260" y="81"/>
                </a:lnTo>
                <a:lnTo>
                  <a:pt x="244" y="84"/>
                </a:lnTo>
                <a:lnTo>
                  <a:pt x="228" y="89"/>
                </a:lnTo>
                <a:lnTo>
                  <a:pt x="214" y="95"/>
                </a:lnTo>
                <a:lnTo>
                  <a:pt x="200" y="104"/>
                </a:lnTo>
                <a:lnTo>
                  <a:pt x="187" y="112"/>
                </a:lnTo>
                <a:lnTo>
                  <a:pt x="175" y="122"/>
                </a:lnTo>
                <a:lnTo>
                  <a:pt x="165" y="133"/>
                </a:lnTo>
                <a:lnTo>
                  <a:pt x="156" y="144"/>
                </a:lnTo>
                <a:lnTo>
                  <a:pt x="147" y="158"/>
                </a:lnTo>
                <a:lnTo>
                  <a:pt x="140" y="171"/>
                </a:lnTo>
                <a:lnTo>
                  <a:pt x="135" y="185"/>
                </a:lnTo>
                <a:lnTo>
                  <a:pt x="131" y="200"/>
                </a:lnTo>
                <a:lnTo>
                  <a:pt x="129" y="215"/>
                </a:lnTo>
                <a:lnTo>
                  <a:pt x="128" y="231"/>
                </a:lnTo>
                <a:lnTo>
                  <a:pt x="128" y="231"/>
                </a:lnTo>
                <a:lnTo>
                  <a:pt x="128" y="248"/>
                </a:lnTo>
                <a:lnTo>
                  <a:pt x="131" y="263"/>
                </a:lnTo>
                <a:lnTo>
                  <a:pt x="134" y="277"/>
                </a:lnTo>
                <a:lnTo>
                  <a:pt x="139" y="292"/>
                </a:lnTo>
                <a:lnTo>
                  <a:pt x="146" y="305"/>
                </a:lnTo>
                <a:lnTo>
                  <a:pt x="155" y="317"/>
                </a:lnTo>
                <a:lnTo>
                  <a:pt x="165" y="331"/>
                </a:lnTo>
                <a:lnTo>
                  <a:pt x="177" y="343"/>
                </a:lnTo>
                <a:lnTo>
                  <a:pt x="190" y="355"/>
                </a:lnTo>
                <a:lnTo>
                  <a:pt x="206" y="366"/>
                </a:lnTo>
                <a:lnTo>
                  <a:pt x="223" y="379"/>
                </a:lnTo>
                <a:lnTo>
                  <a:pt x="243" y="392"/>
                </a:lnTo>
                <a:lnTo>
                  <a:pt x="263" y="404"/>
                </a:lnTo>
                <a:lnTo>
                  <a:pt x="287" y="417"/>
                </a:lnTo>
                <a:lnTo>
                  <a:pt x="339" y="445"/>
                </a:lnTo>
                <a:lnTo>
                  <a:pt x="502" y="530"/>
                </a:lnTo>
                <a:lnTo>
                  <a:pt x="502" y="530"/>
                </a:lnTo>
                <a:lnTo>
                  <a:pt x="526" y="542"/>
                </a:lnTo>
                <a:lnTo>
                  <a:pt x="548" y="556"/>
                </a:lnTo>
                <a:lnTo>
                  <a:pt x="568" y="571"/>
                </a:lnTo>
                <a:lnTo>
                  <a:pt x="586" y="585"/>
                </a:lnTo>
                <a:lnTo>
                  <a:pt x="604" y="601"/>
                </a:lnTo>
                <a:lnTo>
                  <a:pt x="618" y="617"/>
                </a:lnTo>
                <a:lnTo>
                  <a:pt x="631" y="633"/>
                </a:lnTo>
                <a:lnTo>
                  <a:pt x="642" y="651"/>
                </a:lnTo>
                <a:lnTo>
                  <a:pt x="653" y="667"/>
                </a:lnTo>
                <a:lnTo>
                  <a:pt x="661" y="684"/>
                </a:lnTo>
                <a:lnTo>
                  <a:pt x="668" y="703"/>
                </a:lnTo>
                <a:lnTo>
                  <a:pt x="674" y="720"/>
                </a:lnTo>
                <a:lnTo>
                  <a:pt x="678" y="738"/>
                </a:lnTo>
                <a:lnTo>
                  <a:pt x="681" y="756"/>
                </a:lnTo>
                <a:lnTo>
                  <a:pt x="682" y="774"/>
                </a:lnTo>
                <a:lnTo>
                  <a:pt x="683" y="792"/>
                </a:lnTo>
                <a:lnTo>
                  <a:pt x="683" y="792"/>
                </a:lnTo>
                <a:lnTo>
                  <a:pt x="683" y="809"/>
                </a:lnTo>
                <a:lnTo>
                  <a:pt x="681" y="826"/>
                </a:lnTo>
                <a:lnTo>
                  <a:pt x="679" y="843"/>
                </a:lnTo>
                <a:lnTo>
                  <a:pt x="676" y="859"/>
                </a:lnTo>
                <a:lnTo>
                  <a:pt x="673" y="874"/>
                </a:lnTo>
                <a:lnTo>
                  <a:pt x="668" y="890"/>
                </a:lnTo>
                <a:lnTo>
                  <a:pt x="663" y="905"/>
                </a:lnTo>
                <a:lnTo>
                  <a:pt x="657" y="919"/>
                </a:lnTo>
                <a:lnTo>
                  <a:pt x="651" y="934"/>
                </a:lnTo>
                <a:lnTo>
                  <a:pt x="642" y="947"/>
                </a:lnTo>
                <a:lnTo>
                  <a:pt x="634" y="960"/>
                </a:lnTo>
                <a:lnTo>
                  <a:pt x="626" y="973"/>
                </a:lnTo>
                <a:lnTo>
                  <a:pt x="617" y="985"/>
                </a:lnTo>
                <a:lnTo>
                  <a:pt x="607" y="996"/>
                </a:lnTo>
                <a:lnTo>
                  <a:pt x="596" y="1007"/>
                </a:lnTo>
                <a:lnTo>
                  <a:pt x="585" y="1018"/>
                </a:lnTo>
                <a:lnTo>
                  <a:pt x="574" y="1028"/>
                </a:lnTo>
                <a:lnTo>
                  <a:pt x="562" y="1037"/>
                </a:lnTo>
                <a:lnTo>
                  <a:pt x="549" y="1045"/>
                </a:lnTo>
                <a:lnTo>
                  <a:pt x="536" y="1053"/>
                </a:lnTo>
                <a:lnTo>
                  <a:pt x="523" y="1062"/>
                </a:lnTo>
                <a:lnTo>
                  <a:pt x="509" y="1068"/>
                </a:lnTo>
                <a:lnTo>
                  <a:pt x="495" y="1075"/>
                </a:lnTo>
                <a:lnTo>
                  <a:pt x="480" y="1080"/>
                </a:lnTo>
                <a:lnTo>
                  <a:pt x="465" y="1085"/>
                </a:lnTo>
                <a:lnTo>
                  <a:pt x="450" y="1089"/>
                </a:lnTo>
                <a:lnTo>
                  <a:pt x="435" y="1093"/>
                </a:lnTo>
                <a:lnTo>
                  <a:pt x="419" y="1096"/>
                </a:lnTo>
                <a:lnTo>
                  <a:pt x="403" y="1099"/>
                </a:lnTo>
                <a:lnTo>
                  <a:pt x="387" y="1100"/>
                </a:lnTo>
                <a:lnTo>
                  <a:pt x="370" y="1101"/>
                </a:lnTo>
                <a:lnTo>
                  <a:pt x="354" y="1102"/>
                </a:lnTo>
                <a:lnTo>
                  <a:pt x="354" y="1102"/>
                </a:lnTo>
                <a:lnTo>
                  <a:pt x="329" y="1101"/>
                </a:lnTo>
                <a:lnTo>
                  <a:pt x="307" y="1099"/>
                </a:lnTo>
                <a:lnTo>
                  <a:pt x="286" y="1095"/>
                </a:lnTo>
                <a:lnTo>
                  <a:pt x="264" y="1091"/>
                </a:lnTo>
                <a:lnTo>
                  <a:pt x="245" y="1086"/>
                </a:lnTo>
                <a:lnTo>
                  <a:pt x="225" y="1080"/>
                </a:lnTo>
                <a:lnTo>
                  <a:pt x="208" y="1073"/>
                </a:lnTo>
                <a:lnTo>
                  <a:pt x="190" y="1067"/>
                </a:lnTo>
                <a:lnTo>
                  <a:pt x="160" y="1052"/>
                </a:lnTo>
                <a:lnTo>
                  <a:pt x="131" y="1039"/>
                </a:lnTo>
                <a:lnTo>
                  <a:pt x="107" y="1028"/>
                </a:lnTo>
                <a:lnTo>
                  <a:pt x="95" y="1024"/>
                </a:lnTo>
                <a:lnTo>
                  <a:pt x="85" y="1021"/>
                </a:lnTo>
                <a:lnTo>
                  <a:pt x="85" y="1021"/>
                </a:lnTo>
                <a:lnTo>
                  <a:pt x="77" y="1028"/>
                </a:lnTo>
                <a:lnTo>
                  <a:pt x="70" y="1036"/>
                </a:lnTo>
                <a:lnTo>
                  <a:pt x="62" y="1044"/>
                </a:lnTo>
                <a:lnTo>
                  <a:pt x="55" y="1053"/>
                </a:lnTo>
                <a:lnTo>
                  <a:pt x="49" y="1065"/>
                </a:lnTo>
                <a:lnTo>
                  <a:pt x="43" y="1076"/>
                </a:lnTo>
                <a:lnTo>
                  <a:pt x="38" y="1088"/>
                </a:lnTo>
                <a:lnTo>
                  <a:pt x="35" y="1102"/>
                </a:lnTo>
                <a:lnTo>
                  <a:pt x="0" y="1102"/>
                </a:lnTo>
                <a:lnTo>
                  <a:pt x="0" y="723"/>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fi-FI" sz="1800"/>
          </a:p>
        </p:txBody>
      </p:sp>
      <p:sp>
        <p:nvSpPr>
          <p:cNvPr id="73" name="Freeform 24">
            <a:extLst>
              <a:ext uri="{FF2B5EF4-FFF2-40B4-BE49-F238E27FC236}">
                <a16:creationId xmlns:a16="http://schemas.microsoft.com/office/drawing/2014/main" id="{C2FB785F-D8AC-CA4C-BD62-D6AEA6FE7B59}"/>
              </a:ext>
            </a:extLst>
          </p:cNvPr>
          <p:cNvSpPr>
            <a:spLocks noEditPoints="1"/>
          </p:cNvSpPr>
          <p:nvPr userDrawn="1"/>
        </p:nvSpPr>
        <p:spPr bwMode="auto">
          <a:xfrm>
            <a:off x="2270126" y="1158877"/>
            <a:ext cx="133350" cy="136525"/>
          </a:xfrm>
          <a:custGeom>
            <a:avLst/>
            <a:gdLst>
              <a:gd name="T0" fmla="*/ 49 w 1009"/>
              <a:gd name="T1" fmla="*/ 997 h 1035"/>
              <a:gd name="T2" fmla="*/ 115 w 1009"/>
              <a:gd name="T3" fmla="*/ 981 h 1035"/>
              <a:gd name="T4" fmla="*/ 136 w 1009"/>
              <a:gd name="T5" fmla="*/ 962 h 1035"/>
              <a:gd name="T6" fmla="*/ 155 w 1009"/>
              <a:gd name="T7" fmla="*/ 920 h 1035"/>
              <a:gd name="T8" fmla="*/ 163 w 1009"/>
              <a:gd name="T9" fmla="*/ 827 h 1035"/>
              <a:gd name="T10" fmla="*/ 163 w 1009"/>
              <a:gd name="T11" fmla="*/ 206 h 1035"/>
              <a:gd name="T12" fmla="*/ 155 w 1009"/>
              <a:gd name="T13" fmla="*/ 114 h 1035"/>
              <a:gd name="T14" fmla="*/ 136 w 1009"/>
              <a:gd name="T15" fmla="*/ 72 h 1035"/>
              <a:gd name="T16" fmla="*/ 115 w 1009"/>
              <a:gd name="T17" fmla="*/ 54 h 1035"/>
              <a:gd name="T18" fmla="*/ 49 w 1009"/>
              <a:gd name="T19" fmla="*/ 38 h 1035"/>
              <a:gd name="T20" fmla="*/ 456 w 1009"/>
              <a:gd name="T21" fmla="*/ 0 h 1035"/>
              <a:gd name="T22" fmla="*/ 520 w 1009"/>
              <a:gd name="T23" fmla="*/ 3 h 1035"/>
              <a:gd name="T24" fmla="*/ 597 w 1009"/>
              <a:gd name="T25" fmla="*/ 17 h 1035"/>
              <a:gd name="T26" fmla="*/ 663 w 1009"/>
              <a:gd name="T27" fmla="*/ 42 h 1035"/>
              <a:gd name="T28" fmla="*/ 718 w 1009"/>
              <a:gd name="T29" fmla="*/ 76 h 1035"/>
              <a:gd name="T30" fmla="*/ 763 w 1009"/>
              <a:gd name="T31" fmla="*/ 118 h 1035"/>
              <a:gd name="T32" fmla="*/ 796 w 1009"/>
              <a:gd name="T33" fmla="*/ 166 h 1035"/>
              <a:gd name="T34" fmla="*/ 817 w 1009"/>
              <a:gd name="T35" fmla="*/ 219 h 1035"/>
              <a:gd name="T36" fmla="*/ 826 w 1009"/>
              <a:gd name="T37" fmla="*/ 276 h 1035"/>
              <a:gd name="T38" fmla="*/ 825 w 1009"/>
              <a:gd name="T39" fmla="*/ 319 h 1035"/>
              <a:gd name="T40" fmla="*/ 815 w 1009"/>
              <a:gd name="T41" fmla="*/ 372 h 1035"/>
              <a:gd name="T42" fmla="*/ 794 w 1009"/>
              <a:gd name="T43" fmla="*/ 421 h 1035"/>
              <a:gd name="T44" fmla="*/ 764 w 1009"/>
              <a:gd name="T45" fmla="*/ 465 h 1035"/>
              <a:gd name="T46" fmla="*/ 726 w 1009"/>
              <a:gd name="T47" fmla="*/ 503 h 1035"/>
              <a:gd name="T48" fmla="*/ 677 w 1009"/>
              <a:gd name="T49" fmla="*/ 535 h 1035"/>
              <a:gd name="T50" fmla="*/ 620 w 1009"/>
              <a:gd name="T51" fmla="*/ 559 h 1035"/>
              <a:gd name="T52" fmla="*/ 555 w 1009"/>
              <a:gd name="T53" fmla="*/ 576 h 1035"/>
              <a:gd name="T54" fmla="*/ 689 w 1009"/>
              <a:gd name="T55" fmla="*/ 779 h 1035"/>
              <a:gd name="T56" fmla="*/ 767 w 1009"/>
              <a:gd name="T57" fmla="*/ 863 h 1035"/>
              <a:gd name="T58" fmla="*/ 848 w 1009"/>
              <a:gd name="T59" fmla="*/ 929 h 1035"/>
              <a:gd name="T60" fmla="*/ 930 w 1009"/>
              <a:gd name="T61" fmla="*/ 977 h 1035"/>
              <a:gd name="T62" fmla="*/ 1009 w 1009"/>
              <a:gd name="T63" fmla="*/ 999 h 1035"/>
              <a:gd name="T64" fmla="*/ 302 w 1009"/>
              <a:gd name="T65" fmla="*/ 581 h 1035"/>
              <a:gd name="T66" fmla="*/ 303 w 1009"/>
              <a:gd name="T67" fmla="*/ 855 h 1035"/>
              <a:gd name="T68" fmla="*/ 316 w 1009"/>
              <a:gd name="T69" fmla="*/ 937 h 1035"/>
              <a:gd name="T70" fmla="*/ 335 w 1009"/>
              <a:gd name="T71" fmla="*/ 967 h 1035"/>
              <a:gd name="T72" fmla="*/ 365 w 1009"/>
              <a:gd name="T73" fmla="*/ 987 h 1035"/>
              <a:gd name="T74" fmla="*/ 440 w 1009"/>
              <a:gd name="T75" fmla="*/ 998 h 1035"/>
              <a:gd name="T76" fmla="*/ 0 w 1009"/>
              <a:gd name="T77" fmla="*/ 999 h 1035"/>
              <a:gd name="T78" fmla="*/ 494 w 1009"/>
              <a:gd name="T79" fmla="*/ 516 h 1035"/>
              <a:gd name="T80" fmla="*/ 541 w 1009"/>
              <a:gd name="T81" fmla="*/ 505 h 1035"/>
              <a:gd name="T82" fmla="*/ 580 w 1009"/>
              <a:gd name="T83" fmla="*/ 486 h 1035"/>
              <a:gd name="T84" fmla="*/ 633 w 1009"/>
              <a:gd name="T85" fmla="*/ 437 h 1035"/>
              <a:gd name="T86" fmla="*/ 665 w 1009"/>
              <a:gd name="T87" fmla="*/ 359 h 1035"/>
              <a:gd name="T88" fmla="*/ 672 w 1009"/>
              <a:gd name="T89" fmla="*/ 291 h 1035"/>
              <a:gd name="T90" fmla="*/ 660 w 1009"/>
              <a:gd name="T91" fmla="*/ 204 h 1035"/>
              <a:gd name="T92" fmla="*/ 619 w 1009"/>
              <a:gd name="T93" fmla="*/ 131 h 1035"/>
              <a:gd name="T94" fmla="*/ 571 w 1009"/>
              <a:gd name="T95" fmla="*/ 91 h 1035"/>
              <a:gd name="T96" fmla="*/ 529 w 1009"/>
              <a:gd name="T97" fmla="*/ 74 h 1035"/>
              <a:gd name="T98" fmla="*/ 481 w 1009"/>
              <a:gd name="T99" fmla="*/ 65 h 1035"/>
              <a:gd name="T100" fmla="*/ 302 w 1009"/>
              <a:gd name="T101" fmla="*/ 519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09" h="1035">
                <a:moveTo>
                  <a:pt x="0" y="999"/>
                </a:moveTo>
                <a:lnTo>
                  <a:pt x="0" y="999"/>
                </a:lnTo>
                <a:lnTo>
                  <a:pt x="25" y="998"/>
                </a:lnTo>
                <a:lnTo>
                  <a:pt x="49" y="997"/>
                </a:lnTo>
                <a:lnTo>
                  <a:pt x="68" y="995"/>
                </a:lnTo>
                <a:lnTo>
                  <a:pt x="87" y="991"/>
                </a:lnTo>
                <a:lnTo>
                  <a:pt x="102" y="987"/>
                </a:lnTo>
                <a:lnTo>
                  <a:pt x="115" y="981"/>
                </a:lnTo>
                <a:lnTo>
                  <a:pt x="120" y="977"/>
                </a:lnTo>
                <a:lnTo>
                  <a:pt x="126" y="972"/>
                </a:lnTo>
                <a:lnTo>
                  <a:pt x="132" y="967"/>
                </a:lnTo>
                <a:lnTo>
                  <a:pt x="136" y="962"/>
                </a:lnTo>
                <a:lnTo>
                  <a:pt x="140" y="957"/>
                </a:lnTo>
                <a:lnTo>
                  <a:pt x="144" y="951"/>
                </a:lnTo>
                <a:lnTo>
                  <a:pt x="150" y="937"/>
                </a:lnTo>
                <a:lnTo>
                  <a:pt x="155" y="920"/>
                </a:lnTo>
                <a:lnTo>
                  <a:pt x="158" y="901"/>
                </a:lnTo>
                <a:lnTo>
                  <a:pt x="161" y="879"/>
                </a:lnTo>
                <a:lnTo>
                  <a:pt x="163" y="855"/>
                </a:lnTo>
                <a:lnTo>
                  <a:pt x="163" y="827"/>
                </a:lnTo>
                <a:lnTo>
                  <a:pt x="164" y="797"/>
                </a:lnTo>
                <a:lnTo>
                  <a:pt x="164" y="236"/>
                </a:lnTo>
                <a:lnTo>
                  <a:pt x="164" y="236"/>
                </a:lnTo>
                <a:lnTo>
                  <a:pt x="163" y="206"/>
                </a:lnTo>
                <a:lnTo>
                  <a:pt x="163" y="178"/>
                </a:lnTo>
                <a:lnTo>
                  <a:pt x="161" y="153"/>
                </a:lnTo>
                <a:lnTo>
                  <a:pt x="158" y="132"/>
                </a:lnTo>
                <a:lnTo>
                  <a:pt x="155" y="114"/>
                </a:lnTo>
                <a:lnTo>
                  <a:pt x="150" y="97"/>
                </a:lnTo>
                <a:lnTo>
                  <a:pt x="144" y="83"/>
                </a:lnTo>
                <a:lnTo>
                  <a:pt x="140" y="77"/>
                </a:lnTo>
                <a:lnTo>
                  <a:pt x="136" y="72"/>
                </a:lnTo>
                <a:lnTo>
                  <a:pt x="132" y="67"/>
                </a:lnTo>
                <a:lnTo>
                  <a:pt x="126" y="61"/>
                </a:lnTo>
                <a:lnTo>
                  <a:pt x="120" y="57"/>
                </a:lnTo>
                <a:lnTo>
                  <a:pt x="115" y="54"/>
                </a:lnTo>
                <a:lnTo>
                  <a:pt x="102" y="48"/>
                </a:lnTo>
                <a:lnTo>
                  <a:pt x="87" y="43"/>
                </a:lnTo>
                <a:lnTo>
                  <a:pt x="68" y="40"/>
                </a:lnTo>
                <a:lnTo>
                  <a:pt x="49" y="38"/>
                </a:lnTo>
                <a:lnTo>
                  <a:pt x="25" y="37"/>
                </a:lnTo>
                <a:lnTo>
                  <a:pt x="0" y="36"/>
                </a:lnTo>
                <a:lnTo>
                  <a:pt x="0" y="0"/>
                </a:lnTo>
                <a:lnTo>
                  <a:pt x="456" y="0"/>
                </a:lnTo>
                <a:lnTo>
                  <a:pt x="456" y="0"/>
                </a:lnTo>
                <a:lnTo>
                  <a:pt x="478" y="0"/>
                </a:lnTo>
                <a:lnTo>
                  <a:pt x="500" y="1"/>
                </a:lnTo>
                <a:lnTo>
                  <a:pt x="520" y="3"/>
                </a:lnTo>
                <a:lnTo>
                  <a:pt x="541" y="6"/>
                </a:lnTo>
                <a:lnTo>
                  <a:pt x="560" y="9"/>
                </a:lnTo>
                <a:lnTo>
                  <a:pt x="578" y="13"/>
                </a:lnTo>
                <a:lnTo>
                  <a:pt x="597" y="17"/>
                </a:lnTo>
                <a:lnTo>
                  <a:pt x="614" y="23"/>
                </a:lnTo>
                <a:lnTo>
                  <a:pt x="632" y="29"/>
                </a:lnTo>
                <a:lnTo>
                  <a:pt x="648" y="35"/>
                </a:lnTo>
                <a:lnTo>
                  <a:pt x="663" y="42"/>
                </a:lnTo>
                <a:lnTo>
                  <a:pt x="679" y="50"/>
                </a:lnTo>
                <a:lnTo>
                  <a:pt x="693" y="58"/>
                </a:lnTo>
                <a:lnTo>
                  <a:pt x="706" y="67"/>
                </a:lnTo>
                <a:lnTo>
                  <a:pt x="718" y="76"/>
                </a:lnTo>
                <a:lnTo>
                  <a:pt x="731" y="85"/>
                </a:lnTo>
                <a:lnTo>
                  <a:pt x="742" y="95"/>
                </a:lnTo>
                <a:lnTo>
                  <a:pt x="753" y="106"/>
                </a:lnTo>
                <a:lnTo>
                  <a:pt x="763" y="118"/>
                </a:lnTo>
                <a:lnTo>
                  <a:pt x="773" y="129"/>
                </a:lnTo>
                <a:lnTo>
                  <a:pt x="781" y="140"/>
                </a:lnTo>
                <a:lnTo>
                  <a:pt x="789" y="152"/>
                </a:lnTo>
                <a:lnTo>
                  <a:pt x="796" y="166"/>
                </a:lnTo>
                <a:lnTo>
                  <a:pt x="802" y="178"/>
                </a:lnTo>
                <a:lnTo>
                  <a:pt x="807" y="191"/>
                </a:lnTo>
                <a:lnTo>
                  <a:pt x="813" y="205"/>
                </a:lnTo>
                <a:lnTo>
                  <a:pt x="817" y="219"/>
                </a:lnTo>
                <a:lnTo>
                  <a:pt x="821" y="233"/>
                </a:lnTo>
                <a:lnTo>
                  <a:pt x="823" y="248"/>
                </a:lnTo>
                <a:lnTo>
                  <a:pt x="825" y="262"/>
                </a:lnTo>
                <a:lnTo>
                  <a:pt x="826" y="276"/>
                </a:lnTo>
                <a:lnTo>
                  <a:pt x="827" y="291"/>
                </a:lnTo>
                <a:lnTo>
                  <a:pt x="827" y="291"/>
                </a:lnTo>
                <a:lnTo>
                  <a:pt x="826" y="306"/>
                </a:lnTo>
                <a:lnTo>
                  <a:pt x="825" y="319"/>
                </a:lnTo>
                <a:lnTo>
                  <a:pt x="824" y="332"/>
                </a:lnTo>
                <a:lnTo>
                  <a:pt x="822" y="346"/>
                </a:lnTo>
                <a:lnTo>
                  <a:pt x="819" y="359"/>
                </a:lnTo>
                <a:lnTo>
                  <a:pt x="815" y="372"/>
                </a:lnTo>
                <a:lnTo>
                  <a:pt x="810" y="385"/>
                </a:lnTo>
                <a:lnTo>
                  <a:pt x="805" y="397"/>
                </a:lnTo>
                <a:lnTo>
                  <a:pt x="800" y="409"/>
                </a:lnTo>
                <a:lnTo>
                  <a:pt x="794" y="421"/>
                </a:lnTo>
                <a:lnTo>
                  <a:pt x="788" y="433"/>
                </a:lnTo>
                <a:lnTo>
                  <a:pt x="781" y="444"/>
                </a:lnTo>
                <a:lnTo>
                  <a:pt x="773" y="454"/>
                </a:lnTo>
                <a:lnTo>
                  <a:pt x="764" y="465"/>
                </a:lnTo>
                <a:lnTo>
                  <a:pt x="755" y="475"/>
                </a:lnTo>
                <a:lnTo>
                  <a:pt x="746" y="485"/>
                </a:lnTo>
                <a:lnTo>
                  <a:pt x="736" y="494"/>
                </a:lnTo>
                <a:lnTo>
                  <a:pt x="726" y="503"/>
                </a:lnTo>
                <a:lnTo>
                  <a:pt x="714" y="511"/>
                </a:lnTo>
                <a:lnTo>
                  <a:pt x="702" y="519"/>
                </a:lnTo>
                <a:lnTo>
                  <a:pt x="690" y="528"/>
                </a:lnTo>
                <a:lnTo>
                  <a:pt x="677" y="535"/>
                </a:lnTo>
                <a:lnTo>
                  <a:pt x="663" y="542"/>
                </a:lnTo>
                <a:lnTo>
                  <a:pt x="650" y="548"/>
                </a:lnTo>
                <a:lnTo>
                  <a:pt x="635" y="554"/>
                </a:lnTo>
                <a:lnTo>
                  <a:pt x="620" y="559"/>
                </a:lnTo>
                <a:lnTo>
                  <a:pt x="605" y="564"/>
                </a:lnTo>
                <a:lnTo>
                  <a:pt x="589" y="569"/>
                </a:lnTo>
                <a:lnTo>
                  <a:pt x="572" y="573"/>
                </a:lnTo>
                <a:lnTo>
                  <a:pt x="555" y="576"/>
                </a:lnTo>
                <a:lnTo>
                  <a:pt x="537" y="579"/>
                </a:lnTo>
                <a:lnTo>
                  <a:pt x="519" y="581"/>
                </a:lnTo>
                <a:lnTo>
                  <a:pt x="689" y="779"/>
                </a:lnTo>
                <a:lnTo>
                  <a:pt x="689" y="779"/>
                </a:lnTo>
                <a:lnTo>
                  <a:pt x="707" y="802"/>
                </a:lnTo>
                <a:lnTo>
                  <a:pt x="728" y="823"/>
                </a:lnTo>
                <a:lnTo>
                  <a:pt x="747" y="844"/>
                </a:lnTo>
                <a:lnTo>
                  <a:pt x="767" y="863"/>
                </a:lnTo>
                <a:lnTo>
                  <a:pt x="787" y="881"/>
                </a:lnTo>
                <a:lnTo>
                  <a:pt x="807" y="899"/>
                </a:lnTo>
                <a:lnTo>
                  <a:pt x="828" y="915"/>
                </a:lnTo>
                <a:lnTo>
                  <a:pt x="848" y="929"/>
                </a:lnTo>
                <a:lnTo>
                  <a:pt x="869" y="944"/>
                </a:lnTo>
                <a:lnTo>
                  <a:pt x="889" y="956"/>
                </a:lnTo>
                <a:lnTo>
                  <a:pt x="910" y="966"/>
                </a:lnTo>
                <a:lnTo>
                  <a:pt x="930" y="977"/>
                </a:lnTo>
                <a:lnTo>
                  <a:pt x="950" y="985"/>
                </a:lnTo>
                <a:lnTo>
                  <a:pt x="970" y="991"/>
                </a:lnTo>
                <a:lnTo>
                  <a:pt x="989" y="996"/>
                </a:lnTo>
                <a:lnTo>
                  <a:pt x="1009" y="999"/>
                </a:lnTo>
                <a:lnTo>
                  <a:pt x="1009" y="1035"/>
                </a:lnTo>
                <a:lnTo>
                  <a:pt x="725" y="1035"/>
                </a:lnTo>
                <a:lnTo>
                  <a:pt x="383" y="581"/>
                </a:lnTo>
                <a:lnTo>
                  <a:pt x="302" y="581"/>
                </a:lnTo>
                <a:lnTo>
                  <a:pt x="302" y="797"/>
                </a:lnTo>
                <a:lnTo>
                  <a:pt x="302" y="797"/>
                </a:lnTo>
                <a:lnTo>
                  <a:pt x="302" y="827"/>
                </a:lnTo>
                <a:lnTo>
                  <a:pt x="303" y="855"/>
                </a:lnTo>
                <a:lnTo>
                  <a:pt x="304" y="879"/>
                </a:lnTo>
                <a:lnTo>
                  <a:pt x="307" y="901"/>
                </a:lnTo>
                <a:lnTo>
                  <a:pt x="312" y="920"/>
                </a:lnTo>
                <a:lnTo>
                  <a:pt x="316" y="937"/>
                </a:lnTo>
                <a:lnTo>
                  <a:pt x="323" y="951"/>
                </a:lnTo>
                <a:lnTo>
                  <a:pt x="326" y="957"/>
                </a:lnTo>
                <a:lnTo>
                  <a:pt x="330" y="962"/>
                </a:lnTo>
                <a:lnTo>
                  <a:pt x="335" y="967"/>
                </a:lnTo>
                <a:lnTo>
                  <a:pt x="340" y="972"/>
                </a:lnTo>
                <a:lnTo>
                  <a:pt x="345" y="977"/>
                </a:lnTo>
                <a:lnTo>
                  <a:pt x="351" y="981"/>
                </a:lnTo>
                <a:lnTo>
                  <a:pt x="365" y="987"/>
                </a:lnTo>
                <a:lnTo>
                  <a:pt x="380" y="991"/>
                </a:lnTo>
                <a:lnTo>
                  <a:pt x="397" y="995"/>
                </a:lnTo>
                <a:lnTo>
                  <a:pt x="418" y="997"/>
                </a:lnTo>
                <a:lnTo>
                  <a:pt x="440" y="998"/>
                </a:lnTo>
                <a:lnTo>
                  <a:pt x="466" y="999"/>
                </a:lnTo>
                <a:lnTo>
                  <a:pt x="466" y="1035"/>
                </a:lnTo>
                <a:lnTo>
                  <a:pt x="0" y="1035"/>
                </a:lnTo>
                <a:lnTo>
                  <a:pt x="0" y="999"/>
                </a:lnTo>
                <a:close/>
                <a:moveTo>
                  <a:pt x="454" y="519"/>
                </a:moveTo>
                <a:lnTo>
                  <a:pt x="454" y="519"/>
                </a:lnTo>
                <a:lnTo>
                  <a:pt x="481" y="517"/>
                </a:lnTo>
                <a:lnTo>
                  <a:pt x="494" y="516"/>
                </a:lnTo>
                <a:lnTo>
                  <a:pt x="507" y="514"/>
                </a:lnTo>
                <a:lnTo>
                  <a:pt x="518" y="512"/>
                </a:lnTo>
                <a:lnTo>
                  <a:pt x="529" y="509"/>
                </a:lnTo>
                <a:lnTo>
                  <a:pt x="541" y="505"/>
                </a:lnTo>
                <a:lnTo>
                  <a:pt x="552" y="501"/>
                </a:lnTo>
                <a:lnTo>
                  <a:pt x="561" y="497"/>
                </a:lnTo>
                <a:lnTo>
                  <a:pt x="571" y="492"/>
                </a:lnTo>
                <a:lnTo>
                  <a:pt x="580" y="486"/>
                </a:lnTo>
                <a:lnTo>
                  <a:pt x="589" y="481"/>
                </a:lnTo>
                <a:lnTo>
                  <a:pt x="605" y="467"/>
                </a:lnTo>
                <a:lnTo>
                  <a:pt x="619" y="452"/>
                </a:lnTo>
                <a:lnTo>
                  <a:pt x="633" y="437"/>
                </a:lnTo>
                <a:lnTo>
                  <a:pt x="643" y="418"/>
                </a:lnTo>
                <a:lnTo>
                  <a:pt x="652" y="400"/>
                </a:lnTo>
                <a:lnTo>
                  <a:pt x="660" y="380"/>
                </a:lnTo>
                <a:lnTo>
                  <a:pt x="665" y="359"/>
                </a:lnTo>
                <a:lnTo>
                  <a:pt x="669" y="338"/>
                </a:lnTo>
                <a:lnTo>
                  <a:pt x="672" y="315"/>
                </a:lnTo>
                <a:lnTo>
                  <a:pt x="672" y="291"/>
                </a:lnTo>
                <a:lnTo>
                  <a:pt x="672" y="291"/>
                </a:lnTo>
                <a:lnTo>
                  <a:pt x="672" y="268"/>
                </a:lnTo>
                <a:lnTo>
                  <a:pt x="669" y="245"/>
                </a:lnTo>
                <a:lnTo>
                  <a:pt x="665" y="224"/>
                </a:lnTo>
                <a:lnTo>
                  <a:pt x="660" y="204"/>
                </a:lnTo>
                <a:lnTo>
                  <a:pt x="652" y="183"/>
                </a:lnTo>
                <a:lnTo>
                  <a:pt x="643" y="165"/>
                </a:lnTo>
                <a:lnTo>
                  <a:pt x="633" y="147"/>
                </a:lnTo>
                <a:lnTo>
                  <a:pt x="619" y="131"/>
                </a:lnTo>
                <a:lnTo>
                  <a:pt x="605" y="117"/>
                </a:lnTo>
                <a:lnTo>
                  <a:pt x="589" y="103"/>
                </a:lnTo>
                <a:lnTo>
                  <a:pt x="580" y="97"/>
                </a:lnTo>
                <a:lnTo>
                  <a:pt x="571" y="91"/>
                </a:lnTo>
                <a:lnTo>
                  <a:pt x="561" y="86"/>
                </a:lnTo>
                <a:lnTo>
                  <a:pt x="552" y="82"/>
                </a:lnTo>
                <a:lnTo>
                  <a:pt x="541" y="78"/>
                </a:lnTo>
                <a:lnTo>
                  <a:pt x="529" y="74"/>
                </a:lnTo>
                <a:lnTo>
                  <a:pt x="518" y="71"/>
                </a:lnTo>
                <a:lnTo>
                  <a:pt x="507" y="69"/>
                </a:lnTo>
                <a:lnTo>
                  <a:pt x="494" y="67"/>
                </a:lnTo>
                <a:lnTo>
                  <a:pt x="481" y="65"/>
                </a:lnTo>
                <a:lnTo>
                  <a:pt x="468" y="63"/>
                </a:lnTo>
                <a:lnTo>
                  <a:pt x="454" y="63"/>
                </a:lnTo>
                <a:lnTo>
                  <a:pt x="302" y="63"/>
                </a:lnTo>
                <a:lnTo>
                  <a:pt x="302" y="519"/>
                </a:lnTo>
                <a:lnTo>
                  <a:pt x="454" y="51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fi-FI" sz="1800"/>
          </a:p>
        </p:txBody>
      </p:sp>
      <p:sp>
        <p:nvSpPr>
          <p:cNvPr id="74" name="Freeform 25">
            <a:extLst>
              <a:ext uri="{FF2B5EF4-FFF2-40B4-BE49-F238E27FC236}">
                <a16:creationId xmlns:a16="http://schemas.microsoft.com/office/drawing/2014/main" id="{FA661C93-19C4-494A-8C2E-93A472BDE956}"/>
              </a:ext>
            </a:extLst>
          </p:cNvPr>
          <p:cNvSpPr>
            <a:spLocks noEditPoints="1"/>
          </p:cNvSpPr>
          <p:nvPr userDrawn="1"/>
        </p:nvSpPr>
        <p:spPr bwMode="auto">
          <a:xfrm>
            <a:off x="2411414" y="1103313"/>
            <a:ext cx="157163" cy="192088"/>
          </a:xfrm>
          <a:custGeom>
            <a:avLst/>
            <a:gdLst>
              <a:gd name="T0" fmla="*/ 48 w 1195"/>
              <a:gd name="T1" fmla="*/ 1411 h 1449"/>
              <a:gd name="T2" fmla="*/ 115 w 1195"/>
              <a:gd name="T3" fmla="*/ 1397 h 1449"/>
              <a:gd name="T4" fmla="*/ 157 w 1195"/>
              <a:gd name="T5" fmla="*/ 1363 h 1449"/>
              <a:gd name="T6" fmla="*/ 188 w 1195"/>
              <a:gd name="T7" fmla="*/ 1304 h 1449"/>
              <a:gd name="T8" fmla="*/ 990 w 1195"/>
              <a:gd name="T9" fmla="*/ 1263 h 1449"/>
              <a:gd name="T10" fmla="*/ 1025 w 1195"/>
              <a:gd name="T11" fmla="*/ 1337 h 1449"/>
              <a:gd name="T12" fmla="*/ 1059 w 1195"/>
              <a:gd name="T13" fmla="*/ 1383 h 1449"/>
              <a:gd name="T14" fmla="*/ 1111 w 1195"/>
              <a:gd name="T15" fmla="*/ 1406 h 1449"/>
              <a:gd name="T16" fmla="*/ 1195 w 1195"/>
              <a:gd name="T17" fmla="*/ 1413 h 1449"/>
              <a:gd name="T18" fmla="*/ 718 w 1195"/>
              <a:gd name="T19" fmla="*/ 1413 h 1449"/>
              <a:gd name="T20" fmla="*/ 805 w 1195"/>
              <a:gd name="T21" fmla="*/ 1406 h 1449"/>
              <a:gd name="T22" fmla="*/ 854 w 1195"/>
              <a:gd name="T23" fmla="*/ 1382 h 1449"/>
              <a:gd name="T24" fmla="*/ 868 w 1195"/>
              <a:gd name="T25" fmla="*/ 1342 h 1449"/>
              <a:gd name="T26" fmla="*/ 852 w 1195"/>
              <a:gd name="T27" fmla="*/ 1281 h 1449"/>
              <a:gd name="T28" fmla="*/ 269 w 1195"/>
              <a:gd name="T29" fmla="*/ 1281 h 1449"/>
              <a:gd name="T30" fmla="*/ 253 w 1195"/>
              <a:gd name="T31" fmla="*/ 1341 h 1449"/>
              <a:gd name="T32" fmla="*/ 267 w 1195"/>
              <a:gd name="T33" fmla="*/ 1382 h 1449"/>
              <a:gd name="T34" fmla="*/ 316 w 1195"/>
              <a:gd name="T35" fmla="*/ 1405 h 1449"/>
              <a:gd name="T36" fmla="*/ 404 w 1195"/>
              <a:gd name="T37" fmla="*/ 1413 h 1449"/>
              <a:gd name="T38" fmla="*/ 740 w 1195"/>
              <a:gd name="T39" fmla="*/ 1027 h 1449"/>
              <a:gd name="T40" fmla="*/ 450 w 1195"/>
              <a:gd name="T41" fmla="*/ 141 h 1449"/>
              <a:gd name="T42" fmla="*/ 456 w 1195"/>
              <a:gd name="T43" fmla="*/ 99 h 1449"/>
              <a:gd name="T44" fmla="*/ 482 w 1195"/>
              <a:gd name="T45" fmla="*/ 51 h 1449"/>
              <a:gd name="T46" fmla="*/ 524 w 1195"/>
              <a:gd name="T47" fmla="*/ 17 h 1449"/>
              <a:gd name="T48" fmla="*/ 577 w 1195"/>
              <a:gd name="T49" fmla="*/ 1 h 1449"/>
              <a:gd name="T50" fmla="*/ 621 w 1195"/>
              <a:gd name="T51" fmla="*/ 3 h 1449"/>
              <a:gd name="T52" fmla="*/ 672 w 1195"/>
              <a:gd name="T53" fmla="*/ 25 h 1449"/>
              <a:gd name="T54" fmla="*/ 711 w 1195"/>
              <a:gd name="T55" fmla="*/ 62 h 1449"/>
              <a:gd name="T56" fmla="*/ 732 w 1195"/>
              <a:gd name="T57" fmla="*/ 112 h 1449"/>
              <a:gd name="T58" fmla="*/ 734 w 1195"/>
              <a:gd name="T59" fmla="*/ 156 h 1449"/>
              <a:gd name="T60" fmla="*/ 718 w 1195"/>
              <a:gd name="T61" fmla="*/ 210 h 1449"/>
              <a:gd name="T62" fmla="*/ 683 w 1195"/>
              <a:gd name="T63" fmla="*/ 252 h 1449"/>
              <a:gd name="T64" fmla="*/ 634 w 1195"/>
              <a:gd name="T65" fmla="*/ 278 h 1449"/>
              <a:gd name="T66" fmla="*/ 591 w 1195"/>
              <a:gd name="T67" fmla="*/ 284 h 1449"/>
              <a:gd name="T68" fmla="*/ 536 w 1195"/>
              <a:gd name="T69" fmla="*/ 273 h 1449"/>
              <a:gd name="T70" fmla="*/ 491 w 1195"/>
              <a:gd name="T71" fmla="*/ 242 h 1449"/>
              <a:gd name="T72" fmla="*/ 461 w 1195"/>
              <a:gd name="T73" fmla="*/ 197 h 1449"/>
              <a:gd name="T74" fmla="*/ 450 w 1195"/>
              <a:gd name="T75" fmla="*/ 141 h 1449"/>
              <a:gd name="T76" fmla="*/ 671 w 1195"/>
              <a:gd name="T77" fmla="*/ 133 h 1449"/>
              <a:gd name="T78" fmla="*/ 662 w 1195"/>
              <a:gd name="T79" fmla="*/ 104 h 1449"/>
              <a:gd name="T80" fmla="*/ 642 w 1195"/>
              <a:gd name="T81" fmla="*/ 82 h 1449"/>
              <a:gd name="T82" fmla="*/ 615 w 1195"/>
              <a:gd name="T83" fmla="*/ 67 h 1449"/>
              <a:gd name="T84" fmla="*/ 591 w 1195"/>
              <a:gd name="T85" fmla="*/ 63 h 1449"/>
              <a:gd name="T86" fmla="*/ 562 w 1195"/>
              <a:gd name="T87" fmla="*/ 70 h 1449"/>
              <a:gd name="T88" fmla="*/ 536 w 1195"/>
              <a:gd name="T89" fmla="*/ 86 h 1449"/>
              <a:gd name="T90" fmla="*/ 519 w 1195"/>
              <a:gd name="T91" fmla="*/ 111 h 1449"/>
              <a:gd name="T92" fmla="*/ 512 w 1195"/>
              <a:gd name="T93" fmla="*/ 141 h 1449"/>
              <a:gd name="T94" fmla="*/ 516 w 1195"/>
              <a:gd name="T95" fmla="*/ 165 h 1449"/>
              <a:gd name="T96" fmla="*/ 531 w 1195"/>
              <a:gd name="T97" fmla="*/ 191 h 1449"/>
              <a:gd name="T98" fmla="*/ 554 w 1195"/>
              <a:gd name="T99" fmla="*/ 211 h 1449"/>
              <a:gd name="T100" fmla="*/ 584 w 1195"/>
              <a:gd name="T101" fmla="*/ 220 h 1449"/>
              <a:gd name="T102" fmla="*/ 608 w 1195"/>
              <a:gd name="T103" fmla="*/ 219 h 1449"/>
              <a:gd name="T104" fmla="*/ 636 w 1195"/>
              <a:gd name="T105" fmla="*/ 207 h 1449"/>
              <a:gd name="T106" fmla="*/ 658 w 1195"/>
              <a:gd name="T107" fmla="*/ 185 h 1449"/>
              <a:gd name="T108" fmla="*/ 669 w 1195"/>
              <a:gd name="T109" fmla="*/ 157 h 1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95" h="1449">
                <a:moveTo>
                  <a:pt x="0" y="1413"/>
                </a:moveTo>
                <a:lnTo>
                  <a:pt x="0" y="1413"/>
                </a:lnTo>
                <a:lnTo>
                  <a:pt x="26" y="1412"/>
                </a:lnTo>
                <a:lnTo>
                  <a:pt x="48" y="1411"/>
                </a:lnTo>
                <a:lnTo>
                  <a:pt x="69" y="1409"/>
                </a:lnTo>
                <a:lnTo>
                  <a:pt x="86" y="1406"/>
                </a:lnTo>
                <a:lnTo>
                  <a:pt x="101" y="1402"/>
                </a:lnTo>
                <a:lnTo>
                  <a:pt x="115" y="1397"/>
                </a:lnTo>
                <a:lnTo>
                  <a:pt x="127" y="1391"/>
                </a:lnTo>
                <a:lnTo>
                  <a:pt x="138" y="1383"/>
                </a:lnTo>
                <a:lnTo>
                  <a:pt x="147" y="1374"/>
                </a:lnTo>
                <a:lnTo>
                  <a:pt x="157" y="1363"/>
                </a:lnTo>
                <a:lnTo>
                  <a:pt x="165" y="1351"/>
                </a:lnTo>
                <a:lnTo>
                  <a:pt x="172" y="1337"/>
                </a:lnTo>
                <a:lnTo>
                  <a:pt x="180" y="1321"/>
                </a:lnTo>
                <a:lnTo>
                  <a:pt x="188" y="1304"/>
                </a:lnTo>
                <a:lnTo>
                  <a:pt x="207" y="1263"/>
                </a:lnTo>
                <a:lnTo>
                  <a:pt x="586" y="384"/>
                </a:lnTo>
                <a:lnTo>
                  <a:pt x="609" y="384"/>
                </a:lnTo>
                <a:lnTo>
                  <a:pt x="990" y="1263"/>
                </a:lnTo>
                <a:lnTo>
                  <a:pt x="990" y="1263"/>
                </a:lnTo>
                <a:lnTo>
                  <a:pt x="1008" y="1304"/>
                </a:lnTo>
                <a:lnTo>
                  <a:pt x="1017" y="1321"/>
                </a:lnTo>
                <a:lnTo>
                  <a:pt x="1025" y="1337"/>
                </a:lnTo>
                <a:lnTo>
                  <a:pt x="1033" y="1351"/>
                </a:lnTo>
                <a:lnTo>
                  <a:pt x="1041" y="1363"/>
                </a:lnTo>
                <a:lnTo>
                  <a:pt x="1049" y="1374"/>
                </a:lnTo>
                <a:lnTo>
                  <a:pt x="1059" y="1383"/>
                </a:lnTo>
                <a:lnTo>
                  <a:pt x="1070" y="1391"/>
                </a:lnTo>
                <a:lnTo>
                  <a:pt x="1082" y="1397"/>
                </a:lnTo>
                <a:lnTo>
                  <a:pt x="1095" y="1402"/>
                </a:lnTo>
                <a:lnTo>
                  <a:pt x="1111" y="1406"/>
                </a:lnTo>
                <a:lnTo>
                  <a:pt x="1128" y="1409"/>
                </a:lnTo>
                <a:lnTo>
                  <a:pt x="1147" y="1411"/>
                </a:lnTo>
                <a:lnTo>
                  <a:pt x="1170" y="1412"/>
                </a:lnTo>
                <a:lnTo>
                  <a:pt x="1195" y="1413"/>
                </a:lnTo>
                <a:lnTo>
                  <a:pt x="1195" y="1449"/>
                </a:lnTo>
                <a:lnTo>
                  <a:pt x="718" y="1449"/>
                </a:lnTo>
                <a:lnTo>
                  <a:pt x="718" y="1413"/>
                </a:lnTo>
                <a:lnTo>
                  <a:pt x="718" y="1413"/>
                </a:lnTo>
                <a:lnTo>
                  <a:pt x="744" y="1412"/>
                </a:lnTo>
                <a:lnTo>
                  <a:pt x="766" y="1411"/>
                </a:lnTo>
                <a:lnTo>
                  <a:pt x="786" y="1409"/>
                </a:lnTo>
                <a:lnTo>
                  <a:pt x="805" y="1406"/>
                </a:lnTo>
                <a:lnTo>
                  <a:pt x="820" y="1402"/>
                </a:lnTo>
                <a:lnTo>
                  <a:pt x="834" y="1397"/>
                </a:lnTo>
                <a:lnTo>
                  <a:pt x="845" y="1390"/>
                </a:lnTo>
                <a:lnTo>
                  <a:pt x="854" y="1382"/>
                </a:lnTo>
                <a:lnTo>
                  <a:pt x="861" y="1374"/>
                </a:lnTo>
                <a:lnTo>
                  <a:pt x="865" y="1365"/>
                </a:lnTo>
                <a:lnTo>
                  <a:pt x="868" y="1354"/>
                </a:lnTo>
                <a:lnTo>
                  <a:pt x="868" y="1342"/>
                </a:lnTo>
                <a:lnTo>
                  <a:pt x="867" y="1329"/>
                </a:lnTo>
                <a:lnTo>
                  <a:pt x="864" y="1315"/>
                </a:lnTo>
                <a:lnTo>
                  <a:pt x="859" y="1299"/>
                </a:lnTo>
                <a:lnTo>
                  <a:pt x="852" y="1281"/>
                </a:lnTo>
                <a:lnTo>
                  <a:pt x="769" y="1090"/>
                </a:lnTo>
                <a:lnTo>
                  <a:pt x="352" y="1090"/>
                </a:lnTo>
                <a:lnTo>
                  <a:pt x="269" y="1281"/>
                </a:lnTo>
                <a:lnTo>
                  <a:pt x="269" y="1281"/>
                </a:lnTo>
                <a:lnTo>
                  <a:pt x="262" y="1299"/>
                </a:lnTo>
                <a:lnTo>
                  <a:pt x="257" y="1314"/>
                </a:lnTo>
                <a:lnTo>
                  <a:pt x="254" y="1328"/>
                </a:lnTo>
                <a:lnTo>
                  <a:pt x="253" y="1341"/>
                </a:lnTo>
                <a:lnTo>
                  <a:pt x="253" y="1353"/>
                </a:lnTo>
                <a:lnTo>
                  <a:pt x="256" y="1364"/>
                </a:lnTo>
                <a:lnTo>
                  <a:pt x="260" y="1373"/>
                </a:lnTo>
                <a:lnTo>
                  <a:pt x="267" y="1382"/>
                </a:lnTo>
                <a:lnTo>
                  <a:pt x="276" y="1390"/>
                </a:lnTo>
                <a:lnTo>
                  <a:pt x="287" y="1396"/>
                </a:lnTo>
                <a:lnTo>
                  <a:pt x="301" y="1401"/>
                </a:lnTo>
                <a:lnTo>
                  <a:pt x="316" y="1405"/>
                </a:lnTo>
                <a:lnTo>
                  <a:pt x="335" y="1409"/>
                </a:lnTo>
                <a:lnTo>
                  <a:pt x="355" y="1411"/>
                </a:lnTo>
                <a:lnTo>
                  <a:pt x="378" y="1412"/>
                </a:lnTo>
                <a:lnTo>
                  <a:pt x="404" y="1413"/>
                </a:lnTo>
                <a:lnTo>
                  <a:pt x="404" y="1449"/>
                </a:lnTo>
                <a:lnTo>
                  <a:pt x="0" y="1449"/>
                </a:lnTo>
                <a:lnTo>
                  <a:pt x="0" y="1413"/>
                </a:lnTo>
                <a:close/>
                <a:moveTo>
                  <a:pt x="740" y="1027"/>
                </a:moveTo>
                <a:lnTo>
                  <a:pt x="558" y="610"/>
                </a:lnTo>
                <a:lnTo>
                  <a:pt x="380" y="1027"/>
                </a:lnTo>
                <a:lnTo>
                  <a:pt x="740" y="1027"/>
                </a:lnTo>
                <a:close/>
                <a:moveTo>
                  <a:pt x="450" y="141"/>
                </a:moveTo>
                <a:lnTo>
                  <a:pt x="450" y="141"/>
                </a:lnTo>
                <a:lnTo>
                  <a:pt x="451" y="127"/>
                </a:lnTo>
                <a:lnTo>
                  <a:pt x="453" y="112"/>
                </a:lnTo>
                <a:lnTo>
                  <a:pt x="456" y="99"/>
                </a:lnTo>
                <a:lnTo>
                  <a:pt x="461" y="87"/>
                </a:lnTo>
                <a:lnTo>
                  <a:pt x="467" y="74"/>
                </a:lnTo>
                <a:lnTo>
                  <a:pt x="474" y="62"/>
                </a:lnTo>
                <a:lnTo>
                  <a:pt x="482" y="51"/>
                </a:lnTo>
                <a:lnTo>
                  <a:pt x="491" y="42"/>
                </a:lnTo>
                <a:lnTo>
                  <a:pt x="501" y="33"/>
                </a:lnTo>
                <a:lnTo>
                  <a:pt x="512" y="25"/>
                </a:lnTo>
                <a:lnTo>
                  <a:pt x="524" y="17"/>
                </a:lnTo>
                <a:lnTo>
                  <a:pt x="536" y="11"/>
                </a:lnTo>
                <a:lnTo>
                  <a:pt x="549" y="6"/>
                </a:lnTo>
                <a:lnTo>
                  <a:pt x="563" y="3"/>
                </a:lnTo>
                <a:lnTo>
                  <a:pt x="577" y="1"/>
                </a:lnTo>
                <a:lnTo>
                  <a:pt x="591" y="0"/>
                </a:lnTo>
                <a:lnTo>
                  <a:pt x="591" y="0"/>
                </a:lnTo>
                <a:lnTo>
                  <a:pt x="607" y="1"/>
                </a:lnTo>
                <a:lnTo>
                  <a:pt x="621" y="3"/>
                </a:lnTo>
                <a:lnTo>
                  <a:pt x="634" y="6"/>
                </a:lnTo>
                <a:lnTo>
                  <a:pt x="647" y="11"/>
                </a:lnTo>
                <a:lnTo>
                  <a:pt x="660" y="17"/>
                </a:lnTo>
                <a:lnTo>
                  <a:pt x="672" y="25"/>
                </a:lnTo>
                <a:lnTo>
                  <a:pt x="683" y="33"/>
                </a:lnTo>
                <a:lnTo>
                  <a:pt x="693" y="42"/>
                </a:lnTo>
                <a:lnTo>
                  <a:pt x="703" y="51"/>
                </a:lnTo>
                <a:lnTo>
                  <a:pt x="711" y="62"/>
                </a:lnTo>
                <a:lnTo>
                  <a:pt x="718" y="74"/>
                </a:lnTo>
                <a:lnTo>
                  <a:pt x="724" y="87"/>
                </a:lnTo>
                <a:lnTo>
                  <a:pt x="728" y="99"/>
                </a:lnTo>
                <a:lnTo>
                  <a:pt x="732" y="112"/>
                </a:lnTo>
                <a:lnTo>
                  <a:pt x="734" y="127"/>
                </a:lnTo>
                <a:lnTo>
                  <a:pt x="735" y="141"/>
                </a:lnTo>
                <a:lnTo>
                  <a:pt x="735" y="141"/>
                </a:lnTo>
                <a:lnTo>
                  <a:pt x="734" y="156"/>
                </a:lnTo>
                <a:lnTo>
                  <a:pt x="732" y="170"/>
                </a:lnTo>
                <a:lnTo>
                  <a:pt x="728" y="184"/>
                </a:lnTo>
                <a:lnTo>
                  <a:pt x="724" y="197"/>
                </a:lnTo>
                <a:lnTo>
                  <a:pt x="718" y="210"/>
                </a:lnTo>
                <a:lnTo>
                  <a:pt x="711" y="222"/>
                </a:lnTo>
                <a:lnTo>
                  <a:pt x="703" y="232"/>
                </a:lnTo>
                <a:lnTo>
                  <a:pt x="693" y="242"/>
                </a:lnTo>
                <a:lnTo>
                  <a:pt x="683" y="252"/>
                </a:lnTo>
                <a:lnTo>
                  <a:pt x="672" y="260"/>
                </a:lnTo>
                <a:lnTo>
                  <a:pt x="660" y="267"/>
                </a:lnTo>
                <a:lnTo>
                  <a:pt x="647" y="273"/>
                </a:lnTo>
                <a:lnTo>
                  <a:pt x="634" y="278"/>
                </a:lnTo>
                <a:lnTo>
                  <a:pt x="621" y="281"/>
                </a:lnTo>
                <a:lnTo>
                  <a:pt x="607" y="284"/>
                </a:lnTo>
                <a:lnTo>
                  <a:pt x="591" y="284"/>
                </a:lnTo>
                <a:lnTo>
                  <a:pt x="591" y="284"/>
                </a:lnTo>
                <a:lnTo>
                  <a:pt x="577" y="284"/>
                </a:lnTo>
                <a:lnTo>
                  <a:pt x="563" y="281"/>
                </a:lnTo>
                <a:lnTo>
                  <a:pt x="549" y="278"/>
                </a:lnTo>
                <a:lnTo>
                  <a:pt x="536" y="273"/>
                </a:lnTo>
                <a:lnTo>
                  <a:pt x="524" y="267"/>
                </a:lnTo>
                <a:lnTo>
                  <a:pt x="512" y="260"/>
                </a:lnTo>
                <a:lnTo>
                  <a:pt x="501" y="252"/>
                </a:lnTo>
                <a:lnTo>
                  <a:pt x="491" y="242"/>
                </a:lnTo>
                <a:lnTo>
                  <a:pt x="482" y="232"/>
                </a:lnTo>
                <a:lnTo>
                  <a:pt x="474" y="222"/>
                </a:lnTo>
                <a:lnTo>
                  <a:pt x="467" y="210"/>
                </a:lnTo>
                <a:lnTo>
                  <a:pt x="461" y="197"/>
                </a:lnTo>
                <a:lnTo>
                  <a:pt x="456" y="184"/>
                </a:lnTo>
                <a:lnTo>
                  <a:pt x="453" y="170"/>
                </a:lnTo>
                <a:lnTo>
                  <a:pt x="451" y="156"/>
                </a:lnTo>
                <a:lnTo>
                  <a:pt x="450" y="141"/>
                </a:lnTo>
                <a:lnTo>
                  <a:pt x="450" y="141"/>
                </a:lnTo>
                <a:close/>
                <a:moveTo>
                  <a:pt x="671" y="141"/>
                </a:moveTo>
                <a:lnTo>
                  <a:pt x="671" y="141"/>
                </a:lnTo>
                <a:lnTo>
                  <a:pt x="671" y="133"/>
                </a:lnTo>
                <a:lnTo>
                  <a:pt x="669" y="126"/>
                </a:lnTo>
                <a:lnTo>
                  <a:pt x="668" y="119"/>
                </a:lnTo>
                <a:lnTo>
                  <a:pt x="665" y="111"/>
                </a:lnTo>
                <a:lnTo>
                  <a:pt x="662" y="104"/>
                </a:lnTo>
                <a:lnTo>
                  <a:pt x="658" y="98"/>
                </a:lnTo>
                <a:lnTo>
                  <a:pt x="653" y="92"/>
                </a:lnTo>
                <a:lnTo>
                  <a:pt x="647" y="86"/>
                </a:lnTo>
                <a:lnTo>
                  <a:pt x="642" y="82"/>
                </a:lnTo>
                <a:lnTo>
                  <a:pt x="636" y="77"/>
                </a:lnTo>
                <a:lnTo>
                  <a:pt x="629" y="73"/>
                </a:lnTo>
                <a:lnTo>
                  <a:pt x="622" y="70"/>
                </a:lnTo>
                <a:lnTo>
                  <a:pt x="615" y="67"/>
                </a:lnTo>
                <a:lnTo>
                  <a:pt x="608" y="65"/>
                </a:lnTo>
                <a:lnTo>
                  <a:pt x="599" y="64"/>
                </a:lnTo>
                <a:lnTo>
                  <a:pt x="591" y="63"/>
                </a:lnTo>
                <a:lnTo>
                  <a:pt x="591" y="63"/>
                </a:lnTo>
                <a:lnTo>
                  <a:pt x="584" y="64"/>
                </a:lnTo>
                <a:lnTo>
                  <a:pt x="576" y="65"/>
                </a:lnTo>
                <a:lnTo>
                  <a:pt x="569" y="67"/>
                </a:lnTo>
                <a:lnTo>
                  <a:pt x="562" y="70"/>
                </a:lnTo>
                <a:lnTo>
                  <a:pt x="554" y="73"/>
                </a:lnTo>
                <a:lnTo>
                  <a:pt x="547" y="77"/>
                </a:lnTo>
                <a:lnTo>
                  <a:pt x="541" y="82"/>
                </a:lnTo>
                <a:lnTo>
                  <a:pt x="536" y="86"/>
                </a:lnTo>
                <a:lnTo>
                  <a:pt x="531" y="92"/>
                </a:lnTo>
                <a:lnTo>
                  <a:pt x="526" y="98"/>
                </a:lnTo>
                <a:lnTo>
                  <a:pt x="522" y="104"/>
                </a:lnTo>
                <a:lnTo>
                  <a:pt x="519" y="111"/>
                </a:lnTo>
                <a:lnTo>
                  <a:pt x="516" y="119"/>
                </a:lnTo>
                <a:lnTo>
                  <a:pt x="513" y="126"/>
                </a:lnTo>
                <a:lnTo>
                  <a:pt x="512" y="133"/>
                </a:lnTo>
                <a:lnTo>
                  <a:pt x="512" y="141"/>
                </a:lnTo>
                <a:lnTo>
                  <a:pt x="512" y="141"/>
                </a:lnTo>
                <a:lnTo>
                  <a:pt x="512" y="149"/>
                </a:lnTo>
                <a:lnTo>
                  <a:pt x="513" y="157"/>
                </a:lnTo>
                <a:lnTo>
                  <a:pt x="516" y="165"/>
                </a:lnTo>
                <a:lnTo>
                  <a:pt x="519" y="172"/>
                </a:lnTo>
                <a:lnTo>
                  <a:pt x="522" y="179"/>
                </a:lnTo>
                <a:lnTo>
                  <a:pt x="526" y="185"/>
                </a:lnTo>
                <a:lnTo>
                  <a:pt x="531" y="191"/>
                </a:lnTo>
                <a:lnTo>
                  <a:pt x="536" y="197"/>
                </a:lnTo>
                <a:lnTo>
                  <a:pt x="541" y="202"/>
                </a:lnTo>
                <a:lnTo>
                  <a:pt x="547" y="207"/>
                </a:lnTo>
                <a:lnTo>
                  <a:pt x="554" y="211"/>
                </a:lnTo>
                <a:lnTo>
                  <a:pt x="562" y="215"/>
                </a:lnTo>
                <a:lnTo>
                  <a:pt x="569" y="217"/>
                </a:lnTo>
                <a:lnTo>
                  <a:pt x="576" y="219"/>
                </a:lnTo>
                <a:lnTo>
                  <a:pt x="584" y="220"/>
                </a:lnTo>
                <a:lnTo>
                  <a:pt x="591" y="221"/>
                </a:lnTo>
                <a:lnTo>
                  <a:pt x="591" y="221"/>
                </a:lnTo>
                <a:lnTo>
                  <a:pt x="599" y="220"/>
                </a:lnTo>
                <a:lnTo>
                  <a:pt x="608" y="219"/>
                </a:lnTo>
                <a:lnTo>
                  <a:pt x="615" y="217"/>
                </a:lnTo>
                <a:lnTo>
                  <a:pt x="622" y="215"/>
                </a:lnTo>
                <a:lnTo>
                  <a:pt x="629" y="211"/>
                </a:lnTo>
                <a:lnTo>
                  <a:pt x="636" y="207"/>
                </a:lnTo>
                <a:lnTo>
                  <a:pt x="642" y="202"/>
                </a:lnTo>
                <a:lnTo>
                  <a:pt x="647" y="197"/>
                </a:lnTo>
                <a:lnTo>
                  <a:pt x="653" y="191"/>
                </a:lnTo>
                <a:lnTo>
                  <a:pt x="658" y="185"/>
                </a:lnTo>
                <a:lnTo>
                  <a:pt x="662" y="179"/>
                </a:lnTo>
                <a:lnTo>
                  <a:pt x="665" y="172"/>
                </a:lnTo>
                <a:lnTo>
                  <a:pt x="668" y="165"/>
                </a:lnTo>
                <a:lnTo>
                  <a:pt x="669" y="157"/>
                </a:lnTo>
                <a:lnTo>
                  <a:pt x="671" y="149"/>
                </a:lnTo>
                <a:lnTo>
                  <a:pt x="671" y="141"/>
                </a:lnTo>
                <a:lnTo>
                  <a:pt x="671" y="14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fi-FI" sz="1800"/>
          </a:p>
        </p:txBody>
      </p:sp>
      <p:sp>
        <p:nvSpPr>
          <p:cNvPr id="75" name="Freeform 26">
            <a:extLst>
              <a:ext uri="{FF2B5EF4-FFF2-40B4-BE49-F238E27FC236}">
                <a16:creationId xmlns:a16="http://schemas.microsoft.com/office/drawing/2014/main" id="{9A29B5C2-6BCF-864E-A249-62F234E2F11F}"/>
              </a:ext>
            </a:extLst>
          </p:cNvPr>
          <p:cNvSpPr>
            <a:spLocks noEditPoints="1"/>
          </p:cNvSpPr>
          <p:nvPr userDrawn="1"/>
        </p:nvSpPr>
        <p:spPr bwMode="auto">
          <a:xfrm>
            <a:off x="2586039" y="1158877"/>
            <a:ext cx="138113" cy="136525"/>
          </a:xfrm>
          <a:custGeom>
            <a:avLst/>
            <a:gdLst>
              <a:gd name="T0" fmla="*/ 48 w 1043"/>
              <a:gd name="T1" fmla="*/ 997 h 1035"/>
              <a:gd name="T2" fmla="*/ 115 w 1043"/>
              <a:gd name="T3" fmla="*/ 981 h 1035"/>
              <a:gd name="T4" fmla="*/ 135 w 1043"/>
              <a:gd name="T5" fmla="*/ 962 h 1035"/>
              <a:gd name="T6" fmla="*/ 155 w 1043"/>
              <a:gd name="T7" fmla="*/ 920 h 1035"/>
              <a:gd name="T8" fmla="*/ 164 w 1043"/>
              <a:gd name="T9" fmla="*/ 827 h 1035"/>
              <a:gd name="T10" fmla="*/ 164 w 1043"/>
              <a:gd name="T11" fmla="*/ 206 h 1035"/>
              <a:gd name="T12" fmla="*/ 155 w 1043"/>
              <a:gd name="T13" fmla="*/ 114 h 1035"/>
              <a:gd name="T14" fmla="*/ 135 w 1043"/>
              <a:gd name="T15" fmla="*/ 72 h 1035"/>
              <a:gd name="T16" fmla="*/ 115 w 1043"/>
              <a:gd name="T17" fmla="*/ 54 h 1035"/>
              <a:gd name="T18" fmla="*/ 48 w 1043"/>
              <a:gd name="T19" fmla="*/ 38 h 1035"/>
              <a:gd name="T20" fmla="*/ 468 w 1043"/>
              <a:gd name="T21" fmla="*/ 0 h 1035"/>
              <a:gd name="T22" fmla="*/ 574 w 1043"/>
              <a:gd name="T23" fmla="*/ 6 h 1035"/>
              <a:gd name="T24" fmla="*/ 699 w 1043"/>
              <a:gd name="T25" fmla="*/ 32 h 1035"/>
              <a:gd name="T26" fmla="*/ 803 w 1043"/>
              <a:gd name="T27" fmla="*/ 75 h 1035"/>
              <a:gd name="T28" fmla="*/ 888 w 1043"/>
              <a:gd name="T29" fmla="*/ 135 h 1035"/>
              <a:gd name="T30" fmla="*/ 953 w 1043"/>
              <a:gd name="T31" fmla="*/ 209 h 1035"/>
              <a:gd name="T32" fmla="*/ 1001 w 1043"/>
              <a:gd name="T33" fmla="*/ 294 h 1035"/>
              <a:gd name="T34" fmla="*/ 1031 w 1043"/>
              <a:gd name="T35" fmla="*/ 389 h 1035"/>
              <a:gd name="T36" fmla="*/ 1043 w 1043"/>
              <a:gd name="T37" fmla="*/ 491 h 1035"/>
              <a:gd name="T38" fmla="*/ 1041 w 1043"/>
              <a:gd name="T39" fmla="*/ 570 h 1035"/>
              <a:gd name="T40" fmla="*/ 1025 w 1043"/>
              <a:gd name="T41" fmla="*/ 671 h 1035"/>
              <a:gd name="T42" fmla="*/ 991 w 1043"/>
              <a:gd name="T43" fmla="*/ 764 h 1035"/>
              <a:gd name="T44" fmla="*/ 939 w 1043"/>
              <a:gd name="T45" fmla="*/ 846 h 1035"/>
              <a:gd name="T46" fmla="*/ 868 w 1043"/>
              <a:gd name="T47" fmla="*/ 916 h 1035"/>
              <a:gd name="T48" fmla="*/ 779 w 1043"/>
              <a:gd name="T49" fmla="*/ 972 h 1035"/>
              <a:gd name="T50" fmla="*/ 670 w 1043"/>
              <a:gd name="T51" fmla="*/ 1011 h 1035"/>
              <a:gd name="T52" fmla="*/ 540 w 1043"/>
              <a:gd name="T53" fmla="*/ 1032 h 1035"/>
              <a:gd name="T54" fmla="*/ 0 w 1043"/>
              <a:gd name="T55" fmla="*/ 999 h 1035"/>
              <a:gd name="T56" fmla="*/ 529 w 1043"/>
              <a:gd name="T57" fmla="*/ 968 h 1035"/>
              <a:gd name="T58" fmla="*/ 631 w 1043"/>
              <a:gd name="T59" fmla="*/ 947 h 1035"/>
              <a:gd name="T60" fmla="*/ 713 w 1043"/>
              <a:gd name="T61" fmla="*/ 906 h 1035"/>
              <a:gd name="T62" fmla="*/ 775 w 1043"/>
              <a:gd name="T63" fmla="*/ 852 h 1035"/>
              <a:gd name="T64" fmla="*/ 820 w 1043"/>
              <a:gd name="T65" fmla="*/ 785 h 1035"/>
              <a:gd name="T66" fmla="*/ 851 w 1043"/>
              <a:gd name="T67" fmla="*/ 712 h 1035"/>
              <a:gd name="T68" fmla="*/ 869 w 1043"/>
              <a:gd name="T69" fmla="*/ 634 h 1035"/>
              <a:gd name="T70" fmla="*/ 878 w 1043"/>
              <a:gd name="T71" fmla="*/ 517 h 1035"/>
              <a:gd name="T72" fmla="*/ 865 w 1043"/>
              <a:gd name="T73" fmla="*/ 380 h 1035"/>
              <a:gd name="T74" fmla="*/ 845 w 1043"/>
              <a:gd name="T75" fmla="*/ 304 h 1035"/>
              <a:gd name="T76" fmla="*/ 810 w 1043"/>
              <a:gd name="T77" fmla="*/ 231 h 1035"/>
              <a:gd name="T78" fmla="*/ 761 w 1043"/>
              <a:gd name="T79" fmla="*/ 168 h 1035"/>
              <a:gd name="T80" fmla="*/ 695 w 1043"/>
              <a:gd name="T81" fmla="*/ 117 h 1035"/>
              <a:gd name="T82" fmla="*/ 608 w 1043"/>
              <a:gd name="T83" fmla="*/ 81 h 1035"/>
              <a:gd name="T84" fmla="*/ 500 w 1043"/>
              <a:gd name="T85" fmla="*/ 65 h 1035"/>
              <a:gd name="T86" fmla="*/ 302 w 1043"/>
              <a:gd name="T87" fmla="*/ 771 h 1035"/>
              <a:gd name="T88" fmla="*/ 307 w 1043"/>
              <a:gd name="T89" fmla="*/ 875 h 1035"/>
              <a:gd name="T90" fmla="*/ 324 w 1043"/>
              <a:gd name="T91" fmla="*/ 931 h 1035"/>
              <a:gd name="T92" fmla="*/ 344 w 1043"/>
              <a:gd name="T93" fmla="*/ 950 h 1035"/>
              <a:gd name="T94" fmla="*/ 395 w 1043"/>
              <a:gd name="T95" fmla="*/ 967 h 1035"/>
              <a:gd name="T96" fmla="*/ 469 w 1043"/>
              <a:gd name="T97" fmla="*/ 971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43" h="1035">
                <a:moveTo>
                  <a:pt x="0" y="999"/>
                </a:moveTo>
                <a:lnTo>
                  <a:pt x="0" y="999"/>
                </a:lnTo>
                <a:lnTo>
                  <a:pt x="25" y="998"/>
                </a:lnTo>
                <a:lnTo>
                  <a:pt x="48" y="997"/>
                </a:lnTo>
                <a:lnTo>
                  <a:pt x="68" y="995"/>
                </a:lnTo>
                <a:lnTo>
                  <a:pt x="86" y="991"/>
                </a:lnTo>
                <a:lnTo>
                  <a:pt x="102" y="987"/>
                </a:lnTo>
                <a:lnTo>
                  <a:pt x="115" y="981"/>
                </a:lnTo>
                <a:lnTo>
                  <a:pt x="121" y="977"/>
                </a:lnTo>
                <a:lnTo>
                  <a:pt x="126" y="972"/>
                </a:lnTo>
                <a:lnTo>
                  <a:pt x="131" y="967"/>
                </a:lnTo>
                <a:lnTo>
                  <a:pt x="135" y="962"/>
                </a:lnTo>
                <a:lnTo>
                  <a:pt x="139" y="957"/>
                </a:lnTo>
                <a:lnTo>
                  <a:pt x="143" y="951"/>
                </a:lnTo>
                <a:lnTo>
                  <a:pt x="150" y="937"/>
                </a:lnTo>
                <a:lnTo>
                  <a:pt x="155" y="920"/>
                </a:lnTo>
                <a:lnTo>
                  <a:pt x="158" y="901"/>
                </a:lnTo>
                <a:lnTo>
                  <a:pt x="161" y="879"/>
                </a:lnTo>
                <a:lnTo>
                  <a:pt x="163" y="855"/>
                </a:lnTo>
                <a:lnTo>
                  <a:pt x="164" y="827"/>
                </a:lnTo>
                <a:lnTo>
                  <a:pt x="164" y="797"/>
                </a:lnTo>
                <a:lnTo>
                  <a:pt x="164" y="236"/>
                </a:lnTo>
                <a:lnTo>
                  <a:pt x="164" y="236"/>
                </a:lnTo>
                <a:lnTo>
                  <a:pt x="164" y="206"/>
                </a:lnTo>
                <a:lnTo>
                  <a:pt x="163" y="178"/>
                </a:lnTo>
                <a:lnTo>
                  <a:pt x="161" y="153"/>
                </a:lnTo>
                <a:lnTo>
                  <a:pt x="158" y="132"/>
                </a:lnTo>
                <a:lnTo>
                  <a:pt x="155" y="114"/>
                </a:lnTo>
                <a:lnTo>
                  <a:pt x="150" y="97"/>
                </a:lnTo>
                <a:lnTo>
                  <a:pt x="143" y="83"/>
                </a:lnTo>
                <a:lnTo>
                  <a:pt x="139" y="77"/>
                </a:lnTo>
                <a:lnTo>
                  <a:pt x="135" y="72"/>
                </a:lnTo>
                <a:lnTo>
                  <a:pt x="131" y="67"/>
                </a:lnTo>
                <a:lnTo>
                  <a:pt x="126" y="61"/>
                </a:lnTo>
                <a:lnTo>
                  <a:pt x="121" y="57"/>
                </a:lnTo>
                <a:lnTo>
                  <a:pt x="115" y="54"/>
                </a:lnTo>
                <a:lnTo>
                  <a:pt x="102" y="48"/>
                </a:lnTo>
                <a:lnTo>
                  <a:pt x="86" y="43"/>
                </a:lnTo>
                <a:lnTo>
                  <a:pt x="68" y="40"/>
                </a:lnTo>
                <a:lnTo>
                  <a:pt x="48" y="38"/>
                </a:lnTo>
                <a:lnTo>
                  <a:pt x="25" y="37"/>
                </a:lnTo>
                <a:lnTo>
                  <a:pt x="0" y="36"/>
                </a:lnTo>
                <a:lnTo>
                  <a:pt x="0" y="0"/>
                </a:lnTo>
                <a:lnTo>
                  <a:pt x="468" y="0"/>
                </a:lnTo>
                <a:lnTo>
                  <a:pt x="468" y="0"/>
                </a:lnTo>
                <a:lnTo>
                  <a:pt x="504" y="0"/>
                </a:lnTo>
                <a:lnTo>
                  <a:pt x="540" y="2"/>
                </a:lnTo>
                <a:lnTo>
                  <a:pt x="574" y="6"/>
                </a:lnTo>
                <a:lnTo>
                  <a:pt x="608" y="10"/>
                </a:lnTo>
                <a:lnTo>
                  <a:pt x="639" y="16"/>
                </a:lnTo>
                <a:lnTo>
                  <a:pt x="670" y="24"/>
                </a:lnTo>
                <a:lnTo>
                  <a:pt x="699" y="32"/>
                </a:lnTo>
                <a:lnTo>
                  <a:pt x="727" y="41"/>
                </a:lnTo>
                <a:lnTo>
                  <a:pt x="754" y="51"/>
                </a:lnTo>
                <a:lnTo>
                  <a:pt x="779" y="62"/>
                </a:lnTo>
                <a:lnTo>
                  <a:pt x="803" y="75"/>
                </a:lnTo>
                <a:lnTo>
                  <a:pt x="827" y="88"/>
                </a:lnTo>
                <a:lnTo>
                  <a:pt x="848" y="103"/>
                </a:lnTo>
                <a:lnTo>
                  <a:pt x="868" y="119"/>
                </a:lnTo>
                <a:lnTo>
                  <a:pt x="888" y="135"/>
                </a:lnTo>
                <a:lnTo>
                  <a:pt x="906" y="151"/>
                </a:lnTo>
                <a:lnTo>
                  <a:pt x="924" y="170"/>
                </a:lnTo>
                <a:lnTo>
                  <a:pt x="939" y="188"/>
                </a:lnTo>
                <a:lnTo>
                  <a:pt x="953" y="209"/>
                </a:lnTo>
                <a:lnTo>
                  <a:pt x="968" y="228"/>
                </a:lnTo>
                <a:lnTo>
                  <a:pt x="980" y="250"/>
                </a:lnTo>
                <a:lnTo>
                  <a:pt x="991" y="271"/>
                </a:lnTo>
                <a:lnTo>
                  <a:pt x="1001" y="294"/>
                </a:lnTo>
                <a:lnTo>
                  <a:pt x="1010" y="316"/>
                </a:lnTo>
                <a:lnTo>
                  <a:pt x="1018" y="340"/>
                </a:lnTo>
                <a:lnTo>
                  <a:pt x="1025" y="364"/>
                </a:lnTo>
                <a:lnTo>
                  <a:pt x="1031" y="389"/>
                </a:lnTo>
                <a:lnTo>
                  <a:pt x="1035" y="413"/>
                </a:lnTo>
                <a:lnTo>
                  <a:pt x="1039" y="439"/>
                </a:lnTo>
                <a:lnTo>
                  <a:pt x="1041" y="464"/>
                </a:lnTo>
                <a:lnTo>
                  <a:pt x="1043" y="491"/>
                </a:lnTo>
                <a:lnTo>
                  <a:pt x="1043" y="517"/>
                </a:lnTo>
                <a:lnTo>
                  <a:pt x="1043" y="517"/>
                </a:lnTo>
                <a:lnTo>
                  <a:pt x="1043" y="544"/>
                </a:lnTo>
                <a:lnTo>
                  <a:pt x="1041" y="570"/>
                </a:lnTo>
                <a:lnTo>
                  <a:pt x="1039" y="596"/>
                </a:lnTo>
                <a:lnTo>
                  <a:pt x="1035" y="622"/>
                </a:lnTo>
                <a:lnTo>
                  <a:pt x="1031" y="646"/>
                </a:lnTo>
                <a:lnTo>
                  <a:pt x="1025" y="671"/>
                </a:lnTo>
                <a:lnTo>
                  <a:pt x="1018" y="694"/>
                </a:lnTo>
                <a:lnTo>
                  <a:pt x="1010" y="718"/>
                </a:lnTo>
                <a:lnTo>
                  <a:pt x="1001" y="741"/>
                </a:lnTo>
                <a:lnTo>
                  <a:pt x="991" y="764"/>
                </a:lnTo>
                <a:lnTo>
                  <a:pt x="980" y="785"/>
                </a:lnTo>
                <a:lnTo>
                  <a:pt x="968" y="806"/>
                </a:lnTo>
                <a:lnTo>
                  <a:pt x="953" y="826"/>
                </a:lnTo>
                <a:lnTo>
                  <a:pt x="939" y="846"/>
                </a:lnTo>
                <a:lnTo>
                  <a:pt x="924" y="865"/>
                </a:lnTo>
                <a:lnTo>
                  <a:pt x="906" y="882"/>
                </a:lnTo>
                <a:lnTo>
                  <a:pt x="888" y="900"/>
                </a:lnTo>
                <a:lnTo>
                  <a:pt x="868" y="916"/>
                </a:lnTo>
                <a:lnTo>
                  <a:pt x="848" y="932"/>
                </a:lnTo>
                <a:lnTo>
                  <a:pt x="827" y="946"/>
                </a:lnTo>
                <a:lnTo>
                  <a:pt x="803" y="959"/>
                </a:lnTo>
                <a:lnTo>
                  <a:pt x="779" y="972"/>
                </a:lnTo>
                <a:lnTo>
                  <a:pt x="754" y="984"/>
                </a:lnTo>
                <a:lnTo>
                  <a:pt x="727" y="994"/>
                </a:lnTo>
                <a:lnTo>
                  <a:pt x="699" y="1003"/>
                </a:lnTo>
                <a:lnTo>
                  <a:pt x="670" y="1011"/>
                </a:lnTo>
                <a:lnTo>
                  <a:pt x="639" y="1018"/>
                </a:lnTo>
                <a:lnTo>
                  <a:pt x="608" y="1025"/>
                </a:lnTo>
                <a:lnTo>
                  <a:pt x="574" y="1029"/>
                </a:lnTo>
                <a:lnTo>
                  <a:pt x="540" y="1032"/>
                </a:lnTo>
                <a:lnTo>
                  <a:pt x="504" y="1034"/>
                </a:lnTo>
                <a:lnTo>
                  <a:pt x="468" y="1035"/>
                </a:lnTo>
                <a:lnTo>
                  <a:pt x="0" y="1035"/>
                </a:lnTo>
                <a:lnTo>
                  <a:pt x="0" y="999"/>
                </a:lnTo>
                <a:close/>
                <a:moveTo>
                  <a:pt x="469" y="971"/>
                </a:moveTo>
                <a:lnTo>
                  <a:pt x="469" y="971"/>
                </a:lnTo>
                <a:lnTo>
                  <a:pt x="500" y="970"/>
                </a:lnTo>
                <a:lnTo>
                  <a:pt x="529" y="968"/>
                </a:lnTo>
                <a:lnTo>
                  <a:pt x="557" y="964"/>
                </a:lnTo>
                <a:lnTo>
                  <a:pt x="583" y="960"/>
                </a:lnTo>
                <a:lnTo>
                  <a:pt x="608" y="954"/>
                </a:lnTo>
                <a:lnTo>
                  <a:pt x="631" y="947"/>
                </a:lnTo>
                <a:lnTo>
                  <a:pt x="654" y="938"/>
                </a:lnTo>
                <a:lnTo>
                  <a:pt x="675" y="928"/>
                </a:lnTo>
                <a:lnTo>
                  <a:pt x="695" y="918"/>
                </a:lnTo>
                <a:lnTo>
                  <a:pt x="713" y="906"/>
                </a:lnTo>
                <a:lnTo>
                  <a:pt x="730" y="894"/>
                </a:lnTo>
                <a:lnTo>
                  <a:pt x="747" y="880"/>
                </a:lnTo>
                <a:lnTo>
                  <a:pt x="761" y="866"/>
                </a:lnTo>
                <a:lnTo>
                  <a:pt x="775" y="852"/>
                </a:lnTo>
                <a:lnTo>
                  <a:pt x="788" y="836"/>
                </a:lnTo>
                <a:lnTo>
                  <a:pt x="800" y="820"/>
                </a:lnTo>
                <a:lnTo>
                  <a:pt x="810" y="803"/>
                </a:lnTo>
                <a:lnTo>
                  <a:pt x="820" y="785"/>
                </a:lnTo>
                <a:lnTo>
                  <a:pt x="830" y="768"/>
                </a:lnTo>
                <a:lnTo>
                  <a:pt x="838" y="750"/>
                </a:lnTo>
                <a:lnTo>
                  <a:pt x="845" y="731"/>
                </a:lnTo>
                <a:lnTo>
                  <a:pt x="851" y="712"/>
                </a:lnTo>
                <a:lnTo>
                  <a:pt x="856" y="692"/>
                </a:lnTo>
                <a:lnTo>
                  <a:pt x="861" y="673"/>
                </a:lnTo>
                <a:lnTo>
                  <a:pt x="865" y="653"/>
                </a:lnTo>
                <a:lnTo>
                  <a:pt x="869" y="634"/>
                </a:lnTo>
                <a:lnTo>
                  <a:pt x="875" y="595"/>
                </a:lnTo>
                <a:lnTo>
                  <a:pt x="877" y="555"/>
                </a:lnTo>
                <a:lnTo>
                  <a:pt x="878" y="517"/>
                </a:lnTo>
                <a:lnTo>
                  <a:pt x="878" y="517"/>
                </a:lnTo>
                <a:lnTo>
                  <a:pt x="877" y="479"/>
                </a:lnTo>
                <a:lnTo>
                  <a:pt x="875" y="440"/>
                </a:lnTo>
                <a:lnTo>
                  <a:pt x="869" y="401"/>
                </a:lnTo>
                <a:lnTo>
                  <a:pt x="865" y="380"/>
                </a:lnTo>
                <a:lnTo>
                  <a:pt x="861" y="361"/>
                </a:lnTo>
                <a:lnTo>
                  <a:pt x="856" y="342"/>
                </a:lnTo>
                <a:lnTo>
                  <a:pt x="851" y="323"/>
                </a:lnTo>
                <a:lnTo>
                  <a:pt x="845" y="304"/>
                </a:lnTo>
                <a:lnTo>
                  <a:pt x="838" y="285"/>
                </a:lnTo>
                <a:lnTo>
                  <a:pt x="830" y="267"/>
                </a:lnTo>
                <a:lnTo>
                  <a:pt x="820" y="249"/>
                </a:lnTo>
                <a:lnTo>
                  <a:pt x="810" y="231"/>
                </a:lnTo>
                <a:lnTo>
                  <a:pt x="800" y="215"/>
                </a:lnTo>
                <a:lnTo>
                  <a:pt x="788" y="198"/>
                </a:lnTo>
                <a:lnTo>
                  <a:pt x="775" y="183"/>
                </a:lnTo>
                <a:lnTo>
                  <a:pt x="761" y="168"/>
                </a:lnTo>
                <a:lnTo>
                  <a:pt x="747" y="154"/>
                </a:lnTo>
                <a:lnTo>
                  <a:pt x="730" y="140"/>
                </a:lnTo>
                <a:lnTo>
                  <a:pt x="713" y="128"/>
                </a:lnTo>
                <a:lnTo>
                  <a:pt x="695" y="117"/>
                </a:lnTo>
                <a:lnTo>
                  <a:pt x="675" y="106"/>
                </a:lnTo>
                <a:lnTo>
                  <a:pt x="654" y="96"/>
                </a:lnTo>
                <a:lnTo>
                  <a:pt x="631" y="88"/>
                </a:lnTo>
                <a:lnTo>
                  <a:pt x="608" y="81"/>
                </a:lnTo>
                <a:lnTo>
                  <a:pt x="583" y="75"/>
                </a:lnTo>
                <a:lnTo>
                  <a:pt x="557" y="70"/>
                </a:lnTo>
                <a:lnTo>
                  <a:pt x="529" y="67"/>
                </a:lnTo>
                <a:lnTo>
                  <a:pt x="500" y="65"/>
                </a:lnTo>
                <a:lnTo>
                  <a:pt x="469" y="63"/>
                </a:lnTo>
                <a:lnTo>
                  <a:pt x="302" y="63"/>
                </a:lnTo>
                <a:lnTo>
                  <a:pt x="302" y="771"/>
                </a:lnTo>
                <a:lnTo>
                  <a:pt x="302" y="771"/>
                </a:lnTo>
                <a:lnTo>
                  <a:pt x="302" y="802"/>
                </a:lnTo>
                <a:lnTo>
                  <a:pt x="303" y="829"/>
                </a:lnTo>
                <a:lnTo>
                  <a:pt x="304" y="854"/>
                </a:lnTo>
                <a:lnTo>
                  <a:pt x="307" y="875"/>
                </a:lnTo>
                <a:lnTo>
                  <a:pt x="310" y="894"/>
                </a:lnTo>
                <a:lnTo>
                  <a:pt x="315" y="910"/>
                </a:lnTo>
                <a:lnTo>
                  <a:pt x="321" y="924"/>
                </a:lnTo>
                <a:lnTo>
                  <a:pt x="324" y="931"/>
                </a:lnTo>
                <a:lnTo>
                  <a:pt x="329" y="936"/>
                </a:lnTo>
                <a:lnTo>
                  <a:pt x="334" y="941"/>
                </a:lnTo>
                <a:lnTo>
                  <a:pt x="338" y="946"/>
                </a:lnTo>
                <a:lnTo>
                  <a:pt x="344" y="950"/>
                </a:lnTo>
                <a:lnTo>
                  <a:pt x="349" y="953"/>
                </a:lnTo>
                <a:lnTo>
                  <a:pt x="362" y="959"/>
                </a:lnTo>
                <a:lnTo>
                  <a:pt x="378" y="964"/>
                </a:lnTo>
                <a:lnTo>
                  <a:pt x="395" y="967"/>
                </a:lnTo>
                <a:lnTo>
                  <a:pt x="414" y="969"/>
                </a:lnTo>
                <a:lnTo>
                  <a:pt x="437" y="970"/>
                </a:lnTo>
                <a:lnTo>
                  <a:pt x="463" y="971"/>
                </a:lnTo>
                <a:lnTo>
                  <a:pt x="469" y="97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fi-FI" sz="1800"/>
          </a:p>
        </p:txBody>
      </p:sp>
      <p:sp>
        <p:nvSpPr>
          <p:cNvPr id="76" name="Freeform 27">
            <a:extLst>
              <a:ext uri="{FF2B5EF4-FFF2-40B4-BE49-F238E27FC236}">
                <a16:creationId xmlns:a16="http://schemas.microsoft.com/office/drawing/2014/main" id="{568DB860-340B-C44E-BD54-38E675CD9CE2}"/>
              </a:ext>
            </a:extLst>
          </p:cNvPr>
          <p:cNvSpPr>
            <a:spLocks/>
          </p:cNvSpPr>
          <p:nvPr userDrawn="1"/>
        </p:nvSpPr>
        <p:spPr bwMode="auto">
          <a:xfrm>
            <a:off x="2760664" y="1158877"/>
            <a:ext cx="112713" cy="136525"/>
          </a:xfrm>
          <a:custGeom>
            <a:avLst/>
            <a:gdLst>
              <a:gd name="T0" fmla="*/ 26 w 859"/>
              <a:gd name="T1" fmla="*/ 998 h 1035"/>
              <a:gd name="T2" fmla="*/ 86 w 859"/>
              <a:gd name="T3" fmla="*/ 991 h 1035"/>
              <a:gd name="T4" fmla="*/ 121 w 859"/>
              <a:gd name="T5" fmla="*/ 977 h 1035"/>
              <a:gd name="T6" fmla="*/ 135 w 859"/>
              <a:gd name="T7" fmla="*/ 962 h 1035"/>
              <a:gd name="T8" fmla="*/ 150 w 859"/>
              <a:gd name="T9" fmla="*/ 937 h 1035"/>
              <a:gd name="T10" fmla="*/ 161 w 859"/>
              <a:gd name="T11" fmla="*/ 879 h 1035"/>
              <a:gd name="T12" fmla="*/ 164 w 859"/>
              <a:gd name="T13" fmla="*/ 797 h 1035"/>
              <a:gd name="T14" fmla="*/ 164 w 859"/>
              <a:gd name="T15" fmla="*/ 206 h 1035"/>
              <a:gd name="T16" fmla="*/ 159 w 859"/>
              <a:gd name="T17" fmla="*/ 132 h 1035"/>
              <a:gd name="T18" fmla="*/ 143 w 859"/>
              <a:gd name="T19" fmla="*/ 83 h 1035"/>
              <a:gd name="T20" fmla="*/ 131 w 859"/>
              <a:gd name="T21" fmla="*/ 67 h 1035"/>
              <a:gd name="T22" fmla="*/ 115 w 859"/>
              <a:gd name="T23" fmla="*/ 54 h 1035"/>
              <a:gd name="T24" fmla="*/ 69 w 859"/>
              <a:gd name="T25" fmla="*/ 40 h 1035"/>
              <a:gd name="T26" fmla="*/ 0 w 859"/>
              <a:gd name="T27" fmla="*/ 36 h 1035"/>
              <a:gd name="T28" fmla="*/ 802 w 859"/>
              <a:gd name="T29" fmla="*/ 227 h 1035"/>
              <a:gd name="T30" fmla="*/ 757 w 859"/>
              <a:gd name="T31" fmla="*/ 193 h 1035"/>
              <a:gd name="T32" fmla="*/ 739 w 859"/>
              <a:gd name="T33" fmla="*/ 135 h 1035"/>
              <a:gd name="T34" fmla="*/ 717 w 859"/>
              <a:gd name="T35" fmla="*/ 103 h 1035"/>
              <a:gd name="T36" fmla="*/ 684 w 859"/>
              <a:gd name="T37" fmla="*/ 81 h 1035"/>
              <a:gd name="T38" fmla="*/ 632 w 859"/>
              <a:gd name="T39" fmla="*/ 68 h 1035"/>
              <a:gd name="T40" fmla="*/ 558 w 859"/>
              <a:gd name="T41" fmla="*/ 63 h 1035"/>
              <a:gd name="T42" fmla="*/ 388 w 859"/>
              <a:gd name="T43" fmla="*/ 455 h 1035"/>
              <a:gd name="T44" fmla="*/ 446 w 859"/>
              <a:gd name="T45" fmla="*/ 454 h 1035"/>
              <a:gd name="T46" fmla="*/ 512 w 859"/>
              <a:gd name="T47" fmla="*/ 446 h 1035"/>
              <a:gd name="T48" fmla="*/ 547 w 859"/>
              <a:gd name="T49" fmla="*/ 431 h 1035"/>
              <a:gd name="T50" fmla="*/ 563 w 859"/>
              <a:gd name="T51" fmla="*/ 417 h 1035"/>
              <a:gd name="T52" fmla="*/ 577 w 859"/>
              <a:gd name="T53" fmla="*/ 393 h 1035"/>
              <a:gd name="T54" fmla="*/ 587 w 859"/>
              <a:gd name="T55" fmla="*/ 339 h 1035"/>
              <a:gd name="T56" fmla="*/ 625 w 859"/>
              <a:gd name="T57" fmla="*/ 289 h 1035"/>
              <a:gd name="T58" fmla="*/ 588 w 859"/>
              <a:gd name="T59" fmla="*/ 685 h 1035"/>
              <a:gd name="T60" fmla="*/ 585 w 859"/>
              <a:gd name="T61" fmla="*/ 616 h 1035"/>
              <a:gd name="T62" fmla="*/ 571 w 859"/>
              <a:gd name="T63" fmla="*/ 569 h 1035"/>
              <a:gd name="T64" fmla="*/ 559 w 859"/>
              <a:gd name="T65" fmla="*/ 552 h 1035"/>
              <a:gd name="T66" fmla="*/ 541 w 859"/>
              <a:gd name="T67" fmla="*/ 540 h 1035"/>
              <a:gd name="T68" fmla="*/ 492 w 859"/>
              <a:gd name="T69" fmla="*/ 525 h 1035"/>
              <a:gd name="T70" fmla="*/ 419 w 859"/>
              <a:gd name="T71" fmla="*/ 519 h 1035"/>
              <a:gd name="T72" fmla="*/ 302 w 859"/>
              <a:gd name="T73" fmla="*/ 771 h 1035"/>
              <a:gd name="T74" fmla="*/ 303 w 859"/>
              <a:gd name="T75" fmla="*/ 829 h 1035"/>
              <a:gd name="T76" fmla="*/ 311 w 859"/>
              <a:gd name="T77" fmla="*/ 894 h 1035"/>
              <a:gd name="T78" fmla="*/ 326 w 859"/>
              <a:gd name="T79" fmla="*/ 931 h 1035"/>
              <a:gd name="T80" fmla="*/ 340 w 859"/>
              <a:gd name="T81" fmla="*/ 946 h 1035"/>
              <a:gd name="T82" fmla="*/ 364 w 859"/>
              <a:gd name="T83" fmla="*/ 959 h 1035"/>
              <a:gd name="T84" fmla="*/ 417 w 859"/>
              <a:gd name="T85" fmla="*/ 969 h 1035"/>
              <a:gd name="T86" fmla="*/ 614 w 859"/>
              <a:gd name="T87" fmla="*/ 971 h 1035"/>
              <a:gd name="T88" fmla="*/ 668 w 859"/>
              <a:gd name="T89" fmla="*/ 969 h 1035"/>
              <a:gd name="T90" fmla="*/ 726 w 859"/>
              <a:gd name="T91" fmla="*/ 959 h 1035"/>
              <a:gd name="T92" fmla="*/ 765 w 859"/>
              <a:gd name="T93" fmla="*/ 940 h 1035"/>
              <a:gd name="T94" fmla="*/ 790 w 859"/>
              <a:gd name="T95" fmla="*/ 911 h 1035"/>
              <a:gd name="T96" fmla="*/ 806 w 859"/>
              <a:gd name="T97" fmla="*/ 872 h 1035"/>
              <a:gd name="T98" fmla="*/ 859 w 859"/>
              <a:gd name="T99" fmla="*/ 806 h 1035"/>
              <a:gd name="T100" fmla="*/ 0 w 859"/>
              <a:gd name="T101" fmla="*/ 999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59" h="1035">
                <a:moveTo>
                  <a:pt x="0" y="999"/>
                </a:moveTo>
                <a:lnTo>
                  <a:pt x="0" y="999"/>
                </a:lnTo>
                <a:lnTo>
                  <a:pt x="26" y="998"/>
                </a:lnTo>
                <a:lnTo>
                  <a:pt x="48" y="997"/>
                </a:lnTo>
                <a:lnTo>
                  <a:pt x="69" y="995"/>
                </a:lnTo>
                <a:lnTo>
                  <a:pt x="86" y="991"/>
                </a:lnTo>
                <a:lnTo>
                  <a:pt x="102" y="987"/>
                </a:lnTo>
                <a:lnTo>
                  <a:pt x="115" y="981"/>
                </a:lnTo>
                <a:lnTo>
                  <a:pt x="121" y="977"/>
                </a:lnTo>
                <a:lnTo>
                  <a:pt x="126" y="972"/>
                </a:lnTo>
                <a:lnTo>
                  <a:pt x="131" y="967"/>
                </a:lnTo>
                <a:lnTo>
                  <a:pt x="135" y="962"/>
                </a:lnTo>
                <a:lnTo>
                  <a:pt x="140" y="957"/>
                </a:lnTo>
                <a:lnTo>
                  <a:pt x="143" y="951"/>
                </a:lnTo>
                <a:lnTo>
                  <a:pt x="150" y="937"/>
                </a:lnTo>
                <a:lnTo>
                  <a:pt x="155" y="920"/>
                </a:lnTo>
                <a:lnTo>
                  <a:pt x="159" y="901"/>
                </a:lnTo>
                <a:lnTo>
                  <a:pt x="161" y="879"/>
                </a:lnTo>
                <a:lnTo>
                  <a:pt x="163" y="855"/>
                </a:lnTo>
                <a:lnTo>
                  <a:pt x="164" y="827"/>
                </a:lnTo>
                <a:lnTo>
                  <a:pt x="164" y="797"/>
                </a:lnTo>
                <a:lnTo>
                  <a:pt x="164" y="236"/>
                </a:lnTo>
                <a:lnTo>
                  <a:pt x="164" y="236"/>
                </a:lnTo>
                <a:lnTo>
                  <a:pt x="164" y="206"/>
                </a:lnTo>
                <a:lnTo>
                  <a:pt x="163" y="178"/>
                </a:lnTo>
                <a:lnTo>
                  <a:pt x="161" y="153"/>
                </a:lnTo>
                <a:lnTo>
                  <a:pt x="159" y="132"/>
                </a:lnTo>
                <a:lnTo>
                  <a:pt x="155" y="114"/>
                </a:lnTo>
                <a:lnTo>
                  <a:pt x="150" y="97"/>
                </a:lnTo>
                <a:lnTo>
                  <a:pt x="143" y="83"/>
                </a:lnTo>
                <a:lnTo>
                  <a:pt x="140" y="77"/>
                </a:lnTo>
                <a:lnTo>
                  <a:pt x="135" y="72"/>
                </a:lnTo>
                <a:lnTo>
                  <a:pt x="131" y="67"/>
                </a:lnTo>
                <a:lnTo>
                  <a:pt x="126" y="61"/>
                </a:lnTo>
                <a:lnTo>
                  <a:pt x="121" y="57"/>
                </a:lnTo>
                <a:lnTo>
                  <a:pt x="115" y="54"/>
                </a:lnTo>
                <a:lnTo>
                  <a:pt x="102" y="48"/>
                </a:lnTo>
                <a:lnTo>
                  <a:pt x="86" y="43"/>
                </a:lnTo>
                <a:lnTo>
                  <a:pt x="69" y="40"/>
                </a:lnTo>
                <a:lnTo>
                  <a:pt x="48" y="38"/>
                </a:lnTo>
                <a:lnTo>
                  <a:pt x="26" y="37"/>
                </a:lnTo>
                <a:lnTo>
                  <a:pt x="0" y="36"/>
                </a:lnTo>
                <a:lnTo>
                  <a:pt x="0" y="0"/>
                </a:lnTo>
                <a:lnTo>
                  <a:pt x="787" y="0"/>
                </a:lnTo>
                <a:lnTo>
                  <a:pt x="802" y="227"/>
                </a:lnTo>
                <a:lnTo>
                  <a:pt x="766" y="227"/>
                </a:lnTo>
                <a:lnTo>
                  <a:pt x="757" y="193"/>
                </a:lnTo>
                <a:lnTo>
                  <a:pt x="757" y="193"/>
                </a:lnTo>
                <a:lnTo>
                  <a:pt x="749" y="162"/>
                </a:lnTo>
                <a:lnTo>
                  <a:pt x="744" y="147"/>
                </a:lnTo>
                <a:lnTo>
                  <a:pt x="739" y="135"/>
                </a:lnTo>
                <a:lnTo>
                  <a:pt x="732" y="123"/>
                </a:lnTo>
                <a:lnTo>
                  <a:pt x="725" y="113"/>
                </a:lnTo>
                <a:lnTo>
                  <a:pt x="717" y="103"/>
                </a:lnTo>
                <a:lnTo>
                  <a:pt x="708" y="95"/>
                </a:lnTo>
                <a:lnTo>
                  <a:pt x="697" y="87"/>
                </a:lnTo>
                <a:lnTo>
                  <a:pt x="684" y="81"/>
                </a:lnTo>
                <a:lnTo>
                  <a:pt x="669" y="76"/>
                </a:lnTo>
                <a:lnTo>
                  <a:pt x="653" y="72"/>
                </a:lnTo>
                <a:lnTo>
                  <a:pt x="632" y="68"/>
                </a:lnTo>
                <a:lnTo>
                  <a:pt x="611" y="66"/>
                </a:lnTo>
                <a:lnTo>
                  <a:pt x="585" y="65"/>
                </a:lnTo>
                <a:lnTo>
                  <a:pt x="558" y="63"/>
                </a:lnTo>
                <a:lnTo>
                  <a:pt x="302" y="63"/>
                </a:lnTo>
                <a:lnTo>
                  <a:pt x="302" y="455"/>
                </a:lnTo>
                <a:lnTo>
                  <a:pt x="388" y="455"/>
                </a:lnTo>
                <a:lnTo>
                  <a:pt x="388" y="455"/>
                </a:lnTo>
                <a:lnTo>
                  <a:pt x="419" y="455"/>
                </a:lnTo>
                <a:lnTo>
                  <a:pt x="446" y="454"/>
                </a:lnTo>
                <a:lnTo>
                  <a:pt x="471" y="452"/>
                </a:lnTo>
                <a:lnTo>
                  <a:pt x="492" y="450"/>
                </a:lnTo>
                <a:lnTo>
                  <a:pt x="512" y="446"/>
                </a:lnTo>
                <a:lnTo>
                  <a:pt x="527" y="441"/>
                </a:lnTo>
                <a:lnTo>
                  <a:pt x="541" y="435"/>
                </a:lnTo>
                <a:lnTo>
                  <a:pt x="547" y="431"/>
                </a:lnTo>
                <a:lnTo>
                  <a:pt x="553" y="426"/>
                </a:lnTo>
                <a:lnTo>
                  <a:pt x="559" y="422"/>
                </a:lnTo>
                <a:lnTo>
                  <a:pt x="563" y="417"/>
                </a:lnTo>
                <a:lnTo>
                  <a:pt x="567" y="412"/>
                </a:lnTo>
                <a:lnTo>
                  <a:pt x="571" y="406"/>
                </a:lnTo>
                <a:lnTo>
                  <a:pt x="577" y="393"/>
                </a:lnTo>
                <a:lnTo>
                  <a:pt x="581" y="376"/>
                </a:lnTo>
                <a:lnTo>
                  <a:pt x="585" y="359"/>
                </a:lnTo>
                <a:lnTo>
                  <a:pt x="587" y="339"/>
                </a:lnTo>
                <a:lnTo>
                  <a:pt x="588" y="315"/>
                </a:lnTo>
                <a:lnTo>
                  <a:pt x="588" y="289"/>
                </a:lnTo>
                <a:lnTo>
                  <a:pt x="625" y="289"/>
                </a:lnTo>
                <a:lnTo>
                  <a:pt x="625" y="685"/>
                </a:lnTo>
                <a:lnTo>
                  <a:pt x="588" y="685"/>
                </a:lnTo>
                <a:lnTo>
                  <a:pt x="588" y="685"/>
                </a:lnTo>
                <a:lnTo>
                  <a:pt x="588" y="659"/>
                </a:lnTo>
                <a:lnTo>
                  <a:pt x="587" y="636"/>
                </a:lnTo>
                <a:lnTo>
                  <a:pt x="585" y="616"/>
                </a:lnTo>
                <a:lnTo>
                  <a:pt x="581" y="597"/>
                </a:lnTo>
                <a:lnTo>
                  <a:pt x="577" y="582"/>
                </a:lnTo>
                <a:lnTo>
                  <a:pt x="571" y="569"/>
                </a:lnTo>
                <a:lnTo>
                  <a:pt x="567" y="562"/>
                </a:lnTo>
                <a:lnTo>
                  <a:pt x="563" y="557"/>
                </a:lnTo>
                <a:lnTo>
                  <a:pt x="559" y="552"/>
                </a:lnTo>
                <a:lnTo>
                  <a:pt x="553" y="547"/>
                </a:lnTo>
                <a:lnTo>
                  <a:pt x="547" y="543"/>
                </a:lnTo>
                <a:lnTo>
                  <a:pt x="541" y="540"/>
                </a:lnTo>
                <a:lnTo>
                  <a:pt x="527" y="533"/>
                </a:lnTo>
                <a:lnTo>
                  <a:pt x="512" y="529"/>
                </a:lnTo>
                <a:lnTo>
                  <a:pt x="492" y="525"/>
                </a:lnTo>
                <a:lnTo>
                  <a:pt x="471" y="522"/>
                </a:lnTo>
                <a:lnTo>
                  <a:pt x="446" y="521"/>
                </a:lnTo>
                <a:lnTo>
                  <a:pt x="419" y="519"/>
                </a:lnTo>
                <a:lnTo>
                  <a:pt x="388" y="519"/>
                </a:lnTo>
                <a:lnTo>
                  <a:pt x="302" y="519"/>
                </a:lnTo>
                <a:lnTo>
                  <a:pt x="302" y="771"/>
                </a:lnTo>
                <a:lnTo>
                  <a:pt x="302" y="771"/>
                </a:lnTo>
                <a:lnTo>
                  <a:pt x="302" y="802"/>
                </a:lnTo>
                <a:lnTo>
                  <a:pt x="303" y="829"/>
                </a:lnTo>
                <a:lnTo>
                  <a:pt x="305" y="854"/>
                </a:lnTo>
                <a:lnTo>
                  <a:pt x="307" y="875"/>
                </a:lnTo>
                <a:lnTo>
                  <a:pt x="311" y="894"/>
                </a:lnTo>
                <a:lnTo>
                  <a:pt x="316" y="910"/>
                </a:lnTo>
                <a:lnTo>
                  <a:pt x="322" y="924"/>
                </a:lnTo>
                <a:lnTo>
                  <a:pt x="326" y="931"/>
                </a:lnTo>
                <a:lnTo>
                  <a:pt x="331" y="936"/>
                </a:lnTo>
                <a:lnTo>
                  <a:pt x="335" y="941"/>
                </a:lnTo>
                <a:lnTo>
                  <a:pt x="340" y="946"/>
                </a:lnTo>
                <a:lnTo>
                  <a:pt x="345" y="950"/>
                </a:lnTo>
                <a:lnTo>
                  <a:pt x="351" y="953"/>
                </a:lnTo>
                <a:lnTo>
                  <a:pt x="364" y="959"/>
                </a:lnTo>
                <a:lnTo>
                  <a:pt x="380" y="964"/>
                </a:lnTo>
                <a:lnTo>
                  <a:pt x="398" y="967"/>
                </a:lnTo>
                <a:lnTo>
                  <a:pt x="417" y="969"/>
                </a:lnTo>
                <a:lnTo>
                  <a:pt x="440" y="970"/>
                </a:lnTo>
                <a:lnTo>
                  <a:pt x="466" y="971"/>
                </a:lnTo>
                <a:lnTo>
                  <a:pt x="614" y="971"/>
                </a:lnTo>
                <a:lnTo>
                  <a:pt x="614" y="971"/>
                </a:lnTo>
                <a:lnTo>
                  <a:pt x="642" y="970"/>
                </a:lnTo>
                <a:lnTo>
                  <a:pt x="668" y="969"/>
                </a:lnTo>
                <a:lnTo>
                  <a:pt x="689" y="966"/>
                </a:lnTo>
                <a:lnTo>
                  <a:pt x="709" y="963"/>
                </a:lnTo>
                <a:lnTo>
                  <a:pt x="726" y="959"/>
                </a:lnTo>
                <a:lnTo>
                  <a:pt x="742" y="954"/>
                </a:lnTo>
                <a:lnTo>
                  <a:pt x="754" y="947"/>
                </a:lnTo>
                <a:lnTo>
                  <a:pt x="765" y="940"/>
                </a:lnTo>
                <a:lnTo>
                  <a:pt x="775" y="932"/>
                </a:lnTo>
                <a:lnTo>
                  <a:pt x="784" y="921"/>
                </a:lnTo>
                <a:lnTo>
                  <a:pt x="790" y="911"/>
                </a:lnTo>
                <a:lnTo>
                  <a:pt x="796" y="899"/>
                </a:lnTo>
                <a:lnTo>
                  <a:pt x="801" y="886"/>
                </a:lnTo>
                <a:lnTo>
                  <a:pt x="806" y="872"/>
                </a:lnTo>
                <a:lnTo>
                  <a:pt x="814" y="840"/>
                </a:lnTo>
                <a:lnTo>
                  <a:pt x="823" y="806"/>
                </a:lnTo>
                <a:lnTo>
                  <a:pt x="859" y="806"/>
                </a:lnTo>
                <a:lnTo>
                  <a:pt x="846" y="1035"/>
                </a:lnTo>
                <a:lnTo>
                  <a:pt x="0" y="1035"/>
                </a:lnTo>
                <a:lnTo>
                  <a:pt x="0" y="99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fi-FI" sz="1800"/>
          </a:p>
        </p:txBody>
      </p:sp>
      <p:sp>
        <p:nvSpPr>
          <p:cNvPr id="77" name="Freeform 28">
            <a:extLst>
              <a:ext uri="{FF2B5EF4-FFF2-40B4-BE49-F238E27FC236}">
                <a16:creationId xmlns:a16="http://schemas.microsoft.com/office/drawing/2014/main" id="{BAD311A5-E6DF-034A-AC06-9BA8B657ADCF}"/>
              </a:ext>
            </a:extLst>
          </p:cNvPr>
          <p:cNvSpPr>
            <a:spLocks/>
          </p:cNvSpPr>
          <p:nvPr userDrawn="1"/>
        </p:nvSpPr>
        <p:spPr bwMode="auto">
          <a:xfrm>
            <a:off x="2903539" y="1158877"/>
            <a:ext cx="142875" cy="136525"/>
          </a:xfrm>
          <a:custGeom>
            <a:avLst/>
            <a:gdLst>
              <a:gd name="T0" fmla="*/ 304 w 1077"/>
              <a:gd name="T1" fmla="*/ 999 h 1035"/>
              <a:gd name="T2" fmla="*/ 352 w 1077"/>
              <a:gd name="T3" fmla="*/ 997 h 1035"/>
              <a:gd name="T4" fmla="*/ 391 w 1077"/>
              <a:gd name="T5" fmla="*/ 991 h 1035"/>
              <a:gd name="T6" fmla="*/ 419 w 1077"/>
              <a:gd name="T7" fmla="*/ 981 h 1035"/>
              <a:gd name="T8" fmla="*/ 431 w 1077"/>
              <a:gd name="T9" fmla="*/ 972 h 1035"/>
              <a:gd name="T10" fmla="*/ 441 w 1077"/>
              <a:gd name="T11" fmla="*/ 962 h 1035"/>
              <a:gd name="T12" fmla="*/ 449 w 1077"/>
              <a:gd name="T13" fmla="*/ 951 h 1035"/>
              <a:gd name="T14" fmla="*/ 460 w 1077"/>
              <a:gd name="T15" fmla="*/ 920 h 1035"/>
              <a:gd name="T16" fmla="*/ 466 w 1077"/>
              <a:gd name="T17" fmla="*/ 879 h 1035"/>
              <a:gd name="T18" fmla="*/ 469 w 1077"/>
              <a:gd name="T19" fmla="*/ 827 h 1035"/>
              <a:gd name="T20" fmla="*/ 469 w 1077"/>
              <a:gd name="T21" fmla="*/ 68 h 1035"/>
              <a:gd name="T22" fmla="*/ 246 w 1077"/>
              <a:gd name="T23" fmla="*/ 68 h 1035"/>
              <a:gd name="T24" fmla="*/ 192 w 1077"/>
              <a:gd name="T25" fmla="*/ 69 h 1035"/>
              <a:gd name="T26" fmla="*/ 150 w 1077"/>
              <a:gd name="T27" fmla="*/ 75 h 1035"/>
              <a:gd name="T28" fmla="*/ 119 w 1077"/>
              <a:gd name="T29" fmla="*/ 85 h 1035"/>
              <a:gd name="T30" fmla="*/ 95 w 1077"/>
              <a:gd name="T31" fmla="*/ 98 h 1035"/>
              <a:gd name="T32" fmla="*/ 78 w 1077"/>
              <a:gd name="T33" fmla="*/ 117 h 1035"/>
              <a:gd name="T34" fmla="*/ 65 w 1077"/>
              <a:gd name="T35" fmla="*/ 139 h 1035"/>
              <a:gd name="T36" fmla="*/ 54 w 1077"/>
              <a:gd name="T37" fmla="*/ 167 h 1035"/>
              <a:gd name="T38" fmla="*/ 37 w 1077"/>
              <a:gd name="T39" fmla="*/ 233 h 1035"/>
              <a:gd name="T40" fmla="*/ 15 w 1077"/>
              <a:gd name="T41" fmla="*/ 0 h 1035"/>
              <a:gd name="T42" fmla="*/ 1077 w 1077"/>
              <a:gd name="T43" fmla="*/ 233 h 1035"/>
              <a:gd name="T44" fmla="*/ 1032 w 1077"/>
              <a:gd name="T45" fmla="*/ 198 h 1035"/>
              <a:gd name="T46" fmla="*/ 1023 w 1077"/>
              <a:gd name="T47" fmla="*/ 167 h 1035"/>
              <a:gd name="T48" fmla="*/ 1013 w 1077"/>
              <a:gd name="T49" fmla="*/ 139 h 1035"/>
              <a:gd name="T50" fmla="*/ 1000 w 1077"/>
              <a:gd name="T51" fmla="*/ 117 h 1035"/>
              <a:gd name="T52" fmla="*/ 983 w 1077"/>
              <a:gd name="T53" fmla="*/ 98 h 1035"/>
              <a:gd name="T54" fmla="*/ 958 w 1077"/>
              <a:gd name="T55" fmla="*/ 85 h 1035"/>
              <a:gd name="T56" fmla="*/ 927 w 1077"/>
              <a:gd name="T57" fmla="*/ 75 h 1035"/>
              <a:gd name="T58" fmla="*/ 886 w 1077"/>
              <a:gd name="T59" fmla="*/ 69 h 1035"/>
              <a:gd name="T60" fmla="*/ 832 w 1077"/>
              <a:gd name="T61" fmla="*/ 68 h 1035"/>
              <a:gd name="T62" fmla="*/ 608 w 1077"/>
              <a:gd name="T63" fmla="*/ 797 h 1035"/>
              <a:gd name="T64" fmla="*/ 608 w 1077"/>
              <a:gd name="T65" fmla="*/ 827 h 1035"/>
              <a:gd name="T66" fmla="*/ 611 w 1077"/>
              <a:gd name="T67" fmla="*/ 879 h 1035"/>
              <a:gd name="T68" fmla="*/ 618 w 1077"/>
              <a:gd name="T69" fmla="*/ 920 h 1035"/>
              <a:gd name="T70" fmla="*/ 629 w 1077"/>
              <a:gd name="T71" fmla="*/ 951 h 1035"/>
              <a:gd name="T72" fmla="*/ 637 w 1077"/>
              <a:gd name="T73" fmla="*/ 962 h 1035"/>
              <a:gd name="T74" fmla="*/ 646 w 1077"/>
              <a:gd name="T75" fmla="*/ 972 h 1035"/>
              <a:gd name="T76" fmla="*/ 658 w 1077"/>
              <a:gd name="T77" fmla="*/ 981 h 1035"/>
              <a:gd name="T78" fmla="*/ 687 w 1077"/>
              <a:gd name="T79" fmla="*/ 991 h 1035"/>
              <a:gd name="T80" fmla="*/ 725 w 1077"/>
              <a:gd name="T81" fmla="*/ 997 h 1035"/>
              <a:gd name="T82" fmla="*/ 773 w 1077"/>
              <a:gd name="T83" fmla="*/ 999 h 1035"/>
              <a:gd name="T84" fmla="*/ 304 w 1077"/>
              <a:gd name="T85" fmla="*/ 1035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7" h="1035">
                <a:moveTo>
                  <a:pt x="304" y="999"/>
                </a:moveTo>
                <a:lnTo>
                  <a:pt x="304" y="999"/>
                </a:lnTo>
                <a:lnTo>
                  <a:pt x="329" y="998"/>
                </a:lnTo>
                <a:lnTo>
                  <a:pt x="352" y="997"/>
                </a:lnTo>
                <a:lnTo>
                  <a:pt x="372" y="995"/>
                </a:lnTo>
                <a:lnTo>
                  <a:pt x="391" y="991"/>
                </a:lnTo>
                <a:lnTo>
                  <a:pt x="406" y="987"/>
                </a:lnTo>
                <a:lnTo>
                  <a:pt x="419" y="981"/>
                </a:lnTo>
                <a:lnTo>
                  <a:pt x="426" y="977"/>
                </a:lnTo>
                <a:lnTo>
                  <a:pt x="431" y="972"/>
                </a:lnTo>
                <a:lnTo>
                  <a:pt x="436" y="967"/>
                </a:lnTo>
                <a:lnTo>
                  <a:pt x="441" y="962"/>
                </a:lnTo>
                <a:lnTo>
                  <a:pt x="445" y="957"/>
                </a:lnTo>
                <a:lnTo>
                  <a:pt x="449" y="951"/>
                </a:lnTo>
                <a:lnTo>
                  <a:pt x="455" y="937"/>
                </a:lnTo>
                <a:lnTo>
                  <a:pt x="460" y="920"/>
                </a:lnTo>
                <a:lnTo>
                  <a:pt x="464" y="901"/>
                </a:lnTo>
                <a:lnTo>
                  <a:pt x="466" y="879"/>
                </a:lnTo>
                <a:lnTo>
                  <a:pt x="468" y="855"/>
                </a:lnTo>
                <a:lnTo>
                  <a:pt x="469" y="827"/>
                </a:lnTo>
                <a:lnTo>
                  <a:pt x="469" y="797"/>
                </a:lnTo>
                <a:lnTo>
                  <a:pt x="469" y="68"/>
                </a:lnTo>
                <a:lnTo>
                  <a:pt x="246" y="68"/>
                </a:lnTo>
                <a:lnTo>
                  <a:pt x="246" y="68"/>
                </a:lnTo>
                <a:lnTo>
                  <a:pt x="217" y="68"/>
                </a:lnTo>
                <a:lnTo>
                  <a:pt x="192" y="69"/>
                </a:lnTo>
                <a:lnTo>
                  <a:pt x="170" y="72"/>
                </a:lnTo>
                <a:lnTo>
                  <a:pt x="150" y="75"/>
                </a:lnTo>
                <a:lnTo>
                  <a:pt x="133" y="79"/>
                </a:lnTo>
                <a:lnTo>
                  <a:pt x="119" y="85"/>
                </a:lnTo>
                <a:lnTo>
                  <a:pt x="105" y="91"/>
                </a:lnTo>
                <a:lnTo>
                  <a:pt x="95" y="98"/>
                </a:lnTo>
                <a:lnTo>
                  <a:pt x="85" y="106"/>
                </a:lnTo>
                <a:lnTo>
                  <a:pt x="78" y="117"/>
                </a:lnTo>
                <a:lnTo>
                  <a:pt x="71" y="127"/>
                </a:lnTo>
                <a:lnTo>
                  <a:pt x="65" y="139"/>
                </a:lnTo>
                <a:lnTo>
                  <a:pt x="59" y="152"/>
                </a:lnTo>
                <a:lnTo>
                  <a:pt x="54" y="167"/>
                </a:lnTo>
                <a:lnTo>
                  <a:pt x="45" y="198"/>
                </a:lnTo>
                <a:lnTo>
                  <a:pt x="37" y="233"/>
                </a:lnTo>
                <a:lnTo>
                  <a:pt x="0" y="233"/>
                </a:lnTo>
                <a:lnTo>
                  <a:pt x="15" y="0"/>
                </a:lnTo>
                <a:lnTo>
                  <a:pt x="1062" y="0"/>
                </a:lnTo>
                <a:lnTo>
                  <a:pt x="1077" y="233"/>
                </a:lnTo>
                <a:lnTo>
                  <a:pt x="1041" y="233"/>
                </a:lnTo>
                <a:lnTo>
                  <a:pt x="1032" y="198"/>
                </a:lnTo>
                <a:lnTo>
                  <a:pt x="1032" y="198"/>
                </a:lnTo>
                <a:lnTo>
                  <a:pt x="1023" y="167"/>
                </a:lnTo>
                <a:lnTo>
                  <a:pt x="1019" y="152"/>
                </a:lnTo>
                <a:lnTo>
                  <a:pt x="1013" y="139"/>
                </a:lnTo>
                <a:lnTo>
                  <a:pt x="1007" y="127"/>
                </a:lnTo>
                <a:lnTo>
                  <a:pt x="1000" y="117"/>
                </a:lnTo>
                <a:lnTo>
                  <a:pt x="992" y="106"/>
                </a:lnTo>
                <a:lnTo>
                  <a:pt x="983" y="98"/>
                </a:lnTo>
                <a:lnTo>
                  <a:pt x="972" y="91"/>
                </a:lnTo>
                <a:lnTo>
                  <a:pt x="958" y="85"/>
                </a:lnTo>
                <a:lnTo>
                  <a:pt x="944" y="79"/>
                </a:lnTo>
                <a:lnTo>
                  <a:pt x="927" y="75"/>
                </a:lnTo>
                <a:lnTo>
                  <a:pt x="907" y="72"/>
                </a:lnTo>
                <a:lnTo>
                  <a:pt x="886" y="69"/>
                </a:lnTo>
                <a:lnTo>
                  <a:pt x="860" y="68"/>
                </a:lnTo>
                <a:lnTo>
                  <a:pt x="832" y="68"/>
                </a:lnTo>
                <a:lnTo>
                  <a:pt x="608" y="68"/>
                </a:lnTo>
                <a:lnTo>
                  <a:pt x="608" y="797"/>
                </a:lnTo>
                <a:lnTo>
                  <a:pt x="608" y="797"/>
                </a:lnTo>
                <a:lnTo>
                  <a:pt x="608" y="827"/>
                </a:lnTo>
                <a:lnTo>
                  <a:pt x="609" y="855"/>
                </a:lnTo>
                <a:lnTo>
                  <a:pt x="611" y="879"/>
                </a:lnTo>
                <a:lnTo>
                  <a:pt x="614" y="901"/>
                </a:lnTo>
                <a:lnTo>
                  <a:pt x="618" y="920"/>
                </a:lnTo>
                <a:lnTo>
                  <a:pt x="622" y="937"/>
                </a:lnTo>
                <a:lnTo>
                  <a:pt x="629" y="951"/>
                </a:lnTo>
                <a:lnTo>
                  <a:pt x="633" y="957"/>
                </a:lnTo>
                <a:lnTo>
                  <a:pt x="637" y="962"/>
                </a:lnTo>
                <a:lnTo>
                  <a:pt x="641" y="967"/>
                </a:lnTo>
                <a:lnTo>
                  <a:pt x="646" y="972"/>
                </a:lnTo>
                <a:lnTo>
                  <a:pt x="651" y="977"/>
                </a:lnTo>
                <a:lnTo>
                  <a:pt x="658" y="981"/>
                </a:lnTo>
                <a:lnTo>
                  <a:pt x="672" y="987"/>
                </a:lnTo>
                <a:lnTo>
                  <a:pt x="687" y="991"/>
                </a:lnTo>
                <a:lnTo>
                  <a:pt x="705" y="995"/>
                </a:lnTo>
                <a:lnTo>
                  <a:pt x="725" y="997"/>
                </a:lnTo>
                <a:lnTo>
                  <a:pt x="748" y="998"/>
                </a:lnTo>
                <a:lnTo>
                  <a:pt x="773" y="999"/>
                </a:lnTo>
                <a:lnTo>
                  <a:pt x="773" y="1035"/>
                </a:lnTo>
                <a:lnTo>
                  <a:pt x="304" y="1035"/>
                </a:lnTo>
                <a:lnTo>
                  <a:pt x="304" y="99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fi-FI" sz="1800"/>
          </a:p>
        </p:txBody>
      </p:sp>
    </p:spTree>
    <p:extLst>
      <p:ext uri="{BB962C8B-B14F-4D97-AF65-F5344CB8AC3E}">
        <p14:creationId xmlns:p14="http://schemas.microsoft.com/office/powerpoint/2010/main" val="155552488"/>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image" Target="../media/image8.emf"/><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oleObject" Target="../embeddings/oleObject1.bin"/><Relationship Id="rId5" Type="http://schemas.openxmlformats.org/officeDocument/2006/relationships/slideLayout" Target="../slideLayouts/slideLayout13.xml"/><Relationship Id="rId10" Type="http://schemas.openxmlformats.org/officeDocument/2006/relationships/tags" Target="../tags/tag1.xml"/><Relationship Id="rId4" Type="http://schemas.openxmlformats.org/officeDocument/2006/relationships/slideLayout" Target="../slideLayouts/slideLayout12.xml"/><Relationship Id="rId9" Type="http://schemas.openxmlformats.org/officeDocument/2006/relationships/vmlDrawing" Target="../drawings/vmlDrawing1.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theme" Target="../theme/theme3.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3" Type="http://schemas.openxmlformats.org/officeDocument/2006/relationships/slideLayout" Target="../slideLayouts/slideLayout29.xml"/><Relationship Id="rId21" Type="http://schemas.openxmlformats.org/officeDocument/2006/relationships/theme" Target="../theme/theme4.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3" Type="http://schemas.openxmlformats.org/officeDocument/2006/relationships/slideLayout" Target="../slideLayouts/slideLayout49.xml"/><Relationship Id="rId7" Type="http://schemas.openxmlformats.org/officeDocument/2006/relationships/slideLayout" Target="../slideLayouts/slideLayout53.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5" Type="http://schemas.openxmlformats.org/officeDocument/2006/relationships/slideLayout" Target="../slideLayouts/slideLayout51.xml"/><Relationship Id="rId4" Type="http://schemas.openxmlformats.org/officeDocument/2006/relationships/slideLayout" Target="../slideLayouts/slideLayout50.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slideLayout" Target="../slideLayouts/slideLayout72.xml"/><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10" Type="http://schemas.openxmlformats.org/officeDocument/2006/relationships/slideLayout" Target="../slideLayouts/slideLayout64.xml"/><Relationship Id="rId19" Type="http://schemas.openxmlformats.org/officeDocument/2006/relationships/theme" Target="../theme/theme6.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Otsikon paikkamerkki 1"/>
          <p:cNvSpPr>
            <a:spLocks noGrp="1"/>
          </p:cNvSpPr>
          <p:nvPr>
            <p:ph type="title"/>
          </p:nvPr>
        </p:nvSpPr>
        <p:spPr>
          <a:xfrm>
            <a:off x="609600" y="234000"/>
            <a:ext cx="8077199" cy="974270"/>
          </a:xfrm>
          <a:prstGeom prst="rect">
            <a:avLst/>
          </a:prstGeom>
        </p:spPr>
        <p:txBody>
          <a:bodyPr vert="horz" lIns="91440" tIns="45720" rIns="91440" bIns="45720" rtlCol="0" anchor="b" anchorCtr="0">
            <a:noAutofit/>
          </a:bodyPr>
          <a:lstStyle/>
          <a:p>
            <a:r>
              <a:rPr lang="fi-FI" dirty="0"/>
              <a:t>Muokkaa </a:t>
            </a:r>
            <a:r>
              <a:rPr lang="fi-FI" dirty="0" err="1"/>
              <a:t>perustyyl</a:t>
            </a:r>
            <a:r>
              <a:rPr lang="fi-FI" dirty="0"/>
              <a:t>. </a:t>
            </a:r>
            <a:r>
              <a:rPr lang="fi-FI" dirty="0" err="1"/>
              <a:t>napsautt</a:t>
            </a:r>
            <a:r>
              <a:rPr lang="fi-FI" dirty="0"/>
              <a:t>.</a:t>
            </a:r>
          </a:p>
        </p:txBody>
      </p:sp>
      <p:sp>
        <p:nvSpPr>
          <p:cNvPr id="3" name="Tekstin paikkamerkki 2"/>
          <p:cNvSpPr>
            <a:spLocks noGrp="1"/>
          </p:cNvSpPr>
          <p:nvPr>
            <p:ph type="body" idx="1"/>
          </p:nvPr>
        </p:nvSpPr>
        <p:spPr>
          <a:xfrm>
            <a:off x="609600" y="1347614"/>
            <a:ext cx="8077199" cy="3312369"/>
          </a:xfrm>
          <a:prstGeom prst="rect">
            <a:avLst/>
          </a:prstGeom>
        </p:spPr>
        <p:txBody>
          <a:bodyPr vert="horz" lIns="91440" tIns="45720" rIns="91440" bIns="45720" rtlCol="0">
            <a:normAutofit/>
          </a:body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Tree>
    <p:extLst>
      <p:ext uri="{BB962C8B-B14F-4D97-AF65-F5344CB8AC3E}">
        <p14:creationId xmlns:p14="http://schemas.microsoft.com/office/powerpoint/2010/main" val="4063746363"/>
      </p:ext>
    </p:extLst>
  </p:cSld>
  <p:clrMap bg1="lt1" tx1="dk1" bg2="lt2" tx2="dk2" accent1="accent1" accent2="accent2" accent3="accent3" accent4="accent4" accent5="accent5" accent6="accent6" hlink="hlink" folHlink="folHlink"/>
  <p:sldLayoutIdLst>
    <p:sldLayoutId id="2147483777" r:id="rId1"/>
    <p:sldLayoutId id="2147483772" r:id="rId2"/>
    <p:sldLayoutId id="2147483826" r:id="rId3"/>
    <p:sldLayoutId id="2147483767" r:id="rId4"/>
    <p:sldLayoutId id="2147483756" r:id="rId5"/>
    <p:sldLayoutId id="2147483747" r:id="rId6"/>
    <p:sldLayoutId id="2147483778" r:id="rId7"/>
    <p:sldLayoutId id="2147483675" r:id="rId8"/>
  </p:sldLayoutIdLst>
  <p:hf hdr="0" ftr="0"/>
  <p:txStyles>
    <p:titleStyle>
      <a:lvl1pPr algn="l" defTabSz="914400" rtl="0" eaLnBrk="1" latinLnBrk="0" hangingPunct="1">
        <a:spcBef>
          <a:spcPct val="0"/>
        </a:spcBef>
        <a:buNone/>
        <a:defRPr sz="3200" b="1" i="0" kern="1200">
          <a:solidFill>
            <a:srgbClr val="595965"/>
          </a:solidFill>
          <a:latin typeface="Arial Narrow" panose="020B0606020202030204" pitchFamily="34" charset="0"/>
          <a:ea typeface="+mj-ea"/>
          <a:cs typeface="+mj-cs"/>
        </a:defRPr>
      </a:lvl1pPr>
    </p:titleStyle>
    <p:bodyStyle>
      <a:lvl1pPr marL="180000" indent="-180000" algn="l" defTabSz="914400" rtl="0" eaLnBrk="1" latinLnBrk="0" hangingPunct="1">
        <a:spcBef>
          <a:spcPts val="400"/>
        </a:spcBef>
        <a:buClr>
          <a:schemeClr val="accent4"/>
        </a:buClr>
        <a:buFont typeface="Arial" panose="020B0604020202020204" pitchFamily="34" charset="0"/>
        <a:buChar char="•"/>
        <a:defRPr sz="2000" kern="1200">
          <a:solidFill>
            <a:srgbClr val="595965"/>
          </a:solidFill>
          <a:latin typeface="Arial" panose="020B0604020202020204" pitchFamily="34" charset="0"/>
          <a:ea typeface="+mn-ea"/>
          <a:cs typeface="Arial" panose="020B0604020202020204" pitchFamily="34" charset="0"/>
        </a:defRPr>
      </a:lvl1pPr>
      <a:lvl2pPr marL="468000" indent="-180000" algn="l" defTabSz="914400" rtl="0" eaLnBrk="1" latinLnBrk="0" hangingPunct="1">
        <a:spcBef>
          <a:spcPts val="400"/>
        </a:spcBef>
        <a:buClr>
          <a:schemeClr val="accent4"/>
        </a:buClr>
        <a:buFont typeface="Arial" panose="020B0604020202020204" pitchFamily="34" charset="0"/>
        <a:buChar char="•"/>
        <a:defRPr sz="1800" kern="1200">
          <a:solidFill>
            <a:srgbClr val="595965"/>
          </a:solidFill>
          <a:latin typeface="Arial" panose="020B0604020202020204" pitchFamily="34" charset="0"/>
          <a:ea typeface="+mn-ea"/>
          <a:cs typeface="Arial" panose="020B0604020202020204" pitchFamily="34" charset="0"/>
        </a:defRPr>
      </a:lvl2pPr>
      <a:lvl3pPr marL="720000" indent="-144000" algn="l" defTabSz="914400" rtl="0" eaLnBrk="1" latinLnBrk="0" hangingPunct="1">
        <a:spcBef>
          <a:spcPts val="400"/>
        </a:spcBef>
        <a:buClr>
          <a:schemeClr val="accent4"/>
        </a:buClr>
        <a:buFont typeface="Arial" panose="020B0604020202020204" pitchFamily="34" charset="0"/>
        <a:buChar char="•"/>
        <a:defRPr sz="1400" kern="1200">
          <a:solidFill>
            <a:srgbClr val="595965"/>
          </a:solidFill>
          <a:latin typeface="Arial" panose="020B0604020202020204" pitchFamily="34" charset="0"/>
          <a:ea typeface="+mn-ea"/>
          <a:cs typeface="Arial" panose="020B0604020202020204" pitchFamily="34" charset="0"/>
        </a:defRPr>
      </a:lvl3pPr>
      <a:lvl4pPr marL="972000" indent="-144000" algn="l" defTabSz="914400" rtl="0" eaLnBrk="1" latinLnBrk="0" hangingPunct="1">
        <a:spcBef>
          <a:spcPts val="400"/>
        </a:spcBef>
        <a:buClr>
          <a:schemeClr val="accent4"/>
        </a:buClr>
        <a:buFont typeface="Arial" panose="020B0604020202020204" pitchFamily="34" charset="0"/>
        <a:buChar char="•"/>
        <a:defRPr sz="1300" kern="1200">
          <a:solidFill>
            <a:srgbClr val="595965"/>
          </a:solidFill>
          <a:latin typeface="Arial" panose="020B0604020202020204" pitchFamily="34" charset="0"/>
          <a:ea typeface="+mn-ea"/>
          <a:cs typeface="Arial" panose="020B0604020202020204" pitchFamily="34" charset="0"/>
        </a:defRPr>
      </a:lvl4pPr>
      <a:lvl5pPr marL="1260000" indent="-144000" algn="l" defTabSz="914400" rtl="0" eaLnBrk="1" latinLnBrk="0" hangingPunct="1">
        <a:spcBef>
          <a:spcPts val="400"/>
        </a:spcBef>
        <a:buClr>
          <a:schemeClr val="accent4"/>
        </a:buClr>
        <a:buFont typeface="Arial" panose="020B0604020202020204" pitchFamily="34" charset="0"/>
        <a:buChar char="•"/>
        <a:defRPr sz="1200" kern="1200">
          <a:solidFill>
            <a:srgbClr val="59596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0E18C3-290B-4FF1-899D-2F0F4DA20ABD}"/>
              </a:ext>
            </a:extLst>
          </p:cNvPr>
          <p:cNvGraphicFramePr>
            <a:graphicFrameLocks noChangeAspect="1"/>
          </p:cNvGraphicFramePr>
          <p:nvPr userDrawn="1">
            <p:custDataLst>
              <p:tags r:id="rId10"/>
            </p:custDataLs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17987" name="think-cell Slide" r:id="rId11" imgW="530" imgH="531" progId="TCLayout.ActiveDocument.1">
                  <p:embed/>
                </p:oleObj>
              </mc:Choice>
              <mc:Fallback>
                <p:oleObj name="think-cell Slide" r:id="rId11" imgW="530" imgH="531" progId="TCLayout.ActiveDocument.1">
                  <p:embed/>
                  <p:pic>
                    <p:nvPicPr>
                      <p:cNvPr id="7" name="Object 6" hidden="1">
                        <a:extLst>
                          <a:ext uri="{FF2B5EF4-FFF2-40B4-BE49-F238E27FC236}">
                            <a16:creationId xmlns:a16="http://schemas.microsoft.com/office/drawing/2014/main" id="{430E18C3-290B-4FF1-899D-2F0F4DA20ABD}"/>
                          </a:ext>
                        </a:extLst>
                      </p:cNvPr>
                      <p:cNvPicPr/>
                      <p:nvPr/>
                    </p:nvPicPr>
                    <p:blipFill>
                      <a:blip r:embed="rId12"/>
                      <a:stretch>
                        <a:fillRect/>
                      </a:stretch>
                    </p:blipFill>
                    <p:spPr>
                      <a:xfrm>
                        <a:off x="1191" y="1191"/>
                        <a:ext cx="1191" cy="1191"/>
                      </a:xfrm>
                      <a:prstGeom prst="rect">
                        <a:avLst/>
                      </a:prstGeom>
                    </p:spPr>
                  </p:pic>
                </p:oleObj>
              </mc:Fallback>
            </mc:AlternateContent>
          </a:graphicData>
        </a:graphic>
      </p:graphicFrame>
      <p:sp>
        <p:nvSpPr>
          <p:cNvPr id="2" name="Otsikon paikkamerkki 1"/>
          <p:cNvSpPr>
            <a:spLocks noGrp="1"/>
          </p:cNvSpPr>
          <p:nvPr>
            <p:ph type="title"/>
          </p:nvPr>
        </p:nvSpPr>
        <p:spPr>
          <a:xfrm>
            <a:off x="609601" y="234001"/>
            <a:ext cx="8077199" cy="974270"/>
          </a:xfrm>
          <a:prstGeom prst="rect">
            <a:avLst/>
          </a:prstGeom>
        </p:spPr>
        <p:txBody>
          <a:bodyPr vert="horz" lIns="91440" tIns="45720" rIns="91440" bIns="45720" rtlCol="0" anchor="b" anchorCtr="0">
            <a:noAutofit/>
          </a:bodyPr>
          <a:lstStyle/>
          <a:p>
            <a:r>
              <a:rPr lang="fi-FI" dirty="0"/>
              <a:t>Muokkaa </a:t>
            </a:r>
            <a:r>
              <a:rPr lang="fi-FI" dirty="0" err="1"/>
              <a:t>perustyyl</a:t>
            </a:r>
            <a:r>
              <a:rPr lang="fi-FI" dirty="0"/>
              <a:t>. </a:t>
            </a:r>
            <a:r>
              <a:rPr lang="fi-FI" dirty="0" err="1"/>
              <a:t>napsautt</a:t>
            </a:r>
            <a:r>
              <a:rPr lang="fi-FI" dirty="0"/>
              <a:t>.</a:t>
            </a:r>
          </a:p>
        </p:txBody>
      </p:sp>
      <p:sp>
        <p:nvSpPr>
          <p:cNvPr id="3" name="Tekstin paikkamerkki 2"/>
          <p:cNvSpPr>
            <a:spLocks noGrp="1"/>
          </p:cNvSpPr>
          <p:nvPr>
            <p:ph type="body" idx="1"/>
          </p:nvPr>
        </p:nvSpPr>
        <p:spPr>
          <a:xfrm>
            <a:off x="609601" y="1347614"/>
            <a:ext cx="8077199" cy="3312369"/>
          </a:xfrm>
          <a:prstGeom prst="rect">
            <a:avLst/>
          </a:prstGeom>
        </p:spPr>
        <p:txBody>
          <a:bodyPr vert="horz" lIns="91440" tIns="45720" rIns="91440" bIns="45720" rtlCol="0">
            <a:normAutofit/>
          </a:body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Tree>
    <p:extLst>
      <p:ext uri="{BB962C8B-B14F-4D97-AF65-F5344CB8AC3E}">
        <p14:creationId xmlns:p14="http://schemas.microsoft.com/office/powerpoint/2010/main" val="2047030690"/>
      </p:ext>
    </p:extLst>
  </p:cSld>
  <p:clrMap bg1="lt1" tx1="dk1" bg2="lt2" tx2="dk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 id="2147483836" r:id="rId7"/>
  </p:sldLayoutIdLst>
  <p:timing>
    <p:tnLst>
      <p:par>
        <p:cTn id="1" dur="indefinite" restart="never" nodeType="tmRoot"/>
      </p:par>
    </p:tnLst>
  </p:timing>
  <p:hf hdr="0" ftr="0"/>
  <p:txStyles>
    <p:titleStyle>
      <a:lvl1pPr algn="l" defTabSz="914378" rtl="0" eaLnBrk="1" latinLnBrk="0" hangingPunct="1">
        <a:spcBef>
          <a:spcPct val="0"/>
        </a:spcBef>
        <a:buNone/>
        <a:defRPr sz="3200" b="1" i="0" kern="1200">
          <a:solidFill>
            <a:srgbClr val="595965"/>
          </a:solidFill>
          <a:latin typeface="Arial Narrow" panose="020B0606020202030204" pitchFamily="34" charset="0"/>
          <a:ea typeface="+mj-ea"/>
          <a:cs typeface="+mj-cs"/>
        </a:defRPr>
      </a:lvl1pPr>
    </p:titleStyle>
    <p:bodyStyle>
      <a:lvl1pPr marL="179996" indent="-179996" algn="l" defTabSz="914378" rtl="0" eaLnBrk="1" latinLnBrk="0" hangingPunct="1">
        <a:spcBef>
          <a:spcPts val="400"/>
        </a:spcBef>
        <a:buClr>
          <a:schemeClr val="accent4"/>
        </a:buClr>
        <a:buFont typeface="Arial" panose="020B0604020202020204" pitchFamily="34" charset="0"/>
        <a:buChar char="•"/>
        <a:defRPr sz="2000" kern="1200">
          <a:solidFill>
            <a:srgbClr val="595965"/>
          </a:solidFill>
          <a:latin typeface="Arial" panose="020B0604020202020204" pitchFamily="34" charset="0"/>
          <a:ea typeface="+mn-ea"/>
          <a:cs typeface="Arial" panose="020B0604020202020204" pitchFamily="34" charset="0"/>
        </a:defRPr>
      </a:lvl1pPr>
      <a:lvl2pPr marL="467988" indent="-179996" algn="l" defTabSz="914378" rtl="0" eaLnBrk="1" latinLnBrk="0" hangingPunct="1">
        <a:spcBef>
          <a:spcPts val="400"/>
        </a:spcBef>
        <a:buClr>
          <a:schemeClr val="accent4"/>
        </a:buClr>
        <a:buFont typeface="Arial" panose="020B0604020202020204" pitchFamily="34" charset="0"/>
        <a:buChar char="•"/>
        <a:defRPr sz="1800" kern="1200">
          <a:solidFill>
            <a:srgbClr val="595965"/>
          </a:solidFill>
          <a:latin typeface="Arial" panose="020B0604020202020204" pitchFamily="34" charset="0"/>
          <a:ea typeface="+mn-ea"/>
          <a:cs typeface="Arial" panose="020B0604020202020204" pitchFamily="34" charset="0"/>
        </a:defRPr>
      </a:lvl2pPr>
      <a:lvl3pPr marL="719982" indent="-143996" algn="l" defTabSz="914378" rtl="0" eaLnBrk="1" latinLnBrk="0" hangingPunct="1">
        <a:spcBef>
          <a:spcPts val="400"/>
        </a:spcBef>
        <a:buClr>
          <a:schemeClr val="accent4"/>
        </a:buClr>
        <a:buFont typeface="Arial" panose="020B0604020202020204" pitchFamily="34" charset="0"/>
        <a:buChar char="•"/>
        <a:defRPr sz="1400" kern="1200">
          <a:solidFill>
            <a:srgbClr val="595965"/>
          </a:solidFill>
          <a:latin typeface="Arial" panose="020B0604020202020204" pitchFamily="34" charset="0"/>
          <a:ea typeface="+mn-ea"/>
          <a:cs typeface="Arial" panose="020B0604020202020204" pitchFamily="34" charset="0"/>
        </a:defRPr>
      </a:lvl3pPr>
      <a:lvl4pPr marL="971976" indent="-143996" algn="l" defTabSz="914378" rtl="0" eaLnBrk="1" latinLnBrk="0" hangingPunct="1">
        <a:spcBef>
          <a:spcPts val="400"/>
        </a:spcBef>
        <a:buClr>
          <a:schemeClr val="accent4"/>
        </a:buClr>
        <a:buFont typeface="Arial" panose="020B0604020202020204" pitchFamily="34" charset="0"/>
        <a:buChar char="•"/>
        <a:defRPr sz="1300" kern="1200">
          <a:solidFill>
            <a:srgbClr val="595965"/>
          </a:solidFill>
          <a:latin typeface="Arial" panose="020B0604020202020204" pitchFamily="34" charset="0"/>
          <a:ea typeface="+mn-ea"/>
          <a:cs typeface="Arial" panose="020B0604020202020204" pitchFamily="34" charset="0"/>
        </a:defRPr>
      </a:lvl4pPr>
      <a:lvl5pPr marL="1259969" indent="-143996" algn="l" defTabSz="914378" rtl="0" eaLnBrk="1" latinLnBrk="0" hangingPunct="1">
        <a:spcBef>
          <a:spcPts val="400"/>
        </a:spcBef>
        <a:buClr>
          <a:schemeClr val="accent4"/>
        </a:buClr>
        <a:buFont typeface="Arial" panose="020B0604020202020204" pitchFamily="34" charset="0"/>
        <a:buChar char="•"/>
        <a:defRPr sz="1200" kern="1200">
          <a:solidFill>
            <a:srgbClr val="595965"/>
          </a:solidFill>
          <a:latin typeface="Arial" panose="020B0604020202020204" pitchFamily="34" charset="0"/>
          <a:ea typeface="+mn-ea"/>
          <a:cs typeface="Arial" panose="020B0604020202020204" pitchFamily="34" charset="0"/>
        </a:defRPr>
      </a:lvl5pPr>
      <a:lvl6pPr marL="2514537"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i-FI"/>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Otsikon paikkamerkki 1"/>
          <p:cNvSpPr>
            <a:spLocks noGrp="1"/>
          </p:cNvSpPr>
          <p:nvPr>
            <p:ph type="title"/>
          </p:nvPr>
        </p:nvSpPr>
        <p:spPr>
          <a:xfrm>
            <a:off x="628650" y="274638"/>
            <a:ext cx="7886700" cy="993775"/>
          </a:xfrm>
          <a:prstGeom prst="rect">
            <a:avLst/>
          </a:prstGeom>
        </p:spPr>
        <p:txBody>
          <a:bodyPr vert="horz" lIns="91440" tIns="45720" rIns="91440" bIns="45720" rtlCol="0" anchor="ctr">
            <a:normAutofit/>
          </a:bodyPr>
          <a:lstStyle/>
          <a:p>
            <a:r>
              <a:rPr lang="fi-FI" smtClean="0"/>
              <a:t>Muokkaa perustyyl. napsautt.</a:t>
            </a:r>
            <a:endParaRPr lang="fi-FI"/>
          </a:p>
        </p:txBody>
      </p:sp>
      <p:sp>
        <p:nvSpPr>
          <p:cNvPr id="3" name="Tekstin paikkamerkki 2"/>
          <p:cNvSpPr>
            <a:spLocks noGrp="1"/>
          </p:cNvSpPr>
          <p:nvPr>
            <p:ph type="body" idx="1"/>
          </p:nvPr>
        </p:nvSpPr>
        <p:spPr>
          <a:xfrm>
            <a:off x="628650" y="1370013"/>
            <a:ext cx="7886700" cy="3262312"/>
          </a:xfrm>
          <a:prstGeom prst="rect">
            <a:avLst/>
          </a:prstGeom>
        </p:spPr>
        <p:txBody>
          <a:bodyPr vert="horz" lIns="91440" tIns="45720" rIns="91440" bIns="45720" rtlCol="0">
            <a:normAutofit/>
          </a:bodyPr>
          <a:lstStyle/>
          <a:p>
            <a:pPr lvl="0"/>
            <a:r>
              <a:rPr lang="fi-FI" smtClean="0"/>
              <a:t>Muokkaa tekstin perustyylejä</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4" name="Päivämäärän paikkamerkki 3"/>
          <p:cNvSpPr>
            <a:spLocks noGrp="1"/>
          </p:cNvSpPr>
          <p:nvPr>
            <p:ph type="dt" sz="half" idx="2"/>
          </p:nvPr>
        </p:nvSpPr>
        <p:spPr>
          <a:xfrm>
            <a:off x="628650" y="4767263"/>
            <a:ext cx="2057400" cy="274637"/>
          </a:xfrm>
          <a:prstGeom prst="rect">
            <a:avLst/>
          </a:prstGeom>
        </p:spPr>
        <p:txBody>
          <a:bodyPr vert="horz" lIns="91440" tIns="45720" rIns="91440" bIns="45720" rtlCol="0" anchor="ctr"/>
          <a:lstStyle>
            <a:lvl1pPr algn="l">
              <a:defRPr sz="1200">
                <a:solidFill>
                  <a:schemeClr val="tx1">
                    <a:tint val="75000"/>
                  </a:schemeClr>
                </a:solidFill>
              </a:defRPr>
            </a:lvl1pPr>
          </a:lstStyle>
          <a:p>
            <a:fld id="{CFFBECAB-A849-4A14-8097-2FD7BDBFD006}" type="datetimeFigureOut">
              <a:rPr lang="fi-FI" smtClean="0"/>
              <a:t>12.11.2021</a:t>
            </a:fld>
            <a:endParaRPr lang="fi-FI"/>
          </a:p>
        </p:txBody>
      </p:sp>
      <p:sp>
        <p:nvSpPr>
          <p:cNvPr id="5" name="Alatunnisteen paikkamerkki 4"/>
          <p:cNvSpPr>
            <a:spLocks noGrp="1"/>
          </p:cNvSpPr>
          <p:nvPr>
            <p:ph type="ftr" sz="quarter" idx="3"/>
          </p:nvPr>
        </p:nvSpPr>
        <p:spPr>
          <a:xfrm>
            <a:off x="3028950" y="4767263"/>
            <a:ext cx="3086100" cy="27463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i-FI"/>
          </a:p>
        </p:txBody>
      </p:sp>
      <p:sp>
        <p:nvSpPr>
          <p:cNvPr id="6" name="Dian numeron paikkamerkki 5"/>
          <p:cNvSpPr>
            <a:spLocks noGrp="1"/>
          </p:cNvSpPr>
          <p:nvPr>
            <p:ph type="sldNum" sz="quarter" idx="4"/>
          </p:nvPr>
        </p:nvSpPr>
        <p:spPr>
          <a:xfrm>
            <a:off x="6457950" y="4767263"/>
            <a:ext cx="2057400" cy="274637"/>
          </a:xfrm>
          <a:prstGeom prst="rect">
            <a:avLst/>
          </a:prstGeom>
        </p:spPr>
        <p:txBody>
          <a:bodyPr vert="horz" lIns="91440" tIns="45720" rIns="91440" bIns="45720" rtlCol="0" anchor="ctr"/>
          <a:lstStyle>
            <a:lvl1pPr algn="r">
              <a:defRPr sz="1200">
                <a:solidFill>
                  <a:schemeClr val="tx1">
                    <a:tint val="75000"/>
                  </a:schemeClr>
                </a:solidFill>
              </a:defRPr>
            </a:lvl1pPr>
          </a:lstStyle>
          <a:p>
            <a:fld id="{2F5B733E-0713-4F8D-B698-4B137BE2502C}" type="slidenum">
              <a:rPr lang="fi-FI" smtClean="0"/>
              <a:t>‹#›</a:t>
            </a:fld>
            <a:endParaRPr lang="fi-FI"/>
          </a:p>
        </p:txBody>
      </p:sp>
    </p:spTree>
    <p:extLst>
      <p:ext uri="{BB962C8B-B14F-4D97-AF65-F5344CB8AC3E}">
        <p14:creationId xmlns:p14="http://schemas.microsoft.com/office/powerpoint/2010/main" val="3507471125"/>
      </p:ext>
    </p:extLst>
  </p:cSld>
  <p:clrMap bg1="lt1" tx1="dk1" bg2="lt2" tx2="dk2" accent1="accent1" accent2="accent2" accent3="accent3" accent4="accent4" accent5="accent5" accent6="accent6" hlink="hlink" folHlink="folHlink"/>
  <p:sldLayoutIdLst>
    <p:sldLayoutId id="2147483847" r:id="rId1"/>
    <p:sldLayoutId id="2147483848" r:id="rId2"/>
    <p:sldLayoutId id="2147483849" r:id="rId3"/>
    <p:sldLayoutId id="2147483850" r:id="rId4"/>
    <p:sldLayoutId id="2147483851" r:id="rId5"/>
    <p:sldLayoutId id="2147483852" r:id="rId6"/>
    <p:sldLayoutId id="2147483853" r:id="rId7"/>
    <p:sldLayoutId id="2147483854" r:id="rId8"/>
    <p:sldLayoutId id="2147483855" r:id="rId9"/>
    <p:sldLayoutId id="2147483856" r:id="rId10"/>
    <p:sldLayoutId id="2147483857" r:id="rId11"/>
  </p:sldLayoutIdLst>
  <p:timing>
    <p:tnLst>
      <p:par>
        <p:cTn id="1" dur="indefinite" restart="never" nodeType="tmRoot"/>
      </p:par>
    </p:tnLst>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Otsikon paikkamerkki 1"/>
          <p:cNvSpPr>
            <a:spLocks noGrp="1"/>
          </p:cNvSpPr>
          <p:nvPr>
            <p:ph type="title"/>
          </p:nvPr>
        </p:nvSpPr>
        <p:spPr>
          <a:xfrm>
            <a:off x="609600" y="234000"/>
            <a:ext cx="8077199" cy="974270"/>
          </a:xfrm>
          <a:prstGeom prst="rect">
            <a:avLst/>
          </a:prstGeom>
        </p:spPr>
        <p:txBody>
          <a:bodyPr vert="horz" lIns="91440" tIns="45720" rIns="91440" bIns="45720" rtlCol="0" anchor="b" anchorCtr="0">
            <a:noAutofit/>
          </a:bodyPr>
          <a:lstStyle/>
          <a:p>
            <a:r>
              <a:rPr lang="fi-FI" dirty="0"/>
              <a:t>Muokkaa </a:t>
            </a:r>
            <a:r>
              <a:rPr lang="fi-FI" dirty="0" err="1"/>
              <a:t>perustyyl</a:t>
            </a:r>
            <a:r>
              <a:rPr lang="fi-FI" dirty="0"/>
              <a:t>. </a:t>
            </a:r>
            <a:r>
              <a:rPr lang="fi-FI" dirty="0" err="1"/>
              <a:t>napsautt</a:t>
            </a:r>
            <a:r>
              <a:rPr lang="fi-FI" dirty="0"/>
              <a:t>.</a:t>
            </a:r>
          </a:p>
        </p:txBody>
      </p:sp>
      <p:sp>
        <p:nvSpPr>
          <p:cNvPr id="3" name="Tekstin paikkamerkki 2"/>
          <p:cNvSpPr>
            <a:spLocks noGrp="1"/>
          </p:cNvSpPr>
          <p:nvPr>
            <p:ph type="body" idx="1"/>
          </p:nvPr>
        </p:nvSpPr>
        <p:spPr>
          <a:xfrm>
            <a:off x="609600" y="1411201"/>
            <a:ext cx="8077199" cy="3248782"/>
          </a:xfrm>
          <a:prstGeom prst="rect">
            <a:avLst/>
          </a:prstGeom>
        </p:spPr>
        <p:txBody>
          <a:bodyPr vert="horz" lIns="91440" tIns="45720" rIns="91440" bIns="45720" rtlCol="0">
            <a:normAutofit/>
          </a:body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Tree>
    <p:extLst>
      <p:ext uri="{BB962C8B-B14F-4D97-AF65-F5344CB8AC3E}">
        <p14:creationId xmlns:p14="http://schemas.microsoft.com/office/powerpoint/2010/main" val="1184150716"/>
      </p:ext>
    </p:extLst>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 id="2147483882" r:id="rId4"/>
    <p:sldLayoutId id="2147483883" r:id="rId5"/>
    <p:sldLayoutId id="2147483884" r:id="rId6"/>
    <p:sldLayoutId id="2147483885" r:id="rId7"/>
    <p:sldLayoutId id="2147483886" r:id="rId8"/>
    <p:sldLayoutId id="2147483887" r:id="rId9"/>
    <p:sldLayoutId id="2147483888" r:id="rId10"/>
    <p:sldLayoutId id="2147483889" r:id="rId11"/>
    <p:sldLayoutId id="2147483890" r:id="rId12"/>
    <p:sldLayoutId id="2147483891" r:id="rId13"/>
    <p:sldLayoutId id="2147483892" r:id="rId14"/>
    <p:sldLayoutId id="2147483893" r:id="rId15"/>
    <p:sldLayoutId id="2147483894" r:id="rId16"/>
    <p:sldLayoutId id="2147483895" r:id="rId17"/>
    <p:sldLayoutId id="2147483896" r:id="rId18"/>
    <p:sldLayoutId id="2147483897" r:id="rId19"/>
    <p:sldLayoutId id="2147483908" r:id="rId20"/>
  </p:sldLayoutIdLst>
  <p:hf sldNum="0" hdr="0" ftr="0" dt="0"/>
  <p:txStyles>
    <p:titleStyle>
      <a:lvl1pPr algn="l" defTabSz="914400" rtl="0" eaLnBrk="1" latinLnBrk="0" hangingPunct="1">
        <a:spcBef>
          <a:spcPct val="0"/>
        </a:spcBef>
        <a:buNone/>
        <a:defRPr sz="3200" b="1" i="0" kern="1200">
          <a:solidFill>
            <a:srgbClr val="595965"/>
          </a:solidFill>
          <a:latin typeface="Arial Narrow" panose="020B0606020202030204" pitchFamily="34" charset="0"/>
          <a:ea typeface="+mj-ea"/>
          <a:cs typeface="+mj-cs"/>
        </a:defRPr>
      </a:lvl1pPr>
    </p:titleStyle>
    <p:bodyStyle>
      <a:lvl1pPr marL="180000" indent="-180000" algn="l" defTabSz="914400" rtl="0" eaLnBrk="1" latinLnBrk="0" hangingPunct="1">
        <a:spcBef>
          <a:spcPts val="400"/>
        </a:spcBef>
        <a:buClr>
          <a:schemeClr val="accent4"/>
        </a:buClr>
        <a:buFont typeface="Arial" panose="020B0604020202020204" pitchFamily="34" charset="0"/>
        <a:buChar char="•"/>
        <a:defRPr sz="2000" kern="1200">
          <a:solidFill>
            <a:srgbClr val="595965"/>
          </a:solidFill>
          <a:latin typeface="Arial" panose="020B0604020202020204" pitchFamily="34" charset="0"/>
          <a:ea typeface="+mn-ea"/>
          <a:cs typeface="Arial" panose="020B0604020202020204" pitchFamily="34" charset="0"/>
        </a:defRPr>
      </a:lvl1pPr>
      <a:lvl2pPr marL="468000" indent="-180000" algn="l" defTabSz="914400" rtl="0" eaLnBrk="1" latinLnBrk="0" hangingPunct="1">
        <a:spcBef>
          <a:spcPts val="400"/>
        </a:spcBef>
        <a:buClr>
          <a:schemeClr val="accent4"/>
        </a:buClr>
        <a:buFont typeface="Arial" panose="020B0604020202020204" pitchFamily="34" charset="0"/>
        <a:buChar char="•"/>
        <a:defRPr sz="1800" kern="1200">
          <a:solidFill>
            <a:srgbClr val="595965"/>
          </a:solidFill>
          <a:latin typeface="Arial" panose="020B0604020202020204" pitchFamily="34" charset="0"/>
          <a:ea typeface="+mn-ea"/>
          <a:cs typeface="Arial" panose="020B0604020202020204" pitchFamily="34" charset="0"/>
        </a:defRPr>
      </a:lvl2pPr>
      <a:lvl3pPr marL="720000" indent="-144000" algn="l" defTabSz="914400" rtl="0" eaLnBrk="1" latinLnBrk="0" hangingPunct="1">
        <a:spcBef>
          <a:spcPts val="400"/>
        </a:spcBef>
        <a:buClr>
          <a:schemeClr val="accent4"/>
        </a:buClr>
        <a:buFont typeface="Arial" panose="020B0604020202020204" pitchFamily="34" charset="0"/>
        <a:buChar char="•"/>
        <a:defRPr sz="1400" kern="1200">
          <a:solidFill>
            <a:srgbClr val="595965"/>
          </a:solidFill>
          <a:latin typeface="Arial" panose="020B0604020202020204" pitchFamily="34" charset="0"/>
          <a:ea typeface="+mn-ea"/>
          <a:cs typeface="Arial" panose="020B0604020202020204" pitchFamily="34" charset="0"/>
        </a:defRPr>
      </a:lvl3pPr>
      <a:lvl4pPr marL="972000" indent="-144000" algn="l" defTabSz="914400" rtl="0" eaLnBrk="1" latinLnBrk="0" hangingPunct="1">
        <a:spcBef>
          <a:spcPts val="400"/>
        </a:spcBef>
        <a:buClr>
          <a:schemeClr val="accent4"/>
        </a:buClr>
        <a:buFont typeface="Arial" panose="020B0604020202020204" pitchFamily="34" charset="0"/>
        <a:buChar char="•"/>
        <a:defRPr sz="1300" kern="1200">
          <a:solidFill>
            <a:srgbClr val="595965"/>
          </a:solidFill>
          <a:latin typeface="Arial" panose="020B0604020202020204" pitchFamily="34" charset="0"/>
          <a:ea typeface="+mn-ea"/>
          <a:cs typeface="Arial" panose="020B0604020202020204" pitchFamily="34" charset="0"/>
        </a:defRPr>
      </a:lvl4pPr>
      <a:lvl5pPr marL="1260000" indent="-144000" algn="l" defTabSz="914400" rtl="0" eaLnBrk="1" latinLnBrk="0" hangingPunct="1">
        <a:spcBef>
          <a:spcPts val="400"/>
        </a:spcBef>
        <a:buClr>
          <a:schemeClr val="accent4"/>
        </a:buClr>
        <a:buFont typeface="Arial" panose="020B0604020202020204" pitchFamily="34" charset="0"/>
        <a:buChar char="•"/>
        <a:defRPr sz="1200" kern="1200">
          <a:solidFill>
            <a:srgbClr val="59596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Otsikon paikkamerkki 1"/>
          <p:cNvSpPr>
            <a:spLocks noGrp="1"/>
          </p:cNvSpPr>
          <p:nvPr>
            <p:ph type="title"/>
          </p:nvPr>
        </p:nvSpPr>
        <p:spPr>
          <a:xfrm>
            <a:off x="609602" y="234001"/>
            <a:ext cx="8077199" cy="974270"/>
          </a:xfrm>
          <a:prstGeom prst="rect">
            <a:avLst/>
          </a:prstGeom>
        </p:spPr>
        <p:txBody>
          <a:bodyPr vert="horz" lIns="91440" tIns="45720" rIns="91440" bIns="45720" rtlCol="0" anchor="b" anchorCtr="0">
            <a:noAutofit/>
          </a:bodyPr>
          <a:lstStyle/>
          <a:p>
            <a:r>
              <a:rPr lang="fi-FI" dirty="0"/>
              <a:t>Muokkaa </a:t>
            </a:r>
            <a:r>
              <a:rPr lang="fi-FI" dirty="0" err="1"/>
              <a:t>perustyyl</a:t>
            </a:r>
            <a:r>
              <a:rPr lang="fi-FI" dirty="0"/>
              <a:t>. </a:t>
            </a:r>
            <a:r>
              <a:rPr lang="fi-FI" dirty="0" err="1"/>
              <a:t>napsautt</a:t>
            </a:r>
            <a:r>
              <a:rPr lang="fi-FI" dirty="0"/>
              <a:t>.</a:t>
            </a:r>
          </a:p>
        </p:txBody>
      </p:sp>
      <p:sp>
        <p:nvSpPr>
          <p:cNvPr id="3" name="Tekstin paikkamerkki 2"/>
          <p:cNvSpPr>
            <a:spLocks noGrp="1"/>
          </p:cNvSpPr>
          <p:nvPr>
            <p:ph type="body" idx="1"/>
          </p:nvPr>
        </p:nvSpPr>
        <p:spPr>
          <a:xfrm>
            <a:off x="609602" y="1347614"/>
            <a:ext cx="8077199" cy="3312369"/>
          </a:xfrm>
          <a:prstGeom prst="rect">
            <a:avLst/>
          </a:prstGeom>
        </p:spPr>
        <p:txBody>
          <a:bodyPr vert="horz" lIns="91440" tIns="45720" rIns="91440" bIns="45720" rtlCol="0">
            <a:normAutofit/>
          </a:body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Tree>
    <p:extLst>
      <p:ext uri="{BB962C8B-B14F-4D97-AF65-F5344CB8AC3E}">
        <p14:creationId xmlns:p14="http://schemas.microsoft.com/office/powerpoint/2010/main" val="4140089193"/>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2" r:id="rId3"/>
    <p:sldLayoutId id="2147483903" r:id="rId4"/>
    <p:sldLayoutId id="2147483904" r:id="rId5"/>
    <p:sldLayoutId id="2147483905" r:id="rId6"/>
    <p:sldLayoutId id="2147483906" r:id="rId7"/>
    <p:sldLayoutId id="2147483907" r:id="rId8"/>
  </p:sldLayoutIdLst>
  <p:hf hdr="0" ftr="0"/>
  <p:txStyles>
    <p:titleStyle>
      <a:lvl1pPr algn="l" defTabSz="914355" rtl="0" eaLnBrk="1" latinLnBrk="0" hangingPunct="1">
        <a:spcBef>
          <a:spcPct val="0"/>
        </a:spcBef>
        <a:buNone/>
        <a:defRPr sz="3200" b="1" i="0" kern="1200">
          <a:solidFill>
            <a:srgbClr val="595965"/>
          </a:solidFill>
          <a:latin typeface="Arial Narrow" panose="020B0606020202030204" pitchFamily="34" charset="0"/>
          <a:ea typeface="+mj-ea"/>
          <a:cs typeface="+mj-cs"/>
        </a:defRPr>
      </a:lvl1pPr>
    </p:titleStyle>
    <p:bodyStyle>
      <a:lvl1pPr marL="179992" indent="-179992" algn="l" defTabSz="914355" rtl="0" eaLnBrk="1" latinLnBrk="0" hangingPunct="1">
        <a:spcBef>
          <a:spcPts val="400"/>
        </a:spcBef>
        <a:buClr>
          <a:schemeClr val="accent4"/>
        </a:buClr>
        <a:buFont typeface="Arial" panose="020B0604020202020204" pitchFamily="34" charset="0"/>
        <a:buChar char="•"/>
        <a:defRPr sz="2000" kern="1200">
          <a:solidFill>
            <a:srgbClr val="595965"/>
          </a:solidFill>
          <a:latin typeface="Arial" panose="020B0604020202020204" pitchFamily="34" charset="0"/>
          <a:ea typeface="+mn-ea"/>
          <a:cs typeface="Arial" panose="020B0604020202020204" pitchFamily="34" charset="0"/>
        </a:defRPr>
      </a:lvl1pPr>
      <a:lvl2pPr marL="467976" indent="-179992" algn="l" defTabSz="914355" rtl="0" eaLnBrk="1" latinLnBrk="0" hangingPunct="1">
        <a:spcBef>
          <a:spcPts val="400"/>
        </a:spcBef>
        <a:buClr>
          <a:schemeClr val="accent4"/>
        </a:buClr>
        <a:buFont typeface="Arial" panose="020B0604020202020204" pitchFamily="34" charset="0"/>
        <a:buChar char="•"/>
        <a:defRPr sz="1800" kern="1200">
          <a:solidFill>
            <a:srgbClr val="595965"/>
          </a:solidFill>
          <a:latin typeface="Arial" panose="020B0604020202020204" pitchFamily="34" charset="0"/>
          <a:ea typeface="+mn-ea"/>
          <a:cs typeface="Arial" panose="020B0604020202020204" pitchFamily="34" charset="0"/>
        </a:defRPr>
      </a:lvl2pPr>
      <a:lvl3pPr marL="719964" indent="-143993" algn="l" defTabSz="914355" rtl="0" eaLnBrk="1" latinLnBrk="0" hangingPunct="1">
        <a:spcBef>
          <a:spcPts val="400"/>
        </a:spcBef>
        <a:buClr>
          <a:schemeClr val="accent4"/>
        </a:buClr>
        <a:buFont typeface="Arial" panose="020B0604020202020204" pitchFamily="34" charset="0"/>
        <a:buChar char="•"/>
        <a:defRPr sz="1400" kern="1200">
          <a:solidFill>
            <a:srgbClr val="595965"/>
          </a:solidFill>
          <a:latin typeface="Arial" panose="020B0604020202020204" pitchFamily="34" charset="0"/>
          <a:ea typeface="+mn-ea"/>
          <a:cs typeface="Arial" panose="020B0604020202020204" pitchFamily="34" charset="0"/>
        </a:defRPr>
      </a:lvl3pPr>
      <a:lvl4pPr marL="971952" indent="-143993" algn="l" defTabSz="914355" rtl="0" eaLnBrk="1" latinLnBrk="0" hangingPunct="1">
        <a:spcBef>
          <a:spcPts val="400"/>
        </a:spcBef>
        <a:buClr>
          <a:schemeClr val="accent4"/>
        </a:buClr>
        <a:buFont typeface="Arial" panose="020B0604020202020204" pitchFamily="34" charset="0"/>
        <a:buChar char="•"/>
        <a:defRPr sz="1300" kern="1200">
          <a:solidFill>
            <a:srgbClr val="595965"/>
          </a:solidFill>
          <a:latin typeface="Arial" panose="020B0604020202020204" pitchFamily="34" charset="0"/>
          <a:ea typeface="+mn-ea"/>
          <a:cs typeface="Arial" panose="020B0604020202020204" pitchFamily="34" charset="0"/>
        </a:defRPr>
      </a:lvl4pPr>
      <a:lvl5pPr marL="1259938" indent="-143993" algn="l" defTabSz="914355" rtl="0" eaLnBrk="1" latinLnBrk="0" hangingPunct="1">
        <a:spcBef>
          <a:spcPts val="400"/>
        </a:spcBef>
        <a:buClr>
          <a:schemeClr val="accent4"/>
        </a:buClr>
        <a:buFont typeface="Arial" panose="020B0604020202020204" pitchFamily="34" charset="0"/>
        <a:buChar char="•"/>
        <a:defRPr sz="1200" kern="1200">
          <a:solidFill>
            <a:srgbClr val="595965"/>
          </a:solidFill>
          <a:latin typeface="Arial" panose="020B0604020202020204" pitchFamily="34" charset="0"/>
          <a:ea typeface="+mn-ea"/>
          <a:cs typeface="Arial" panose="020B0604020202020204" pitchFamily="34" charset="0"/>
        </a:defRPr>
      </a:lvl5pPr>
      <a:lvl6pPr marL="2514474" indent="-228588" algn="l" defTabSz="91435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652" indent="-228588" algn="l" defTabSz="91435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829" indent="-228588" algn="l" defTabSz="91435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006" indent="-228588" algn="l" defTabSz="91435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i-FI"/>
      </a:defPPr>
      <a:lvl1pPr marL="0" algn="l" defTabSz="914355" rtl="0" eaLnBrk="1" latinLnBrk="0" hangingPunct="1">
        <a:defRPr sz="1800" kern="1200">
          <a:solidFill>
            <a:schemeClr val="tx1"/>
          </a:solidFill>
          <a:latin typeface="+mn-lt"/>
          <a:ea typeface="+mn-ea"/>
          <a:cs typeface="+mn-cs"/>
        </a:defRPr>
      </a:lvl1pPr>
      <a:lvl2pPr marL="457178" algn="l" defTabSz="914355" rtl="0" eaLnBrk="1" latinLnBrk="0" hangingPunct="1">
        <a:defRPr sz="1800" kern="1200">
          <a:solidFill>
            <a:schemeClr val="tx1"/>
          </a:solidFill>
          <a:latin typeface="+mn-lt"/>
          <a:ea typeface="+mn-ea"/>
          <a:cs typeface="+mn-cs"/>
        </a:defRPr>
      </a:lvl2pPr>
      <a:lvl3pPr marL="914355" algn="l" defTabSz="914355" rtl="0" eaLnBrk="1" latinLnBrk="0" hangingPunct="1">
        <a:defRPr sz="1800" kern="1200">
          <a:solidFill>
            <a:schemeClr val="tx1"/>
          </a:solidFill>
          <a:latin typeface="+mn-lt"/>
          <a:ea typeface="+mn-ea"/>
          <a:cs typeface="+mn-cs"/>
        </a:defRPr>
      </a:lvl3pPr>
      <a:lvl4pPr marL="1371532" algn="l" defTabSz="914355" rtl="0" eaLnBrk="1" latinLnBrk="0" hangingPunct="1">
        <a:defRPr sz="1800" kern="1200">
          <a:solidFill>
            <a:schemeClr val="tx1"/>
          </a:solidFill>
          <a:latin typeface="+mn-lt"/>
          <a:ea typeface="+mn-ea"/>
          <a:cs typeface="+mn-cs"/>
        </a:defRPr>
      </a:lvl4pPr>
      <a:lvl5pPr marL="1828709" algn="l" defTabSz="914355" rtl="0" eaLnBrk="1" latinLnBrk="0" hangingPunct="1">
        <a:defRPr sz="1800" kern="1200">
          <a:solidFill>
            <a:schemeClr val="tx1"/>
          </a:solidFill>
          <a:latin typeface="+mn-lt"/>
          <a:ea typeface="+mn-ea"/>
          <a:cs typeface="+mn-cs"/>
        </a:defRPr>
      </a:lvl5pPr>
      <a:lvl6pPr marL="2285886" algn="l" defTabSz="914355" rtl="0" eaLnBrk="1" latinLnBrk="0" hangingPunct="1">
        <a:defRPr sz="1800" kern="1200">
          <a:solidFill>
            <a:schemeClr val="tx1"/>
          </a:solidFill>
          <a:latin typeface="+mn-lt"/>
          <a:ea typeface="+mn-ea"/>
          <a:cs typeface="+mn-cs"/>
        </a:defRPr>
      </a:lvl6pPr>
      <a:lvl7pPr marL="2743064" algn="l" defTabSz="914355" rtl="0" eaLnBrk="1" latinLnBrk="0" hangingPunct="1">
        <a:defRPr sz="1800" kern="1200">
          <a:solidFill>
            <a:schemeClr val="tx1"/>
          </a:solidFill>
          <a:latin typeface="+mn-lt"/>
          <a:ea typeface="+mn-ea"/>
          <a:cs typeface="+mn-cs"/>
        </a:defRPr>
      </a:lvl7pPr>
      <a:lvl8pPr marL="3200240" algn="l" defTabSz="914355" rtl="0" eaLnBrk="1" latinLnBrk="0" hangingPunct="1">
        <a:defRPr sz="1800" kern="1200">
          <a:solidFill>
            <a:schemeClr val="tx1"/>
          </a:solidFill>
          <a:latin typeface="+mn-lt"/>
          <a:ea typeface="+mn-ea"/>
          <a:cs typeface="+mn-cs"/>
        </a:defRPr>
      </a:lvl8pPr>
      <a:lvl9pPr marL="3657418" algn="l" defTabSz="914355"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Otsikon paikkamerkki 1"/>
          <p:cNvSpPr>
            <a:spLocks noGrp="1"/>
          </p:cNvSpPr>
          <p:nvPr>
            <p:ph type="title"/>
          </p:nvPr>
        </p:nvSpPr>
        <p:spPr>
          <a:xfrm>
            <a:off x="609601" y="234001"/>
            <a:ext cx="8077199" cy="974270"/>
          </a:xfrm>
          <a:prstGeom prst="rect">
            <a:avLst/>
          </a:prstGeom>
        </p:spPr>
        <p:txBody>
          <a:bodyPr vert="horz" lIns="91440" tIns="45720" rIns="91440" bIns="45720" rtlCol="0" anchor="b" anchorCtr="0">
            <a:noAutofit/>
          </a:bodyPr>
          <a:lstStyle/>
          <a:p>
            <a:r>
              <a:rPr lang="fi-FI" dirty="0"/>
              <a:t>Muokkaa </a:t>
            </a:r>
            <a:r>
              <a:rPr lang="fi-FI" dirty="0" err="1"/>
              <a:t>perustyyl</a:t>
            </a:r>
            <a:r>
              <a:rPr lang="fi-FI" dirty="0"/>
              <a:t>. </a:t>
            </a:r>
            <a:r>
              <a:rPr lang="fi-FI" dirty="0" err="1"/>
              <a:t>napsautt</a:t>
            </a:r>
            <a:r>
              <a:rPr lang="fi-FI" dirty="0"/>
              <a:t>.</a:t>
            </a:r>
          </a:p>
        </p:txBody>
      </p:sp>
      <p:sp>
        <p:nvSpPr>
          <p:cNvPr id="3" name="Tekstin paikkamerkki 2"/>
          <p:cNvSpPr>
            <a:spLocks noGrp="1"/>
          </p:cNvSpPr>
          <p:nvPr>
            <p:ph type="body" idx="1"/>
          </p:nvPr>
        </p:nvSpPr>
        <p:spPr>
          <a:xfrm>
            <a:off x="609601" y="1411202"/>
            <a:ext cx="8077199" cy="3248782"/>
          </a:xfrm>
          <a:prstGeom prst="rect">
            <a:avLst/>
          </a:prstGeom>
        </p:spPr>
        <p:txBody>
          <a:bodyPr vert="horz" lIns="91440" tIns="45720" rIns="91440" bIns="45720" rtlCol="0">
            <a:normAutofit/>
          </a:body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Tree>
    <p:extLst>
      <p:ext uri="{BB962C8B-B14F-4D97-AF65-F5344CB8AC3E}">
        <p14:creationId xmlns:p14="http://schemas.microsoft.com/office/powerpoint/2010/main" val="947561417"/>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2" r:id="rId3"/>
    <p:sldLayoutId id="2147483913" r:id="rId4"/>
    <p:sldLayoutId id="2147483914" r:id="rId5"/>
    <p:sldLayoutId id="2147483915" r:id="rId6"/>
    <p:sldLayoutId id="2147483916" r:id="rId7"/>
    <p:sldLayoutId id="2147483917" r:id="rId8"/>
    <p:sldLayoutId id="2147483918" r:id="rId9"/>
    <p:sldLayoutId id="2147483919" r:id="rId10"/>
    <p:sldLayoutId id="2147483920" r:id="rId11"/>
    <p:sldLayoutId id="2147483921" r:id="rId12"/>
    <p:sldLayoutId id="2147483922" r:id="rId13"/>
    <p:sldLayoutId id="2147483923" r:id="rId14"/>
    <p:sldLayoutId id="2147483924" r:id="rId15"/>
    <p:sldLayoutId id="2147483925" r:id="rId16"/>
    <p:sldLayoutId id="2147483926" r:id="rId17"/>
    <p:sldLayoutId id="2147483927" r:id="rId18"/>
  </p:sldLayoutIdLst>
  <p:hf hdr="0" ftr="0"/>
  <p:txStyles>
    <p:titleStyle>
      <a:lvl1pPr algn="l" defTabSz="914378" rtl="0" eaLnBrk="1" latinLnBrk="0" hangingPunct="1">
        <a:spcBef>
          <a:spcPct val="0"/>
        </a:spcBef>
        <a:buNone/>
        <a:defRPr sz="3200" b="1" i="0" kern="1200">
          <a:solidFill>
            <a:srgbClr val="595965"/>
          </a:solidFill>
          <a:latin typeface="Arial Narrow" panose="020B0606020202030204" pitchFamily="34" charset="0"/>
          <a:ea typeface="+mj-ea"/>
          <a:cs typeface="+mj-cs"/>
        </a:defRPr>
      </a:lvl1pPr>
    </p:titleStyle>
    <p:bodyStyle>
      <a:lvl1pPr marL="179996" indent="-179996" algn="l" defTabSz="914378" rtl="0" eaLnBrk="1" latinLnBrk="0" hangingPunct="1">
        <a:spcBef>
          <a:spcPts val="400"/>
        </a:spcBef>
        <a:buClr>
          <a:schemeClr val="accent4"/>
        </a:buClr>
        <a:buFont typeface="Arial" panose="020B0604020202020204" pitchFamily="34" charset="0"/>
        <a:buChar char="•"/>
        <a:defRPr sz="2000" kern="1200">
          <a:solidFill>
            <a:srgbClr val="595965"/>
          </a:solidFill>
          <a:latin typeface="Arial" panose="020B0604020202020204" pitchFamily="34" charset="0"/>
          <a:ea typeface="+mn-ea"/>
          <a:cs typeface="Arial" panose="020B0604020202020204" pitchFamily="34" charset="0"/>
        </a:defRPr>
      </a:lvl1pPr>
      <a:lvl2pPr marL="467988" indent="-179996" algn="l" defTabSz="914378" rtl="0" eaLnBrk="1" latinLnBrk="0" hangingPunct="1">
        <a:spcBef>
          <a:spcPts val="400"/>
        </a:spcBef>
        <a:buClr>
          <a:schemeClr val="accent4"/>
        </a:buClr>
        <a:buFont typeface="Arial" panose="020B0604020202020204" pitchFamily="34" charset="0"/>
        <a:buChar char="•"/>
        <a:defRPr sz="1800" kern="1200">
          <a:solidFill>
            <a:srgbClr val="595965"/>
          </a:solidFill>
          <a:latin typeface="Arial" panose="020B0604020202020204" pitchFamily="34" charset="0"/>
          <a:ea typeface="+mn-ea"/>
          <a:cs typeface="Arial" panose="020B0604020202020204" pitchFamily="34" charset="0"/>
        </a:defRPr>
      </a:lvl2pPr>
      <a:lvl3pPr marL="719982" indent="-143996" algn="l" defTabSz="914378" rtl="0" eaLnBrk="1" latinLnBrk="0" hangingPunct="1">
        <a:spcBef>
          <a:spcPts val="400"/>
        </a:spcBef>
        <a:buClr>
          <a:schemeClr val="accent4"/>
        </a:buClr>
        <a:buFont typeface="Arial" panose="020B0604020202020204" pitchFamily="34" charset="0"/>
        <a:buChar char="•"/>
        <a:defRPr sz="1400" kern="1200">
          <a:solidFill>
            <a:srgbClr val="595965"/>
          </a:solidFill>
          <a:latin typeface="Arial" panose="020B0604020202020204" pitchFamily="34" charset="0"/>
          <a:ea typeface="+mn-ea"/>
          <a:cs typeface="Arial" panose="020B0604020202020204" pitchFamily="34" charset="0"/>
        </a:defRPr>
      </a:lvl3pPr>
      <a:lvl4pPr marL="971976" indent="-143996" algn="l" defTabSz="914378" rtl="0" eaLnBrk="1" latinLnBrk="0" hangingPunct="1">
        <a:spcBef>
          <a:spcPts val="400"/>
        </a:spcBef>
        <a:buClr>
          <a:schemeClr val="accent4"/>
        </a:buClr>
        <a:buFont typeface="Arial" panose="020B0604020202020204" pitchFamily="34" charset="0"/>
        <a:buChar char="•"/>
        <a:defRPr sz="1300" kern="1200">
          <a:solidFill>
            <a:srgbClr val="595965"/>
          </a:solidFill>
          <a:latin typeface="Arial" panose="020B0604020202020204" pitchFamily="34" charset="0"/>
          <a:ea typeface="+mn-ea"/>
          <a:cs typeface="Arial" panose="020B0604020202020204" pitchFamily="34" charset="0"/>
        </a:defRPr>
      </a:lvl4pPr>
      <a:lvl5pPr marL="1259969" indent="-143996" algn="l" defTabSz="914378" rtl="0" eaLnBrk="1" latinLnBrk="0" hangingPunct="1">
        <a:spcBef>
          <a:spcPts val="400"/>
        </a:spcBef>
        <a:buClr>
          <a:schemeClr val="accent4"/>
        </a:buClr>
        <a:buFont typeface="Arial" panose="020B0604020202020204" pitchFamily="34" charset="0"/>
        <a:buChar char="•"/>
        <a:defRPr sz="1200" kern="1200">
          <a:solidFill>
            <a:srgbClr val="595965"/>
          </a:solidFill>
          <a:latin typeface="Arial" panose="020B0604020202020204" pitchFamily="34" charset="0"/>
          <a:ea typeface="+mn-ea"/>
          <a:cs typeface="Arial" panose="020B0604020202020204" pitchFamily="34" charset="0"/>
        </a:defRPr>
      </a:lvl5pPr>
      <a:lvl6pPr marL="2514537"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i-FI"/>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56.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20.emf"/><Relationship Id="rId4" Type="http://schemas.openxmlformats.org/officeDocument/2006/relationships/oleObject" Target="../embeddings/oleObject3.bin"/></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ctrTitle"/>
          </p:nvPr>
        </p:nvSpPr>
        <p:spPr>
          <a:xfrm>
            <a:off x="683568" y="2121700"/>
            <a:ext cx="8352928" cy="2095528"/>
          </a:xfrm>
        </p:spPr>
        <p:txBody>
          <a:bodyPr vert="horz" anchor="t"/>
          <a:lstStyle/>
          <a:p>
            <a:r>
              <a:rPr lang="fi-FI" dirty="0" smtClean="0">
                <a:solidFill>
                  <a:srgbClr val="595965"/>
                </a:solidFill>
              </a:rPr>
              <a:t>Valtioneuvoston </a:t>
            </a:r>
            <a:r>
              <a:rPr lang="fi-FI" dirty="0">
                <a:solidFill>
                  <a:srgbClr val="595965"/>
                </a:solidFill>
              </a:rPr>
              <a:t>muutostuki hyvinvointialueille </a:t>
            </a:r>
            <a:r>
              <a:rPr lang="fi-FI" sz="3600" dirty="0" smtClean="0">
                <a:solidFill>
                  <a:srgbClr val="595965"/>
                </a:solidFill>
              </a:rPr>
              <a:t> </a:t>
            </a:r>
            <a:br>
              <a:rPr lang="fi-FI" sz="3600" dirty="0" smtClean="0">
                <a:solidFill>
                  <a:srgbClr val="595965"/>
                </a:solidFill>
              </a:rPr>
            </a:br>
            <a:r>
              <a:rPr lang="fi-FI" dirty="0">
                <a:solidFill>
                  <a:srgbClr val="595965"/>
                </a:solidFill>
              </a:rPr>
              <a:t/>
            </a:r>
            <a:br>
              <a:rPr lang="fi-FI" dirty="0">
                <a:solidFill>
                  <a:srgbClr val="595965"/>
                </a:solidFill>
              </a:rPr>
            </a:br>
            <a:endParaRPr lang="fi-FI" dirty="0">
              <a:solidFill>
                <a:srgbClr val="595965"/>
              </a:solidFill>
            </a:endParaRPr>
          </a:p>
        </p:txBody>
      </p:sp>
      <p:sp>
        <p:nvSpPr>
          <p:cNvPr id="5" name="Subtitle 4">
            <a:extLst>
              <a:ext uri="{FF2B5EF4-FFF2-40B4-BE49-F238E27FC236}">
                <a16:creationId xmlns:a16="http://schemas.microsoft.com/office/drawing/2014/main" id="{85D0A48A-9737-494D-8A8B-EA16563CBCC2}"/>
              </a:ext>
            </a:extLst>
          </p:cNvPr>
          <p:cNvSpPr>
            <a:spLocks noGrp="1"/>
          </p:cNvSpPr>
          <p:nvPr>
            <p:ph type="subTitle" idx="1"/>
          </p:nvPr>
        </p:nvSpPr>
        <p:spPr/>
        <p:txBody>
          <a:bodyPr/>
          <a:lstStyle/>
          <a:p>
            <a:r>
              <a:rPr lang="fi-FI" dirty="0" smtClean="0">
                <a:solidFill>
                  <a:srgbClr val="595965"/>
                </a:solidFill>
              </a:rPr>
              <a:t>Salme Kallinen, neuvotteleva virkamies, STM/Ohjausosasto</a:t>
            </a:r>
            <a:endParaRPr lang="fi-FI" dirty="0">
              <a:solidFill>
                <a:srgbClr val="595965"/>
              </a:solidFill>
            </a:endParaRPr>
          </a:p>
        </p:txBody>
      </p:sp>
    </p:spTree>
    <p:extLst>
      <p:ext uri="{BB962C8B-B14F-4D97-AF65-F5344CB8AC3E}">
        <p14:creationId xmlns:p14="http://schemas.microsoft.com/office/powerpoint/2010/main" val="78468365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tsikko 2"/>
          <p:cNvSpPr>
            <a:spLocks noGrp="1"/>
          </p:cNvSpPr>
          <p:nvPr>
            <p:ph type="title"/>
          </p:nvPr>
        </p:nvSpPr>
        <p:spPr>
          <a:xfrm>
            <a:off x="453404" y="123478"/>
            <a:ext cx="6803511" cy="464202"/>
          </a:xfrm>
        </p:spPr>
        <p:txBody>
          <a:bodyPr/>
          <a:lstStyle/>
          <a:p>
            <a:r>
              <a:rPr lang="fi-FI" sz="2700" dirty="0" smtClean="0"/>
              <a:t>Ryhmät ja verkostot 1/2</a:t>
            </a:r>
            <a:endParaRPr lang="fi-FI" sz="2700" dirty="0"/>
          </a:p>
        </p:txBody>
      </p:sp>
      <p:graphicFrame>
        <p:nvGraphicFramePr>
          <p:cNvPr id="8" name="Taulukko 7" descr="Sote-ministerityöryhmä ohjaa sote- ja pelastustoimen uudistuksen toteuttamista ja toimeenpanoa. Sote-ministerityöryhmän jäseninä toimivat sote-uudistuksen keskeiset ministerit.&#10;&#10;Sote-uudistuksen johtoryhmän tehtävänä on johtaa uudistuksen virkavalmistelua ja koordinoida valmistelutyötä. Johtoryhmä toimii myös Tulevaisuuden sosiaali- ja terveyskeskus -ohjelman ohjausryhmänä. Ryhmän jäseninä toimivat ministeriöiden keskeiset viranhaltijat.&#10;&#10;Toimeenpanon koordinaatioryhmän tehtävänä on koordinoida ministeriöiden toimeenpanoa sote- ja pelastustoimen uudistuksen osalta. Tehtävänä on mm. uudistuksen kansallinen viestintä, vuorovaikutus ja alueiden ohjaus. Koordinaatioryhmä huolehtii ministeriöiden toimeenpanon tuen ja alueellisen valmistelun yhteensovittamisesta. Ryhmä valmistelee ja koordinoi sote-johtoryhmälle tuotavia ehdotuksia. Ryhmän muodostavat ministeriöiden ja THL:n toimeenpanosta vastaavat tahot. Jäseninä STM, VM, SM, OKM, TEM, THL.&#10;&#10;Toimeenpanon vastuuhenkilöverkoston ja sen valmisteluryhmien tehtävänä on:&#10;huolehtia alueellisen valmistelun tiekartan ja tilannekuvan laatimisesta ja ylläpitämisestä&#10;valmistella järjestämisvastuun siirtoon liittyviä tehtäviä&#10;vastata yhdyspintojen kehittämistyöstä&#10;lisätä vuoropuhelua alueiden ja kansallisten toimijoiden kesken &#10;vastata muista toimeenpanoon liittyvistä tehtävistä. &#10;Toimeenpanon vastuuhenkilöverkosto osaltaan tukee sitä, että uudistuksen mukainen valmistelu etenee kaikilla alueilla. &#10;Verkoston muodostavat hyvinvointialueiden vastuuvalmistelijat, jokaiselta hyvinvointialueilta nimetään yksi varsinainen jäsen ja kaksi varajäsentä, joista toinen edustaa pelastustointa. Lisäksi verkoston toimintaan osallistuu THL:n, Kuntaliiton ja KT:n sekä ministeriöiden toimeenpanosta vastaavat viranhaltijat. Verkoston sihteeristönä toimii ministeriöiden toimeenpanon virkamiehet.&#10;&#10;" title="Työryhmien tehtävät."/>
          <p:cNvGraphicFramePr>
            <a:graphicFrameLocks noGrp="1"/>
          </p:cNvGraphicFramePr>
          <p:nvPr>
            <p:extLst>
              <p:ext uri="{D42A27DB-BD31-4B8C-83A1-F6EECF244321}">
                <p14:modId xmlns:p14="http://schemas.microsoft.com/office/powerpoint/2010/main" val="3098711075"/>
              </p:ext>
            </p:extLst>
          </p:nvPr>
        </p:nvGraphicFramePr>
        <p:xfrm>
          <a:off x="453404" y="593099"/>
          <a:ext cx="8439076" cy="4513770"/>
        </p:xfrm>
        <a:graphic>
          <a:graphicData uri="http://schemas.openxmlformats.org/drawingml/2006/table">
            <a:tbl>
              <a:tblPr firstRow="1" bandRow="1">
                <a:tableStyleId>{5C22544A-7EE6-4342-B048-85BDC9FD1C3A}</a:tableStyleId>
              </a:tblPr>
              <a:tblGrid>
                <a:gridCol w="1886348">
                  <a:extLst>
                    <a:ext uri="{9D8B030D-6E8A-4147-A177-3AD203B41FA5}">
                      <a16:colId xmlns:a16="http://schemas.microsoft.com/office/drawing/2014/main" val="4151570133"/>
                    </a:ext>
                  </a:extLst>
                </a:gridCol>
                <a:gridCol w="6552728">
                  <a:extLst>
                    <a:ext uri="{9D8B030D-6E8A-4147-A177-3AD203B41FA5}">
                      <a16:colId xmlns:a16="http://schemas.microsoft.com/office/drawing/2014/main" val="3355138245"/>
                    </a:ext>
                  </a:extLst>
                </a:gridCol>
              </a:tblGrid>
              <a:tr h="785004">
                <a:tc>
                  <a:txBody>
                    <a:bodyPr/>
                    <a:lstStyle/>
                    <a:p>
                      <a:pPr>
                        <a:buNone/>
                      </a:pPr>
                      <a:r>
                        <a:rPr lang="fi-FI" sz="1050" b="1" kern="1200" dirty="0">
                          <a:solidFill>
                            <a:srgbClr val="FFFFFF"/>
                          </a:solidFill>
                        </a:rPr>
                        <a:t>Sote-ministerityöryhmä</a:t>
                      </a:r>
                    </a:p>
                    <a:p>
                      <a:pPr>
                        <a:buNone/>
                      </a:pPr>
                      <a:r>
                        <a:rPr lang="fi-FI" sz="1000" b="0" kern="1200" dirty="0">
                          <a:solidFill>
                            <a:schemeClr val="bg1"/>
                          </a:solidFill>
                          <a:latin typeface="+mn-lt"/>
                          <a:ea typeface="+mn-ea"/>
                          <a:cs typeface="+mn-cs"/>
                        </a:rPr>
                        <a:t>Pj.</a:t>
                      </a:r>
                      <a:r>
                        <a:rPr lang="fi-FI" sz="1000" b="0" kern="1200" baseline="0" dirty="0">
                          <a:solidFill>
                            <a:schemeClr val="bg1"/>
                          </a:solidFill>
                          <a:latin typeface="+mn-lt"/>
                          <a:ea typeface="+mn-ea"/>
                          <a:cs typeface="+mn-cs"/>
                        </a:rPr>
                        <a:t> perhe- ja peruspalveluministeri Kiuru, STM</a:t>
                      </a:r>
                      <a:endParaRPr lang="fi-FI" sz="1000" b="0" kern="1200" dirty="0">
                        <a:solidFill>
                          <a:schemeClr val="bg1"/>
                        </a:solidFill>
                        <a:latin typeface="+mj-lt"/>
                        <a:ea typeface="+mn-ea"/>
                        <a:cs typeface="+mn-cs"/>
                      </a:endParaRPr>
                    </a:p>
                  </a:txBody>
                  <a:tcPr>
                    <a:lnB w="12700" cap="flat" cmpd="sng" algn="ctr">
                      <a:solidFill>
                        <a:schemeClr val="bg1"/>
                      </a:solidFill>
                      <a:prstDash val="solid"/>
                      <a:round/>
                      <a:headEnd type="none" w="med" len="med"/>
                      <a:tailEnd type="none" w="med" len="med"/>
                    </a:lnB>
                    <a:solidFill>
                      <a:schemeClr val="accent4"/>
                    </a:solidFill>
                  </a:tcPr>
                </a:tc>
                <a:tc>
                  <a:txBody>
                    <a:bodyPr/>
                    <a:lstStyle/>
                    <a:p>
                      <a:pPr>
                        <a:buNone/>
                      </a:pPr>
                      <a:r>
                        <a:rPr lang="fi-FI" sz="1100" b="0" kern="1200" dirty="0">
                          <a:solidFill>
                            <a:srgbClr val="FFFFFF"/>
                          </a:solidFill>
                          <a:effectLst/>
                        </a:rPr>
                        <a:t>Sote-ministerityöryhmä</a:t>
                      </a:r>
                      <a:r>
                        <a:rPr lang="fi-FI" sz="1100" b="0" kern="1200" baseline="0" dirty="0">
                          <a:solidFill>
                            <a:srgbClr val="FFFFFF"/>
                          </a:solidFill>
                          <a:effectLst/>
                        </a:rPr>
                        <a:t> o</a:t>
                      </a:r>
                      <a:r>
                        <a:rPr lang="fi-FI" sz="1100" b="0" kern="1200" dirty="0">
                          <a:solidFill>
                            <a:srgbClr val="FFFFFF"/>
                          </a:solidFill>
                          <a:effectLst/>
                        </a:rPr>
                        <a:t>hjaa sote- ja pelastustoimen uudistuksen toteuttamista ja toimeenpanoa. Sote-ministerityöryhmän</a:t>
                      </a:r>
                      <a:r>
                        <a:rPr lang="fi-FI" sz="1100" b="0" kern="1200" baseline="0" dirty="0">
                          <a:solidFill>
                            <a:srgbClr val="FFFFFF"/>
                          </a:solidFill>
                          <a:effectLst/>
                        </a:rPr>
                        <a:t> jäseninä toimivat sote-uudistuksen keskeiset ministerit.</a:t>
                      </a:r>
                      <a:endParaRPr lang="fi-FI" sz="1100" b="0" kern="1200" dirty="0">
                        <a:solidFill>
                          <a:srgbClr val="FFFFFF"/>
                        </a:solidFill>
                        <a:effectLst/>
                      </a:endParaRPr>
                    </a:p>
                  </a:txBody>
                  <a:tcPr>
                    <a:lnB w="12700" cap="flat" cmpd="sng" algn="ctr">
                      <a:solidFill>
                        <a:schemeClr val="bg1"/>
                      </a:solidFill>
                      <a:prstDash val="solid"/>
                      <a:round/>
                      <a:headEnd type="none" w="med" len="med"/>
                      <a:tailEnd type="none" w="med" len="med"/>
                    </a:lnB>
                    <a:solidFill>
                      <a:schemeClr val="accent4"/>
                    </a:solidFill>
                  </a:tcPr>
                </a:tc>
                <a:extLst>
                  <a:ext uri="{0D108BD9-81ED-4DB2-BD59-A6C34878D82A}">
                    <a16:rowId xmlns:a16="http://schemas.microsoft.com/office/drawing/2014/main" val="4268677078"/>
                  </a:ext>
                </a:extLst>
              </a:tr>
              <a:tr h="799172">
                <a:tc>
                  <a:txBody>
                    <a:bodyPr/>
                    <a:lstStyle/>
                    <a:p>
                      <a:pPr>
                        <a:buNone/>
                      </a:pPr>
                      <a:r>
                        <a:rPr lang="fi-FI" sz="1050" b="1" dirty="0">
                          <a:solidFill>
                            <a:srgbClr val="FFFFFF"/>
                          </a:solidFill>
                        </a:rPr>
                        <a:t>Sote-uudistuksen johtoryhmä</a:t>
                      </a:r>
                    </a:p>
                    <a:p>
                      <a:pPr>
                        <a:buNone/>
                      </a:pPr>
                      <a:r>
                        <a:rPr lang="fi-FI" sz="1000" b="0" dirty="0">
                          <a:solidFill>
                            <a:schemeClr val="bg1"/>
                          </a:solidFill>
                          <a:latin typeface="+mj-lt"/>
                        </a:rPr>
                        <a:t>Pj.</a:t>
                      </a:r>
                      <a:r>
                        <a:rPr lang="fi-FI" sz="1000" b="0" baseline="0" dirty="0">
                          <a:solidFill>
                            <a:schemeClr val="bg1"/>
                          </a:solidFill>
                          <a:latin typeface="+mj-lt"/>
                        </a:rPr>
                        <a:t> Hakari, STM</a:t>
                      </a:r>
                      <a:endParaRPr lang="fi-FI" sz="1000" b="0" dirty="0">
                        <a:solidFill>
                          <a:schemeClr val="bg1"/>
                        </a:solidFill>
                        <a:latin typeface="+mj-lt"/>
                      </a:endParaRPr>
                    </a:p>
                  </a:txBody>
                  <a:tcPr>
                    <a:lnT w="12700" cap="flat" cmpd="sng" algn="ctr">
                      <a:solidFill>
                        <a:schemeClr val="bg1"/>
                      </a:solidFill>
                      <a:prstDash val="solid"/>
                      <a:round/>
                      <a:headEnd type="none" w="med" len="med"/>
                      <a:tailEnd type="none" w="med" len="med"/>
                    </a:lnT>
                    <a:solidFill>
                      <a:schemeClr val="tx2">
                        <a:lumMod val="50000"/>
                      </a:schemeClr>
                    </a:solidFill>
                  </a:tcPr>
                </a:tc>
                <a:tc>
                  <a:txBody>
                    <a:bodyPr/>
                    <a:lstStyle/>
                    <a:p>
                      <a:pPr>
                        <a:buNone/>
                      </a:pPr>
                      <a:r>
                        <a:rPr lang="fi-FI" sz="1100" b="0" dirty="0">
                          <a:solidFill>
                            <a:srgbClr val="FFFFFF"/>
                          </a:solidFill>
                        </a:rPr>
                        <a:t>Sote-uudistuksen johtoryhmän tehtävänä on johtaa uudistuksen virkavalmistelua ja koordinoida valmistelutyötä. Johtoryhmä toimii myös Tulevaisuuden sosiaali- ja terveyskeskus -ohjelman ohjausryhmänä. Ryhmän jäseninä toimivat ministeriöiden keskeiset viranhaltijat.</a:t>
                      </a:r>
                    </a:p>
                  </a:txBody>
                  <a:tcPr>
                    <a:lnT w="12700" cap="flat" cmpd="sng" algn="ctr">
                      <a:solidFill>
                        <a:schemeClr val="bg1"/>
                      </a:solidFill>
                      <a:prstDash val="solid"/>
                      <a:round/>
                      <a:headEnd type="none" w="med" len="med"/>
                      <a:tailEnd type="none" w="med" len="med"/>
                    </a:lnT>
                    <a:solidFill>
                      <a:schemeClr val="tx2">
                        <a:lumMod val="50000"/>
                      </a:schemeClr>
                    </a:solidFill>
                  </a:tcPr>
                </a:tc>
                <a:extLst>
                  <a:ext uri="{0D108BD9-81ED-4DB2-BD59-A6C34878D82A}">
                    <a16:rowId xmlns:a16="http://schemas.microsoft.com/office/drawing/2014/main" val="3717773527"/>
                  </a:ext>
                </a:extLst>
              </a:tr>
              <a:tr h="974889">
                <a:tc>
                  <a:txBody>
                    <a:bodyPr/>
                    <a:lstStyle/>
                    <a:p>
                      <a:r>
                        <a:rPr lang="fi-FI" sz="1050" b="1" dirty="0"/>
                        <a:t>Toimeenpanon koordinaatioryhmä</a:t>
                      </a:r>
                    </a:p>
                    <a:p>
                      <a:r>
                        <a:rPr lang="fi-FI" sz="1000" b="0" dirty="0">
                          <a:solidFill>
                            <a:schemeClr val="tx1"/>
                          </a:solidFill>
                          <a:latin typeface="+mj-lt"/>
                        </a:rPr>
                        <a:t>Pj.</a:t>
                      </a:r>
                      <a:r>
                        <a:rPr lang="fi-FI" sz="1000" b="0" baseline="0" dirty="0">
                          <a:solidFill>
                            <a:schemeClr val="tx1"/>
                          </a:solidFill>
                          <a:latin typeface="+mj-lt"/>
                        </a:rPr>
                        <a:t> Hakari, STM</a:t>
                      </a:r>
                      <a:endParaRPr lang="fi-FI" sz="1000" b="0" dirty="0">
                        <a:solidFill>
                          <a:schemeClr val="tx1"/>
                        </a:solidFill>
                        <a:latin typeface="+mj-lt"/>
                      </a:endParaRPr>
                    </a:p>
                  </a:txBody>
                  <a:tcPr>
                    <a:solidFill>
                      <a:schemeClr val="accent5">
                        <a:lumMod val="40000"/>
                        <a:lumOff val="60000"/>
                      </a:schemeClr>
                    </a:solidFill>
                  </a:tcPr>
                </a:tc>
                <a:tc>
                  <a:txBody>
                    <a:bodyPr/>
                    <a:lstStyle/>
                    <a:p>
                      <a:pPr>
                        <a:buNone/>
                      </a:pPr>
                      <a:r>
                        <a:rPr lang="fi-FI" sz="1100" b="0" dirty="0"/>
                        <a:t>Toimeenpanon koordinaatioryhmän tehtävänä on koordinoida ministeriöiden toimeenpanoa sote- ja pelastustoimen uudistuksen </a:t>
                      </a:r>
                      <a:r>
                        <a:rPr lang="fi-FI" sz="1100" b="0" dirty="0">
                          <a:solidFill>
                            <a:schemeClr val="tx1"/>
                          </a:solidFill>
                        </a:rPr>
                        <a:t>osalta. </a:t>
                      </a:r>
                      <a:endParaRPr lang="fi-FI" sz="1100" b="0" dirty="0" smtClean="0">
                        <a:solidFill>
                          <a:schemeClr val="tx1"/>
                        </a:solidFill>
                      </a:endParaRPr>
                    </a:p>
                    <a:p>
                      <a:pPr>
                        <a:buNone/>
                      </a:pPr>
                      <a:endParaRPr lang="fi-FI" sz="1100" b="0" dirty="0" smtClean="0">
                        <a:solidFill>
                          <a:schemeClr val="tx1"/>
                        </a:solidFill>
                      </a:endParaRPr>
                    </a:p>
                    <a:p>
                      <a:pPr>
                        <a:buNone/>
                      </a:pPr>
                      <a:r>
                        <a:rPr lang="fi-FI" sz="1100" b="0" dirty="0" smtClean="0">
                          <a:solidFill>
                            <a:schemeClr val="tx1"/>
                          </a:solidFill>
                        </a:rPr>
                        <a:t>Tehtävänä</a:t>
                      </a:r>
                      <a:r>
                        <a:rPr lang="fi-FI" sz="1100" b="0" baseline="0" dirty="0" smtClean="0">
                          <a:solidFill>
                            <a:schemeClr val="tx1"/>
                          </a:solidFill>
                        </a:rPr>
                        <a:t> </a:t>
                      </a:r>
                      <a:r>
                        <a:rPr lang="fi-FI" sz="1100" b="0" baseline="0" dirty="0">
                          <a:solidFill>
                            <a:schemeClr val="tx1"/>
                          </a:solidFill>
                        </a:rPr>
                        <a:t>on </a:t>
                      </a:r>
                      <a:r>
                        <a:rPr lang="fi-FI" sz="1100" b="0" dirty="0">
                          <a:solidFill>
                            <a:schemeClr val="tx1"/>
                          </a:solidFill>
                        </a:rPr>
                        <a:t>mm. uudistuksen kansallinen viestintä, vuorovaikutus ja alueiden ohjaus. </a:t>
                      </a:r>
                      <a:endParaRPr lang="fi-FI" sz="1100" b="0" dirty="0" smtClean="0">
                        <a:solidFill>
                          <a:schemeClr val="tx1"/>
                        </a:solidFill>
                      </a:endParaRPr>
                    </a:p>
                    <a:p>
                      <a:pPr>
                        <a:buNone/>
                      </a:pPr>
                      <a:endParaRPr lang="fi-FI" sz="1100" b="0" dirty="0" smtClean="0">
                        <a:solidFill>
                          <a:schemeClr val="tx1"/>
                        </a:solidFill>
                      </a:endParaRPr>
                    </a:p>
                    <a:p>
                      <a:pPr>
                        <a:buNone/>
                      </a:pPr>
                      <a:r>
                        <a:rPr lang="fi-FI" sz="1100" b="0" dirty="0" smtClean="0">
                          <a:solidFill>
                            <a:schemeClr val="tx1"/>
                          </a:solidFill>
                        </a:rPr>
                        <a:t>Koordinaatioryhmä </a:t>
                      </a:r>
                      <a:r>
                        <a:rPr lang="fi-FI" sz="1100" b="0" dirty="0"/>
                        <a:t>huolehtii ministeriöiden toimeenpanon tuen ja alueellisen valmistelun yhteensovittamisesta. Ryhmä valmistelee ja koordinoi sote-johtoryhmälle tuotavia ehdotuksia. Ryhmän muodostavat ministeriöiden ja </a:t>
                      </a:r>
                      <a:r>
                        <a:rPr lang="fi-FI" sz="1100" b="0" dirty="0" err="1"/>
                        <a:t>THL:n</a:t>
                      </a:r>
                      <a:r>
                        <a:rPr lang="fi-FI" sz="1100" b="0" dirty="0"/>
                        <a:t> toimeenpanosta vastaavat tahot. Jäseninä STM, VM, SM, OKM, TEM, THL</a:t>
                      </a:r>
                    </a:p>
                  </a:txBody>
                  <a:tcPr>
                    <a:solidFill>
                      <a:schemeClr val="accent5">
                        <a:lumMod val="40000"/>
                        <a:lumOff val="60000"/>
                      </a:schemeClr>
                    </a:solidFill>
                  </a:tcPr>
                </a:tc>
                <a:extLst>
                  <a:ext uri="{0D108BD9-81ED-4DB2-BD59-A6C34878D82A}">
                    <a16:rowId xmlns:a16="http://schemas.microsoft.com/office/drawing/2014/main" val="3922663254"/>
                  </a:ext>
                </a:extLst>
              </a:tr>
              <a:tr h="132939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050" b="1" u="none" strike="noStrike" kern="1200" cap="none" spc="0" normalizeH="0" baseline="0" noProof="0" dirty="0">
                          <a:ln>
                            <a:noFill/>
                          </a:ln>
                          <a:effectLst/>
                          <a:uLnTx/>
                          <a:uFillTx/>
                        </a:rPr>
                        <a:t>Toimeenpanon vastuuhenkilöverkost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000" b="0" u="none" strike="noStrike" kern="1200" cap="none" spc="0" normalizeH="0" baseline="0" noProof="0" dirty="0">
                          <a:ln>
                            <a:noFill/>
                          </a:ln>
                          <a:effectLst/>
                          <a:uLnTx/>
                          <a:uFillTx/>
                        </a:rPr>
                        <a:t>Pj. Hakari, STM</a:t>
                      </a:r>
                    </a:p>
                  </a:txBody>
                  <a:tcPr>
                    <a:solidFill>
                      <a:schemeClr val="accent1">
                        <a:lumMod val="40000"/>
                        <a:lumOff val="60000"/>
                      </a:schemeClr>
                    </a:solidFill>
                  </a:tcPr>
                </a:tc>
                <a:tc>
                  <a:txBody>
                    <a:bodyPr/>
                    <a:lstStyle/>
                    <a:p>
                      <a:pPr>
                        <a:buNone/>
                      </a:pPr>
                      <a:r>
                        <a:rPr lang="fi-FI" sz="1100" b="0" kern="1200" dirty="0" smtClean="0">
                          <a:solidFill>
                            <a:schemeClr val="tx1"/>
                          </a:solidFill>
                          <a:effectLst/>
                        </a:rPr>
                        <a:t>Toimeenpanon </a:t>
                      </a:r>
                      <a:r>
                        <a:rPr lang="fi-FI" sz="1100" b="0" kern="1200" dirty="0">
                          <a:solidFill>
                            <a:schemeClr val="tx1"/>
                          </a:solidFill>
                          <a:effectLst/>
                        </a:rPr>
                        <a:t>vastuuhenkilöverkosto osaltaan tukee sitä, että uudistuksen mukainen valmistelu etenee kaikilla alueilla. </a:t>
                      </a:r>
                      <a:endParaRPr lang="fi-FI" sz="1100" b="0" kern="1200" dirty="0" smtClean="0">
                        <a:solidFill>
                          <a:schemeClr val="tx1"/>
                        </a:solidFill>
                        <a:effectLst/>
                      </a:endParaRPr>
                    </a:p>
                    <a:p>
                      <a:pPr>
                        <a:buNone/>
                      </a:pPr>
                      <a:endParaRPr lang="fi-FI" sz="1100" b="0" kern="1200" dirty="0">
                        <a:solidFill>
                          <a:schemeClr val="tx1"/>
                        </a:solidFill>
                        <a:effectLst/>
                      </a:endParaRPr>
                    </a:p>
                    <a:p>
                      <a:pPr marL="0" indent="0">
                        <a:buFont typeface="Arial" panose="020B0604020202020204" pitchFamily="34" charset="0"/>
                        <a:buNone/>
                      </a:pPr>
                      <a:r>
                        <a:rPr lang="fi-FI" sz="1100" b="0" kern="1200" dirty="0">
                          <a:solidFill>
                            <a:schemeClr val="tx1"/>
                          </a:solidFill>
                          <a:effectLst/>
                        </a:rPr>
                        <a:t>Verkoston muodostavat hyvinvointialueiden vastuuvalmistelijat</a:t>
                      </a:r>
                      <a:r>
                        <a:rPr lang="fi-FI" sz="1100" b="0" kern="1200" baseline="0" dirty="0">
                          <a:solidFill>
                            <a:schemeClr val="tx1"/>
                          </a:solidFill>
                          <a:effectLst/>
                        </a:rPr>
                        <a:t>, jokaiselta hyvinvointialueilta nimetään yksi varsinainen jäsen ja kaksi varajäsentä, joista toinen edustaa pelastustointa. Lisäksi verkoston toimintaan osallistuu </a:t>
                      </a:r>
                      <a:r>
                        <a:rPr lang="fi-FI" sz="1100" b="0" kern="1200" baseline="0" dirty="0" err="1">
                          <a:solidFill>
                            <a:schemeClr val="tx1"/>
                          </a:solidFill>
                          <a:effectLst/>
                        </a:rPr>
                        <a:t>THL:n</a:t>
                      </a:r>
                      <a:r>
                        <a:rPr lang="fi-FI" sz="1100" b="0" kern="1200" baseline="0" dirty="0">
                          <a:solidFill>
                            <a:schemeClr val="tx1"/>
                          </a:solidFill>
                          <a:effectLst/>
                        </a:rPr>
                        <a:t>, Kuntaliiton ja </a:t>
                      </a:r>
                      <a:r>
                        <a:rPr lang="fi-FI" sz="1100" b="0" strike="noStrike" kern="1200" baseline="0" dirty="0">
                          <a:solidFill>
                            <a:schemeClr val="tx1"/>
                          </a:solidFill>
                          <a:effectLst/>
                        </a:rPr>
                        <a:t>KT:n </a:t>
                      </a:r>
                      <a:r>
                        <a:rPr lang="fi-FI" sz="1100" b="0" kern="1200" baseline="0" dirty="0">
                          <a:solidFill>
                            <a:schemeClr val="tx1"/>
                          </a:solidFill>
                          <a:effectLst/>
                        </a:rPr>
                        <a:t>sekä ministeriöiden toimeenpanosta vastaavat viranhaltijat. Verkoston sihteeristönä toimii ministeriöiden toimeenpanon virkamiehet.</a:t>
                      </a:r>
                      <a:endParaRPr lang="fi-FI" sz="1100" b="0" dirty="0">
                        <a:solidFill>
                          <a:schemeClr val="tx1"/>
                        </a:solidFill>
                        <a:latin typeface="+mj-lt"/>
                      </a:endParaRPr>
                    </a:p>
                  </a:txBody>
                  <a:tcPr>
                    <a:solidFill>
                      <a:schemeClr val="accent1">
                        <a:lumMod val="40000"/>
                        <a:lumOff val="60000"/>
                      </a:schemeClr>
                    </a:solidFill>
                  </a:tcPr>
                </a:tc>
                <a:extLst>
                  <a:ext uri="{0D108BD9-81ED-4DB2-BD59-A6C34878D82A}">
                    <a16:rowId xmlns:a16="http://schemas.microsoft.com/office/drawing/2014/main" val="820986409"/>
                  </a:ext>
                </a:extLst>
              </a:tr>
            </a:tbl>
          </a:graphicData>
        </a:graphic>
      </p:graphicFrame>
    </p:spTree>
    <p:extLst>
      <p:ext uri="{BB962C8B-B14F-4D97-AF65-F5344CB8AC3E}">
        <p14:creationId xmlns:p14="http://schemas.microsoft.com/office/powerpoint/2010/main" val="320112137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tsikko 2"/>
          <p:cNvSpPr>
            <a:spLocks noGrp="1"/>
          </p:cNvSpPr>
          <p:nvPr>
            <p:ph type="title"/>
          </p:nvPr>
        </p:nvSpPr>
        <p:spPr>
          <a:xfrm>
            <a:off x="395536" y="51470"/>
            <a:ext cx="6803511" cy="464202"/>
          </a:xfrm>
        </p:spPr>
        <p:txBody>
          <a:bodyPr/>
          <a:lstStyle/>
          <a:p>
            <a:r>
              <a:rPr lang="fi-FI" sz="2700" dirty="0" smtClean="0"/>
              <a:t>Ryhmät ja verkosto </a:t>
            </a:r>
            <a:r>
              <a:rPr lang="fi-FI" sz="2700" dirty="0"/>
              <a:t>2/2</a:t>
            </a:r>
          </a:p>
        </p:txBody>
      </p:sp>
      <p:graphicFrame>
        <p:nvGraphicFramePr>
          <p:cNvPr id="8" name="Taulukko 7" descr="Valmisteluryhmien tehtävänä on tukea toimeenpanon etenemistä alueilla ja kansallisesti. Kukin ryhmä vastaa osaltaan teemansa asioiden valmistelusta ja yhteydestä tiekarttaan. Valmisteluryhmien tehtävänä on myös tunnistaa kansallisten ja alueellisten toimijoiden yhteistyön kohteita sekä jakaa hyviä käytäntöjä. Lisäksi valmisteluryhmien kautta kerätään tietoa alueellisen tilannekuvan muodostamiseksi ja toimeenpanon etenemisen arvioimiseksi sekä toimeenpanoon liittyvien riskien ennakoimiseksi. Valmisteluryhmiin on kutsuttu mukaan edustajat jokaiselta hyvinvointialueelta. Yhdyspinta –valmisteluryhmässä on myös kunta- ja järjestökentän edustus.&#10;&#10;Verkosto seuraa ja arvioi omalta osaltaan toimeenpanon etenemistä. Verkoston osaamista voidaan hyödyntää valmisteluryhmien työskentelyssä ja verkosto voi tukea valmisteluryhmien työtä tekemällä selvityksiä ja tuottamalla toimeenpanoon tukimateriaalia.&#10;&#10;Toimeenpanon sidosryhmäverkoston jäseninä on uudistuksen toimeenpanon kannalta keskeiset toimijat.&#10;&#10;Verkoston työskentely keskittyy &#10;hyvinvointialueiden toimeenpanon tukemiseen&#10;kuntien muuttuvaan roolin sote- ja pelastustoimenuudistuksessa &#10;hyvinvointialueen ja kuntien yhteistyöhön.&#10;&#10;Verkosto seuraa ja arvioi omalta osaltaan toimeenpanon etenemistä. Verkoston osaamista voidaan hyödyntää valmisteluryhmien työskentelyssä ja verkosto voi tukea valmisteluryhmien työtä tekemällä selvityksiä ja tuottamalla toimeenpanoon tukimateriaalia. &#10;&#10;Toimeenpanon kuntaverkoston jäseninä on kuntaverkostojen edustajat. Verkoston sihteeristön muodostavat ministeriöiden ja Kuntaliiton edustajat.&#10;" title="Työryhmien tehtävät."/>
          <p:cNvGraphicFramePr>
            <a:graphicFrameLocks noGrp="1"/>
          </p:cNvGraphicFramePr>
          <p:nvPr>
            <p:extLst>
              <p:ext uri="{D42A27DB-BD31-4B8C-83A1-F6EECF244321}">
                <p14:modId xmlns:p14="http://schemas.microsoft.com/office/powerpoint/2010/main" val="2090715305"/>
              </p:ext>
            </p:extLst>
          </p:nvPr>
        </p:nvGraphicFramePr>
        <p:xfrm>
          <a:off x="251520" y="515673"/>
          <a:ext cx="8352928" cy="4655354"/>
        </p:xfrm>
        <a:graphic>
          <a:graphicData uri="http://schemas.openxmlformats.org/drawingml/2006/table">
            <a:tbl>
              <a:tblPr firstRow="1" bandRow="1">
                <a:tableStyleId>{5C22544A-7EE6-4342-B048-85BDC9FD1C3A}</a:tableStyleId>
              </a:tblPr>
              <a:tblGrid>
                <a:gridCol w="1939073">
                  <a:extLst>
                    <a:ext uri="{9D8B030D-6E8A-4147-A177-3AD203B41FA5}">
                      <a16:colId xmlns:a16="http://schemas.microsoft.com/office/drawing/2014/main" val="4151570133"/>
                    </a:ext>
                  </a:extLst>
                </a:gridCol>
                <a:gridCol w="6413855">
                  <a:extLst>
                    <a:ext uri="{9D8B030D-6E8A-4147-A177-3AD203B41FA5}">
                      <a16:colId xmlns:a16="http://schemas.microsoft.com/office/drawing/2014/main" val="3355138245"/>
                    </a:ext>
                  </a:extLst>
                </a:gridCol>
              </a:tblGrid>
              <a:tr h="1883941">
                <a:tc>
                  <a:txBody>
                    <a:bodyPr/>
                    <a:lstStyle/>
                    <a:p>
                      <a:r>
                        <a:rPr lang="fi-FI" sz="1100" b="1" kern="1200" dirty="0">
                          <a:solidFill>
                            <a:schemeClr val="tx1"/>
                          </a:solidFill>
                          <a:latin typeface="+mn-lt"/>
                          <a:ea typeface="+mn-ea"/>
                          <a:cs typeface="+mn-cs"/>
                        </a:rPr>
                        <a:t>Valmisteluryhmät</a:t>
                      </a:r>
                    </a:p>
                    <a:p>
                      <a:pPr marL="228600" indent="-228600">
                        <a:buAutoNum type="arabicPeriod"/>
                      </a:pPr>
                      <a:r>
                        <a:rPr lang="fi-FI" sz="1200" b="0" kern="1200" dirty="0">
                          <a:solidFill>
                            <a:schemeClr val="tx1"/>
                          </a:solidFill>
                          <a:latin typeface="+mn-lt"/>
                          <a:ea typeface="+mn-ea"/>
                          <a:cs typeface="+mn-cs"/>
                        </a:rPr>
                        <a:t>Hallinto, talous ja tukipalvelut</a:t>
                      </a:r>
                    </a:p>
                    <a:p>
                      <a:pPr marL="228600" indent="-228600">
                        <a:buAutoNum type="arabicPeriod"/>
                      </a:pPr>
                      <a:r>
                        <a:rPr lang="fi-FI" sz="1200" b="0" kern="1200" dirty="0">
                          <a:solidFill>
                            <a:schemeClr val="tx1"/>
                          </a:solidFill>
                          <a:latin typeface="+mn-lt"/>
                          <a:ea typeface="+mn-ea"/>
                          <a:cs typeface="+mn-cs"/>
                        </a:rPr>
                        <a:t>Johtaminen</a:t>
                      </a:r>
                      <a:r>
                        <a:rPr lang="fi-FI" sz="1200" b="0" kern="1200" baseline="0" dirty="0">
                          <a:solidFill>
                            <a:schemeClr val="tx1"/>
                          </a:solidFill>
                          <a:latin typeface="+mn-lt"/>
                          <a:ea typeface="+mn-ea"/>
                          <a:cs typeface="+mn-cs"/>
                        </a:rPr>
                        <a:t> ja osaaminen</a:t>
                      </a:r>
                    </a:p>
                    <a:p>
                      <a:pPr marL="228600" indent="-228600">
                        <a:buAutoNum type="arabicPeriod"/>
                      </a:pPr>
                      <a:r>
                        <a:rPr lang="fi-FI" sz="1200" b="0" kern="1200" baseline="0" dirty="0">
                          <a:solidFill>
                            <a:schemeClr val="tx1"/>
                          </a:solidFill>
                          <a:latin typeface="+mn-lt"/>
                          <a:ea typeface="+mn-ea"/>
                          <a:cs typeface="+mn-cs"/>
                        </a:rPr>
                        <a:t>Palveluiden järjestäminen</a:t>
                      </a:r>
                    </a:p>
                    <a:p>
                      <a:pPr marL="228600" indent="-228600">
                        <a:buAutoNum type="arabicPeriod"/>
                      </a:pPr>
                      <a:r>
                        <a:rPr lang="fi-FI" sz="1200" b="0" kern="1200" baseline="0" dirty="0">
                          <a:solidFill>
                            <a:schemeClr val="tx1"/>
                          </a:solidFill>
                          <a:latin typeface="+mn-lt"/>
                          <a:ea typeface="+mn-ea"/>
                          <a:cs typeface="+mn-cs"/>
                        </a:rPr>
                        <a:t>Yhdyspinnat</a:t>
                      </a:r>
                    </a:p>
                    <a:p>
                      <a:pPr marL="228600" indent="-228600">
                        <a:buAutoNum type="arabicPeriod"/>
                      </a:pPr>
                      <a:r>
                        <a:rPr lang="fi-FI" sz="1200" b="0" kern="1200" baseline="0" dirty="0">
                          <a:solidFill>
                            <a:schemeClr val="tx1"/>
                          </a:solidFill>
                          <a:latin typeface="+mn-lt"/>
                          <a:ea typeface="+mn-ea"/>
                          <a:cs typeface="+mn-cs"/>
                        </a:rPr>
                        <a:t>ICT</a:t>
                      </a:r>
                      <a:endParaRPr lang="fi-FI" sz="1200" b="0" kern="1200" dirty="0">
                        <a:solidFill>
                          <a:schemeClr val="tx1"/>
                        </a:solidFill>
                        <a:latin typeface="+mn-lt"/>
                        <a:ea typeface="+mn-ea"/>
                        <a:cs typeface="+mn-cs"/>
                      </a:endParaRPr>
                    </a:p>
                  </a:txBody>
                  <a:tcPr>
                    <a:lnB w="127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pPr marL="0" indent="0">
                        <a:buFont typeface="+mj-lt"/>
                        <a:buNone/>
                      </a:pPr>
                      <a:r>
                        <a:rPr lang="fi-FI" sz="1200" b="0" baseline="0" dirty="0">
                          <a:solidFill>
                            <a:schemeClr val="tx1"/>
                          </a:solidFill>
                          <a:latin typeface="+mj-lt"/>
                        </a:rPr>
                        <a:t>Valmisteluryhmien tehtävänä on tukea toimeenpanon etenemistä </a:t>
                      </a:r>
                      <a:r>
                        <a:rPr lang="fi-FI" sz="1200" b="0" baseline="0" dirty="0" smtClean="0">
                          <a:solidFill>
                            <a:schemeClr val="tx1"/>
                          </a:solidFill>
                          <a:latin typeface="+mj-lt"/>
                        </a:rPr>
                        <a:t>alueilla. </a:t>
                      </a:r>
                    </a:p>
                    <a:p>
                      <a:pPr marL="0" indent="0">
                        <a:buFont typeface="+mj-lt"/>
                        <a:buNone/>
                      </a:pPr>
                      <a:endParaRPr lang="fi-FI" sz="1200" b="0" baseline="0" dirty="0" smtClean="0">
                        <a:solidFill>
                          <a:schemeClr val="tx1"/>
                        </a:solidFill>
                        <a:latin typeface="+mj-lt"/>
                      </a:endParaRPr>
                    </a:p>
                    <a:p>
                      <a:pPr marL="0" indent="0">
                        <a:buFont typeface="+mj-lt"/>
                        <a:buNone/>
                      </a:pPr>
                      <a:r>
                        <a:rPr lang="fi-FI" sz="1200" b="0" baseline="0" dirty="0" smtClean="0">
                          <a:solidFill>
                            <a:schemeClr val="tx1"/>
                          </a:solidFill>
                          <a:latin typeface="+mj-lt"/>
                        </a:rPr>
                        <a:t>Kukin </a:t>
                      </a:r>
                      <a:r>
                        <a:rPr lang="fi-FI" sz="1200" b="0" baseline="0" dirty="0">
                          <a:solidFill>
                            <a:schemeClr val="tx1"/>
                          </a:solidFill>
                          <a:latin typeface="+mj-lt"/>
                        </a:rPr>
                        <a:t>ryhmä vastaa osaltaan teemansa asioiden valmistelusta ja yhteydestä tiekarttaan. Valmisteluryhmien tehtävänä on myös tunnistaa kansallisten ja alueellisten toimijoiden yhteistyön </a:t>
                      </a:r>
                      <a:r>
                        <a:rPr lang="fi-FI" sz="1200" b="0" baseline="0" dirty="0" smtClean="0">
                          <a:solidFill>
                            <a:schemeClr val="tx1"/>
                          </a:solidFill>
                          <a:latin typeface="+mj-lt"/>
                        </a:rPr>
                        <a:t>tarpeita ja jakaa </a:t>
                      </a:r>
                      <a:r>
                        <a:rPr lang="fi-FI" sz="1200" b="0" baseline="0" dirty="0">
                          <a:solidFill>
                            <a:schemeClr val="tx1"/>
                          </a:solidFill>
                          <a:latin typeface="+mj-lt"/>
                        </a:rPr>
                        <a:t>hyviä käytäntöjä. </a:t>
                      </a:r>
                      <a:endParaRPr lang="fi-FI" sz="1200" b="0" baseline="0" dirty="0" smtClean="0">
                        <a:solidFill>
                          <a:schemeClr val="tx1"/>
                        </a:solidFill>
                        <a:latin typeface="+mj-lt"/>
                      </a:endParaRPr>
                    </a:p>
                    <a:p>
                      <a:pPr marL="0" indent="0">
                        <a:buFont typeface="+mj-lt"/>
                        <a:buNone/>
                      </a:pPr>
                      <a:endParaRPr lang="fi-FI" sz="1200" b="0" baseline="0" dirty="0" smtClean="0">
                        <a:solidFill>
                          <a:schemeClr val="tx1"/>
                        </a:solidFill>
                        <a:latin typeface="+mj-lt"/>
                      </a:endParaRPr>
                    </a:p>
                    <a:p>
                      <a:pPr marL="0" indent="0">
                        <a:buFont typeface="+mj-lt"/>
                        <a:buNone/>
                      </a:pPr>
                      <a:r>
                        <a:rPr lang="fi-FI" sz="1200" b="0" baseline="0" dirty="0" smtClean="0">
                          <a:solidFill>
                            <a:schemeClr val="tx1"/>
                          </a:solidFill>
                          <a:latin typeface="+mj-lt"/>
                        </a:rPr>
                        <a:t>Valmisteluryhmiin </a:t>
                      </a:r>
                      <a:r>
                        <a:rPr lang="fi-FI" sz="1200" b="0" baseline="0" dirty="0">
                          <a:solidFill>
                            <a:schemeClr val="tx1"/>
                          </a:solidFill>
                          <a:latin typeface="+mj-lt"/>
                        </a:rPr>
                        <a:t>on kutsuttu mukaan edustajat jokaiselta hyvinvointialueelta. </a:t>
                      </a:r>
                      <a:endParaRPr lang="fi-FI" sz="1200" b="0" baseline="0" dirty="0" smtClean="0">
                        <a:solidFill>
                          <a:schemeClr val="tx1"/>
                        </a:solidFill>
                        <a:latin typeface="+mj-lt"/>
                      </a:endParaRPr>
                    </a:p>
                    <a:p>
                      <a:pPr marL="0" indent="0">
                        <a:buFont typeface="+mj-lt"/>
                        <a:buNone/>
                      </a:pPr>
                      <a:r>
                        <a:rPr lang="fi-FI" sz="1200" b="0" baseline="0" dirty="0" smtClean="0">
                          <a:solidFill>
                            <a:schemeClr val="tx1"/>
                          </a:solidFill>
                          <a:latin typeface="+mj-lt"/>
                        </a:rPr>
                        <a:t>Yhdyspinta </a:t>
                      </a:r>
                      <a:r>
                        <a:rPr lang="fi-FI" sz="1200" b="0" baseline="0" dirty="0">
                          <a:solidFill>
                            <a:schemeClr val="tx1"/>
                          </a:solidFill>
                          <a:latin typeface="+mj-lt"/>
                        </a:rPr>
                        <a:t>–valmisteluryhmässä on myös kunta- ja järjestökentän edustus.  </a:t>
                      </a:r>
                      <a:endParaRPr lang="fi-FI" sz="1200" b="0" dirty="0">
                        <a:solidFill>
                          <a:schemeClr val="tx1"/>
                        </a:solidFill>
                        <a:latin typeface="+mj-lt"/>
                      </a:endParaRPr>
                    </a:p>
                  </a:txBody>
                  <a:tcPr>
                    <a:lnB w="12700" cap="flat" cmpd="sng" algn="ctr">
                      <a:solidFill>
                        <a:schemeClr val="bg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4268677078"/>
                  </a:ext>
                </a:extLst>
              </a:tr>
              <a:tr h="1038536">
                <a:tc>
                  <a:txBody>
                    <a:bodyPr/>
                    <a:lstStyle/>
                    <a:p>
                      <a:r>
                        <a:rPr lang="fi-FI" sz="1100" b="1" kern="1200" dirty="0">
                          <a:solidFill>
                            <a:schemeClr val="tx1"/>
                          </a:solidFill>
                          <a:latin typeface="+mn-lt"/>
                          <a:ea typeface="+mn-ea"/>
                          <a:cs typeface="+mn-cs"/>
                        </a:rPr>
                        <a:t>Toimeenpanon sidosryhmäverkosto</a:t>
                      </a:r>
                      <a:endParaRPr lang="fi-FI" sz="1050" b="1" kern="1200" dirty="0">
                        <a:solidFill>
                          <a:schemeClr val="tx1"/>
                        </a:solidFill>
                        <a:latin typeface="+mn-lt"/>
                        <a:ea typeface="+mn-ea"/>
                        <a:cs typeface="+mn-cs"/>
                      </a:endParaRPr>
                    </a:p>
                    <a:p>
                      <a:r>
                        <a:rPr lang="fi-FI" sz="1050" b="0" kern="1200" dirty="0">
                          <a:solidFill>
                            <a:schemeClr val="tx1"/>
                          </a:solidFill>
                          <a:latin typeface="+mn-lt"/>
                          <a:ea typeface="+mn-ea"/>
                          <a:cs typeface="+mn-cs"/>
                        </a:rPr>
                        <a:t>Pj. Hakari</a:t>
                      </a:r>
                    </a:p>
                  </a:txBody>
                  <a:tcPr>
                    <a:lnT w="12700" cap="flat" cmpd="sng" algn="ctr">
                      <a:solidFill>
                        <a:schemeClr val="bg1"/>
                      </a:solidFill>
                      <a:prstDash val="solid"/>
                      <a:round/>
                      <a:headEnd type="none" w="med" len="med"/>
                      <a:tailEnd type="none" w="med" len="med"/>
                    </a:lnT>
                    <a:solidFill>
                      <a:schemeClr val="accent3">
                        <a:lumMod val="20000"/>
                        <a:lumOff val="80000"/>
                      </a:schemeClr>
                    </a:solidFill>
                  </a:tcPr>
                </a:tc>
                <a:tc>
                  <a:txBody>
                    <a:bodyPr/>
                    <a:lstStyle/>
                    <a:p>
                      <a:r>
                        <a:rPr lang="fi-FI" sz="1200" b="0" dirty="0">
                          <a:solidFill>
                            <a:schemeClr val="tx1"/>
                          </a:solidFill>
                          <a:latin typeface="+mj-lt"/>
                        </a:rPr>
                        <a:t>Verkosto seuraa ja arvioi omalta osaltaan toimeenpanon</a:t>
                      </a:r>
                      <a:r>
                        <a:rPr lang="fi-FI" sz="1200" b="0" baseline="0" dirty="0">
                          <a:solidFill>
                            <a:schemeClr val="tx1"/>
                          </a:solidFill>
                          <a:latin typeface="+mj-lt"/>
                        </a:rPr>
                        <a:t> etenemistä</a:t>
                      </a:r>
                      <a:r>
                        <a:rPr lang="fi-FI" sz="1200" b="0" dirty="0">
                          <a:solidFill>
                            <a:schemeClr val="tx1"/>
                          </a:solidFill>
                          <a:latin typeface="+mj-lt"/>
                        </a:rPr>
                        <a:t>. Verkoston osaamista voidaan hyödyntää valmisteluryhmien työskentelyssä ja verkosto voi tukea valmisteluryhmien työtä tekemällä selvityksiä ja tuottamalla toimeenpanoon tukimateriaalia.</a:t>
                      </a:r>
                    </a:p>
                    <a:p>
                      <a:endParaRPr lang="fi-FI" sz="1200" b="0" dirty="0">
                        <a:solidFill>
                          <a:schemeClr val="tx1"/>
                        </a:solidFill>
                        <a:latin typeface="+mj-lt"/>
                      </a:endParaRPr>
                    </a:p>
                    <a:p>
                      <a:r>
                        <a:rPr lang="fi-FI" sz="1200" b="0" dirty="0">
                          <a:solidFill>
                            <a:schemeClr val="tx1"/>
                          </a:solidFill>
                          <a:latin typeface="+mj-lt"/>
                        </a:rPr>
                        <a:t>Verkoston jäseninä on uudistuksen</a:t>
                      </a:r>
                      <a:r>
                        <a:rPr lang="fi-FI" sz="1200" b="0" baseline="0" dirty="0">
                          <a:solidFill>
                            <a:schemeClr val="tx1"/>
                          </a:solidFill>
                          <a:latin typeface="+mj-lt"/>
                        </a:rPr>
                        <a:t> toimeenpanon kannalta keskeiset toimijat</a:t>
                      </a:r>
                      <a:r>
                        <a:rPr lang="fi-FI" sz="1050" b="0" baseline="0" dirty="0">
                          <a:solidFill>
                            <a:schemeClr val="tx1"/>
                          </a:solidFill>
                          <a:latin typeface="+mj-lt"/>
                        </a:rPr>
                        <a:t>.</a:t>
                      </a:r>
                      <a:endParaRPr lang="fi-FI" sz="1050" b="0" dirty="0">
                        <a:solidFill>
                          <a:schemeClr val="tx1"/>
                        </a:solidFill>
                        <a:latin typeface="+mj-lt"/>
                      </a:endParaRPr>
                    </a:p>
                  </a:txBody>
                  <a:tcPr>
                    <a:lnT w="12700" cap="flat" cmpd="sng" algn="ctr">
                      <a:solidFill>
                        <a:schemeClr val="bg1"/>
                      </a:solidFill>
                      <a:prstDash val="solid"/>
                      <a:round/>
                      <a:headEnd type="none" w="med" len="med"/>
                      <a:tailEnd type="none" w="med" len="med"/>
                    </a:lnT>
                    <a:solidFill>
                      <a:schemeClr val="accent3">
                        <a:lumMod val="20000"/>
                        <a:lumOff val="80000"/>
                      </a:schemeClr>
                    </a:solidFill>
                  </a:tcPr>
                </a:tc>
                <a:extLst>
                  <a:ext uri="{0D108BD9-81ED-4DB2-BD59-A6C34878D82A}">
                    <a16:rowId xmlns:a16="http://schemas.microsoft.com/office/drawing/2014/main" val="3717773527"/>
                  </a:ext>
                </a:extLst>
              </a:tr>
              <a:tr h="810857">
                <a:tc>
                  <a:txBody>
                    <a:bodyPr/>
                    <a:lstStyle/>
                    <a:p>
                      <a:r>
                        <a:rPr lang="fi-FI" sz="1100" b="1" kern="1200" dirty="0">
                          <a:solidFill>
                            <a:schemeClr val="tx1"/>
                          </a:solidFill>
                          <a:latin typeface="+mn-lt"/>
                          <a:ea typeface="+mn-ea"/>
                          <a:cs typeface="+mn-cs"/>
                        </a:rPr>
                        <a:t>Henkilöstöfoorumi</a:t>
                      </a:r>
                    </a:p>
                    <a:p>
                      <a:r>
                        <a:rPr lang="fi-FI" sz="1050" b="0" kern="1200" dirty="0">
                          <a:solidFill>
                            <a:schemeClr val="tx1"/>
                          </a:solidFill>
                          <a:latin typeface="+mn-lt"/>
                          <a:ea typeface="+mn-ea"/>
                          <a:cs typeface="+mn-cs"/>
                        </a:rPr>
                        <a:t>Pj. Ojanen, VM</a:t>
                      </a:r>
                    </a:p>
                  </a:txBody>
                  <a:tcPr>
                    <a:solidFill>
                      <a:schemeClr val="accent3">
                        <a:lumMod val="20000"/>
                        <a:lumOff val="80000"/>
                      </a:schemeClr>
                    </a:solidFill>
                  </a:tcPr>
                </a:tc>
                <a:tc>
                  <a:txBody>
                    <a:bodyPr/>
                    <a:lstStyle/>
                    <a:p>
                      <a:r>
                        <a:rPr lang="fi-FI" sz="1100" b="0" dirty="0" smtClean="0">
                          <a:solidFill>
                            <a:schemeClr val="tx1"/>
                          </a:solidFill>
                          <a:latin typeface="+mj-lt"/>
                        </a:rPr>
                        <a:t>Henkilöstöfoorumin tehtävänä on</a:t>
                      </a:r>
                      <a:r>
                        <a:rPr lang="fi-FI" sz="1100" b="0" baseline="0" dirty="0" smtClean="0">
                          <a:solidFill>
                            <a:schemeClr val="tx1"/>
                          </a:solidFill>
                          <a:latin typeface="+mj-lt"/>
                        </a:rPr>
                        <a:t> seurata uudistuksen kansallista toimeenpanoa, ml. henkilöstösiirtojen valmistelun eteneminen, ja seurata henkilöstön asemaa koskevan lainsäädännön soveltamista ja uudistuksen henkilöstövaikutuksia (jäseninä henkilöstöjärjestöjen pääsopijapuolet)</a:t>
                      </a:r>
                      <a:endParaRPr lang="fi-FI" sz="1100" b="0" dirty="0">
                        <a:solidFill>
                          <a:schemeClr val="tx1"/>
                        </a:solidFill>
                        <a:latin typeface="+mj-lt"/>
                      </a:endParaRPr>
                    </a:p>
                  </a:txBody>
                  <a:tcPr>
                    <a:solidFill>
                      <a:schemeClr val="accent3">
                        <a:lumMod val="20000"/>
                        <a:lumOff val="80000"/>
                      </a:schemeClr>
                    </a:solidFill>
                  </a:tcPr>
                </a:tc>
                <a:extLst>
                  <a:ext uri="{0D108BD9-81ED-4DB2-BD59-A6C34878D82A}">
                    <a16:rowId xmlns:a16="http://schemas.microsoft.com/office/drawing/2014/main" val="3922663254"/>
                  </a:ext>
                </a:extLst>
              </a:tr>
              <a:tr h="894493">
                <a:tc>
                  <a:txBody>
                    <a:bodyPr/>
                    <a:lstStyle/>
                    <a:p>
                      <a:r>
                        <a:rPr lang="fi-FI" sz="1050" b="1" kern="1200" dirty="0">
                          <a:solidFill>
                            <a:schemeClr val="tx1"/>
                          </a:solidFill>
                          <a:latin typeface="+mn-lt"/>
                          <a:ea typeface="+mn-ea"/>
                          <a:cs typeface="+mn-cs"/>
                        </a:rPr>
                        <a:t>Toimeenpanon kuntaverkosto</a:t>
                      </a:r>
                    </a:p>
                    <a:p>
                      <a:r>
                        <a:rPr lang="fi-FI" sz="1050" b="0" kern="1200" dirty="0">
                          <a:solidFill>
                            <a:schemeClr val="tx1"/>
                          </a:solidFill>
                          <a:latin typeface="+mn-lt"/>
                          <a:ea typeface="+mn-ea"/>
                          <a:cs typeface="+mn-cs"/>
                        </a:rPr>
                        <a:t>Pj. Kuntaliitto</a:t>
                      </a:r>
                    </a:p>
                  </a:txBody>
                  <a:tcPr>
                    <a:solidFill>
                      <a:srgbClr val="FFE7C9"/>
                    </a:solidFill>
                  </a:tcPr>
                </a:tc>
                <a:tc>
                  <a:txBody>
                    <a:bodyPr/>
                    <a:lstStyle/>
                    <a:p>
                      <a:r>
                        <a:rPr lang="fi-FI" sz="1100" b="0" dirty="0">
                          <a:solidFill>
                            <a:schemeClr val="tx1"/>
                          </a:solidFill>
                          <a:latin typeface="+mj-lt"/>
                        </a:rPr>
                        <a:t>Verkoston työskentely keskittyy </a:t>
                      </a:r>
                    </a:p>
                    <a:p>
                      <a:pPr marL="171450" indent="-171450">
                        <a:buFont typeface="Arial" panose="020B0604020202020204" pitchFamily="34" charset="0"/>
                        <a:buChar char="•"/>
                      </a:pPr>
                      <a:r>
                        <a:rPr lang="fi-FI" sz="1100" b="0" dirty="0">
                          <a:solidFill>
                            <a:schemeClr val="tx1"/>
                          </a:solidFill>
                          <a:latin typeface="+mj-lt"/>
                        </a:rPr>
                        <a:t>hyvinvointialueiden toimeenpanon tukemiseen</a:t>
                      </a:r>
                    </a:p>
                    <a:p>
                      <a:pPr marL="171450" indent="-171450">
                        <a:buFont typeface="Arial" panose="020B0604020202020204" pitchFamily="34" charset="0"/>
                        <a:buChar char="•"/>
                      </a:pPr>
                      <a:r>
                        <a:rPr lang="fi-FI" sz="1100" b="0" dirty="0">
                          <a:solidFill>
                            <a:schemeClr val="tx1"/>
                          </a:solidFill>
                          <a:latin typeface="+mj-lt"/>
                        </a:rPr>
                        <a:t>kuntien muuttuvaan roolin sote- ja pelastustoimenuudistuksessa </a:t>
                      </a:r>
                    </a:p>
                    <a:p>
                      <a:pPr marL="171450" indent="-171450">
                        <a:buFont typeface="Arial" panose="020B0604020202020204" pitchFamily="34" charset="0"/>
                        <a:buChar char="•"/>
                      </a:pPr>
                      <a:r>
                        <a:rPr lang="fi-FI" sz="1100" b="0" dirty="0">
                          <a:solidFill>
                            <a:schemeClr val="tx1"/>
                          </a:solidFill>
                          <a:latin typeface="+mj-lt"/>
                        </a:rPr>
                        <a:t>hyvinvointialueen ja kuntien yhteistyöhön</a:t>
                      </a:r>
                      <a:r>
                        <a:rPr lang="fi-FI" sz="1050" b="0" dirty="0">
                          <a:solidFill>
                            <a:schemeClr val="tx1"/>
                          </a:solidFill>
                          <a:latin typeface="+mj-lt"/>
                        </a:rPr>
                        <a:t>.</a:t>
                      </a:r>
                    </a:p>
                    <a:p>
                      <a:endParaRPr lang="fi-FI" sz="1050" b="0" dirty="0">
                        <a:solidFill>
                          <a:schemeClr val="tx1"/>
                        </a:solidFill>
                        <a:latin typeface="+mj-lt"/>
                      </a:endParaRPr>
                    </a:p>
                  </a:txBody>
                  <a:tcPr>
                    <a:solidFill>
                      <a:srgbClr val="FFE7C9"/>
                    </a:solidFill>
                  </a:tcPr>
                </a:tc>
                <a:extLst>
                  <a:ext uri="{0D108BD9-81ED-4DB2-BD59-A6C34878D82A}">
                    <a16:rowId xmlns:a16="http://schemas.microsoft.com/office/drawing/2014/main" val="1157346365"/>
                  </a:ext>
                </a:extLst>
              </a:tr>
            </a:tbl>
          </a:graphicData>
        </a:graphic>
      </p:graphicFrame>
    </p:spTree>
    <p:extLst>
      <p:ext uri="{BB962C8B-B14F-4D97-AF65-F5344CB8AC3E}">
        <p14:creationId xmlns:p14="http://schemas.microsoft.com/office/powerpoint/2010/main" val="187471928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dirty="0" smtClean="0"/>
              <a:t>Valtionavustukset</a:t>
            </a:r>
            <a:endParaRPr lang="fi-FI" dirty="0"/>
          </a:p>
        </p:txBody>
      </p:sp>
      <p:sp>
        <p:nvSpPr>
          <p:cNvPr id="3" name="Sisällön paikkamerkki 2"/>
          <p:cNvSpPr>
            <a:spLocks noGrp="1"/>
          </p:cNvSpPr>
          <p:nvPr>
            <p:ph idx="1"/>
          </p:nvPr>
        </p:nvSpPr>
        <p:spPr/>
        <p:txBody>
          <a:bodyPr/>
          <a:lstStyle/>
          <a:p>
            <a:r>
              <a:rPr lang="fi-FI" dirty="0"/>
              <a:t>Hallitus on esittänyt hyvinvointialueille osoitettavaksi valmistelutyöhön yhteensä noin 262 miljoonaa euroa vuosina 2021–2022. </a:t>
            </a:r>
            <a:endParaRPr lang="fi-FI" dirty="0" smtClean="0"/>
          </a:p>
          <a:p>
            <a:r>
              <a:rPr lang="fi-FI" dirty="0" smtClean="0"/>
              <a:t>Hyvinvointialueiden </a:t>
            </a:r>
            <a:r>
              <a:rPr lang="fi-FI" dirty="0"/>
              <a:t>mahdollista lisärahoitustarvetta arvioidaan täytäntöönpanon edetessä, ja siihen varaudutaan lisätalousarvioesityksissä vuonna 2022</a:t>
            </a:r>
            <a:r>
              <a:rPr lang="fi-FI" dirty="0" smtClean="0"/>
              <a:t>.</a:t>
            </a:r>
          </a:p>
          <a:p>
            <a:r>
              <a:rPr lang="fi-FI" dirty="0" smtClean="0"/>
              <a:t>Tulevaisuuden </a:t>
            </a:r>
            <a:r>
              <a:rPr lang="fi-FI" dirty="0" err="1" smtClean="0"/>
              <a:t>sote</a:t>
            </a:r>
            <a:r>
              <a:rPr lang="fi-FI" dirty="0" smtClean="0"/>
              <a:t>-keskus –ohjelman mukaiset valtionavustukset palvelujen kehittämishankkeisiin </a:t>
            </a:r>
          </a:p>
          <a:p>
            <a:pPr lvl="1"/>
            <a:r>
              <a:rPr lang="fi-FI" dirty="0" smtClean="0"/>
              <a:t>70 miljoonaa </a:t>
            </a:r>
            <a:r>
              <a:rPr lang="fi-FI" smtClean="0"/>
              <a:t>vuonna 2020</a:t>
            </a:r>
            <a:endParaRPr lang="fi-FI" dirty="0" smtClean="0"/>
          </a:p>
          <a:p>
            <a:pPr lvl="1"/>
            <a:r>
              <a:rPr lang="fi-FI" dirty="0" smtClean="0"/>
              <a:t>140 miljoonaa vuonna 2021</a:t>
            </a:r>
          </a:p>
          <a:p>
            <a:pPr marL="0" indent="0">
              <a:buNone/>
            </a:pPr>
            <a:endParaRPr lang="fi-FI" dirty="0">
              <a:latin typeface="Calibri" panose="020F0502020204030204" pitchFamily="34" charset="0"/>
              <a:cs typeface="Calibri" panose="020F0502020204030204" pitchFamily="34" charset="0"/>
            </a:endParaRPr>
          </a:p>
          <a:p>
            <a:endParaRPr lang="fi-FI" dirty="0"/>
          </a:p>
        </p:txBody>
      </p:sp>
    </p:spTree>
    <p:extLst>
      <p:ext uri="{BB962C8B-B14F-4D97-AF65-F5344CB8AC3E}">
        <p14:creationId xmlns:p14="http://schemas.microsoft.com/office/powerpoint/2010/main" val="227222722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dirty="0" smtClean="0"/>
              <a:t>Viestintä</a:t>
            </a:r>
            <a:endParaRPr lang="fi-FI" dirty="0"/>
          </a:p>
        </p:txBody>
      </p:sp>
      <p:sp>
        <p:nvSpPr>
          <p:cNvPr id="3" name="Sisällön paikkamerkki 2"/>
          <p:cNvSpPr>
            <a:spLocks noGrp="1"/>
          </p:cNvSpPr>
          <p:nvPr>
            <p:ph idx="1"/>
          </p:nvPr>
        </p:nvSpPr>
        <p:spPr/>
        <p:txBody>
          <a:bodyPr>
            <a:normAutofit/>
          </a:bodyPr>
          <a:lstStyle/>
          <a:p>
            <a:r>
              <a:rPr lang="fi-FI" sz="2400" dirty="0" smtClean="0"/>
              <a:t>Alueiden viestintävastaavat</a:t>
            </a:r>
          </a:p>
          <a:p>
            <a:r>
              <a:rPr lang="fi-FI" sz="2400" dirty="0" smtClean="0"/>
              <a:t>Viestijäverkostot</a:t>
            </a:r>
          </a:p>
          <a:p>
            <a:r>
              <a:rPr lang="fi-FI" sz="2400" dirty="0" smtClean="0"/>
              <a:t>Soteuudistus.fi (ml. Usein Kysytyt Kysymykset eli UKK)</a:t>
            </a:r>
            <a:endParaRPr lang="fi-FI" sz="2400" dirty="0"/>
          </a:p>
        </p:txBody>
      </p:sp>
    </p:spTree>
    <p:extLst>
      <p:ext uri="{BB962C8B-B14F-4D97-AF65-F5344CB8AC3E}">
        <p14:creationId xmlns:p14="http://schemas.microsoft.com/office/powerpoint/2010/main" val="220980120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laotsikko 2"/>
          <p:cNvSpPr>
            <a:spLocks noGrp="1"/>
          </p:cNvSpPr>
          <p:nvPr>
            <p:ph type="subTitle" idx="1"/>
          </p:nvPr>
        </p:nvSpPr>
        <p:spPr>
          <a:xfrm>
            <a:off x="702716" y="4145122"/>
            <a:ext cx="5855530" cy="553001"/>
          </a:xfrm>
        </p:spPr>
        <p:txBody>
          <a:bodyPr>
            <a:normAutofit/>
          </a:bodyPr>
          <a:lstStyle/>
          <a:p>
            <a:pPr>
              <a:lnSpc>
                <a:spcPct val="150000"/>
              </a:lnSpc>
            </a:pPr>
            <a:r>
              <a:rPr lang="fi-FI" dirty="0">
                <a:solidFill>
                  <a:schemeClr val="tx2"/>
                </a:solidFill>
              </a:rPr>
              <a:t>soteuudistus.fi </a:t>
            </a:r>
          </a:p>
        </p:txBody>
      </p:sp>
      <p:sp>
        <p:nvSpPr>
          <p:cNvPr id="8" name="Suorakulmio 7"/>
          <p:cNvSpPr/>
          <p:nvPr/>
        </p:nvSpPr>
        <p:spPr>
          <a:xfrm>
            <a:off x="2627784" y="4127318"/>
            <a:ext cx="3621448" cy="872005"/>
          </a:xfrm>
          <a:prstGeom prst="rect">
            <a:avLst/>
          </a:prstGeom>
        </p:spPr>
        <p:txBody>
          <a:bodyPr wrap="none" lIns="91412" tIns="45706" rIns="91412" bIns="45706">
            <a:spAutoFit/>
          </a:bodyPr>
          <a:lstStyle/>
          <a:p>
            <a:pPr defTabSz="914378">
              <a:lnSpc>
                <a:spcPct val="150000"/>
              </a:lnSpc>
              <a:defRPr/>
            </a:pPr>
            <a:r>
              <a:rPr lang="fi-FI" dirty="0">
                <a:solidFill>
                  <a:srgbClr val="595965"/>
                </a:solidFill>
                <a:latin typeface="Arial"/>
              </a:rPr>
              <a:t>#</a:t>
            </a:r>
            <a:r>
              <a:rPr lang="fi-FI" dirty="0" err="1">
                <a:solidFill>
                  <a:srgbClr val="595965"/>
                </a:solidFill>
                <a:latin typeface="Arial"/>
              </a:rPr>
              <a:t>sote</a:t>
            </a:r>
            <a:r>
              <a:rPr lang="fi-FI" dirty="0">
                <a:solidFill>
                  <a:srgbClr val="595965"/>
                </a:solidFill>
                <a:latin typeface="Arial"/>
              </a:rPr>
              <a:t> #</a:t>
            </a:r>
            <a:r>
              <a:rPr lang="fi-FI" dirty="0" err="1" smtClean="0">
                <a:solidFill>
                  <a:srgbClr val="595965"/>
                </a:solidFill>
                <a:latin typeface="Arial"/>
              </a:rPr>
              <a:t>soteuudistus</a:t>
            </a:r>
            <a:r>
              <a:rPr lang="fi-FI" dirty="0" smtClean="0">
                <a:solidFill>
                  <a:srgbClr val="595965"/>
                </a:solidFill>
                <a:latin typeface="Arial"/>
              </a:rPr>
              <a:t> #aluekierros </a:t>
            </a:r>
          </a:p>
          <a:p>
            <a:pPr defTabSz="914378">
              <a:lnSpc>
                <a:spcPct val="150000"/>
              </a:lnSpc>
              <a:defRPr/>
            </a:pPr>
            <a:r>
              <a:rPr lang="fi-FI" dirty="0" smtClean="0">
                <a:solidFill>
                  <a:srgbClr val="595965"/>
                </a:solidFill>
                <a:latin typeface="Arial"/>
              </a:rPr>
              <a:t>#hyvinvointialueet </a:t>
            </a:r>
            <a:endParaRPr lang="fi-FI" dirty="0">
              <a:solidFill>
                <a:srgbClr val="595965"/>
              </a:solidFill>
              <a:latin typeface="Arial"/>
            </a:endParaRPr>
          </a:p>
        </p:txBody>
      </p:sp>
      <p:sp>
        <p:nvSpPr>
          <p:cNvPr id="6" name="Tekstiruutu 5"/>
          <p:cNvSpPr txBox="1"/>
          <p:nvPr/>
        </p:nvSpPr>
        <p:spPr>
          <a:xfrm>
            <a:off x="702716" y="2142024"/>
            <a:ext cx="3566511" cy="1354217"/>
          </a:xfrm>
          <a:prstGeom prst="rect">
            <a:avLst/>
          </a:prstGeom>
          <a:noFill/>
        </p:spPr>
        <p:txBody>
          <a:bodyPr wrap="square" rtlCol="0">
            <a:spAutoFit/>
          </a:bodyPr>
          <a:lstStyle/>
          <a:p>
            <a:pPr defTabSz="914378">
              <a:defRPr/>
            </a:pPr>
            <a:endParaRPr lang="fi-FI" sz="3200" b="1" dirty="0" smtClean="0">
              <a:solidFill>
                <a:srgbClr val="595959"/>
              </a:solidFill>
              <a:latin typeface="Arial"/>
            </a:endParaRPr>
          </a:p>
          <a:p>
            <a:pPr defTabSz="914378">
              <a:defRPr/>
            </a:pPr>
            <a:r>
              <a:rPr lang="fi-FI" sz="3200" b="1" dirty="0" smtClean="0">
                <a:solidFill>
                  <a:srgbClr val="595959"/>
                </a:solidFill>
                <a:latin typeface="Arial"/>
              </a:rPr>
              <a:t>Kiitos</a:t>
            </a:r>
            <a:r>
              <a:rPr lang="fi-FI" sz="3200" b="1" dirty="0">
                <a:solidFill>
                  <a:srgbClr val="595959"/>
                </a:solidFill>
                <a:latin typeface="Arial"/>
              </a:rPr>
              <a:t>!</a:t>
            </a:r>
          </a:p>
          <a:p>
            <a:pPr defTabSz="914378">
              <a:defRPr/>
            </a:pPr>
            <a:endParaRPr lang="fi-FI" dirty="0">
              <a:solidFill>
                <a:prstClr val="black"/>
              </a:solidFill>
              <a:latin typeface="Arial"/>
            </a:endParaRPr>
          </a:p>
        </p:txBody>
      </p:sp>
    </p:spTree>
    <p:extLst>
      <p:ext uri="{BB962C8B-B14F-4D97-AF65-F5344CB8AC3E}">
        <p14:creationId xmlns:p14="http://schemas.microsoft.com/office/powerpoint/2010/main" val="209826180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Kuva 4" descr="Uusi hyvinvointialuerakenne 1.1.2023 -kuvio."/>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7504" y="123478"/>
            <a:ext cx="8221073" cy="4464496"/>
          </a:xfrm>
          <a:prstGeom prst="rect">
            <a:avLst/>
          </a:prstGeom>
        </p:spPr>
      </p:pic>
    </p:spTree>
    <p:extLst>
      <p:ext uri="{BB962C8B-B14F-4D97-AF65-F5344CB8AC3E}">
        <p14:creationId xmlns:p14="http://schemas.microsoft.com/office/powerpoint/2010/main" val="375532520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a:xfrm>
            <a:off x="359532" y="87475"/>
            <a:ext cx="7928610" cy="594066"/>
          </a:xfrm>
        </p:spPr>
        <p:txBody>
          <a:bodyPr/>
          <a:lstStyle/>
          <a:p>
            <a:r>
              <a:rPr lang="fi-FI" sz="2700" dirty="0"/>
              <a:t>Hyvinvointialueiden toiminnan käynnistyminen</a:t>
            </a:r>
          </a:p>
        </p:txBody>
      </p:sp>
      <p:grpSp>
        <p:nvGrpSpPr>
          <p:cNvPr id="3" name="Ryhmä 2"/>
          <p:cNvGrpSpPr/>
          <p:nvPr/>
        </p:nvGrpSpPr>
        <p:grpSpPr>
          <a:xfrm>
            <a:off x="884460" y="429909"/>
            <a:ext cx="7575971" cy="4517321"/>
            <a:chOff x="1179280" y="573212"/>
            <a:chExt cx="10101294" cy="6023094"/>
          </a:xfrm>
        </p:grpSpPr>
        <p:sp>
          <p:nvSpPr>
            <p:cNvPr id="5" name="Muoto 4"/>
            <p:cNvSpPr/>
            <p:nvPr/>
          </p:nvSpPr>
          <p:spPr>
            <a:xfrm>
              <a:off x="1179280" y="573212"/>
              <a:ext cx="9636950" cy="6023094"/>
            </a:xfrm>
            <a:prstGeom prst="swooshArrow">
              <a:avLst>
                <a:gd name="adj1" fmla="val 25000"/>
                <a:gd name="adj2" fmla="val 25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6" name="Ellipsi 5"/>
            <p:cNvSpPr/>
            <p:nvPr/>
          </p:nvSpPr>
          <p:spPr>
            <a:xfrm>
              <a:off x="2128520" y="5051984"/>
              <a:ext cx="221649" cy="221649"/>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8" name="Puolivapaa piirto 7"/>
            <p:cNvSpPr/>
            <p:nvPr/>
          </p:nvSpPr>
          <p:spPr>
            <a:xfrm>
              <a:off x="2423599" y="5129344"/>
              <a:ext cx="2032938" cy="1300711"/>
            </a:xfrm>
            <a:custGeom>
              <a:avLst/>
              <a:gdLst>
                <a:gd name="connsiteX0" fmla="*/ 0 w 2032938"/>
                <a:gd name="connsiteY0" fmla="*/ 0 h 1300711"/>
                <a:gd name="connsiteX1" fmla="*/ 2032938 w 2032938"/>
                <a:gd name="connsiteY1" fmla="*/ 0 h 1300711"/>
                <a:gd name="connsiteX2" fmla="*/ 2032938 w 2032938"/>
                <a:gd name="connsiteY2" fmla="*/ 1300711 h 1300711"/>
                <a:gd name="connsiteX3" fmla="*/ 0 w 2032938"/>
                <a:gd name="connsiteY3" fmla="*/ 1300711 h 1300711"/>
                <a:gd name="connsiteX4" fmla="*/ 0 w 2032938"/>
                <a:gd name="connsiteY4" fmla="*/ 0 h 1300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2938" h="1300711">
                  <a:moveTo>
                    <a:pt x="0" y="0"/>
                  </a:moveTo>
                  <a:lnTo>
                    <a:pt x="2032938" y="0"/>
                  </a:lnTo>
                  <a:lnTo>
                    <a:pt x="2032938" y="1300711"/>
                  </a:lnTo>
                  <a:lnTo>
                    <a:pt x="0" y="130071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88086" tIns="0" rIns="0" bIns="0" numCol="1" spcCol="1270" anchor="t" anchorCtr="0">
              <a:noAutofit/>
            </a:bodyPr>
            <a:lstStyle/>
            <a:p>
              <a:pPr algn="ctr" defTabSz="600075">
                <a:lnSpc>
                  <a:spcPct val="90000"/>
                </a:lnSpc>
                <a:spcBef>
                  <a:spcPct val="0"/>
                </a:spcBef>
                <a:spcAft>
                  <a:spcPct val="35000"/>
                </a:spcAft>
              </a:pPr>
              <a:r>
                <a:rPr lang="fi-FI" sz="1350" b="1" dirty="0"/>
                <a:t>Perustamisvaihe</a:t>
              </a:r>
            </a:p>
            <a:p>
              <a:pPr algn="ctr" defTabSz="600075">
                <a:lnSpc>
                  <a:spcPct val="90000"/>
                </a:lnSpc>
                <a:spcBef>
                  <a:spcPct val="0"/>
                </a:spcBef>
                <a:spcAft>
                  <a:spcPct val="35000"/>
                </a:spcAft>
              </a:pPr>
              <a:r>
                <a:rPr lang="fi-FI" sz="1350" b="1" dirty="0"/>
                <a:t>07–08/2021 </a:t>
              </a:r>
            </a:p>
            <a:p>
              <a:pPr algn="ctr" defTabSz="600075">
                <a:lnSpc>
                  <a:spcPct val="90000"/>
                </a:lnSpc>
                <a:spcBef>
                  <a:spcPct val="0"/>
                </a:spcBef>
                <a:spcAft>
                  <a:spcPct val="35000"/>
                </a:spcAft>
              </a:pPr>
              <a:r>
                <a:rPr lang="fi-FI" sz="1350" dirty="0"/>
                <a:t>=&gt; Toiminta käyntiin</a:t>
              </a:r>
            </a:p>
          </p:txBody>
        </p:sp>
        <p:sp>
          <p:nvSpPr>
            <p:cNvPr id="9" name="Ellipsi 8"/>
            <p:cNvSpPr/>
            <p:nvPr/>
          </p:nvSpPr>
          <p:spPr>
            <a:xfrm>
              <a:off x="3694524" y="3651013"/>
              <a:ext cx="385478" cy="385478"/>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0" name="Puolivapaa piirto 9"/>
            <p:cNvSpPr/>
            <p:nvPr/>
          </p:nvSpPr>
          <p:spPr>
            <a:xfrm>
              <a:off x="4151779" y="3717038"/>
              <a:ext cx="2393723" cy="2285913"/>
            </a:xfrm>
            <a:custGeom>
              <a:avLst/>
              <a:gdLst>
                <a:gd name="connsiteX0" fmla="*/ 0 w 2393723"/>
                <a:gd name="connsiteY0" fmla="*/ 0 h 2285913"/>
                <a:gd name="connsiteX1" fmla="*/ 2393723 w 2393723"/>
                <a:gd name="connsiteY1" fmla="*/ 0 h 2285913"/>
                <a:gd name="connsiteX2" fmla="*/ 2393723 w 2393723"/>
                <a:gd name="connsiteY2" fmla="*/ 2285913 h 2285913"/>
                <a:gd name="connsiteX3" fmla="*/ 0 w 2393723"/>
                <a:gd name="connsiteY3" fmla="*/ 2285913 h 2285913"/>
                <a:gd name="connsiteX4" fmla="*/ 0 w 2393723"/>
                <a:gd name="connsiteY4" fmla="*/ 0 h 2285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3723" h="2285913">
                  <a:moveTo>
                    <a:pt x="0" y="0"/>
                  </a:moveTo>
                  <a:lnTo>
                    <a:pt x="2393723" y="0"/>
                  </a:lnTo>
                  <a:lnTo>
                    <a:pt x="2393723" y="2285913"/>
                  </a:lnTo>
                  <a:lnTo>
                    <a:pt x="0" y="228591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53193" tIns="0" rIns="0" bIns="0" numCol="1" spcCol="1270" anchor="t" anchorCtr="0">
              <a:noAutofit/>
            </a:bodyPr>
            <a:lstStyle/>
            <a:p>
              <a:pPr algn="ctr" defTabSz="600075">
                <a:lnSpc>
                  <a:spcPct val="90000"/>
                </a:lnSpc>
                <a:spcBef>
                  <a:spcPct val="0"/>
                </a:spcBef>
                <a:spcAft>
                  <a:spcPct val="35000"/>
                </a:spcAft>
              </a:pPr>
              <a:r>
                <a:rPr lang="fi-FI" sz="1350" b="1" dirty="0"/>
                <a:t>Väliaikaishallinto</a:t>
              </a:r>
            </a:p>
            <a:p>
              <a:pPr algn="ctr" defTabSz="600075">
                <a:lnSpc>
                  <a:spcPct val="90000"/>
                </a:lnSpc>
                <a:spcBef>
                  <a:spcPct val="0"/>
                </a:spcBef>
                <a:spcAft>
                  <a:spcPct val="35000"/>
                </a:spcAft>
              </a:pPr>
              <a:r>
                <a:rPr lang="fi-FI" sz="1350" b="1" dirty="0"/>
                <a:t>09/2021–02/2022</a:t>
              </a:r>
            </a:p>
            <a:p>
              <a:pPr algn="ctr" defTabSz="600075">
                <a:lnSpc>
                  <a:spcPct val="90000"/>
                </a:lnSpc>
                <a:spcBef>
                  <a:spcPct val="0"/>
                </a:spcBef>
                <a:spcAft>
                  <a:spcPct val="35000"/>
                </a:spcAft>
              </a:pPr>
              <a:r>
                <a:rPr lang="fi-FI" sz="1350" dirty="0"/>
                <a:t>=&gt; Perusasiat kuntoon </a:t>
              </a:r>
            </a:p>
            <a:p>
              <a:pPr algn="ctr" defTabSz="600075">
                <a:lnSpc>
                  <a:spcPct val="90000"/>
                </a:lnSpc>
                <a:spcBef>
                  <a:spcPct val="0"/>
                </a:spcBef>
                <a:spcAft>
                  <a:spcPct val="35000"/>
                </a:spcAft>
              </a:pPr>
              <a:r>
                <a:rPr lang="fi-FI" sz="1350" dirty="0"/>
                <a:t>=&gt; Priorisoidut työsuunnitelmat</a:t>
              </a:r>
            </a:p>
          </p:txBody>
        </p:sp>
        <p:sp>
          <p:nvSpPr>
            <p:cNvPr id="11" name="Ellipsi 10"/>
            <p:cNvSpPr/>
            <p:nvPr/>
          </p:nvSpPr>
          <p:spPr>
            <a:xfrm>
              <a:off x="5694192" y="2618654"/>
              <a:ext cx="510758" cy="510758"/>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2" name="Puolivapaa piirto 11"/>
            <p:cNvSpPr/>
            <p:nvPr/>
          </p:nvSpPr>
          <p:spPr>
            <a:xfrm>
              <a:off x="6463585" y="3032770"/>
              <a:ext cx="2440735" cy="2340453"/>
            </a:xfrm>
            <a:custGeom>
              <a:avLst/>
              <a:gdLst>
                <a:gd name="connsiteX0" fmla="*/ 0 w 2440735"/>
                <a:gd name="connsiteY0" fmla="*/ 0 h 2340453"/>
                <a:gd name="connsiteX1" fmla="*/ 2440735 w 2440735"/>
                <a:gd name="connsiteY1" fmla="*/ 0 h 2340453"/>
                <a:gd name="connsiteX2" fmla="*/ 2440735 w 2440735"/>
                <a:gd name="connsiteY2" fmla="*/ 2340453 h 2340453"/>
                <a:gd name="connsiteX3" fmla="*/ 0 w 2440735"/>
                <a:gd name="connsiteY3" fmla="*/ 2340453 h 2340453"/>
                <a:gd name="connsiteX4" fmla="*/ 0 w 2440735"/>
                <a:gd name="connsiteY4" fmla="*/ 0 h 2340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0735" h="2340453">
                  <a:moveTo>
                    <a:pt x="0" y="0"/>
                  </a:moveTo>
                  <a:lnTo>
                    <a:pt x="2440735" y="0"/>
                  </a:lnTo>
                  <a:lnTo>
                    <a:pt x="2440735" y="2340453"/>
                  </a:lnTo>
                  <a:lnTo>
                    <a:pt x="0" y="234045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02980" tIns="0" rIns="0" bIns="0" numCol="1" spcCol="1270" anchor="t" anchorCtr="0">
              <a:noAutofit/>
            </a:bodyPr>
            <a:lstStyle/>
            <a:p>
              <a:pPr algn="ctr" defTabSz="600075">
                <a:lnSpc>
                  <a:spcPct val="90000"/>
                </a:lnSpc>
                <a:spcBef>
                  <a:spcPct val="0"/>
                </a:spcBef>
                <a:spcAft>
                  <a:spcPct val="35000"/>
                </a:spcAft>
              </a:pPr>
              <a:r>
                <a:rPr lang="fi-FI" sz="1350" b="1" dirty="0"/>
                <a:t>Aluevaltuuston aika</a:t>
              </a:r>
            </a:p>
            <a:p>
              <a:pPr algn="ctr" defTabSz="600075">
                <a:lnSpc>
                  <a:spcPct val="90000"/>
                </a:lnSpc>
                <a:spcBef>
                  <a:spcPct val="0"/>
                </a:spcBef>
                <a:spcAft>
                  <a:spcPct val="35000"/>
                </a:spcAft>
              </a:pPr>
              <a:r>
                <a:rPr lang="fi-FI" sz="1350" b="1" dirty="0"/>
                <a:t>03/2022– </a:t>
              </a:r>
            </a:p>
            <a:p>
              <a:pPr algn="ctr" defTabSz="600075">
                <a:lnSpc>
                  <a:spcPct val="90000"/>
                </a:lnSpc>
                <a:spcBef>
                  <a:spcPct val="0"/>
                </a:spcBef>
                <a:spcAft>
                  <a:spcPct val="35000"/>
                </a:spcAft>
              </a:pPr>
              <a:r>
                <a:rPr lang="fi-FI" sz="1350" dirty="0"/>
                <a:t>=&gt; Valmistelun jatkaminen</a:t>
              </a:r>
            </a:p>
            <a:p>
              <a:pPr algn="ctr" defTabSz="600075">
                <a:lnSpc>
                  <a:spcPct val="90000"/>
                </a:lnSpc>
                <a:spcBef>
                  <a:spcPct val="0"/>
                </a:spcBef>
                <a:spcAft>
                  <a:spcPct val="35000"/>
                </a:spcAft>
              </a:pPr>
              <a:r>
                <a:rPr lang="fi-FI" sz="1350" dirty="0"/>
                <a:t>=&gt; Tekemisen priorisointi</a:t>
              </a:r>
            </a:p>
            <a:p>
              <a:pPr algn="ctr" defTabSz="600075">
                <a:lnSpc>
                  <a:spcPct val="90000"/>
                </a:lnSpc>
                <a:spcBef>
                  <a:spcPct val="0"/>
                </a:spcBef>
                <a:spcAft>
                  <a:spcPct val="35000"/>
                </a:spcAft>
              </a:pPr>
              <a:r>
                <a:rPr lang="fi-FI" sz="1350" dirty="0"/>
                <a:t>=&gt; Päätöksenteko</a:t>
              </a:r>
              <a:r>
                <a:rPr lang="fi-FI" sz="1050" dirty="0"/>
                <a:t/>
              </a:r>
              <a:br>
                <a:rPr lang="fi-FI" sz="1050" dirty="0"/>
              </a:br>
              <a:endParaRPr lang="fi-FI" sz="900" dirty="0"/>
            </a:p>
          </p:txBody>
        </p:sp>
        <p:sp>
          <p:nvSpPr>
            <p:cNvPr id="13" name="Ellipsi 12"/>
            <p:cNvSpPr/>
            <p:nvPr/>
          </p:nvSpPr>
          <p:spPr>
            <a:xfrm>
              <a:off x="7872142" y="1935635"/>
              <a:ext cx="684223" cy="684223"/>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4" name="Puolivapaa piirto 13"/>
            <p:cNvSpPr/>
            <p:nvPr/>
          </p:nvSpPr>
          <p:spPr>
            <a:xfrm>
              <a:off x="8544775" y="1988857"/>
              <a:ext cx="2735799" cy="2736540"/>
            </a:xfrm>
            <a:custGeom>
              <a:avLst/>
              <a:gdLst>
                <a:gd name="connsiteX0" fmla="*/ 0 w 2735799"/>
                <a:gd name="connsiteY0" fmla="*/ 0 h 2736540"/>
                <a:gd name="connsiteX1" fmla="*/ 2735799 w 2735799"/>
                <a:gd name="connsiteY1" fmla="*/ 0 h 2736540"/>
                <a:gd name="connsiteX2" fmla="*/ 2735799 w 2735799"/>
                <a:gd name="connsiteY2" fmla="*/ 2736540 h 2736540"/>
                <a:gd name="connsiteX3" fmla="*/ 0 w 2735799"/>
                <a:gd name="connsiteY3" fmla="*/ 2736540 h 2736540"/>
                <a:gd name="connsiteX4" fmla="*/ 0 w 2735799"/>
                <a:gd name="connsiteY4" fmla="*/ 0 h 273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5799" h="2736540">
                  <a:moveTo>
                    <a:pt x="0" y="0"/>
                  </a:moveTo>
                  <a:lnTo>
                    <a:pt x="2735799" y="0"/>
                  </a:lnTo>
                  <a:lnTo>
                    <a:pt x="2735799" y="2736540"/>
                  </a:lnTo>
                  <a:lnTo>
                    <a:pt x="0" y="27365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71917" tIns="0" rIns="0" bIns="0" numCol="1" spcCol="1270" anchor="t" anchorCtr="0">
              <a:noAutofit/>
            </a:bodyPr>
            <a:lstStyle/>
            <a:p>
              <a:pPr algn="ctr" defTabSz="600075">
                <a:lnSpc>
                  <a:spcPct val="90000"/>
                </a:lnSpc>
                <a:spcBef>
                  <a:spcPct val="0"/>
                </a:spcBef>
                <a:spcAft>
                  <a:spcPct val="35000"/>
                </a:spcAft>
              </a:pPr>
              <a:r>
                <a:rPr lang="fi-FI" sz="1350" b="1" dirty="0"/>
                <a:t>Vastuunotto järjestämistehtävistä</a:t>
              </a:r>
            </a:p>
            <a:p>
              <a:pPr algn="ctr" defTabSz="600075">
                <a:lnSpc>
                  <a:spcPct val="90000"/>
                </a:lnSpc>
                <a:spcBef>
                  <a:spcPct val="0"/>
                </a:spcBef>
                <a:spcAft>
                  <a:spcPct val="35000"/>
                </a:spcAft>
              </a:pPr>
              <a:r>
                <a:rPr lang="fi-FI" sz="1350" b="1" dirty="0" smtClean="0"/>
                <a:t>1.1.2023</a:t>
              </a:r>
            </a:p>
            <a:p>
              <a:pPr algn="ctr" defTabSz="600075">
                <a:lnSpc>
                  <a:spcPct val="90000"/>
                </a:lnSpc>
                <a:spcBef>
                  <a:spcPct val="0"/>
                </a:spcBef>
                <a:spcAft>
                  <a:spcPct val="35000"/>
                </a:spcAft>
              </a:pPr>
              <a:r>
                <a:rPr lang="fi-FI" sz="1350" dirty="0" smtClean="0">
                  <a:solidFill>
                    <a:schemeClr val="tx1"/>
                  </a:solidFill>
                </a:rPr>
                <a:t>=&gt; Toiminnan vakiinnuttaminen</a:t>
              </a:r>
            </a:p>
            <a:p>
              <a:pPr algn="ctr" defTabSz="600075">
                <a:lnSpc>
                  <a:spcPct val="90000"/>
                </a:lnSpc>
                <a:spcBef>
                  <a:spcPct val="0"/>
                </a:spcBef>
                <a:spcAft>
                  <a:spcPct val="35000"/>
                </a:spcAft>
              </a:pPr>
              <a:r>
                <a:rPr lang="fi-FI" sz="1350" dirty="0" smtClean="0">
                  <a:solidFill>
                    <a:schemeClr val="tx1"/>
                  </a:solidFill>
                </a:rPr>
                <a:t>=&gt; Kehittämistyön jatkaminen</a:t>
              </a:r>
            </a:p>
            <a:p>
              <a:pPr algn="ctr" defTabSz="600075">
                <a:lnSpc>
                  <a:spcPct val="90000"/>
                </a:lnSpc>
                <a:spcBef>
                  <a:spcPct val="0"/>
                </a:spcBef>
                <a:spcAft>
                  <a:spcPct val="35000"/>
                </a:spcAft>
              </a:pPr>
              <a:endParaRPr lang="fi-FI" sz="788" dirty="0" smtClean="0">
                <a:solidFill>
                  <a:srgbClr val="FF0000"/>
                </a:solidFill>
              </a:endParaRPr>
            </a:p>
            <a:p>
              <a:pPr algn="ctr" defTabSz="600075">
                <a:lnSpc>
                  <a:spcPct val="90000"/>
                </a:lnSpc>
                <a:spcBef>
                  <a:spcPct val="0"/>
                </a:spcBef>
                <a:spcAft>
                  <a:spcPct val="35000"/>
                </a:spcAft>
              </a:pPr>
              <a:endParaRPr lang="fi-FI" sz="788" dirty="0">
                <a:solidFill>
                  <a:srgbClr val="FF0000"/>
                </a:solidFill>
              </a:endParaRPr>
            </a:p>
          </p:txBody>
        </p:sp>
      </p:grpSp>
      <p:sp>
        <p:nvSpPr>
          <p:cNvPr id="4" name="Dian numeron paikkamerkki 3"/>
          <p:cNvSpPr>
            <a:spLocks noGrp="1"/>
          </p:cNvSpPr>
          <p:nvPr>
            <p:ph type="sldNum" sz="quarter" idx="12"/>
          </p:nvPr>
        </p:nvSpPr>
        <p:spPr/>
        <p:txBody>
          <a:bodyPr/>
          <a:lstStyle/>
          <a:p>
            <a:endParaRPr lang="fi-FI" dirty="0"/>
          </a:p>
        </p:txBody>
      </p:sp>
    </p:spTree>
    <p:extLst>
      <p:ext uri="{BB962C8B-B14F-4D97-AF65-F5344CB8AC3E}">
        <p14:creationId xmlns:p14="http://schemas.microsoft.com/office/powerpoint/2010/main" val="65849001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a:xfrm>
            <a:off x="432786" y="195486"/>
            <a:ext cx="7811623" cy="576064"/>
          </a:xfrm>
        </p:spPr>
        <p:txBody>
          <a:bodyPr/>
          <a:lstStyle/>
          <a:p>
            <a:r>
              <a:rPr lang="fi-FI" dirty="0" smtClean="0">
                <a:solidFill>
                  <a:schemeClr val="tx1">
                    <a:lumMod val="65000"/>
                    <a:lumOff val="35000"/>
                  </a:schemeClr>
                </a:solidFill>
              </a:rPr>
              <a:t>Toimeenpano on käynnistynyt</a:t>
            </a:r>
            <a:endParaRPr lang="fi-FI" dirty="0">
              <a:solidFill>
                <a:schemeClr val="tx1">
                  <a:lumMod val="65000"/>
                  <a:lumOff val="35000"/>
                </a:schemeClr>
              </a:solidFill>
            </a:endParaRPr>
          </a:p>
        </p:txBody>
      </p:sp>
      <p:sp>
        <p:nvSpPr>
          <p:cNvPr id="3" name="Sisällön paikkamerkki 2"/>
          <p:cNvSpPr>
            <a:spLocks noGrp="1"/>
          </p:cNvSpPr>
          <p:nvPr>
            <p:ph idx="1"/>
          </p:nvPr>
        </p:nvSpPr>
        <p:spPr>
          <a:xfrm>
            <a:off x="432786" y="915566"/>
            <a:ext cx="8099653" cy="4104456"/>
          </a:xfrm>
        </p:spPr>
        <p:txBody>
          <a:bodyPr>
            <a:normAutofit/>
          </a:bodyPr>
          <a:lstStyle/>
          <a:p>
            <a:pPr marL="179701" indent="-179701">
              <a:lnSpc>
                <a:spcPct val="120000"/>
              </a:lnSpc>
            </a:pPr>
            <a:r>
              <a:rPr lang="fi-FI" sz="1800" dirty="0" smtClean="0">
                <a:solidFill>
                  <a:schemeClr val="tx1">
                    <a:lumMod val="65000"/>
                    <a:lumOff val="35000"/>
                  </a:schemeClr>
                </a:solidFill>
              </a:rPr>
              <a:t>Päävastuu </a:t>
            </a:r>
            <a:r>
              <a:rPr lang="fi-FI" sz="1800" dirty="0">
                <a:solidFill>
                  <a:schemeClr val="tx1">
                    <a:lumMod val="65000"/>
                    <a:lumOff val="35000"/>
                  </a:schemeClr>
                </a:solidFill>
              </a:rPr>
              <a:t>uudistuksen toimeenpanosta on </a:t>
            </a:r>
            <a:r>
              <a:rPr lang="fi-FI" sz="1800" dirty="0" smtClean="0">
                <a:solidFill>
                  <a:schemeClr val="tx1">
                    <a:lumMod val="65000"/>
                    <a:lumOff val="35000"/>
                  </a:schemeClr>
                </a:solidFill>
              </a:rPr>
              <a:t>alueilla.</a:t>
            </a:r>
          </a:p>
          <a:p>
            <a:pPr marL="179701" indent="-179701">
              <a:lnSpc>
                <a:spcPct val="120000"/>
              </a:lnSpc>
            </a:pPr>
            <a:r>
              <a:rPr lang="fi-FI" sz="1800" dirty="0" smtClean="0">
                <a:solidFill>
                  <a:schemeClr val="tx1">
                    <a:lumMod val="65000"/>
                    <a:lumOff val="35000"/>
                  </a:schemeClr>
                </a:solidFill>
              </a:rPr>
              <a:t>Valtioneuvosto tukee alueita uudistuksen toimeenpanossa: </a:t>
            </a:r>
          </a:p>
          <a:p>
            <a:pPr marL="467693" lvl="1" indent="-179701">
              <a:lnSpc>
                <a:spcPct val="120000"/>
              </a:lnSpc>
            </a:pPr>
            <a:r>
              <a:rPr lang="fi-FI" sz="1600" dirty="0" smtClean="0">
                <a:solidFill>
                  <a:schemeClr val="tx2">
                    <a:lumMod val="75000"/>
                  </a:schemeClr>
                </a:solidFill>
              </a:rPr>
              <a:t>Tiekartta</a:t>
            </a:r>
          </a:p>
          <a:p>
            <a:pPr marL="467693" lvl="1" indent="-179701">
              <a:lnSpc>
                <a:spcPct val="120000"/>
              </a:lnSpc>
            </a:pPr>
            <a:r>
              <a:rPr lang="fi-FI" sz="1600" dirty="0" smtClean="0">
                <a:solidFill>
                  <a:schemeClr val="tx2">
                    <a:lumMod val="75000"/>
                  </a:schemeClr>
                </a:solidFill>
              </a:rPr>
              <a:t>Tilannekuva</a:t>
            </a:r>
          </a:p>
          <a:p>
            <a:pPr marL="467693" lvl="1" indent="-179701">
              <a:lnSpc>
                <a:spcPct val="120000"/>
              </a:lnSpc>
            </a:pPr>
            <a:r>
              <a:rPr lang="fi-FI" sz="1600" dirty="0" smtClean="0">
                <a:solidFill>
                  <a:schemeClr val="tx2">
                    <a:lumMod val="75000"/>
                  </a:schemeClr>
                </a:solidFill>
              </a:rPr>
              <a:t>Valmisteluverkostot</a:t>
            </a:r>
          </a:p>
          <a:p>
            <a:pPr marL="467693" lvl="1" indent="-179701">
              <a:lnSpc>
                <a:spcPct val="120000"/>
              </a:lnSpc>
            </a:pPr>
            <a:r>
              <a:rPr lang="fi-FI" sz="1600" dirty="0" smtClean="0">
                <a:solidFill>
                  <a:schemeClr val="tx2">
                    <a:lumMod val="75000"/>
                  </a:schemeClr>
                </a:solidFill>
              </a:rPr>
              <a:t>Valtionavustukset</a:t>
            </a:r>
          </a:p>
          <a:p>
            <a:pPr marL="467693" lvl="1" indent="-179701">
              <a:lnSpc>
                <a:spcPct val="120000"/>
              </a:lnSpc>
            </a:pPr>
            <a:r>
              <a:rPr lang="fi-FI" sz="1600" dirty="0" smtClean="0">
                <a:solidFill>
                  <a:schemeClr val="tx2">
                    <a:lumMod val="75000"/>
                  </a:schemeClr>
                </a:solidFill>
              </a:rPr>
              <a:t>Soteuudistus.fi</a:t>
            </a:r>
          </a:p>
          <a:p>
            <a:pPr marL="0" indent="0">
              <a:lnSpc>
                <a:spcPct val="120000"/>
              </a:lnSpc>
              <a:buNone/>
            </a:pPr>
            <a:endParaRPr lang="fi-FI" sz="1600" dirty="0" smtClean="0">
              <a:solidFill>
                <a:schemeClr val="tx2">
                  <a:lumMod val="75000"/>
                </a:schemeClr>
              </a:solidFill>
            </a:endParaRPr>
          </a:p>
          <a:p>
            <a:pPr marL="0" indent="0">
              <a:lnSpc>
                <a:spcPct val="120000"/>
              </a:lnSpc>
              <a:buNone/>
            </a:pPr>
            <a:r>
              <a:rPr lang="fi-FI" sz="1800" dirty="0" smtClean="0">
                <a:solidFill>
                  <a:schemeClr val="tx1">
                    <a:lumMod val="65000"/>
                    <a:lumOff val="35000"/>
                  </a:schemeClr>
                </a:solidFill>
              </a:rPr>
              <a:t>Valmistelutyön </a:t>
            </a:r>
            <a:r>
              <a:rPr lang="fi-FI" sz="1800" dirty="0">
                <a:solidFill>
                  <a:schemeClr val="tx1">
                    <a:lumMod val="65000"/>
                    <a:lumOff val="35000"/>
                  </a:schemeClr>
                </a:solidFill>
              </a:rPr>
              <a:t>tavoitteena on varmistaa, että hyvinvointialueiden kaikki keskeiset toiminnot ja palvelut toimivat asiakkaiden ja henkilöstön kannalta häiriöttä uudistuksen tullessa voimaan 1.1.2023</a:t>
            </a:r>
          </a:p>
          <a:p>
            <a:pPr marL="179701" indent="-179701">
              <a:lnSpc>
                <a:spcPct val="120000"/>
              </a:lnSpc>
            </a:pPr>
            <a:endParaRPr lang="fi-FI" sz="1800" dirty="0" smtClean="0">
              <a:solidFill>
                <a:schemeClr val="tx2">
                  <a:lumMod val="75000"/>
                </a:schemeClr>
              </a:solidFill>
            </a:endParaRPr>
          </a:p>
          <a:p>
            <a:pPr marL="0" indent="0">
              <a:lnSpc>
                <a:spcPct val="120000"/>
              </a:lnSpc>
              <a:buNone/>
            </a:pPr>
            <a:endParaRPr lang="fi-FI" sz="1600" dirty="0" smtClean="0">
              <a:solidFill>
                <a:schemeClr val="tx1">
                  <a:lumMod val="65000"/>
                  <a:lumOff val="35000"/>
                </a:schemeClr>
              </a:solidFill>
            </a:endParaRPr>
          </a:p>
        </p:txBody>
      </p:sp>
    </p:spTree>
    <p:extLst>
      <p:ext uri="{BB962C8B-B14F-4D97-AF65-F5344CB8AC3E}">
        <p14:creationId xmlns:p14="http://schemas.microsoft.com/office/powerpoint/2010/main" val="12501622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tsikko 2"/>
          <p:cNvSpPr>
            <a:spLocks noGrp="1"/>
          </p:cNvSpPr>
          <p:nvPr>
            <p:ph type="title"/>
          </p:nvPr>
        </p:nvSpPr>
        <p:spPr/>
        <p:txBody>
          <a:bodyPr/>
          <a:lstStyle/>
          <a:p>
            <a:r>
              <a:rPr lang="fi-FI" dirty="0"/>
              <a:t>Hyvinvointialueiden toimeenpanon tueksi on laadittu tiekartta vuosille 2021-2023</a:t>
            </a:r>
          </a:p>
        </p:txBody>
      </p:sp>
      <p:sp>
        <p:nvSpPr>
          <p:cNvPr id="2" name="Sisällön paikkamerkki 1"/>
          <p:cNvSpPr>
            <a:spLocks noGrp="1"/>
          </p:cNvSpPr>
          <p:nvPr>
            <p:ph idx="1"/>
          </p:nvPr>
        </p:nvSpPr>
        <p:spPr>
          <a:xfrm>
            <a:off x="432785" y="1419622"/>
            <a:ext cx="8603711" cy="3600399"/>
          </a:xfrm>
        </p:spPr>
        <p:txBody>
          <a:bodyPr>
            <a:normAutofit fontScale="77500" lnSpcReduction="20000"/>
          </a:bodyPr>
          <a:lstStyle/>
          <a:p>
            <a:pPr marL="128270" indent="-128270">
              <a:lnSpc>
                <a:spcPct val="120000"/>
              </a:lnSpc>
            </a:pPr>
            <a:r>
              <a:rPr lang="fi-FI" sz="2800" dirty="0" smtClean="0"/>
              <a:t>Alueellisen </a:t>
            </a:r>
            <a:r>
              <a:rPr lang="fi-FI" sz="2800" dirty="0"/>
              <a:t>toimeenpanon tiekarttaan on koottu toimeenpanon kannalta keskeiset tehtävät alueiden näkökulmasta. </a:t>
            </a:r>
          </a:p>
          <a:p>
            <a:pPr marL="0" indent="0">
              <a:spcAft>
                <a:spcPts val="450"/>
              </a:spcAft>
              <a:buNone/>
            </a:pPr>
            <a:endParaRPr lang="fi-FI" sz="2900" dirty="0" smtClean="0"/>
          </a:p>
          <a:p>
            <a:pPr marL="128270" indent="-128270">
              <a:spcAft>
                <a:spcPts val="450"/>
              </a:spcAft>
            </a:pPr>
            <a:r>
              <a:rPr lang="fi-FI" sz="2900" dirty="0" smtClean="0"/>
              <a:t>Tiekartat </a:t>
            </a:r>
            <a:r>
              <a:rPr lang="fi-FI" sz="2900" dirty="0"/>
              <a:t>on rakennettu viiden valmisteluryhmän mukaisesti</a:t>
            </a:r>
            <a:r>
              <a:rPr lang="en-FI" sz="2900" dirty="0" smtClean="0"/>
              <a:t>:</a:t>
            </a:r>
            <a:endParaRPr lang="fi-FI" sz="2900" dirty="0" smtClean="0"/>
          </a:p>
          <a:p>
            <a:pPr marL="745200" lvl="1" indent="-457200">
              <a:spcAft>
                <a:spcPts val="450"/>
              </a:spcAft>
              <a:buFont typeface="Wingdings" panose="05000000000000000000" pitchFamily="2" charset="2"/>
              <a:buChar char="Ø"/>
            </a:pPr>
            <a:r>
              <a:rPr lang="fi-FI" sz="2600" dirty="0" smtClean="0"/>
              <a:t>Hallinto, talous ja tukipalvelut</a:t>
            </a:r>
          </a:p>
          <a:p>
            <a:pPr marL="745200" lvl="1" indent="-457200">
              <a:spcAft>
                <a:spcPts val="450"/>
              </a:spcAft>
              <a:buFont typeface="Wingdings" panose="05000000000000000000" pitchFamily="2" charset="2"/>
              <a:buChar char="Ø"/>
            </a:pPr>
            <a:r>
              <a:rPr lang="fi-FI" sz="2600" dirty="0" smtClean="0"/>
              <a:t>Johtaminen ja osaaminen</a:t>
            </a:r>
          </a:p>
          <a:p>
            <a:pPr marL="745200" lvl="1" indent="-457200">
              <a:spcAft>
                <a:spcPts val="450"/>
              </a:spcAft>
              <a:buFont typeface="Wingdings" panose="05000000000000000000" pitchFamily="2" charset="2"/>
              <a:buChar char="Ø"/>
            </a:pPr>
            <a:r>
              <a:rPr lang="fi-FI" sz="2600" dirty="0" smtClean="0"/>
              <a:t>Palveluiden järjestäminen</a:t>
            </a:r>
          </a:p>
          <a:p>
            <a:pPr marL="745200" lvl="1" indent="-457200">
              <a:spcAft>
                <a:spcPts val="450"/>
              </a:spcAft>
              <a:buFont typeface="Wingdings" panose="05000000000000000000" pitchFamily="2" charset="2"/>
              <a:buChar char="Ø"/>
            </a:pPr>
            <a:r>
              <a:rPr lang="fi-FI" sz="2600" dirty="0" smtClean="0"/>
              <a:t>Yhdyspinnat</a:t>
            </a:r>
          </a:p>
          <a:p>
            <a:pPr marL="745200" lvl="1" indent="-457200">
              <a:spcAft>
                <a:spcPts val="450"/>
              </a:spcAft>
              <a:buFont typeface="Wingdings" panose="05000000000000000000" pitchFamily="2" charset="2"/>
              <a:buChar char="Ø"/>
            </a:pPr>
            <a:r>
              <a:rPr lang="fi-FI" sz="2600" dirty="0" smtClean="0"/>
              <a:t>ICT</a:t>
            </a:r>
          </a:p>
          <a:p>
            <a:pPr marL="0" indent="0">
              <a:spcAft>
                <a:spcPts val="450"/>
              </a:spcAft>
              <a:buNone/>
            </a:pPr>
            <a:endParaRPr lang="en-FI" dirty="0"/>
          </a:p>
        </p:txBody>
      </p:sp>
    </p:spTree>
    <p:extLst>
      <p:ext uri="{BB962C8B-B14F-4D97-AF65-F5344CB8AC3E}">
        <p14:creationId xmlns:p14="http://schemas.microsoft.com/office/powerpoint/2010/main" val="85597766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dirty="0" smtClean="0">
                <a:solidFill>
                  <a:srgbClr val="595959"/>
                </a:solidFill>
              </a:rPr>
              <a:t>Alueellisen </a:t>
            </a:r>
            <a:r>
              <a:rPr lang="fi-FI" dirty="0">
                <a:solidFill>
                  <a:srgbClr val="595959"/>
                </a:solidFill>
              </a:rPr>
              <a:t>toimeenpanon </a:t>
            </a:r>
            <a:r>
              <a:rPr lang="fi-FI" dirty="0" smtClean="0">
                <a:solidFill>
                  <a:srgbClr val="595959"/>
                </a:solidFill>
              </a:rPr>
              <a:t>tilannekuva</a:t>
            </a:r>
            <a:r>
              <a:rPr lang="fi-FI" dirty="0">
                <a:solidFill>
                  <a:srgbClr val="595959"/>
                </a:solidFill>
              </a:rPr>
              <a:t/>
            </a:r>
            <a:br>
              <a:rPr lang="fi-FI" dirty="0">
                <a:solidFill>
                  <a:srgbClr val="595959"/>
                </a:solidFill>
              </a:rPr>
            </a:br>
            <a:endParaRPr lang="fi-FI" dirty="0">
              <a:solidFill>
                <a:srgbClr val="595959"/>
              </a:solidFill>
            </a:endParaRPr>
          </a:p>
        </p:txBody>
      </p:sp>
      <p:sp>
        <p:nvSpPr>
          <p:cNvPr id="3" name="Sisällön paikkamerkki 2"/>
          <p:cNvSpPr>
            <a:spLocks noGrp="1"/>
          </p:cNvSpPr>
          <p:nvPr>
            <p:ph idx="1"/>
          </p:nvPr>
        </p:nvSpPr>
        <p:spPr>
          <a:xfrm>
            <a:off x="432785" y="1131590"/>
            <a:ext cx="7523591" cy="3486373"/>
          </a:xfrm>
        </p:spPr>
        <p:txBody>
          <a:bodyPr/>
          <a:lstStyle/>
          <a:p>
            <a:pPr marL="0" indent="0" algn="ctr">
              <a:buNone/>
            </a:pPr>
            <a:endParaRPr lang="fi-FI" sz="1600" b="1" dirty="0">
              <a:solidFill>
                <a:schemeClr val="accent4"/>
              </a:solidFill>
            </a:endParaRPr>
          </a:p>
          <a:p>
            <a:r>
              <a:rPr lang="fi-FI" dirty="0">
                <a:solidFill>
                  <a:srgbClr val="595959"/>
                </a:solidFill>
              </a:rPr>
              <a:t>Toimeenpanon </a:t>
            </a:r>
            <a:r>
              <a:rPr lang="fi-FI" dirty="0" smtClean="0">
                <a:solidFill>
                  <a:srgbClr val="595959"/>
                </a:solidFill>
              </a:rPr>
              <a:t>tilannekuva kertoo </a:t>
            </a:r>
            <a:r>
              <a:rPr lang="fi-FI" dirty="0">
                <a:solidFill>
                  <a:srgbClr val="595959"/>
                </a:solidFill>
              </a:rPr>
              <a:t>seurattavien tehtävien etenemistä </a:t>
            </a:r>
            <a:r>
              <a:rPr lang="fi-FI" dirty="0" smtClean="0">
                <a:solidFill>
                  <a:srgbClr val="595959"/>
                </a:solidFill>
              </a:rPr>
              <a:t>hyvinvointialueilla tiekartan </a:t>
            </a:r>
            <a:r>
              <a:rPr lang="fi-FI" dirty="0">
                <a:solidFill>
                  <a:srgbClr val="595959"/>
                </a:solidFill>
              </a:rPr>
              <a:t>mukaisesti - Edetäänkö aikataulun ja suunnitelmien mukaan</a:t>
            </a:r>
            <a:r>
              <a:rPr lang="fi-FI" dirty="0" smtClean="0">
                <a:solidFill>
                  <a:srgbClr val="595959"/>
                </a:solidFill>
              </a:rPr>
              <a:t>?</a:t>
            </a:r>
          </a:p>
          <a:p>
            <a:endParaRPr lang="fi-FI" dirty="0">
              <a:solidFill>
                <a:srgbClr val="595959"/>
              </a:solidFill>
            </a:endParaRPr>
          </a:p>
          <a:p>
            <a:r>
              <a:rPr lang="fi-FI" dirty="0" smtClean="0">
                <a:solidFill>
                  <a:srgbClr val="595959"/>
                </a:solidFill>
              </a:rPr>
              <a:t>Ovatko </a:t>
            </a:r>
            <a:r>
              <a:rPr lang="fi-FI" dirty="0">
                <a:solidFill>
                  <a:srgbClr val="595959"/>
                </a:solidFill>
              </a:rPr>
              <a:t>tehtävät </a:t>
            </a:r>
            <a:r>
              <a:rPr lang="fi-FI" dirty="0" smtClean="0">
                <a:solidFill>
                  <a:srgbClr val="595959"/>
                </a:solidFill>
              </a:rPr>
              <a:t>valmistumassa </a:t>
            </a:r>
            <a:r>
              <a:rPr lang="fi-FI" dirty="0">
                <a:solidFill>
                  <a:srgbClr val="595959"/>
                </a:solidFill>
              </a:rPr>
              <a:t>aikataulussa tai </a:t>
            </a:r>
            <a:r>
              <a:rPr lang="fi-FI" dirty="0" smtClean="0">
                <a:solidFill>
                  <a:srgbClr val="595959"/>
                </a:solidFill>
              </a:rPr>
              <a:t>valmiita tai aloittamatta?</a:t>
            </a:r>
          </a:p>
          <a:p>
            <a:pPr marL="0" indent="0">
              <a:buNone/>
            </a:pPr>
            <a:endParaRPr lang="fi-FI" dirty="0" smtClean="0">
              <a:solidFill>
                <a:srgbClr val="595959"/>
              </a:solidFill>
            </a:endParaRPr>
          </a:p>
          <a:p>
            <a:r>
              <a:rPr lang="fi-FI" dirty="0" smtClean="0">
                <a:solidFill>
                  <a:srgbClr val="595959"/>
                </a:solidFill>
              </a:rPr>
              <a:t>Alueiden kanssa käydään tilannekeskustelun joka kuukausi.</a:t>
            </a:r>
            <a:endParaRPr lang="fi-FI" dirty="0" smtClean="0">
              <a:solidFill>
                <a:srgbClr val="595959"/>
              </a:solidFill>
            </a:endParaRPr>
          </a:p>
          <a:p>
            <a:endParaRPr lang="fi-FI" dirty="0">
              <a:solidFill>
                <a:srgbClr val="595959"/>
              </a:solidFill>
            </a:endParaRPr>
          </a:p>
          <a:p>
            <a:endParaRPr lang="fi-FI" dirty="0">
              <a:solidFill>
                <a:srgbClr val="595959"/>
              </a:solidFill>
            </a:endParaRPr>
          </a:p>
        </p:txBody>
      </p:sp>
    </p:spTree>
    <p:extLst>
      <p:ext uri="{BB962C8B-B14F-4D97-AF65-F5344CB8AC3E}">
        <p14:creationId xmlns:p14="http://schemas.microsoft.com/office/powerpoint/2010/main" val="106449006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538C16C-D7B5-455A-B282-609BE65A246D}"/>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27001" name="think-cell Slide" r:id="rId5" imgW="530" imgH="531" progId="TCLayout.ActiveDocument.1">
                  <p:embed/>
                </p:oleObj>
              </mc:Choice>
              <mc:Fallback>
                <p:oleObj name="think-cell Slide" r:id="rId5" imgW="530" imgH="531" progId="TCLayout.ActiveDocument.1">
                  <p:embed/>
                  <p:pic>
                    <p:nvPicPr>
                      <p:cNvPr id="5" name="Object 4" hidden="1">
                        <a:extLst>
                          <a:ext uri="{FF2B5EF4-FFF2-40B4-BE49-F238E27FC236}">
                            <a16:creationId xmlns:a16="http://schemas.microsoft.com/office/drawing/2014/main" id="{9538C16C-D7B5-455A-B282-609BE65A246D}"/>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42052A69-C08E-4D63-A71B-A91C4243D197}"/>
              </a:ext>
            </a:extLst>
          </p:cNvPr>
          <p:cNvSpPr/>
          <p:nvPr/>
        </p:nvSpPr>
        <p:spPr>
          <a:xfrm>
            <a:off x="89502" y="4760052"/>
            <a:ext cx="8964996" cy="369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fi-FI" sz="1350">
              <a:solidFill>
                <a:srgbClr val="FFFFFF"/>
              </a:solidFill>
              <a:latin typeface="Arial"/>
            </a:endParaRPr>
          </a:p>
        </p:txBody>
      </p:sp>
      <p:graphicFrame>
        <p:nvGraphicFramePr>
          <p:cNvPr id="32" name="Taulukko 32">
            <a:extLst>
              <a:ext uri="{FF2B5EF4-FFF2-40B4-BE49-F238E27FC236}">
                <a16:creationId xmlns:a16="http://schemas.microsoft.com/office/drawing/2014/main" id="{1C074966-D6AB-574F-A447-0B1617591A79}"/>
              </a:ext>
            </a:extLst>
          </p:cNvPr>
          <p:cNvGraphicFramePr>
            <a:graphicFrameLocks noGrp="1"/>
          </p:cNvGraphicFramePr>
          <p:nvPr/>
        </p:nvGraphicFramePr>
        <p:xfrm>
          <a:off x="413538" y="465516"/>
          <a:ext cx="7668853" cy="4343400"/>
        </p:xfrm>
        <a:graphic>
          <a:graphicData uri="http://schemas.openxmlformats.org/drawingml/2006/table">
            <a:tbl>
              <a:tblPr firstRow="1" bandRow="1">
                <a:tableStyleId>{5C22544A-7EE6-4342-B048-85BDC9FD1C3A}</a:tableStyleId>
              </a:tblPr>
              <a:tblGrid>
                <a:gridCol w="1136881">
                  <a:extLst>
                    <a:ext uri="{9D8B030D-6E8A-4147-A177-3AD203B41FA5}">
                      <a16:colId xmlns:a16="http://schemas.microsoft.com/office/drawing/2014/main" val="1134288843"/>
                    </a:ext>
                  </a:extLst>
                </a:gridCol>
                <a:gridCol w="1175812">
                  <a:extLst>
                    <a:ext uri="{9D8B030D-6E8A-4147-A177-3AD203B41FA5}">
                      <a16:colId xmlns:a16="http://schemas.microsoft.com/office/drawing/2014/main" val="1574085366"/>
                    </a:ext>
                  </a:extLst>
                </a:gridCol>
                <a:gridCol w="174657">
                  <a:extLst>
                    <a:ext uri="{9D8B030D-6E8A-4147-A177-3AD203B41FA5}">
                      <a16:colId xmlns:a16="http://schemas.microsoft.com/office/drawing/2014/main" val="175385021"/>
                    </a:ext>
                  </a:extLst>
                </a:gridCol>
                <a:gridCol w="1164383">
                  <a:extLst>
                    <a:ext uri="{9D8B030D-6E8A-4147-A177-3AD203B41FA5}">
                      <a16:colId xmlns:a16="http://schemas.microsoft.com/office/drawing/2014/main" val="2162519792"/>
                    </a:ext>
                  </a:extLst>
                </a:gridCol>
                <a:gridCol w="174657">
                  <a:extLst>
                    <a:ext uri="{9D8B030D-6E8A-4147-A177-3AD203B41FA5}">
                      <a16:colId xmlns:a16="http://schemas.microsoft.com/office/drawing/2014/main" val="2361088488"/>
                    </a:ext>
                  </a:extLst>
                </a:gridCol>
                <a:gridCol w="1164383">
                  <a:extLst>
                    <a:ext uri="{9D8B030D-6E8A-4147-A177-3AD203B41FA5}">
                      <a16:colId xmlns:a16="http://schemas.microsoft.com/office/drawing/2014/main" val="1173099528"/>
                    </a:ext>
                  </a:extLst>
                </a:gridCol>
                <a:gridCol w="174657">
                  <a:extLst>
                    <a:ext uri="{9D8B030D-6E8A-4147-A177-3AD203B41FA5}">
                      <a16:colId xmlns:a16="http://schemas.microsoft.com/office/drawing/2014/main" val="2853911203"/>
                    </a:ext>
                  </a:extLst>
                </a:gridCol>
                <a:gridCol w="1164383">
                  <a:extLst>
                    <a:ext uri="{9D8B030D-6E8A-4147-A177-3AD203B41FA5}">
                      <a16:colId xmlns:a16="http://schemas.microsoft.com/office/drawing/2014/main" val="3800036914"/>
                    </a:ext>
                  </a:extLst>
                </a:gridCol>
                <a:gridCol w="174657">
                  <a:extLst>
                    <a:ext uri="{9D8B030D-6E8A-4147-A177-3AD203B41FA5}">
                      <a16:colId xmlns:a16="http://schemas.microsoft.com/office/drawing/2014/main" val="1926987846"/>
                    </a:ext>
                  </a:extLst>
                </a:gridCol>
                <a:gridCol w="1164383">
                  <a:extLst>
                    <a:ext uri="{9D8B030D-6E8A-4147-A177-3AD203B41FA5}">
                      <a16:colId xmlns:a16="http://schemas.microsoft.com/office/drawing/2014/main" val="3766097860"/>
                    </a:ext>
                  </a:extLst>
                </a:gridCol>
              </a:tblGrid>
              <a:tr h="297180">
                <a:tc>
                  <a:txBody>
                    <a:bodyPr/>
                    <a:lstStyle/>
                    <a:p>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fi-FI" sz="800" b="1" dirty="0">
                          <a:solidFill>
                            <a:schemeClr val="bg1"/>
                          </a:solidFill>
                          <a:latin typeface="Arial Narrow" panose="020B0604020202020204" pitchFamily="34" charset="0"/>
                          <a:cs typeface="Arial Narrow" panose="020B0604020202020204" pitchFamily="34" charset="0"/>
                        </a:rPr>
                        <a:t>Hallinto, talous ja tukipalvelut</a:t>
                      </a:r>
                    </a:p>
                  </a:txBody>
                  <a:tcPr marL="68580" marR="68580" marT="34290" marB="34290" anchor="ctr">
                    <a:solidFill>
                      <a:srgbClr val="FF50A2"/>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800" b="1" dirty="0">
                        <a:solidFill>
                          <a:schemeClr val="bg1"/>
                        </a:solidFill>
                        <a:latin typeface="Arial Narrow" panose="020B0604020202020204" pitchFamily="34" charset="0"/>
                        <a:cs typeface="Arial Narrow" panose="020B0604020202020204" pitchFamily="34" charset="0"/>
                      </a:endParaRPr>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fi-FI" sz="800" b="1" dirty="0">
                          <a:solidFill>
                            <a:schemeClr val="bg1"/>
                          </a:solidFill>
                          <a:latin typeface="Arial Narrow" panose="020B0604020202020204" pitchFamily="34" charset="0"/>
                          <a:cs typeface="Arial Narrow" panose="020B0604020202020204" pitchFamily="34" charset="0"/>
                        </a:rPr>
                        <a:t>Johtaminen ja osaaminen</a:t>
                      </a:r>
                    </a:p>
                  </a:txBody>
                  <a:tcPr marL="68580" marR="68580" marT="34290" marB="34290" anchor="ctr">
                    <a:solidFill>
                      <a:srgbClr val="8C409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800" b="1" dirty="0">
                        <a:solidFill>
                          <a:schemeClr val="bg1"/>
                        </a:solidFill>
                        <a:latin typeface="Arial Narrow" panose="020B0604020202020204" pitchFamily="34" charset="0"/>
                        <a:cs typeface="Arial Narrow" panose="020B0604020202020204" pitchFamily="34" charset="0"/>
                      </a:endParaRPr>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fi-FI" sz="800" b="1" dirty="0">
                          <a:solidFill>
                            <a:schemeClr val="bg1"/>
                          </a:solidFill>
                          <a:latin typeface="Arial Narrow" panose="020B0604020202020204" pitchFamily="34" charset="0"/>
                          <a:cs typeface="Arial Narrow" panose="020B0604020202020204" pitchFamily="34" charset="0"/>
                        </a:rPr>
                        <a:t>Palveluiden järjestäminen</a:t>
                      </a:r>
                    </a:p>
                  </a:txBody>
                  <a:tcPr marL="68580" marR="68580" marT="34290" marB="34290" anchor="ctr">
                    <a:solidFill>
                      <a:srgbClr val="3659BD"/>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800" b="1" dirty="0">
                        <a:solidFill>
                          <a:schemeClr val="bg1"/>
                        </a:solidFill>
                        <a:latin typeface="Arial Narrow" panose="020B0604020202020204" pitchFamily="34" charset="0"/>
                        <a:cs typeface="Arial Narrow" panose="020B0604020202020204" pitchFamily="34" charset="0"/>
                      </a:endParaRPr>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fi-FI" sz="800" b="1" dirty="0">
                          <a:solidFill>
                            <a:schemeClr val="bg1"/>
                          </a:solidFill>
                          <a:latin typeface="Arial Narrow" panose="020B0604020202020204" pitchFamily="34" charset="0"/>
                          <a:cs typeface="Arial Narrow" panose="020B0604020202020204" pitchFamily="34" charset="0"/>
                        </a:rPr>
                        <a:t>Yhdyspinnat</a:t>
                      </a:r>
                    </a:p>
                  </a:txBody>
                  <a:tcPr marL="68580" marR="68580" marT="34290" marB="34290" anchor="ctr">
                    <a:solidFill>
                      <a:srgbClr val="598A1E"/>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800" b="1" dirty="0">
                        <a:solidFill>
                          <a:schemeClr val="bg1"/>
                        </a:solidFill>
                        <a:latin typeface="Arial Narrow" panose="020B0604020202020204" pitchFamily="34" charset="0"/>
                        <a:cs typeface="Arial Narrow" panose="020B0604020202020204" pitchFamily="34" charset="0"/>
                      </a:endParaRPr>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fi-FI" sz="800" b="1" dirty="0">
                          <a:solidFill>
                            <a:schemeClr val="bg1"/>
                          </a:solidFill>
                          <a:latin typeface="Arial Narrow" panose="020B0604020202020204" pitchFamily="34" charset="0"/>
                          <a:cs typeface="Arial Narrow" panose="020B0604020202020204" pitchFamily="34" charset="0"/>
                        </a:rPr>
                        <a:t>ICT</a:t>
                      </a:r>
                    </a:p>
                  </a:txBody>
                  <a:tcPr marL="68580" marR="68580" marT="34290" marB="34290" anchor="ctr">
                    <a:solidFill>
                      <a:srgbClr val="F38601"/>
                    </a:solidFill>
                  </a:tcPr>
                </a:tc>
                <a:extLst>
                  <a:ext uri="{0D108BD9-81ED-4DB2-BD59-A6C34878D82A}">
                    <a16:rowId xmlns:a16="http://schemas.microsoft.com/office/drawing/2014/main" val="1766679063"/>
                  </a:ext>
                </a:extLst>
              </a:tr>
              <a:tr h="17145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fi-FI" sz="700" b="0"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Etelä-Karjala</a:t>
                      </a:r>
                    </a:p>
                  </a:txBody>
                  <a:tcPr marL="68580" marR="68580" marT="34290" marB="34290" anchor="ctr">
                    <a:solidFill>
                      <a:srgbClr val="1B2D5F"/>
                    </a:solidFill>
                  </a:tcPr>
                </a:tc>
                <a:tc>
                  <a:txBody>
                    <a:bodyPr/>
                    <a:lstStyle/>
                    <a:p>
                      <a:pPr algn="ctr"/>
                      <a:endParaRPr lang="fi-FI" sz="700" dirty="0"/>
                    </a:p>
                  </a:txBody>
                  <a:tcPr marL="68580" marR="68580" marT="34290" marB="34290" anchor="ctr">
                    <a:solidFill>
                      <a:srgbClr val="AEDF74"/>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i-FI" sz="700" b="0" i="0" u="none" strike="noStrike" kern="1200" cap="none" spc="0" normalizeH="0" baseline="0" noProof="0" dirty="0">
                        <a:ln>
                          <a:noFill/>
                        </a:ln>
                        <a:solidFill>
                          <a:prstClr val="black"/>
                        </a:solidFill>
                        <a:effectLst/>
                        <a:uLnTx/>
                        <a:uFillTx/>
                        <a:latin typeface="Arial"/>
                        <a:ea typeface="+mn-ea"/>
                        <a:cs typeface="+mn-cs"/>
                      </a:endParaRPr>
                    </a:p>
                  </a:txBody>
                  <a:tcPr marL="68580" marR="68580" marT="34290" marB="34290" anchor="ctr">
                    <a:solidFill>
                      <a:srgbClr val="AEDF74"/>
                    </a:solidFill>
                  </a:tcPr>
                </a:tc>
                <a:tc>
                  <a:txBody>
                    <a:bodyPr/>
                    <a:lstStyle/>
                    <a:p>
                      <a:pPr algn="ctr"/>
                      <a:endParaRPr lang="fi-FI" sz="700" dirty="0"/>
                    </a:p>
                  </a:txBody>
                  <a:tcPr marL="68580" marR="68580" marT="34290" marB="34290" anchor="ctr">
                    <a:solidFill>
                      <a:schemeClr val="bg1"/>
                    </a:solidFill>
                  </a:tcPr>
                </a:tc>
                <a:tc>
                  <a:txBody>
                    <a:bodyPr/>
                    <a:lstStyle/>
                    <a:p>
                      <a:pPr algn="ctr"/>
                      <a:endParaRPr lang="fi-FI" sz="700" dirty="0"/>
                    </a:p>
                  </a:txBody>
                  <a:tcPr marL="68580" marR="68580" marT="34290" marB="34290" anchor="ctr">
                    <a:solidFill>
                      <a:srgbClr val="AEDF74"/>
                    </a:solidFill>
                  </a:tcPr>
                </a:tc>
                <a:tc>
                  <a:txBody>
                    <a:bodyPr/>
                    <a:lstStyle/>
                    <a:p>
                      <a:pPr algn="ctr"/>
                      <a:endParaRPr lang="fi-FI" sz="700" dirty="0"/>
                    </a:p>
                  </a:txBody>
                  <a:tcPr marL="68580" marR="68580" marT="34290" marB="34290" anchor="ctr">
                    <a:solidFill>
                      <a:schemeClr val="bg1"/>
                    </a:solidFill>
                  </a:tcPr>
                </a:tc>
                <a:tc>
                  <a:txBody>
                    <a:bodyPr/>
                    <a:lstStyle/>
                    <a:p>
                      <a:pPr algn="ctr"/>
                      <a:endParaRPr lang="fi-FI" sz="700" dirty="0"/>
                    </a:p>
                  </a:txBody>
                  <a:tcPr marL="68580" marR="68580" marT="34290" marB="34290" anchor="ctr">
                    <a:solidFill>
                      <a:srgbClr val="AEDF74"/>
                    </a:solidFill>
                  </a:tcPr>
                </a:tc>
                <a:tc>
                  <a:txBody>
                    <a:bodyPr/>
                    <a:lstStyle/>
                    <a:p>
                      <a:pPr algn="ctr"/>
                      <a:endParaRPr lang="fi-FI" sz="700" dirty="0"/>
                    </a:p>
                  </a:txBody>
                  <a:tcPr marL="68580" marR="68580" marT="34290" marB="34290" anchor="ctr">
                    <a:solidFill>
                      <a:schemeClr val="bg1"/>
                    </a:solidFill>
                  </a:tcPr>
                </a:tc>
                <a:tc>
                  <a:txBody>
                    <a:bodyPr/>
                    <a:lstStyle/>
                    <a:p>
                      <a:pPr algn="ctr"/>
                      <a:endParaRPr lang="fi-FI" sz="700" dirty="0"/>
                    </a:p>
                  </a:txBody>
                  <a:tcPr marL="68580" marR="68580" marT="34290" marB="34290" anchor="ctr">
                    <a:solidFill>
                      <a:srgbClr val="AEDF74"/>
                    </a:solidFill>
                  </a:tcPr>
                </a:tc>
                <a:extLst>
                  <a:ext uri="{0D108BD9-81ED-4DB2-BD59-A6C34878D82A}">
                    <a16:rowId xmlns:a16="http://schemas.microsoft.com/office/drawing/2014/main" val="1702289103"/>
                  </a:ext>
                </a:extLst>
              </a:tr>
              <a:tr h="17145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fi-FI" sz="7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Etelä-Pohjanmaa</a:t>
                      </a:r>
                    </a:p>
                  </a:txBody>
                  <a:tcPr marL="68580" marR="68580" marT="34290" marB="34290" anchor="ctr">
                    <a:solidFill>
                      <a:srgbClr val="1B2D5F"/>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chemeClr val="accent6">
                        <a:lumMod val="60000"/>
                        <a:lumOff val="40000"/>
                      </a:schemeClr>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i-FI" sz="700" b="0" i="0" u="none" strike="noStrike" kern="1200" cap="none" spc="0" normalizeH="0" baseline="0" noProof="0" dirty="0">
                        <a:ln>
                          <a:noFill/>
                        </a:ln>
                        <a:solidFill>
                          <a:prstClr val="black"/>
                        </a:solidFill>
                        <a:effectLst/>
                        <a:uLnTx/>
                        <a:uFillTx/>
                        <a:latin typeface="Arial"/>
                        <a:ea typeface="+mn-ea"/>
                        <a:cs typeface="+mn-cs"/>
                      </a:endParaRPr>
                    </a:p>
                  </a:txBody>
                  <a:tcPr marL="68580" marR="68580" marT="34290" marB="34290" anchor="ctr">
                    <a:solidFill>
                      <a:schemeClr val="accent6">
                        <a:lumMod val="60000"/>
                        <a:lumOff val="40000"/>
                      </a:schemeClr>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rgbClr val="FFFF00"/>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chemeClr val="accent6">
                        <a:lumMod val="60000"/>
                        <a:lumOff val="40000"/>
                      </a:schemeClr>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chemeClr val="accent6">
                        <a:lumMod val="60000"/>
                        <a:lumOff val="40000"/>
                      </a:schemeClr>
                    </a:solidFill>
                  </a:tcPr>
                </a:tc>
                <a:extLst>
                  <a:ext uri="{0D108BD9-81ED-4DB2-BD59-A6C34878D82A}">
                    <a16:rowId xmlns:a16="http://schemas.microsoft.com/office/drawing/2014/main" val="2159941853"/>
                  </a:ext>
                </a:extLst>
              </a:tr>
              <a:tr h="17145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fi-FI" sz="7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Etelä-Savo</a:t>
                      </a:r>
                    </a:p>
                  </a:txBody>
                  <a:tcPr marL="68580" marR="68580" marT="34290" marB="34290" anchor="ctr">
                    <a:solidFill>
                      <a:srgbClr val="1B2D5F"/>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chemeClr val="accent6">
                        <a:lumMod val="60000"/>
                        <a:lumOff val="40000"/>
                      </a:schemeClr>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i-FI" sz="700" b="1" i="0" u="none" strike="noStrike" kern="1200" cap="none" spc="0" normalizeH="0" baseline="0" noProof="0" dirty="0">
                        <a:ln>
                          <a:noFill/>
                        </a:ln>
                        <a:solidFill>
                          <a:prstClr val="black"/>
                        </a:solidFill>
                        <a:effectLst/>
                        <a:uLnTx/>
                        <a:uFillTx/>
                        <a:latin typeface="Arial"/>
                        <a:ea typeface="+mn-ea"/>
                        <a:cs typeface="+mn-cs"/>
                      </a:endParaRPr>
                    </a:p>
                  </a:txBody>
                  <a:tcPr marL="68580" marR="68580" marT="34290" marB="34290" anchor="ctr">
                    <a:solidFill>
                      <a:schemeClr val="accent6">
                        <a:lumMod val="60000"/>
                        <a:lumOff val="40000"/>
                      </a:schemeClr>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chemeClr val="accent6">
                        <a:lumMod val="60000"/>
                        <a:lumOff val="40000"/>
                      </a:schemeClr>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chemeClr val="accent6">
                        <a:lumMod val="60000"/>
                        <a:lumOff val="40000"/>
                      </a:schemeClr>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chemeClr val="accent6">
                        <a:lumMod val="60000"/>
                        <a:lumOff val="40000"/>
                      </a:schemeClr>
                    </a:solidFill>
                  </a:tcPr>
                </a:tc>
                <a:extLst>
                  <a:ext uri="{0D108BD9-81ED-4DB2-BD59-A6C34878D82A}">
                    <a16:rowId xmlns:a16="http://schemas.microsoft.com/office/drawing/2014/main" val="3732663495"/>
                  </a:ext>
                </a:extLst>
              </a:tr>
              <a:tr h="171450">
                <a:tc>
                  <a:txBody>
                    <a:bodyPr/>
                    <a:lstStyle/>
                    <a:p>
                      <a:r>
                        <a:rPr kumimoji="0" lang="fi-FI" sz="7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Helsinki</a:t>
                      </a:r>
                      <a:endParaRPr lang="fi-FI" sz="700" b="0" i="0" dirty="0">
                        <a:solidFill>
                          <a:schemeClr val="bg1"/>
                        </a:solidFill>
                        <a:latin typeface="Arial" panose="020B0604020202020204" pitchFamily="34" charset="0"/>
                        <a:cs typeface="Arial" panose="020B0604020202020204" pitchFamily="34" charset="0"/>
                      </a:endParaRPr>
                    </a:p>
                  </a:txBody>
                  <a:tcPr marL="68580" marR="68580" marT="34290" marB="34290" anchor="ctr">
                    <a:solidFill>
                      <a:srgbClr val="1B2D5F"/>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rgbClr val="AEDF74"/>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i-FI" sz="700" b="0" i="0" u="none" strike="noStrike" kern="1200" cap="none" spc="0" normalizeH="0" baseline="0" noProof="0" dirty="0">
                        <a:ln>
                          <a:noFill/>
                        </a:ln>
                        <a:solidFill>
                          <a:prstClr val="black"/>
                        </a:solidFill>
                        <a:effectLst/>
                        <a:uLnTx/>
                        <a:uFillTx/>
                        <a:latin typeface="Arial"/>
                        <a:ea typeface="+mn-ea"/>
                        <a:cs typeface="+mn-cs"/>
                      </a:endParaRPr>
                    </a:p>
                  </a:txBody>
                  <a:tcPr marL="68580" marR="68580" marT="34290" marB="34290" anchor="ctr">
                    <a:solidFill>
                      <a:srgbClr val="AEDF74"/>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rgbClr val="AEDF74"/>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rgbClr val="AEDF74"/>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rgbClr val="AEDF74"/>
                    </a:solidFill>
                  </a:tcPr>
                </a:tc>
                <a:extLst>
                  <a:ext uri="{0D108BD9-81ED-4DB2-BD59-A6C34878D82A}">
                    <a16:rowId xmlns:a16="http://schemas.microsoft.com/office/drawing/2014/main" val="2498435104"/>
                  </a:ext>
                </a:extLst>
              </a:tr>
              <a:tr h="171450">
                <a:tc>
                  <a:txBody>
                    <a:bodyPr/>
                    <a:lstStyle/>
                    <a:p>
                      <a:r>
                        <a:rPr lang="fi-FI" sz="700" b="0" i="0" u="none" strike="noStrike" dirty="0">
                          <a:solidFill>
                            <a:schemeClr val="bg1"/>
                          </a:solidFill>
                          <a:effectLst/>
                          <a:latin typeface="Arial" panose="020B0604020202020204" pitchFamily="34" charset="0"/>
                          <a:cs typeface="Arial" panose="020B0604020202020204" pitchFamily="34" charset="0"/>
                        </a:rPr>
                        <a:t>HUS</a:t>
                      </a:r>
                      <a:endParaRPr lang="fi-FI" sz="700" b="0" i="0" dirty="0">
                        <a:solidFill>
                          <a:schemeClr val="bg1"/>
                        </a:solidFill>
                        <a:latin typeface="Arial" panose="020B0604020202020204" pitchFamily="34" charset="0"/>
                        <a:cs typeface="Arial" panose="020B0604020202020204" pitchFamily="34" charset="0"/>
                      </a:endParaRPr>
                    </a:p>
                  </a:txBody>
                  <a:tcPr marL="68580" marR="68580" marT="34290" marB="34290" anchor="ctr">
                    <a:solidFill>
                      <a:srgbClr val="1B2D5F"/>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chemeClr val="accent6">
                        <a:lumMod val="60000"/>
                        <a:lumOff val="40000"/>
                      </a:schemeClr>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i-FI" sz="700" b="0" i="0" u="none" strike="noStrike" kern="1200" cap="none" spc="0" normalizeH="0" baseline="0" noProof="0" dirty="0">
                        <a:ln>
                          <a:noFill/>
                        </a:ln>
                        <a:solidFill>
                          <a:prstClr val="black"/>
                        </a:solidFill>
                        <a:effectLst/>
                        <a:uLnTx/>
                        <a:uFillTx/>
                        <a:latin typeface="Arial"/>
                        <a:ea typeface="+mn-ea"/>
                        <a:cs typeface="+mn-cs"/>
                      </a:endParaRPr>
                    </a:p>
                  </a:txBody>
                  <a:tcPr marL="68580" marR="68580" marT="34290" marB="34290" anchor="ctr">
                    <a:solidFill>
                      <a:schemeClr val="accent6">
                        <a:lumMod val="60000"/>
                        <a:lumOff val="40000"/>
                      </a:schemeClr>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fi-FI" sz="700" i="1" dirty="0"/>
                        <a:t>Ei koske HUSia</a:t>
                      </a:r>
                    </a:p>
                  </a:txBody>
                  <a:tcPr marL="68580" marR="68580" marT="34290" marB="34290" anchor="ctr">
                    <a:solidFill>
                      <a:schemeClr val="bg1">
                        <a:lumMod val="95000"/>
                      </a:schemeClr>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fi-FI" sz="700" i="1" dirty="0"/>
                        <a:t>Ei koske HUSia</a:t>
                      </a:r>
                    </a:p>
                  </a:txBody>
                  <a:tcPr marL="68580" marR="68580" marT="34290" marB="34290" anchor="ctr">
                    <a:solidFill>
                      <a:schemeClr val="bg1">
                        <a:lumMod val="95000"/>
                      </a:schemeClr>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chemeClr val="accent6">
                        <a:lumMod val="60000"/>
                        <a:lumOff val="40000"/>
                      </a:schemeClr>
                    </a:solidFill>
                  </a:tcPr>
                </a:tc>
                <a:extLst>
                  <a:ext uri="{0D108BD9-81ED-4DB2-BD59-A6C34878D82A}">
                    <a16:rowId xmlns:a16="http://schemas.microsoft.com/office/drawing/2014/main" val="675357191"/>
                  </a:ext>
                </a:extLst>
              </a:tr>
              <a:tr h="171450">
                <a:tc>
                  <a:txBody>
                    <a:bodyPr/>
                    <a:lstStyle/>
                    <a:p>
                      <a:r>
                        <a:rPr lang="fi-FI" sz="700" b="0" i="0" u="none" strike="noStrike" dirty="0">
                          <a:solidFill>
                            <a:schemeClr val="bg1"/>
                          </a:solidFill>
                          <a:effectLst/>
                          <a:latin typeface="Arial" panose="020B0604020202020204" pitchFamily="34" charset="0"/>
                          <a:cs typeface="Arial" panose="020B0604020202020204" pitchFamily="34" charset="0"/>
                        </a:rPr>
                        <a:t>Itä-Uusimaa</a:t>
                      </a:r>
                      <a:endParaRPr lang="fi-FI" sz="700" b="0" i="0" dirty="0">
                        <a:solidFill>
                          <a:schemeClr val="bg1"/>
                        </a:solidFill>
                        <a:latin typeface="Arial" panose="020B0604020202020204" pitchFamily="34" charset="0"/>
                        <a:cs typeface="Arial" panose="020B0604020202020204" pitchFamily="34" charset="0"/>
                      </a:endParaRPr>
                    </a:p>
                  </a:txBody>
                  <a:tcPr marL="68580" marR="68580" marT="34290" marB="34290" anchor="ctr">
                    <a:solidFill>
                      <a:srgbClr val="1B2D5F"/>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rgbClr val="FFFF00"/>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i-FI" sz="700" b="0" i="0" u="none" strike="noStrike" kern="1200" cap="none" spc="0" normalizeH="0" baseline="0" noProof="0" dirty="0">
                        <a:ln>
                          <a:noFill/>
                        </a:ln>
                        <a:solidFill>
                          <a:prstClr val="black"/>
                        </a:solidFill>
                        <a:effectLst/>
                        <a:uLnTx/>
                        <a:uFillTx/>
                        <a:latin typeface="Arial"/>
                        <a:ea typeface="+mn-ea"/>
                        <a:cs typeface="+mn-cs"/>
                      </a:endParaRPr>
                    </a:p>
                  </a:txBody>
                  <a:tcPr marL="68580" marR="68580" marT="34290" marB="34290" anchor="ctr">
                    <a:solidFill>
                      <a:schemeClr val="accent6">
                        <a:lumMod val="60000"/>
                        <a:lumOff val="40000"/>
                      </a:schemeClr>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chemeClr val="accent6">
                        <a:lumMod val="60000"/>
                        <a:lumOff val="40000"/>
                      </a:schemeClr>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chemeClr val="accent6">
                        <a:lumMod val="60000"/>
                        <a:lumOff val="40000"/>
                      </a:schemeClr>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chemeClr val="accent6">
                        <a:lumMod val="60000"/>
                        <a:lumOff val="40000"/>
                      </a:schemeClr>
                    </a:solidFill>
                  </a:tcPr>
                </a:tc>
                <a:extLst>
                  <a:ext uri="{0D108BD9-81ED-4DB2-BD59-A6C34878D82A}">
                    <a16:rowId xmlns:a16="http://schemas.microsoft.com/office/drawing/2014/main" val="1495908839"/>
                  </a:ext>
                </a:extLst>
              </a:tr>
              <a:tr h="17145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fi-FI" sz="700" b="0" i="0" u="none" strike="noStrike" dirty="0">
                          <a:solidFill>
                            <a:schemeClr val="bg1"/>
                          </a:solidFill>
                          <a:effectLst/>
                          <a:latin typeface="Arial" panose="020B0604020202020204" pitchFamily="34" charset="0"/>
                          <a:cs typeface="Arial" panose="020B0604020202020204" pitchFamily="34" charset="0"/>
                        </a:rPr>
                        <a:t>Kainuu</a:t>
                      </a:r>
                    </a:p>
                  </a:txBody>
                  <a:tcPr marL="68580" marR="68580" marT="34290" marB="34290" anchor="ctr">
                    <a:solidFill>
                      <a:srgbClr val="1B2D5F"/>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chemeClr val="bg1">
                        <a:lumMod val="95000"/>
                      </a:schemeClr>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i-FI" sz="700" b="0" i="0" u="none" strike="noStrike" kern="1200" cap="none" spc="0" normalizeH="0" baseline="0" noProof="0" dirty="0">
                        <a:ln>
                          <a:noFill/>
                        </a:ln>
                        <a:solidFill>
                          <a:prstClr val="black"/>
                        </a:solidFill>
                        <a:effectLst/>
                        <a:uLnTx/>
                        <a:uFillTx/>
                        <a:latin typeface="Arial"/>
                        <a:ea typeface="+mn-ea"/>
                        <a:cs typeface="+mn-cs"/>
                      </a:endParaRPr>
                    </a:p>
                  </a:txBody>
                  <a:tcPr marL="68580" marR="68580" marT="34290" marB="34290" anchor="ctr">
                    <a:solidFill>
                      <a:schemeClr val="bg1">
                        <a:lumMod val="95000"/>
                      </a:schemeClr>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chemeClr val="bg1">
                        <a:lumMod val="95000"/>
                      </a:schemeClr>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chemeClr val="bg1">
                        <a:lumMod val="95000"/>
                      </a:schemeClr>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chemeClr val="bg1">
                        <a:lumMod val="95000"/>
                      </a:schemeClr>
                    </a:solidFill>
                  </a:tcPr>
                </a:tc>
                <a:extLst>
                  <a:ext uri="{0D108BD9-81ED-4DB2-BD59-A6C34878D82A}">
                    <a16:rowId xmlns:a16="http://schemas.microsoft.com/office/drawing/2014/main" val="1889686027"/>
                  </a:ext>
                </a:extLst>
              </a:tr>
              <a:tr h="17145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fi-FI" sz="700" b="0" i="0" u="none" strike="noStrike" dirty="0">
                          <a:solidFill>
                            <a:schemeClr val="bg1"/>
                          </a:solidFill>
                          <a:effectLst/>
                          <a:latin typeface="Arial" panose="020B0604020202020204" pitchFamily="34" charset="0"/>
                          <a:cs typeface="Arial" panose="020B0604020202020204" pitchFamily="34" charset="0"/>
                        </a:rPr>
                        <a:t>Kanta-Häme</a:t>
                      </a:r>
                    </a:p>
                  </a:txBody>
                  <a:tcPr marL="68580" marR="68580" marT="34290" marB="34290" anchor="ctr">
                    <a:solidFill>
                      <a:srgbClr val="1B2D5F"/>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rgbClr val="AEDF74"/>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i-FI" sz="700" b="0" i="0" u="none" strike="noStrike" kern="1200" cap="none" spc="0" normalizeH="0" baseline="0" noProof="0" dirty="0">
                        <a:ln>
                          <a:noFill/>
                        </a:ln>
                        <a:solidFill>
                          <a:prstClr val="black"/>
                        </a:solidFill>
                        <a:effectLst/>
                        <a:uLnTx/>
                        <a:uFillTx/>
                        <a:latin typeface="Arial"/>
                        <a:ea typeface="+mn-ea"/>
                        <a:cs typeface="+mn-cs"/>
                      </a:endParaRPr>
                    </a:p>
                  </a:txBody>
                  <a:tcPr marL="68580" marR="68580" marT="34290" marB="34290" anchor="ctr">
                    <a:solidFill>
                      <a:srgbClr val="AEDF74"/>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rgbClr val="AEDF74"/>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rgbClr val="FFFF00"/>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rgbClr val="AEDF74"/>
                    </a:solidFill>
                  </a:tcPr>
                </a:tc>
                <a:extLst>
                  <a:ext uri="{0D108BD9-81ED-4DB2-BD59-A6C34878D82A}">
                    <a16:rowId xmlns:a16="http://schemas.microsoft.com/office/drawing/2014/main" val="3169771953"/>
                  </a:ext>
                </a:extLst>
              </a:tr>
              <a:tr h="17145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fi-FI" sz="700" b="0" i="0" u="none" strike="noStrike" dirty="0">
                          <a:solidFill>
                            <a:schemeClr val="bg1"/>
                          </a:solidFill>
                          <a:effectLst/>
                          <a:latin typeface="Arial" panose="020B0604020202020204" pitchFamily="34" charset="0"/>
                          <a:cs typeface="Arial" panose="020B0604020202020204" pitchFamily="34" charset="0"/>
                        </a:rPr>
                        <a:t>Keski-Pohjanmaa</a:t>
                      </a:r>
                    </a:p>
                  </a:txBody>
                  <a:tcPr marL="68580" marR="68580" marT="34290" marB="34290" anchor="ctr">
                    <a:solidFill>
                      <a:srgbClr val="1B2D5F"/>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chemeClr val="accent6">
                        <a:lumMod val="60000"/>
                        <a:lumOff val="40000"/>
                      </a:schemeClr>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i-FI" sz="700" b="0" i="0" u="none" strike="noStrike" kern="1200" cap="none" spc="0" normalizeH="0" baseline="0" noProof="0" dirty="0">
                        <a:ln>
                          <a:noFill/>
                        </a:ln>
                        <a:solidFill>
                          <a:prstClr val="black"/>
                        </a:solidFill>
                        <a:effectLst/>
                        <a:uLnTx/>
                        <a:uFillTx/>
                        <a:latin typeface="Arial"/>
                        <a:ea typeface="+mn-ea"/>
                        <a:cs typeface="+mn-cs"/>
                      </a:endParaRPr>
                    </a:p>
                  </a:txBody>
                  <a:tcPr marL="68580" marR="68580" marT="34290" marB="34290" anchor="ctr">
                    <a:solidFill>
                      <a:schemeClr val="accent6">
                        <a:lumMod val="60000"/>
                        <a:lumOff val="40000"/>
                      </a:schemeClr>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chemeClr val="accent6">
                        <a:lumMod val="60000"/>
                        <a:lumOff val="40000"/>
                      </a:schemeClr>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chemeClr val="accent6">
                        <a:lumMod val="60000"/>
                        <a:lumOff val="40000"/>
                      </a:schemeClr>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chemeClr val="accent6">
                        <a:lumMod val="60000"/>
                        <a:lumOff val="40000"/>
                      </a:schemeClr>
                    </a:solidFill>
                  </a:tcPr>
                </a:tc>
                <a:extLst>
                  <a:ext uri="{0D108BD9-81ED-4DB2-BD59-A6C34878D82A}">
                    <a16:rowId xmlns:a16="http://schemas.microsoft.com/office/drawing/2014/main" val="1111559905"/>
                  </a:ext>
                </a:extLst>
              </a:tr>
              <a:tr h="17145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fi-FI" sz="700" b="0" i="0" u="none" strike="noStrike" dirty="0">
                          <a:solidFill>
                            <a:schemeClr val="bg1"/>
                          </a:solidFill>
                          <a:effectLst/>
                          <a:latin typeface="Arial" panose="020B0604020202020204" pitchFamily="34" charset="0"/>
                          <a:cs typeface="Arial" panose="020B0604020202020204" pitchFamily="34" charset="0"/>
                        </a:rPr>
                        <a:t>Keski-Suomi</a:t>
                      </a:r>
                    </a:p>
                  </a:txBody>
                  <a:tcPr marL="68580" marR="68580" marT="34290" marB="34290" anchor="ctr">
                    <a:solidFill>
                      <a:srgbClr val="1B2D5F"/>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rgbClr val="AEDF74"/>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i-FI" sz="700" b="0" i="0" u="none" strike="noStrike" kern="1200" cap="none" spc="0" normalizeH="0" baseline="0" noProof="0" dirty="0">
                        <a:ln>
                          <a:noFill/>
                        </a:ln>
                        <a:solidFill>
                          <a:prstClr val="black"/>
                        </a:solidFill>
                        <a:effectLst/>
                        <a:uLnTx/>
                        <a:uFillTx/>
                        <a:latin typeface="Arial"/>
                        <a:ea typeface="+mn-ea"/>
                        <a:cs typeface="+mn-cs"/>
                      </a:endParaRPr>
                    </a:p>
                  </a:txBody>
                  <a:tcPr marL="68580" marR="68580" marT="34290" marB="34290" anchor="ctr">
                    <a:solidFill>
                      <a:srgbClr val="AEDF74"/>
                    </a:solidFill>
                  </a:tcPr>
                </a:tc>
                <a:tc>
                  <a:txBody>
                    <a:bodyPr/>
                    <a:lstStyle/>
                    <a:p>
                      <a:pPr algn="ctr"/>
                      <a:endParaRPr lang="fi-FI" sz="700" dirty="0"/>
                    </a:p>
                  </a:txBody>
                  <a:tcPr marL="68580" marR="68580" marT="34290" marB="34290" anchor="ctr">
                    <a:no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rgbClr val="AEDF74"/>
                    </a:solidFill>
                  </a:tcPr>
                </a:tc>
                <a:tc>
                  <a:txBody>
                    <a:bodyPr/>
                    <a:lstStyle/>
                    <a:p>
                      <a:pPr algn="ctr"/>
                      <a:endParaRPr lang="fi-FI" sz="700" dirty="0"/>
                    </a:p>
                  </a:txBody>
                  <a:tcPr marL="68580" marR="68580" marT="34290" marB="34290" anchor="ctr">
                    <a:no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rgbClr val="AEDF74"/>
                    </a:solidFill>
                  </a:tcPr>
                </a:tc>
                <a:tc>
                  <a:txBody>
                    <a:bodyPr/>
                    <a:lstStyle/>
                    <a:p>
                      <a:pPr algn="ctr"/>
                      <a:endParaRPr lang="fi-FI" sz="700" dirty="0"/>
                    </a:p>
                  </a:txBody>
                  <a:tcPr marL="68580" marR="68580" marT="34290" marB="34290" anchor="ctr">
                    <a:no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rgbClr val="AEDF74"/>
                    </a:solidFill>
                  </a:tcPr>
                </a:tc>
                <a:extLst>
                  <a:ext uri="{0D108BD9-81ED-4DB2-BD59-A6C34878D82A}">
                    <a16:rowId xmlns:a16="http://schemas.microsoft.com/office/drawing/2014/main" val="397776029"/>
                  </a:ext>
                </a:extLst>
              </a:tr>
              <a:tr h="17145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fi-FI" sz="700" b="0" i="0" u="none" strike="noStrike" dirty="0">
                          <a:solidFill>
                            <a:schemeClr val="bg1"/>
                          </a:solidFill>
                          <a:effectLst/>
                          <a:latin typeface="Arial" panose="020B0604020202020204" pitchFamily="34" charset="0"/>
                          <a:cs typeface="Arial" panose="020B0604020202020204" pitchFamily="34" charset="0"/>
                        </a:rPr>
                        <a:t>Keski-Uusimaa</a:t>
                      </a:r>
                    </a:p>
                  </a:txBody>
                  <a:tcPr marL="68580" marR="68580" marT="34290" marB="34290" anchor="ctr">
                    <a:solidFill>
                      <a:srgbClr val="1B2D5F"/>
                    </a:solidFill>
                  </a:tcPr>
                </a:tc>
                <a:tc>
                  <a:txBody>
                    <a:bodyPr/>
                    <a:lstStyle/>
                    <a:p>
                      <a:pPr algn="ctr"/>
                      <a:endParaRPr lang="fi-FI" sz="700" dirty="0"/>
                    </a:p>
                  </a:txBody>
                  <a:tcPr marL="68580" marR="68580" marT="34290" marB="34290" anchor="ctr">
                    <a:solidFill>
                      <a:srgbClr val="AEDF74"/>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i-FI" sz="700" b="0" i="0" u="none" strike="noStrike" kern="1200" cap="none" spc="0" normalizeH="0" baseline="0" noProof="0" dirty="0">
                        <a:ln>
                          <a:noFill/>
                        </a:ln>
                        <a:solidFill>
                          <a:prstClr val="black"/>
                        </a:solidFill>
                        <a:effectLst/>
                        <a:uLnTx/>
                        <a:uFillTx/>
                        <a:latin typeface="Arial"/>
                        <a:ea typeface="+mn-ea"/>
                        <a:cs typeface="+mn-cs"/>
                      </a:endParaRPr>
                    </a:p>
                  </a:txBody>
                  <a:tcPr marL="68580" marR="68580" marT="34290" marB="34290" anchor="ctr">
                    <a:solidFill>
                      <a:srgbClr val="AEDF74"/>
                    </a:solidFill>
                  </a:tcPr>
                </a:tc>
                <a:tc>
                  <a:txBody>
                    <a:bodyPr/>
                    <a:lstStyle/>
                    <a:p>
                      <a:pPr algn="ctr"/>
                      <a:endParaRPr lang="fi-FI" sz="700" dirty="0"/>
                    </a:p>
                  </a:txBody>
                  <a:tcPr marL="68580" marR="68580" marT="34290" marB="34290" anchor="ctr">
                    <a:solidFill>
                      <a:schemeClr val="bg1"/>
                    </a:solidFill>
                  </a:tcPr>
                </a:tc>
                <a:tc>
                  <a:txBody>
                    <a:bodyPr/>
                    <a:lstStyle/>
                    <a:p>
                      <a:pPr algn="ctr"/>
                      <a:endParaRPr lang="fi-FI" sz="700" dirty="0"/>
                    </a:p>
                  </a:txBody>
                  <a:tcPr marL="68580" marR="68580" marT="34290" marB="34290" anchor="ctr">
                    <a:solidFill>
                      <a:srgbClr val="AEDF74"/>
                    </a:solidFill>
                  </a:tcPr>
                </a:tc>
                <a:tc>
                  <a:txBody>
                    <a:bodyPr/>
                    <a:lstStyle/>
                    <a:p>
                      <a:pPr algn="ctr"/>
                      <a:endParaRPr lang="fi-FI" sz="700" dirty="0"/>
                    </a:p>
                  </a:txBody>
                  <a:tcPr marL="68580" marR="68580" marT="34290" marB="34290" anchor="ctr">
                    <a:solidFill>
                      <a:schemeClr val="bg1"/>
                    </a:solidFill>
                  </a:tcPr>
                </a:tc>
                <a:tc>
                  <a:txBody>
                    <a:bodyPr/>
                    <a:lstStyle/>
                    <a:p>
                      <a:pPr algn="ctr"/>
                      <a:endParaRPr lang="fi-FI" sz="700" dirty="0"/>
                    </a:p>
                  </a:txBody>
                  <a:tcPr marL="68580" marR="68580" marT="34290" marB="34290" anchor="ctr">
                    <a:solidFill>
                      <a:srgbClr val="AEDF74"/>
                    </a:solidFill>
                  </a:tcPr>
                </a:tc>
                <a:tc>
                  <a:txBody>
                    <a:bodyPr/>
                    <a:lstStyle/>
                    <a:p>
                      <a:pPr algn="ctr"/>
                      <a:endParaRPr lang="fi-FI" sz="700" dirty="0"/>
                    </a:p>
                  </a:txBody>
                  <a:tcPr marL="68580" marR="68580" marT="34290" marB="34290" anchor="ctr">
                    <a:solidFill>
                      <a:schemeClr val="bg1"/>
                    </a:solidFill>
                  </a:tcPr>
                </a:tc>
                <a:tc>
                  <a:txBody>
                    <a:bodyPr/>
                    <a:lstStyle/>
                    <a:p>
                      <a:pPr algn="ctr"/>
                      <a:endParaRPr lang="fi-FI" sz="700" dirty="0"/>
                    </a:p>
                  </a:txBody>
                  <a:tcPr marL="68580" marR="68580" marT="34290" marB="34290" anchor="ctr">
                    <a:solidFill>
                      <a:srgbClr val="AEDF74"/>
                    </a:solidFill>
                  </a:tcPr>
                </a:tc>
                <a:extLst>
                  <a:ext uri="{0D108BD9-81ED-4DB2-BD59-A6C34878D82A}">
                    <a16:rowId xmlns:a16="http://schemas.microsoft.com/office/drawing/2014/main" val="1811886133"/>
                  </a:ext>
                </a:extLst>
              </a:tr>
              <a:tr h="17145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fi-FI" sz="700" b="0" i="0" u="none" strike="noStrike" dirty="0">
                          <a:solidFill>
                            <a:schemeClr val="bg1"/>
                          </a:solidFill>
                          <a:effectLst/>
                          <a:latin typeface="Arial" panose="020B0604020202020204" pitchFamily="34" charset="0"/>
                          <a:cs typeface="Arial" panose="020B0604020202020204" pitchFamily="34" charset="0"/>
                        </a:rPr>
                        <a:t>Kymenlaakso</a:t>
                      </a:r>
                    </a:p>
                  </a:txBody>
                  <a:tcPr marL="68580" marR="68580" marT="34290" marB="34290" anchor="ctr">
                    <a:solidFill>
                      <a:srgbClr val="1B2D5F"/>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chemeClr val="accent6">
                        <a:lumMod val="60000"/>
                        <a:lumOff val="40000"/>
                      </a:schemeClr>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i-FI" sz="700" b="0" i="0" u="none" strike="noStrike" kern="1200" cap="none" spc="0" normalizeH="0" baseline="0" noProof="0" dirty="0">
                        <a:ln>
                          <a:noFill/>
                        </a:ln>
                        <a:solidFill>
                          <a:prstClr val="black"/>
                        </a:solidFill>
                        <a:effectLst/>
                        <a:uLnTx/>
                        <a:uFillTx/>
                        <a:latin typeface="Arial"/>
                        <a:ea typeface="+mn-ea"/>
                        <a:cs typeface="+mn-cs"/>
                      </a:endParaRPr>
                    </a:p>
                  </a:txBody>
                  <a:tcPr marL="68580" marR="68580" marT="34290" marB="34290" anchor="ctr">
                    <a:solidFill>
                      <a:schemeClr val="accent6">
                        <a:lumMod val="60000"/>
                        <a:lumOff val="40000"/>
                      </a:schemeClr>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chemeClr val="accent6">
                        <a:lumMod val="60000"/>
                        <a:lumOff val="40000"/>
                      </a:schemeClr>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chemeClr val="accent6">
                        <a:lumMod val="60000"/>
                        <a:lumOff val="40000"/>
                      </a:schemeClr>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chemeClr val="accent6">
                        <a:lumMod val="60000"/>
                        <a:lumOff val="40000"/>
                      </a:schemeClr>
                    </a:solidFill>
                  </a:tcPr>
                </a:tc>
                <a:extLst>
                  <a:ext uri="{0D108BD9-81ED-4DB2-BD59-A6C34878D82A}">
                    <a16:rowId xmlns:a16="http://schemas.microsoft.com/office/drawing/2014/main" val="152771585"/>
                  </a:ext>
                </a:extLst>
              </a:tr>
              <a:tr h="17145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fi-FI" sz="700" b="0" i="0" u="none" strike="noStrike" dirty="0">
                          <a:solidFill>
                            <a:schemeClr val="bg1"/>
                          </a:solidFill>
                          <a:effectLst/>
                          <a:latin typeface="Arial" panose="020B0604020202020204" pitchFamily="34" charset="0"/>
                          <a:cs typeface="Arial" panose="020B0604020202020204" pitchFamily="34" charset="0"/>
                        </a:rPr>
                        <a:t>Lappi</a:t>
                      </a:r>
                    </a:p>
                  </a:txBody>
                  <a:tcPr marL="68580" marR="68580" marT="34290" marB="34290" anchor="ctr">
                    <a:solidFill>
                      <a:srgbClr val="1B2D5F"/>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chemeClr val="accent6">
                        <a:lumMod val="60000"/>
                        <a:lumOff val="40000"/>
                      </a:schemeClr>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i-FI" sz="700" b="0" i="0" u="none" strike="noStrike" kern="1200" cap="none" spc="0" normalizeH="0" baseline="0" noProof="0" dirty="0">
                        <a:ln>
                          <a:noFill/>
                        </a:ln>
                        <a:solidFill>
                          <a:prstClr val="black"/>
                        </a:solidFill>
                        <a:effectLst/>
                        <a:uLnTx/>
                        <a:uFillTx/>
                        <a:latin typeface="Arial"/>
                        <a:ea typeface="+mn-ea"/>
                        <a:cs typeface="+mn-cs"/>
                      </a:endParaRPr>
                    </a:p>
                  </a:txBody>
                  <a:tcPr marL="68580" marR="68580" marT="34290" marB="34290" anchor="ctr">
                    <a:solidFill>
                      <a:schemeClr val="accent6">
                        <a:lumMod val="60000"/>
                        <a:lumOff val="40000"/>
                      </a:schemeClr>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chemeClr val="accent6">
                        <a:lumMod val="60000"/>
                        <a:lumOff val="40000"/>
                      </a:schemeClr>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chemeClr val="accent6">
                        <a:lumMod val="60000"/>
                        <a:lumOff val="40000"/>
                      </a:schemeClr>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chemeClr val="accent6">
                        <a:lumMod val="60000"/>
                        <a:lumOff val="40000"/>
                      </a:schemeClr>
                    </a:solidFill>
                  </a:tcPr>
                </a:tc>
                <a:extLst>
                  <a:ext uri="{0D108BD9-81ED-4DB2-BD59-A6C34878D82A}">
                    <a16:rowId xmlns:a16="http://schemas.microsoft.com/office/drawing/2014/main" val="2010193534"/>
                  </a:ext>
                </a:extLst>
              </a:tr>
              <a:tr h="17145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fi-FI" sz="700" b="0" i="0" u="none" strike="noStrike" dirty="0">
                          <a:solidFill>
                            <a:schemeClr val="bg1"/>
                          </a:solidFill>
                          <a:effectLst/>
                          <a:latin typeface="Arial" panose="020B0604020202020204" pitchFamily="34" charset="0"/>
                          <a:cs typeface="Arial" panose="020B0604020202020204" pitchFamily="34" charset="0"/>
                        </a:rPr>
                        <a:t>Länsi-Uusimaa</a:t>
                      </a:r>
                    </a:p>
                  </a:txBody>
                  <a:tcPr marL="68580" marR="68580" marT="34290" marB="34290" anchor="ctr">
                    <a:solidFill>
                      <a:srgbClr val="1B2D5F"/>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rgbClr val="FFFF00"/>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i-FI" sz="700" b="0" i="0" u="none" strike="noStrike" kern="1200" cap="none" spc="0" normalizeH="0" baseline="0" noProof="0" dirty="0">
                        <a:ln>
                          <a:noFill/>
                        </a:ln>
                        <a:solidFill>
                          <a:prstClr val="black"/>
                        </a:solidFill>
                        <a:effectLst/>
                        <a:uLnTx/>
                        <a:uFillTx/>
                        <a:latin typeface="Arial"/>
                        <a:ea typeface="+mn-ea"/>
                        <a:cs typeface="+mn-cs"/>
                      </a:endParaRPr>
                    </a:p>
                  </a:txBody>
                  <a:tcPr marL="68580" marR="68580" marT="34290" marB="34290" anchor="ctr">
                    <a:solidFill>
                      <a:srgbClr val="AEDF74"/>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rgbClr val="AEDF74"/>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rgbClr val="AEDF74"/>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rgbClr val="AEDF74"/>
                    </a:solidFill>
                  </a:tcPr>
                </a:tc>
                <a:extLst>
                  <a:ext uri="{0D108BD9-81ED-4DB2-BD59-A6C34878D82A}">
                    <a16:rowId xmlns:a16="http://schemas.microsoft.com/office/drawing/2014/main" val="3089840446"/>
                  </a:ext>
                </a:extLst>
              </a:tr>
              <a:tr h="17145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fi-FI" sz="700" b="0" i="0" u="none" strike="noStrike" dirty="0">
                          <a:solidFill>
                            <a:schemeClr val="bg1"/>
                          </a:solidFill>
                          <a:effectLst/>
                          <a:latin typeface="Arial" panose="020B0604020202020204" pitchFamily="34" charset="0"/>
                          <a:cs typeface="Arial" panose="020B0604020202020204" pitchFamily="34" charset="0"/>
                        </a:rPr>
                        <a:t>Pirkanmaa</a:t>
                      </a:r>
                    </a:p>
                  </a:txBody>
                  <a:tcPr marL="68580" marR="68580" marT="34290" marB="34290" anchor="ctr">
                    <a:solidFill>
                      <a:srgbClr val="1B2D5F"/>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rgbClr val="AEDF74"/>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i-FI" sz="700" b="0" i="0" u="none" strike="noStrike" kern="1200" cap="none" spc="0" normalizeH="0" baseline="0" noProof="0" dirty="0">
                        <a:ln>
                          <a:noFill/>
                        </a:ln>
                        <a:solidFill>
                          <a:prstClr val="black"/>
                        </a:solidFill>
                        <a:effectLst/>
                        <a:uLnTx/>
                        <a:uFillTx/>
                        <a:latin typeface="Arial"/>
                        <a:ea typeface="+mn-ea"/>
                        <a:cs typeface="+mn-cs"/>
                      </a:endParaRPr>
                    </a:p>
                  </a:txBody>
                  <a:tcPr marL="68580" marR="68580" marT="34290" marB="34290" anchor="ctr">
                    <a:solidFill>
                      <a:srgbClr val="AEDF74"/>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rgbClr val="AEDF74"/>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rgbClr val="AEDF74"/>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rgbClr val="AEDF74"/>
                    </a:solidFill>
                  </a:tcPr>
                </a:tc>
                <a:extLst>
                  <a:ext uri="{0D108BD9-81ED-4DB2-BD59-A6C34878D82A}">
                    <a16:rowId xmlns:a16="http://schemas.microsoft.com/office/drawing/2014/main" val="1757803889"/>
                  </a:ext>
                </a:extLst>
              </a:tr>
              <a:tr h="17145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fi-FI" sz="700" b="0" i="0" u="none" strike="noStrike" dirty="0">
                          <a:solidFill>
                            <a:schemeClr val="bg1"/>
                          </a:solidFill>
                          <a:effectLst/>
                          <a:latin typeface="Arial" panose="020B0604020202020204" pitchFamily="34" charset="0"/>
                          <a:cs typeface="Arial" panose="020B0604020202020204" pitchFamily="34" charset="0"/>
                        </a:rPr>
                        <a:t>Pohjanmaa</a:t>
                      </a:r>
                    </a:p>
                  </a:txBody>
                  <a:tcPr marL="68580" marR="68580" marT="34290" marB="34290" anchor="ctr">
                    <a:solidFill>
                      <a:srgbClr val="1B2D5F"/>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chemeClr val="accent6">
                        <a:lumMod val="60000"/>
                        <a:lumOff val="40000"/>
                      </a:schemeClr>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i-FI" sz="700" b="0" i="0" u="none" strike="noStrike" kern="1200" cap="none" spc="0" normalizeH="0" baseline="0" noProof="0" dirty="0">
                        <a:ln>
                          <a:noFill/>
                        </a:ln>
                        <a:solidFill>
                          <a:prstClr val="black"/>
                        </a:solidFill>
                        <a:effectLst/>
                        <a:uLnTx/>
                        <a:uFillTx/>
                        <a:latin typeface="Arial"/>
                        <a:ea typeface="+mn-ea"/>
                        <a:cs typeface="+mn-cs"/>
                      </a:endParaRPr>
                    </a:p>
                  </a:txBody>
                  <a:tcPr marL="68580" marR="68580" marT="34290" marB="34290" anchor="ctr">
                    <a:solidFill>
                      <a:schemeClr val="accent6">
                        <a:lumMod val="60000"/>
                        <a:lumOff val="40000"/>
                      </a:schemeClr>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chemeClr val="accent6">
                        <a:lumMod val="60000"/>
                        <a:lumOff val="40000"/>
                      </a:schemeClr>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chemeClr val="accent6">
                        <a:lumMod val="60000"/>
                        <a:lumOff val="40000"/>
                      </a:schemeClr>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chemeClr val="accent6">
                        <a:lumMod val="60000"/>
                        <a:lumOff val="40000"/>
                      </a:schemeClr>
                    </a:solidFill>
                  </a:tcPr>
                </a:tc>
                <a:extLst>
                  <a:ext uri="{0D108BD9-81ED-4DB2-BD59-A6C34878D82A}">
                    <a16:rowId xmlns:a16="http://schemas.microsoft.com/office/drawing/2014/main" val="1466158922"/>
                  </a:ext>
                </a:extLst>
              </a:tr>
              <a:tr h="17145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fi-FI" sz="700" b="0" i="0" u="none" strike="noStrike" dirty="0">
                          <a:solidFill>
                            <a:schemeClr val="bg1"/>
                          </a:solidFill>
                          <a:effectLst/>
                          <a:latin typeface="Arial" panose="020B0604020202020204" pitchFamily="34" charset="0"/>
                          <a:cs typeface="Arial" panose="020B0604020202020204" pitchFamily="34" charset="0"/>
                        </a:rPr>
                        <a:t>Pohjois-Karjala</a:t>
                      </a:r>
                    </a:p>
                  </a:txBody>
                  <a:tcPr marL="68580" marR="68580" marT="34290" marB="34290" anchor="ctr">
                    <a:solidFill>
                      <a:srgbClr val="1B2D5F"/>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rgbClr val="AEDF74"/>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i-FI" sz="700" b="0" i="0" u="none" strike="noStrike" kern="1200" cap="none" spc="0" normalizeH="0" baseline="0" noProof="0" dirty="0">
                        <a:ln>
                          <a:noFill/>
                        </a:ln>
                        <a:solidFill>
                          <a:prstClr val="black"/>
                        </a:solidFill>
                        <a:effectLst/>
                        <a:uLnTx/>
                        <a:uFillTx/>
                        <a:latin typeface="Arial"/>
                        <a:ea typeface="+mn-ea"/>
                        <a:cs typeface="+mn-cs"/>
                      </a:endParaRPr>
                    </a:p>
                  </a:txBody>
                  <a:tcPr marL="68580" marR="68580" marT="34290" marB="34290" anchor="ctr">
                    <a:solidFill>
                      <a:srgbClr val="AEDF74"/>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rgbClr val="AEDF74"/>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rgbClr val="AEDF74"/>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rgbClr val="AEDF74"/>
                    </a:solidFill>
                  </a:tcPr>
                </a:tc>
                <a:extLst>
                  <a:ext uri="{0D108BD9-81ED-4DB2-BD59-A6C34878D82A}">
                    <a16:rowId xmlns:a16="http://schemas.microsoft.com/office/drawing/2014/main" val="3224007039"/>
                  </a:ext>
                </a:extLst>
              </a:tr>
              <a:tr h="17145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fi-FI" sz="700" b="0" i="0" u="none" strike="noStrike" dirty="0">
                          <a:solidFill>
                            <a:schemeClr val="bg1"/>
                          </a:solidFill>
                          <a:effectLst/>
                          <a:latin typeface="Arial" panose="020B0604020202020204" pitchFamily="34" charset="0"/>
                          <a:cs typeface="Arial" panose="020B0604020202020204" pitchFamily="34" charset="0"/>
                        </a:rPr>
                        <a:t>Pohjois-Pohjanmaa</a:t>
                      </a:r>
                    </a:p>
                  </a:txBody>
                  <a:tcPr marL="68580" marR="68580" marT="34290" marB="34290" anchor="ctr">
                    <a:solidFill>
                      <a:srgbClr val="1B2D5F"/>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chemeClr val="accent6">
                        <a:lumMod val="60000"/>
                        <a:lumOff val="40000"/>
                      </a:schemeClr>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i-FI" sz="700" b="0" i="0" u="none" strike="noStrike" kern="1200" cap="none" spc="0" normalizeH="0" baseline="0" noProof="0" dirty="0">
                        <a:ln>
                          <a:noFill/>
                        </a:ln>
                        <a:solidFill>
                          <a:prstClr val="black"/>
                        </a:solidFill>
                        <a:effectLst/>
                        <a:uLnTx/>
                        <a:uFillTx/>
                        <a:latin typeface="Arial"/>
                        <a:ea typeface="+mn-ea"/>
                        <a:cs typeface="+mn-cs"/>
                      </a:endParaRPr>
                    </a:p>
                  </a:txBody>
                  <a:tcPr marL="68580" marR="68580" marT="34290" marB="34290" anchor="ctr">
                    <a:solidFill>
                      <a:schemeClr val="accent6">
                        <a:lumMod val="60000"/>
                        <a:lumOff val="40000"/>
                      </a:schemeClr>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chemeClr val="accent6">
                        <a:lumMod val="60000"/>
                        <a:lumOff val="40000"/>
                      </a:schemeClr>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chemeClr val="accent6">
                        <a:lumMod val="60000"/>
                        <a:lumOff val="40000"/>
                      </a:schemeClr>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chemeClr val="accent6">
                        <a:lumMod val="60000"/>
                        <a:lumOff val="40000"/>
                      </a:schemeClr>
                    </a:solidFill>
                  </a:tcPr>
                </a:tc>
                <a:extLst>
                  <a:ext uri="{0D108BD9-81ED-4DB2-BD59-A6C34878D82A}">
                    <a16:rowId xmlns:a16="http://schemas.microsoft.com/office/drawing/2014/main" val="2147457331"/>
                  </a:ext>
                </a:extLst>
              </a:tr>
              <a:tr h="17145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fi-FI" sz="700" b="0" i="0" u="none" strike="noStrike" dirty="0">
                          <a:solidFill>
                            <a:schemeClr val="bg1"/>
                          </a:solidFill>
                          <a:effectLst/>
                          <a:latin typeface="Arial" panose="020B0604020202020204" pitchFamily="34" charset="0"/>
                          <a:cs typeface="Arial" panose="020B0604020202020204" pitchFamily="34" charset="0"/>
                        </a:rPr>
                        <a:t>Pohjois-Savo</a:t>
                      </a:r>
                    </a:p>
                  </a:txBody>
                  <a:tcPr marL="68580" marR="68580" marT="34290" marB="34290" anchor="ctr">
                    <a:solidFill>
                      <a:srgbClr val="1B2D5F"/>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chemeClr val="accent6">
                        <a:lumMod val="60000"/>
                        <a:lumOff val="40000"/>
                      </a:schemeClr>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i-FI" sz="700" b="0" i="0" u="none" strike="noStrike" kern="1200" cap="none" spc="0" normalizeH="0" baseline="0" noProof="0" dirty="0">
                        <a:ln>
                          <a:noFill/>
                        </a:ln>
                        <a:solidFill>
                          <a:prstClr val="black"/>
                        </a:solidFill>
                        <a:effectLst/>
                        <a:uLnTx/>
                        <a:uFillTx/>
                        <a:latin typeface="Arial"/>
                        <a:ea typeface="+mn-ea"/>
                        <a:cs typeface="+mn-cs"/>
                      </a:endParaRPr>
                    </a:p>
                  </a:txBody>
                  <a:tcPr marL="68580" marR="68580" marT="34290" marB="34290" anchor="ctr">
                    <a:solidFill>
                      <a:schemeClr val="accent6">
                        <a:lumMod val="60000"/>
                        <a:lumOff val="40000"/>
                      </a:schemeClr>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chemeClr val="accent6">
                        <a:lumMod val="60000"/>
                        <a:lumOff val="40000"/>
                      </a:schemeClr>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chemeClr val="accent6">
                        <a:lumMod val="60000"/>
                        <a:lumOff val="40000"/>
                      </a:schemeClr>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chemeClr val="accent6">
                        <a:lumMod val="60000"/>
                        <a:lumOff val="40000"/>
                      </a:schemeClr>
                    </a:solidFill>
                  </a:tcPr>
                </a:tc>
                <a:extLst>
                  <a:ext uri="{0D108BD9-81ED-4DB2-BD59-A6C34878D82A}">
                    <a16:rowId xmlns:a16="http://schemas.microsoft.com/office/drawing/2014/main" val="3672070631"/>
                  </a:ext>
                </a:extLst>
              </a:tr>
              <a:tr h="17145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fi-FI" sz="700" b="0" i="0" u="none" strike="noStrike" dirty="0">
                          <a:solidFill>
                            <a:schemeClr val="bg1"/>
                          </a:solidFill>
                          <a:effectLst/>
                          <a:latin typeface="Arial" panose="020B0604020202020204" pitchFamily="34" charset="0"/>
                          <a:cs typeface="Arial" panose="020B0604020202020204" pitchFamily="34" charset="0"/>
                        </a:rPr>
                        <a:t>Päijät-Häme</a:t>
                      </a:r>
                    </a:p>
                  </a:txBody>
                  <a:tcPr marL="68580" marR="68580" marT="34290" marB="34290" anchor="ctr">
                    <a:solidFill>
                      <a:srgbClr val="1B2D5F"/>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chemeClr val="accent6">
                        <a:lumMod val="60000"/>
                        <a:lumOff val="40000"/>
                      </a:schemeClr>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i-FI" sz="700" b="0" i="0" u="none" strike="noStrike" kern="1200" cap="none" spc="0" normalizeH="0" baseline="0" noProof="0" dirty="0">
                        <a:ln>
                          <a:noFill/>
                        </a:ln>
                        <a:solidFill>
                          <a:prstClr val="black"/>
                        </a:solidFill>
                        <a:effectLst/>
                        <a:uLnTx/>
                        <a:uFillTx/>
                        <a:latin typeface="Arial"/>
                        <a:ea typeface="+mn-ea"/>
                        <a:cs typeface="+mn-cs"/>
                      </a:endParaRPr>
                    </a:p>
                  </a:txBody>
                  <a:tcPr marL="68580" marR="68580" marT="34290" marB="34290" anchor="ctr">
                    <a:solidFill>
                      <a:schemeClr val="accent6">
                        <a:lumMod val="60000"/>
                        <a:lumOff val="40000"/>
                      </a:schemeClr>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chemeClr val="accent6">
                        <a:lumMod val="60000"/>
                        <a:lumOff val="40000"/>
                      </a:schemeClr>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chemeClr val="accent6">
                        <a:lumMod val="60000"/>
                        <a:lumOff val="40000"/>
                      </a:schemeClr>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chemeClr val="accent6">
                        <a:lumMod val="60000"/>
                        <a:lumOff val="40000"/>
                      </a:schemeClr>
                    </a:solidFill>
                  </a:tcPr>
                </a:tc>
                <a:extLst>
                  <a:ext uri="{0D108BD9-81ED-4DB2-BD59-A6C34878D82A}">
                    <a16:rowId xmlns:a16="http://schemas.microsoft.com/office/drawing/2014/main" val="957775216"/>
                  </a:ext>
                </a:extLst>
              </a:tr>
              <a:tr h="17145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fi-FI" sz="700" b="0" i="0" u="none" strike="noStrike" dirty="0">
                          <a:solidFill>
                            <a:schemeClr val="bg1"/>
                          </a:solidFill>
                          <a:effectLst/>
                          <a:latin typeface="Arial" panose="020B0604020202020204" pitchFamily="34" charset="0"/>
                          <a:cs typeface="Arial" panose="020B0604020202020204" pitchFamily="34" charset="0"/>
                        </a:rPr>
                        <a:t>Satakunta</a:t>
                      </a:r>
                    </a:p>
                  </a:txBody>
                  <a:tcPr marL="68580" marR="68580" marT="34290" marB="34290" anchor="ctr">
                    <a:solidFill>
                      <a:srgbClr val="1B2D5F"/>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chemeClr val="accent6">
                        <a:lumMod val="60000"/>
                        <a:lumOff val="40000"/>
                      </a:schemeClr>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i-FI" sz="700" b="0" i="0" u="none" strike="noStrike" kern="1200" cap="none" spc="0" normalizeH="0" baseline="0" noProof="0" dirty="0">
                        <a:ln>
                          <a:noFill/>
                        </a:ln>
                        <a:solidFill>
                          <a:prstClr val="black"/>
                        </a:solidFill>
                        <a:effectLst/>
                        <a:uLnTx/>
                        <a:uFillTx/>
                        <a:latin typeface="Arial"/>
                        <a:ea typeface="+mn-ea"/>
                        <a:cs typeface="+mn-cs"/>
                      </a:endParaRPr>
                    </a:p>
                  </a:txBody>
                  <a:tcPr marL="68580" marR="68580" marT="34290" marB="34290" anchor="ctr">
                    <a:solidFill>
                      <a:schemeClr val="accent6">
                        <a:lumMod val="60000"/>
                        <a:lumOff val="40000"/>
                      </a:schemeClr>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rgbClr val="FFFF00"/>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chemeClr val="accent6">
                        <a:lumMod val="60000"/>
                        <a:lumOff val="40000"/>
                      </a:schemeClr>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chemeClr val="accent6">
                        <a:lumMod val="60000"/>
                        <a:lumOff val="40000"/>
                      </a:schemeClr>
                    </a:solidFill>
                  </a:tcPr>
                </a:tc>
                <a:extLst>
                  <a:ext uri="{0D108BD9-81ED-4DB2-BD59-A6C34878D82A}">
                    <a16:rowId xmlns:a16="http://schemas.microsoft.com/office/drawing/2014/main" val="2652827222"/>
                  </a:ext>
                </a:extLst>
              </a:tr>
              <a:tr h="17145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fi-FI" sz="700" b="0" i="0" u="none" strike="noStrike" dirty="0">
                          <a:solidFill>
                            <a:schemeClr val="bg1"/>
                          </a:solidFill>
                          <a:effectLst/>
                          <a:latin typeface="Arial" panose="020B0604020202020204" pitchFamily="34" charset="0"/>
                          <a:cs typeface="Arial" panose="020B0604020202020204" pitchFamily="34" charset="0"/>
                        </a:rPr>
                        <a:t>Vantaa-Kerava</a:t>
                      </a:r>
                    </a:p>
                  </a:txBody>
                  <a:tcPr marL="68580" marR="68580" marT="34290" marB="34290" anchor="ctr">
                    <a:solidFill>
                      <a:srgbClr val="1B2D5F"/>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rgbClr val="AEDF74"/>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i-FI" sz="700" b="0" i="0" u="none" strike="noStrike" kern="1200" cap="none" spc="0" normalizeH="0" baseline="0" noProof="0" dirty="0">
                        <a:ln>
                          <a:noFill/>
                        </a:ln>
                        <a:solidFill>
                          <a:prstClr val="black"/>
                        </a:solidFill>
                        <a:effectLst/>
                        <a:uLnTx/>
                        <a:uFillTx/>
                        <a:latin typeface="Arial"/>
                        <a:ea typeface="+mn-ea"/>
                        <a:cs typeface="+mn-cs"/>
                      </a:endParaRPr>
                    </a:p>
                  </a:txBody>
                  <a:tcPr marL="68580" marR="68580" marT="34290" marB="34290" anchor="ctr">
                    <a:solidFill>
                      <a:srgbClr val="AEDF74"/>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rgbClr val="AEDF74"/>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chemeClr val="bg1">
                        <a:lumMod val="95000"/>
                      </a:schemeClr>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rgbClr val="AEDF74"/>
                    </a:solidFill>
                  </a:tcPr>
                </a:tc>
                <a:extLst>
                  <a:ext uri="{0D108BD9-81ED-4DB2-BD59-A6C34878D82A}">
                    <a16:rowId xmlns:a16="http://schemas.microsoft.com/office/drawing/2014/main" val="2848953467"/>
                  </a:ext>
                </a:extLst>
              </a:tr>
              <a:tr h="171450">
                <a:tc>
                  <a:txBody>
                    <a:bodyPr/>
                    <a:lstStyle/>
                    <a:p>
                      <a:r>
                        <a:rPr lang="fi-FI" sz="700" b="0" i="0" u="none" strike="noStrike" dirty="0">
                          <a:solidFill>
                            <a:schemeClr val="bg1"/>
                          </a:solidFill>
                          <a:effectLst/>
                          <a:latin typeface="Arial" panose="020B0604020202020204" pitchFamily="34" charset="0"/>
                          <a:cs typeface="Arial" panose="020B0604020202020204" pitchFamily="34" charset="0"/>
                        </a:rPr>
                        <a:t>Varsinais-Suomi</a:t>
                      </a:r>
                      <a:endParaRPr lang="fi-FI" sz="700" b="0" i="0" dirty="0">
                        <a:solidFill>
                          <a:schemeClr val="bg1"/>
                        </a:solidFill>
                        <a:latin typeface="Arial" panose="020B0604020202020204" pitchFamily="34" charset="0"/>
                        <a:cs typeface="Arial" panose="020B0604020202020204" pitchFamily="34" charset="0"/>
                      </a:endParaRPr>
                    </a:p>
                  </a:txBody>
                  <a:tcPr marL="68580" marR="68580" marT="34290" marB="34290" anchor="ctr">
                    <a:solidFill>
                      <a:srgbClr val="1B2D5F"/>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rgbClr val="FFFF00"/>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i-FI" sz="700" b="0" i="0" u="none" strike="noStrike" kern="1200" cap="none" spc="0" normalizeH="0" baseline="0" noProof="0" dirty="0">
                        <a:ln>
                          <a:noFill/>
                        </a:ln>
                        <a:solidFill>
                          <a:prstClr val="black"/>
                        </a:solidFill>
                        <a:effectLst/>
                        <a:uLnTx/>
                        <a:uFillTx/>
                        <a:latin typeface="Arial"/>
                        <a:ea typeface="+mn-ea"/>
                        <a:cs typeface="+mn-cs"/>
                      </a:endParaRPr>
                    </a:p>
                  </a:txBody>
                  <a:tcPr marL="68580" marR="68580" marT="34290" marB="34290" anchor="ctr">
                    <a:solidFill>
                      <a:srgbClr val="FFFF00"/>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rgbClr val="FFFF00"/>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rgbClr val="FFFF00"/>
                    </a:solidFill>
                  </a:tcPr>
                </a:tc>
                <a:tc>
                  <a:txBody>
                    <a:bodyPr/>
                    <a:lstStyle/>
                    <a:p>
                      <a:pPr algn="ctr"/>
                      <a:endParaRPr lang="fi-FI" sz="700" dirty="0"/>
                    </a:p>
                  </a:txBody>
                  <a:tcPr marL="68580" marR="68580" marT="34290" marB="34290" anchor="c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fi-FI" sz="700" dirty="0"/>
                    </a:p>
                  </a:txBody>
                  <a:tcPr marL="68580" marR="68580" marT="34290" marB="34290" anchor="ctr">
                    <a:solidFill>
                      <a:srgbClr val="FFFF00"/>
                    </a:solidFill>
                  </a:tcPr>
                </a:tc>
                <a:extLst>
                  <a:ext uri="{0D108BD9-81ED-4DB2-BD59-A6C34878D82A}">
                    <a16:rowId xmlns:a16="http://schemas.microsoft.com/office/drawing/2014/main" val="1693007890"/>
                  </a:ext>
                </a:extLst>
              </a:tr>
            </a:tbl>
          </a:graphicData>
        </a:graphic>
      </p:graphicFrame>
      <p:sp>
        <p:nvSpPr>
          <p:cNvPr id="6" name="Title 2">
            <a:extLst>
              <a:ext uri="{FF2B5EF4-FFF2-40B4-BE49-F238E27FC236}">
                <a16:creationId xmlns:a16="http://schemas.microsoft.com/office/drawing/2014/main" id="{E25CA437-52E9-4AEE-9D29-E4367DA1C78E}"/>
              </a:ext>
            </a:extLst>
          </p:cNvPr>
          <p:cNvSpPr txBox="1">
            <a:spLocks/>
          </p:cNvSpPr>
          <p:nvPr/>
        </p:nvSpPr>
        <p:spPr>
          <a:xfrm>
            <a:off x="326266" y="14148"/>
            <a:ext cx="7972148" cy="540060"/>
          </a:xfrm>
          <a:prstGeom prst="rect">
            <a:avLst/>
          </a:prstGeom>
        </p:spPr>
        <p:txBody>
          <a:bodyPr vert="horz" lIns="68580" tIns="34290" rIns="68580" bIns="34290" rtlCol="0" anchor="ctr" anchorCtr="0">
            <a:noAutofit/>
          </a:bodyPr>
          <a:lstStyle>
            <a:lvl1pPr algn="l" defTabSz="1219170" rtl="0" eaLnBrk="1" latinLnBrk="0" hangingPunct="1">
              <a:spcBef>
                <a:spcPct val="0"/>
              </a:spcBef>
              <a:buNone/>
              <a:defRPr sz="4267" b="1" i="0" kern="1200">
                <a:solidFill>
                  <a:srgbClr val="595965"/>
                </a:solidFill>
                <a:latin typeface="Arial Narrow" panose="020B0606020202030204" pitchFamily="34" charset="0"/>
                <a:ea typeface="+mj-ea"/>
                <a:cs typeface="+mj-cs"/>
              </a:defRPr>
            </a:lvl1pPr>
          </a:lstStyle>
          <a:p>
            <a:pPr defTabSz="914378">
              <a:defRPr/>
            </a:pPr>
            <a:r>
              <a:rPr lang="fi-FI" sz="1950" dirty="0">
                <a:solidFill>
                  <a:prstClr val="black"/>
                </a:solidFill>
              </a:rPr>
              <a:t>Alueellisen toimeenpanon tiekartan mukainen </a:t>
            </a:r>
            <a:r>
              <a:rPr lang="fi-FI" sz="1950" u="sng" dirty="0">
                <a:solidFill>
                  <a:prstClr val="black"/>
                </a:solidFill>
              </a:rPr>
              <a:t>eteneminen</a:t>
            </a:r>
            <a:r>
              <a:rPr lang="fi-FI" sz="1950" dirty="0">
                <a:solidFill>
                  <a:prstClr val="black"/>
                </a:solidFill>
              </a:rPr>
              <a:t> </a:t>
            </a:r>
            <a:endParaRPr lang="fi-FI" sz="1950" dirty="0">
              <a:solidFill>
                <a:srgbClr val="FF0000"/>
              </a:solidFill>
            </a:endParaRPr>
          </a:p>
        </p:txBody>
      </p:sp>
      <p:sp>
        <p:nvSpPr>
          <p:cNvPr id="17" name="Ellipsi 11">
            <a:extLst>
              <a:ext uri="{FF2B5EF4-FFF2-40B4-BE49-F238E27FC236}">
                <a16:creationId xmlns:a16="http://schemas.microsoft.com/office/drawing/2014/main" id="{4079D4D5-AD57-4A8D-972A-988018EFCD11}"/>
              </a:ext>
            </a:extLst>
          </p:cNvPr>
          <p:cNvSpPr/>
          <p:nvPr/>
        </p:nvSpPr>
        <p:spPr>
          <a:xfrm>
            <a:off x="2195736" y="4838813"/>
            <a:ext cx="162018" cy="162018"/>
          </a:xfrm>
          <a:prstGeom prst="ellipse">
            <a:avLst/>
          </a:prstGeom>
          <a:solidFill>
            <a:schemeClr val="accent3">
              <a:lumMod val="60000"/>
              <a:lumOff val="4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fi-FI" sz="863">
              <a:solidFill>
                <a:srgbClr val="FFFFFF"/>
              </a:solidFill>
              <a:latin typeface="Arial"/>
            </a:endParaRPr>
          </a:p>
        </p:txBody>
      </p:sp>
      <p:sp>
        <p:nvSpPr>
          <p:cNvPr id="18" name="Tekstiruutu 12">
            <a:extLst>
              <a:ext uri="{FF2B5EF4-FFF2-40B4-BE49-F238E27FC236}">
                <a16:creationId xmlns:a16="http://schemas.microsoft.com/office/drawing/2014/main" id="{09DAEEE6-10EF-4BE4-92FD-3C1EFA48A0EA}"/>
              </a:ext>
            </a:extLst>
          </p:cNvPr>
          <p:cNvSpPr txBox="1"/>
          <p:nvPr/>
        </p:nvSpPr>
        <p:spPr>
          <a:xfrm>
            <a:off x="2411760" y="4731990"/>
            <a:ext cx="1620000" cy="400776"/>
          </a:xfrm>
          <a:prstGeom prst="rect">
            <a:avLst/>
          </a:prstGeom>
          <a:noFill/>
        </p:spPr>
        <p:txBody>
          <a:bodyPr wrap="square" lIns="27000" tIns="27000" rIns="27000" bIns="27000" rtlCol="0">
            <a:spAutoFit/>
          </a:bodyPr>
          <a:lstStyle/>
          <a:p>
            <a:pPr defTabSz="685800">
              <a:defRPr/>
            </a:pPr>
            <a:r>
              <a:rPr lang="fi-FI" sz="750" dirty="0">
                <a:solidFill>
                  <a:prstClr val="black"/>
                </a:solidFill>
                <a:latin typeface="Arial"/>
              </a:rPr>
              <a:t>Lähikuukausien kriittisiä osatehtäviä merkittävästi aloittamatta tai ne uhkaavat myöhästyä </a:t>
            </a:r>
          </a:p>
        </p:txBody>
      </p:sp>
      <p:sp>
        <p:nvSpPr>
          <p:cNvPr id="19" name="Ellipsi 13">
            <a:extLst>
              <a:ext uri="{FF2B5EF4-FFF2-40B4-BE49-F238E27FC236}">
                <a16:creationId xmlns:a16="http://schemas.microsoft.com/office/drawing/2014/main" id="{E355DE23-9575-45EC-B569-441FCA26AC94}"/>
              </a:ext>
            </a:extLst>
          </p:cNvPr>
          <p:cNvSpPr/>
          <p:nvPr/>
        </p:nvSpPr>
        <p:spPr>
          <a:xfrm>
            <a:off x="6246186" y="4840002"/>
            <a:ext cx="162018" cy="162018"/>
          </a:xfrm>
          <a:prstGeom prst="ellipse">
            <a:avLst/>
          </a:prstGeom>
          <a:solidFill>
            <a:schemeClr val="accent6">
              <a:lumMod val="60000"/>
              <a:lumOff val="4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fi-FI" sz="1350">
              <a:solidFill>
                <a:srgbClr val="FFFFFF"/>
              </a:solidFill>
              <a:latin typeface="Arial"/>
            </a:endParaRPr>
          </a:p>
        </p:txBody>
      </p:sp>
      <p:sp>
        <p:nvSpPr>
          <p:cNvPr id="20" name="Tekstiruutu 14">
            <a:extLst>
              <a:ext uri="{FF2B5EF4-FFF2-40B4-BE49-F238E27FC236}">
                <a16:creationId xmlns:a16="http://schemas.microsoft.com/office/drawing/2014/main" id="{11B265C8-3347-4DEC-8E06-3E1D5E3C4FB8}"/>
              </a:ext>
            </a:extLst>
          </p:cNvPr>
          <p:cNvSpPr txBox="1"/>
          <p:nvPr/>
        </p:nvSpPr>
        <p:spPr>
          <a:xfrm>
            <a:off x="6462336" y="4731990"/>
            <a:ext cx="1134000" cy="400776"/>
          </a:xfrm>
          <a:prstGeom prst="rect">
            <a:avLst/>
          </a:prstGeom>
          <a:noFill/>
        </p:spPr>
        <p:txBody>
          <a:bodyPr wrap="square" lIns="27000" tIns="27000" rIns="27000" bIns="27000" rtlCol="0">
            <a:spAutoFit/>
          </a:bodyPr>
          <a:lstStyle/>
          <a:p>
            <a:pPr defTabSz="685800">
              <a:defRPr/>
            </a:pPr>
            <a:r>
              <a:rPr lang="fi-FI" sz="750" dirty="0">
                <a:solidFill>
                  <a:prstClr val="black"/>
                </a:solidFill>
                <a:latin typeface="Arial"/>
              </a:rPr>
              <a:t>Suurin osa tehtävistä etenee suunnitellusti ja aikataulun mukaisesti</a:t>
            </a:r>
          </a:p>
        </p:txBody>
      </p:sp>
      <p:sp>
        <p:nvSpPr>
          <p:cNvPr id="21" name="Ellipsi 15">
            <a:extLst>
              <a:ext uri="{FF2B5EF4-FFF2-40B4-BE49-F238E27FC236}">
                <a16:creationId xmlns:a16="http://schemas.microsoft.com/office/drawing/2014/main" id="{CE849E33-741D-4D78-BFEC-40F5E39E73CD}"/>
              </a:ext>
            </a:extLst>
          </p:cNvPr>
          <p:cNvSpPr/>
          <p:nvPr/>
        </p:nvSpPr>
        <p:spPr>
          <a:xfrm>
            <a:off x="4031940" y="4840002"/>
            <a:ext cx="162018" cy="162018"/>
          </a:xfrm>
          <a:prstGeom prst="ellipse">
            <a:avLst/>
          </a:prstGeom>
          <a:solidFill>
            <a:srgbClr val="FFFF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fi-FI" sz="1350">
              <a:solidFill>
                <a:srgbClr val="FFFFFF"/>
              </a:solidFill>
              <a:latin typeface="Arial"/>
            </a:endParaRPr>
          </a:p>
        </p:txBody>
      </p:sp>
      <p:sp>
        <p:nvSpPr>
          <p:cNvPr id="22" name="Tekstiruutu 18">
            <a:extLst>
              <a:ext uri="{FF2B5EF4-FFF2-40B4-BE49-F238E27FC236}">
                <a16:creationId xmlns:a16="http://schemas.microsoft.com/office/drawing/2014/main" id="{769CE719-B1F4-4B88-81E7-DC3BE0B522CE}"/>
              </a:ext>
            </a:extLst>
          </p:cNvPr>
          <p:cNvSpPr txBox="1"/>
          <p:nvPr/>
        </p:nvSpPr>
        <p:spPr>
          <a:xfrm>
            <a:off x="4247964" y="4731990"/>
            <a:ext cx="1890000" cy="400776"/>
          </a:xfrm>
          <a:prstGeom prst="rect">
            <a:avLst/>
          </a:prstGeom>
          <a:noFill/>
        </p:spPr>
        <p:txBody>
          <a:bodyPr wrap="square" lIns="27000" tIns="27000" rIns="27000" bIns="27000" rtlCol="0">
            <a:spAutoFit/>
          </a:bodyPr>
          <a:lstStyle/>
          <a:p>
            <a:pPr defTabSz="685800">
              <a:defRPr/>
            </a:pPr>
            <a:r>
              <a:rPr lang="fi-FI" sz="750" dirty="0">
                <a:solidFill>
                  <a:prstClr val="black"/>
                </a:solidFill>
                <a:latin typeface="Arial"/>
              </a:rPr>
              <a:t>Osatehtäviä vielä merkittävästi aloittamatta, mutta näissä toteuttaminen voi myös jatkua tarkasteltavan ajankohdan yli</a:t>
            </a:r>
          </a:p>
        </p:txBody>
      </p:sp>
      <p:sp>
        <p:nvSpPr>
          <p:cNvPr id="12" name="Ellipsi 13">
            <a:extLst>
              <a:ext uri="{FF2B5EF4-FFF2-40B4-BE49-F238E27FC236}">
                <a16:creationId xmlns:a16="http://schemas.microsoft.com/office/drawing/2014/main" id="{0F5B8EBF-8E27-4B4D-900B-57BE283C9BDE}"/>
              </a:ext>
            </a:extLst>
          </p:cNvPr>
          <p:cNvSpPr/>
          <p:nvPr/>
        </p:nvSpPr>
        <p:spPr>
          <a:xfrm>
            <a:off x="7596336" y="4839960"/>
            <a:ext cx="162018" cy="162018"/>
          </a:xfrm>
          <a:prstGeom prst="ellipse">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fi-FI" sz="1350" dirty="0">
                <a:solidFill>
                  <a:prstClr val="black"/>
                </a:solidFill>
                <a:latin typeface="Arial"/>
              </a:rPr>
              <a:t>!</a:t>
            </a:r>
          </a:p>
        </p:txBody>
      </p:sp>
      <p:sp>
        <p:nvSpPr>
          <p:cNvPr id="13" name="Tekstiruutu 14">
            <a:extLst>
              <a:ext uri="{FF2B5EF4-FFF2-40B4-BE49-F238E27FC236}">
                <a16:creationId xmlns:a16="http://schemas.microsoft.com/office/drawing/2014/main" id="{B6F38C30-7AB3-45F8-A90F-0B26045B6F02}"/>
              </a:ext>
            </a:extLst>
          </p:cNvPr>
          <p:cNvSpPr txBox="1"/>
          <p:nvPr/>
        </p:nvSpPr>
        <p:spPr>
          <a:xfrm>
            <a:off x="7812504" y="4731990"/>
            <a:ext cx="1296000" cy="400776"/>
          </a:xfrm>
          <a:prstGeom prst="rect">
            <a:avLst/>
          </a:prstGeom>
          <a:noFill/>
        </p:spPr>
        <p:txBody>
          <a:bodyPr wrap="square" lIns="27000" tIns="27000" rIns="27000" bIns="27000" rtlCol="0">
            <a:spAutoFit/>
          </a:bodyPr>
          <a:lstStyle/>
          <a:p>
            <a:pPr defTabSz="685800">
              <a:defRPr/>
            </a:pPr>
            <a:r>
              <a:rPr lang="fi-FI" sz="750" dirty="0">
                <a:solidFill>
                  <a:prstClr val="black"/>
                </a:solidFill>
                <a:latin typeface="Arial"/>
              </a:rPr>
              <a:t>Erityinen huomio/riski/nosto, joka kuvattu aluekohtaisessa koonnissa</a:t>
            </a:r>
          </a:p>
        </p:txBody>
      </p:sp>
      <p:sp>
        <p:nvSpPr>
          <p:cNvPr id="38" name="Ellipsi 13">
            <a:extLst>
              <a:ext uri="{FF2B5EF4-FFF2-40B4-BE49-F238E27FC236}">
                <a16:creationId xmlns:a16="http://schemas.microsoft.com/office/drawing/2014/main" id="{2D4DE739-0835-4F8C-9CF2-1B7660590D31}"/>
              </a:ext>
            </a:extLst>
          </p:cNvPr>
          <p:cNvSpPr/>
          <p:nvPr/>
        </p:nvSpPr>
        <p:spPr>
          <a:xfrm>
            <a:off x="89502" y="4838813"/>
            <a:ext cx="162018" cy="162018"/>
          </a:xfrm>
          <a:prstGeom prst="ellipse">
            <a:avLst/>
          </a:prstGeom>
          <a:solidFill>
            <a:schemeClr val="bg1">
              <a:lumMod val="9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fi-FI" sz="1350">
              <a:solidFill>
                <a:srgbClr val="FFFFFF"/>
              </a:solidFill>
              <a:latin typeface="Arial"/>
            </a:endParaRPr>
          </a:p>
        </p:txBody>
      </p:sp>
      <p:sp>
        <p:nvSpPr>
          <p:cNvPr id="39" name="Tekstiruutu 12">
            <a:extLst>
              <a:ext uri="{FF2B5EF4-FFF2-40B4-BE49-F238E27FC236}">
                <a16:creationId xmlns:a16="http://schemas.microsoft.com/office/drawing/2014/main" id="{F2E68118-1270-4389-8A2C-82A17BC67404}"/>
              </a:ext>
            </a:extLst>
          </p:cNvPr>
          <p:cNvSpPr txBox="1"/>
          <p:nvPr/>
        </p:nvSpPr>
        <p:spPr>
          <a:xfrm>
            <a:off x="305526" y="4731990"/>
            <a:ext cx="1134000" cy="400776"/>
          </a:xfrm>
          <a:prstGeom prst="rect">
            <a:avLst/>
          </a:prstGeom>
          <a:noFill/>
        </p:spPr>
        <p:txBody>
          <a:bodyPr wrap="square" lIns="27000" tIns="27000" rIns="27000" bIns="27000" rtlCol="0">
            <a:spAutoFit/>
          </a:bodyPr>
          <a:lstStyle/>
          <a:p>
            <a:pPr defTabSz="685800">
              <a:defRPr/>
            </a:pPr>
            <a:r>
              <a:rPr lang="fi-FI" sz="750" dirty="0">
                <a:solidFill>
                  <a:prstClr val="black"/>
                </a:solidFill>
                <a:latin typeface="Arial"/>
              </a:rPr>
              <a:t>Ei ajankohtaisia kriittisiä osatehtäviä tai niiden statusta ei ole täytetty</a:t>
            </a:r>
          </a:p>
        </p:txBody>
      </p:sp>
      <p:sp>
        <p:nvSpPr>
          <p:cNvPr id="40" name="Ellipsi 11">
            <a:extLst>
              <a:ext uri="{FF2B5EF4-FFF2-40B4-BE49-F238E27FC236}">
                <a16:creationId xmlns:a16="http://schemas.microsoft.com/office/drawing/2014/main" id="{6F826D31-A8B6-47B5-A458-A491CDA309F3}"/>
              </a:ext>
            </a:extLst>
          </p:cNvPr>
          <p:cNvSpPr/>
          <p:nvPr/>
        </p:nvSpPr>
        <p:spPr>
          <a:xfrm>
            <a:off x="1439652" y="4840002"/>
            <a:ext cx="162018" cy="162018"/>
          </a:xfrm>
          <a:prstGeom prst="ellipse">
            <a:avLst/>
          </a:prstGeom>
          <a:solidFill>
            <a:srgbClr val="FF0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fi-FI" sz="863">
              <a:solidFill>
                <a:srgbClr val="FFFFFF"/>
              </a:solidFill>
              <a:latin typeface="Arial"/>
            </a:endParaRPr>
          </a:p>
        </p:txBody>
      </p:sp>
      <p:sp>
        <p:nvSpPr>
          <p:cNvPr id="41" name="Tekstiruutu 12">
            <a:extLst>
              <a:ext uri="{FF2B5EF4-FFF2-40B4-BE49-F238E27FC236}">
                <a16:creationId xmlns:a16="http://schemas.microsoft.com/office/drawing/2014/main" id="{47B42B37-D079-4F18-81C3-1A9E969B9C53}"/>
              </a:ext>
            </a:extLst>
          </p:cNvPr>
          <p:cNvSpPr txBox="1"/>
          <p:nvPr/>
        </p:nvSpPr>
        <p:spPr>
          <a:xfrm>
            <a:off x="1628736" y="4731990"/>
            <a:ext cx="567000" cy="400776"/>
          </a:xfrm>
          <a:prstGeom prst="rect">
            <a:avLst/>
          </a:prstGeom>
          <a:noFill/>
        </p:spPr>
        <p:txBody>
          <a:bodyPr wrap="square" lIns="27000" tIns="27000" rIns="27000" bIns="27000" rtlCol="0">
            <a:spAutoFit/>
          </a:bodyPr>
          <a:lstStyle/>
          <a:p>
            <a:pPr defTabSz="685800">
              <a:defRPr/>
            </a:pPr>
            <a:r>
              <a:rPr lang="fi-FI" sz="750" dirty="0">
                <a:solidFill>
                  <a:prstClr val="black"/>
                </a:solidFill>
                <a:latin typeface="Arial"/>
              </a:rPr>
              <a:t>Alueella suuria haasteita</a:t>
            </a:r>
          </a:p>
        </p:txBody>
      </p:sp>
      <p:sp>
        <p:nvSpPr>
          <p:cNvPr id="24" name="Ellipsi 13">
            <a:extLst>
              <a:ext uri="{FF2B5EF4-FFF2-40B4-BE49-F238E27FC236}">
                <a16:creationId xmlns:a16="http://schemas.microsoft.com/office/drawing/2014/main" id="{C19093FE-1526-421C-AAA8-ACD0A8D85B9D}"/>
              </a:ext>
            </a:extLst>
          </p:cNvPr>
          <p:cNvSpPr/>
          <p:nvPr/>
        </p:nvSpPr>
        <p:spPr>
          <a:xfrm>
            <a:off x="7434318" y="4542969"/>
            <a:ext cx="162018" cy="162018"/>
          </a:xfrm>
          <a:prstGeom prst="ellipse">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fi-FI" sz="1350" dirty="0">
                <a:solidFill>
                  <a:prstClr val="black"/>
                </a:solidFill>
                <a:latin typeface="Arial"/>
              </a:rPr>
              <a:t>!</a:t>
            </a:r>
          </a:p>
        </p:txBody>
      </p:sp>
      <p:sp>
        <p:nvSpPr>
          <p:cNvPr id="25" name="Ellipsi 13">
            <a:extLst>
              <a:ext uri="{FF2B5EF4-FFF2-40B4-BE49-F238E27FC236}">
                <a16:creationId xmlns:a16="http://schemas.microsoft.com/office/drawing/2014/main" id="{4CD0C936-67D2-4AE2-A8DE-30989D4A7D92}"/>
              </a:ext>
            </a:extLst>
          </p:cNvPr>
          <p:cNvSpPr/>
          <p:nvPr/>
        </p:nvSpPr>
        <p:spPr>
          <a:xfrm>
            <a:off x="2033718" y="4535184"/>
            <a:ext cx="162018" cy="162018"/>
          </a:xfrm>
          <a:prstGeom prst="ellipse">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fi-FI" sz="1350" dirty="0">
                <a:solidFill>
                  <a:prstClr val="black"/>
                </a:solidFill>
                <a:latin typeface="Arial"/>
              </a:rPr>
              <a:t>!</a:t>
            </a:r>
          </a:p>
        </p:txBody>
      </p:sp>
      <p:sp>
        <p:nvSpPr>
          <p:cNvPr id="27" name="Ellipsi 13">
            <a:extLst>
              <a:ext uri="{FF2B5EF4-FFF2-40B4-BE49-F238E27FC236}">
                <a16:creationId xmlns:a16="http://schemas.microsoft.com/office/drawing/2014/main" id="{A41E4B52-A3AB-4CBD-B268-25B84E55AA88}"/>
              </a:ext>
            </a:extLst>
          </p:cNvPr>
          <p:cNvSpPr/>
          <p:nvPr/>
        </p:nvSpPr>
        <p:spPr>
          <a:xfrm>
            <a:off x="2033718" y="3003798"/>
            <a:ext cx="162018" cy="162018"/>
          </a:xfrm>
          <a:prstGeom prst="ellipse">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fi-FI" sz="1350" dirty="0">
                <a:solidFill>
                  <a:prstClr val="black"/>
                </a:solidFill>
                <a:latin typeface="Arial"/>
              </a:rPr>
              <a:t>!</a:t>
            </a:r>
          </a:p>
        </p:txBody>
      </p:sp>
      <p:sp>
        <p:nvSpPr>
          <p:cNvPr id="28" name="Ellipsi 13">
            <a:extLst>
              <a:ext uri="{FF2B5EF4-FFF2-40B4-BE49-F238E27FC236}">
                <a16:creationId xmlns:a16="http://schemas.microsoft.com/office/drawing/2014/main" id="{62108D76-A1BC-4C94-8C4C-E97B562737E5}"/>
              </a:ext>
            </a:extLst>
          </p:cNvPr>
          <p:cNvSpPr/>
          <p:nvPr/>
        </p:nvSpPr>
        <p:spPr>
          <a:xfrm>
            <a:off x="7380312" y="3003798"/>
            <a:ext cx="162018" cy="162018"/>
          </a:xfrm>
          <a:prstGeom prst="ellipse">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fi-FI" sz="1350" dirty="0">
                <a:solidFill>
                  <a:prstClr val="black"/>
                </a:solidFill>
                <a:latin typeface="Arial"/>
              </a:rPr>
              <a:t>!</a:t>
            </a:r>
          </a:p>
        </p:txBody>
      </p:sp>
      <p:sp>
        <p:nvSpPr>
          <p:cNvPr id="26" name="Ellipsi 13">
            <a:extLst>
              <a:ext uri="{FF2B5EF4-FFF2-40B4-BE49-F238E27FC236}">
                <a16:creationId xmlns:a16="http://schemas.microsoft.com/office/drawing/2014/main" id="{F2500A6A-5D76-4BC8-B3F8-24447D5C14B1}"/>
              </a:ext>
            </a:extLst>
          </p:cNvPr>
          <p:cNvSpPr/>
          <p:nvPr/>
        </p:nvSpPr>
        <p:spPr>
          <a:xfrm>
            <a:off x="6030162" y="4353948"/>
            <a:ext cx="162018" cy="162018"/>
          </a:xfrm>
          <a:prstGeom prst="ellipse">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fi-FI" sz="1350" dirty="0">
                <a:solidFill>
                  <a:prstClr val="black"/>
                </a:solidFill>
                <a:latin typeface="Arial"/>
              </a:rPr>
              <a:t>!</a:t>
            </a:r>
          </a:p>
        </p:txBody>
      </p:sp>
      <p:sp>
        <p:nvSpPr>
          <p:cNvPr id="29" name="Ellipsi 13">
            <a:extLst>
              <a:ext uri="{FF2B5EF4-FFF2-40B4-BE49-F238E27FC236}">
                <a16:creationId xmlns:a16="http://schemas.microsoft.com/office/drawing/2014/main" id="{55AC0CAB-CA97-4063-96F1-B7A305444CDE}"/>
              </a:ext>
            </a:extLst>
          </p:cNvPr>
          <p:cNvSpPr/>
          <p:nvPr/>
        </p:nvSpPr>
        <p:spPr>
          <a:xfrm>
            <a:off x="2033718" y="924567"/>
            <a:ext cx="162018" cy="162018"/>
          </a:xfrm>
          <a:prstGeom prst="ellipse">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fi-FI" sz="1350" dirty="0">
                <a:solidFill>
                  <a:prstClr val="black"/>
                </a:solidFill>
                <a:latin typeface="Arial"/>
              </a:rPr>
              <a:t>!</a:t>
            </a:r>
          </a:p>
        </p:txBody>
      </p:sp>
      <p:sp>
        <p:nvSpPr>
          <p:cNvPr id="30" name="Ellipsi 13">
            <a:extLst>
              <a:ext uri="{FF2B5EF4-FFF2-40B4-BE49-F238E27FC236}">
                <a16:creationId xmlns:a16="http://schemas.microsoft.com/office/drawing/2014/main" id="{AB07D4FA-36CB-4CBB-9677-F4B8B7D2EB61}"/>
              </a:ext>
            </a:extLst>
          </p:cNvPr>
          <p:cNvSpPr/>
          <p:nvPr/>
        </p:nvSpPr>
        <p:spPr>
          <a:xfrm>
            <a:off x="7382066" y="916884"/>
            <a:ext cx="162018" cy="162018"/>
          </a:xfrm>
          <a:prstGeom prst="ellipse">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fi-FI" sz="1350" dirty="0">
                <a:solidFill>
                  <a:prstClr val="black"/>
                </a:solidFill>
                <a:latin typeface="Arial"/>
              </a:rPr>
              <a:t>!</a:t>
            </a:r>
          </a:p>
        </p:txBody>
      </p:sp>
      <p:sp>
        <p:nvSpPr>
          <p:cNvPr id="37" name="Ellipsi 13">
            <a:extLst>
              <a:ext uri="{FF2B5EF4-FFF2-40B4-BE49-F238E27FC236}">
                <a16:creationId xmlns:a16="http://schemas.microsoft.com/office/drawing/2014/main" id="{2BDAF907-A2DE-4547-9A06-5A4043BADE7A}"/>
              </a:ext>
            </a:extLst>
          </p:cNvPr>
          <p:cNvSpPr/>
          <p:nvPr/>
        </p:nvSpPr>
        <p:spPr>
          <a:xfrm>
            <a:off x="2037308" y="1986476"/>
            <a:ext cx="162018" cy="162018"/>
          </a:xfrm>
          <a:prstGeom prst="ellipse">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fi-FI" sz="1350" dirty="0">
                <a:solidFill>
                  <a:prstClr val="black"/>
                </a:solidFill>
                <a:latin typeface="Arial"/>
              </a:rPr>
              <a:t>!</a:t>
            </a:r>
          </a:p>
        </p:txBody>
      </p:sp>
      <p:sp>
        <p:nvSpPr>
          <p:cNvPr id="42" name="Ellipsi 13">
            <a:extLst>
              <a:ext uri="{FF2B5EF4-FFF2-40B4-BE49-F238E27FC236}">
                <a16:creationId xmlns:a16="http://schemas.microsoft.com/office/drawing/2014/main" id="{13749755-4D77-4A9F-8F07-A69CF54D27AA}"/>
              </a:ext>
            </a:extLst>
          </p:cNvPr>
          <p:cNvSpPr/>
          <p:nvPr/>
        </p:nvSpPr>
        <p:spPr>
          <a:xfrm>
            <a:off x="7386760" y="1977684"/>
            <a:ext cx="162018" cy="162018"/>
          </a:xfrm>
          <a:prstGeom prst="ellipse">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fi-FI" sz="1350" dirty="0">
                <a:solidFill>
                  <a:prstClr val="black"/>
                </a:solidFill>
                <a:latin typeface="Arial"/>
              </a:rPr>
              <a:t>!</a:t>
            </a:r>
          </a:p>
        </p:txBody>
      </p:sp>
      <p:sp>
        <p:nvSpPr>
          <p:cNvPr id="43" name="Ellipsi 13">
            <a:extLst>
              <a:ext uri="{FF2B5EF4-FFF2-40B4-BE49-F238E27FC236}">
                <a16:creationId xmlns:a16="http://schemas.microsoft.com/office/drawing/2014/main" id="{770FBEA1-6FF9-4554-8D4C-C5975B261A17}"/>
              </a:ext>
            </a:extLst>
          </p:cNvPr>
          <p:cNvSpPr/>
          <p:nvPr/>
        </p:nvSpPr>
        <p:spPr>
          <a:xfrm>
            <a:off x="2033718" y="2293935"/>
            <a:ext cx="162018" cy="162018"/>
          </a:xfrm>
          <a:prstGeom prst="ellipse">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fi-FI" sz="1350" dirty="0">
                <a:solidFill>
                  <a:prstClr val="black"/>
                </a:solidFill>
                <a:latin typeface="Arial"/>
              </a:rPr>
              <a:t>!</a:t>
            </a:r>
          </a:p>
        </p:txBody>
      </p:sp>
      <p:sp>
        <p:nvSpPr>
          <p:cNvPr id="3" name="Tekstiruutu 2">
            <a:extLst>
              <a:ext uri="{FF2B5EF4-FFF2-40B4-BE49-F238E27FC236}">
                <a16:creationId xmlns:a16="http://schemas.microsoft.com/office/drawing/2014/main" id="{ACAB1D11-8A79-4BB0-8FDB-6B820B148993}"/>
              </a:ext>
            </a:extLst>
          </p:cNvPr>
          <p:cNvSpPr txBox="1"/>
          <p:nvPr/>
        </p:nvSpPr>
        <p:spPr>
          <a:xfrm>
            <a:off x="1524273" y="1789881"/>
            <a:ext cx="5724636" cy="196208"/>
          </a:xfrm>
          <a:prstGeom prst="rect">
            <a:avLst/>
          </a:prstGeom>
          <a:noFill/>
        </p:spPr>
        <p:txBody>
          <a:bodyPr wrap="square" rtlCol="0">
            <a:spAutoFit/>
          </a:bodyPr>
          <a:lstStyle/>
          <a:p>
            <a:pPr defTabSz="685800">
              <a:defRPr/>
            </a:pPr>
            <a:r>
              <a:rPr lang="en-FI" sz="675" i="1" dirty="0">
                <a:solidFill>
                  <a:srgbClr val="202124"/>
                </a:solidFill>
                <a:latin typeface="Roboto" panose="02000000000000000000" pitchFamily="2" charset="0"/>
              </a:rPr>
              <a:t>* </a:t>
            </a:r>
            <a:r>
              <a:rPr lang="fi-FI" sz="675" i="1" dirty="0">
                <a:solidFill>
                  <a:srgbClr val="202124"/>
                </a:solidFill>
                <a:latin typeface="Roboto" panose="02000000000000000000" pitchFamily="2" charset="0"/>
              </a:rPr>
              <a:t>Tietoja ei täytetty elokuun jälkeen</a:t>
            </a:r>
            <a:r>
              <a:rPr lang="en-FI" sz="675" i="1" dirty="0">
                <a:solidFill>
                  <a:srgbClr val="202124"/>
                </a:solidFill>
                <a:latin typeface="Roboto" panose="02000000000000000000" pitchFamily="2" charset="0"/>
              </a:rPr>
              <a:t>, </a:t>
            </a:r>
            <a:r>
              <a:rPr lang="fi-FI" sz="675" i="1" dirty="0">
                <a:solidFill>
                  <a:srgbClr val="202124"/>
                </a:solidFill>
                <a:latin typeface="Roboto" panose="02000000000000000000" pitchFamily="2" charset="0"/>
              </a:rPr>
              <a:t> ja käydään erillistä keskustelua etenemisestä</a:t>
            </a:r>
            <a:endParaRPr lang="fi-FI" sz="675" i="1" dirty="0">
              <a:solidFill>
                <a:prstClr val="black"/>
              </a:solidFill>
              <a:latin typeface="Arial"/>
            </a:endParaRPr>
          </a:p>
        </p:txBody>
      </p:sp>
      <p:sp>
        <p:nvSpPr>
          <p:cNvPr id="31" name="Ellipsi 13">
            <a:extLst>
              <a:ext uri="{FF2B5EF4-FFF2-40B4-BE49-F238E27FC236}">
                <a16:creationId xmlns:a16="http://schemas.microsoft.com/office/drawing/2014/main" id="{0B597EC4-01EC-48C0-8F59-26D8229DE3D5}"/>
              </a:ext>
            </a:extLst>
          </p:cNvPr>
          <p:cNvSpPr/>
          <p:nvPr/>
        </p:nvSpPr>
        <p:spPr>
          <a:xfrm>
            <a:off x="2033718" y="1113588"/>
            <a:ext cx="162018" cy="162018"/>
          </a:xfrm>
          <a:prstGeom prst="ellipse">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fi-FI" sz="1350" dirty="0">
                <a:solidFill>
                  <a:prstClr val="black"/>
                </a:solidFill>
                <a:latin typeface="Arial"/>
              </a:rPr>
              <a:t>!</a:t>
            </a:r>
          </a:p>
        </p:txBody>
      </p:sp>
      <p:sp>
        <p:nvSpPr>
          <p:cNvPr id="33" name="Ellipsi 13">
            <a:extLst>
              <a:ext uri="{FF2B5EF4-FFF2-40B4-BE49-F238E27FC236}">
                <a16:creationId xmlns:a16="http://schemas.microsoft.com/office/drawing/2014/main" id="{76A4AC19-E732-4209-920D-0CA468EECC90}"/>
              </a:ext>
            </a:extLst>
          </p:cNvPr>
          <p:cNvSpPr/>
          <p:nvPr/>
        </p:nvSpPr>
        <p:spPr>
          <a:xfrm>
            <a:off x="2033718" y="1620637"/>
            <a:ext cx="162018" cy="162018"/>
          </a:xfrm>
          <a:prstGeom prst="ellipse">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fi-FI" sz="1350" dirty="0">
                <a:solidFill>
                  <a:prstClr val="black"/>
                </a:solidFill>
                <a:latin typeface="Arial"/>
              </a:rPr>
              <a:t>!</a:t>
            </a:r>
          </a:p>
        </p:txBody>
      </p:sp>
      <p:sp>
        <p:nvSpPr>
          <p:cNvPr id="34" name="Ellipsi 13">
            <a:extLst>
              <a:ext uri="{FF2B5EF4-FFF2-40B4-BE49-F238E27FC236}">
                <a16:creationId xmlns:a16="http://schemas.microsoft.com/office/drawing/2014/main" id="{7CF70695-2EC5-48B1-91E2-5512CCB558BC}"/>
              </a:ext>
            </a:extLst>
          </p:cNvPr>
          <p:cNvSpPr/>
          <p:nvPr/>
        </p:nvSpPr>
        <p:spPr>
          <a:xfrm>
            <a:off x="2033718" y="2827784"/>
            <a:ext cx="162018" cy="162018"/>
          </a:xfrm>
          <a:prstGeom prst="ellipse">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fi-FI" sz="1350" dirty="0">
                <a:solidFill>
                  <a:prstClr val="black"/>
                </a:solidFill>
                <a:latin typeface="Arial"/>
              </a:rPr>
              <a:t>!</a:t>
            </a:r>
          </a:p>
        </p:txBody>
      </p:sp>
      <p:sp>
        <p:nvSpPr>
          <p:cNvPr id="35" name="Ellipsi 13">
            <a:extLst>
              <a:ext uri="{FF2B5EF4-FFF2-40B4-BE49-F238E27FC236}">
                <a16:creationId xmlns:a16="http://schemas.microsoft.com/office/drawing/2014/main" id="{5055F59B-81E4-4A74-9319-C4D683D8F523}"/>
              </a:ext>
            </a:extLst>
          </p:cNvPr>
          <p:cNvSpPr/>
          <p:nvPr/>
        </p:nvSpPr>
        <p:spPr>
          <a:xfrm>
            <a:off x="3411861" y="2827784"/>
            <a:ext cx="162018" cy="162018"/>
          </a:xfrm>
          <a:prstGeom prst="ellipse">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fi-FI" sz="1350" dirty="0">
                <a:solidFill>
                  <a:prstClr val="black"/>
                </a:solidFill>
                <a:latin typeface="Arial"/>
              </a:rPr>
              <a:t>!</a:t>
            </a:r>
          </a:p>
        </p:txBody>
      </p:sp>
      <p:sp>
        <p:nvSpPr>
          <p:cNvPr id="36" name="Ellipsi 13">
            <a:extLst>
              <a:ext uri="{FF2B5EF4-FFF2-40B4-BE49-F238E27FC236}">
                <a16:creationId xmlns:a16="http://schemas.microsoft.com/office/drawing/2014/main" id="{489BFC18-0C11-4EB9-AFD6-647D510EBF86}"/>
              </a:ext>
            </a:extLst>
          </p:cNvPr>
          <p:cNvSpPr/>
          <p:nvPr/>
        </p:nvSpPr>
        <p:spPr>
          <a:xfrm>
            <a:off x="4727020" y="2827784"/>
            <a:ext cx="162018" cy="162018"/>
          </a:xfrm>
          <a:prstGeom prst="ellipse">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fi-FI" sz="1350" dirty="0">
                <a:solidFill>
                  <a:prstClr val="black"/>
                </a:solidFill>
                <a:latin typeface="Arial"/>
              </a:rPr>
              <a:t>!</a:t>
            </a:r>
          </a:p>
        </p:txBody>
      </p:sp>
    </p:spTree>
    <p:extLst>
      <p:ext uri="{BB962C8B-B14F-4D97-AF65-F5344CB8AC3E}">
        <p14:creationId xmlns:p14="http://schemas.microsoft.com/office/powerpoint/2010/main" val="132405467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i 3" hidden="1">
            <a:extLst>
              <a:ext uri="{FF2B5EF4-FFF2-40B4-BE49-F238E27FC236}">
                <a16:creationId xmlns:a16="http://schemas.microsoft.com/office/drawing/2014/main" id="{B5C0EB89-8562-4A76-A210-8D3358B2FFF8}"/>
              </a:ext>
            </a:extLst>
          </p:cNvPr>
          <p:cNvGraphicFramePr>
            <a:graphicFrameLocks noChangeAspect="1"/>
          </p:cNvGraphicFramePr>
          <p:nvPr>
            <p:custDataLst>
              <p:tags r:id="rId2"/>
            </p:custDataLs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25989" name="think-cell Slide" r:id="rId4" imgW="592" imgH="595" progId="TCLayout.ActiveDocument.1">
                  <p:embed/>
                </p:oleObj>
              </mc:Choice>
              <mc:Fallback>
                <p:oleObj name="think-cell Slide" r:id="rId4" imgW="592" imgH="595" progId="TCLayout.ActiveDocument.1">
                  <p:embed/>
                  <p:pic>
                    <p:nvPicPr>
                      <p:cNvPr id="4" name="Objekti 3" hidden="1">
                        <a:extLst>
                          <a:ext uri="{FF2B5EF4-FFF2-40B4-BE49-F238E27FC236}">
                            <a16:creationId xmlns:a16="http://schemas.microsoft.com/office/drawing/2014/main" id="{B5C0EB89-8562-4A76-A210-8D3358B2FFF8}"/>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3" name="Otsikko 2">
            <a:extLst>
              <a:ext uri="{FF2B5EF4-FFF2-40B4-BE49-F238E27FC236}">
                <a16:creationId xmlns:a16="http://schemas.microsoft.com/office/drawing/2014/main" id="{C37A7C06-EC0C-4376-B224-3AE79D5B051B}"/>
              </a:ext>
            </a:extLst>
          </p:cNvPr>
          <p:cNvSpPr>
            <a:spLocks noGrp="1"/>
          </p:cNvSpPr>
          <p:nvPr>
            <p:ph type="title"/>
          </p:nvPr>
        </p:nvSpPr>
        <p:spPr>
          <a:xfrm>
            <a:off x="495850" y="197068"/>
            <a:ext cx="7523591" cy="1269125"/>
          </a:xfrm>
        </p:spPr>
        <p:txBody>
          <a:bodyPr vert="horz"/>
          <a:lstStyle/>
          <a:p>
            <a:r>
              <a:rPr lang="fi-FI" sz="2400" dirty="0"/>
              <a:t/>
            </a:r>
            <a:br>
              <a:rPr lang="fi-FI" sz="2400" dirty="0"/>
            </a:br>
            <a:r>
              <a:rPr lang="fi-FI" dirty="0" smtClean="0"/>
              <a:t>Tilannekuva tuo viestiä alueiden pulmista</a:t>
            </a:r>
            <a:r>
              <a:rPr lang="fi-FI" sz="2800" dirty="0"/>
              <a:t/>
            </a:r>
            <a:br>
              <a:rPr lang="fi-FI" sz="2800" dirty="0"/>
            </a:br>
            <a:endParaRPr lang="fi-FI" sz="2800" dirty="0"/>
          </a:p>
        </p:txBody>
      </p:sp>
      <p:sp>
        <p:nvSpPr>
          <p:cNvPr id="8" name="Suorakulmio: Pyöristetyt kulmat 1">
            <a:extLst>
              <a:ext uri="{FF2B5EF4-FFF2-40B4-BE49-F238E27FC236}">
                <a16:creationId xmlns:a16="http://schemas.microsoft.com/office/drawing/2014/main" id="{2925543D-631C-47DB-86C2-939C1F18AA4B}"/>
              </a:ext>
            </a:extLst>
          </p:cNvPr>
          <p:cNvSpPr>
            <a:spLocks noGrp="1"/>
          </p:cNvSpPr>
          <p:nvPr>
            <p:ph idx="1"/>
          </p:nvPr>
        </p:nvSpPr>
        <p:spPr>
          <a:xfrm>
            <a:off x="432787" y="1363718"/>
            <a:ext cx="8095469" cy="3192517"/>
          </a:xfrm>
          <a:custGeom>
            <a:avLst/>
            <a:gdLst>
              <a:gd name="connsiteX0" fmla="*/ 0 w 7272808"/>
              <a:gd name="connsiteY0" fmla="*/ 528069 h 3168352"/>
              <a:gd name="connsiteX1" fmla="*/ 528069 w 7272808"/>
              <a:gd name="connsiteY1" fmla="*/ 0 h 3168352"/>
              <a:gd name="connsiteX2" fmla="*/ 6744739 w 7272808"/>
              <a:gd name="connsiteY2" fmla="*/ 0 h 3168352"/>
              <a:gd name="connsiteX3" fmla="*/ 7272808 w 7272808"/>
              <a:gd name="connsiteY3" fmla="*/ 528069 h 3168352"/>
              <a:gd name="connsiteX4" fmla="*/ 7272808 w 7272808"/>
              <a:gd name="connsiteY4" fmla="*/ 2640283 h 3168352"/>
              <a:gd name="connsiteX5" fmla="*/ 6744739 w 7272808"/>
              <a:gd name="connsiteY5" fmla="*/ 3168352 h 3168352"/>
              <a:gd name="connsiteX6" fmla="*/ 528069 w 7272808"/>
              <a:gd name="connsiteY6" fmla="*/ 3168352 h 3168352"/>
              <a:gd name="connsiteX7" fmla="*/ 0 w 7272808"/>
              <a:gd name="connsiteY7" fmla="*/ 2640283 h 3168352"/>
              <a:gd name="connsiteX8" fmla="*/ 0 w 7272808"/>
              <a:gd name="connsiteY8" fmla="*/ 528069 h 3168352"/>
              <a:gd name="connsiteX0" fmla="*/ 1829 w 7274637"/>
              <a:gd name="connsiteY0" fmla="*/ 528069 h 3196927"/>
              <a:gd name="connsiteX1" fmla="*/ 529898 w 7274637"/>
              <a:gd name="connsiteY1" fmla="*/ 0 h 3196927"/>
              <a:gd name="connsiteX2" fmla="*/ 6746568 w 7274637"/>
              <a:gd name="connsiteY2" fmla="*/ 0 h 3196927"/>
              <a:gd name="connsiteX3" fmla="*/ 7274637 w 7274637"/>
              <a:gd name="connsiteY3" fmla="*/ 528069 h 3196927"/>
              <a:gd name="connsiteX4" fmla="*/ 7274637 w 7274637"/>
              <a:gd name="connsiteY4" fmla="*/ 2640283 h 3196927"/>
              <a:gd name="connsiteX5" fmla="*/ 6746568 w 7274637"/>
              <a:gd name="connsiteY5" fmla="*/ 3168352 h 3196927"/>
              <a:gd name="connsiteX6" fmla="*/ 253673 w 7274637"/>
              <a:gd name="connsiteY6" fmla="*/ 3196927 h 3196927"/>
              <a:gd name="connsiteX7" fmla="*/ 1829 w 7274637"/>
              <a:gd name="connsiteY7" fmla="*/ 2640283 h 3196927"/>
              <a:gd name="connsiteX8" fmla="*/ 1829 w 7274637"/>
              <a:gd name="connsiteY8" fmla="*/ 528069 h 3196927"/>
              <a:gd name="connsiteX0" fmla="*/ 28632 w 7301440"/>
              <a:gd name="connsiteY0" fmla="*/ 528069 h 3196927"/>
              <a:gd name="connsiteX1" fmla="*/ 556701 w 7301440"/>
              <a:gd name="connsiteY1" fmla="*/ 0 h 3196927"/>
              <a:gd name="connsiteX2" fmla="*/ 6773371 w 7301440"/>
              <a:gd name="connsiteY2" fmla="*/ 0 h 3196927"/>
              <a:gd name="connsiteX3" fmla="*/ 7301440 w 7301440"/>
              <a:gd name="connsiteY3" fmla="*/ 528069 h 3196927"/>
              <a:gd name="connsiteX4" fmla="*/ 7301440 w 7301440"/>
              <a:gd name="connsiteY4" fmla="*/ 2640283 h 3196927"/>
              <a:gd name="connsiteX5" fmla="*/ 6773371 w 7301440"/>
              <a:gd name="connsiteY5" fmla="*/ 3168352 h 3196927"/>
              <a:gd name="connsiteX6" fmla="*/ 280476 w 7301440"/>
              <a:gd name="connsiteY6" fmla="*/ 3196927 h 3196927"/>
              <a:gd name="connsiteX7" fmla="*/ 57 w 7301440"/>
              <a:gd name="connsiteY7" fmla="*/ 2830783 h 3196927"/>
              <a:gd name="connsiteX8" fmla="*/ 28632 w 7301440"/>
              <a:gd name="connsiteY8" fmla="*/ 528069 h 3196927"/>
              <a:gd name="connsiteX0" fmla="*/ 28575 w 7301383"/>
              <a:gd name="connsiteY0" fmla="*/ 528069 h 3196927"/>
              <a:gd name="connsiteX1" fmla="*/ 556644 w 7301383"/>
              <a:gd name="connsiteY1" fmla="*/ 0 h 3196927"/>
              <a:gd name="connsiteX2" fmla="*/ 6773314 w 7301383"/>
              <a:gd name="connsiteY2" fmla="*/ 0 h 3196927"/>
              <a:gd name="connsiteX3" fmla="*/ 7301383 w 7301383"/>
              <a:gd name="connsiteY3" fmla="*/ 528069 h 3196927"/>
              <a:gd name="connsiteX4" fmla="*/ 7301383 w 7301383"/>
              <a:gd name="connsiteY4" fmla="*/ 2640283 h 3196927"/>
              <a:gd name="connsiteX5" fmla="*/ 6773314 w 7301383"/>
              <a:gd name="connsiteY5" fmla="*/ 3168352 h 3196927"/>
              <a:gd name="connsiteX6" fmla="*/ 309106 w 7301383"/>
              <a:gd name="connsiteY6" fmla="*/ 3196927 h 3196927"/>
              <a:gd name="connsiteX7" fmla="*/ 0 w 7301383"/>
              <a:gd name="connsiteY7" fmla="*/ 2830783 h 3196927"/>
              <a:gd name="connsiteX8" fmla="*/ 28575 w 7301383"/>
              <a:gd name="connsiteY8" fmla="*/ 528069 h 3196927"/>
              <a:gd name="connsiteX0" fmla="*/ 28575 w 7301383"/>
              <a:gd name="connsiteY0" fmla="*/ 528069 h 3196927"/>
              <a:gd name="connsiteX1" fmla="*/ 221956 w 7301383"/>
              <a:gd name="connsiteY1" fmla="*/ 9611 h 3196927"/>
              <a:gd name="connsiteX2" fmla="*/ 6773314 w 7301383"/>
              <a:gd name="connsiteY2" fmla="*/ 0 h 3196927"/>
              <a:gd name="connsiteX3" fmla="*/ 7301383 w 7301383"/>
              <a:gd name="connsiteY3" fmla="*/ 528069 h 3196927"/>
              <a:gd name="connsiteX4" fmla="*/ 7301383 w 7301383"/>
              <a:gd name="connsiteY4" fmla="*/ 2640283 h 3196927"/>
              <a:gd name="connsiteX5" fmla="*/ 6773314 w 7301383"/>
              <a:gd name="connsiteY5" fmla="*/ 3168352 h 3196927"/>
              <a:gd name="connsiteX6" fmla="*/ 309106 w 7301383"/>
              <a:gd name="connsiteY6" fmla="*/ 3196927 h 3196927"/>
              <a:gd name="connsiteX7" fmla="*/ 0 w 7301383"/>
              <a:gd name="connsiteY7" fmla="*/ 2830783 h 3196927"/>
              <a:gd name="connsiteX8" fmla="*/ 28575 w 7301383"/>
              <a:gd name="connsiteY8" fmla="*/ 528069 h 3196927"/>
              <a:gd name="connsiteX0" fmla="*/ 5101 w 7316159"/>
              <a:gd name="connsiteY0" fmla="*/ 374295 h 3196927"/>
              <a:gd name="connsiteX1" fmla="*/ 236732 w 7316159"/>
              <a:gd name="connsiteY1" fmla="*/ 9611 h 3196927"/>
              <a:gd name="connsiteX2" fmla="*/ 6788090 w 7316159"/>
              <a:gd name="connsiteY2" fmla="*/ 0 h 3196927"/>
              <a:gd name="connsiteX3" fmla="*/ 7316159 w 7316159"/>
              <a:gd name="connsiteY3" fmla="*/ 528069 h 3196927"/>
              <a:gd name="connsiteX4" fmla="*/ 7316159 w 7316159"/>
              <a:gd name="connsiteY4" fmla="*/ 2640283 h 3196927"/>
              <a:gd name="connsiteX5" fmla="*/ 6788090 w 7316159"/>
              <a:gd name="connsiteY5" fmla="*/ 3168352 h 3196927"/>
              <a:gd name="connsiteX6" fmla="*/ 323882 w 7316159"/>
              <a:gd name="connsiteY6" fmla="*/ 3196927 h 3196927"/>
              <a:gd name="connsiteX7" fmla="*/ 14776 w 7316159"/>
              <a:gd name="connsiteY7" fmla="*/ 2830783 h 3196927"/>
              <a:gd name="connsiteX8" fmla="*/ 5101 w 7316159"/>
              <a:gd name="connsiteY8" fmla="*/ 374295 h 3196927"/>
              <a:gd name="connsiteX0" fmla="*/ 0 w 7311058"/>
              <a:gd name="connsiteY0" fmla="*/ 374295 h 3196927"/>
              <a:gd name="connsiteX1" fmla="*/ 308131 w 7311058"/>
              <a:gd name="connsiteY1" fmla="*/ 9611 h 3196927"/>
              <a:gd name="connsiteX2" fmla="*/ 6782989 w 7311058"/>
              <a:gd name="connsiteY2" fmla="*/ 0 h 3196927"/>
              <a:gd name="connsiteX3" fmla="*/ 7311058 w 7311058"/>
              <a:gd name="connsiteY3" fmla="*/ 528069 h 3196927"/>
              <a:gd name="connsiteX4" fmla="*/ 7311058 w 7311058"/>
              <a:gd name="connsiteY4" fmla="*/ 2640283 h 3196927"/>
              <a:gd name="connsiteX5" fmla="*/ 6782989 w 7311058"/>
              <a:gd name="connsiteY5" fmla="*/ 3168352 h 3196927"/>
              <a:gd name="connsiteX6" fmla="*/ 318781 w 7311058"/>
              <a:gd name="connsiteY6" fmla="*/ 3196927 h 3196927"/>
              <a:gd name="connsiteX7" fmla="*/ 9675 w 7311058"/>
              <a:gd name="connsiteY7" fmla="*/ 2830783 h 3196927"/>
              <a:gd name="connsiteX8" fmla="*/ 0 w 7311058"/>
              <a:gd name="connsiteY8" fmla="*/ 374295 h 3196927"/>
              <a:gd name="connsiteX0" fmla="*/ 0 w 7320621"/>
              <a:gd name="connsiteY0" fmla="*/ 374295 h 3196927"/>
              <a:gd name="connsiteX1" fmla="*/ 308131 w 7320621"/>
              <a:gd name="connsiteY1" fmla="*/ 9611 h 3196927"/>
              <a:gd name="connsiteX2" fmla="*/ 6782989 w 7320621"/>
              <a:gd name="connsiteY2" fmla="*/ 0 h 3196927"/>
              <a:gd name="connsiteX3" fmla="*/ 7311058 w 7320621"/>
              <a:gd name="connsiteY3" fmla="*/ 528069 h 3196927"/>
              <a:gd name="connsiteX4" fmla="*/ 7320621 w 7320621"/>
              <a:gd name="connsiteY4" fmla="*/ 2794058 h 3196927"/>
              <a:gd name="connsiteX5" fmla="*/ 6782989 w 7320621"/>
              <a:gd name="connsiteY5" fmla="*/ 3168352 h 3196927"/>
              <a:gd name="connsiteX6" fmla="*/ 318781 w 7320621"/>
              <a:gd name="connsiteY6" fmla="*/ 3196927 h 3196927"/>
              <a:gd name="connsiteX7" fmla="*/ 9675 w 7320621"/>
              <a:gd name="connsiteY7" fmla="*/ 2830783 h 3196927"/>
              <a:gd name="connsiteX8" fmla="*/ 0 w 7320621"/>
              <a:gd name="connsiteY8" fmla="*/ 374295 h 3196927"/>
              <a:gd name="connsiteX0" fmla="*/ 0 w 7320621"/>
              <a:gd name="connsiteY0" fmla="*/ 374295 h 3196927"/>
              <a:gd name="connsiteX1" fmla="*/ 308131 w 7320621"/>
              <a:gd name="connsiteY1" fmla="*/ 9611 h 3196927"/>
              <a:gd name="connsiteX2" fmla="*/ 6782989 w 7320621"/>
              <a:gd name="connsiteY2" fmla="*/ 0 h 3196927"/>
              <a:gd name="connsiteX3" fmla="*/ 7311058 w 7320621"/>
              <a:gd name="connsiteY3" fmla="*/ 528069 h 3196927"/>
              <a:gd name="connsiteX4" fmla="*/ 7320621 w 7320621"/>
              <a:gd name="connsiteY4" fmla="*/ 2794058 h 3196927"/>
              <a:gd name="connsiteX5" fmla="*/ 7012490 w 7320621"/>
              <a:gd name="connsiteY5" fmla="*/ 3168353 h 3196927"/>
              <a:gd name="connsiteX6" fmla="*/ 318781 w 7320621"/>
              <a:gd name="connsiteY6" fmla="*/ 3196927 h 3196927"/>
              <a:gd name="connsiteX7" fmla="*/ 9675 w 7320621"/>
              <a:gd name="connsiteY7" fmla="*/ 2830783 h 3196927"/>
              <a:gd name="connsiteX8" fmla="*/ 0 w 7320621"/>
              <a:gd name="connsiteY8" fmla="*/ 374295 h 3196927"/>
              <a:gd name="connsiteX0" fmla="*/ 0 w 7311978"/>
              <a:gd name="connsiteY0" fmla="*/ 374295 h 3196927"/>
              <a:gd name="connsiteX1" fmla="*/ 308131 w 7311978"/>
              <a:gd name="connsiteY1" fmla="*/ 9611 h 3196927"/>
              <a:gd name="connsiteX2" fmla="*/ 6782989 w 7311978"/>
              <a:gd name="connsiteY2" fmla="*/ 0 h 3196927"/>
              <a:gd name="connsiteX3" fmla="*/ 7311058 w 7311978"/>
              <a:gd name="connsiteY3" fmla="*/ 528069 h 3196927"/>
              <a:gd name="connsiteX4" fmla="*/ 7311058 w 7311978"/>
              <a:gd name="connsiteY4" fmla="*/ 2832502 h 3196927"/>
              <a:gd name="connsiteX5" fmla="*/ 7012490 w 7311978"/>
              <a:gd name="connsiteY5" fmla="*/ 3168353 h 3196927"/>
              <a:gd name="connsiteX6" fmla="*/ 318781 w 7311978"/>
              <a:gd name="connsiteY6" fmla="*/ 3196927 h 3196927"/>
              <a:gd name="connsiteX7" fmla="*/ 9675 w 7311978"/>
              <a:gd name="connsiteY7" fmla="*/ 2830783 h 3196927"/>
              <a:gd name="connsiteX8" fmla="*/ 0 w 7311978"/>
              <a:gd name="connsiteY8" fmla="*/ 374295 h 3196927"/>
              <a:gd name="connsiteX0" fmla="*/ 0 w 7311978"/>
              <a:gd name="connsiteY0" fmla="*/ 374295 h 3196927"/>
              <a:gd name="connsiteX1" fmla="*/ 308131 w 7311978"/>
              <a:gd name="connsiteY1" fmla="*/ 9611 h 3196927"/>
              <a:gd name="connsiteX2" fmla="*/ 6782989 w 7311978"/>
              <a:gd name="connsiteY2" fmla="*/ 0 h 3196927"/>
              <a:gd name="connsiteX3" fmla="*/ 7311058 w 7311978"/>
              <a:gd name="connsiteY3" fmla="*/ 528069 h 3196927"/>
              <a:gd name="connsiteX4" fmla="*/ 7311058 w 7311978"/>
              <a:gd name="connsiteY4" fmla="*/ 2880556 h 3196927"/>
              <a:gd name="connsiteX5" fmla="*/ 7012490 w 7311978"/>
              <a:gd name="connsiteY5" fmla="*/ 3168353 h 3196927"/>
              <a:gd name="connsiteX6" fmla="*/ 318781 w 7311978"/>
              <a:gd name="connsiteY6" fmla="*/ 3196927 h 3196927"/>
              <a:gd name="connsiteX7" fmla="*/ 9675 w 7311978"/>
              <a:gd name="connsiteY7" fmla="*/ 2830783 h 3196927"/>
              <a:gd name="connsiteX8" fmla="*/ 0 w 7311978"/>
              <a:gd name="connsiteY8" fmla="*/ 374295 h 3196927"/>
              <a:gd name="connsiteX0" fmla="*/ 0 w 7311978"/>
              <a:gd name="connsiteY0" fmla="*/ 374295 h 3197186"/>
              <a:gd name="connsiteX1" fmla="*/ 308131 w 7311978"/>
              <a:gd name="connsiteY1" fmla="*/ 9611 h 3197186"/>
              <a:gd name="connsiteX2" fmla="*/ 6782989 w 7311978"/>
              <a:gd name="connsiteY2" fmla="*/ 0 h 3197186"/>
              <a:gd name="connsiteX3" fmla="*/ 7311058 w 7311978"/>
              <a:gd name="connsiteY3" fmla="*/ 528069 h 3197186"/>
              <a:gd name="connsiteX4" fmla="*/ 7311058 w 7311978"/>
              <a:gd name="connsiteY4" fmla="*/ 2880556 h 3197186"/>
              <a:gd name="connsiteX5" fmla="*/ 7012491 w 7311978"/>
              <a:gd name="connsiteY5" fmla="*/ 3197186 h 3197186"/>
              <a:gd name="connsiteX6" fmla="*/ 318781 w 7311978"/>
              <a:gd name="connsiteY6" fmla="*/ 3196927 h 3197186"/>
              <a:gd name="connsiteX7" fmla="*/ 9675 w 7311978"/>
              <a:gd name="connsiteY7" fmla="*/ 2830783 h 3197186"/>
              <a:gd name="connsiteX8" fmla="*/ 0 w 7311978"/>
              <a:gd name="connsiteY8" fmla="*/ 374295 h 3197186"/>
              <a:gd name="connsiteX0" fmla="*/ 0 w 7311978"/>
              <a:gd name="connsiteY0" fmla="*/ 374295 h 3197186"/>
              <a:gd name="connsiteX1" fmla="*/ 308131 w 7311978"/>
              <a:gd name="connsiteY1" fmla="*/ 9611 h 3197186"/>
              <a:gd name="connsiteX2" fmla="*/ 6782989 w 7311978"/>
              <a:gd name="connsiteY2" fmla="*/ 0 h 3197186"/>
              <a:gd name="connsiteX3" fmla="*/ 7311058 w 7311978"/>
              <a:gd name="connsiteY3" fmla="*/ 528069 h 3197186"/>
              <a:gd name="connsiteX4" fmla="*/ 7311058 w 7311978"/>
              <a:gd name="connsiteY4" fmla="*/ 2813280 h 3197186"/>
              <a:gd name="connsiteX5" fmla="*/ 7012491 w 7311978"/>
              <a:gd name="connsiteY5" fmla="*/ 3197186 h 3197186"/>
              <a:gd name="connsiteX6" fmla="*/ 318781 w 7311978"/>
              <a:gd name="connsiteY6" fmla="*/ 3196927 h 3197186"/>
              <a:gd name="connsiteX7" fmla="*/ 9675 w 7311978"/>
              <a:gd name="connsiteY7" fmla="*/ 2830783 h 3197186"/>
              <a:gd name="connsiteX8" fmla="*/ 0 w 7311978"/>
              <a:gd name="connsiteY8" fmla="*/ 374295 h 3197186"/>
              <a:gd name="connsiteX0" fmla="*/ 0 w 7311978"/>
              <a:gd name="connsiteY0" fmla="*/ 374295 h 3206797"/>
              <a:gd name="connsiteX1" fmla="*/ 308131 w 7311978"/>
              <a:gd name="connsiteY1" fmla="*/ 9611 h 3206797"/>
              <a:gd name="connsiteX2" fmla="*/ 6782989 w 7311978"/>
              <a:gd name="connsiteY2" fmla="*/ 0 h 3206797"/>
              <a:gd name="connsiteX3" fmla="*/ 7311058 w 7311978"/>
              <a:gd name="connsiteY3" fmla="*/ 528069 h 3206797"/>
              <a:gd name="connsiteX4" fmla="*/ 7311058 w 7311978"/>
              <a:gd name="connsiteY4" fmla="*/ 2813280 h 3206797"/>
              <a:gd name="connsiteX5" fmla="*/ 6974242 w 7311978"/>
              <a:gd name="connsiteY5" fmla="*/ 3206797 h 3206797"/>
              <a:gd name="connsiteX6" fmla="*/ 318781 w 7311978"/>
              <a:gd name="connsiteY6" fmla="*/ 3196927 h 3206797"/>
              <a:gd name="connsiteX7" fmla="*/ 9675 w 7311978"/>
              <a:gd name="connsiteY7" fmla="*/ 2830783 h 3206797"/>
              <a:gd name="connsiteX8" fmla="*/ 0 w 7311978"/>
              <a:gd name="connsiteY8" fmla="*/ 374295 h 3206797"/>
              <a:gd name="connsiteX0" fmla="*/ 0 w 7311058"/>
              <a:gd name="connsiteY0" fmla="*/ 374295 h 3206797"/>
              <a:gd name="connsiteX1" fmla="*/ 308131 w 7311058"/>
              <a:gd name="connsiteY1" fmla="*/ 9611 h 3206797"/>
              <a:gd name="connsiteX2" fmla="*/ 6782989 w 7311058"/>
              <a:gd name="connsiteY2" fmla="*/ 0 h 3206797"/>
              <a:gd name="connsiteX3" fmla="*/ 7291933 w 7311058"/>
              <a:gd name="connsiteY3" fmla="*/ 297407 h 3206797"/>
              <a:gd name="connsiteX4" fmla="*/ 7311058 w 7311058"/>
              <a:gd name="connsiteY4" fmla="*/ 2813280 h 3206797"/>
              <a:gd name="connsiteX5" fmla="*/ 6974242 w 7311058"/>
              <a:gd name="connsiteY5" fmla="*/ 3206797 h 3206797"/>
              <a:gd name="connsiteX6" fmla="*/ 318781 w 7311058"/>
              <a:gd name="connsiteY6" fmla="*/ 3196927 h 3206797"/>
              <a:gd name="connsiteX7" fmla="*/ 9675 w 7311058"/>
              <a:gd name="connsiteY7" fmla="*/ 2830783 h 3206797"/>
              <a:gd name="connsiteX8" fmla="*/ 0 w 7311058"/>
              <a:gd name="connsiteY8" fmla="*/ 374295 h 3206797"/>
              <a:gd name="connsiteX0" fmla="*/ 0 w 7311058"/>
              <a:gd name="connsiteY0" fmla="*/ 374295 h 3206797"/>
              <a:gd name="connsiteX1" fmla="*/ 308131 w 7311058"/>
              <a:gd name="connsiteY1" fmla="*/ 9611 h 3206797"/>
              <a:gd name="connsiteX2" fmla="*/ 6964677 w 7311058"/>
              <a:gd name="connsiteY2" fmla="*/ 0 h 3206797"/>
              <a:gd name="connsiteX3" fmla="*/ 7291933 w 7311058"/>
              <a:gd name="connsiteY3" fmla="*/ 297407 h 3206797"/>
              <a:gd name="connsiteX4" fmla="*/ 7311058 w 7311058"/>
              <a:gd name="connsiteY4" fmla="*/ 2813280 h 3206797"/>
              <a:gd name="connsiteX5" fmla="*/ 6974242 w 7311058"/>
              <a:gd name="connsiteY5" fmla="*/ 3206797 h 3206797"/>
              <a:gd name="connsiteX6" fmla="*/ 318781 w 7311058"/>
              <a:gd name="connsiteY6" fmla="*/ 3196927 h 3206797"/>
              <a:gd name="connsiteX7" fmla="*/ 9675 w 7311058"/>
              <a:gd name="connsiteY7" fmla="*/ 2830783 h 3206797"/>
              <a:gd name="connsiteX8" fmla="*/ 0 w 7311058"/>
              <a:gd name="connsiteY8" fmla="*/ 374295 h 3206797"/>
              <a:gd name="connsiteX0" fmla="*/ 0 w 7311058"/>
              <a:gd name="connsiteY0" fmla="*/ 383906 h 3216408"/>
              <a:gd name="connsiteX1" fmla="*/ 308131 w 7311058"/>
              <a:gd name="connsiteY1" fmla="*/ 19222 h 3216408"/>
              <a:gd name="connsiteX2" fmla="*/ 7002928 w 7311058"/>
              <a:gd name="connsiteY2" fmla="*/ 0 h 3216408"/>
              <a:gd name="connsiteX3" fmla="*/ 7291933 w 7311058"/>
              <a:gd name="connsiteY3" fmla="*/ 307018 h 3216408"/>
              <a:gd name="connsiteX4" fmla="*/ 7311058 w 7311058"/>
              <a:gd name="connsiteY4" fmla="*/ 2822891 h 3216408"/>
              <a:gd name="connsiteX5" fmla="*/ 6974242 w 7311058"/>
              <a:gd name="connsiteY5" fmla="*/ 3216408 h 3216408"/>
              <a:gd name="connsiteX6" fmla="*/ 318781 w 7311058"/>
              <a:gd name="connsiteY6" fmla="*/ 3206538 h 3216408"/>
              <a:gd name="connsiteX7" fmla="*/ 9675 w 7311058"/>
              <a:gd name="connsiteY7" fmla="*/ 2840394 h 3216408"/>
              <a:gd name="connsiteX8" fmla="*/ 0 w 7311058"/>
              <a:gd name="connsiteY8" fmla="*/ 383906 h 3216408"/>
              <a:gd name="connsiteX0" fmla="*/ 0 w 7311058"/>
              <a:gd name="connsiteY0" fmla="*/ 383906 h 3206538"/>
              <a:gd name="connsiteX1" fmla="*/ 308131 w 7311058"/>
              <a:gd name="connsiteY1" fmla="*/ 19222 h 3206538"/>
              <a:gd name="connsiteX2" fmla="*/ 7002928 w 7311058"/>
              <a:gd name="connsiteY2" fmla="*/ 0 h 3206538"/>
              <a:gd name="connsiteX3" fmla="*/ 7291933 w 7311058"/>
              <a:gd name="connsiteY3" fmla="*/ 307018 h 3206538"/>
              <a:gd name="connsiteX4" fmla="*/ 7311058 w 7311058"/>
              <a:gd name="connsiteY4" fmla="*/ 2822891 h 3206538"/>
              <a:gd name="connsiteX5" fmla="*/ 6983805 w 7311058"/>
              <a:gd name="connsiteY5" fmla="*/ 3197186 h 3206538"/>
              <a:gd name="connsiteX6" fmla="*/ 318781 w 7311058"/>
              <a:gd name="connsiteY6" fmla="*/ 3206538 h 3206538"/>
              <a:gd name="connsiteX7" fmla="*/ 9675 w 7311058"/>
              <a:gd name="connsiteY7" fmla="*/ 2840394 h 3206538"/>
              <a:gd name="connsiteX8" fmla="*/ 0 w 7311058"/>
              <a:gd name="connsiteY8" fmla="*/ 383906 h 3206538"/>
              <a:gd name="connsiteX0" fmla="*/ 0 w 7311058"/>
              <a:gd name="connsiteY0" fmla="*/ 383906 h 3206538"/>
              <a:gd name="connsiteX1" fmla="*/ 308131 w 7311058"/>
              <a:gd name="connsiteY1" fmla="*/ 19222 h 3206538"/>
              <a:gd name="connsiteX2" fmla="*/ 7002928 w 7311058"/>
              <a:gd name="connsiteY2" fmla="*/ 0 h 3206538"/>
              <a:gd name="connsiteX3" fmla="*/ 7291933 w 7311058"/>
              <a:gd name="connsiteY3" fmla="*/ 307018 h 3206538"/>
              <a:gd name="connsiteX4" fmla="*/ 7311058 w 7311058"/>
              <a:gd name="connsiteY4" fmla="*/ 2822891 h 3206538"/>
              <a:gd name="connsiteX5" fmla="*/ 6993368 w 7311058"/>
              <a:gd name="connsiteY5" fmla="*/ 3187546 h 3206538"/>
              <a:gd name="connsiteX6" fmla="*/ 318781 w 7311058"/>
              <a:gd name="connsiteY6" fmla="*/ 3206538 h 3206538"/>
              <a:gd name="connsiteX7" fmla="*/ 9675 w 7311058"/>
              <a:gd name="connsiteY7" fmla="*/ 2840394 h 3206538"/>
              <a:gd name="connsiteX8" fmla="*/ 0 w 7311058"/>
              <a:gd name="connsiteY8" fmla="*/ 383906 h 3206538"/>
              <a:gd name="connsiteX0" fmla="*/ 0 w 7311058"/>
              <a:gd name="connsiteY0" fmla="*/ 383906 h 3206538"/>
              <a:gd name="connsiteX1" fmla="*/ 308131 w 7311058"/>
              <a:gd name="connsiteY1" fmla="*/ 19222 h 3206538"/>
              <a:gd name="connsiteX2" fmla="*/ 7002928 w 7311058"/>
              <a:gd name="connsiteY2" fmla="*/ 0 h 3206538"/>
              <a:gd name="connsiteX3" fmla="*/ 7301189 w 7311058"/>
              <a:gd name="connsiteY3" fmla="*/ 342062 h 3206538"/>
              <a:gd name="connsiteX4" fmla="*/ 7311058 w 7311058"/>
              <a:gd name="connsiteY4" fmla="*/ 2822891 h 3206538"/>
              <a:gd name="connsiteX5" fmla="*/ 6993368 w 7311058"/>
              <a:gd name="connsiteY5" fmla="*/ 3187546 h 3206538"/>
              <a:gd name="connsiteX6" fmla="*/ 318781 w 7311058"/>
              <a:gd name="connsiteY6" fmla="*/ 3206538 h 3206538"/>
              <a:gd name="connsiteX7" fmla="*/ 9675 w 7311058"/>
              <a:gd name="connsiteY7" fmla="*/ 2840394 h 3206538"/>
              <a:gd name="connsiteX8" fmla="*/ 0 w 7311058"/>
              <a:gd name="connsiteY8" fmla="*/ 383906 h 3206538"/>
              <a:gd name="connsiteX0" fmla="*/ 0 w 7311058"/>
              <a:gd name="connsiteY0" fmla="*/ 392667 h 3215299"/>
              <a:gd name="connsiteX1" fmla="*/ 308131 w 7311058"/>
              <a:gd name="connsiteY1" fmla="*/ 27983 h 3215299"/>
              <a:gd name="connsiteX2" fmla="*/ 6910364 w 7311058"/>
              <a:gd name="connsiteY2" fmla="*/ 0 h 3215299"/>
              <a:gd name="connsiteX3" fmla="*/ 7301189 w 7311058"/>
              <a:gd name="connsiteY3" fmla="*/ 350823 h 3215299"/>
              <a:gd name="connsiteX4" fmla="*/ 7311058 w 7311058"/>
              <a:gd name="connsiteY4" fmla="*/ 2831652 h 3215299"/>
              <a:gd name="connsiteX5" fmla="*/ 6993368 w 7311058"/>
              <a:gd name="connsiteY5" fmla="*/ 3196307 h 3215299"/>
              <a:gd name="connsiteX6" fmla="*/ 318781 w 7311058"/>
              <a:gd name="connsiteY6" fmla="*/ 3215299 h 3215299"/>
              <a:gd name="connsiteX7" fmla="*/ 9675 w 7311058"/>
              <a:gd name="connsiteY7" fmla="*/ 2849155 h 3215299"/>
              <a:gd name="connsiteX8" fmla="*/ 0 w 7311058"/>
              <a:gd name="connsiteY8" fmla="*/ 392667 h 3215299"/>
              <a:gd name="connsiteX0" fmla="*/ 0 w 7311058"/>
              <a:gd name="connsiteY0" fmla="*/ 392667 h 3215299"/>
              <a:gd name="connsiteX1" fmla="*/ 308131 w 7311058"/>
              <a:gd name="connsiteY1" fmla="*/ 27983 h 3215299"/>
              <a:gd name="connsiteX2" fmla="*/ 6975160 w 7311058"/>
              <a:gd name="connsiteY2" fmla="*/ 0 h 3215299"/>
              <a:gd name="connsiteX3" fmla="*/ 7301189 w 7311058"/>
              <a:gd name="connsiteY3" fmla="*/ 350823 h 3215299"/>
              <a:gd name="connsiteX4" fmla="*/ 7311058 w 7311058"/>
              <a:gd name="connsiteY4" fmla="*/ 2831652 h 3215299"/>
              <a:gd name="connsiteX5" fmla="*/ 6993368 w 7311058"/>
              <a:gd name="connsiteY5" fmla="*/ 3196307 h 3215299"/>
              <a:gd name="connsiteX6" fmla="*/ 318781 w 7311058"/>
              <a:gd name="connsiteY6" fmla="*/ 3215299 h 3215299"/>
              <a:gd name="connsiteX7" fmla="*/ 9675 w 7311058"/>
              <a:gd name="connsiteY7" fmla="*/ 2849155 h 3215299"/>
              <a:gd name="connsiteX8" fmla="*/ 0 w 7311058"/>
              <a:gd name="connsiteY8" fmla="*/ 392667 h 3215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11058" h="3215299">
                <a:moveTo>
                  <a:pt x="0" y="392667"/>
                </a:moveTo>
                <a:cubicBezTo>
                  <a:pt x="0" y="101023"/>
                  <a:pt x="16487" y="27983"/>
                  <a:pt x="308131" y="27983"/>
                </a:cubicBezTo>
                <a:lnTo>
                  <a:pt x="6975160" y="0"/>
                </a:lnTo>
                <a:cubicBezTo>
                  <a:pt x="7266804" y="0"/>
                  <a:pt x="7301189" y="59179"/>
                  <a:pt x="7301189" y="350823"/>
                </a:cubicBezTo>
                <a:cubicBezTo>
                  <a:pt x="7304377" y="1106153"/>
                  <a:pt x="7307870" y="2076322"/>
                  <a:pt x="7311058" y="2831652"/>
                </a:cubicBezTo>
                <a:cubicBezTo>
                  <a:pt x="7311058" y="3123296"/>
                  <a:pt x="7285012" y="3196307"/>
                  <a:pt x="6993368" y="3196307"/>
                </a:cubicBezTo>
                <a:lnTo>
                  <a:pt x="318781" y="3215299"/>
                </a:lnTo>
                <a:cubicBezTo>
                  <a:pt x="27137" y="3215299"/>
                  <a:pt x="9675" y="3140799"/>
                  <a:pt x="9675" y="2849155"/>
                </a:cubicBezTo>
                <a:lnTo>
                  <a:pt x="0" y="392667"/>
                </a:lnTo>
                <a:close/>
              </a:path>
            </a:pathLst>
          </a:custGeom>
          <a:noFill/>
          <a:ln w="5715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oAutofit/>
          </a:bodyPr>
          <a:lstStyle/>
          <a:p>
            <a:pPr marL="128267" lvl="1" indent="-128267">
              <a:spcBef>
                <a:spcPts val="450"/>
              </a:spcBef>
            </a:pPr>
            <a:r>
              <a:rPr lang="fi-FI" sz="2400" dirty="0" smtClean="0">
                <a:solidFill>
                  <a:srgbClr val="595959"/>
                </a:solidFill>
                <a:latin typeface="Arial" panose="020B0604020202020204" pitchFamily="34" charset="0"/>
                <a:cs typeface="Arial" panose="020B0604020202020204" pitchFamily="34" charset="0"/>
              </a:rPr>
              <a:t>Tilannekuva ja tilannekuvakeskusteluista saadaan tietoa, missä alueilla on pulmakohtia, missä asioissa tarvitaan apua.</a:t>
            </a:r>
          </a:p>
          <a:p>
            <a:pPr marL="128267" lvl="1" indent="-128267">
              <a:spcBef>
                <a:spcPts val="450"/>
              </a:spcBef>
            </a:pPr>
            <a:r>
              <a:rPr lang="fi-FI" sz="2400" dirty="0" smtClean="0">
                <a:solidFill>
                  <a:srgbClr val="595959"/>
                </a:solidFill>
                <a:latin typeface="Arial" panose="020B0604020202020204" pitchFamily="34" charset="0"/>
                <a:cs typeface="Arial" panose="020B0604020202020204" pitchFamily="34" charset="0"/>
              </a:rPr>
              <a:t>Asiantuntijat auttavat suoraan alueen valmistelijoita </a:t>
            </a:r>
          </a:p>
          <a:p>
            <a:pPr marL="128267" lvl="1" indent="-128267">
              <a:spcBef>
                <a:spcPts val="450"/>
              </a:spcBef>
            </a:pPr>
            <a:r>
              <a:rPr lang="fi-FI" sz="2400" dirty="0" smtClean="0">
                <a:solidFill>
                  <a:srgbClr val="595959"/>
                </a:solidFill>
                <a:latin typeface="Arial" panose="020B0604020202020204" pitchFamily="34" charset="0"/>
                <a:cs typeface="Arial" panose="020B0604020202020204" pitchFamily="34" charset="0"/>
              </a:rPr>
              <a:t>Verkostoissa käydään niitä asioita yhdessä läpi, joissa pulmia.</a:t>
            </a:r>
          </a:p>
          <a:p>
            <a:pPr marL="128267" lvl="1" indent="-128267">
              <a:spcBef>
                <a:spcPts val="450"/>
              </a:spcBef>
            </a:pPr>
            <a:r>
              <a:rPr lang="fi-FI" sz="2400" dirty="0" smtClean="0">
                <a:solidFill>
                  <a:srgbClr val="595959"/>
                </a:solidFill>
                <a:latin typeface="Arial" panose="020B0604020202020204" pitchFamily="34" charset="0"/>
                <a:cs typeface="Arial" panose="020B0604020202020204" pitchFamily="34" charset="0"/>
              </a:rPr>
              <a:t>Verkostot ovat vertaistuen paikkoja.</a:t>
            </a:r>
          </a:p>
          <a:p>
            <a:pPr marL="128267" lvl="1" indent="-128267">
              <a:spcBef>
                <a:spcPts val="450"/>
              </a:spcBef>
            </a:pPr>
            <a:endParaRPr lang="fi-FI" sz="2000" dirty="0" smtClean="0">
              <a:solidFill>
                <a:srgbClr val="595959"/>
              </a:solidFill>
              <a:latin typeface="Arial" panose="020B0604020202020204" pitchFamily="34" charset="0"/>
              <a:cs typeface="Arial" panose="020B0604020202020204" pitchFamily="34" charset="0"/>
            </a:endParaRPr>
          </a:p>
          <a:p>
            <a:pPr marL="128267" lvl="1" indent="-128267">
              <a:spcBef>
                <a:spcPts val="450"/>
              </a:spcBef>
            </a:pPr>
            <a:endParaRPr lang="fi-FI" sz="2000" dirty="0">
              <a:solidFill>
                <a:srgbClr val="595959"/>
              </a:solidFill>
              <a:latin typeface="Arial" panose="020B0604020202020204" pitchFamily="34" charset="0"/>
              <a:cs typeface="Arial" panose="020B0604020202020204" pitchFamily="34" charset="0"/>
            </a:endParaRPr>
          </a:p>
          <a:p>
            <a:pPr marL="128267" lvl="1" indent="-128267">
              <a:spcBef>
                <a:spcPts val="450"/>
              </a:spcBef>
            </a:pPr>
            <a:endParaRPr lang="fi-FI" sz="2000" dirty="0">
              <a:solidFill>
                <a:srgbClr val="595959"/>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7848887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isällön paikkamerkki 1"/>
          <p:cNvSpPr>
            <a:spLocks noGrp="1"/>
          </p:cNvSpPr>
          <p:nvPr>
            <p:ph idx="1"/>
          </p:nvPr>
        </p:nvSpPr>
        <p:spPr/>
        <p:txBody>
          <a:bodyPr>
            <a:normAutofit/>
          </a:bodyPr>
          <a:lstStyle/>
          <a:p>
            <a:pPr marL="128267" lvl="1" indent="-128267">
              <a:spcBef>
                <a:spcPts val="450"/>
              </a:spcBef>
            </a:pPr>
            <a:r>
              <a:rPr lang="fi-FI" sz="2400" dirty="0">
                <a:solidFill>
                  <a:srgbClr val="595959"/>
                </a:solidFill>
              </a:rPr>
              <a:t>Väliaikaiset toimielimet ovat aloittaneet – ne eroavat rakenteeltaan ja toimintatavoiltaan toisistaan </a:t>
            </a:r>
          </a:p>
          <a:p>
            <a:pPr marL="0" lvl="1" indent="0">
              <a:spcBef>
                <a:spcPts val="450"/>
              </a:spcBef>
              <a:buNone/>
            </a:pPr>
            <a:endParaRPr lang="fi-FI" sz="2400" strike="sngStrike" dirty="0">
              <a:solidFill>
                <a:srgbClr val="595959"/>
              </a:solidFill>
            </a:endParaRPr>
          </a:p>
          <a:p>
            <a:pPr marL="128267" lvl="1" indent="-128267">
              <a:spcBef>
                <a:spcPts val="450"/>
              </a:spcBef>
            </a:pPr>
            <a:r>
              <a:rPr lang="fi-FI" sz="2400" dirty="0">
                <a:solidFill>
                  <a:srgbClr val="595959"/>
                </a:solidFill>
              </a:rPr>
              <a:t>Alueelliset erot valmistelussa ovat suuria, aluksi jopa kasvamassa</a:t>
            </a:r>
          </a:p>
          <a:p>
            <a:pPr marL="0" lvl="1" indent="0">
              <a:spcBef>
                <a:spcPts val="450"/>
              </a:spcBef>
              <a:buNone/>
            </a:pPr>
            <a:endParaRPr lang="fi-FI" sz="2400" dirty="0">
              <a:solidFill>
                <a:srgbClr val="595959"/>
              </a:solidFill>
            </a:endParaRPr>
          </a:p>
          <a:p>
            <a:pPr marL="128267" lvl="1" indent="-128267">
              <a:spcBef>
                <a:spcPts val="450"/>
              </a:spcBef>
            </a:pPr>
            <a:r>
              <a:rPr lang="fi-FI" sz="2400" dirty="0" err="1">
                <a:solidFill>
                  <a:srgbClr val="595959"/>
                </a:solidFill>
              </a:rPr>
              <a:t>Johtamis</a:t>
            </a:r>
            <a:r>
              <a:rPr lang="fi-FI" sz="2400" dirty="0">
                <a:solidFill>
                  <a:srgbClr val="595959"/>
                </a:solidFill>
              </a:rPr>
              <a:t>- ja organisaatiorakenteiden hahmottelu on alkanut</a:t>
            </a:r>
            <a:endParaRPr lang="fi-FI" sz="2400" dirty="0"/>
          </a:p>
        </p:txBody>
      </p:sp>
      <p:sp>
        <p:nvSpPr>
          <p:cNvPr id="3" name="Otsikko 2"/>
          <p:cNvSpPr>
            <a:spLocks noGrp="1"/>
          </p:cNvSpPr>
          <p:nvPr>
            <p:ph type="title"/>
          </p:nvPr>
        </p:nvSpPr>
        <p:spPr/>
        <p:txBody>
          <a:bodyPr/>
          <a:lstStyle/>
          <a:p>
            <a:r>
              <a:rPr lang="fi-FI" dirty="0" smtClean="0"/>
              <a:t>Havaintoja valmistelun etenemisestä alueilla</a:t>
            </a:r>
            <a:endParaRPr lang="fi-FI" dirty="0"/>
          </a:p>
        </p:txBody>
      </p:sp>
    </p:spTree>
    <p:extLst>
      <p:ext uri="{BB962C8B-B14F-4D97-AF65-F5344CB8AC3E}">
        <p14:creationId xmlns:p14="http://schemas.microsoft.com/office/powerpoint/2010/main" val="263624628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ote_uudistus-powerpoint_22112019">
  <a:themeElements>
    <a:clrScheme name="Mukautettu 2">
      <a:dk1>
        <a:sysClr val="windowText" lastClr="000000"/>
      </a:dk1>
      <a:lt1>
        <a:srgbClr val="FFFFFF"/>
      </a:lt1>
      <a:dk2>
        <a:srgbClr val="365ABD"/>
      </a:dk2>
      <a:lt2>
        <a:srgbClr val="9B9183"/>
      </a:lt2>
      <a:accent1>
        <a:srgbClr val="2699D6"/>
      </a:accent1>
      <a:accent2>
        <a:srgbClr val="00A79F"/>
      </a:accent2>
      <a:accent3>
        <a:srgbClr val="F18700"/>
      </a:accent3>
      <a:accent4>
        <a:srgbClr val="D90066"/>
      </a:accent4>
      <a:accent5>
        <a:srgbClr val="8C4091"/>
      </a:accent5>
      <a:accent6>
        <a:srgbClr val="76B82A"/>
      </a:accent6>
      <a:hlink>
        <a:srgbClr val="28438D"/>
      </a:hlink>
      <a:folHlink>
        <a:srgbClr val="002F6C"/>
      </a:folHlink>
    </a:clrScheme>
    <a:fontScheme name="V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Esitys1" id="{DB3ED64A-53F6-4D46-94F8-32E9178B1BA6}" vid="{85AA90DF-806C-4087-A606-2223C38C065C}"/>
    </a:ext>
  </a:extLst>
</a:theme>
</file>

<file path=ppt/theme/theme2.xml><?xml version="1.0" encoding="utf-8"?>
<a:theme xmlns:a="http://schemas.openxmlformats.org/drawingml/2006/main" name="1_Sote_uudistus-powerpoint_22112019">
  <a:themeElements>
    <a:clrScheme name="Mukautettu 2">
      <a:dk1>
        <a:sysClr val="windowText" lastClr="000000"/>
      </a:dk1>
      <a:lt1>
        <a:srgbClr val="FFFFFF"/>
      </a:lt1>
      <a:dk2>
        <a:srgbClr val="365ABD"/>
      </a:dk2>
      <a:lt2>
        <a:srgbClr val="9B9183"/>
      </a:lt2>
      <a:accent1>
        <a:srgbClr val="2699D6"/>
      </a:accent1>
      <a:accent2>
        <a:srgbClr val="00A79F"/>
      </a:accent2>
      <a:accent3>
        <a:srgbClr val="F18700"/>
      </a:accent3>
      <a:accent4>
        <a:srgbClr val="D90066"/>
      </a:accent4>
      <a:accent5>
        <a:srgbClr val="8C4091"/>
      </a:accent5>
      <a:accent6>
        <a:srgbClr val="76B82A"/>
      </a:accent6>
      <a:hlink>
        <a:srgbClr val="28438D"/>
      </a:hlink>
      <a:folHlink>
        <a:srgbClr val="002F6C"/>
      </a:folHlink>
    </a:clrScheme>
    <a:fontScheme name="V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Esitys1" id="{DB3ED64A-53F6-4D46-94F8-32E9178B1BA6}" vid="{85AA90DF-806C-4087-A606-2223C38C065C}"/>
    </a:ext>
  </a:extLst>
</a:theme>
</file>

<file path=ppt/theme/theme3.xml><?xml version="1.0" encoding="utf-8"?>
<a:theme xmlns:a="http://schemas.openxmlformats.org/drawingml/2006/main" name="Mukautettu suunnittelumalli">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Sote_uudistus-powerpoint_22112019">
  <a:themeElements>
    <a:clrScheme name="VN-Oikeusvaltio">
      <a:dk1>
        <a:sysClr val="windowText" lastClr="000000"/>
      </a:dk1>
      <a:lt1>
        <a:srgbClr val="FFFFFF"/>
      </a:lt1>
      <a:dk2>
        <a:srgbClr val="365ABD"/>
      </a:dk2>
      <a:lt2>
        <a:srgbClr val="9B9183"/>
      </a:lt2>
      <a:accent1>
        <a:srgbClr val="2699D6"/>
      </a:accent1>
      <a:accent2>
        <a:srgbClr val="00A79F"/>
      </a:accent2>
      <a:accent3>
        <a:srgbClr val="F18700"/>
      </a:accent3>
      <a:accent4>
        <a:srgbClr val="D90066"/>
      </a:accent4>
      <a:accent5>
        <a:srgbClr val="8C4091"/>
      </a:accent5>
      <a:accent6>
        <a:srgbClr val="76B82A"/>
      </a:accent6>
      <a:hlink>
        <a:srgbClr val="00A9E0"/>
      </a:hlink>
      <a:folHlink>
        <a:srgbClr val="002F6C"/>
      </a:folHlink>
    </a:clrScheme>
    <a:fontScheme name="V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Esitys1" id="{DB3ED64A-53F6-4D46-94F8-32E9178B1BA6}" vid="{85AA90DF-806C-4087-A606-2223C38C065C}"/>
    </a:ext>
  </a:extLst>
</a:theme>
</file>

<file path=ppt/theme/theme5.xml><?xml version="1.0" encoding="utf-8"?>
<a:theme xmlns:a="http://schemas.openxmlformats.org/drawingml/2006/main" name="2_Sote_uudistus-powerpoint_22112019">
  <a:themeElements>
    <a:clrScheme name="Mukautettu 2">
      <a:dk1>
        <a:sysClr val="windowText" lastClr="000000"/>
      </a:dk1>
      <a:lt1>
        <a:srgbClr val="FFFFFF"/>
      </a:lt1>
      <a:dk2>
        <a:srgbClr val="365ABD"/>
      </a:dk2>
      <a:lt2>
        <a:srgbClr val="9B9183"/>
      </a:lt2>
      <a:accent1>
        <a:srgbClr val="2699D6"/>
      </a:accent1>
      <a:accent2>
        <a:srgbClr val="00A79F"/>
      </a:accent2>
      <a:accent3>
        <a:srgbClr val="F18700"/>
      </a:accent3>
      <a:accent4>
        <a:srgbClr val="D90066"/>
      </a:accent4>
      <a:accent5>
        <a:srgbClr val="8C4091"/>
      </a:accent5>
      <a:accent6>
        <a:srgbClr val="76B82A"/>
      </a:accent6>
      <a:hlink>
        <a:srgbClr val="28438D"/>
      </a:hlink>
      <a:folHlink>
        <a:srgbClr val="002F6C"/>
      </a:folHlink>
    </a:clrScheme>
    <a:fontScheme name="V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Esitys1" id="{DB3ED64A-53F6-4D46-94F8-32E9178B1BA6}" vid="{85AA90DF-806C-4087-A606-2223C38C065C}"/>
    </a:ext>
  </a:extLst>
</a:theme>
</file>

<file path=ppt/theme/theme6.xml><?xml version="1.0" encoding="utf-8"?>
<a:theme xmlns:a="http://schemas.openxmlformats.org/drawingml/2006/main" name="4_Sote_uudistus-powerpoint_22112019">
  <a:themeElements>
    <a:clrScheme name="VN-Oikeusvaltio">
      <a:dk1>
        <a:sysClr val="windowText" lastClr="000000"/>
      </a:dk1>
      <a:lt1>
        <a:srgbClr val="FFFFFF"/>
      </a:lt1>
      <a:dk2>
        <a:srgbClr val="365ABD"/>
      </a:dk2>
      <a:lt2>
        <a:srgbClr val="9B9183"/>
      </a:lt2>
      <a:accent1>
        <a:srgbClr val="2699D6"/>
      </a:accent1>
      <a:accent2>
        <a:srgbClr val="00A79F"/>
      </a:accent2>
      <a:accent3>
        <a:srgbClr val="F18700"/>
      </a:accent3>
      <a:accent4>
        <a:srgbClr val="D90066"/>
      </a:accent4>
      <a:accent5>
        <a:srgbClr val="8C4091"/>
      </a:accent5>
      <a:accent6>
        <a:srgbClr val="76B82A"/>
      </a:accent6>
      <a:hlink>
        <a:srgbClr val="00A9E0"/>
      </a:hlink>
      <a:folHlink>
        <a:srgbClr val="002F6C"/>
      </a:folHlink>
    </a:clrScheme>
    <a:fontScheme name="V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Esitys1" id="{DB3ED64A-53F6-4D46-94F8-32E9178B1BA6}" vid="{85AA90DF-806C-4087-A606-2223C38C065C}"/>
    </a:ext>
  </a:extLst>
</a:theme>
</file>

<file path=ppt/theme/theme7.xml><?xml version="1.0" encoding="utf-8"?>
<a:theme xmlns:a="http://schemas.openxmlformats.org/drawingml/2006/main" name="Office-te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da0cbb2c-770a-4972-a780-c4b4d6b9e82f">
      <UserInfo>
        <DisplayName>Vienamo Vappu (STM)</DisplayName>
        <AccountId>637</AccountId>
        <AccountType/>
      </UserInfo>
      <UserInfo>
        <DisplayName>Valli-Lintu Auli</DisplayName>
        <AccountId>82</AccountId>
        <AccountType/>
      </UserInfo>
      <UserInfo>
        <DisplayName>Hakari Kari (STM)</DisplayName>
        <AccountId>325</AccountId>
        <AccountType/>
      </UserInfo>
      <UserInfo>
        <DisplayName>Tammes Henriikka (STM)</DisplayName>
        <AccountId>1</AccountId>
        <AccountType/>
      </UserInfo>
      <UserInfo>
        <DisplayName>Englund Lotta (VM)</DisplayName>
        <AccountId>401</AccountId>
        <AccountType/>
      </UserInfo>
      <UserInfo>
        <DisplayName>Pitkänen Pihla (SM)</DisplayName>
        <AccountId>668</AccountId>
        <AccountType/>
      </UserInfo>
      <UserInfo>
        <DisplayName>Sund Thomas (VM)</DisplayName>
        <AccountId>509</AccountId>
        <AccountType/>
      </UserInfo>
      <UserInfo>
        <DisplayName>Kärkkäinen Sonja (STM)</DisplayName>
        <AccountId>60</AccountId>
        <AccountType/>
      </UserInfo>
      <UserInfo>
        <DisplayName>Kainulainen Pirjo (STM)</DisplayName>
        <AccountId>64</AccountId>
        <AccountType/>
      </UserInfo>
      <UserInfo>
        <DisplayName>Mäntyranta Taina (ST</DisplayName>
        <AccountId>167</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Asiakirja" ma:contentTypeID="0x010100547BC2697C265D4397BDB9591E771186" ma:contentTypeVersion="1" ma:contentTypeDescription="Luo uusi asiakirja." ma:contentTypeScope="" ma:versionID="6184426f9a9f69bf93fb11e850a69ce0">
  <xsd:schema xmlns:xsd="http://www.w3.org/2001/XMLSchema" xmlns:xs="http://www.w3.org/2001/XMLSchema" xmlns:p="http://schemas.microsoft.com/office/2006/metadata/properties" xmlns:ns2="da0cbb2c-770a-4972-a780-c4b4d6b9e82f" targetNamespace="http://schemas.microsoft.com/office/2006/metadata/properties" ma:root="true" ma:fieldsID="8000bc46d21247ab2bc09ad39a423fdd" ns2:_="">
    <xsd:import namespace="da0cbb2c-770a-4972-a780-c4b4d6b9e82f"/>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a0cbb2c-770a-4972-a780-c4b4d6b9e82f" elementFormDefault="qualified">
    <xsd:import namespace="http://schemas.microsoft.com/office/2006/documentManagement/types"/>
    <xsd:import namespace="http://schemas.microsoft.com/office/infopath/2007/PartnerControls"/>
    <xsd:element name="SharedWithUsers" ma:index="8" nillable="true" ma:displayName="Jaettu"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Sisältölaji"/>
        <xsd:element ref="dc:title" minOccurs="0" maxOccurs="1" ma:index="4" ma:displayName="Otsikk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D15C809-4A98-46F5-A453-9D0D9CB35464}">
  <ds:schemaRefs>
    <ds:schemaRef ds:uri="http://schemas.microsoft.com/sharepoint/v3/contenttype/forms"/>
  </ds:schemaRefs>
</ds:datastoreItem>
</file>

<file path=customXml/itemProps2.xml><?xml version="1.0" encoding="utf-8"?>
<ds:datastoreItem xmlns:ds="http://schemas.openxmlformats.org/officeDocument/2006/customXml" ds:itemID="{3E626FEC-8860-45C2-86CA-E81A3E52E04D}">
  <ds:schemaRefs>
    <ds:schemaRef ds:uri="http://schemas.microsoft.com/office/2006/metadata/properties"/>
    <ds:schemaRef ds:uri="da0cbb2c-770a-4972-a780-c4b4d6b9e82f"/>
    <ds:schemaRef ds:uri="http://purl.org/dc/terms/"/>
    <ds:schemaRef ds:uri="http://schemas.openxmlformats.org/package/2006/metadata/core-properties"/>
    <ds:schemaRef ds:uri="http://purl.org/dc/dcmitype/"/>
    <ds:schemaRef ds:uri="http://schemas.microsoft.com/office/2006/documentManagement/types"/>
    <ds:schemaRef ds:uri="http://purl.org/dc/elements/1.1/"/>
    <ds:schemaRef ds:uri="http://schemas.microsoft.com/office/infopath/2007/PartnerControls"/>
    <ds:schemaRef ds:uri="http://www.w3.org/XML/1998/namespace"/>
  </ds:schemaRefs>
</ds:datastoreItem>
</file>

<file path=customXml/itemProps3.xml><?xml version="1.0" encoding="utf-8"?>
<ds:datastoreItem xmlns:ds="http://schemas.openxmlformats.org/officeDocument/2006/customXml" ds:itemID="{B2E1AFBF-CDF1-4376-A6E8-63DD87BC45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a0cbb2c-770a-4972-a780-c4b4d6b9e82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6434</TotalTime>
  <Words>1177</Words>
  <Application>Microsoft Office PowerPoint</Application>
  <PresentationFormat>Näytössä katseltava esitys (16:9)</PresentationFormat>
  <Paragraphs>205</Paragraphs>
  <Slides>14</Slides>
  <Notes>5</Notes>
  <HiddenSlides>0</HiddenSlides>
  <MMClips>0</MMClips>
  <ScaleCrop>false</ScaleCrop>
  <HeadingPairs>
    <vt:vector size="8" baseType="variant">
      <vt:variant>
        <vt:lpstr>Käytetyt fontit</vt:lpstr>
      </vt:variant>
      <vt:variant>
        <vt:i4>6</vt:i4>
      </vt:variant>
      <vt:variant>
        <vt:lpstr>Teema</vt:lpstr>
      </vt:variant>
      <vt:variant>
        <vt:i4>6</vt:i4>
      </vt:variant>
      <vt:variant>
        <vt:lpstr>Upotetut OLE-palvelimet</vt:lpstr>
      </vt:variant>
      <vt:variant>
        <vt:i4>1</vt:i4>
      </vt:variant>
      <vt:variant>
        <vt:lpstr>Dian otsikot</vt:lpstr>
      </vt:variant>
      <vt:variant>
        <vt:i4>14</vt:i4>
      </vt:variant>
    </vt:vector>
  </HeadingPairs>
  <TitlesOfParts>
    <vt:vector size="27" baseType="lpstr">
      <vt:lpstr>Arial</vt:lpstr>
      <vt:lpstr>Arial Narrow</vt:lpstr>
      <vt:lpstr>Calibri</vt:lpstr>
      <vt:lpstr>Calibri Light</vt:lpstr>
      <vt:lpstr>Roboto</vt:lpstr>
      <vt:lpstr>Wingdings</vt:lpstr>
      <vt:lpstr>Sote_uudistus-powerpoint_22112019</vt:lpstr>
      <vt:lpstr>1_Sote_uudistus-powerpoint_22112019</vt:lpstr>
      <vt:lpstr>Mukautettu suunnittelumalli</vt:lpstr>
      <vt:lpstr>3_Sote_uudistus-powerpoint_22112019</vt:lpstr>
      <vt:lpstr>2_Sote_uudistus-powerpoint_22112019</vt:lpstr>
      <vt:lpstr>4_Sote_uudistus-powerpoint_22112019</vt:lpstr>
      <vt:lpstr>think-cell Slide</vt:lpstr>
      <vt:lpstr>Valtioneuvoston muutostuki hyvinvointialueille    </vt:lpstr>
      <vt:lpstr>PowerPoint-esitys</vt:lpstr>
      <vt:lpstr>Hyvinvointialueiden toiminnan käynnistyminen</vt:lpstr>
      <vt:lpstr>Toimeenpano on käynnistynyt</vt:lpstr>
      <vt:lpstr>Hyvinvointialueiden toimeenpanon tueksi on laadittu tiekartta vuosille 2021-2023</vt:lpstr>
      <vt:lpstr>Alueellisen toimeenpanon tilannekuva </vt:lpstr>
      <vt:lpstr>PowerPoint-esitys</vt:lpstr>
      <vt:lpstr> Tilannekuva tuo viestiä alueiden pulmista </vt:lpstr>
      <vt:lpstr>Havaintoja valmistelun etenemisestä alueilla</vt:lpstr>
      <vt:lpstr>Ryhmät ja verkostot 1/2</vt:lpstr>
      <vt:lpstr>Ryhmät ja verkosto 2/2</vt:lpstr>
      <vt:lpstr>Valtionavustukset</vt:lpstr>
      <vt:lpstr>Viestintä</vt:lpstr>
      <vt:lpstr>PowerPoint-esitys</vt:lpstr>
    </vt:vector>
  </TitlesOfParts>
  <Company>Suomen val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ote- ja pelastustoimen uudistus</dc:title>
  <dc:creator>Nurmi Riikka (STM)</dc:creator>
  <cp:lastModifiedBy>Salme Kallinen</cp:lastModifiedBy>
  <cp:revision>1058</cp:revision>
  <cp:lastPrinted>2021-10-14T06:36:54Z</cp:lastPrinted>
  <dcterms:created xsi:type="dcterms:W3CDTF">2019-09-17T07:50:40Z</dcterms:created>
  <dcterms:modified xsi:type="dcterms:W3CDTF">2021-11-12T14:33: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47BC2697C265D4397BDB9591E771186</vt:lpwstr>
  </property>
  <property fmtid="{D5CDD505-2E9C-101B-9397-08002B2CF9AE}" pid="3" name="KampusOrganization">
    <vt:lpwstr/>
  </property>
  <property fmtid="{D5CDD505-2E9C-101B-9397-08002B2CF9AE}" pid="4" name="KampusKeywords">
    <vt:lpwstr/>
  </property>
  <property fmtid="{D5CDD505-2E9C-101B-9397-08002B2CF9AE}" pid="5" name="SharedWithUsers">
    <vt:lpwstr>637;#Vienamo Vappu (STM);#82;#Valli-Lintu Auli;#325;#Hakari Kari (STM);#1;#Tammes Henriikka (STM);#401;#Englund Lotta (VM);#668;#Pitkänen Pihla (SM);#509;#Sund Thomas (VM);#60;#Kärkkäinen Sonja (STM);#64;#Kainulainen Pirjo (STM);#167;#Mäntyranta Taina (ST</vt:lpwstr>
  </property>
</Properties>
</file>